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charts/chart1.xml" ContentType="application/vnd.openxmlformats-officedocument.drawingml.chart+xml"/>
  <Override PartName="/ppt/charts/chart10.xml" ContentType="application/vnd.openxmlformats-officedocument.drawingml.chart+xml"/>
  <Override PartName="/ppt/charts/chart100.xml" ContentType="application/vnd.openxmlformats-officedocument.drawingml.chart+xml"/>
  <Override PartName="/ppt/charts/chart101.xml" ContentType="application/vnd.openxmlformats-officedocument.drawingml.chart+xml"/>
  <Override PartName="/ppt/charts/chart102.xml" ContentType="application/vnd.openxmlformats-officedocument.drawingml.chart+xml"/>
  <Override PartName="/ppt/charts/chart103.xml" ContentType="application/vnd.openxmlformats-officedocument.drawingml.chart+xml"/>
  <Override PartName="/ppt/charts/chart104.xml" ContentType="application/vnd.openxmlformats-officedocument.drawingml.chart+xml"/>
  <Override PartName="/ppt/charts/chart105.xml" ContentType="application/vnd.openxmlformats-officedocument.drawingml.chart+xml"/>
  <Override PartName="/ppt/charts/chart106.xml" ContentType="application/vnd.openxmlformats-officedocument.drawingml.chart+xml"/>
  <Override PartName="/ppt/charts/chart107.xml" ContentType="application/vnd.openxmlformats-officedocument.drawingml.chart+xml"/>
  <Override PartName="/ppt/charts/chart108.xml" ContentType="application/vnd.openxmlformats-officedocument.drawingml.chart+xml"/>
  <Override PartName="/ppt/charts/chart109.xml" ContentType="application/vnd.openxmlformats-officedocument.drawingml.chart+xml"/>
  <Override PartName="/ppt/charts/chart11.xml" ContentType="application/vnd.openxmlformats-officedocument.drawingml.chart+xml"/>
  <Override PartName="/ppt/charts/chart110.xml" ContentType="application/vnd.openxmlformats-officedocument.drawingml.chart+xml"/>
  <Override PartName="/ppt/charts/chart111.xml" ContentType="application/vnd.openxmlformats-officedocument.drawingml.chart+xml"/>
  <Override PartName="/ppt/charts/chart112.xml" ContentType="application/vnd.openxmlformats-officedocument.drawingml.chart+xml"/>
  <Override PartName="/ppt/charts/chart113.xml" ContentType="application/vnd.openxmlformats-officedocument.drawingml.chart+xml"/>
  <Override PartName="/ppt/charts/chart114.xml" ContentType="application/vnd.openxmlformats-officedocument.drawingml.chart+xml"/>
  <Override PartName="/ppt/charts/chart115.xml" ContentType="application/vnd.openxmlformats-officedocument.drawingml.chart+xml"/>
  <Override PartName="/ppt/charts/chart116.xml" ContentType="application/vnd.openxmlformats-officedocument.drawingml.chart+xml"/>
  <Override PartName="/ppt/charts/chart117.xml" ContentType="application/vnd.openxmlformats-officedocument.drawingml.chart+xml"/>
  <Override PartName="/ppt/charts/chart118.xml" ContentType="application/vnd.openxmlformats-officedocument.drawingml.chart+xml"/>
  <Override PartName="/ppt/charts/chart119.xml" ContentType="application/vnd.openxmlformats-officedocument.drawingml.chart+xml"/>
  <Override PartName="/ppt/charts/chart12.xml" ContentType="application/vnd.openxmlformats-officedocument.drawingml.chart+xml"/>
  <Override PartName="/ppt/charts/chart120.xml" ContentType="application/vnd.openxmlformats-officedocument.drawingml.chart+xml"/>
  <Override PartName="/ppt/charts/chart121.xml" ContentType="application/vnd.openxmlformats-officedocument.drawingml.chart+xml"/>
  <Override PartName="/ppt/charts/chart122.xml" ContentType="application/vnd.openxmlformats-officedocument.drawingml.chart+xml"/>
  <Override PartName="/ppt/charts/chart123.xml" ContentType="application/vnd.openxmlformats-officedocument.drawingml.chart+xml"/>
  <Override PartName="/ppt/charts/chart124.xml" ContentType="application/vnd.openxmlformats-officedocument.drawingml.chart+xml"/>
  <Override PartName="/ppt/charts/chart125.xml" ContentType="application/vnd.openxmlformats-officedocument.drawingml.chart+xml"/>
  <Override PartName="/ppt/charts/chart126.xml" ContentType="application/vnd.openxmlformats-officedocument.drawingml.chart+xml"/>
  <Override PartName="/ppt/charts/chart127.xml" ContentType="application/vnd.openxmlformats-officedocument.drawingml.chart+xml"/>
  <Override PartName="/ppt/charts/chart128.xml" ContentType="application/vnd.openxmlformats-officedocument.drawingml.chart+xml"/>
  <Override PartName="/ppt/charts/chart129.xml" ContentType="application/vnd.openxmlformats-officedocument.drawingml.chart+xml"/>
  <Override PartName="/ppt/charts/chart13.xml" ContentType="application/vnd.openxmlformats-officedocument.drawingml.chart+xml"/>
  <Override PartName="/ppt/charts/chart130.xml" ContentType="application/vnd.openxmlformats-officedocument.drawingml.chart+xml"/>
  <Override PartName="/ppt/charts/chart131.xml" ContentType="application/vnd.openxmlformats-officedocument.drawingml.chart+xml"/>
  <Override PartName="/ppt/charts/chart132.xml" ContentType="application/vnd.openxmlformats-officedocument.drawingml.chart+xml"/>
  <Override PartName="/ppt/charts/chart133.xml" ContentType="application/vnd.openxmlformats-officedocument.drawingml.chart+xml"/>
  <Override PartName="/ppt/charts/chart134.xml" ContentType="application/vnd.openxmlformats-officedocument.drawingml.chart+xml"/>
  <Override PartName="/ppt/charts/chart135.xml" ContentType="application/vnd.openxmlformats-officedocument.drawingml.chart+xml"/>
  <Override PartName="/ppt/charts/chart136.xml" ContentType="application/vnd.openxmlformats-officedocument.drawingml.chart+xml"/>
  <Override PartName="/ppt/charts/chart137.xml" ContentType="application/vnd.openxmlformats-officedocument.drawingml.chart+xml"/>
  <Override PartName="/ppt/charts/chart138.xml" ContentType="application/vnd.openxmlformats-officedocument.drawingml.chart+xml"/>
  <Override PartName="/ppt/charts/chart139.xml" ContentType="application/vnd.openxmlformats-officedocument.drawingml.chart+xml"/>
  <Override PartName="/ppt/charts/chart14.xml" ContentType="application/vnd.openxmlformats-officedocument.drawingml.chart+xml"/>
  <Override PartName="/ppt/charts/chart140.xml" ContentType="application/vnd.openxmlformats-officedocument.drawingml.chart+xml"/>
  <Override PartName="/ppt/charts/chart141.xml" ContentType="application/vnd.openxmlformats-officedocument.drawingml.chart+xml"/>
  <Override PartName="/ppt/charts/chart142.xml" ContentType="application/vnd.openxmlformats-officedocument.drawingml.chart+xml"/>
  <Override PartName="/ppt/charts/chart143.xml" ContentType="application/vnd.openxmlformats-officedocument.drawingml.chart+xml"/>
  <Override PartName="/ppt/charts/chart144.xml" ContentType="application/vnd.openxmlformats-officedocument.drawingml.chart+xml"/>
  <Override PartName="/ppt/charts/chart145.xml" ContentType="application/vnd.openxmlformats-officedocument.drawingml.chart+xml"/>
  <Override PartName="/ppt/charts/chart146.xml" ContentType="application/vnd.openxmlformats-officedocument.drawingml.chart+xml"/>
  <Override PartName="/ppt/charts/chart147.xml" ContentType="application/vnd.openxmlformats-officedocument.drawingml.chart+xml"/>
  <Override PartName="/ppt/charts/chart148.xml" ContentType="application/vnd.openxmlformats-officedocument.drawingml.chart+xml"/>
  <Override PartName="/ppt/charts/chart149.xml" ContentType="application/vnd.openxmlformats-officedocument.drawingml.chart+xml"/>
  <Override PartName="/ppt/charts/chart15.xml" ContentType="application/vnd.openxmlformats-officedocument.drawingml.chart+xml"/>
  <Override PartName="/ppt/charts/chart150.xml" ContentType="application/vnd.openxmlformats-officedocument.drawingml.chart+xml"/>
  <Override PartName="/ppt/charts/chart151.xml" ContentType="application/vnd.openxmlformats-officedocument.drawingml.chart+xml"/>
  <Override PartName="/ppt/charts/chart152.xml" ContentType="application/vnd.openxmlformats-officedocument.drawingml.chart+xml"/>
  <Override PartName="/ppt/charts/chart153.xml" ContentType="application/vnd.openxmlformats-officedocument.drawingml.chart+xml"/>
  <Override PartName="/ppt/charts/chart154.xml" ContentType="application/vnd.openxmlformats-officedocument.drawingml.chart+xml"/>
  <Override PartName="/ppt/charts/chart155.xml" ContentType="application/vnd.openxmlformats-officedocument.drawingml.chart+xml"/>
  <Override PartName="/ppt/charts/chart156.xml" ContentType="application/vnd.openxmlformats-officedocument.drawingml.chart+xml"/>
  <Override PartName="/ppt/charts/chart157.xml" ContentType="application/vnd.openxmlformats-officedocument.drawingml.chart+xml"/>
  <Override PartName="/ppt/charts/chart158.xml" ContentType="application/vnd.openxmlformats-officedocument.drawingml.chart+xml"/>
  <Override PartName="/ppt/charts/chart159.xml" ContentType="application/vnd.openxmlformats-officedocument.drawingml.chart+xml"/>
  <Override PartName="/ppt/charts/chart16.xml" ContentType="application/vnd.openxmlformats-officedocument.drawingml.chart+xml"/>
  <Override PartName="/ppt/charts/chart160.xml" ContentType="application/vnd.openxmlformats-officedocument.drawingml.chart+xml"/>
  <Override PartName="/ppt/charts/chart161.xml" ContentType="application/vnd.openxmlformats-officedocument.drawingml.chart+xml"/>
  <Override PartName="/ppt/charts/chart162.xml" ContentType="application/vnd.openxmlformats-officedocument.drawingml.chart+xml"/>
  <Override PartName="/ppt/charts/chart163.xml" ContentType="application/vnd.openxmlformats-officedocument.drawingml.chart+xml"/>
  <Override PartName="/ppt/charts/chart164.xml" ContentType="application/vnd.openxmlformats-officedocument.drawingml.chart+xml"/>
  <Override PartName="/ppt/charts/chart165.xml" ContentType="application/vnd.openxmlformats-officedocument.drawingml.chart+xml"/>
  <Override PartName="/ppt/charts/chart166.xml" ContentType="application/vnd.openxmlformats-officedocument.drawingml.chart+xml"/>
  <Override PartName="/ppt/charts/chart167.xml" ContentType="application/vnd.openxmlformats-officedocument.drawingml.chart+xml"/>
  <Override PartName="/ppt/charts/chart168.xml" ContentType="application/vnd.openxmlformats-officedocument.drawingml.chart+xml"/>
  <Override PartName="/ppt/charts/chart169.xml" ContentType="application/vnd.openxmlformats-officedocument.drawingml.chart+xml"/>
  <Override PartName="/ppt/charts/chart17.xml" ContentType="application/vnd.openxmlformats-officedocument.drawingml.chart+xml"/>
  <Override PartName="/ppt/charts/chart170.xml" ContentType="application/vnd.openxmlformats-officedocument.drawingml.chart+xml"/>
  <Override PartName="/ppt/charts/chart171.xml" ContentType="application/vnd.openxmlformats-officedocument.drawingml.chart+xml"/>
  <Override PartName="/ppt/charts/chart172.xml" ContentType="application/vnd.openxmlformats-officedocument.drawingml.chart+xml"/>
  <Override PartName="/ppt/charts/chart173.xml" ContentType="application/vnd.openxmlformats-officedocument.drawingml.chart+xml"/>
  <Override PartName="/ppt/charts/chart174.xml" ContentType="application/vnd.openxmlformats-officedocument.drawingml.chart+xml"/>
  <Override PartName="/ppt/charts/chart175.xml" ContentType="application/vnd.openxmlformats-officedocument.drawingml.chart+xml"/>
  <Override PartName="/ppt/charts/chart176.xml" ContentType="application/vnd.openxmlformats-officedocument.drawingml.chart+xml"/>
  <Override PartName="/ppt/charts/chart177.xml" ContentType="application/vnd.openxmlformats-officedocument.drawingml.chart+xml"/>
  <Override PartName="/ppt/charts/chart178.xml" ContentType="application/vnd.openxmlformats-officedocument.drawingml.chart+xml"/>
  <Override PartName="/ppt/charts/chart179.xml" ContentType="application/vnd.openxmlformats-officedocument.drawingml.chart+xml"/>
  <Override PartName="/ppt/charts/chart18.xml" ContentType="application/vnd.openxmlformats-officedocument.drawingml.chart+xml"/>
  <Override PartName="/ppt/charts/chart180.xml" ContentType="application/vnd.openxmlformats-officedocument.drawingml.chart+xml"/>
  <Override PartName="/ppt/charts/chart181.xml" ContentType="application/vnd.openxmlformats-officedocument.drawingml.chart+xml"/>
  <Override PartName="/ppt/charts/chart182.xml" ContentType="application/vnd.openxmlformats-officedocument.drawingml.chart+xml"/>
  <Override PartName="/ppt/charts/chart183.xml" ContentType="application/vnd.openxmlformats-officedocument.drawingml.chart+xml"/>
  <Override PartName="/ppt/charts/chart184.xml" ContentType="application/vnd.openxmlformats-officedocument.drawingml.chart+xml"/>
  <Override PartName="/ppt/charts/chart185.xml" ContentType="application/vnd.openxmlformats-officedocument.drawingml.chart+xml"/>
  <Override PartName="/ppt/charts/chart186.xml" ContentType="application/vnd.openxmlformats-officedocument.drawingml.chart+xml"/>
  <Override PartName="/ppt/charts/chart187.xml" ContentType="application/vnd.openxmlformats-officedocument.drawingml.chart+xml"/>
  <Override PartName="/ppt/charts/chart188.xml" ContentType="application/vnd.openxmlformats-officedocument.drawingml.chart+xml"/>
  <Override PartName="/ppt/charts/chart189.xml" ContentType="application/vnd.openxmlformats-officedocument.drawingml.chart+xml"/>
  <Override PartName="/ppt/charts/chart19.xml" ContentType="application/vnd.openxmlformats-officedocument.drawingml.chart+xml"/>
  <Override PartName="/ppt/charts/chart190.xml" ContentType="application/vnd.openxmlformats-officedocument.drawingml.chart+xml"/>
  <Override PartName="/ppt/charts/chart191.xml" ContentType="application/vnd.openxmlformats-officedocument.drawingml.chart+xml"/>
  <Override PartName="/ppt/charts/chart192.xml" ContentType="application/vnd.openxmlformats-officedocument.drawingml.chart+xml"/>
  <Override PartName="/ppt/charts/chart193.xml" ContentType="application/vnd.openxmlformats-officedocument.drawingml.chart+xml"/>
  <Override PartName="/ppt/charts/chart194.xml" ContentType="application/vnd.openxmlformats-officedocument.drawingml.chart+xml"/>
  <Override PartName="/ppt/charts/chart195.xml" ContentType="application/vnd.openxmlformats-officedocument.drawingml.chart+xml"/>
  <Override PartName="/ppt/charts/chart196.xml" ContentType="application/vnd.openxmlformats-officedocument.drawingml.chart+xml"/>
  <Override PartName="/ppt/charts/chart197.xml" ContentType="application/vnd.openxmlformats-officedocument.drawingml.chart+xml"/>
  <Override PartName="/ppt/charts/chart198.xml" ContentType="application/vnd.openxmlformats-officedocument.drawingml.chart+xml"/>
  <Override PartName="/ppt/charts/chart199.xml" ContentType="application/vnd.openxmlformats-officedocument.drawingml.chart+xml"/>
  <Override PartName="/ppt/charts/chart2.xml" ContentType="application/vnd.openxmlformats-officedocument.drawingml.chart+xml"/>
  <Override PartName="/ppt/charts/chart20.xml" ContentType="application/vnd.openxmlformats-officedocument.drawingml.chart+xml"/>
  <Override PartName="/ppt/charts/chart200.xml" ContentType="application/vnd.openxmlformats-officedocument.drawingml.chart+xml"/>
  <Override PartName="/ppt/charts/chart201.xml" ContentType="application/vnd.openxmlformats-officedocument.drawingml.chart+xml"/>
  <Override PartName="/ppt/charts/chart202.xml" ContentType="application/vnd.openxmlformats-officedocument.drawingml.chart+xml"/>
  <Override PartName="/ppt/charts/chart203.xml" ContentType="application/vnd.openxmlformats-officedocument.drawingml.chart+xml"/>
  <Override PartName="/ppt/charts/chart204.xml" ContentType="application/vnd.openxmlformats-officedocument.drawingml.chart+xml"/>
  <Override PartName="/ppt/charts/chart205.xml" ContentType="application/vnd.openxmlformats-officedocument.drawingml.chart+xml"/>
  <Override PartName="/ppt/charts/chart206.xml" ContentType="application/vnd.openxmlformats-officedocument.drawingml.chart+xml"/>
  <Override PartName="/ppt/charts/chart207.xml" ContentType="application/vnd.openxmlformats-officedocument.drawingml.chart+xml"/>
  <Override PartName="/ppt/charts/chart208.xml" ContentType="application/vnd.openxmlformats-officedocument.drawingml.chart+xml"/>
  <Override PartName="/ppt/charts/chart209.xml" ContentType="application/vnd.openxmlformats-officedocument.drawingml.chart+xml"/>
  <Override PartName="/ppt/charts/chart21.xml" ContentType="application/vnd.openxmlformats-officedocument.drawingml.chart+xml"/>
  <Override PartName="/ppt/charts/chart210.xml" ContentType="application/vnd.openxmlformats-officedocument.drawingml.chart+xml"/>
  <Override PartName="/ppt/charts/chart211.xml" ContentType="application/vnd.openxmlformats-officedocument.drawingml.chart+xml"/>
  <Override PartName="/ppt/charts/chart212.xml" ContentType="application/vnd.openxmlformats-officedocument.drawingml.chart+xml"/>
  <Override PartName="/ppt/charts/chart213.xml" ContentType="application/vnd.openxmlformats-officedocument.drawingml.chart+xml"/>
  <Override PartName="/ppt/charts/chart214.xml" ContentType="application/vnd.openxmlformats-officedocument.drawingml.chart+xml"/>
  <Override PartName="/ppt/charts/chart215.xml" ContentType="application/vnd.openxmlformats-officedocument.drawingml.chart+xml"/>
  <Override PartName="/ppt/charts/chart216.xml" ContentType="application/vnd.openxmlformats-officedocument.drawingml.chart+xml"/>
  <Override PartName="/ppt/charts/chart217.xml" ContentType="application/vnd.openxmlformats-officedocument.drawingml.chart+xml"/>
  <Override PartName="/ppt/charts/chart218.xml" ContentType="application/vnd.openxmlformats-officedocument.drawingml.chart+xml"/>
  <Override PartName="/ppt/charts/chart219.xml" ContentType="application/vnd.openxmlformats-officedocument.drawingml.chart+xml"/>
  <Override PartName="/ppt/charts/chart22.xml" ContentType="application/vnd.openxmlformats-officedocument.drawingml.chart+xml"/>
  <Override PartName="/ppt/charts/chart220.xml" ContentType="application/vnd.openxmlformats-officedocument.drawingml.chart+xml"/>
  <Override PartName="/ppt/charts/chart221.xml" ContentType="application/vnd.openxmlformats-officedocument.drawingml.chart+xml"/>
  <Override PartName="/ppt/charts/chart222.xml" ContentType="application/vnd.openxmlformats-officedocument.drawingml.chart+xml"/>
  <Override PartName="/ppt/charts/chart223.xml" ContentType="application/vnd.openxmlformats-officedocument.drawingml.chart+xml"/>
  <Override PartName="/ppt/charts/chart224.xml" ContentType="application/vnd.openxmlformats-officedocument.drawingml.chart+xml"/>
  <Override PartName="/ppt/charts/chart225.xml" ContentType="application/vnd.openxmlformats-officedocument.drawingml.chart+xml"/>
  <Override PartName="/ppt/charts/chart226.xml" ContentType="application/vnd.openxmlformats-officedocument.drawingml.chart+xml"/>
  <Override PartName="/ppt/charts/chart227.xml" ContentType="application/vnd.openxmlformats-officedocument.drawingml.chart+xml"/>
  <Override PartName="/ppt/charts/chart228.xml" ContentType="application/vnd.openxmlformats-officedocument.drawingml.chart+xml"/>
  <Override PartName="/ppt/charts/chart229.xml" ContentType="application/vnd.openxmlformats-officedocument.drawingml.chart+xml"/>
  <Override PartName="/ppt/charts/chart23.xml" ContentType="application/vnd.openxmlformats-officedocument.drawingml.chart+xml"/>
  <Override PartName="/ppt/charts/chart230.xml" ContentType="application/vnd.openxmlformats-officedocument.drawingml.chart+xml"/>
  <Override PartName="/ppt/charts/chart231.xml" ContentType="application/vnd.openxmlformats-officedocument.drawingml.chart+xml"/>
  <Override PartName="/ppt/charts/chart232.xml" ContentType="application/vnd.openxmlformats-officedocument.drawingml.chart+xml"/>
  <Override PartName="/ppt/charts/chart233.xml" ContentType="application/vnd.openxmlformats-officedocument.drawingml.chart+xml"/>
  <Override PartName="/ppt/charts/chart234.xml" ContentType="application/vnd.openxmlformats-officedocument.drawingml.chart+xml"/>
  <Override PartName="/ppt/charts/chart235.xml" ContentType="application/vnd.openxmlformats-officedocument.drawingml.chart+xml"/>
  <Override PartName="/ppt/charts/chart236.xml" ContentType="application/vnd.openxmlformats-officedocument.drawingml.chart+xml"/>
  <Override PartName="/ppt/charts/chart237.xml" ContentType="application/vnd.openxmlformats-officedocument.drawingml.chart+xml"/>
  <Override PartName="/ppt/charts/chart238.xml" ContentType="application/vnd.openxmlformats-officedocument.drawingml.chart+xml"/>
  <Override PartName="/ppt/charts/chart239.xml" ContentType="application/vnd.openxmlformats-officedocument.drawingml.chart+xml"/>
  <Override PartName="/ppt/charts/chart24.xml" ContentType="application/vnd.openxmlformats-officedocument.drawingml.chart+xml"/>
  <Override PartName="/ppt/charts/chart240.xml" ContentType="application/vnd.openxmlformats-officedocument.drawingml.chart+xml"/>
  <Override PartName="/ppt/charts/chart241.xml" ContentType="application/vnd.openxmlformats-officedocument.drawingml.chart+xml"/>
  <Override PartName="/ppt/charts/chart242.xml" ContentType="application/vnd.openxmlformats-officedocument.drawingml.chart+xml"/>
  <Override PartName="/ppt/charts/chart243.xml" ContentType="application/vnd.openxmlformats-officedocument.drawingml.chart+xml"/>
  <Override PartName="/ppt/charts/chart244.xml" ContentType="application/vnd.openxmlformats-officedocument.drawingml.chart+xml"/>
  <Override PartName="/ppt/charts/chart245.xml" ContentType="application/vnd.openxmlformats-officedocument.drawingml.chart+xml"/>
  <Override PartName="/ppt/charts/chart246.xml" ContentType="application/vnd.openxmlformats-officedocument.drawingml.chart+xml"/>
  <Override PartName="/ppt/charts/chart247.xml" ContentType="application/vnd.openxmlformats-officedocument.drawingml.chart+xml"/>
  <Override PartName="/ppt/charts/chart248.xml" ContentType="application/vnd.openxmlformats-officedocument.drawingml.chart+xml"/>
  <Override PartName="/ppt/charts/chart249.xml" ContentType="application/vnd.openxmlformats-officedocument.drawingml.chart+xml"/>
  <Override PartName="/ppt/charts/chart25.xml" ContentType="application/vnd.openxmlformats-officedocument.drawingml.chart+xml"/>
  <Override PartName="/ppt/charts/chart250.xml" ContentType="application/vnd.openxmlformats-officedocument.drawingml.chart+xml"/>
  <Override PartName="/ppt/charts/chart251.xml" ContentType="application/vnd.openxmlformats-officedocument.drawingml.chart+xml"/>
  <Override PartName="/ppt/charts/chart252.xml" ContentType="application/vnd.openxmlformats-officedocument.drawingml.chart+xml"/>
  <Override PartName="/ppt/charts/chart253.xml" ContentType="application/vnd.openxmlformats-officedocument.drawingml.chart+xml"/>
  <Override PartName="/ppt/charts/chart254.xml" ContentType="application/vnd.openxmlformats-officedocument.drawingml.chart+xml"/>
  <Override PartName="/ppt/charts/chart255.xml" ContentType="application/vnd.openxmlformats-officedocument.drawingml.chart+xml"/>
  <Override PartName="/ppt/charts/chart256.xml" ContentType="application/vnd.openxmlformats-officedocument.drawingml.chart+xml"/>
  <Override PartName="/ppt/charts/chart257.xml" ContentType="application/vnd.openxmlformats-officedocument.drawingml.chart+xml"/>
  <Override PartName="/ppt/charts/chart258.xml" ContentType="application/vnd.openxmlformats-officedocument.drawingml.chart+xml"/>
  <Override PartName="/ppt/charts/chart259.xml" ContentType="application/vnd.openxmlformats-officedocument.drawingml.chart+xml"/>
  <Override PartName="/ppt/charts/chart26.xml" ContentType="application/vnd.openxmlformats-officedocument.drawingml.chart+xml"/>
  <Override PartName="/ppt/charts/chart260.xml" ContentType="application/vnd.openxmlformats-officedocument.drawingml.chart+xml"/>
  <Override PartName="/ppt/charts/chart261.xml" ContentType="application/vnd.openxmlformats-officedocument.drawingml.chart+xml"/>
  <Override PartName="/ppt/charts/chart262.xml" ContentType="application/vnd.openxmlformats-officedocument.drawingml.chart+xml"/>
  <Override PartName="/ppt/charts/chart263.xml" ContentType="application/vnd.openxmlformats-officedocument.drawingml.chart+xml"/>
  <Override PartName="/ppt/charts/chart264.xml" ContentType="application/vnd.openxmlformats-officedocument.drawingml.chart+xml"/>
  <Override PartName="/ppt/charts/chart265.xml" ContentType="application/vnd.openxmlformats-officedocument.drawingml.chart+xml"/>
  <Override PartName="/ppt/charts/chart266.xml" ContentType="application/vnd.openxmlformats-officedocument.drawingml.chart+xml"/>
  <Override PartName="/ppt/charts/chart267.xml" ContentType="application/vnd.openxmlformats-officedocument.drawingml.chart+xml"/>
  <Override PartName="/ppt/charts/chart268.xml" ContentType="application/vnd.openxmlformats-officedocument.drawingml.chart+xml"/>
  <Override PartName="/ppt/charts/chart269.xml" ContentType="application/vnd.openxmlformats-officedocument.drawingml.chart+xml"/>
  <Override PartName="/ppt/charts/chart27.xml" ContentType="application/vnd.openxmlformats-officedocument.drawingml.chart+xml"/>
  <Override PartName="/ppt/charts/chart270.xml" ContentType="application/vnd.openxmlformats-officedocument.drawingml.chart+xml"/>
  <Override PartName="/ppt/charts/chart271.xml" ContentType="application/vnd.openxmlformats-officedocument.drawingml.chart+xml"/>
  <Override PartName="/ppt/charts/chart272.xml" ContentType="application/vnd.openxmlformats-officedocument.drawingml.chart+xml"/>
  <Override PartName="/ppt/charts/chart273.xml" ContentType="application/vnd.openxmlformats-officedocument.drawingml.chart+xml"/>
  <Override PartName="/ppt/charts/chart274.xml" ContentType="application/vnd.openxmlformats-officedocument.drawingml.chart+xml"/>
  <Override PartName="/ppt/charts/chart275.xml" ContentType="application/vnd.openxmlformats-officedocument.drawingml.chart+xml"/>
  <Override PartName="/ppt/charts/chart276.xml" ContentType="application/vnd.openxmlformats-officedocument.drawingml.chart+xml"/>
  <Override PartName="/ppt/charts/chart277.xml" ContentType="application/vnd.openxmlformats-officedocument.drawingml.chart+xml"/>
  <Override PartName="/ppt/charts/chart278.xml" ContentType="application/vnd.openxmlformats-officedocument.drawingml.chart+xml"/>
  <Override PartName="/ppt/charts/chart279.xml" ContentType="application/vnd.openxmlformats-officedocument.drawingml.chart+xml"/>
  <Override PartName="/ppt/charts/chart28.xml" ContentType="application/vnd.openxmlformats-officedocument.drawingml.chart+xml"/>
  <Override PartName="/ppt/charts/chart280.xml" ContentType="application/vnd.openxmlformats-officedocument.drawingml.chart+xml"/>
  <Override PartName="/ppt/charts/chart281.xml" ContentType="application/vnd.openxmlformats-officedocument.drawingml.chart+xml"/>
  <Override PartName="/ppt/charts/chart282.xml" ContentType="application/vnd.openxmlformats-officedocument.drawingml.chart+xml"/>
  <Override PartName="/ppt/charts/chart283.xml" ContentType="application/vnd.openxmlformats-officedocument.drawingml.chart+xml"/>
  <Override PartName="/ppt/charts/chart284.xml" ContentType="application/vnd.openxmlformats-officedocument.drawingml.chart+xml"/>
  <Override PartName="/ppt/charts/chart285.xml" ContentType="application/vnd.openxmlformats-officedocument.drawingml.chart+xml"/>
  <Override PartName="/ppt/charts/chart286.xml" ContentType="application/vnd.openxmlformats-officedocument.drawingml.chart+xml"/>
  <Override PartName="/ppt/charts/chart287.xml" ContentType="application/vnd.openxmlformats-officedocument.drawingml.chart+xml"/>
  <Override PartName="/ppt/charts/chart288.xml" ContentType="application/vnd.openxmlformats-officedocument.drawingml.chart+xml"/>
  <Override PartName="/ppt/charts/chart289.xml" ContentType="application/vnd.openxmlformats-officedocument.drawingml.chart+xml"/>
  <Override PartName="/ppt/charts/chart29.xml" ContentType="application/vnd.openxmlformats-officedocument.drawingml.chart+xml"/>
  <Override PartName="/ppt/charts/chart290.xml" ContentType="application/vnd.openxmlformats-officedocument.drawingml.chart+xml"/>
  <Override PartName="/ppt/charts/chart291.xml" ContentType="application/vnd.openxmlformats-officedocument.drawingml.chart+xml"/>
  <Override PartName="/ppt/charts/chart292.xml" ContentType="application/vnd.openxmlformats-officedocument.drawingml.chart+xml"/>
  <Override PartName="/ppt/charts/chart293.xml" ContentType="application/vnd.openxmlformats-officedocument.drawingml.chart+xml"/>
  <Override PartName="/ppt/charts/chart294.xml" ContentType="application/vnd.openxmlformats-officedocument.drawingml.chart+xml"/>
  <Override PartName="/ppt/charts/chart295.xml" ContentType="application/vnd.openxmlformats-officedocument.drawingml.chart+xml"/>
  <Override PartName="/ppt/charts/chart296.xml" ContentType="application/vnd.openxmlformats-officedocument.drawingml.chart+xml"/>
  <Override PartName="/ppt/charts/chart297.xml" ContentType="application/vnd.openxmlformats-officedocument.drawingml.chart+xml"/>
  <Override PartName="/ppt/charts/chart298.xml" ContentType="application/vnd.openxmlformats-officedocument.drawingml.chart+xml"/>
  <Override PartName="/ppt/charts/chart299.xml" ContentType="application/vnd.openxmlformats-officedocument.drawingml.chart+xml"/>
  <Override PartName="/ppt/charts/chart3.xml" ContentType="application/vnd.openxmlformats-officedocument.drawingml.chart+xml"/>
  <Override PartName="/ppt/charts/chart30.xml" ContentType="application/vnd.openxmlformats-officedocument.drawingml.chart+xml"/>
  <Override PartName="/ppt/charts/chart300.xml" ContentType="application/vnd.openxmlformats-officedocument.drawingml.chart+xml"/>
  <Override PartName="/ppt/charts/chart301.xml" ContentType="application/vnd.openxmlformats-officedocument.drawingml.chart+xml"/>
  <Override PartName="/ppt/charts/chart302.xml" ContentType="application/vnd.openxmlformats-officedocument.drawingml.chart+xml"/>
  <Override PartName="/ppt/charts/chart303.xml" ContentType="application/vnd.openxmlformats-officedocument.drawingml.chart+xml"/>
  <Override PartName="/ppt/charts/chart304.xml" ContentType="application/vnd.openxmlformats-officedocument.drawingml.chart+xml"/>
  <Override PartName="/ppt/charts/chart305.xml" ContentType="application/vnd.openxmlformats-officedocument.drawingml.chart+xml"/>
  <Override PartName="/ppt/charts/chart306.xml" ContentType="application/vnd.openxmlformats-officedocument.drawingml.chart+xml"/>
  <Override PartName="/ppt/charts/chart307.xml" ContentType="application/vnd.openxmlformats-officedocument.drawingml.chart+xml"/>
  <Override PartName="/ppt/charts/chart308.xml" ContentType="application/vnd.openxmlformats-officedocument.drawingml.chart+xml"/>
  <Override PartName="/ppt/charts/chart309.xml" ContentType="application/vnd.openxmlformats-officedocument.drawingml.chart+xml"/>
  <Override PartName="/ppt/charts/chart31.xml" ContentType="application/vnd.openxmlformats-officedocument.drawingml.chart+xml"/>
  <Override PartName="/ppt/charts/chart310.xml" ContentType="application/vnd.openxmlformats-officedocument.drawingml.chart+xml"/>
  <Override PartName="/ppt/charts/chart311.xml" ContentType="application/vnd.openxmlformats-officedocument.drawingml.chart+xml"/>
  <Override PartName="/ppt/charts/chart312.xml" ContentType="application/vnd.openxmlformats-officedocument.drawingml.chart+xml"/>
  <Override PartName="/ppt/charts/chart313.xml" ContentType="application/vnd.openxmlformats-officedocument.drawingml.chart+xml"/>
  <Override PartName="/ppt/charts/chart314.xml" ContentType="application/vnd.openxmlformats-officedocument.drawingml.chart+xml"/>
  <Override PartName="/ppt/charts/chart315.xml" ContentType="application/vnd.openxmlformats-officedocument.drawingml.chart+xml"/>
  <Override PartName="/ppt/charts/chart316.xml" ContentType="application/vnd.openxmlformats-officedocument.drawingml.chart+xml"/>
  <Override PartName="/ppt/charts/chart317.xml" ContentType="application/vnd.openxmlformats-officedocument.drawingml.chart+xml"/>
  <Override PartName="/ppt/charts/chart318.xml" ContentType="application/vnd.openxmlformats-officedocument.drawingml.chart+xml"/>
  <Override PartName="/ppt/charts/chart319.xml" ContentType="application/vnd.openxmlformats-officedocument.drawingml.chart+xml"/>
  <Override PartName="/ppt/charts/chart32.xml" ContentType="application/vnd.openxmlformats-officedocument.drawingml.chart+xml"/>
  <Override PartName="/ppt/charts/chart320.xml" ContentType="application/vnd.openxmlformats-officedocument.drawingml.chart+xml"/>
  <Override PartName="/ppt/charts/chart321.xml" ContentType="application/vnd.openxmlformats-officedocument.drawingml.chart+xml"/>
  <Override PartName="/ppt/charts/chart322.xml" ContentType="application/vnd.openxmlformats-officedocument.drawingml.chart+xml"/>
  <Override PartName="/ppt/charts/chart323.xml" ContentType="application/vnd.openxmlformats-officedocument.drawingml.chart+xml"/>
  <Override PartName="/ppt/charts/chart324.xml" ContentType="application/vnd.openxmlformats-officedocument.drawingml.chart+xml"/>
  <Override PartName="/ppt/charts/chart325.xml" ContentType="application/vnd.openxmlformats-officedocument.drawingml.chart+xml"/>
  <Override PartName="/ppt/charts/chart326.xml" ContentType="application/vnd.openxmlformats-officedocument.drawingml.chart+xml"/>
  <Override PartName="/ppt/charts/chart327.xml" ContentType="application/vnd.openxmlformats-officedocument.drawingml.chart+xml"/>
  <Override PartName="/ppt/charts/chart328.xml" ContentType="application/vnd.openxmlformats-officedocument.drawingml.chart+xml"/>
  <Override PartName="/ppt/charts/chart329.xml" ContentType="application/vnd.openxmlformats-officedocument.drawingml.chart+xml"/>
  <Override PartName="/ppt/charts/chart33.xml" ContentType="application/vnd.openxmlformats-officedocument.drawingml.chart+xml"/>
  <Override PartName="/ppt/charts/chart330.xml" ContentType="application/vnd.openxmlformats-officedocument.drawingml.chart+xml"/>
  <Override PartName="/ppt/charts/chart331.xml" ContentType="application/vnd.openxmlformats-officedocument.drawingml.chart+xml"/>
  <Override PartName="/ppt/charts/chart332.xml" ContentType="application/vnd.openxmlformats-officedocument.drawingml.chart+xml"/>
  <Override PartName="/ppt/charts/chart333.xml" ContentType="application/vnd.openxmlformats-officedocument.drawingml.chart+xml"/>
  <Override PartName="/ppt/charts/chart334.xml" ContentType="application/vnd.openxmlformats-officedocument.drawingml.chart+xml"/>
  <Override PartName="/ppt/charts/chart335.xml" ContentType="application/vnd.openxmlformats-officedocument.drawingml.chart+xml"/>
  <Override PartName="/ppt/charts/chart336.xml" ContentType="application/vnd.openxmlformats-officedocument.drawingml.chart+xml"/>
  <Override PartName="/ppt/charts/chart337.xml" ContentType="application/vnd.openxmlformats-officedocument.drawingml.chart+xml"/>
  <Override PartName="/ppt/charts/chart338.xml" ContentType="application/vnd.openxmlformats-officedocument.drawingml.chart+xml"/>
  <Override PartName="/ppt/charts/chart339.xml" ContentType="application/vnd.openxmlformats-officedocument.drawingml.chart+xml"/>
  <Override PartName="/ppt/charts/chart34.xml" ContentType="application/vnd.openxmlformats-officedocument.drawingml.chart+xml"/>
  <Override PartName="/ppt/charts/chart340.xml" ContentType="application/vnd.openxmlformats-officedocument.drawingml.chart+xml"/>
  <Override PartName="/ppt/charts/chart341.xml" ContentType="application/vnd.openxmlformats-officedocument.drawingml.chart+xml"/>
  <Override PartName="/ppt/charts/chart342.xml" ContentType="application/vnd.openxmlformats-officedocument.drawingml.chart+xml"/>
  <Override PartName="/ppt/charts/chart343.xml" ContentType="application/vnd.openxmlformats-officedocument.drawingml.chart+xml"/>
  <Override PartName="/ppt/charts/chart344.xml" ContentType="application/vnd.openxmlformats-officedocument.drawingml.chart+xml"/>
  <Override PartName="/ppt/charts/chart345.xml" ContentType="application/vnd.openxmlformats-officedocument.drawingml.chart+xml"/>
  <Override PartName="/ppt/charts/chart346.xml" ContentType="application/vnd.openxmlformats-officedocument.drawingml.chart+xml"/>
  <Override PartName="/ppt/charts/chart347.xml" ContentType="application/vnd.openxmlformats-officedocument.drawingml.chart+xml"/>
  <Override PartName="/ppt/charts/chart348.xml" ContentType="application/vnd.openxmlformats-officedocument.drawingml.chart+xml"/>
  <Override PartName="/ppt/charts/chart349.xml" ContentType="application/vnd.openxmlformats-officedocument.drawingml.chart+xml"/>
  <Override PartName="/ppt/charts/chart35.xml" ContentType="application/vnd.openxmlformats-officedocument.drawingml.chart+xml"/>
  <Override PartName="/ppt/charts/chart350.xml" ContentType="application/vnd.openxmlformats-officedocument.drawingml.chart+xml"/>
  <Override PartName="/ppt/charts/chart351.xml" ContentType="application/vnd.openxmlformats-officedocument.drawingml.chart+xml"/>
  <Override PartName="/ppt/charts/chart352.xml" ContentType="application/vnd.openxmlformats-officedocument.drawingml.chart+xml"/>
  <Override PartName="/ppt/charts/chart353.xml" ContentType="application/vnd.openxmlformats-officedocument.drawingml.chart+xml"/>
  <Override PartName="/ppt/charts/chart354.xml" ContentType="application/vnd.openxmlformats-officedocument.drawingml.chart+xml"/>
  <Override PartName="/ppt/charts/chart355.xml" ContentType="application/vnd.openxmlformats-officedocument.drawingml.chart+xml"/>
  <Override PartName="/ppt/charts/chart356.xml" ContentType="application/vnd.openxmlformats-officedocument.drawingml.chart+xml"/>
  <Override PartName="/ppt/charts/chart357.xml" ContentType="application/vnd.openxmlformats-officedocument.drawingml.chart+xml"/>
  <Override PartName="/ppt/charts/chart358.xml" ContentType="application/vnd.openxmlformats-officedocument.drawingml.chart+xml"/>
  <Override PartName="/ppt/charts/chart359.xml" ContentType="application/vnd.openxmlformats-officedocument.drawingml.chart+xml"/>
  <Override PartName="/ppt/charts/chart36.xml" ContentType="application/vnd.openxmlformats-officedocument.drawingml.chart+xml"/>
  <Override PartName="/ppt/charts/chart360.xml" ContentType="application/vnd.openxmlformats-officedocument.drawingml.chart+xml"/>
  <Override PartName="/ppt/charts/chart361.xml" ContentType="application/vnd.openxmlformats-officedocument.drawingml.chart+xml"/>
  <Override PartName="/ppt/charts/chart362.xml" ContentType="application/vnd.openxmlformats-officedocument.drawingml.chart+xml"/>
  <Override PartName="/ppt/charts/chart363.xml" ContentType="application/vnd.openxmlformats-officedocument.drawingml.chart+xml"/>
  <Override PartName="/ppt/charts/chart364.xml" ContentType="application/vnd.openxmlformats-officedocument.drawingml.chart+xml"/>
  <Override PartName="/ppt/charts/chart365.xml" ContentType="application/vnd.openxmlformats-officedocument.drawingml.chart+xml"/>
  <Override PartName="/ppt/charts/chart366.xml" ContentType="application/vnd.openxmlformats-officedocument.drawingml.chart+xml"/>
  <Override PartName="/ppt/charts/chart367.xml" ContentType="application/vnd.openxmlformats-officedocument.drawingml.chart+xml"/>
  <Override PartName="/ppt/charts/chart368.xml" ContentType="application/vnd.openxmlformats-officedocument.drawingml.chart+xml"/>
  <Override PartName="/ppt/charts/chart369.xml" ContentType="application/vnd.openxmlformats-officedocument.drawingml.chart+xml"/>
  <Override PartName="/ppt/charts/chart37.xml" ContentType="application/vnd.openxmlformats-officedocument.drawingml.chart+xml"/>
  <Override PartName="/ppt/charts/chart370.xml" ContentType="application/vnd.openxmlformats-officedocument.drawingml.chart+xml"/>
  <Override PartName="/ppt/charts/chart371.xml" ContentType="application/vnd.openxmlformats-officedocument.drawingml.chart+xml"/>
  <Override PartName="/ppt/charts/chart372.xml" ContentType="application/vnd.openxmlformats-officedocument.drawingml.chart+xml"/>
  <Override PartName="/ppt/charts/chart373.xml" ContentType="application/vnd.openxmlformats-officedocument.drawingml.chart+xml"/>
  <Override PartName="/ppt/charts/chart374.xml" ContentType="application/vnd.openxmlformats-officedocument.drawingml.chart+xml"/>
  <Override PartName="/ppt/charts/chart375.xml" ContentType="application/vnd.openxmlformats-officedocument.drawingml.chart+xml"/>
  <Override PartName="/ppt/charts/chart376.xml" ContentType="application/vnd.openxmlformats-officedocument.drawingml.chart+xml"/>
  <Override PartName="/ppt/charts/chart377.xml" ContentType="application/vnd.openxmlformats-officedocument.drawingml.chart+xml"/>
  <Override PartName="/ppt/charts/chart378.xml" ContentType="application/vnd.openxmlformats-officedocument.drawingml.chart+xml"/>
  <Override PartName="/ppt/charts/chart379.xml" ContentType="application/vnd.openxmlformats-officedocument.drawingml.chart+xml"/>
  <Override PartName="/ppt/charts/chart38.xml" ContentType="application/vnd.openxmlformats-officedocument.drawingml.chart+xml"/>
  <Override PartName="/ppt/charts/chart380.xml" ContentType="application/vnd.openxmlformats-officedocument.drawingml.chart+xml"/>
  <Override PartName="/ppt/charts/chart381.xml" ContentType="application/vnd.openxmlformats-officedocument.drawingml.chart+xml"/>
  <Override PartName="/ppt/charts/chart382.xml" ContentType="application/vnd.openxmlformats-officedocument.drawingml.chart+xml"/>
  <Override PartName="/ppt/charts/chart383.xml" ContentType="application/vnd.openxmlformats-officedocument.drawingml.chart+xml"/>
  <Override PartName="/ppt/charts/chart384.xml" ContentType="application/vnd.openxmlformats-officedocument.drawingml.chart+xml"/>
  <Override PartName="/ppt/charts/chart385.xml" ContentType="application/vnd.openxmlformats-officedocument.drawingml.chart+xml"/>
  <Override PartName="/ppt/charts/chart386.xml" ContentType="application/vnd.openxmlformats-officedocument.drawingml.chart+xml"/>
  <Override PartName="/ppt/charts/chart387.xml" ContentType="application/vnd.openxmlformats-officedocument.drawingml.chart+xml"/>
  <Override PartName="/ppt/charts/chart388.xml" ContentType="application/vnd.openxmlformats-officedocument.drawingml.chart+xml"/>
  <Override PartName="/ppt/charts/chart389.xml" ContentType="application/vnd.openxmlformats-officedocument.drawingml.chart+xml"/>
  <Override PartName="/ppt/charts/chart39.xml" ContentType="application/vnd.openxmlformats-officedocument.drawingml.chart+xml"/>
  <Override PartName="/ppt/charts/chart390.xml" ContentType="application/vnd.openxmlformats-officedocument.drawingml.chart+xml"/>
  <Override PartName="/ppt/charts/chart391.xml" ContentType="application/vnd.openxmlformats-officedocument.drawingml.chart+xml"/>
  <Override PartName="/ppt/charts/chart392.xml" ContentType="application/vnd.openxmlformats-officedocument.drawingml.chart+xml"/>
  <Override PartName="/ppt/charts/chart393.xml" ContentType="application/vnd.openxmlformats-officedocument.drawingml.chart+xml"/>
  <Override PartName="/ppt/charts/chart394.xml" ContentType="application/vnd.openxmlformats-officedocument.drawingml.chart+xml"/>
  <Override PartName="/ppt/charts/chart395.xml" ContentType="application/vnd.openxmlformats-officedocument.drawingml.chart+xml"/>
  <Override PartName="/ppt/charts/chart396.xml" ContentType="application/vnd.openxmlformats-officedocument.drawingml.chart+xml"/>
  <Override PartName="/ppt/charts/chart397.xml" ContentType="application/vnd.openxmlformats-officedocument.drawingml.chart+xml"/>
  <Override PartName="/ppt/charts/chart398.xml" ContentType="application/vnd.openxmlformats-officedocument.drawingml.chart+xml"/>
  <Override PartName="/ppt/charts/chart399.xml" ContentType="application/vnd.openxmlformats-officedocument.drawingml.chart+xml"/>
  <Override PartName="/ppt/charts/chart4.xml" ContentType="application/vnd.openxmlformats-officedocument.drawingml.chart+xml"/>
  <Override PartName="/ppt/charts/chart40.xml" ContentType="application/vnd.openxmlformats-officedocument.drawingml.chart+xml"/>
  <Override PartName="/ppt/charts/chart400.xml" ContentType="application/vnd.openxmlformats-officedocument.drawingml.chart+xml"/>
  <Override PartName="/ppt/charts/chart401.xml" ContentType="application/vnd.openxmlformats-officedocument.drawingml.chart+xml"/>
  <Override PartName="/ppt/charts/chart402.xml" ContentType="application/vnd.openxmlformats-officedocument.drawingml.chart+xml"/>
  <Override PartName="/ppt/charts/chart403.xml" ContentType="application/vnd.openxmlformats-officedocument.drawingml.chart+xml"/>
  <Override PartName="/ppt/charts/chart404.xml" ContentType="application/vnd.openxmlformats-officedocument.drawingml.chart+xml"/>
  <Override PartName="/ppt/charts/chart405.xml" ContentType="application/vnd.openxmlformats-officedocument.drawingml.chart+xml"/>
  <Override PartName="/ppt/charts/chart406.xml" ContentType="application/vnd.openxmlformats-officedocument.drawingml.chart+xml"/>
  <Override PartName="/ppt/charts/chart407.xml" ContentType="application/vnd.openxmlformats-officedocument.drawingml.chart+xml"/>
  <Override PartName="/ppt/charts/chart408.xml" ContentType="application/vnd.openxmlformats-officedocument.drawingml.chart+xml"/>
  <Override PartName="/ppt/charts/chart409.xml" ContentType="application/vnd.openxmlformats-officedocument.drawingml.chart+xml"/>
  <Override PartName="/ppt/charts/chart41.xml" ContentType="application/vnd.openxmlformats-officedocument.drawingml.chart+xml"/>
  <Override PartName="/ppt/charts/chart410.xml" ContentType="application/vnd.openxmlformats-officedocument.drawingml.chart+xml"/>
  <Override PartName="/ppt/charts/chart411.xml" ContentType="application/vnd.openxmlformats-officedocument.drawingml.chart+xml"/>
  <Override PartName="/ppt/charts/chart412.xml" ContentType="application/vnd.openxmlformats-officedocument.drawingml.chart+xml"/>
  <Override PartName="/ppt/charts/chart413.xml" ContentType="application/vnd.openxmlformats-officedocument.drawingml.chart+xml"/>
  <Override PartName="/ppt/charts/chart414.xml" ContentType="application/vnd.openxmlformats-officedocument.drawingml.chart+xml"/>
  <Override PartName="/ppt/charts/chart415.xml" ContentType="application/vnd.openxmlformats-officedocument.drawingml.chart+xml"/>
  <Override PartName="/ppt/charts/chart416.xml" ContentType="application/vnd.openxmlformats-officedocument.drawingml.chart+xml"/>
  <Override PartName="/ppt/charts/chart417.xml" ContentType="application/vnd.openxmlformats-officedocument.drawingml.chart+xml"/>
  <Override PartName="/ppt/charts/chart418.xml" ContentType="application/vnd.openxmlformats-officedocument.drawingml.chart+xml"/>
  <Override PartName="/ppt/charts/chart419.xml" ContentType="application/vnd.openxmlformats-officedocument.drawingml.chart+xml"/>
  <Override PartName="/ppt/charts/chart42.xml" ContentType="application/vnd.openxmlformats-officedocument.drawingml.chart+xml"/>
  <Override PartName="/ppt/charts/chart420.xml" ContentType="application/vnd.openxmlformats-officedocument.drawingml.chart+xml"/>
  <Override PartName="/ppt/charts/chart421.xml" ContentType="application/vnd.openxmlformats-officedocument.drawingml.chart+xml"/>
  <Override PartName="/ppt/charts/chart422.xml" ContentType="application/vnd.openxmlformats-officedocument.drawingml.chart+xml"/>
  <Override PartName="/ppt/charts/chart423.xml" ContentType="application/vnd.openxmlformats-officedocument.drawingml.chart+xml"/>
  <Override PartName="/ppt/charts/chart424.xml" ContentType="application/vnd.openxmlformats-officedocument.drawingml.chart+xml"/>
  <Override PartName="/ppt/charts/chart425.xml" ContentType="application/vnd.openxmlformats-officedocument.drawingml.chart+xml"/>
  <Override PartName="/ppt/charts/chart426.xml" ContentType="application/vnd.openxmlformats-officedocument.drawingml.chart+xml"/>
  <Override PartName="/ppt/charts/chart427.xml" ContentType="application/vnd.openxmlformats-officedocument.drawingml.chart+xml"/>
  <Override PartName="/ppt/charts/chart428.xml" ContentType="application/vnd.openxmlformats-officedocument.drawingml.chart+xml"/>
  <Override PartName="/ppt/charts/chart429.xml" ContentType="application/vnd.openxmlformats-officedocument.drawingml.chart+xml"/>
  <Override PartName="/ppt/charts/chart43.xml" ContentType="application/vnd.openxmlformats-officedocument.drawingml.chart+xml"/>
  <Override PartName="/ppt/charts/chart430.xml" ContentType="application/vnd.openxmlformats-officedocument.drawingml.chart+xml"/>
  <Override PartName="/ppt/charts/chart431.xml" ContentType="application/vnd.openxmlformats-officedocument.drawingml.chart+xml"/>
  <Override PartName="/ppt/charts/chart432.xml" ContentType="application/vnd.openxmlformats-officedocument.drawingml.chart+xml"/>
  <Override PartName="/ppt/charts/chart433.xml" ContentType="application/vnd.openxmlformats-officedocument.drawingml.chart+xml"/>
  <Override PartName="/ppt/charts/chart434.xml" ContentType="application/vnd.openxmlformats-officedocument.drawingml.chart+xml"/>
  <Override PartName="/ppt/charts/chart435.xml" ContentType="application/vnd.openxmlformats-officedocument.drawingml.chart+xml"/>
  <Override PartName="/ppt/charts/chart436.xml" ContentType="application/vnd.openxmlformats-officedocument.drawingml.chart+xml"/>
  <Override PartName="/ppt/charts/chart437.xml" ContentType="application/vnd.openxmlformats-officedocument.drawingml.chart+xml"/>
  <Override PartName="/ppt/charts/chart438.xml" ContentType="application/vnd.openxmlformats-officedocument.drawingml.chart+xml"/>
  <Override PartName="/ppt/charts/chart439.xml" ContentType="application/vnd.openxmlformats-officedocument.drawingml.chart+xml"/>
  <Override PartName="/ppt/charts/chart44.xml" ContentType="application/vnd.openxmlformats-officedocument.drawingml.chart+xml"/>
  <Override PartName="/ppt/charts/chart440.xml" ContentType="application/vnd.openxmlformats-officedocument.drawingml.chart+xml"/>
  <Override PartName="/ppt/charts/chart441.xml" ContentType="application/vnd.openxmlformats-officedocument.drawingml.chart+xml"/>
  <Override PartName="/ppt/charts/chart442.xml" ContentType="application/vnd.openxmlformats-officedocument.drawingml.chart+xml"/>
  <Override PartName="/ppt/charts/chart443.xml" ContentType="application/vnd.openxmlformats-officedocument.drawingml.chart+xml"/>
  <Override PartName="/ppt/charts/chart444.xml" ContentType="application/vnd.openxmlformats-officedocument.drawingml.chart+xml"/>
  <Override PartName="/ppt/charts/chart445.xml" ContentType="application/vnd.openxmlformats-officedocument.drawingml.chart+xml"/>
  <Override PartName="/ppt/charts/chart446.xml" ContentType="application/vnd.openxmlformats-officedocument.drawingml.chart+xml"/>
  <Override PartName="/ppt/charts/chart447.xml" ContentType="application/vnd.openxmlformats-officedocument.drawingml.chart+xml"/>
  <Override PartName="/ppt/charts/chart448.xml" ContentType="application/vnd.openxmlformats-officedocument.drawingml.chart+xml"/>
  <Override PartName="/ppt/charts/chart449.xml" ContentType="application/vnd.openxmlformats-officedocument.drawingml.chart+xml"/>
  <Override PartName="/ppt/charts/chart45.xml" ContentType="application/vnd.openxmlformats-officedocument.drawingml.chart+xml"/>
  <Override PartName="/ppt/charts/chart450.xml" ContentType="application/vnd.openxmlformats-officedocument.drawingml.chart+xml"/>
  <Override PartName="/ppt/charts/chart451.xml" ContentType="application/vnd.openxmlformats-officedocument.drawingml.chart+xml"/>
  <Override PartName="/ppt/charts/chart452.xml" ContentType="application/vnd.openxmlformats-officedocument.drawingml.chart+xml"/>
  <Override PartName="/ppt/charts/chart453.xml" ContentType="application/vnd.openxmlformats-officedocument.drawingml.chart+xml"/>
  <Override PartName="/ppt/charts/chart454.xml" ContentType="application/vnd.openxmlformats-officedocument.drawingml.chart+xml"/>
  <Override PartName="/ppt/charts/chart455.xml" ContentType="application/vnd.openxmlformats-officedocument.drawingml.chart+xml"/>
  <Override PartName="/ppt/charts/chart456.xml" ContentType="application/vnd.openxmlformats-officedocument.drawingml.chart+xml"/>
  <Override PartName="/ppt/charts/chart457.xml" ContentType="application/vnd.openxmlformats-officedocument.drawingml.chart+xml"/>
  <Override PartName="/ppt/charts/chart458.xml" ContentType="application/vnd.openxmlformats-officedocument.drawingml.chart+xml"/>
  <Override PartName="/ppt/charts/chart459.xml" ContentType="application/vnd.openxmlformats-officedocument.drawingml.chart+xml"/>
  <Override PartName="/ppt/charts/chart46.xml" ContentType="application/vnd.openxmlformats-officedocument.drawingml.chart+xml"/>
  <Override PartName="/ppt/charts/chart460.xml" ContentType="application/vnd.openxmlformats-officedocument.drawingml.chart+xml"/>
  <Override PartName="/ppt/charts/chart461.xml" ContentType="application/vnd.openxmlformats-officedocument.drawingml.chart+xml"/>
  <Override PartName="/ppt/charts/chart462.xml" ContentType="application/vnd.openxmlformats-officedocument.drawingml.chart+xml"/>
  <Override PartName="/ppt/charts/chart463.xml" ContentType="application/vnd.openxmlformats-officedocument.drawingml.chart+xml"/>
  <Override PartName="/ppt/charts/chart464.xml" ContentType="application/vnd.openxmlformats-officedocument.drawingml.chart+xml"/>
  <Override PartName="/ppt/charts/chart465.xml" ContentType="application/vnd.openxmlformats-officedocument.drawingml.chart+xml"/>
  <Override PartName="/ppt/charts/chart466.xml" ContentType="application/vnd.openxmlformats-officedocument.drawingml.chart+xml"/>
  <Override PartName="/ppt/charts/chart467.xml" ContentType="application/vnd.openxmlformats-officedocument.drawingml.chart+xml"/>
  <Override PartName="/ppt/charts/chart468.xml" ContentType="application/vnd.openxmlformats-officedocument.drawingml.chart+xml"/>
  <Override PartName="/ppt/charts/chart469.xml" ContentType="application/vnd.openxmlformats-officedocument.drawingml.chart+xml"/>
  <Override PartName="/ppt/charts/chart47.xml" ContentType="application/vnd.openxmlformats-officedocument.drawingml.chart+xml"/>
  <Override PartName="/ppt/charts/chart470.xml" ContentType="application/vnd.openxmlformats-officedocument.drawingml.chart+xml"/>
  <Override PartName="/ppt/charts/chart471.xml" ContentType="application/vnd.openxmlformats-officedocument.drawingml.chart+xml"/>
  <Override PartName="/ppt/charts/chart472.xml" ContentType="application/vnd.openxmlformats-officedocument.drawingml.chart+xml"/>
  <Override PartName="/ppt/charts/chart473.xml" ContentType="application/vnd.openxmlformats-officedocument.drawingml.chart+xml"/>
  <Override PartName="/ppt/charts/chart474.xml" ContentType="application/vnd.openxmlformats-officedocument.drawingml.chart+xml"/>
  <Override PartName="/ppt/charts/chart475.xml" ContentType="application/vnd.openxmlformats-officedocument.drawingml.chart+xml"/>
  <Override PartName="/ppt/charts/chart476.xml" ContentType="application/vnd.openxmlformats-officedocument.drawingml.chart+xml"/>
  <Override PartName="/ppt/charts/chart477.xml" ContentType="application/vnd.openxmlformats-officedocument.drawingml.chart+xml"/>
  <Override PartName="/ppt/charts/chart478.xml" ContentType="application/vnd.openxmlformats-officedocument.drawingml.chart+xml"/>
  <Override PartName="/ppt/charts/chart479.xml" ContentType="application/vnd.openxmlformats-officedocument.drawingml.chart+xml"/>
  <Override PartName="/ppt/charts/chart48.xml" ContentType="application/vnd.openxmlformats-officedocument.drawingml.chart+xml"/>
  <Override PartName="/ppt/charts/chart480.xml" ContentType="application/vnd.openxmlformats-officedocument.drawingml.chart+xml"/>
  <Override PartName="/ppt/charts/chart481.xml" ContentType="application/vnd.openxmlformats-officedocument.drawingml.chart+xml"/>
  <Override PartName="/ppt/charts/chart482.xml" ContentType="application/vnd.openxmlformats-officedocument.drawingml.chart+xml"/>
  <Override PartName="/ppt/charts/chart483.xml" ContentType="application/vnd.openxmlformats-officedocument.drawingml.chart+xml"/>
  <Override PartName="/ppt/charts/chart484.xml" ContentType="application/vnd.openxmlformats-officedocument.drawingml.chart+xml"/>
  <Override PartName="/ppt/charts/chart485.xml" ContentType="application/vnd.openxmlformats-officedocument.drawingml.chart+xml"/>
  <Override PartName="/ppt/charts/chart486.xml" ContentType="application/vnd.openxmlformats-officedocument.drawingml.chart+xml"/>
  <Override PartName="/ppt/charts/chart487.xml" ContentType="application/vnd.openxmlformats-officedocument.drawingml.chart+xml"/>
  <Override PartName="/ppt/charts/chart488.xml" ContentType="application/vnd.openxmlformats-officedocument.drawingml.chart+xml"/>
  <Override PartName="/ppt/charts/chart489.xml" ContentType="application/vnd.openxmlformats-officedocument.drawingml.chart+xml"/>
  <Override PartName="/ppt/charts/chart49.xml" ContentType="application/vnd.openxmlformats-officedocument.drawingml.chart+xml"/>
  <Override PartName="/ppt/charts/chart490.xml" ContentType="application/vnd.openxmlformats-officedocument.drawingml.chart+xml"/>
  <Override PartName="/ppt/charts/chart491.xml" ContentType="application/vnd.openxmlformats-officedocument.drawingml.chart+xml"/>
  <Override PartName="/ppt/charts/chart492.xml" ContentType="application/vnd.openxmlformats-officedocument.drawingml.chart+xml"/>
  <Override PartName="/ppt/charts/chart493.xml" ContentType="application/vnd.openxmlformats-officedocument.drawingml.chart+xml"/>
  <Override PartName="/ppt/charts/chart494.xml" ContentType="application/vnd.openxmlformats-officedocument.drawingml.chart+xml"/>
  <Override PartName="/ppt/charts/chart5.xml" ContentType="application/vnd.openxmlformats-officedocument.drawingml.chart+xml"/>
  <Override PartName="/ppt/charts/chart50.xml" ContentType="application/vnd.openxmlformats-officedocument.drawingml.chart+xml"/>
  <Override PartName="/ppt/charts/chart51.xml" ContentType="application/vnd.openxmlformats-officedocument.drawingml.chart+xml"/>
  <Override PartName="/ppt/charts/chart52.xml" ContentType="application/vnd.openxmlformats-officedocument.drawingml.chart+xml"/>
  <Override PartName="/ppt/charts/chart53.xml" ContentType="application/vnd.openxmlformats-officedocument.drawingml.chart+xml"/>
  <Override PartName="/ppt/charts/chart54.xml" ContentType="application/vnd.openxmlformats-officedocument.drawingml.chart+xml"/>
  <Override PartName="/ppt/charts/chart55.xml" ContentType="application/vnd.openxmlformats-officedocument.drawingml.chart+xml"/>
  <Override PartName="/ppt/charts/chart56.xml" ContentType="application/vnd.openxmlformats-officedocument.drawingml.chart+xml"/>
  <Override PartName="/ppt/charts/chart57.xml" ContentType="application/vnd.openxmlformats-officedocument.drawingml.chart+xml"/>
  <Override PartName="/ppt/charts/chart58.xml" ContentType="application/vnd.openxmlformats-officedocument.drawingml.chart+xml"/>
  <Override PartName="/ppt/charts/chart59.xml" ContentType="application/vnd.openxmlformats-officedocument.drawingml.chart+xml"/>
  <Override PartName="/ppt/charts/chart6.xml" ContentType="application/vnd.openxmlformats-officedocument.drawingml.chart+xml"/>
  <Override PartName="/ppt/charts/chart60.xml" ContentType="application/vnd.openxmlformats-officedocument.drawingml.chart+xml"/>
  <Override PartName="/ppt/charts/chart61.xml" ContentType="application/vnd.openxmlformats-officedocument.drawingml.chart+xml"/>
  <Override PartName="/ppt/charts/chart62.xml" ContentType="application/vnd.openxmlformats-officedocument.drawingml.chart+xml"/>
  <Override PartName="/ppt/charts/chart63.xml" ContentType="application/vnd.openxmlformats-officedocument.drawingml.chart+xml"/>
  <Override PartName="/ppt/charts/chart64.xml" ContentType="application/vnd.openxmlformats-officedocument.drawingml.chart+xml"/>
  <Override PartName="/ppt/charts/chart65.xml" ContentType="application/vnd.openxmlformats-officedocument.drawingml.chart+xml"/>
  <Override PartName="/ppt/charts/chart66.xml" ContentType="application/vnd.openxmlformats-officedocument.drawingml.chart+xml"/>
  <Override PartName="/ppt/charts/chart67.xml" ContentType="application/vnd.openxmlformats-officedocument.drawingml.chart+xml"/>
  <Override PartName="/ppt/charts/chart68.xml" ContentType="application/vnd.openxmlformats-officedocument.drawingml.chart+xml"/>
  <Override PartName="/ppt/charts/chart69.xml" ContentType="application/vnd.openxmlformats-officedocument.drawingml.chart+xml"/>
  <Override PartName="/ppt/charts/chart7.xml" ContentType="application/vnd.openxmlformats-officedocument.drawingml.chart+xml"/>
  <Override PartName="/ppt/charts/chart70.xml" ContentType="application/vnd.openxmlformats-officedocument.drawingml.chart+xml"/>
  <Override PartName="/ppt/charts/chart71.xml" ContentType="application/vnd.openxmlformats-officedocument.drawingml.chart+xml"/>
  <Override PartName="/ppt/charts/chart72.xml" ContentType="application/vnd.openxmlformats-officedocument.drawingml.chart+xml"/>
  <Override PartName="/ppt/charts/chart73.xml" ContentType="application/vnd.openxmlformats-officedocument.drawingml.chart+xml"/>
  <Override PartName="/ppt/charts/chart74.xml" ContentType="application/vnd.openxmlformats-officedocument.drawingml.chart+xml"/>
  <Override PartName="/ppt/charts/chart75.xml" ContentType="application/vnd.openxmlformats-officedocument.drawingml.chart+xml"/>
  <Override PartName="/ppt/charts/chart76.xml" ContentType="application/vnd.openxmlformats-officedocument.drawingml.chart+xml"/>
  <Override PartName="/ppt/charts/chart77.xml" ContentType="application/vnd.openxmlformats-officedocument.drawingml.chart+xml"/>
  <Override PartName="/ppt/charts/chart78.xml" ContentType="application/vnd.openxmlformats-officedocument.drawingml.chart+xml"/>
  <Override PartName="/ppt/charts/chart79.xml" ContentType="application/vnd.openxmlformats-officedocument.drawingml.chart+xml"/>
  <Override PartName="/ppt/charts/chart8.xml" ContentType="application/vnd.openxmlformats-officedocument.drawingml.chart+xml"/>
  <Override PartName="/ppt/charts/chart80.xml" ContentType="application/vnd.openxmlformats-officedocument.drawingml.chart+xml"/>
  <Override PartName="/ppt/charts/chart81.xml" ContentType="application/vnd.openxmlformats-officedocument.drawingml.chart+xml"/>
  <Override PartName="/ppt/charts/chart82.xml" ContentType="application/vnd.openxmlformats-officedocument.drawingml.chart+xml"/>
  <Override PartName="/ppt/charts/chart83.xml" ContentType="application/vnd.openxmlformats-officedocument.drawingml.chart+xml"/>
  <Override PartName="/ppt/charts/chart84.xml" ContentType="application/vnd.openxmlformats-officedocument.drawingml.chart+xml"/>
  <Override PartName="/ppt/charts/chart85.xml" ContentType="application/vnd.openxmlformats-officedocument.drawingml.chart+xml"/>
  <Override PartName="/ppt/charts/chart86.xml" ContentType="application/vnd.openxmlformats-officedocument.drawingml.chart+xml"/>
  <Override PartName="/ppt/charts/chart87.xml" ContentType="application/vnd.openxmlformats-officedocument.drawingml.chart+xml"/>
  <Override PartName="/ppt/charts/chart88.xml" ContentType="application/vnd.openxmlformats-officedocument.drawingml.chart+xml"/>
  <Override PartName="/ppt/charts/chart89.xml" ContentType="application/vnd.openxmlformats-officedocument.drawingml.chart+xml"/>
  <Override PartName="/ppt/charts/chart9.xml" ContentType="application/vnd.openxmlformats-officedocument.drawingml.chart+xml"/>
  <Override PartName="/ppt/charts/chart90.xml" ContentType="application/vnd.openxmlformats-officedocument.drawingml.chart+xml"/>
  <Override PartName="/ppt/charts/chart91.xml" ContentType="application/vnd.openxmlformats-officedocument.drawingml.chart+xml"/>
  <Override PartName="/ppt/charts/chart92.xml" ContentType="application/vnd.openxmlformats-officedocument.drawingml.chart+xml"/>
  <Override PartName="/ppt/charts/chart93.xml" ContentType="application/vnd.openxmlformats-officedocument.drawingml.chart+xml"/>
  <Override PartName="/ppt/charts/chart94.xml" ContentType="application/vnd.openxmlformats-officedocument.drawingml.chart+xml"/>
  <Override PartName="/ppt/charts/chart95.xml" ContentType="application/vnd.openxmlformats-officedocument.drawingml.chart+xml"/>
  <Override PartName="/ppt/charts/chart96.xml" ContentType="application/vnd.openxmlformats-officedocument.drawingml.chart+xml"/>
  <Override PartName="/ppt/charts/chart97.xml" ContentType="application/vnd.openxmlformats-officedocument.drawingml.chart+xml"/>
  <Override PartName="/ppt/charts/chart98.xml" ContentType="application/vnd.openxmlformats-officedocument.drawingml.chart+xml"/>
  <Override PartName="/ppt/charts/chart99.xml" ContentType="application/vnd.openxmlformats-officedocument.drawingml.chart+xml"/>
  <Override PartName="/ppt/embeddings/oleObject1.bin" ContentType="application/vnd.openxmlformats-officedocument.oleObject"/>
  <Override PartName="/ppt/embeddings/oleObject10.bin" ContentType="application/vnd.openxmlformats-officedocument.oleObject"/>
  <Override PartName="/ppt/embeddings/oleObject11.bin" ContentType="application/vnd.openxmlformats-officedocument.oleObject"/>
  <Override PartName="/ppt/embeddings/oleObject12.bin" ContentType="application/vnd.openxmlformats-officedocument.oleObject"/>
  <Override PartName="/ppt/embeddings/oleObject13.bin" ContentType="application/vnd.openxmlformats-officedocument.oleObject"/>
  <Override PartName="/ppt/embeddings/oleObject14.bin" ContentType="application/vnd.openxmlformats-officedocument.oleObject"/>
  <Override PartName="/ppt/embeddings/oleObject15.bin" ContentType="application/vnd.openxmlformats-officedocument.oleObject"/>
  <Override PartName="/ppt/embeddings/oleObject16.bin" ContentType="application/vnd.openxmlformats-officedocument.oleObject"/>
  <Override PartName="/ppt/embeddings/oleObject17.bin" ContentType="application/vnd.openxmlformats-officedocument.oleObject"/>
  <Override PartName="/ppt/embeddings/oleObject18.bin" ContentType="application/vnd.openxmlformats-officedocument.oleObject"/>
  <Override PartName="/ppt/embeddings/oleObject19.bin" ContentType="application/vnd.openxmlformats-officedocument.oleObject"/>
  <Override PartName="/ppt/embeddings/oleObject2.bin" ContentType="application/vnd.openxmlformats-officedocument.oleObject"/>
  <Override PartName="/ppt/embeddings/oleObject20.bin" ContentType="application/vnd.openxmlformats-officedocument.oleObject"/>
  <Override PartName="/ppt/embeddings/oleObject21.bin" ContentType="application/vnd.openxmlformats-officedocument.oleObject"/>
  <Override PartName="/ppt/embeddings/oleObject22.bin" ContentType="application/vnd.openxmlformats-officedocument.oleObject"/>
  <Override PartName="/ppt/embeddings/oleObject23.bin" ContentType="application/vnd.openxmlformats-officedocument.oleObject"/>
  <Override PartName="/ppt/embeddings/oleObject24.bin" ContentType="application/vnd.openxmlformats-officedocument.oleObject"/>
  <Override PartName="/ppt/embeddings/oleObject25.bin" ContentType="application/vnd.openxmlformats-officedocument.oleObject"/>
  <Override PartName="/ppt/embeddings/oleObject26.bin" ContentType="application/vnd.openxmlformats-officedocument.oleObject"/>
  <Override PartName="/ppt/embeddings/oleObject27.bin" ContentType="application/vnd.openxmlformats-officedocument.oleObject"/>
  <Override PartName="/ppt/embeddings/oleObject28.bin" ContentType="application/vnd.openxmlformats-officedocument.oleObject"/>
  <Override PartName="/ppt/embeddings/oleObject3.bin" ContentType="application/vnd.openxmlformats-officedocument.oleObject"/>
  <Override PartName="/ppt/embeddings/oleObject4.bin" ContentType="application/vnd.openxmlformats-officedocument.oleObject"/>
  <Override PartName="/ppt/embeddings/oleObject5.bin" ContentType="application/vnd.openxmlformats-officedocument.oleObject"/>
  <Override PartName="/ppt/embeddings/oleObject6.bin" ContentType="application/vnd.openxmlformats-officedocument.oleObject"/>
  <Override PartName="/ppt/embeddings/oleObject7.bin" ContentType="application/vnd.openxmlformats-officedocument.oleObject"/>
  <Override PartName="/ppt/embeddings/oleObject8.bin" ContentType="application/vnd.openxmlformats-officedocument.oleObject"/>
  <Override PartName="/ppt/embeddings/oleObject9.bin" ContentType="application/vnd.openxmlformats-officedocument.oleObject"/>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10.xml" ContentType="application/vnd.openxmlformats-officedocument.presentationml.notesSlide+xml"/>
  <Override PartName="/ppt/notesSlides/notesSlide100.xml" ContentType="application/vnd.openxmlformats-officedocument.presentationml.notesSlide+xml"/>
  <Override PartName="/ppt/notesSlides/notesSlide101.xml" ContentType="application/vnd.openxmlformats-officedocument.presentationml.notesSlide+xml"/>
  <Override PartName="/ppt/notesSlides/notesSlide102.xml" ContentType="application/vnd.openxmlformats-officedocument.presentationml.notesSlide+xml"/>
  <Override PartName="/ppt/notesSlides/notesSlide103.xml" ContentType="application/vnd.openxmlformats-officedocument.presentationml.notesSlide+xml"/>
  <Override PartName="/ppt/notesSlides/notesSlide104.xml" ContentType="application/vnd.openxmlformats-officedocument.presentationml.notesSlide+xml"/>
  <Override PartName="/ppt/notesSlides/notesSlide105.xml" ContentType="application/vnd.openxmlformats-officedocument.presentationml.notesSlide+xml"/>
  <Override PartName="/ppt/notesSlides/notesSlide106.xml" ContentType="application/vnd.openxmlformats-officedocument.presentationml.notesSlide+xml"/>
  <Override PartName="/ppt/notesSlides/notesSlide107.xml" ContentType="application/vnd.openxmlformats-officedocument.presentationml.notesSlide+xml"/>
  <Override PartName="/ppt/notesSlides/notesSlide108.xml" ContentType="application/vnd.openxmlformats-officedocument.presentationml.notesSlide+xml"/>
  <Override PartName="/ppt/notesSlides/notesSlide109.xml" ContentType="application/vnd.openxmlformats-officedocument.presentationml.notesSlide+xml"/>
  <Override PartName="/ppt/notesSlides/notesSlide11.xml" ContentType="application/vnd.openxmlformats-officedocument.presentationml.notesSlide+xml"/>
  <Override PartName="/ppt/notesSlides/notesSlide110.xml" ContentType="application/vnd.openxmlformats-officedocument.presentationml.notesSlide+xml"/>
  <Override PartName="/ppt/notesSlides/notesSlide111.xml" ContentType="application/vnd.openxmlformats-officedocument.presentationml.notesSlide+xml"/>
  <Override PartName="/ppt/notesSlides/notesSlide112.xml" ContentType="application/vnd.openxmlformats-officedocument.presentationml.notesSlide+xml"/>
  <Override PartName="/ppt/notesSlides/notesSlide113.xml" ContentType="application/vnd.openxmlformats-officedocument.presentationml.notesSlide+xml"/>
  <Override PartName="/ppt/notesSlides/notesSlide114.xml" ContentType="application/vnd.openxmlformats-officedocument.presentationml.notesSlide+xml"/>
  <Override PartName="/ppt/notesSlides/notesSlide115.xml" ContentType="application/vnd.openxmlformats-officedocument.presentationml.notesSlide+xml"/>
  <Override PartName="/ppt/notesSlides/notesSlide116.xml" ContentType="application/vnd.openxmlformats-officedocument.presentationml.notesSlide+xml"/>
  <Override PartName="/ppt/notesSlides/notesSlide117.xml" ContentType="application/vnd.openxmlformats-officedocument.presentationml.notesSlide+xml"/>
  <Override PartName="/ppt/notesSlides/notesSlide118.xml" ContentType="application/vnd.openxmlformats-officedocument.presentationml.notesSlide+xml"/>
  <Override PartName="/ppt/notesSlides/notesSlide119.xml" ContentType="application/vnd.openxmlformats-officedocument.presentationml.notesSlide+xml"/>
  <Override PartName="/ppt/notesSlides/notesSlide12.xml" ContentType="application/vnd.openxmlformats-officedocument.presentationml.notesSlide+xml"/>
  <Override PartName="/ppt/notesSlides/notesSlide120.xml" ContentType="application/vnd.openxmlformats-officedocument.presentationml.notesSlide+xml"/>
  <Override PartName="/ppt/notesSlides/notesSlide121.xml" ContentType="application/vnd.openxmlformats-officedocument.presentationml.notesSlide+xml"/>
  <Override PartName="/ppt/notesSlides/notesSlide122.xml" ContentType="application/vnd.openxmlformats-officedocument.presentationml.notesSlide+xml"/>
  <Override PartName="/ppt/notesSlides/notesSlide123.xml" ContentType="application/vnd.openxmlformats-officedocument.presentationml.notesSlide+xml"/>
  <Override PartName="/ppt/notesSlides/notesSlide124.xml" ContentType="application/vnd.openxmlformats-officedocument.presentationml.notesSlide+xml"/>
  <Override PartName="/ppt/notesSlides/notesSlide125.xml" ContentType="application/vnd.openxmlformats-officedocument.presentationml.notesSlide+xml"/>
  <Override PartName="/ppt/notesSlides/notesSlide126.xml" ContentType="application/vnd.openxmlformats-officedocument.presentationml.notesSlide+xml"/>
  <Override PartName="/ppt/notesSlides/notesSlide127.xml" ContentType="application/vnd.openxmlformats-officedocument.presentationml.notesSlide+xml"/>
  <Override PartName="/ppt/notesSlides/notesSlide128.xml" ContentType="application/vnd.openxmlformats-officedocument.presentationml.notesSlide+xml"/>
  <Override PartName="/ppt/notesSlides/notesSlide129.xml" ContentType="application/vnd.openxmlformats-officedocument.presentationml.notesSlide+xml"/>
  <Override PartName="/ppt/notesSlides/notesSlide13.xml" ContentType="application/vnd.openxmlformats-officedocument.presentationml.notesSlide+xml"/>
  <Override PartName="/ppt/notesSlides/notesSlide130.xml" ContentType="application/vnd.openxmlformats-officedocument.presentationml.notesSlide+xml"/>
  <Override PartName="/ppt/notesSlides/notesSlide131.xml" ContentType="application/vnd.openxmlformats-officedocument.presentationml.notesSlide+xml"/>
  <Override PartName="/ppt/notesSlides/notesSlide132.xml" ContentType="application/vnd.openxmlformats-officedocument.presentationml.notesSlide+xml"/>
  <Override PartName="/ppt/notesSlides/notesSlide133.xml" ContentType="application/vnd.openxmlformats-officedocument.presentationml.notesSlide+xml"/>
  <Override PartName="/ppt/notesSlides/notesSlide134.xml" ContentType="application/vnd.openxmlformats-officedocument.presentationml.notesSlide+xml"/>
  <Override PartName="/ppt/notesSlides/notesSlide135.xml" ContentType="application/vnd.openxmlformats-officedocument.presentationml.notesSlide+xml"/>
  <Override PartName="/ppt/notesSlides/notesSlide136.xml" ContentType="application/vnd.openxmlformats-officedocument.presentationml.notesSlide+xml"/>
  <Override PartName="/ppt/notesSlides/notesSlide137.xml" ContentType="application/vnd.openxmlformats-officedocument.presentationml.notesSlide+xml"/>
  <Override PartName="/ppt/notesSlides/notesSlide138.xml" ContentType="application/vnd.openxmlformats-officedocument.presentationml.notesSlide+xml"/>
  <Override PartName="/ppt/notesSlides/notesSlide139.xml" ContentType="application/vnd.openxmlformats-officedocument.presentationml.notesSlide+xml"/>
  <Override PartName="/ppt/notesSlides/notesSlide14.xml" ContentType="application/vnd.openxmlformats-officedocument.presentationml.notesSlide+xml"/>
  <Override PartName="/ppt/notesSlides/notesSlide140.xml" ContentType="application/vnd.openxmlformats-officedocument.presentationml.notesSlide+xml"/>
  <Override PartName="/ppt/notesSlides/notesSlide141.xml" ContentType="application/vnd.openxmlformats-officedocument.presentationml.notesSlide+xml"/>
  <Override PartName="/ppt/notesSlides/notesSlide142.xml" ContentType="application/vnd.openxmlformats-officedocument.presentationml.notesSlide+xml"/>
  <Override PartName="/ppt/notesSlides/notesSlide143.xml" ContentType="application/vnd.openxmlformats-officedocument.presentationml.notesSlide+xml"/>
  <Override PartName="/ppt/notesSlides/notesSlide144.xml" ContentType="application/vnd.openxmlformats-officedocument.presentationml.notesSlide+xml"/>
  <Override PartName="/ppt/notesSlides/notesSlide145.xml" ContentType="application/vnd.openxmlformats-officedocument.presentationml.notesSlide+xml"/>
  <Override PartName="/ppt/notesSlides/notesSlide146.xml" ContentType="application/vnd.openxmlformats-officedocument.presentationml.notesSlide+xml"/>
  <Override PartName="/ppt/notesSlides/notesSlide147.xml" ContentType="application/vnd.openxmlformats-officedocument.presentationml.notesSlide+xml"/>
  <Override PartName="/ppt/notesSlides/notesSlide148.xml" ContentType="application/vnd.openxmlformats-officedocument.presentationml.notesSlide+xml"/>
  <Override PartName="/ppt/notesSlides/notesSlide149.xml" ContentType="application/vnd.openxmlformats-officedocument.presentationml.notesSlide+xml"/>
  <Override PartName="/ppt/notesSlides/notesSlide15.xml" ContentType="application/vnd.openxmlformats-officedocument.presentationml.notesSlide+xml"/>
  <Override PartName="/ppt/notesSlides/notesSlide150.xml" ContentType="application/vnd.openxmlformats-officedocument.presentationml.notesSlide+xml"/>
  <Override PartName="/ppt/notesSlides/notesSlide151.xml" ContentType="application/vnd.openxmlformats-officedocument.presentationml.notesSlide+xml"/>
  <Override PartName="/ppt/notesSlides/notesSlide152.xml" ContentType="application/vnd.openxmlformats-officedocument.presentationml.notesSlide+xml"/>
  <Override PartName="/ppt/notesSlides/notesSlide153.xml" ContentType="application/vnd.openxmlformats-officedocument.presentationml.notesSlide+xml"/>
  <Override PartName="/ppt/notesSlides/notesSlide154.xml" ContentType="application/vnd.openxmlformats-officedocument.presentationml.notesSlide+xml"/>
  <Override PartName="/ppt/notesSlides/notesSlide155.xml" ContentType="application/vnd.openxmlformats-officedocument.presentationml.notesSlide+xml"/>
  <Override PartName="/ppt/notesSlides/notesSlide156.xml" ContentType="application/vnd.openxmlformats-officedocument.presentationml.notesSlide+xml"/>
  <Override PartName="/ppt/notesSlides/notesSlide157.xml" ContentType="application/vnd.openxmlformats-officedocument.presentationml.notesSlide+xml"/>
  <Override PartName="/ppt/notesSlides/notesSlide158.xml" ContentType="application/vnd.openxmlformats-officedocument.presentationml.notesSlide+xml"/>
  <Override PartName="/ppt/notesSlides/notesSlide159.xml" ContentType="application/vnd.openxmlformats-officedocument.presentationml.notesSlide+xml"/>
  <Override PartName="/ppt/notesSlides/notesSlide16.xml" ContentType="application/vnd.openxmlformats-officedocument.presentationml.notesSlide+xml"/>
  <Override PartName="/ppt/notesSlides/notesSlide160.xml" ContentType="application/vnd.openxmlformats-officedocument.presentationml.notesSlide+xml"/>
  <Override PartName="/ppt/notesSlides/notesSlide161.xml" ContentType="application/vnd.openxmlformats-officedocument.presentationml.notesSlide+xml"/>
  <Override PartName="/ppt/notesSlides/notesSlide162.xml" ContentType="application/vnd.openxmlformats-officedocument.presentationml.notesSlide+xml"/>
  <Override PartName="/ppt/notesSlides/notesSlide163.xml" ContentType="application/vnd.openxmlformats-officedocument.presentationml.notesSlide+xml"/>
  <Override PartName="/ppt/notesSlides/notesSlide164.xml" ContentType="application/vnd.openxmlformats-officedocument.presentationml.notesSlide+xml"/>
  <Override PartName="/ppt/notesSlides/notesSlide165.xml" ContentType="application/vnd.openxmlformats-officedocument.presentationml.notesSlide+xml"/>
  <Override PartName="/ppt/notesSlides/notesSlide166.xml" ContentType="application/vnd.openxmlformats-officedocument.presentationml.notesSlide+xml"/>
  <Override PartName="/ppt/notesSlides/notesSlide167.xml" ContentType="application/vnd.openxmlformats-officedocument.presentationml.notesSlide+xml"/>
  <Override PartName="/ppt/notesSlides/notesSlide168.xml" ContentType="application/vnd.openxmlformats-officedocument.presentationml.notesSlide+xml"/>
  <Override PartName="/ppt/notesSlides/notesSlide169.xml" ContentType="application/vnd.openxmlformats-officedocument.presentationml.notesSlide+xml"/>
  <Override PartName="/ppt/notesSlides/notesSlide17.xml" ContentType="application/vnd.openxmlformats-officedocument.presentationml.notesSlide+xml"/>
  <Override PartName="/ppt/notesSlides/notesSlide170.xml" ContentType="application/vnd.openxmlformats-officedocument.presentationml.notesSlide+xml"/>
  <Override PartName="/ppt/notesSlides/notesSlide171.xml" ContentType="application/vnd.openxmlformats-officedocument.presentationml.notesSlide+xml"/>
  <Override PartName="/ppt/notesSlides/notesSlide172.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notesSlides/notesSlide77.xml" ContentType="application/vnd.openxmlformats-officedocument.presentationml.notesSlide+xml"/>
  <Override PartName="/ppt/notesSlides/notesSlide78.xml" ContentType="application/vnd.openxmlformats-officedocument.presentationml.notesSlide+xml"/>
  <Override PartName="/ppt/notesSlides/notesSlide79.xml" ContentType="application/vnd.openxmlformats-officedocument.presentationml.notesSlide+xml"/>
  <Override PartName="/ppt/notesSlides/notesSlide8.xml" ContentType="application/vnd.openxmlformats-officedocument.presentationml.notesSlide+xml"/>
  <Override PartName="/ppt/notesSlides/notesSlide80.xml" ContentType="application/vnd.openxmlformats-officedocument.presentationml.notesSlide+xml"/>
  <Override PartName="/ppt/notesSlides/notesSlide81.xml" ContentType="application/vnd.openxmlformats-officedocument.presentationml.notesSlide+xml"/>
  <Override PartName="/ppt/notesSlides/notesSlide82.xml" ContentType="application/vnd.openxmlformats-officedocument.presentationml.notesSlide+xml"/>
  <Override PartName="/ppt/notesSlides/notesSlide83.xml" ContentType="application/vnd.openxmlformats-officedocument.presentationml.notesSlide+xml"/>
  <Override PartName="/ppt/notesSlides/notesSlide84.xml" ContentType="application/vnd.openxmlformats-officedocument.presentationml.notesSlide+xml"/>
  <Override PartName="/ppt/notesSlides/notesSlide85.xml" ContentType="application/vnd.openxmlformats-officedocument.presentationml.notesSlide+xml"/>
  <Override PartName="/ppt/notesSlides/notesSlide86.xml" ContentType="application/vnd.openxmlformats-officedocument.presentationml.notesSlide+xml"/>
  <Override PartName="/ppt/notesSlides/notesSlide87.xml" ContentType="application/vnd.openxmlformats-officedocument.presentationml.notesSlide+xml"/>
  <Override PartName="/ppt/notesSlides/notesSlide88.xml" ContentType="application/vnd.openxmlformats-officedocument.presentationml.notesSlide+xml"/>
  <Override PartName="/ppt/notesSlides/notesSlide89.xml" ContentType="application/vnd.openxmlformats-officedocument.presentationml.notesSlide+xml"/>
  <Override PartName="/ppt/notesSlides/notesSlide9.xml" ContentType="application/vnd.openxmlformats-officedocument.presentationml.notesSlide+xml"/>
  <Override PartName="/ppt/notesSlides/notesSlide90.xml" ContentType="application/vnd.openxmlformats-officedocument.presentationml.notesSlide+xml"/>
  <Override PartName="/ppt/notesSlides/notesSlide91.xml" ContentType="application/vnd.openxmlformats-officedocument.presentationml.notesSlide+xml"/>
  <Override PartName="/ppt/notesSlides/notesSlide92.xml" ContentType="application/vnd.openxmlformats-officedocument.presentationml.notesSlide+xml"/>
  <Override PartName="/ppt/notesSlides/notesSlide93.xml" ContentType="application/vnd.openxmlformats-officedocument.presentationml.notesSlide+xml"/>
  <Override PartName="/ppt/notesSlides/notesSlide94.xml" ContentType="application/vnd.openxmlformats-officedocument.presentationml.notesSlide+xml"/>
  <Override PartName="/ppt/notesSlides/notesSlide95.xml" ContentType="application/vnd.openxmlformats-officedocument.presentationml.notesSlide+xml"/>
  <Override PartName="/ppt/notesSlides/notesSlide96.xml" ContentType="application/vnd.openxmlformats-officedocument.presentationml.notesSlide+xml"/>
  <Override PartName="/ppt/notesSlides/notesSlide97.xml" ContentType="application/vnd.openxmlformats-officedocument.presentationml.notesSlide+xml"/>
  <Override PartName="/ppt/notesSlides/notesSlide98.xml" ContentType="application/vnd.openxmlformats-officedocument.presentationml.notesSlide+xml"/>
  <Override PartName="/ppt/notesSlides/notesSlide99.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revisionInfo.xml" ContentType="application/vnd.ms-powerpoint.revisioninfo+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slides/slide145.xml" ContentType="application/vnd.openxmlformats-officedocument.presentationml.slide+xml"/>
  <Override PartName="/ppt/slides/slide146.xml" ContentType="application/vnd.openxmlformats-officedocument.presentationml.slide+xml"/>
  <Override PartName="/ppt/slides/slide147.xml" ContentType="application/vnd.openxmlformats-officedocument.presentationml.slide+xml"/>
  <Override PartName="/ppt/slides/slide148.xml" ContentType="application/vnd.openxmlformats-officedocument.presentationml.slide+xml"/>
  <Override PartName="/ppt/slides/slide149.xml" ContentType="application/vnd.openxmlformats-officedocument.presentationml.slide+xml"/>
  <Override PartName="/ppt/slides/slide15.xml" ContentType="application/vnd.openxmlformats-officedocument.presentationml.slide+xml"/>
  <Override PartName="/ppt/slides/slide150.xml" ContentType="application/vnd.openxmlformats-officedocument.presentationml.slide+xml"/>
  <Override PartName="/ppt/slides/slide151.xml" ContentType="application/vnd.openxmlformats-officedocument.presentationml.slide+xml"/>
  <Override PartName="/ppt/slides/slide152.xml" ContentType="application/vnd.openxmlformats-officedocument.presentationml.slide+xml"/>
  <Override PartName="/ppt/slides/slide153.xml" ContentType="application/vnd.openxmlformats-officedocument.presentationml.slide+xml"/>
  <Override PartName="/ppt/slides/slide154.xml" ContentType="application/vnd.openxmlformats-officedocument.presentationml.slide+xml"/>
  <Override PartName="/ppt/slides/slide155.xml" ContentType="application/vnd.openxmlformats-officedocument.presentationml.slide+xml"/>
  <Override PartName="/ppt/slides/slide156.xml" ContentType="application/vnd.openxmlformats-officedocument.presentationml.slide+xml"/>
  <Override PartName="/ppt/slides/slide157.xml" ContentType="application/vnd.openxmlformats-officedocument.presentationml.slide+xml"/>
  <Override PartName="/ppt/slides/slide158.xml" ContentType="application/vnd.openxmlformats-officedocument.presentationml.slide+xml"/>
  <Override PartName="/ppt/slides/slide159.xml" ContentType="application/vnd.openxmlformats-officedocument.presentationml.slide+xml"/>
  <Override PartName="/ppt/slides/slide16.xml" ContentType="application/vnd.openxmlformats-officedocument.presentationml.slide+xml"/>
  <Override PartName="/ppt/slides/slide160.xml" ContentType="application/vnd.openxmlformats-officedocument.presentationml.slide+xml"/>
  <Override PartName="/ppt/slides/slide161.xml" ContentType="application/vnd.openxmlformats-officedocument.presentationml.slide+xml"/>
  <Override PartName="/ppt/slides/slide162.xml" ContentType="application/vnd.openxmlformats-officedocument.presentationml.slide+xml"/>
  <Override PartName="/ppt/slides/slide163.xml" ContentType="application/vnd.openxmlformats-officedocument.presentationml.slide+xml"/>
  <Override PartName="/ppt/slides/slide164.xml" ContentType="application/vnd.openxmlformats-officedocument.presentationml.slide+xml"/>
  <Override PartName="/ppt/slides/slide165.xml" ContentType="application/vnd.openxmlformats-officedocument.presentationml.slide+xml"/>
  <Override PartName="/ppt/slides/slide166.xml" ContentType="application/vnd.openxmlformats-officedocument.presentationml.slide+xml"/>
  <Override PartName="/ppt/slides/slide167.xml" ContentType="application/vnd.openxmlformats-officedocument.presentationml.slide+xml"/>
  <Override PartName="/ppt/slides/slide168.xml" ContentType="application/vnd.openxmlformats-officedocument.presentationml.slide+xml"/>
  <Override PartName="/ppt/slides/slide169.xml" ContentType="application/vnd.openxmlformats-officedocument.presentationml.slide+xml"/>
  <Override PartName="/ppt/slides/slide17.xml" ContentType="application/vnd.openxmlformats-officedocument.presentationml.slide+xml"/>
  <Override PartName="/ppt/slides/slide170.xml" ContentType="application/vnd.openxmlformats-officedocument.presentationml.slide+xml"/>
  <Override PartName="/ppt/slides/slide171.xml" ContentType="application/vnd.openxmlformats-officedocument.presentationml.slide+xml"/>
  <Override PartName="/ppt/slides/slide172.xml" ContentType="application/vnd.openxmlformats-officedocument.presentationml.slide+xml"/>
  <Override PartName="/ppt/slides/slide173.xml" ContentType="application/vnd.openxmlformats-officedocument.presentationml.slide+xml"/>
  <Override PartName="/ppt/slides/slide174.xml" ContentType="application/vnd.openxmlformats-officedocument.presentationml.slide+xml"/>
  <Override PartName="/ppt/slides/slide175.xml" ContentType="application/vnd.openxmlformats-officedocument.presentationml.slide+xml"/>
  <Override PartName="/ppt/slides/slide176.xml" ContentType="application/vnd.openxmlformats-officedocument.presentationml.slide+xml"/>
  <Override PartName="/ppt/slides/slide177.xml" ContentType="application/vnd.openxmlformats-officedocument.presentationml.slide+xml"/>
  <Override PartName="/ppt/slides/slide178.xml" ContentType="application/vnd.openxmlformats-officedocument.presentationml.slide+xml"/>
  <Override PartName="/ppt/slides/slide179.xml" ContentType="application/vnd.openxmlformats-officedocument.presentationml.slide+xml"/>
  <Override PartName="/ppt/slides/slide18.xml" ContentType="application/vnd.openxmlformats-officedocument.presentationml.slide+xml"/>
  <Override PartName="/ppt/slides/slide180.xml" ContentType="application/vnd.openxmlformats-officedocument.presentationml.slide+xml"/>
  <Override PartName="/ppt/slides/slide181.xml" ContentType="application/vnd.openxmlformats-officedocument.presentationml.slide+xml"/>
  <Override PartName="/ppt/slides/slide182.xml" ContentType="application/vnd.openxmlformats-officedocument.presentationml.slide+xml"/>
  <Override PartName="/ppt/slides/slide183.xml" ContentType="application/vnd.openxmlformats-officedocument.presentationml.slide+xml"/>
  <Override PartName="/ppt/slides/slide184.xml" ContentType="application/vnd.openxmlformats-officedocument.presentationml.slide+xml"/>
  <Override PartName="/ppt/slides/slide185.xml" ContentType="application/vnd.openxmlformats-officedocument.presentationml.slide+xml"/>
  <Override PartName="/ppt/slides/slide186.xml" ContentType="application/vnd.openxmlformats-officedocument.presentationml.slide+xml"/>
  <Override PartName="/ppt/slides/slide187.xml" ContentType="application/vnd.openxmlformats-officedocument.presentationml.slide+xml"/>
  <Override PartName="/ppt/slides/slide188.xml" ContentType="application/vnd.openxmlformats-officedocument.presentationml.slide+xml"/>
  <Override PartName="/ppt/slides/slide189.xml" ContentType="application/vnd.openxmlformats-officedocument.presentationml.slide+xml"/>
  <Override PartName="/ppt/slides/slide19.xml" ContentType="application/vnd.openxmlformats-officedocument.presentationml.slide+xml"/>
  <Override PartName="/ppt/slides/slide190.xml" ContentType="application/vnd.openxmlformats-officedocument.presentationml.slide+xml"/>
  <Override PartName="/ppt/slides/slide191.xml" ContentType="application/vnd.openxmlformats-officedocument.presentationml.slide+xml"/>
  <Override PartName="/ppt/slides/slide192.xml" ContentType="application/vnd.openxmlformats-officedocument.presentationml.slide+xml"/>
  <Override PartName="/ppt/slides/slide193.xml" ContentType="application/vnd.openxmlformats-officedocument.presentationml.slide+xml"/>
  <Override PartName="/ppt/slides/slide194.xml" ContentType="application/vnd.openxmlformats-officedocument.presentationml.slide+xml"/>
  <Override PartName="/ppt/slides/slide195.xml" ContentType="application/vnd.openxmlformats-officedocument.presentationml.slide+xml"/>
  <Override PartName="/ppt/slides/slide196.xml" ContentType="application/vnd.openxmlformats-officedocument.presentationml.slide+xml"/>
  <Override PartName="/ppt/slides/slide197.xml" ContentType="application/vnd.openxmlformats-officedocument.presentationml.slide+xml"/>
  <Override PartName="/ppt/slides/slide198.xml" ContentType="application/vnd.openxmlformats-officedocument.presentationml.slide+xml"/>
  <Override PartName="/ppt/slides/slide199.xml" ContentType="application/vnd.openxmlformats-officedocument.presentationml.slide+xml"/>
  <Override PartName="/ppt/slides/slide2.xml" ContentType="application/vnd.openxmlformats-officedocument.presentationml.slide+xml"/>
  <Override PartName="/ppt/slides/slide20.xml" ContentType="application/vnd.openxmlformats-officedocument.presentationml.slide+xml"/>
  <Override PartName="/ppt/slides/slide200.xml" ContentType="application/vnd.openxmlformats-officedocument.presentationml.slide+xml"/>
  <Override PartName="/ppt/slides/slide201.xml" ContentType="application/vnd.openxmlformats-officedocument.presentationml.slide+xml"/>
  <Override PartName="/ppt/slides/slide202.xml" ContentType="application/vnd.openxmlformats-officedocument.presentationml.slide+xml"/>
  <Override PartName="/ppt/slides/slide203.xml" ContentType="application/vnd.openxmlformats-officedocument.presentationml.slide+xml"/>
  <Override PartName="/ppt/slides/slide204.xml" ContentType="application/vnd.openxmlformats-officedocument.presentationml.slide+xml"/>
  <Override PartName="/ppt/slides/slide205.xml" ContentType="application/vnd.openxmlformats-officedocument.presentationml.slide+xml"/>
  <Override PartName="/ppt/slides/slide206.xml" ContentType="application/vnd.openxmlformats-officedocument.presentationml.slide+xml"/>
  <Override PartName="/ppt/slides/slide207.xml" ContentType="application/vnd.openxmlformats-officedocument.presentationml.slide+xml"/>
  <Override PartName="/ppt/slides/slide208.xml" ContentType="application/vnd.openxmlformats-officedocument.presentationml.slide+xml"/>
  <Override PartName="/ppt/slides/slide209.xml" ContentType="application/vnd.openxmlformats-officedocument.presentationml.slide+xml"/>
  <Override PartName="/ppt/slides/slide21.xml" ContentType="application/vnd.openxmlformats-officedocument.presentationml.slide+xml"/>
  <Override PartName="/ppt/slides/slide210.xml" ContentType="application/vnd.openxmlformats-officedocument.presentationml.slide+xml"/>
  <Override PartName="/ppt/slides/slide211.xml" ContentType="application/vnd.openxmlformats-officedocument.presentationml.slide+xml"/>
  <Override PartName="/ppt/slides/slide212.xml" ContentType="application/vnd.openxmlformats-officedocument.presentationml.slide+xml"/>
  <Override PartName="/ppt/slides/slide213.xml" ContentType="application/vnd.openxmlformats-officedocument.presentationml.slide+xml"/>
  <Override PartName="/ppt/slides/slide214.xml" ContentType="application/vnd.openxmlformats-officedocument.presentationml.slide+xml"/>
  <Override PartName="/ppt/slides/slide215.xml" ContentType="application/vnd.openxmlformats-officedocument.presentationml.slide+xml"/>
  <Override PartName="/ppt/slides/slide216.xml" ContentType="application/vnd.openxmlformats-officedocument.presentationml.slide+xml"/>
  <Override PartName="/ppt/slides/slide217.xml" ContentType="application/vnd.openxmlformats-officedocument.presentationml.slide+xml"/>
  <Override PartName="/ppt/slides/slide218.xml" ContentType="application/vnd.openxmlformats-officedocument.presentationml.slide+xml"/>
  <Override PartName="/ppt/slides/slide219.xml" ContentType="application/vnd.openxmlformats-officedocument.presentationml.slide+xml"/>
  <Override PartName="/ppt/slides/slide22.xml" ContentType="application/vnd.openxmlformats-officedocument.presentationml.slide+xml"/>
  <Override PartName="/ppt/slides/slide220.xml" ContentType="application/vnd.openxmlformats-officedocument.presentationml.slide+xml"/>
  <Override PartName="/ppt/slides/slide221.xml" ContentType="application/vnd.openxmlformats-officedocument.presentationml.slide+xml"/>
  <Override PartName="/ppt/slides/slide222.xml" ContentType="application/vnd.openxmlformats-officedocument.presentationml.slide+xml"/>
  <Override PartName="/ppt/slides/slide223.xml" ContentType="application/vnd.openxmlformats-officedocument.presentationml.slide+xml"/>
  <Override PartName="/ppt/slides/slide224.xml" ContentType="application/vnd.openxmlformats-officedocument.presentationml.slide+xml"/>
  <Override PartName="/ppt/slides/slide225.xml" ContentType="application/vnd.openxmlformats-officedocument.presentationml.slide+xml"/>
  <Override PartName="/ppt/slides/slide226.xml" ContentType="application/vnd.openxmlformats-officedocument.presentationml.slide+xml"/>
  <Override PartName="/ppt/slides/slide227.xml" ContentType="application/vnd.openxmlformats-officedocument.presentationml.slide+xml"/>
  <Override PartName="/ppt/slides/slide228.xml" ContentType="application/vnd.openxmlformats-officedocument.presentationml.slide+xml"/>
  <Override PartName="/ppt/slides/slide229.xml" ContentType="application/vnd.openxmlformats-officedocument.presentationml.slide+xml"/>
  <Override PartName="/ppt/slides/slide23.xml" ContentType="application/vnd.openxmlformats-officedocument.presentationml.slide+xml"/>
  <Override PartName="/ppt/slides/slide230.xml" ContentType="application/vnd.openxmlformats-officedocument.presentationml.slide+xml"/>
  <Override PartName="/ppt/slides/slide231.xml" ContentType="application/vnd.openxmlformats-officedocument.presentationml.slide+xml"/>
  <Override PartName="/ppt/slides/slide232.xml" ContentType="application/vnd.openxmlformats-officedocument.presentationml.slide+xml"/>
  <Override PartName="/ppt/slides/slide233.xml" ContentType="application/vnd.openxmlformats-officedocument.presentationml.slide+xml"/>
  <Override PartName="/ppt/slides/slide234.xml" ContentType="application/vnd.openxmlformats-officedocument.presentationml.slide+xml"/>
  <Override PartName="/ppt/slides/slide235.xml" ContentType="application/vnd.openxmlformats-officedocument.presentationml.slide+xml"/>
  <Override PartName="/ppt/slides/slide236.xml" ContentType="application/vnd.openxmlformats-officedocument.presentationml.slide+xml"/>
  <Override PartName="/ppt/slides/slide237.xml" ContentType="application/vnd.openxmlformats-officedocument.presentationml.slide+xml"/>
  <Override PartName="/ppt/slides/slide238.xml" ContentType="application/vnd.openxmlformats-officedocument.presentationml.slide+xml"/>
  <Override PartName="/ppt/slides/slide239.xml" ContentType="application/vnd.openxmlformats-officedocument.presentationml.slide+xml"/>
  <Override PartName="/ppt/slides/slide24.xml" ContentType="application/vnd.openxmlformats-officedocument.presentationml.slide+xml"/>
  <Override PartName="/ppt/slides/slide240.xml" ContentType="application/vnd.openxmlformats-officedocument.presentationml.slide+xml"/>
  <Override PartName="/ppt/slides/slide241.xml" ContentType="application/vnd.openxmlformats-officedocument.presentationml.slide+xml"/>
  <Override PartName="/ppt/slides/slide242.xml" ContentType="application/vnd.openxmlformats-officedocument.presentationml.slide+xml"/>
  <Override PartName="/ppt/slides/slide243.xml" ContentType="application/vnd.openxmlformats-officedocument.presentationml.slide+xml"/>
  <Override PartName="/ppt/slides/slide244.xml" ContentType="application/vnd.openxmlformats-officedocument.presentationml.slide+xml"/>
  <Override PartName="/ppt/slides/slide245.xml" ContentType="application/vnd.openxmlformats-officedocument.presentationml.slide+xml"/>
  <Override PartName="/ppt/slides/slide246.xml" ContentType="application/vnd.openxmlformats-officedocument.presentationml.slide+xml"/>
  <Override PartName="/ppt/slides/slide247.xml" ContentType="application/vnd.openxmlformats-officedocument.presentationml.slide+xml"/>
  <Override PartName="/ppt/slides/slide248.xml" ContentType="application/vnd.openxmlformats-officedocument.presentationml.slide+xml"/>
  <Override PartName="/ppt/slides/slide249.xml" ContentType="application/vnd.openxmlformats-officedocument.presentationml.slide+xml"/>
  <Override PartName="/ppt/slides/slide25.xml" ContentType="application/vnd.openxmlformats-officedocument.presentationml.slide+xml"/>
  <Override PartName="/ppt/slides/slide250.xml" ContentType="application/vnd.openxmlformats-officedocument.presentationml.slide+xml"/>
  <Override PartName="/ppt/slides/slide251.xml" ContentType="application/vnd.openxmlformats-officedocument.presentationml.slide+xml"/>
  <Override PartName="/ppt/slides/slide252.xml" ContentType="application/vnd.openxmlformats-officedocument.presentationml.slide+xml"/>
  <Override PartName="/ppt/slides/slide253.xml" ContentType="application/vnd.openxmlformats-officedocument.presentationml.slide+xml"/>
  <Override PartName="/ppt/slides/slide254.xml" ContentType="application/vnd.openxmlformats-officedocument.presentationml.slide+xml"/>
  <Override PartName="/ppt/slides/slide255.xml" ContentType="application/vnd.openxmlformats-officedocument.presentationml.slide+xml"/>
  <Override PartName="/ppt/slides/slide256.xml" ContentType="application/vnd.openxmlformats-officedocument.presentationml.slide+xml"/>
  <Override PartName="/ppt/slides/slide257.xml" ContentType="application/vnd.openxmlformats-officedocument.presentationml.slide+xml"/>
  <Override PartName="/ppt/slides/slide258.xml" ContentType="application/vnd.openxmlformats-officedocument.presentationml.slide+xml"/>
  <Override PartName="/ppt/slides/slide259.xml" ContentType="application/vnd.openxmlformats-officedocument.presentationml.slide+xml"/>
  <Override PartName="/ppt/slides/slide26.xml" ContentType="application/vnd.openxmlformats-officedocument.presentationml.slide+xml"/>
  <Override PartName="/ppt/slides/slide260.xml" ContentType="application/vnd.openxmlformats-officedocument.presentationml.slide+xml"/>
  <Override PartName="/ppt/slides/slide261.xml" ContentType="application/vnd.openxmlformats-officedocument.presentationml.slide+xml"/>
  <Override PartName="/ppt/slides/slide262.xml" ContentType="application/vnd.openxmlformats-officedocument.presentationml.slide+xml"/>
  <Override PartName="/ppt/slides/slide263.xml" ContentType="application/vnd.openxmlformats-officedocument.presentationml.slide+xml"/>
  <Override PartName="/ppt/slides/slide264.xml" ContentType="application/vnd.openxmlformats-officedocument.presentationml.slide+xml"/>
  <Override PartName="/ppt/slides/slide265.xml" ContentType="application/vnd.openxmlformats-officedocument.presentationml.slide+xml"/>
  <Override PartName="/ppt/slides/slide266.xml" ContentType="application/vnd.openxmlformats-officedocument.presentationml.slide+xml"/>
  <Override PartName="/ppt/slides/slide267.xml" ContentType="application/vnd.openxmlformats-officedocument.presentationml.slide+xml"/>
  <Override PartName="/ppt/slides/slide268.xml" ContentType="application/vnd.openxmlformats-officedocument.presentationml.slide+xml"/>
  <Override PartName="/ppt/slides/slide269.xml" ContentType="application/vnd.openxmlformats-officedocument.presentationml.slide+xml"/>
  <Override PartName="/ppt/slides/slide27.xml" ContentType="application/vnd.openxmlformats-officedocument.presentationml.slide+xml"/>
  <Override PartName="/ppt/slides/slide270.xml" ContentType="application/vnd.openxmlformats-officedocument.presentationml.slide+xml"/>
  <Override PartName="/ppt/slides/slide271.xml" ContentType="application/vnd.openxmlformats-officedocument.presentationml.slide+xml"/>
  <Override PartName="/ppt/slides/slide272.xml" ContentType="application/vnd.openxmlformats-officedocument.presentationml.slide+xml"/>
  <Override PartName="/ppt/slides/slide273.xml" ContentType="application/vnd.openxmlformats-officedocument.presentationml.slide+xml"/>
  <Override PartName="/ppt/slides/slide274.xml" ContentType="application/vnd.openxmlformats-officedocument.presentationml.slide+xml"/>
  <Override PartName="/ppt/slides/slide275.xml" ContentType="application/vnd.openxmlformats-officedocument.presentationml.slide+xml"/>
  <Override PartName="/ppt/slides/slide276.xml" ContentType="application/vnd.openxmlformats-officedocument.presentationml.slide+xml"/>
  <Override PartName="/ppt/slides/slide277.xml" ContentType="application/vnd.openxmlformats-officedocument.presentationml.slide+xml"/>
  <Override PartName="/ppt/slides/slide278.xml" ContentType="application/vnd.openxmlformats-officedocument.presentationml.slide+xml"/>
  <Override PartName="/ppt/slides/slide279.xml" ContentType="application/vnd.openxmlformats-officedocument.presentationml.slide+xml"/>
  <Override PartName="/ppt/slides/slide28.xml" ContentType="application/vnd.openxmlformats-officedocument.presentationml.slide+xml"/>
  <Override PartName="/ppt/slides/slide280.xml" ContentType="application/vnd.openxmlformats-officedocument.presentationml.slide+xml"/>
  <Override PartName="/ppt/slides/slide281.xml" ContentType="application/vnd.openxmlformats-officedocument.presentationml.slide+xml"/>
  <Override PartName="/ppt/slides/slide282.xml" ContentType="application/vnd.openxmlformats-officedocument.presentationml.slide+xml"/>
  <Override PartName="/ppt/slides/slide283.xml" ContentType="application/vnd.openxmlformats-officedocument.presentationml.slide+xml"/>
  <Override PartName="/ppt/slides/slide284.xml" ContentType="application/vnd.openxmlformats-officedocument.presentationml.slide+xml"/>
  <Override PartName="/ppt/slides/slide285.xml" ContentType="application/vnd.openxmlformats-officedocument.presentationml.slide+xml"/>
  <Override PartName="/ppt/slides/slide286.xml" ContentType="application/vnd.openxmlformats-officedocument.presentationml.slide+xml"/>
  <Override PartName="/ppt/slides/slide287.xml" ContentType="application/vnd.openxmlformats-officedocument.presentationml.slide+xml"/>
  <Override PartName="/ppt/slides/slide288.xml" ContentType="application/vnd.openxmlformats-officedocument.presentationml.slide+xml"/>
  <Override PartName="/ppt/slides/slide289.xml" ContentType="application/vnd.openxmlformats-officedocument.presentationml.slide+xml"/>
  <Override PartName="/ppt/slides/slide29.xml" ContentType="application/vnd.openxmlformats-officedocument.presentationml.slide+xml"/>
  <Override PartName="/ppt/slides/slide290.xml" ContentType="application/vnd.openxmlformats-officedocument.presentationml.slide+xml"/>
  <Override PartName="/ppt/slides/slide291.xml" ContentType="application/vnd.openxmlformats-officedocument.presentationml.slide+xml"/>
  <Override PartName="/ppt/slides/slide292.xml" ContentType="application/vnd.openxmlformats-officedocument.presentationml.slide+xml"/>
  <Override PartName="/ppt/slides/slide293.xml" ContentType="application/vnd.openxmlformats-officedocument.presentationml.slide+xml"/>
  <Override PartName="/ppt/slides/slide294.xml" ContentType="application/vnd.openxmlformats-officedocument.presentationml.slide+xml"/>
  <Override PartName="/ppt/slides/slide295.xml" ContentType="application/vnd.openxmlformats-officedocument.presentationml.slide+xml"/>
  <Override PartName="/ppt/slides/slide296.xml" ContentType="application/vnd.openxmlformats-officedocument.presentationml.slide+xml"/>
  <Override PartName="/ppt/slides/slide297.xml" ContentType="application/vnd.openxmlformats-officedocument.presentationml.slide+xml"/>
  <Override PartName="/ppt/slides/slide298.xml" ContentType="application/vnd.openxmlformats-officedocument.presentationml.slide+xml"/>
  <Override PartName="/ppt/slides/slide299.xml" ContentType="application/vnd.openxmlformats-officedocument.presentationml.slide+xml"/>
  <Override PartName="/ppt/slides/slide3.xml" ContentType="application/vnd.openxmlformats-officedocument.presentationml.slide+xml"/>
  <Override PartName="/ppt/slides/slide30.xml" ContentType="application/vnd.openxmlformats-officedocument.presentationml.slide+xml"/>
  <Override PartName="/ppt/slides/slide300.xml" ContentType="application/vnd.openxmlformats-officedocument.presentationml.slide+xml"/>
  <Override PartName="/ppt/slides/slide301.xml" ContentType="application/vnd.openxmlformats-officedocument.presentationml.slide+xml"/>
  <Override PartName="/ppt/slides/slide302.xml" ContentType="application/vnd.openxmlformats-officedocument.presentationml.slide+xml"/>
  <Override PartName="/ppt/slides/slide303.xml" ContentType="application/vnd.openxmlformats-officedocument.presentationml.slide+xml"/>
  <Override PartName="/ppt/slides/slide304.xml" ContentType="application/vnd.openxmlformats-officedocument.presentationml.slide+xml"/>
  <Override PartName="/ppt/slides/slide305.xml" ContentType="application/vnd.openxmlformats-officedocument.presentationml.slide+xml"/>
  <Override PartName="/ppt/slides/slide306.xml" ContentType="application/vnd.openxmlformats-officedocument.presentationml.slide+xml"/>
  <Override PartName="/ppt/slides/slide307.xml" ContentType="application/vnd.openxmlformats-officedocument.presentationml.slide+xml"/>
  <Override PartName="/ppt/slides/slide308.xml" ContentType="application/vnd.openxmlformats-officedocument.presentationml.slide+xml"/>
  <Override PartName="/ppt/slides/slide309.xml" ContentType="application/vnd.openxmlformats-officedocument.presentationml.slide+xml"/>
  <Override PartName="/ppt/slides/slide31.xml" ContentType="application/vnd.openxmlformats-officedocument.presentationml.slide+xml"/>
  <Override PartName="/ppt/slides/slide310.xml" ContentType="application/vnd.openxmlformats-officedocument.presentationml.slide+xml"/>
  <Override PartName="/ppt/slides/slide311.xml" ContentType="application/vnd.openxmlformats-officedocument.presentationml.slide+xml"/>
  <Override PartName="/ppt/slides/slide312.xml" ContentType="application/vnd.openxmlformats-officedocument.presentationml.slide+xml"/>
  <Override PartName="/ppt/slides/slide313.xml" ContentType="application/vnd.openxmlformats-officedocument.presentationml.slide+xml"/>
  <Override PartName="/ppt/slides/slide314.xml" ContentType="application/vnd.openxmlformats-officedocument.presentationml.slide+xml"/>
  <Override PartName="/ppt/slides/slide315.xml" ContentType="application/vnd.openxmlformats-officedocument.presentationml.slide+xml"/>
  <Override PartName="/ppt/slides/slide316.xml" ContentType="application/vnd.openxmlformats-officedocument.presentationml.slide+xml"/>
  <Override PartName="/ppt/slides/slide317.xml" ContentType="application/vnd.openxmlformats-officedocument.presentationml.slide+xml"/>
  <Override PartName="/ppt/slides/slide318.xml" ContentType="application/vnd.openxmlformats-officedocument.presentationml.slide+xml"/>
  <Override PartName="/ppt/slides/slide319.xml" ContentType="application/vnd.openxmlformats-officedocument.presentationml.slide+xml"/>
  <Override PartName="/ppt/slides/slide32.xml" ContentType="application/vnd.openxmlformats-officedocument.presentationml.slide+xml"/>
  <Override PartName="/ppt/slides/slide320.xml" ContentType="application/vnd.openxmlformats-officedocument.presentationml.slide+xml"/>
  <Override PartName="/ppt/slides/slide321.xml" ContentType="application/vnd.openxmlformats-officedocument.presentationml.slide+xml"/>
  <Override PartName="/ppt/slides/slide322.xml" ContentType="application/vnd.openxmlformats-officedocument.presentationml.slide+xml"/>
  <Override PartName="/ppt/slides/slide323.xml" ContentType="application/vnd.openxmlformats-officedocument.presentationml.slide+xml"/>
  <Override PartName="/ppt/slides/slide324.xml" ContentType="application/vnd.openxmlformats-officedocument.presentationml.slide+xml"/>
  <Override PartName="/ppt/slides/slide325.xml" ContentType="application/vnd.openxmlformats-officedocument.presentationml.slide+xml"/>
  <Override PartName="/ppt/slides/slide326.xml" ContentType="application/vnd.openxmlformats-officedocument.presentationml.slide+xml"/>
  <Override PartName="/ppt/slides/slide327.xml" ContentType="application/vnd.openxmlformats-officedocument.presentationml.slide+xml"/>
  <Override PartName="/ppt/slides/slide328.xml" ContentType="application/vnd.openxmlformats-officedocument.presentationml.slide+xml"/>
  <Override PartName="/ppt/slides/slide329.xml" ContentType="application/vnd.openxmlformats-officedocument.presentationml.slide+xml"/>
  <Override PartName="/ppt/slides/slide33.xml" ContentType="application/vnd.openxmlformats-officedocument.presentationml.slide+xml"/>
  <Override PartName="/ppt/slides/slide330.xml" ContentType="application/vnd.openxmlformats-officedocument.presentationml.slide+xml"/>
  <Override PartName="/ppt/slides/slide331.xml" ContentType="application/vnd.openxmlformats-officedocument.presentationml.slide+xml"/>
  <Override PartName="/ppt/slides/slide332.xml" ContentType="application/vnd.openxmlformats-officedocument.presentationml.slide+xml"/>
  <Override PartName="/ppt/slides/slide333.xml" ContentType="application/vnd.openxmlformats-officedocument.presentationml.slide+xml"/>
  <Override PartName="/ppt/slides/slide334.xml" ContentType="application/vnd.openxmlformats-officedocument.presentationml.slide+xml"/>
  <Override PartName="/ppt/slides/slide335.xml" ContentType="application/vnd.openxmlformats-officedocument.presentationml.slide+xml"/>
  <Override PartName="/ppt/slides/slide336.xml" ContentType="application/vnd.openxmlformats-officedocument.presentationml.slide+xml"/>
  <Override PartName="/ppt/slides/slide337.xml" ContentType="application/vnd.openxmlformats-officedocument.presentationml.slide+xml"/>
  <Override PartName="/ppt/slides/slide338.xml" ContentType="application/vnd.openxmlformats-officedocument.presentationml.slide+xml"/>
  <Override PartName="/ppt/slides/slide339.xml" ContentType="application/vnd.openxmlformats-officedocument.presentationml.slide+xml"/>
  <Override PartName="/ppt/slides/slide34.xml" ContentType="application/vnd.openxmlformats-officedocument.presentationml.slide+xml"/>
  <Override PartName="/ppt/slides/slide340.xml" ContentType="application/vnd.openxmlformats-officedocument.presentationml.slide+xml"/>
  <Override PartName="/ppt/slides/slide341.xml" ContentType="application/vnd.openxmlformats-officedocument.presentationml.slide+xml"/>
  <Override PartName="/ppt/slides/slide342.xml" ContentType="application/vnd.openxmlformats-officedocument.presentationml.slide+xml"/>
  <Override PartName="/ppt/slides/slide343.xml" ContentType="application/vnd.openxmlformats-officedocument.presentationml.slide+xml"/>
  <Override PartName="/ppt/slides/slide344.xml" ContentType="application/vnd.openxmlformats-officedocument.presentationml.slide+xml"/>
  <Override PartName="/ppt/slides/slide345.xml" ContentType="application/vnd.openxmlformats-officedocument.presentationml.slide+xml"/>
  <Override PartName="/ppt/slides/slide346.xml" ContentType="application/vnd.openxmlformats-officedocument.presentationml.slide+xml"/>
  <Override PartName="/ppt/slides/slide347.xml" ContentType="application/vnd.openxmlformats-officedocument.presentationml.slide+xml"/>
  <Override PartName="/ppt/slides/slide348.xml" ContentType="application/vnd.openxmlformats-officedocument.presentationml.slide+xml"/>
  <Override PartName="/ppt/slides/slide349.xml" ContentType="application/vnd.openxmlformats-officedocument.presentationml.slide+xml"/>
  <Override PartName="/ppt/slides/slide35.xml" ContentType="application/vnd.openxmlformats-officedocument.presentationml.slide+xml"/>
  <Override PartName="/ppt/slides/slide350.xml" ContentType="application/vnd.openxmlformats-officedocument.presentationml.slide+xml"/>
  <Override PartName="/ppt/slides/slide351.xml" ContentType="application/vnd.openxmlformats-officedocument.presentationml.slide+xml"/>
  <Override PartName="/ppt/slides/slide352.xml" ContentType="application/vnd.openxmlformats-officedocument.presentationml.slide+xml"/>
  <Override PartName="/ppt/slides/slide353.xml" ContentType="application/vnd.openxmlformats-officedocument.presentationml.slide+xml"/>
  <Override PartName="/ppt/slides/slide354.xml" ContentType="application/vnd.openxmlformats-officedocument.presentationml.slide+xml"/>
  <Override PartName="/ppt/slides/slide355.xml" ContentType="application/vnd.openxmlformats-officedocument.presentationml.slide+xml"/>
  <Override PartName="/ppt/slides/slide356.xml" ContentType="application/vnd.openxmlformats-officedocument.presentationml.slide+xml"/>
  <Override PartName="/ppt/slides/slide357.xml" ContentType="application/vnd.openxmlformats-officedocument.presentationml.slide+xml"/>
  <Override PartName="/ppt/slides/slide358.xml" ContentType="application/vnd.openxmlformats-officedocument.presentationml.slide+xml"/>
  <Override PartName="/ppt/slides/slide359.xml" ContentType="application/vnd.openxmlformats-officedocument.presentationml.slide+xml"/>
  <Override PartName="/ppt/slides/slide36.xml" ContentType="application/vnd.openxmlformats-officedocument.presentationml.slide+xml"/>
  <Override PartName="/ppt/slides/slide360.xml" ContentType="application/vnd.openxmlformats-officedocument.presentationml.slide+xml"/>
  <Override PartName="/ppt/slides/slide361.xml" ContentType="application/vnd.openxmlformats-officedocument.presentationml.slide+xml"/>
  <Override PartName="/ppt/slides/slide362.xml" ContentType="application/vnd.openxmlformats-officedocument.presentationml.slide+xml"/>
  <Override PartName="/ppt/slides/slide363.xml" ContentType="application/vnd.openxmlformats-officedocument.presentationml.slide+xml"/>
  <Override PartName="/ppt/slides/slide364.xml" ContentType="application/vnd.openxmlformats-officedocument.presentationml.slide+xml"/>
  <Override PartName="/ppt/slides/slide365.xml" ContentType="application/vnd.openxmlformats-officedocument.presentationml.slide+xml"/>
  <Override PartName="/ppt/slides/slide366.xml" ContentType="application/vnd.openxmlformats-officedocument.presentationml.slide+xml"/>
  <Override PartName="/ppt/slides/slide367.xml" ContentType="application/vnd.openxmlformats-officedocument.presentationml.slide+xml"/>
  <Override PartName="/ppt/slides/slide368.xml" ContentType="application/vnd.openxmlformats-officedocument.presentationml.slide+xml"/>
  <Override PartName="/ppt/slides/slide369.xml" ContentType="application/vnd.openxmlformats-officedocument.presentationml.slide+xml"/>
  <Override PartName="/ppt/slides/slide37.xml" ContentType="application/vnd.openxmlformats-officedocument.presentationml.slide+xml"/>
  <Override PartName="/ppt/slides/slide370.xml" ContentType="application/vnd.openxmlformats-officedocument.presentationml.slide+xml"/>
  <Override PartName="/ppt/slides/slide371.xml" ContentType="application/vnd.openxmlformats-officedocument.presentationml.slide+xml"/>
  <Override PartName="/ppt/slides/slide372.xml" ContentType="application/vnd.openxmlformats-officedocument.presentationml.slide+xml"/>
  <Override PartName="/ppt/slides/slide373.xml" ContentType="application/vnd.openxmlformats-officedocument.presentationml.slide+xml"/>
  <Override PartName="/ppt/slides/slide374.xml" ContentType="application/vnd.openxmlformats-officedocument.presentationml.slide+xml"/>
  <Override PartName="/ppt/slides/slide375.xml" ContentType="application/vnd.openxmlformats-officedocument.presentationml.slide+xml"/>
  <Override PartName="/ppt/slides/slide376.xml" ContentType="application/vnd.openxmlformats-officedocument.presentationml.slide+xml"/>
  <Override PartName="/ppt/slides/slide377.xml" ContentType="application/vnd.openxmlformats-officedocument.presentationml.slide+xml"/>
  <Override PartName="/ppt/slides/slide378.xml" ContentType="application/vnd.openxmlformats-officedocument.presentationml.slide+xml"/>
  <Override PartName="/ppt/slides/slide379.xml" ContentType="application/vnd.openxmlformats-officedocument.presentationml.slide+xml"/>
  <Override PartName="/ppt/slides/slide38.xml" ContentType="application/vnd.openxmlformats-officedocument.presentationml.slide+xml"/>
  <Override PartName="/ppt/slides/slide380.xml" ContentType="application/vnd.openxmlformats-officedocument.presentationml.slide+xml"/>
  <Override PartName="/ppt/slides/slide381.xml" ContentType="application/vnd.openxmlformats-officedocument.presentationml.slide+xml"/>
  <Override PartName="/ppt/slides/slide382.xml" ContentType="application/vnd.openxmlformats-officedocument.presentationml.slide+xml"/>
  <Override PartName="/ppt/slides/slide383.xml" ContentType="application/vnd.openxmlformats-officedocument.presentationml.slide+xml"/>
  <Override PartName="/ppt/slides/slide384.xml" ContentType="application/vnd.openxmlformats-officedocument.presentationml.slide+xml"/>
  <Override PartName="/ppt/slides/slide385.xml" ContentType="application/vnd.openxmlformats-officedocument.presentationml.slide+xml"/>
  <Override PartName="/ppt/slides/slide386.xml" ContentType="application/vnd.openxmlformats-officedocument.presentationml.slide+xml"/>
  <Override PartName="/ppt/slides/slide387.xml" ContentType="application/vnd.openxmlformats-officedocument.presentationml.slide+xml"/>
  <Override PartName="/ppt/slides/slide388.xml" ContentType="application/vnd.openxmlformats-officedocument.presentationml.slide+xml"/>
  <Override PartName="/ppt/slides/slide389.xml" ContentType="application/vnd.openxmlformats-officedocument.presentationml.slide+xml"/>
  <Override PartName="/ppt/slides/slide39.xml" ContentType="application/vnd.openxmlformats-officedocument.presentationml.slide+xml"/>
  <Override PartName="/ppt/slides/slide390.xml" ContentType="application/vnd.openxmlformats-officedocument.presentationml.slide+xml"/>
  <Override PartName="/ppt/slides/slide391.xml" ContentType="application/vnd.openxmlformats-officedocument.presentationml.slide+xml"/>
  <Override PartName="/ppt/slides/slide392.xml" ContentType="application/vnd.openxmlformats-officedocument.presentationml.slide+xml"/>
  <Override PartName="/ppt/slides/slide393.xml" ContentType="application/vnd.openxmlformats-officedocument.presentationml.slide+xml"/>
  <Override PartName="/ppt/slides/slide394.xml" ContentType="application/vnd.openxmlformats-officedocument.presentationml.slide+xml"/>
  <Override PartName="/ppt/slides/slide395.xml" ContentType="application/vnd.openxmlformats-officedocument.presentationml.slide+xml"/>
  <Override PartName="/ppt/slides/slide396.xml" ContentType="application/vnd.openxmlformats-officedocument.presentationml.slide+xml"/>
  <Override PartName="/ppt/slides/slide397.xml" ContentType="application/vnd.openxmlformats-officedocument.presentationml.slide+xml"/>
  <Override PartName="/ppt/slides/slide398.xml" ContentType="application/vnd.openxmlformats-officedocument.presentationml.slide+xml"/>
  <Override PartName="/ppt/slides/slide399.xml" ContentType="application/vnd.openxmlformats-officedocument.presentationml.slide+xml"/>
  <Override PartName="/ppt/slides/slide4.xml" ContentType="application/vnd.openxmlformats-officedocument.presentationml.slide+xml"/>
  <Override PartName="/ppt/slides/slide40.xml" ContentType="application/vnd.openxmlformats-officedocument.presentationml.slide+xml"/>
  <Override PartName="/ppt/slides/slide400.xml" ContentType="application/vnd.openxmlformats-officedocument.presentationml.slide+xml"/>
  <Override PartName="/ppt/slides/slide401.xml" ContentType="application/vnd.openxmlformats-officedocument.presentationml.slide+xml"/>
  <Override PartName="/ppt/slides/slide402.xml" ContentType="application/vnd.openxmlformats-officedocument.presentationml.slide+xml"/>
  <Override PartName="/ppt/slides/slide403.xml" ContentType="application/vnd.openxmlformats-officedocument.presentationml.slide+xml"/>
  <Override PartName="/ppt/slides/slide404.xml" ContentType="application/vnd.openxmlformats-officedocument.presentationml.slide+xml"/>
  <Override PartName="/ppt/slides/slide405.xml" ContentType="application/vnd.openxmlformats-officedocument.presentationml.slide+xml"/>
  <Override PartName="/ppt/slides/slide406.xml" ContentType="application/vnd.openxmlformats-officedocument.presentationml.slide+xml"/>
  <Override PartName="/ppt/slides/slide407.xml" ContentType="application/vnd.openxmlformats-officedocument.presentationml.slide+xml"/>
  <Override PartName="/ppt/slides/slide408.xml" ContentType="application/vnd.openxmlformats-officedocument.presentationml.slide+xml"/>
  <Override PartName="/ppt/slides/slide409.xml" ContentType="application/vnd.openxmlformats-officedocument.presentationml.slide+xml"/>
  <Override PartName="/ppt/slides/slide41.xml" ContentType="application/vnd.openxmlformats-officedocument.presentationml.slide+xml"/>
  <Override PartName="/ppt/slides/slide410.xml" ContentType="application/vnd.openxmlformats-officedocument.presentationml.slide+xml"/>
  <Override PartName="/ppt/slides/slide411.xml" ContentType="application/vnd.openxmlformats-officedocument.presentationml.slide+xml"/>
  <Override PartName="/ppt/slides/slide412.xml" ContentType="application/vnd.openxmlformats-officedocument.presentationml.slide+xml"/>
  <Override PartName="/ppt/slides/slide413.xml" ContentType="application/vnd.openxmlformats-officedocument.presentationml.slide+xml"/>
  <Override PartName="/ppt/slides/slide414.xml" ContentType="application/vnd.openxmlformats-officedocument.presentationml.slide+xml"/>
  <Override PartName="/ppt/slides/slide415.xml" ContentType="application/vnd.openxmlformats-officedocument.presentationml.slide+xml"/>
  <Override PartName="/ppt/slides/slide416.xml" ContentType="application/vnd.openxmlformats-officedocument.presentationml.slide+xml"/>
  <Override PartName="/ppt/slides/slide417.xml" ContentType="application/vnd.openxmlformats-officedocument.presentationml.slide+xml"/>
  <Override PartName="/ppt/slides/slide418.xml" ContentType="application/vnd.openxmlformats-officedocument.presentationml.slide+xml"/>
  <Override PartName="/ppt/slides/slide419.xml" ContentType="application/vnd.openxmlformats-officedocument.presentationml.slide+xml"/>
  <Override PartName="/ppt/slides/slide42.xml" ContentType="application/vnd.openxmlformats-officedocument.presentationml.slide+xml"/>
  <Override PartName="/ppt/slides/slide420.xml" ContentType="application/vnd.openxmlformats-officedocument.presentationml.slide+xml"/>
  <Override PartName="/ppt/slides/slide421.xml" ContentType="application/vnd.openxmlformats-officedocument.presentationml.slide+xml"/>
  <Override PartName="/ppt/slides/slide422.xml" ContentType="application/vnd.openxmlformats-officedocument.presentationml.slide+xml"/>
  <Override PartName="/ppt/slides/slide423.xml" ContentType="application/vnd.openxmlformats-officedocument.presentationml.slide+xml"/>
  <Override PartName="/ppt/slides/slide424.xml" ContentType="application/vnd.openxmlformats-officedocument.presentationml.slide+xml"/>
  <Override PartName="/ppt/slides/slide425.xml" ContentType="application/vnd.openxmlformats-officedocument.presentationml.slide+xml"/>
  <Override PartName="/ppt/slides/slide426.xml" ContentType="application/vnd.openxmlformats-officedocument.presentationml.slide+xml"/>
  <Override PartName="/ppt/slides/slide427.xml" ContentType="application/vnd.openxmlformats-officedocument.presentationml.slide+xml"/>
  <Override PartName="/ppt/slides/slide428.xml" ContentType="application/vnd.openxmlformats-officedocument.presentationml.slide+xml"/>
  <Override PartName="/ppt/slides/slide429.xml" ContentType="application/vnd.openxmlformats-officedocument.presentationml.slide+xml"/>
  <Override PartName="/ppt/slides/slide43.xml" ContentType="application/vnd.openxmlformats-officedocument.presentationml.slide+xml"/>
  <Override PartName="/ppt/slides/slide430.xml" ContentType="application/vnd.openxmlformats-officedocument.presentationml.slide+xml"/>
  <Override PartName="/ppt/slides/slide431.xml" ContentType="application/vnd.openxmlformats-officedocument.presentationml.slide+xml"/>
  <Override PartName="/ppt/slides/slide432.xml" ContentType="application/vnd.openxmlformats-officedocument.presentationml.slide+xml"/>
  <Override PartName="/ppt/slides/slide433.xml" ContentType="application/vnd.openxmlformats-officedocument.presentationml.slide+xml"/>
  <Override PartName="/ppt/slides/slide434.xml" ContentType="application/vnd.openxmlformats-officedocument.presentationml.slide+xml"/>
  <Override PartName="/ppt/slides/slide435.xml" ContentType="application/vnd.openxmlformats-officedocument.presentationml.slide+xml"/>
  <Override PartName="/ppt/slides/slide436.xml" ContentType="application/vnd.openxmlformats-officedocument.presentationml.slide+xml"/>
  <Override PartName="/ppt/slides/slide437.xml" ContentType="application/vnd.openxmlformats-officedocument.presentationml.slide+xml"/>
  <Override PartName="/ppt/slides/slide438.xml" ContentType="application/vnd.openxmlformats-officedocument.presentationml.slide+xml"/>
  <Override PartName="/ppt/slides/slide439.xml" ContentType="application/vnd.openxmlformats-officedocument.presentationml.slide+xml"/>
  <Override PartName="/ppt/slides/slide44.xml" ContentType="application/vnd.openxmlformats-officedocument.presentationml.slide+xml"/>
  <Override PartName="/ppt/slides/slide440.xml" ContentType="application/vnd.openxmlformats-officedocument.presentationml.slide+xml"/>
  <Override PartName="/ppt/slides/slide441.xml" ContentType="application/vnd.openxmlformats-officedocument.presentationml.slide+xml"/>
  <Override PartName="/ppt/slides/slide442.xml" ContentType="application/vnd.openxmlformats-officedocument.presentationml.slide+xml"/>
  <Override PartName="/ppt/slides/slide443.xml" ContentType="application/vnd.openxmlformats-officedocument.presentationml.slide+xml"/>
  <Override PartName="/ppt/slides/slide444.xml" ContentType="application/vnd.openxmlformats-officedocument.presentationml.slide+xml"/>
  <Override PartName="/ppt/slides/slide445.xml" ContentType="application/vnd.openxmlformats-officedocument.presentationml.slide+xml"/>
  <Override PartName="/ppt/slides/slide446.xml" ContentType="application/vnd.openxmlformats-officedocument.presentationml.slide+xml"/>
  <Override PartName="/ppt/slides/slide447.xml" ContentType="application/vnd.openxmlformats-officedocument.presentationml.slide+xml"/>
  <Override PartName="/ppt/slides/slide448.xml" ContentType="application/vnd.openxmlformats-officedocument.presentationml.slide+xml"/>
  <Override PartName="/ppt/slides/slide449.xml" ContentType="application/vnd.openxmlformats-officedocument.presentationml.slide+xml"/>
  <Override PartName="/ppt/slides/slide45.xml" ContentType="application/vnd.openxmlformats-officedocument.presentationml.slide+xml"/>
  <Override PartName="/ppt/slides/slide450.xml" ContentType="application/vnd.openxmlformats-officedocument.presentationml.slide+xml"/>
  <Override PartName="/ppt/slides/slide451.xml" ContentType="application/vnd.openxmlformats-officedocument.presentationml.slide+xml"/>
  <Override PartName="/ppt/slides/slide452.xml" ContentType="application/vnd.openxmlformats-officedocument.presentationml.slide+xml"/>
  <Override PartName="/ppt/slides/slide453.xml" ContentType="application/vnd.openxmlformats-officedocument.presentationml.slide+xml"/>
  <Override PartName="/ppt/slides/slide454.xml" ContentType="application/vnd.openxmlformats-officedocument.presentationml.slide+xml"/>
  <Override PartName="/ppt/slides/slide455.xml" ContentType="application/vnd.openxmlformats-officedocument.presentationml.slide+xml"/>
  <Override PartName="/ppt/slides/slide456.xml" ContentType="application/vnd.openxmlformats-officedocument.presentationml.slide+xml"/>
  <Override PartName="/ppt/slides/slide457.xml" ContentType="application/vnd.openxmlformats-officedocument.presentationml.slide+xml"/>
  <Override PartName="/ppt/slides/slide458.xml" ContentType="application/vnd.openxmlformats-officedocument.presentationml.slide+xml"/>
  <Override PartName="/ppt/slides/slide459.xml" ContentType="application/vnd.openxmlformats-officedocument.presentationml.slide+xml"/>
  <Override PartName="/ppt/slides/slide46.xml" ContentType="application/vnd.openxmlformats-officedocument.presentationml.slide+xml"/>
  <Override PartName="/ppt/slides/slide460.xml" ContentType="application/vnd.openxmlformats-officedocument.presentationml.slide+xml"/>
  <Override PartName="/ppt/slides/slide461.xml" ContentType="application/vnd.openxmlformats-officedocument.presentationml.slide+xml"/>
  <Override PartName="/ppt/slides/slide462.xml" ContentType="application/vnd.openxmlformats-officedocument.presentationml.slide+xml"/>
  <Override PartName="/ppt/slides/slide463.xml" ContentType="application/vnd.openxmlformats-officedocument.presentationml.slide+xml"/>
  <Override PartName="/ppt/slides/slide464.xml" ContentType="application/vnd.openxmlformats-officedocument.presentationml.slide+xml"/>
  <Override PartName="/ppt/slides/slide465.xml" ContentType="application/vnd.openxmlformats-officedocument.presentationml.slide+xml"/>
  <Override PartName="/ppt/slides/slide466.xml" ContentType="application/vnd.openxmlformats-officedocument.presentationml.slide+xml"/>
  <Override PartName="/ppt/slides/slide467.xml" ContentType="application/vnd.openxmlformats-officedocument.presentationml.slide+xml"/>
  <Override PartName="/ppt/slides/slide468.xml" ContentType="application/vnd.openxmlformats-officedocument.presentationml.slide+xml"/>
  <Override PartName="/ppt/slides/slide469.xml" ContentType="application/vnd.openxmlformats-officedocument.presentationml.slide+xml"/>
  <Override PartName="/ppt/slides/slide47.xml" ContentType="application/vnd.openxmlformats-officedocument.presentationml.slide+xml"/>
  <Override PartName="/ppt/slides/slide470.xml" ContentType="application/vnd.openxmlformats-officedocument.presentationml.slide+xml"/>
  <Override PartName="/ppt/slides/slide471.xml" ContentType="application/vnd.openxmlformats-officedocument.presentationml.slide+xml"/>
  <Override PartName="/ppt/slides/slide472.xml" ContentType="application/vnd.openxmlformats-officedocument.presentationml.slide+xml"/>
  <Override PartName="/ppt/slides/slide473.xml" ContentType="application/vnd.openxmlformats-officedocument.presentationml.slide+xml"/>
  <Override PartName="/ppt/slides/slide474.xml" ContentType="application/vnd.openxmlformats-officedocument.presentationml.slide+xml"/>
  <Override PartName="/ppt/slides/slide475.xml" ContentType="application/vnd.openxmlformats-officedocument.presentationml.slide+xml"/>
  <Override PartName="/ppt/slides/slide476.xml" ContentType="application/vnd.openxmlformats-officedocument.presentationml.slide+xml"/>
  <Override PartName="/ppt/slides/slide477.xml" ContentType="application/vnd.openxmlformats-officedocument.presentationml.slide+xml"/>
  <Override PartName="/ppt/slides/slide478.xml" ContentType="application/vnd.openxmlformats-officedocument.presentationml.slide+xml"/>
  <Override PartName="/ppt/slides/slide479.xml" ContentType="application/vnd.openxmlformats-officedocument.presentationml.slide+xml"/>
  <Override PartName="/ppt/slides/slide48.xml" ContentType="application/vnd.openxmlformats-officedocument.presentationml.slide+xml"/>
  <Override PartName="/ppt/slides/slide480.xml" ContentType="application/vnd.openxmlformats-officedocument.presentationml.slide+xml"/>
  <Override PartName="/ppt/slides/slide481.xml" ContentType="application/vnd.openxmlformats-officedocument.presentationml.slide+xml"/>
  <Override PartName="/ppt/slides/slide482.xml" ContentType="application/vnd.openxmlformats-officedocument.presentationml.slide+xml"/>
  <Override PartName="/ppt/slides/slide483.xml" ContentType="application/vnd.openxmlformats-officedocument.presentationml.slide+xml"/>
  <Override PartName="/ppt/slides/slide484.xml" ContentType="application/vnd.openxmlformats-officedocument.presentationml.slide+xml"/>
  <Override PartName="/ppt/slides/slide485.xml" ContentType="application/vnd.openxmlformats-officedocument.presentationml.slide+xml"/>
  <Override PartName="/ppt/slides/slide486.xml" ContentType="application/vnd.openxmlformats-officedocument.presentationml.slide+xml"/>
  <Override PartName="/ppt/slides/slide487.xml" ContentType="application/vnd.openxmlformats-officedocument.presentationml.slide+xml"/>
  <Override PartName="/ppt/slides/slide488.xml" ContentType="application/vnd.openxmlformats-officedocument.presentationml.slide+xml"/>
  <Override PartName="/ppt/slides/slide489.xml" ContentType="application/vnd.openxmlformats-officedocument.presentationml.slide+xml"/>
  <Override PartName="/ppt/slides/slide49.xml" ContentType="application/vnd.openxmlformats-officedocument.presentationml.slide+xml"/>
  <Override PartName="/ppt/slides/slide490.xml" ContentType="application/vnd.openxmlformats-officedocument.presentationml.slide+xml"/>
  <Override PartName="/ppt/slides/slide491.xml" ContentType="application/vnd.openxmlformats-officedocument.presentationml.slide+xml"/>
  <Override PartName="/ppt/slides/slide492.xml" ContentType="application/vnd.openxmlformats-officedocument.presentationml.slide+xml"/>
  <Override PartName="/ppt/slides/slide493.xml" ContentType="application/vnd.openxmlformats-officedocument.presentationml.slide+xml"/>
  <Override PartName="/ppt/slides/slide494.xml" ContentType="application/vnd.openxmlformats-officedocument.presentationml.slide+xml"/>
  <Override PartName="/ppt/slides/slide495.xml" ContentType="application/vnd.openxmlformats-officedocument.presentationml.slide+xml"/>
  <Override PartName="/ppt/slides/slide496.xml" ContentType="application/vnd.openxmlformats-officedocument.presentationml.slide+xml"/>
  <Override PartName="/ppt/slides/slide497.xml" ContentType="application/vnd.openxmlformats-officedocument.presentationml.slide+xml"/>
  <Override PartName="/ppt/slides/slide498.xml" ContentType="application/vnd.openxmlformats-officedocument.presentationml.slide+xml"/>
  <Override PartName="/ppt/slides/slide499.xml" ContentType="application/vnd.openxmlformats-officedocument.presentationml.slide+xml"/>
  <Override PartName="/ppt/slides/slide5.xml" ContentType="application/vnd.openxmlformats-officedocument.presentationml.slide+xml"/>
  <Override PartName="/ppt/slides/slide50.xml" ContentType="application/vnd.openxmlformats-officedocument.presentationml.slide+xml"/>
  <Override PartName="/ppt/slides/slide500.xml" ContentType="application/vnd.openxmlformats-officedocument.presentationml.slide+xml"/>
  <Override PartName="/ppt/slides/slide501.xml" ContentType="application/vnd.openxmlformats-officedocument.presentationml.slide+xml"/>
  <Override PartName="/ppt/slides/slide502.xml" ContentType="application/vnd.openxmlformats-officedocument.presentationml.slide+xml"/>
  <Override PartName="/ppt/slides/slide503.xml" ContentType="application/vnd.openxmlformats-officedocument.presentationml.slide+xml"/>
  <Override PartName="/ppt/slides/slide504.xml" ContentType="application/vnd.openxmlformats-officedocument.presentationml.slide+xml"/>
  <Override PartName="/ppt/slides/slide505.xml" ContentType="application/vnd.openxmlformats-officedocument.presentationml.slide+xml"/>
  <Override PartName="/ppt/slides/slide506.xml" ContentType="application/vnd.openxmlformats-officedocument.presentationml.slide+xml"/>
  <Override PartName="/ppt/slides/slide507.xml" ContentType="application/vnd.openxmlformats-officedocument.presentationml.slide+xml"/>
  <Override PartName="/ppt/slides/slide508.xml" ContentType="application/vnd.openxmlformats-officedocument.presentationml.slide+xml"/>
  <Override PartName="/ppt/slides/slide509.xml" ContentType="application/vnd.openxmlformats-officedocument.presentationml.slide+xml"/>
  <Override PartName="/ppt/slides/slide51.xml" ContentType="application/vnd.openxmlformats-officedocument.presentationml.slide+xml"/>
  <Override PartName="/ppt/slides/slide510.xml" ContentType="application/vnd.openxmlformats-officedocument.presentationml.slide+xml"/>
  <Override PartName="/ppt/slides/slide511.xml" ContentType="application/vnd.openxmlformats-officedocument.presentationml.slide+xml"/>
  <Override PartName="/ppt/slides/slide512.xml" ContentType="application/vnd.openxmlformats-officedocument.presentationml.slide+xml"/>
  <Override PartName="/ppt/slides/slide513.xml" ContentType="application/vnd.openxmlformats-officedocument.presentationml.slide+xml"/>
  <Override PartName="/ppt/slides/slide514.xml" ContentType="application/vnd.openxmlformats-officedocument.presentationml.slide+xml"/>
  <Override PartName="/ppt/slides/slide515.xml" ContentType="application/vnd.openxmlformats-officedocument.presentationml.slide+xml"/>
  <Override PartName="/ppt/slides/slide516.xml" ContentType="application/vnd.openxmlformats-officedocument.presentationml.slide+xml"/>
  <Override PartName="/ppt/slides/slide517.xml" ContentType="application/vnd.openxmlformats-officedocument.presentationml.slide+xml"/>
  <Override PartName="/ppt/slides/slide518.xml" ContentType="application/vnd.openxmlformats-officedocument.presentationml.slide+xml"/>
  <Override PartName="/ppt/slides/slide519.xml" ContentType="application/vnd.openxmlformats-officedocument.presentationml.slide+xml"/>
  <Override PartName="/ppt/slides/slide52.xml" ContentType="application/vnd.openxmlformats-officedocument.presentationml.slide+xml"/>
  <Override PartName="/ppt/slides/slide520.xml" ContentType="application/vnd.openxmlformats-officedocument.presentationml.slide+xml"/>
  <Override PartName="/ppt/slides/slide521.xml" ContentType="application/vnd.openxmlformats-officedocument.presentationml.slide+xml"/>
  <Override PartName="/ppt/slides/slide522.xml" ContentType="application/vnd.openxmlformats-officedocument.presentationml.slide+xml"/>
  <Override PartName="/ppt/slides/slide523.xml" ContentType="application/vnd.openxmlformats-officedocument.presentationml.slide+xml"/>
  <Override PartName="/ppt/slides/slide524.xml" ContentType="application/vnd.openxmlformats-officedocument.presentationml.slide+xml"/>
  <Override PartName="/ppt/slides/slide525.xml" ContentType="application/vnd.openxmlformats-officedocument.presentationml.slide+xml"/>
  <Override PartName="/ppt/slides/slide526.xml" ContentType="application/vnd.openxmlformats-officedocument.presentationml.slide+xml"/>
  <Override PartName="/ppt/slides/slide527.xml" ContentType="application/vnd.openxmlformats-officedocument.presentationml.slide+xml"/>
  <Override PartName="/ppt/slides/slide528.xml" ContentType="application/vnd.openxmlformats-officedocument.presentationml.slide+xml"/>
  <Override PartName="/ppt/slides/slide529.xml" ContentType="application/vnd.openxmlformats-officedocument.presentationml.slide+xml"/>
  <Override PartName="/ppt/slides/slide53.xml" ContentType="application/vnd.openxmlformats-officedocument.presentationml.slide+xml"/>
  <Override PartName="/ppt/slides/slide530.xml" ContentType="application/vnd.openxmlformats-officedocument.presentationml.slide+xml"/>
  <Override PartName="/ppt/slides/slide531.xml" ContentType="application/vnd.openxmlformats-officedocument.presentationml.slide+xml"/>
  <Override PartName="/ppt/slides/slide532.xml" ContentType="application/vnd.openxmlformats-officedocument.presentationml.slide+xml"/>
  <Override PartName="/ppt/slides/slide533.xml" ContentType="application/vnd.openxmlformats-officedocument.presentationml.slide+xml"/>
  <Override PartName="/ppt/slides/slide534.xml" ContentType="application/vnd.openxmlformats-officedocument.presentationml.slide+xml"/>
  <Override PartName="/ppt/slides/slide535.xml" ContentType="application/vnd.openxmlformats-officedocument.presentationml.slide+xml"/>
  <Override PartName="/ppt/slides/slide536.xml" ContentType="application/vnd.openxmlformats-officedocument.presentationml.slide+xml"/>
  <Override PartName="/ppt/slides/slide537.xml" ContentType="application/vnd.openxmlformats-officedocument.presentationml.slide+xml"/>
  <Override PartName="/ppt/slides/slide538.xml" ContentType="application/vnd.openxmlformats-officedocument.presentationml.slide+xml"/>
  <Override PartName="/ppt/slides/slide539.xml" ContentType="application/vnd.openxmlformats-officedocument.presentationml.slide+xml"/>
  <Override PartName="/ppt/slides/slide54.xml" ContentType="application/vnd.openxmlformats-officedocument.presentationml.slide+xml"/>
  <Override PartName="/ppt/slides/slide540.xml" ContentType="application/vnd.openxmlformats-officedocument.presentationml.slide+xml"/>
  <Override PartName="/ppt/slides/slide541.xml" ContentType="application/vnd.openxmlformats-officedocument.presentationml.slide+xml"/>
  <Override PartName="/ppt/slides/slide542.xml" ContentType="application/vnd.openxmlformats-officedocument.presentationml.slide+xml"/>
  <Override PartName="/ppt/slides/slide543.xml" ContentType="application/vnd.openxmlformats-officedocument.presentationml.slide+xml"/>
  <Override PartName="/ppt/slides/slide544.xml" ContentType="application/vnd.openxmlformats-officedocument.presentationml.slide+xml"/>
  <Override PartName="/ppt/slides/slide545.xml" ContentType="application/vnd.openxmlformats-officedocument.presentationml.slide+xml"/>
  <Override PartName="/ppt/slides/slide546.xml" ContentType="application/vnd.openxmlformats-officedocument.presentationml.slide+xml"/>
  <Override PartName="/ppt/slides/slide547.xml" ContentType="application/vnd.openxmlformats-officedocument.presentationml.slide+xml"/>
  <Override PartName="/ppt/slides/slide548.xml" ContentType="application/vnd.openxmlformats-officedocument.presentationml.slide+xml"/>
  <Override PartName="/ppt/slides/slide549.xml" ContentType="application/vnd.openxmlformats-officedocument.presentationml.slide+xml"/>
  <Override PartName="/ppt/slides/slide55.xml" ContentType="application/vnd.openxmlformats-officedocument.presentationml.slide+xml"/>
  <Override PartName="/ppt/slides/slide550.xml" ContentType="application/vnd.openxmlformats-officedocument.presentationml.slide+xml"/>
  <Override PartName="/ppt/slides/slide551.xml" ContentType="application/vnd.openxmlformats-officedocument.presentationml.slide+xml"/>
  <Override PartName="/ppt/slides/slide552.xml" ContentType="application/vnd.openxmlformats-officedocument.presentationml.slide+xml"/>
  <Override PartName="/ppt/slides/slide553.xml" ContentType="application/vnd.openxmlformats-officedocument.presentationml.slide+xml"/>
  <Override PartName="/ppt/slides/slide554.xml" ContentType="application/vnd.openxmlformats-officedocument.presentationml.slide+xml"/>
  <Override PartName="/ppt/slides/slide555.xml" ContentType="application/vnd.openxmlformats-officedocument.presentationml.slide+xml"/>
  <Override PartName="/ppt/slides/slide556.xml" ContentType="application/vnd.openxmlformats-officedocument.presentationml.slide+xml"/>
  <Override PartName="/ppt/slides/slide557.xml" ContentType="application/vnd.openxmlformats-officedocument.presentationml.slide+xml"/>
  <Override PartName="/ppt/slides/slide558.xml" ContentType="application/vnd.openxmlformats-officedocument.presentationml.slide+xml"/>
  <Override PartName="/ppt/slides/slide559.xml" ContentType="application/vnd.openxmlformats-officedocument.presentationml.slide+xml"/>
  <Override PartName="/ppt/slides/slide56.xml" ContentType="application/vnd.openxmlformats-officedocument.presentationml.slide+xml"/>
  <Override PartName="/ppt/slides/slide560.xml" ContentType="application/vnd.openxmlformats-officedocument.presentationml.slide+xml"/>
  <Override PartName="/ppt/slides/slide561.xml" ContentType="application/vnd.openxmlformats-officedocument.presentationml.slide+xml"/>
  <Override PartName="/ppt/slides/slide562.xml" ContentType="application/vnd.openxmlformats-officedocument.presentationml.slide+xml"/>
  <Override PartName="/ppt/slides/slide563.xml" ContentType="application/vnd.openxmlformats-officedocument.presentationml.slide+xml"/>
  <Override PartName="/ppt/slides/slide564.xml" ContentType="application/vnd.openxmlformats-officedocument.presentationml.slide+xml"/>
  <Override PartName="/ppt/slides/slide565.xml" ContentType="application/vnd.openxmlformats-officedocument.presentationml.slide+xml"/>
  <Override PartName="/ppt/slides/slide566.xml" ContentType="application/vnd.openxmlformats-officedocument.presentationml.slide+xml"/>
  <Override PartName="/ppt/slides/slide567.xml" ContentType="application/vnd.openxmlformats-officedocument.presentationml.slide+xml"/>
  <Override PartName="/ppt/slides/slide568.xml" ContentType="application/vnd.openxmlformats-officedocument.presentationml.slide+xml"/>
  <Override PartName="/ppt/slides/slide569.xml" ContentType="application/vnd.openxmlformats-officedocument.presentationml.slide+xml"/>
  <Override PartName="/ppt/slides/slide57.xml" ContentType="application/vnd.openxmlformats-officedocument.presentationml.slide+xml"/>
  <Override PartName="/ppt/slides/slide570.xml" ContentType="application/vnd.openxmlformats-officedocument.presentationml.slide+xml"/>
  <Override PartName="/ppt/slides/slide571.xml" ContentType="application/vnd.openxmlformats-officedocument.presentationml.slide+xml"/>
  <Override PartName="/ppt/slides/slide572.xml" ContentType="application/vnd.openxmlformats-officedocument.presentationml.slide+xml"/>
  <Override PartName="/ppt/slides/slide573.xml" ContentType="application/vnd.openxmlformats-officedocument.presentationml.slide+xml"/>
  <Override PartName="/ppt/slides/slide574.xml" ContentType="application/vnd.openxmlformats-officedocument.presentationml.slide+xml"/>
  <Override PartName="/ppt/slides/slide575.xml" ContentType="application/vnd.openxmlformats-officedocument.presentationml.slide+xml"/>
  <Override PartName="/ppt/slides/slide576.xml" ContentType="application/vnd.openxmlformats-officedocument.presentationml.slide+xml"/>
  <Override PartName="/ppt/slides/slide577.xml" ContentType="application/vnd.openxmlformats-officedocument.presentationml.slide+xml"/>
  <Override PartName="/ppt/slides/slide578.xml" ContentType="application/vnd.openxmlformats-officedocument.presentationml.slide+xml"/>
  <Override PartName="/ppt/slides/slide579.xml" ContentType="application/vnd.openxmlformats-officedocument.presentationml.slide+xml"/>
  <Override PartName="/ppt/slides/slide58.xml" ContentType="application/vnd.openxmlformats-officedocument.presentationml.slide+xml"/>
  <Override PartName="/ppt/slides/slide580.xml" ContentType="application/vnd.openxmlformats-officedocument.presentationml.slide+xml"/>
  <Override PartName="/ppt/slides/slide581.xml" ContentType="application/vnd.openxmlformats-officedocument.presentationml.slide+xml"/>
  <Override PartName="/ppt/slides/slide582.xml" ContentType="application/vnd.openxmlformats-officedocument.presentationml.slide+xml"/>
  <Override PartName="/ppt/slides/slide583.xml" ContentType="application/vnd.openxmlformats-officedocument.presentationml.slide+xml"/>
  <Override PartName="/ppt/slides/slide584.xml" ContentType="application/vnd.openxmlformats-officedocument.presentationml.slide+xml"/>
  <Override PartName="/ppt/slides/slide585.xml" ContentType="application/vnd.openxmlformats-officedocument.presentationml.slide+xml"/>
  <Override PartName="/ppt/slides/slide586.xml" ContentType="application/vnd.openxmlformats-officedocument.presentationml.slide+xml"/>
  <Override PartName="/ppt/slides/slide587.xml" ContentType="application/vnd.openxmlformats-officedocument.presentationml.slide+xml"/>
  <Override PartName="/ppt/slides/slide588.xml" ContentType="application/vnd.openxmlformats-officedocument.presentationml.slide+xml"/>
  <Override PartName="/ppt/slides/slide589.xml" ContentType="application/vnd.openxmlformats-officedocument.presentationml.slide+xml"/>
  <Override PartName="/ppt/slides/slide59.xml" ContentType="application/vnd.openxmlformats-officedocument.presentationml.slide+xml"/>
  <Override PartName="/ppt/slides/slide590.xml" ContentType="application/vnd.openxmlformats-officedocument.presentationml.slide+xml"/>
  <Override PartName="/ppt/slides/slide591.xml" ContentType="application/vnd.openxmlformats-officedocument.presentationml.slide+xml"/>
  <Override PartName="/ppt/slides/slide592.xml" ContentType="application/vnd.openxmlformats-officedocument.presentationml.slide+xml"/>
  <Override PartName="/ppt/slides/slide593.xml" ContentType="application/vnd.openxmlformats-officedocument.presentationml.slide+xml"/>
  <Override PartName="/ppt/slides/slide594.xml" ContentType="application/vnd.openxmlformats-officedocument.presentationml.slide+xml"/>
  <Override PartName="/ppt/slides/slide595.xml" ContentType="application/vnd.openxmlformats-officedocument.presentationml.slide+xml"/>
  <Override PartName="/ppt/slides/slide596.xml" ContentType="application/vnd.openxmlformats-officedocument.presentationml.slide+xml"/>
  <Override PartName="/ppt/slides/slide597.xml" ContentType="application/vnd.openxmlformats-officedocument.presentationml.slide+xml"/>
  <Override PartName="/ppt/slides/slide598.xml" ContentType="application/vnd.openxmlformats-officedocument.presentationml.slide+xml"/>
  <Override PartName="/ppt/slides/slide599.xml" ContentType="application/vnd.openxmlformats-officedocument.presentationml.slide+xml"/>
  <Override PartName="/ppt/slides/slide6.xml" ContentType="application/vnd.openxmlformats-officedocument.presentationml.slide+xml"/>
  <Override PartName="/ppt/slides/slide60.xml" ContentType="application/vnd.openxmlformats-officedocument.presentationml.slide+xml"/>
  <Override PartName="/ppt/slides/slide600.xml" ContentType="application/vnd.openxmlformats-officedocument.presentationml.slide+xml"/>
  <Override PartName="/ppt/slides/slide601.xml" ContentType="application/vnd.openxmlformats-officedocument.presentationml.slide+xml"/>
  <Override PartName="/ppt/slides/slide602.xml" ContentType="application/vnd.openxmlformats-officedocument.presentationml.slide+xml"/>
  <Override PartName="/ppt/slides/slide603.xml" ContentType="application/vnd.openxmlformats-officedocument.presentationml.slide+xml"/>
  <Override PartName="/ppt/slides/slide604.xml" ContentType="application/vnd.openxmlformats-officedocument.presentationml.slide+xml"/>
  <Override PartName="/ppt/slides/slide605.xml" ContentType="application/vnd.openxmlformats-officedocument.presentationml.slide+xml"/>
  <Override PartName="/ppt/slides/slide606.xml" ContentType="application/vnd.openxmlformats-officedocument.presentationml.slide+xml"/>
  <Override PartName="/ppt/slides/slide607.xml" ContentType="application/vnd.openxmlformats-officedocument.presentationml.slide+xml"/>
  <Override PartName="/ppt/slides/slide608.xml" ContentType="application/vnd.openxmlformats-officedocument.presentationml.slide+xml"/>
  <Override PartName="/ppt/slides/slide609.xml" ContentType="application/vnd.openxmlformats-officedocument.presentationml.slide+xml"/>
  <Override PartName="/ppt/slides/slide61.xml" ContentType="application/vnd.openxmlformats-officedocument.presentationml.slide+xml"/>
  <Override PartName="/ppt/slides/slide610.xml" ContentType="application/vnd.openxmlformats-officedocument.presentationml.slide+xml"/>
  <Override PartName="/ppt/slides/slide611.xml" ContentType="application/vnd.openxmlformats-officedocument.presentationml.slide+xml"/>
  <Override PartName="/ppt/slides/slide612.xml" ContentType="application/vnd.openxmlformats-officedocument.presentationml.slide+xml"/>
  <Override PartName="/ppt/slides/slide613.xml" ContentType="application/vnd.openxmlformats-officedocument.presentationml.slide+xml"/>
  <Override PartName="/ppt/slides/slide614.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10.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xml" ContentType="application/vnd.openxmlformats-officedocument.presentationml.tags+xml"/>
  <Override PartName="/ppt/tags/tag20.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xml" ContentType="application/vnd.openxmlformats-officedocument.presentationml.tags+xml"/>
  <Override PartName="/ppt/tags/tag30.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xml" ContentType="application/vnd.openxmlformats-officedocument.presentationml.tags+xml"/>
  <Override PartName="/ppt/tags/tag40.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ags/tag41.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tags/tag419.xml" ContentType="application/vnd.openxmlformats-officedocument.presentationml.tags+xml"/>
  <Override PartName="/ppt/tags/tag42.xml" ContentType="application/vnd.openxmlformats-officedocument.presentationml.tags+xml"/>
  <Override PartName="/ppt/tags/tag420.xml" ContentType="application/vnd.openxmlformats-officedocument.presentationml.tags+xml"/>
  <Override PartName="/ppt/tags/tag421.xml" ContentType="application/vnd.openxmlformats-officedocument.presentationml.tags+xml"/>
  <Override PartName="/ppt/tags/tag422.xml" ContentType="application/vnd.openxmlformats-officedocument.presentationml.tags+xml"/>
  <Override PartName="/ppt/tags/tag423.xml" ContentType="application/vnd.openxmlformats-officedocument.presentationml.tags+xml"/>
  <Override PartName="/ppt/tags/tag424.xml" ContentType="application/vnd.openxmlformats-officedocument.presentationml.tags+xml"/>
  <Override PartName="/ppt/tags/tag425.xml" ContentType="application/vnd.openxmlformats-officedocument.presentationml.tags+xml"/>
  <Override PartName="/ppt/tags/tag426.xml" ContentType="application/vnd.openxmlformats-officedocument.presentationml.tags+xml"/>
  <Override PartName="/ppt/tags/tag427.xml" ContentType="application/vnd.openxmlformats-officedocument.presentationml.tags+xml"/>
  <Override PartName="/ppt/tags/tag428.xml" ContentType="application/vnd.openxmlformats-officedocument.presentationml.tags+xml"/>
  <Override PartName="/ppt/tags/tag429.xml" ContentType="application/vnd.openxmlformats-officedocument.presentationml.tags+xml"/>
  <Override PartName="/ppt/tags/tag43.xml" ContentType="application/vnd.openxmlformats-officedocument.presentationml.tags+xml"/>
  <Override PartName="/ppt/tags/tag430.xml" ContentType="application/vnd.openxmlformats-officedocument.presentationml.tags+xml"/>
  <Override PartName="/ppt/tags/tag431.xml" ContentType="application/vnd.openxmlformats-officedocument.presentationml.tags+xml"/>
  <Override PartName="/ppt/tags/tag432.xml" ContentType="application/vnd.openxmlformats-officedocument.presentationml.tags+xml"/>
  <Override PartName="/ppt/tags/tag433.xml" ContentType="application/vnd.openxmlformats-officedocument.presentationml.tags+xml"/>
  <Override PartName="/ppt/tags/tag434.xml" ContentType="application/vnd.openxmlformats-officedocument.presentationml.tags+xml"/>
  <Override PartName="/ppt/tags/tag435.xml" ContentType="application/vnd.openxmlformats-officedocument.presentationml.tags+xml"/>
  <Override PartName="/ppt/tags/tag436.xml" ContentType="application/vnd.openxmlformats-officedocument.presentationml.tags+xml"/>
  <Override PartName="/ppt/tags/tag437.xml" ContentType="application/vnd.openxmlformats-officedocument.presentationml.tags+xml"/>
  <Override PartName="/ppt/tags/tag438.xml" ContentType="application/vnd.openxmlformats-officedocument.presentationml.tags+xml"/>
  <Override PartName="/ppt/tags/tag439.xml" ContentType="application/vnd.openxmlformats-officedocument.presentationml.tags+xml"/>
  <Override PartName="/ppt/tags/tag44.xml" ContentType="application/vnd.openxmlformats-officedocument.presentationml.tags+xml"/>
  <Override PartName="/ppt/tags/tag440.xml" ContentType="application/vnd.openxmlformats-officedocument.presentationml.tags+xml"/>
  <Override PartName="/ppt/tags/tag441.xml" ContentType="application/vnd.openxmlformats-officedocument.presentationml.tags+xml"/>
  <Override PartName="/ppt/tags/tag442.xml" ContentType="application/vnd.openxmlformats-officedocument.presentationml.tags+xml"/>
  <Override PartName="/ppt/tags/tag443.xml" ContentType="application/vnd.openxmlformats-officedocument.presentationml.tags+xml"/>
  <Override PartName="/ppt/tags/tag444.xml" ContentType="application/vnd.openxmlformats-officedocument.presentationml.tags+xml"/>
  <Override PartName="/ppt/tags/tag445.xml" ContentType="application/vnd.openxmlformats-officedocument.presentationml.tags+xml"/>
  <Override PartName="/ppt/tags/tag446.xml" ContentType="application/vnd.openxmlformats-officedocument.presentationml.tags+xml"/>
  <Override PartName="/ppt/tags/tag447.xml" ContentType="application/vnd.openxmlformats-officedocument.presentationml.tags+xml"/>
  <Override PartName="/ppt/tags/tag448.xml" ContentType="application/vnd.openxmlformats-officedocument.presentationml.tags+xml"/>
  <Override PartName="/ppt/tags/tag449.xml" ContentType="application/vnd.openxmlformats-officedocument.presentationml.tags+xml"/>
  <Override PartName="/ppt/tags/tag45.xml" ContentType="application/vnd.openxmlformats-officedocument.presentationml.tags+xml"/>
  <Override PartName="/ppt/tags/tag450.xml" ContentType="application/vnd.openxmlformats-officedocument.presentationml.tags+xml"/>
  <Override PartName="/ppt/tags/tag451.xml" ContentType="application/vnd.openxmlformats-officedocument.presentationml.tags+xml"/>
  <Override PartName="/ppt/tags/tag452.xml" ContentType="application/vnd.openxmlformats-officedocument.presentationml.tags+xml"/>
  <Override PartName="/ppt/tags/tag453.xml" ContentType="application/vnd.openxmlformats-officedocument.presentationml.tags+xml"/>
  <Override PartName="/ppt/tags/tag454.xml" ContentType="application/vnd.openxmlformats-officedocument.presentationml.tags+xml"/>
  <Override PartName="/ppt/tags/tag455.xml" ContentType="application/vnd.openxmlformats-officedocument.presentationml.tags+xml"/>
  <Override PartName="/ppt/tags/tag456.xml" ContentType="application/vnd.openxmlformats-officedocument.presentationml.tags+xml"/>
  <Override PartName="/ppt/tags/tag457.xml" ContentType="application/vnd.openxmlformats-officedocument.presentationml.tags+xml"/>
  <Override PartName="/ppt/tags/tag458.xml" ContentType="application/vnd.openxmlformats-officedocument.presentationml.tags+xml"/>
  <Override PartName="/ppt/tags/tag459.xml" ContentType="application/vnd.openxmlformats-officedocument.presentationml.tags+xml"/>
  <Override PartName="/ppt/tags/tag46.xml" ContentType="application/vnd.openxmlformats-officedocument.presentationml.tags+xml"/>
  <Override PartName="/ppt/tags/tag460.xml" ContentType="application/vnd.openxmlformats-officedocument.presentationml.tags+xml"/>
  <Override PartName="/ppt/tags/tag461.xml" ContentType="application/vnd.openxmlformats-officedocument.presentationml.tags+xml"/>
  <Override PartName="/ppt/tags/tag462.xml" ContentType="application/vnd.openxmlformats-officedocument.presentationml.tags+xml"/>
  <Override PartName="/ppt/tags/tag463.xml" ContentType="application/vnd.openxmlformats-officedocument.presentationml.tags+xml"/>
  <Override PartName="/ppt/tags/tag464.xml" ContentType="application/vnd.openxmlformats-officedocument.presentationml.tags+xml"/>
  <Override PartName="/ppt/tags/tag465.xml" ContentType="application/vnd.openxmlformats-officedocument.presentationml.tags+xml"/>
  <Override PartName="/ppt/tags/tag466.xml" ContentType="application/vnd.openxmlformats-officedocument.presentationml.tags+xml"/>
  <Override PartName="/ppt/tags/tag467.xml" ContentType="application/vnd.openxmlformats-officedocument.presentationml.tags+xml"/>
  <Override PartName="/ppt/tags/tag468.xml" ContentType="application/vnd.openxmlformats-officedocument.presentationml.tags+xml"/>
  <Override PartName="/ppt/tags/tag469.xml" ContentType="application/vnd.openxmlformats-officedocument.presentationml.tags+xml"/>
  <Override PartName="/ppt/tags/tag47.xml" ContentType="application/vnd.openxmlformats-officedocument.presentationml.tags+xml"/>
  <Override PartName="/ppt/tags/tag470.xml" ContentType="application/vnd.openxmlformats-officedocument.presentationml.tags+xml"/>
  <Override PartName="/ppt/tags/tag471.xml" ContentType="application/vnd.openxmlformats-officedocument.presentationml.tags+xml"/>
  <Override PartName="/ppt/tags/tag472.xml" ContentType="application/vnd.openxmlformats-officedocument.presentationml.tags+xml"/>
  <Override PartName="/ppt/tags/tag473.xml" ContentType="application/vnd.openxmlformats-officedocument.presentationml.tags+xml"/>
  <Override PartName="/ppt/tags/tag474.xml" ContentType="application/vnd.openxmlformats-officedocument.presentationml.tags+xml"/>
  <Override PartName="/ppt/tags/tag475.xml" ContentType="application/vnd.openxmlformats-officedocument.presentationml.tags+xml"/>
  <Override PartName="/ppt/tags/tag476.xml" ContentType="application/vnd.openxmlformats-officedocument.presentationml.tags+xml"/>
  <Override PartName="/ppt/tags/tag477.xml" ContentType="application/vnd.openxmlformats-officedocument.presentationml.tags+xml"/>
  <Override PartName="/ppt/tags/tag478.xml" ContentType="application/vnd.openxmlformats-officedocument.presentationml.tags+xml"/>
  <Override PartName="/ppt/tags/tag479.xml" ContentType="application/vnd.openxmlformats-officedocument.presentationml.tags+xml"/>
  <Override PartName="/ppt/tags/tag48.xml" ContentType="application/vnd.openxmlformats-officedocument.presentationml.tags+xml"/>
  <Override PartName="/ppt/tags/tag480.xml" ContentType="application/vnd.openxmlformats-officedocument.presentationml.tags+xml"/>
  <Override PartName="/ppt/tags/tag481.xml" ContentType="application/vnd.openxmlformats-officedocument.presentationml.tags+xml"/>
  <Override PartName="/ppt/tags/tag482.xml" ContentType="application/vnd.openxmlformats-officedocument.presentationml.tags+xml"/>
  <Override PartName="/ppt/tags/tag483.xml" ContentType="application/vnd.openxmlformats-officedocument.presentationml.tags+xml"/>
  <Override PartName="/ppt/tags/tag484.xml" ContentType="application/vnd.openxmlformats-officedocument.presentationml.tags+xml"/>
  <Override PartName="/ppt/tags/tag485.xml" ContentType="application/vnd.openxmlformats-officedocument.presentationml.tags+xml"/>
  <Override PartName="/ppt/tags/tag486.xml" ContentType="application/vnd.openxmlformats-officedocument.presentationml.tags+xml"/>
  <Override PartName="/ppt/tags/tag487.xml" ContentType="application/vnd.openxmlformats-officedocument.presentationml.tags+xml"/>
  <Override PartName="/ppt/tags/tag488.xml" ContentType="application/vnd.openxmlformats-officedocument.presentationml.tags+xml"/>
  <Override PartName="/ppt/tags/tag489.xml" ContentType="application/vnd.openxmlformats-officedocument.presentationml.tags+xml"/>
  <Override PartName="/ppt/tags/tag49.xml" ContentType="application/vnd.openxmlformats-officedocument.presentationml.tags+xml"/>
  <Override PartName="/ppt/tags/tag490.xml" ContentType="application/vnd.openxmlformats-officedocument.presentationml.tags+xml"/>
  <Override PartName="/ppt/tags/tag491.xml" ContentType="application/vnd.openxmlformats-officedocument.presentationml.tags+xml"/>
  <Override PartName="/ppt/tags/tag492.xml" ContentType="application/vnd.openxmlformats-officedocument.presentationml.tags+xml"/>
  <Override PartName="/ppt/tags/tag493.xml" ContentType="application/vnd.openxmlformats-officedocument.presentationml.tags+xml"/>
  <Override PartName="/ppt/tags/tag494.xml" ContentType="application/vnd.openxmlformats-officedocument.presentationml.tags+xml"/>
  <Override PartName="/ppt/tags/tag495.xml" ContentType="application/vnd.openxmlformats-officedocument.presentationml.tags+xml"/>
  <Override PartName="/ppt/tags/tag496.xml" ContentType="application/vnd.openxmlformats-officedocument.presentationml.tags+xml"/>
  <Override PartName="/ppt/tags/tag497.xml" ContentType="application/vnd.openxmlformats-officedocument.presentationml.tags+xml"/>
  <Override PartName="/ppt/tags/tag498.xml" ContentType="application/vnd.openxmlformats-officedocument.presentationml.tags+xml"/>
  <Override PartName="/ppt/tags/tag499.xml" ContentType="application/vnd.openxmlformats-officedocument.presentationml.tags+xml"/>
  <Override PartName="/ppt/tags/tag5.xml" ContentType="application/vnd.openxmlformats-officedocument.presentationml.tags+xml"/>
  <Override PartName="/ppt/tags/tag50.xml" ContentType="application/vnd.openxmlformats-officedocument.presentationml.tags+xml"/>
  <Override PartName="/ppt/tags/tag500.xml" ContentType="application/vnd.openxmlformats-officedocument.presentationml.tags+xml"/>
  <Override PartName="/ppt/tags/tag501.xml" ContentType="application/vnd.openxmlformats-officedocument.presentationml.tags+xml"/>
  <Override PartName="/ppt/tags/tag502.xml" ContentType="application/vnd.openxmlformats-officedocument.presentationml.tags+xml"/>
  <Override PartName="/ppt/tags/tag503.xml" ContentType="application/vnd.openxmlformats-officedocument.presentationml.tags+xml"/>
  <Override PartName="/ppt/tags/tag504.xml" ContentType="application/vnd.openxmlformats-officedocument.presentationml.tags+xml"/>
  <Override PartName="/ppt/tags/tag505.xml" ContentType="application/vnd.openxmlformats-officedocument.presentationml.tags+xml"/>
  <Override PartName="/ppt/tags/tag506.xml" ContentType="application/vnd.openxmlformats-officedocument.presentationml.tags+xml"/>
  <Override PartName="/ppt/tags/tag507.xml" ContentType="application/vnd.openxmlformats-officedocument.presentationml.tags+xml"/>
  <Override PartName="/ppt/tags/tag508.xml" ContentType="application/vnd.openxmlformats-officedocument.presentationml.tags+xml"/>
  <Override PartName="/ppt/tags/tag509.xml" ContentType="application/vnd.openxmlformats-officedocument.presentationml.tags+xml"/>
  <Override PartName="/ppt/tags/tag51.xml" ContentType="application/vnd.openxmlformats-officedocument.presentationml.tags+xml"/>
  <Override PartName="/ppt/tags/tag510.xml" ContentType="application/vnd.openxmlformats-officedocument.presentationml.tags+xml"/>
  <Override PartName="/ppt/tags/tag511.xml" ContentType="application/vnd.openxmlformats-officedocument.presentationml.tags+xml"/>
  <Override PartName="/ppt/tags/tag512.xml" ContentType="application/vnd.openxmlformats-officedocument.presentationml.tags+xml"/>
  <Override PartName="/ppt/tags/tag513.xml" ContentType="application/vnd.openxmlformats-officedocument.presentationml.tags+xml"/>
  <Override PartName="/ppt/tags/tag514.xml" ContentType="application/vnd.openxmlformats-officedocument.presentationml.tags+xml"/>
  <Override PartName="/ppt/tags/tag515.xml" ContentType="application/vnd.openxmlformats-officedocument.presentationml.tags+xml"/>
  <Override PartName="/ppt/tags/tag516.xml" ContentType="application/vnd.openxmlformats-officedocument.presentationml.tags+xml"/>
  <Override PartName="/ppt/tags/tag517.xml" ContentType="application/vnd.openxmlformats-officedocument.presentationml.tags+xml"/>
  <Override PartName="/ppt/tags/tag518.xml" ContentType="application/vnd.openxmlformats-officedocument.presentationml.tags+xml"/>
  <Override PartName="/ppt/tags/tag519.xml" ContentType="application/vnd.openxmlformats-officedocument.presentationml.tags+xml"/>
  <Override PartName="/ppt/tags/tag52.xml" ContentType="application/vnd.openxmlformats-officedocument.presentationml.tags+xml"/>
  <Override PartName="/ppt/tags/tag520.xml" ContentType="application/vnd.openxmlformats-officedocument.presentationml.tags+xml"/>
  <Override PartName="/ppt/tags/tag521.xml" ContentType="application/vnd.openxmlformats-officedocument.presentationml.tags+xml"/>
  <Override PartName="/ppt/tags/tag522.xml" ContentType="application/vnd.openxmlformats-officedocument.presentationml.tags+xml"/>
  <Override PartName="/ppt/tags/tag523.xml" ContentType="application/vnd.openxmlformats-officedocument.presentationml.tags+xml"/>
  <Override PartName="/ppt/tags/tag524.xml" ContentType="application/vnd.openxmlformats-officedocument.presentationml.tags+xml"/>
  <Override PartName="/ppt/tags/tag525.xml" ContentType="application/vnd.openxmlformats-officedocument.presentationml.tags+xml"/>
  <Override PartName="/ppt/tags/tag526.xml" ContentType="application/vnd.openxmlformats-officedocument.presentationml.tags+xml"/>
  <Override PartName="/ppt/tags/tag527.xml" ContentType="application/vnd.openxmlformats-officedocument.presentationml.tags+xml"/>
  <Override PartName="/ppt/tags/tag528.xml" ContentType="application/vnd.openxmlformats-officedocument.presentationml.tags+xml"/>
  <Override PartName="/ppt/tags/tag529.xml" ContentType="application/vnd.openxmlformats-officedocument.presentationml.tags+xml"/>
  <Override PartName="/ppt/tags/tag53.xml" ContentType="application/vnd.openxmlformats-officedocument.presentationml.tags+xml"/>
  <Override PartName="/ppt/tags/tag530.xml" ContentType="application/vnd.openxmlformats-officedocument.presentationml.tags+xml"/>
  <Override PartName="/ppt/tags/tag531.xml" ContentType="application/vnd.openxmlformats-officedocument.presentationml.tags+xml"/>
  <Override PartName="/ppt/tags/tag532.xml" ContentType="application/vnd.openxmlformats-officedocument.presentationml.tags+xml"/>
  <Override PartName="/ppt/tags/tag533.xml" ContentType="application/vnd.openxmlformats-officedocument.presentationml.tags+xml"/>
  <Override PartName="/ppt/tags/tag534.xml" ContentType="application/vnd.openxmlformats-officedocument.presentationml.tags+xml"/>
  <Override PartName="/ppt/tags/tag535.xml" ContentType="application/vnd.openxmlformats-officedocument.presentationml.tags+xml"/>
  <Override PartName="/ppt/tags/tag536.xml" ContentType="application/vnd.openxmlformats-officedocument.presentationml.tags+xml"/>
  <Override PartName="/ppt/tags/tag537.xml" ContentType="application/vnd.openxmlformats-officedocument.presentationml.tags+xml"/>
  <Override PartName="/ppt/tags/tag538.xml" ContentType="application/vnd.openxmlformats-officedocument.presentationml.tags+xml"/>
  <Override PartName="/ppt/tags/tag539.xml" ContentType="application/vnd.openxmlformats-officedocument.presentationml.tags+xml"/>
  <Override PartName="/ppt/tags/tag54.xml" ContentType="application/vnd.openxmlformats-officedocument.presentationml.tags+xml"/>
  <Override PartName="/ppt/tags/tag540.xml" ContentType="application/vnd.openxmlformats-officedocument.presentationml.tags+xml"/>
  <Override PartName="/ppt/tags/tag541.xml" ContentType="application/vnd.openxmlformats-officedocument.presentationml.tags+xml"/>
  <Override PartName="/ppt/tags/tag542.xml" ContentType="application/vnd.openxmlformats-officedocument.presentationml.tags+xml"/>
  <Override PartName="/ppt/tags/tag543.xml" ContentType="application/vnd.openxmlformats-officedocument.presentationml.tags+xml"/>
  <Override PartName="/ppt/tags/tag544.xml" ContentType="application/vnd.openxmlformats-officedocument.presentationml.tags+xml"/>
  <Override PartName="/ppt/tags/tag545.xml" ContentType="application/vnd.openxmlformats-officedocument.presentationml.tags+xml"/>
  <Override PartName="/ppt/tags/tag546.xml" ContentType="application/vnd.openxmlformats-officedocument.presentationml.tags+xml"/>
  <Override PartName="/ppt/tags/tag547.xml" ContentType="application/vnd.openxmlformats-officedocument.presentationml.tags+xml"/>
  <Override PartName="/ppt/tags/tag548.xml" ContentType="application/vnd.openxmlformats-officedocument.presentationml.tags+xml"/>
  <Override PartName="/ppt/tags/tag549.xml" ContentType="application/vnd.openxmlformats-officedocument.presentationml.tags+xml"/>
  <Override PartName="/ppt/tags/tag55.xml" ContentType="application/vnd.openxmlformats-officedocument.presentationml.tags+xml"/>
  <Override PartName="/ppt/tags/tag550.xml" ContentType="application/vnd.openxmlformats-officedocument.presentationml.tags+xml"/>
  <Override PartName="/ppt/tags/tag551.xml" ContentType="application/vnd.openxmlformats-officedocument.presentationml.tags+xml"/>
  <Override PartName="/ppt/tags/tag552.xml" ContentType="application/vnd.openxmlformats-officedocument.presentationml.tags+xml"/>
  <Override PartName="/ppt/tags/tag553.xml" ContentType="application/vnd.openxmlformats-officedocument.presentationml.tags+xml"/>
  <Override PartName="/ppt/tags/tag554.xml" ContentType="application/vnd.openxmlformats-officedocument.presentationml.tags+xml"/>
  <Override PartName="/ppt/tags/tag555.xml" ContentType="application/vnd.openxmlformats-officedocument.presentationml.tags+xml"/>
  <Override PartName="/ppt/tags/tag556.xml" ContentType="application/vnd.openxmlformats-officedocument.presentationml.tags+xml"/>
  <Override PartName="/ppt/tags/tag557.xml" ContentType="application/vnd.openxmlformats-officedocument.presentationml.tags+xml"/>
  <Override PartName="/ppt/tags/tag558.xml" ContentType="application/vnd.openxmlformats-officedocument.presentationml.tags+xml"/>
  <Override PartName="/ppt/tags/tag559.xml" ContentType="application/vnd.openxmlformats-officedocument.presentationml.tags+xml"/>
  <Override PartName="/ppt/tags/tag56.xml" ContentType="application/vnd.openxmlformats-officedocument.presentationml.tags+xml"/>
  <Override PartName="/ppt/tags/tag560.xml" ContentType="application/vnd.openxmlformats-officedocument.presentationml.tags+xml"/>
  <Override PartName="/ppt/tags/tag561.xml" ContentType="application/vnd.openxmlformats-officedocument.presentationml.tags+xml"/>
  <Override PartName="/ppt/tags/tag562.xml" ContentType="application/vnd.openxmlformats-officedocument.presentationml.tags+xml"/>
  <Override PartName="/ppt/tags/tag563.xml" ContentType="application/vnd.openxmlformats-officedocument.presentationml.tags+xml"/>
  <Override PartName="/ppt/tags/tag564.xml" ContentType="application/vnd.openxmlformats-officedocument.presentationml.tags+xml"/>
  <Override PartName="/ppt/tags/tag565.xml" ContentType="application/vnd.openxmlformats-officedocument.presentationml.tags+xml"/>
  <Override PartName="/ppt/tags/tag566.xml" ContentType="application/vnd.openxmlformats-officedocument.presentationml.tags+xml"/>
  <Override PartName="/ppt/tags/tag567.xml" ContentType="application/vnd.openxmlformats-officedocument.presentationml.tags+xml"/>
  <Override PartName="/ppt/tags/tag568.xml" ContentType="application/vnd.openxmlformats-officedocument.presentationml.tags+xml"/>
  <Override PartName="/ppt/tags/tag569.xml" ContentType="application/vnd.openxmlformats-officedocument.presentationml.tags+xml"/>
  <Override PartName="/ppt/tags/tag57.xml" ContentType="application/vnd.openxmlformats-officedocument.presentationml.tags+xml"/>
  <Override PartName="/ppt/tags/tag570.xml" ContentType="application/vnd.openxmlformats-officedocument.presentationml.tags+xml"/>
  <Override PartName="/ppt/tags/tag571.xml" ContentType="application/vnd.openxmlformats-officedocument.presentationml.tags+xml"/>
  <Override PartName="/ppt/tags/tag572.xml" ContentType="application/vnd.openxmlformats-officedocument.presentationml.tags+xml"/>
  <Override PartName="/ppt/tags/tag573.xml" ContentType="application/vnd.openxmlformats-officedocument.presentationml.tags+xml"/>
  <Override PartName="/ppt/tags/tag574.xml" ContentType="application/vnd.openxmlformats-officedocument.presentationml.tags+xml"/>
  <Override PartName="/ppt/tags/tag575.xml" ContentType="application/vnd.openxmlformats-officedocument.presentationml.tags+xml"/>
  <Override PartName="/ppt/tags/tag576.xml" ContentType="application/vnd.openxmlformats-officedocument.presentationml.tags+xml"/>
  <Override PartName="/ppt/tags/tag577.xml" ContentType="application/vnd.openxmlformats-officedocument.presentationml.tags+xml"/>
  <Override PartName="/ppt/tags/tag578.xml" ContentType="application/vnd.openxmlformats-officedocument.presentationml.tags+xml"/>
  <Override PartName="/ppt/tags/tag579.xml" ContentType="application/vnd.openxmlformats-officedocument.presentationml.tags+xml"/>
  <Override PartName="/ppt/tags/tag58.xml" ContentType="application/vnd.openxmlformats-officedocument.presentationml.tags+xml"/>
  <Override PartName="/ppt/tags/tag580.xml" ContentType="application/vnd.openxmlformats-officedocument.presentationml.tags+xml"/>
  <Override PartName="/ppt/tags/tag581.xml" ContentType="application/vnd.openxmlformats-officedocument.presentationml.tags+xml"/>
  <Override PartName="/ppt/tags/tag582.xml" ContentType="application/vnd.openxmlformats-officedocument.presentationml.tags+xml"/>
  <Override PartName="/ppt/tags/tag583.xml" ContentType="application/vnd.openxmlformats-officedocument.presentationml.tags+xml"/>
  <Override PartName="/ppt/tags/tag584.xml" ContentType="application/vnd.openxmlformats-officedocument.presentationml.tags+xml"/>
  <Override PartName="/ppt/tags/tag585.xml" ContentType="application/vnd.openxmlformats-officedocument.presentationml.tags+xml"/>
  <Override PartName="/ppt/tags/tag586.xml" ContentType="application/vnd.openxmlformats-officedocument.presentationml.tags+xml"/>
  <Override PartName="/ppt/tags/tag587.xml" ContentType="application/vnd.openxmlformats-officedocument.presentationml.tags+xml"/>
  <Override PartName="/ppt/tags/tag588.xml" ContentType="application/vnd.openxmlformats-officedocument.presentationml.tags+xml"/>
  <Override PartName="/ppt/tags/tag589.xml" ContentType="application/vnd.openxmlformats-officedocument.presentationml.tags+xml"/>
  <Override PartName="/ppt/tags/tag59.xml" ContentType="application/vnd.openxmlformats-officedocument.presentationml.tags+xml"/>
  <Override PartName="/ppt/tags/tag590.xml" ContentType="application/vnd.openxmlformats-officedocument.presentationml.tags+xml"/>
  <Override PartName="/ppt/tags/tag591.xml" ContentType="application/vnd.openxmlformats-officedocument.presentationml.tags+xml"/>
  <Override PartName="/ppt/tags/tag592.xml" ContentType="application/vnd.openxmlformats-officedocument.presentationml.tags+xml"/>
  <Override PartName="/ppt/tags/tag593.xml" ContentType="application/vnd.openxmlformats-officedocument.presentationml.tags+xml"/>
  <Override PartName="/ppt/tags/tag594.xml" ContentType="application/vnd.openxmlformats-officedocument.presentationml.tags+xml"/>
  <Override PartName="/ppt/tags/tag595.xml" ContentType="application/vnd.openxmlformats-officedocument.presentationml.tags+xml"/>
  <Override PartName="/ppt/tags/tag596.xml" ContentType="application/vnd.openxmlformats-officedocument.presentationml.tags+xml"/>
  <Override PartName="/ppt/tags/tag597.xml" ContentType="application/vnd.openxmlformats-officedocument.presentationml.tags+xml"/>
  <Override PartName="/ppt/tags/tag598.xml" ContentType="application/vnd.openxmlformats-officedocument.presentationml.tags+xml"/>
  <Override PartName="/ppt/tags/tag599.xml" ContentType="application/vnd.openxmlformats-officedocument.presentationml.tags+xml"/>
  <Override PartName="/ppt/tags/tag6.xml" ContentType="application/vnd.openxmlformats-officedocument.presentationml.tags+xml"/>
  <Override PartName="/ppt/tags/tag60.xml" ContentType="application/vnd.openxmlformats-officedocument.presentationml.tags+xml"/>
  <Override PartName="/ppt/tags/tag600.xml" ContentType="application/vnd.openxmlformats-officedocument.presentationml.tags+xml"/>
  <Override PartName="/ppt/tags/tag601.xml" ContentType="application/vnd.openxmlformats-officedocument.presentationml.tags+xml"/>
  <Override PartName="/ppt/tags/tag602.xml" ContentType="application/vnd.openxmlformats-officedocument.presentationml.tags+xml"/>
  <Override PartName="/ppt/tags/tag603.xml" ContentType="application/vnd.openxmlformats-officedocument.presentationml.tags+xml"/>
  <Override PartName="/ppt/tags/tag604.xml" ContentType="application/vnd.openxmlformats-officedocument.presentationml.tags+xml"/>
  <Override PartName="/ppt/tags/tag605.xml" ContentType="application/vnd.openxmlformats-officedocument.presentationml.tags+xml"/>
  <Override PartName="/ppt/tags/tag606.xml" ContentType="application/vnd.openxmlformats-officedocument.presentationml.tags+xml"/>
  <Override PartName="/ppt/tags/tag607.xml" ContentType="application/vnd.openxmlformats-officedocument.presentationml.tags+xml"/>
  <Override PartName="/ppt/tags/tag608.xml" ContentType="application/vnd.openxmlformats-officedocument.presentationml.tags+xml"/>
  <Override PartName="/ppt/tags/tag609.xml" ContentType="application/vnd.openxmlformats-officedocument.presentationml.tags+xml"/>
  <Override PartName="/ppt/tags/tag61.xml" ContentType="application/vnd.openxmlformats-officedocument.presentationml.tags+xml"/>
  <Override PartName="/ppt/tags/tag610.xml" ContentType="application/vnd.openxmlformats-officedocument.presentationml.tags+xml"/>
  <Override PartName="/ppt/tags/tag611.xml" ContentType="application/vnd.openxmlformats-officedocument.presentationml.tags+xml"/>
  <Override PartName="/ppt/tags/tag612.xml" ContentType="application/vnd.openxmlformats-officedocument.presentationml.tags+xml"/>
  <Override PartName="/ppt/tags/tag613.xml" ContentType="application/vnd.openxmlformats-officedocument.presentationml.tags+xml"/>
  <Override PartName="/ppt/tags/tag614.xml" ContentType="application/vnd.openxmlformats-officedocument.presentationml.tags+xml"/>
  <Override PartName="/ppt/tags/tag615.xml" ContentType="application/vnd.openxmlformats-officedocument.presentationml.tags+xml"/>
  <Override PartName="/ppt/tags/tag616.xml" ContentType="application/vnd.openxmlformats-officedocument.presentationml.tags+xml"/>
  <Override PartName="/ppt/tags/tag617.xml" ContentType="application/vnd.openxmlformats-officedocument.presentationml.tags+xml"/>
  <Override PartName="/ppt/tags/tag618.xml" ContentType="application/vnd.openxmlformats-officedocument.presentationml.tags+xml"/>
  <Override PartName="/ppt/tags/tag619.xml" ContentType="application/vnd.openxmlformats-officedocument.presentationml.tags+xml"/>
  <Override PartName="/ppt/tags/tag62.xml" ContentType="application/vnd.openxmlformats-officedocument.presentationml.tags+xml"/>
  <Override PartName="/ppt/tags/tag620.xml" ContentType="application/vnd.openxmlformats-officedocument.presentationml.tags+xml"/>
  <Override PartName="/ppt/tags/tag621.xml" ContentType="application/vnd.openxmlformats-officedocument.presentationml.tags+xml"/>
  <Override PartName="/ppt/tags/tag622.xml" ContentType="application/vnd.openxmlformats-officedocument.presentationml.tags+xml"/>
  <Override PartName="/ppt/tags/tag623.xml" ContentType="application/vnd.openxmlformats-officedocument.presentationml.tags+xml"/>
  <Override PartName="/ppt/tags/tag624.xml" ContentType="application/vnd.openxmlformats-officedocument.presentationml.tags+xml"/>
  <Override PartName="/ppt/tags/tag625.xml" ContentType="application/vnd.openxmlformats-officedocument.presentationml.tags+xml"/>
  <Override PartName="/ppt/tags/tag626.xml" ContentType="application/vnd.openxmlformats-officedocument.presentationml.tags+xml"/>
  <Override PartName="/ppt/tags/tag627.xml" ContentType="application/vnd.openxmlformats-officedocument.presentationml.tags+xml"/>
  <Override PartName="/ppt/tags/tag628.xml" ContentType="application/vnd.openxmlformats-officedocument.presentationml.tags+xml"/>
  <Override PartName="/ppt/tags/tag629.xml" ContentType="application/vnd.openxmlformats-officedocument.presentationml.tags+xml"/>
  <Override PartName="/ppt/tags/tag63.xml" ContentType="application/vnd.openxmlformats-officedocument.presentationml.tags+xml"/>
  <Override PartName="/ppt/tags/tag630.xml" ContentType="application/vnd.openxmlformats-officedocument.presentationml.tags+xml"/>
  <Override PartName="/ppt/tags/tag631.xml" ContentType="application/vnd.openxmlformats-officedocument.presentationml.tags+xml"/>
  <Override PartName="/ppt/tags/tag632.xml" ContentType="application/vnd.openxmlformats-officedocument.presentationml.tags+xml"/>
  <Override PartName="/ppt/tags/tag633.xml" ContentType="application/vnd.openxmlformats-officedocument.presentationml.tags+xml"/>
  <Override PartName="/ppt/tags/tag634.xml" ContentType="application/vnd.openxmlformats-officedocument.presentationml.tags+xml"/>
  <Override PartName="/ppt/tags/tag635.xml" ContentType="application/vnd.openxmlformats-officedocument.presentationml.tags+xml"/>
  <Override PartName="/ppt/tags/tag636.xml" ContentType="application/vnd.openxmlformats-officedocument.presentationml.tags+xml"/>
  <Override PartName="/ppt/tags/tag637.xml" ContentType="application/vnd.openxmlformats-officedocument.presentationml.tags+xml"/>
  <Override PartName="/ppt/tags/tag638.xml" ContentType="application/vnd.openxmlformats-officedocument.presentationml.tags+xml"/>
  <Override PartName="/ppt/tags/tag639.xml" ContentType="application/vnd.openxmlformats-officedocument.presentationml.tags+xml"/>
  <Override PartName="/ppt/tags/tag64.xml" ContentType="application/vnd.openxmlformats-officedocument.presentationml.tags+xml"/>
  <Override PartName="/ppt/tags/tag640.xml" ContentType="application/vnd.openxmlformats-officedocument.presentationml.tags+xml"/>
  <Override PartName="/ppt/tags/tag641.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2" Type="http://schemas.openxmlformats.org/package/2006/relationships/metadata/core-properties" Target="docProps/core.xml"/><Relationship Id="rId3" Type="http://schemas.openxmlformats.org/officeDocument/2006/relationships/extended-properties" Target="docProps/app.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43" r:id="rId4"/>
  </p:sldMasterIdLst>
  <p:notesMasterIdLst>
    <p:notesMasterId r:id="rId619"/>
  </p:notesMasterIdLst>
  <p:sldIdLst>
    <p:sldId id="2147475169" r:id="rId5"/>
    <p:sldId id="2147475170" r:id="rId6"/>
    <p:sldId id="2147475171" r:id="rId7"/>
    <p:sldId id="2147475172" r:id="rId8"/>
    <p:sldId id="2147475173" r:id="rId9"/>
    <p:sldId id="2147475174" r:id="rId10"/>
    <p:sldId id="2147475175" r:id="rId11"/>
    <p:sldId id="2147475176" r:id="rId12"/>
    <p:sldId id="2147475177" r:id="rId13"/>
    <p:sldId id="2147475178" r:id="rId14"/>
    <p:sldId id="2147475179" r:id="rId15"/>
    <p:sldId id="2147475180" r:id="rId16"/>
    <p:sldId id="2147475181" r:id="rId17"/>
    <p:sldId id="2147475182" r:id="rId18"/>
    <p:sldId id="2147475183" r:id="rId19"/>
    <p:sldId id="2147475184" r:id="rId20"/>
    <p:sldId id="2147475185" r:id="rId21"/>
    <p:sldId id="2147475186" r:id="rId22"/>
    <p:sldId id="2147475187" r:id="rId23"/>
    <p:sldId id="2147475188" r:id="rId24"/>
    <p:sldId id="2147475189" r:id="rId25"/>
    <p:sldId id="2147475190" r:id="rId26"/>
    <p:sldId id="2147475191" r:id="rId27"/>
    <p:sldId id="2147475192" r:id="rId28"/>
    <p:sldId id="2147475193" r:id="rId29"/>
    <p:sldId id="2147475194" r:id="rId30"/>
    <p:sldId id="2147475195" r:id="rId31"/>
    <p:sldId id="2147475196" r:id="rId32"/>
    <p:sldId id="2147475197" r:id="rId33"/>
    <p:sldId id="2147475198" r:id="rId34"/>
    <p:sldId id="2147475199" r:id="rId35"/>
    <p:sldId id="2147475200" r:id="rId36"/>
    <p:sldId id="2147475201" r:id="rId37"/>
    <p:sldId id="2147475202" r:id="rId38"/>
    <p:sldId id="2147475203" r:id="rId39"/>
    <p:sldId id="2147475204" r:id="rId40"/>
    <p:sldId id="2147475205" r:id="rId41"/>
    <p:sldId id="2147475206" r:id="rId42"/>
    <p:sldId id="2147475207" r:id="rId43"/>
    <p:sldId id="2147475208" r:id="rId44"/>
    <p:sldId id="2147475209" r:id="rId45"/>
    <p:sldId id="2147475210" r:id="rId46"/>
    <p:sldId id="2147475211" r:id="rId47"/>
    <p:sldId id="2147475212" r:id="rId48"/>
    <p:sldId id="2147475213" r:id="rId49"/>
    <p:sldId id="2147475214" r:id="rId50"/>
    <p:sldId id="2147475215" r:id="rId51"/>
    <p:sldId id="2147475216" r:id="rId52"/>
    <p:sldId id="2147475217" r:id="rId53"/>
    <p:sldId id="2147475218" r:id="rId54"/>
    <p:sldId id="2147475219" r:id="rId55"/>
    <p:sldId id="2147475220" r:id="rId56"/>
    <p:sldId id="2147475221" r:id="rId57"/>
    <p:sldId id="2147475222" r:id="rId58"/>
    <p:sldId id="2147475223" r:id="rId59"/>
    <p:sldId id="2147475224" r:id="rId60"/>
    <p:sldId id="2147475225" r:id="rId61"/>
    <p:sldId id="2147475226" r:id="rId62"/>
    <p:sldId id="2147475227" r:id="rId63"/>
    <p:sldId id="2147475228" r:id="rId64"/>
    <p:sldId id="2147475229" r:id="rId65"/>
    <p:sldId id="2147475230" r:id="rId66"/>
    <p:sldId id="2147475231" r:id="rId67"/>
    <p:sldId id="2147475232" r:id="rId68"/>
    <p:sldId id="2147475233" r:id="rId69"/>
    <p:sldId id="2147475234" r:id="rId70"/>
    <p:sldId id="2147475235" r:id="rId71"/>
    <p:sldId id="2147475236" r:id="rId72"/>
    <p:sldId id="2147475237" r:id="rId73"/>
    <p:sldId id="2147475238" r:id="rId74"/>
    <p:sldId id="2147475239" r:id="rId75"/>
    <p:sldId id="2147475240" r:id="rId76"/>
    <p:sldId id="2147475241" r:id="rId77"/>
    <p:sldId id="2147475242" r:id="rId78"/>
    <p:sldId id="2147475243" r:id="rId79"/>
    <p:sldId id="2147475244" r:id="rId80"/>
    <p:sldId id="2147475245" r:id="rId81"/>
    <p:sldId id="2147475246" r:id="rId82"/>
    <p:sldId id="2147475247" r:id="rId83"/>
    <p:sldId id="2147475248" r:id="rId84"/>
    <p:sldId id="2147475249" r:id="rId85"/>
    <p:sldId id="2147475250" r:id="rId86"/>
    <p:sldId id="2147475251" r:id="rId87"/>
    <p:sldId id="2147475252" r:id="rId88"/>
    <p:sldId id="2147475253" r:id="rId89"/>
    <p:sldId id="2147475254" r:id="rId90"/>
    <p:sldId id="2147475255" r:id="rId91"/>
    <p:sldId id="2147475256" r:id="rId92"/>
    <p:sldId id="2147475257" r:id="rId93"/>
    <p:sldId id="2147475258" r:id="rId94"/>
    <p:sldId id="2147475259" r:id="rId95"/>
    <p:sldId id="2147475260" r:id="rId96"/>
    <p:sldId id="2147475261" r:id="rId97"/>
    <p:sldId id="2147475262" r:id="rId98"/>
    <p:sldId id="2147475263" r:id="rId99"/>
    <p:sldId id="2147475264" r:id="rId100"/>
    <p:sldId id="2147475265" r:id="rId101"/>
    <p:sldId id="2147475266" r:id="rId102"/>
    <p:sldId id="2147475267" r:id="rId103"/>
    <p:sldId id="2147475268" r:id="rId104"/>
    <p:sldId id="2147475269" r:id="rId105"/>
    <p:sldId id="2147475270" r:id="rId106"/>
    <p:sldId id="2147475271" r:id="rId107"/>
    <p:sldId id="2147475272" r:id="rId108"/>
    <p:sldId id="2147475273" r:id="rId109"/>
    <p:sldId id="2147475274" r:id="rId110"/>
    <p:sldId id="2147475275" r:id="rId111"/>
    <p:sldId id="2147475276" r:id="rId112"/>
    <p:sldId id="2147475277" r:id="rId113"/>
    <p:sldId id="2147475278" r:id="rId114"/>
    <p:sldId id="2147475279" r:id="rId115"/>
    <p:sldId id="2147475280" r:id="rId116"/>
    <p:sldId id="2147475281" r:id="rId117"/>
    <p:sldId id="2147475282" r:id="rId118"/>
    <p:sldId id="2147475283" r:id="rId119"/>
    <p:sldId id="2147475284" r:id="rId120"/>
    <p:sldId id="2147475285" r:id="rId121"/>
    <p:sldId id="2147475286" r:id="rId122"/>
    <p:sldId id="2147475287" r:id="rId123"/>
    <p:sldId id="2147475288" r:id="rId124"/>
    <p:sldId id="2147475289" r:id="rId125"/>
    <p:sldId id="2147475290" r:id="rId126"/>
    <p:sldId id="2147475291" r:id="rId127"/>
    <p:sldId id="2147475292" r:id="rId128"/>
    <p:sldId id="2147475293" r:id="rId129"/>
    <p:sldId id="2147475294" r:id="rId130"/>
    <p:sldId id="2147475295" r:id="rId131"/>
    <p:sldId id="2147475296" r:id="rId132"/>
    <p:sldId id="2147475297" r:id="rId133"/>
    <p:sldId id="2147475298" r:id="rId134"/>
    <p:sldId id="2147475299" r:id="rId135"/>
    <p:sldId id="2147475300" r:id="rId136"/>
    <p:sldId id="2147475301" r:id="rId137"/>
    <p:sldId id="2147475302" r:id="rId138"/>
    <p:sldId id="2147475303" r:id="rId139"/>
    <p:sldId id="2147475304" r:id="rId140"/>
    <p:sldId id="2147475305" r:id="rId141"/>
    <p:sldId id="2147475306" r:id="rId142"/>
    <p:sldId id="2147475307" r:id="rId143"/>
    <p:sldId id="2147475308" r:id="rId144"/>
    <p:sldId id="2147475309" r:id="rId145"/>
    <p:sldId id="2147475310" r:id="rId146"/>
    <p:sldId id="2147475311" r:id="rId147"/>
    <p:sldId id="2147475312" r:id="rId148"/>
    <p:sldId id="2147475313" r:id="rId149"/>
    <p:sldId id="2147475314" r:id="rId150"/>
    <p:sldId id="2147475315" r:id="rId151"/>
    <p:sldId id="2147475316" r:id="rId152"/>
    <p:sldId id="2147475317" r:id="rId153"/>
    <p:sldId id="2147475318" r:id="rId154"/>
    <p:sldId id="2147475319" r:id="rId155"/>
    <p:sldId id="2147475320" r:id="rId156"/>
    <p:sldId id="2147475321" r:id="rId157"/>
    <p:sldId id="2147475322" r:id="rId158"/>
    <p:sldId id="2147475323" r:id="rId159"/>
    <p:sldId id="2147475324" r:id="rId160"/>
    <p:sldId id="2147475325" r:id="rId161"/>
    <p:sldId id="2147475326" r:id="rId162"/>
    <p:sldId id="2147475327" r:id="rId163"/>
    <p:sldId id="2147475328" r:id="rId164"/>
    <p:sldId id="2147475329" r:id="rId165"/>
    <p:sldId id="2147475330" r:id="rId166"/>
    <p:sldId id="2147475331" r:id="rId167"/>
    <p:sldId id="2147475332" r:id="rId168"/>
    <p:sldId id="2147475333" r:id="rId169"/>
    <p:sldId id="2147475334" r:id="rId170"/>
    <p:sldId id="2147475335" r:id="rId171"/>
    <p:sldId id="2147475336" r:id="rId172"/>
    <p:sldId id="2147475337" r:id="rId173"/>
    <p:sldId id="2147475338" r:id="rId174"/>
    <p:sldId id="2147475339" r:id="rId175"/>
    <p:sldId id="2147475340" r:id="rId176"/>
    <p:sldId id="2147475341" r:id="rId177"/>
    <p:sldId id="2147475342" r:id="rId178"/>
    <p:sldId id="2147475343" r:id="rId179"/>
    <p:sldId id="2147475344" r:id="rId180"/>
    <p:sldId id="2147475345" r:id="rId181"/>
    <p:sldId id="2147475346" r:id="rId182"/>
    <p:sldId id="2147475347" r:id="rId183"/>
    <p:sldId id="2147475348" r:id="rId184"/>
    <p:sldId id="2147475349" r:id="rId185"/>
    <p:sldId id="2147475350" r:id="rId186"/>
    <p:sldId id="2147475351" r:id="rId187"/>
    <p:sldId id="2147475352" r:id="rId188"/>
    <p:sldId id="2147475353" r:id="rId189"/>
    <p:sldId id="2147475354" r:id="rId190"/>
    <p:sldId id="2147475355" r:id="rId191"/>
    <p:sldId id="2147475356" r:id="rId192"/>
    <p:sldId id="2147475357" r:id="rId193"/>
    <p:sldId id="2147475358" r:id="rId194"/>
    <p:sldId id="2147475359" r:id="rId195"/>
    <p:sldId id="2147475360" r:id="rId196"/>
    <p:sldId id="2147475361" r:id="rId197"/>
    <p:sldId id="2147475362" r:id="rId198"/>
    <p:sldId id="2147475363" r:id="rId199"/>
    <p:sldId id="2147475364" r:id="rId200"/>
    <p:sldId id="2147475365" r:id="rId201"/>
    <p:sldId id="2147475366" r:id="rId202"/>
    <p:sldId id="2147475367" r:id="rId203"/>
    <p:sldId id="2147475368" r:id="rId204"/>
    <p:sldId id="2147475369" r:id="rId205"/>
    <p:sldId id="2147475370" r:id="rId206"/>
    <p:sldId id="2147475371" r:id="rId207"/>
    <p:sldId id="2147475372" r:id="rId208"/>
    <p:sldId id="2147475373" r:id="rId209"/>
    <p:sldId id="2147475374" r:id="rId210"/>
    <p:sldId id="2147475375" r:id="rId211"/>
    <p:sldId id="2147475376" r:id="rId212"/>
    <p:sldId id="2147475377" r:id="rId213"/>
    <p:sldId id="2147475378" r:id="rId214"/>
    <p:sldId id="2147475379" r:id="rId215"/>
    <p:sldId id="2147475380" r:id="rId216"/>
    <p:sldId id="2147475381" r:id="rId217"/>
    <p:sldId id="2147475382" r:id="rId218"/>
    <p:sldId id="2147475383" r:id="rId219"/>
    <p:sldId id="2147475384" r:id="rId220"/>
    <p:sldId id="2147475385" r:id="rId221"/>
    <p:sldId id="2147475386" r:id="rId222"/>
    <p:sldId id="2147475387" r:id="rId223"/>
    <p:sldId id="2147475388" r:id="rId224"/>
    <p:sldId id="2147475389" r:id="rId225"/>
    <p:sldId id="2147475390" r:id="rId226"/>
    <p:sldId id="2147475391" r:id="rId227"/>
    <p:sldId id="2147475392" r:id="rId228"/>
    <p:sldId id="2147475393" r:id="rId229"/>
    <p:sldId id="2147475394" r:id="rId230"/>
    <p:sldId id="2147475395" r:id="rId231"/>
    <p:sldId id="2147475396" r:id="rId232"/>
    <p:sldId id="2147475397" r:id="rId233"/>
    <p:sldId id="2147475398" r:id="rId234"/>
    <p:sldId id="2147475399" r:id="rId235"/>
    <p:sldId id="2147475400" r:id="rId236"/>
    <p:sldId id="2147475401" r:id="rId237"/>
    <p:sldId id="2147475402" r:id="rId238"/>
    <p:sldId id="2147475403" r:id="rId239"/>
    <p:sldId id="2147475404" r:id="rId240"/>
    <p:sldId id="2147475405" r:id="rId241"/>
    <p:sldId id="2147475406" r:id="rId242"/>
    <p:sldId id="2147475407" r:id="rId243"/>
    <p:sldId id="2147475408" r:id="rId244"/>
    <p:sldId id="2147475409" r:id="rId245"/>
    <p:sldId id="2147475410" r:id="rId246"/>
    <p:sldId id="2147475411" r:id="rId247"/>
    <p:sldId id="2147475412" r:id="rId248"/>
    <p:sldId id="2147475413" r:id="rId249"/>
    <p:sldId id="2147475414" r:id="rId250"/>
    <p:sldId id="2147475415" r:id="rId251"/>
    <p:sldId id="2147475416" r:id="rId252"/>
    <p:sldId id="2147475417" r:id="rId253"/>
    <p:sldId id="2147475418" r:id="rId254"/>
    <p:sldId id="2147475419" r:id="rId255"/>
    <p:sldId id="2147475420" r:id="rId256"/>
    <p:sldId id="2147475421" r:id="rId257"/>
    <p:sldId id="2147475422" r:id="rId258"/>
    <p:sldId id="2147475423" r:id="rId259"/>
    <p:sldId id="2147475424" r:id="rId260"/>
    <p:sldId id="2147475425" r:id="rId261"/>
    <p:sldId id="2147475426" r:id="rId262"/>
    <p:sldId id="2147475427" r:id="rId263"/>
    <p:sldId id="2147475428" r:id="rId264"/>
    <p:sldId id="2147475429" r:id="rId265"/>
    <p:sldId id="2147475430" r:id="rId266"/>
    <p:sldId id="2147475431" r:id="rId267"/>
    <p:sldId id="2147475432" r:id="rId268"/>
    <p:sldId id="2147475433" r:id="rId269"/>
    <p:sldId id="2147475434" r:id="rId270"/>
    <p:sldId id="2147475435" r:id="rId271"/>
    <p:sldId id="2147475436" r:id="rId272"/>
    <p:sldId id="2147475437" r:id="rId273"/>
    <p:sldId id="2147475438" r:id="rId274"/>
    <p:sldId id="2147475439" r:id="rId275"/>
    <p:sldId id="2147475440" r:id="rId276"/>
    <p:sldId id="2147475441" r:id="rId277"/>
    <p:sldId id="2147475442" r:id="rId278"/>
    <p:sldId id="2147475443" r:id="rId279"/>
    <p:sldId id="2147475444" r:id="rId280"/>
    <p:sldId id="2147475445" r:id="rId281"/>
    <p:sldId id="2147475446" r:id="rId282"/>
    <p:sldId id="2147475447" r:id="rId283"/>
    <p:sldId id="2147475448" r:id="rId284"/>
    <p:sldId id="2147475449" r:id="rId285"/>
    <p:sldId id="2147475450" r:id="rId286"/>
    <p:sldId id="2147475451" r:id="rId287"/>
    <p:sldId id="2147475452" r:id="rId288"/>
    <p:sldId id="2147475453" r:id="rId289"/>
    <p:sldId id="2147475454" r:id="rId290"/>
    <p:sldId id="2147475455" r:id="rId291"/>
    <p:sldId id="2147475456" r:id="rId292"/>
    <p:sldId id="2147475457" r:id="rId293"/>
    <p:sldId id="2147475458" r:id="rId294"/>
    <p:sldId id="2147475459" r:id="rId295"/>
    <p:sldId id="2147475460" r:id="rId296"/>
    <p:sldId id="2147475461" r:id="rId297"/>
    <p:sldId id="2147475462" r:id="rId298"/>
    <p:sldId id="2147475463" r:id="rId299"/>
    <p:sldId id="2147475464" r:id="rId300"/>
    <p:sldId id="2147475465" r:id="rId301"/>
    <p:sldId id="2147475466" r:id="rId302"/>
    <p:sldId id="2147475467" r:id="rId303"/>
    <p:sldId id="2147475468" r:id="rId304"/>
    <p:sldId id="2147475469" r:id="rId305"/>
    <p:sldId id="2147475470" r:id="rId306"/>
    <p:sldId id="2147475471" r:id="rId307"/>
    <p:sldId id="2147475472" r:id="rId308"/>
    <p:sldId id="2147475473" r:id="rId309"/>
    <p:sldId id="2147475474" r:id="rId310"/>
    <p:sldId id="2147475475" r:id="rId311"/>
    <p:sldId id="2147475476" r:id="rId312"/>
    <p:sldId id="2147475477" r:id="rId313"/>
    <p:sldId id="2147475478" r:id="rId314"/>
    <p:sldId id="2147475479" r:id="rId315"/>
    <p:sldId id="2147475480" r:id="rId316"/>
    <p:sldId id="2147475481" r:id="rId317"/>
    <p:sldId id="2147475482" r:id="rId318"/>
    <p:sldId id="2147475483" r:id="rId319"/>
    <p:sldId id="2147475484" r:id="rId320"/>
    <p:sldId id="2147475485" r:id="rId321"/>
    <p:sldId id="2147475486" r:id="rId322"/>
    <p:sldId id="2147475487" r:id="rId323"/>
    <p:sldId id="2147475488" r:id="rId324"/>
    <p:sldId id="2147475489" r:id="rId325"/>
    <p:sldId id="2147475490" r:id="rId326"/>
    <p:sldId id="2147475491" r:id="rId327"/>
    <p:sldId id="2147475492" r:id="rId328"/>
    <p:sldId id="2147475493" r:id="rId329"/>
    <p:sldId id="2147475494" r:id="rId330"/>
    <p:sldId id="2147475495" r:id="rId331"/>
    <p:sldId id="2147475496" r:id="rId332"/>
    <p:sldId id="2147475497" r:id="rId333"/>
    <p:sldId id="2147475498" r:id="rId334"/>
    <p:sldId id="2147475499" r:id="rId335"/>
    <p:sldId id="2147475500" r:id="rId336"/>
    <p:sldId id="2147475501" r:id="rId337"/>
    <p:sldId id="2147475502" r:id="rId338"/>
    <p:sldId id="2147475503" r:id="rId339"/>
    <p:sldId id="2147475504" r:id="rId340"/>
    <p:sldId id="2147475505" r:id="rId341"/>
    <p:sldId id="2147475506" r:id="rId342"/>
    <p:sldId id="2147475507" r:id="rId343"/>
    <p:sldId id="2147475508" r:id="rId344"/>
    <p:sldId id="2147475509" r:id="rId345"/>
    <p:sldId id="2147475510" r:id="rId346"/>
    <p:sldId id="2147475511" r:id="rId347"/>
    <p:sldId id="2147475512" r:id="rId348"/>
    <p:sldId id="2147475513" r:id="rId349"/>
    <p:sldId id="2147475514" r:id="rId350"/>
    <p:sldId id="2147475515" r:id="rId351"/>
    <p:sldId id="2147475516" r:id="rId352"/>
    <p:sldId id="2147475517" r:id="rId353"/>
    <p:sldId id="2147475518" r:id="rId354"/>
    <p:sldId id="2147475519" r:id="rId355"/>
    <p:sldId id="2147475520" r:id="rId356"/>
    <p:sldId id="2147475521" r:id="rId357"/>
    <p:sldId id="2147475522" r:id="rId358"/>
    <p:sldId id="2147475523" r:id="rId359"/>
    <p:sldId id="2147475524" r:id="rId360"/>
    <p:sldId id="2147475525" r:id="rId361"/>
    <p:sldId id="2147475526" r:id="rId362"/>
    <p:sldId id="2147475527" r:id="rId363"/>
    <p:sldId id="2147475528" r:id="rId364"/>
    <p:sldId id="2147475529" r:id="rId365"/>
    <p:sldId id="2147475530" r:id="rId366"/>
    <p:sldId id="2147475531" r:id="rId367"/>
    <p:sldId id="2147475532" r:id="rId368"/>
    <p:sldId id="2147475533" r:id="rId369"/>
    <p:sldId id="2147475534" r:id="rId370"/>
    <p:sldId id="2147475535" r:id="rId371"/>
    <p:sldId id="2147475536" r:id="rId372"/>
    <p:sldId id="2147475537" r:id="rId373"/>
    <p:sldId id="2147475538" r:id="rId374"/>
    <p:sldId id="2147475539" r:id="rId375"/>
    <p:sldId id="2147475540" r:id="rId376"/>
    <p:sldId id="2147475541" r:id="rId377"/>
    <p:sldId id="2147475542" r:id="rId378"/>
    <p:sldId id="2147475543" r:id="rId379"/>
    <p:sldId id="2147475544" r:id="rId380"/>
    <p:sldId id="2147475545" r:id="rId381"/>
    <p:sldId id="2147475546" r:id="rId382"/>
    <p:sldId id="2147475547" r:id="rId383"/>
    <p:sldId id="2147475548" r:id="rId384"/>
    <p:sldId id="2147475549" r:id="rId385"/>
    <p:sldId id="2147475550" r:id="rId386"/>
    <p:sldId id="2147475551" r:id="rId387"/>
    <p:sldId id="2147475552" r:id="rId388"/>
    <p:sldId id="2147475553" r:id="rId389"/>
    <p:sldId id="2147475554" r:id="rId390"/>
    <p:sldId id="2147475555" r:id="rId391"/>
    <p:sldId id="2147475556" r:id="rId392"/>
    <p:sldId id="2147475557" r:id="rId393"/>
    <p:sldId id="2147475558" r:id="rId394"/>
    <p:sldId id="2147475559" r:id="rId395"/>
    <p:sldId id="2147475560" r:id="rId396"/>
    <p:sldId id="2147475561" r:id="rId397"/>
    <p:sldId id="2147475562" r:id="rId398"/>
    <p:sldId id="2147475563" r:id="rId399"/>
    <p:sldId id="2147475564" r:id="rId400"/>
    <p:sldId id="2147475565" r:id="rId401"/>
    <p:sldId id="2147475566" r:id="rId402"/>
    <p:sldId id="2147475567" r:id="rId403"/>
    <p:sldId id="2147475568" r:id="rId404"/>
    <p:sldId id="2147475569" r:id="rId405"/>
    <p:sldId id="2147475570" r:id="rId406"/>
    <p:sldId id="2147475571" r:id="rId407"/>
    <p:sldId id="2147475572" r:id="rId408"/>
    <p:sldId id="2147475573" r:id="rId409"/>
    <p:sldId id="2147475574" r:id="rId410"/>
    <p:sldId id="2147475575" r:id="rId411"/>
    <p:sldId id="2147475576" r:id="rId412"/>
    <p:sldId id="2147475577" r:id="rId413"/>
    <p:sldId id="2147475578" r:id="rId414"/>
    <p:sldId id="2147475579" r:id="rId415"/>
    <p:sldId id="2147475580" r:id="rId416"/>
    <p:sldId id="2147475581" r:id="rId417"/>
    <p:sldId id="2147475582" r:id="rId418"/>
    <p:sldId id="2147475583" r:id="rId419"/>
    <p:sldId id="2147475584" r:id="rId420"/>
    <p:sldId id="2147475585" r:id="rId421"/>
    <p:sldId id="2147475586" r:id="rId422"/>
    <p:sldId id="2147475587" r:id="rId423"/>
    <p:sldId id="2147475588" r:id="rId424"/>
    <p:sldId id="2147475589" r:id="rId425"/>
    <p:sldId id="2147475590" r:id="rId426"/>
    <p:sldId id="2147475591" r:id="rId427"/>
    <p:sldId id="2147475592" r:id="rId428"/>
    <p:sldId id="2147475593" r:id="rId429"/>
    <p:sldId id="2147475594" r:id="rId430"/>
    <p:sldId id="2147475595" r:id="rId431"/>
    <p:sldId id="2147475596" r:id="rId432"/>
    <p:sldId id="2147475597" r:id="rId433"/>
    <p:sldId id="2147475598" r:id="rId434"/>
    <p:sldId id="2147475599" r:id="rId435"/>
    <p:sldId id="2147475600" r:id="rId436"/>
    <p:sldId id="2147475601" r:id="rId437"/>
    <p:sldId id="2147475602" r:id="rId438"/>
    <p:sldId id="2147475603" r:id="rId439"/>
    <p:sldId id="2147475604" r:id="rId440"/>
    <p:sldId id="2147475605" r:id="rId441"/>
    <p:sldId id="2147475606" r:id="rId442"/>
    <p:sldId id="2147475607" r:id="rId443"/>
    <p:sldId id="2147475608" r:id="rId444"/>
    <p:sldId id="2147475609" r:id="rId445"/>
    <p:sldId id="2147475610" r:id="rId446"/>
    <p:sldId id="2147475611" r:id="rId447"/>
    <p:sldId id="2147475612" r:id="rId448"/>
    <p:sldId id="2147475613" r:id="rId449"/>
    <p:sldId id="2147475614" r:id="rId450"/>
    <p:sldId id="2147475615" r:id="rId451"/>
    <p:sldId id="2147475616" r:id="rId452"/>
    <p:sldId id="2147475617" r:id="rId453"/>
    <p:sldId id="2147475618" r:id="rId454"/>
    <p:sldId id="2147475619" r:id="rId455"/>
    <p:sldId id="2147475620" r:id="rId456"/>
    <p:sldId id="2147475621" r:id="rId457"/>
    <p:sldId id="2147475622" r:id="rId458"/>
    <p:sldId id="2147475623" r:id="rId459"/>
    <p:sldId id="2147475624" r:id="rId460"/>
    <p:sldId id="2147475625" r:id="rId461"/>
    <p:sldId id="2147475626" r:id="rId462"/>
    <p:sldId id="2147475627" r:id="rId463"/>
    <p:sldId id="2147475628" r:id="rId464"/>
    <p:sldId id="2147475629" r:id="rId465"/>
    <p:sldId id="2147475630" r:id="rId466"/>
    <p:sldId id="2147475631" r:id="rId467"/>
    <p:sldId id="2147475632" r:id="rId468"/>
    <p:sldId id="2147475633" r:id="rId469"/>
    <p:sldId id="2147475634" r:id="rId470"/>
    <p:sldId id="2147475635" r:id="rId471"/>
    <p:sldId id="2147475636" r:id="rId472"/>
    <p:sldId id="2147475637" r:id="rId473"/>
    <p:sldId id="2147475638" r:id="rId474"/>
    <p:sldId id="2147475639" r:id="rId475"/>
    <p:sldId id="2147475640" r:id="rId476"/>
    <p:sldId id="2147475641" r:id="rId477"/>
    <p:sldId id="2147475642" r:id="rId478"/>
    <p:sldId id="2147475643" r:id="rId479"/>
    <p:sldId id="2147475644" r:id="rId480"/>
    <p:sldId id="2147475645" r:id="rId481"/>
    <p:sldId id="2147475646" r:id="rId482"/>
    <p:sldId id="2147475647" r:id="rId483"/>
    <p:sldId id="2147475648" r:id="rId484"/>
    <p:sldId id="2147475649" r:id="rId485"/>
    <p:sldId id="2147475650" r:id="rId486"/>
    <p:sldId id="2147475651" r:id="rId487"/>
    <p:sldId id="2147475652" r:id="rId488"/>
    <p:sldId id="2147475653" r:id="rId489"/>
    <p:sldId id="2147475654" r:id="rId490"/>
    <p:sldId id="2147475655" r:id="rId491"/>
    <p:sldId id="2147475656" r:id="rId492"/>
    <p:sldId id="2147475657" r:id="rId493"/>
    <p:sldId id="2147475658" r:id="rId494"/>
    <p:sldId id="2147475659" r:id="rId495"/>
    <p:sldId id="2147475660" r:id="rId496"/>
    <p:sldId id="2147475661" r:id="rId497"/>
    <p:sldId id="2147475662" r:id="rId498"/>
    <p:sldId id="2147475663" r:id="rId499"/>
    <p:sldId id="2147475664" r:id="rId500"/>
    <p:sldId id="2147475665" r:id="rId501"/>
    <p:sldId id="2147475666" r:id="rId502"/>
    <p:sldId id="2147475667" r:id="rId503"/>
    <p:sldId id="2147475668" r:id="rId504"/>
    <p:sldId id="2147475669" r:id="rId505"/>
    <p:sldId id="2147475670" r:id="rId506"/>
    <p:sldId id="2147475671" r:id="rId507"/>
    <p:sldId id="2147475672" r:id="rId508"/>
    <p:sldId id="2147475673" r:id="rId509"/>
    <p:sldId id="2147475674" r:id="rId510"/>
    <p:sldId id="2147475675" r:id="rId511"/>
    <p:sldId id="2147475676" r:id="rId512"/>
    <p:sldId id="2147475677" r:id="rId513"/>
    <p:sldId id="2147475678" r:id="rId514"/>
    <p:sldId id="2147475679" r:id="rId515"/>
    <p:sldId id="2147475680" r:id="rId516"/>
    <p:sldId id="2147475681" r:id="rId517"/>
    <p:sldId id="2147475682" r:id="rId518"/>
    <p:sldId id="2147475683" r:id="rId519"/>
    <p:sldId id="2147475684" r:id="rId520"/>
    <p:sldId id="2147475685" r:id="rId521"/>
    <p:sldId id="2147475686" r:id="rId522"/>
    <p:sldId id="2147475687" r:id="rId523"/>
    <p:sldId id="2147475688" r:id="rId524"/>
    <p:sldId id="2147475689" r:id="rId525"/>
    <p:sldId id="2147475690" r:id="rId526"/>
    <p:sldId id="2147475691" r:id="rId527"/>
    <p:sldId id="2147475692" r:id="rId528"/>
    <p:sldId id="2147475693" r:id="rId529"/>
    <p:sldId id="2147475694" r:id="rId530"/>
    <p:sldId id="2147475695" r:id="rId531"/>
    <p:sldId id="2147475696" r:id="rId532"/>
    <p:sldId id="2147475697" r:id="rId533"/>
    <p:sldId id="2147475698" r:id="rId534"/>
    <p:sldId id="2147475699" r:id="rId535"/>
    <p:sldId id="2147475700" r:id="rId536"/>
    <p:sldId id="2147475701" r:id="rId537"/>
    <p:sldId id="2147475702" r:id="rId538"/>
    <p:sldId id="2147475703" r:id="rId539"/>
    <p:sldId id="2147475704" r:id="rId540"/>
    <p:sldId id="2147475705" r:id="rId541"/>
    <p:sldId id="2147475706" r:id="rId542"/>
    <p:sldId id="2147475707" r:id="rId543"/>
    <p:sldId id="2147475708" r:id="rId544"/>
    <p:sldId id="2147475709" r:id="rId545"/>
    <p:sldId id="2147475710" r:id="rId546"/>
    <p:sldId id="2147475711" r:id="rId547"/>
    <p:sldId id="2147475712" r:id="rId548"/>
    <p:sldId id="2147475713" r:id="rId549"/>
    <p:sldId id="2147475714" r:id="rId550"/>
    <p:sldId id="2147475715" r:id="rId551"/>
    <p:sldId id="2147475716" r:id="rId552"/>
    <p:sldId id="2147475717" r:id="rId553"/>
    <p:sldId id="2147475718" r:id="rId554"/>
    <p:sldId id="2147475719" r:id="rId555"/>
    <p:sldId id="2147475720" r:id="rId556"/>
    <p:sldId id="2147475721" r:id="rId557"/>
    <p:sldId id="2147475722" r:id="rId558"/>
    <p:sldId id="2147475723" r:id="rId559"/>
    <p:sldId id="2147475724" r:id="rId560"/>
    <p:sldId id="2147475725" r:id="rId561"/>
    <p:sldId id="2147475726" r:id="rId562"/>
    <p:sldId id="2147475727" r:id="rId563"/>
    <p:sldId id="2147475728" r:id="rId564"/>
    <p:sldId id="2147475729" r:id="rId565"/>
    <p:sldId id="2147475730" r:id="rId566"/>
    <p:sldId id="2147475731" r:id="rId567"/>
    <p:sldId id="2147475732" r:id="rId568"/>
    <p:sldId id="2147475733" r:id="rId569"/>
    <p:sldId id="2147475734" r:id="rId570"/>
    <p:sldId id="2147475735" r:id="rId571"/>
    <p:sldId id="2147475736" r:id="rId572"/>
    <p:sldId id="2147475737" r:id="rId573"/>
    <p:sldId id="2147475738" r:id="rId574"/>
    <p:sldId id="2147475739" r:id="rId575"/>
    <p:sldId id="2147475740" r:id="rId576"/>
    <p:sldId id="2147475741" r:id="rId577"/>
    <p:sldId id="2147475742" r:id="rId578"/>
    <p:sldId id="2147475743" r:id="rId579"/>
    <p:sldId id="2147475744" r:id="rId580"/>
    <p:sldId id="2147475745" r:id="rId581"/>
    <p:sldId id="2147475746" r:id="rId582"/>
    <p:sldId id="2147475747" r:id="rId583"/>
    <p:sldId id="2147475748" r:id="rId584"/>
    <p:sldId id="2147475749" r:id="rId585"/>
    <p:sldId id="2147475750" r:id="rId586"/>
    <p:sldId id="2147475751" r:id="rId587"/>
    <p:sldId id="2147475752" r:id="rId588"/>
    <p:sldId id="2147475753" r:id="rId589"/>
    <p:sldId id="2147475754" r:id="rId590"/>
    <p:sldId id="2147475755" r:id="rId591"/>
    <p:sldId id="2147475756" r:id="rId592"/>
    <p:sldId id="2147475757" r:id="rId593"/>
    <p:sldId id="2147475758" r:id="rId594"/>
    <p:sldId id="2147475759" r:id="rId595"/>
    <p:sldId id="2147475760" r:id="rId596"/>
    <p:sldId id="2147475761" r:id="rId597"/>
    <p:sldId id="2147475762" r:id="rId598"/>
    <p:sldId id="2147475763" r:id="rId599"/>
    <p:sldId id="2147475764" r:id="rId600"/>
    <p:sldId id="2147475765" r:id="rId601"/>
    <p:sldId id="2147475766" r:id="rId602"/>
    <p:sldId id="2147475767" r:id="rId603"/>
    <p:sldId id="2147475768" r:id="rId604"/>
    <p:sldId id="2147475769" r:id="rId605"/>
    <p:sldId id="2147475770" r:id="rId606"/>
    <p:sldId id="2147475771" r:id="rId607"/>
    <p:sldId id="2147475772" r:id="rId608"/>
    <p:sldId id="2147475773" r:id="rId609"/>
    <p:sldId id="2147475774" r:id="rId610"/>
    <p:sldId id="2147475775" r:id="rId611"/>
    <p:sldId id="2147475776" r:id="rId612"/>
    <p:sldId id="2147475777" r:id="rId613"/>
    <p:sldId id="2147475778" r:id="rId614"/>
    <p:sldId id="2147475779" r:id="rId615"/>
    <p:sldId id="2147475780" r:id="rId616"/>
    <p:sldId id="2147475781" r:id="rId617"/>
    <p:sldId id="2147475782" r:id="rId618"/>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521415D9-36F7-43E2-AB2F-B90AF26B5E84}">
      <p14:sectionLst xmlns:p14="http://schemas.microsoft.com/office/powerpoint/2010/main">
        <p14:section name="SKU Share By Brand" id="{1B82EF11-4DE5-46C2-A6E1-E1BFE7B352FC}">
          <p14:sldIdLst>
            <p14:sldId id="2147475169"/>
            <p14:sldId id="2147475170"/>
            <p14:sldId id="2147475171"/>
            <p14:sldId id="2147475172"/>
            <p14:sldId id="2147475173"/>
            <p14:sldId id="2147475174"/>
            <p14:sldId id="2147475175"/>
            <p14:sldId id="2147475176"/>
            <p14:sldId id="2147475177"/>
            <p14:sldId id="2147475178"/>
            <p14:sldId id="2147475179"/>
            <p14:sldId id="2147475180"/>
            <p14:sldId id="2147475181"/>
            <p14:sldId id="2147475182"/>
            <p14:sldId id="2147475183"/>
            <p14:sldId id="2147475184"/>
            <p14:sldId id="2147475185"/>
            <p14:sldId id="2147475186"/>
            <p14:sldId id="2147475187"/>
            <p14:sldId id="2147475188"/>
            <p14:sldId id="2147475189"/>
            <p14:sldId id="2147475190"/>
            <p14:sldId id="2147475191"/>
            <p14:sldId id="2147475192"/>
            <p14:sldId id="2147475193"/>
            <p14:sldId id="2147475194"/>
            <p14:sldId id="2147475195"/>
            <p14:sldId id="2147475196"/>
            <p14:sldId id="2147475197"/>
            <p14:sldId id="2147475198"/>
            <p14:sldId id="2147475199"/>
            <p14:sldId id="2147475200"/>
            <p14:sldId id="2147475201"/>
            <p14:sldId id="2147475202"/>
            <p14:sldId id="2147475203"/>
            <p14:sldId id="2147475204"/>
            <p14:sldId id="2147475205"/>
            <p14:sldId id="2147475206"/>
            <p14:sldId id="2147475207"/>
            <p14:sldId id="2147475208"/>
            <p14:sldId id="2147475209"/>
            <p14:sldId id="2147475210"/>
            <p14:sldId id="2147475211"/>
            <p14:sldId id="2147475212"/>
            <p14:sldId id="2147475213"/>
            <p14:sldId id="2147475214"/>
            <p14:sldId id="2147475215"/>
            <p14:sldId id="2147475216"/>
            <p14:sldId id="2147475217"/>
            <p14:sldId id="2147475218"/>
            <p14:sldId id="2147475219"/>
            <p14:sldId id="2147475220"/>
            <p14:sldId id="2147475221"/>
            <p14:sldId id="2147475222"/>
            <p14:sldId id="2147475223"/>
            <p14:sldId id="2147475224"/>
          </p14:sldIdLst>
        </p14:section>
        <p14:section name="Cumulative Product Shares" id="{CB70674B-F92B-4DBC-88A4-7FFDB6A91C19}">
          <p14:sldIdLst>
            <p14:sldId id="2147475225"/>
            <p14:sldId id="2147475226"/>
            <p14:sldId id="2147475227"/>
            <p14:sldId id="2147475228"/>
            <p14:sldId id="2147475229"/>
            <p14:sldId id="2147475230"/>
            <p14:sldId id="2147475231"/>
            <p14:sldId id="2147475232"/>
            <p14:sldId id="2147475233"/>
            <p14:sldId id="2147475234"/>
            <p14:sldId id="2147475235"/>
            <p14:sldId id="2147475236"/>
            <p14:sldId id="2147475237"/>
            <p14:sldId id="2147475238"/>
            <p14:sldId id="2147475239"/>
            <p14:sldId id="2147475240"/>
            <p14:sldId id="2147475241"/>
            <p14:sldId id="2147475242"/>
            <p14:sldId id="2147475243"/>
            <p14:sldId id="2147475244"/>
            <p14:sldId id="2147475245"/>
            <p14:sldId id="2147475246"/>
            <p14:sldId id="2147475247"/>
            <p14:sldId id="2147475248"/>
            <p14:sldId id="2147475249"/>
            <p14:sldId id="2147475250"/>
            <p14:sldId id="2147475251"/>
            <p14:sldId id="2147475252"/>
            <p14:sldId id="2147475253"/>
            <p14:sldId id="2147475254"/>
            <p14:sldId id="2147475255"/>
            <p14:sldId id="2147475256"/>
            <p14:sldId id="2147475257"/>
            <p14:sldId id="2147475258"/>
            <p14:sldId id="2147475259"/>
            <p14:sldId id="2147475260"/>
            <p14:sldId id="2147475261"/>
            <p14:sldId id="2147475262"/>
            <p14:sldId id="2147475263"/>
            <p14:sldId id="2147475264"/>
            <p14:sldId id="2147475265"/>
            <p14:sldId id="2147475266"/>
            <p14:sldId id="2147475267"/>
            <p14:sldId id="2147475268"/>
            <p14:sldId id="2147475269"/>
            <p14:sldId id="2147475270"/>
            <p14:sldId id="2147475271"/>
            <p14:sldId id="2147475272"/>
            <p14:sldId id="2147475273"/>
            <p14:sldId id="2147475274"/>
            <p14:sldId id="2147475275"/>
            <p14:sldId id="2147475276"/>
            <p14:sldId id="2147475277"/>
            <p14:sldId id="2147475278"/>
            <p14:sldId id="2147475279"/>
            <p14:sldId id="2147475280"/>
          </p14:sldIdLst>
        </p14:section>
        <p14:section name="Manuf Cumulative Product Share" id="{06C3F7F7-E330-4512-AF9A-098507C76D8A}">
          <p14:sldIdLst>
            <p14:sldId id="2147475281"/>
            <p14:sldId id="2147475282"/>
            <p14:sldId id="2147475283"/>
            <p14:sldId id="2147475284"/>
            <p14:sldId id="2147475285"/>
            <p14:sldId id="2147475286"/>
            <p14:sldId id="2147475287"/>
            <p14:sldId id="2147475288"/>
            <p14:sldId id="2147475289"/>
            <p14:sldId id="2147475290"/>
            <p14:sldId id="2147475291"/>
            <p14:sldId id="2147475292"/>
            <p14:sldId id="2147475293"/>
            <p14:sldId id="2147475294"/>
            <p14:sldId id="2147475295"/>
            <p14:sldId id="2147475296"/>
            <p14:sldId id="2147475297"/>
            <p14:sldId id="2147475298"/>
            <p14:sldId id="2147475299"/>
            <p14:sldId id="2147475300"/>
            <p14:sldId id="2147475301"/>
            <p14:sldId id="2147475302"/>
            <p14:sldId id="2147475303"/>
            <p14:sldId id="2147475304"/>
            <p14:sldId id="2147475305"/>
            <p14:sldId id="2147475306"/>
            <p14:sldId id="2147475307"/>
            <p14:sldId id="2147475308"/>
            <p14:sldId id="2147475309"/>
            <p14:sldId id="2147475310"/>
            <p14:sldId id="2147475311"/>
            <p14:sldId id="2147475312"/>
            <p14:sldId id="2147475313"/>
            <p14:sldId id="2147475314"/>
            <p14:sldId id="2147475315"/>
            <p14:sldId id="2147475316"/>
            <p14:sldId id="2147475317"/>
            <p14:sldId id="2147475318"/>
            <p14:sldId id="2147475319"/>
            <p14:sldId id="2147475320"/>
            <p14:sldId id="2147475321"/>
            <p14:sldId id="2147475322"/>
            <p14:sldId id="2147475323"/>
            <p14:sldId id="2147475324"/>
            <p14:sldId id="2147475325"/>
            <p14:sldId id="2147475326"/>
            <p14:sldId id="2147475327"/>
            <p14:sldId id="2147475328"/>
            <p14:sldId id="2147475329"/>
            <p14:sldId id="2147475330"/>
            <p14:sldId id="2147475331"/>
            <p14:sldId id="2147475332"/>
            <p14:sldId id="2147475333"/>
            <p14:sldId id="2147475334"/>
            <p14:sldId id="2147475335"/>
            <p14:sldId id="2147475336"/>
            <p14:sldId id="2147475337"/>
            <p14:sldId id="2147475338"/>
            <p14:sldId id="2147475339"/>
            <p14:sldId id="2147475340"/>
            <p14:sldId id="2147475341"/>
            <p14:sldId id="2147475342"/>
            <p14:sldId id="2147475343"/>
            <p14:sldId id="2147475344"/>
            <p14:sldId id="2147475345"/>
            <p14:sldId id="2147475346"/>
            <p14:sldId id="2147475347"/>
            <p14:sldId id="2147475348"/>
            <p14:sldId id="2147475349"/>
            <p14:sldId id="2147475350"/>
            <p14:sldId id="2147475351"/>
            <p14:sldId id="2147475352"/>
            <p14:sldId id="2147475353"/>
            <p14:sldId id="2147475354"/>
            <p14:sldId id="2147475355"/>
            <p14:sldId id="2147475356"/>
            <p14:sldId id="2147475357"/>
            <p14:sldId id="2147475358"/>
            <p14:sldId id="2147475359"/>
            <p14:sldId id="2147475360"/>
            <p14:sldId id="2147475361"/>
            <p14:sldId id="2147475362"/>
            <p14:sldId id="2147475363"/>
            <p14:sldId id="2147475364"/>
            <p14:sldId id="2147475365"/>
            <p14:sldId id="2147475366"/>
            <p14:sldId id="2147475367"/>
            <p14:sldId id="2147475368"/>
            <p14:sldId id="2147475369"/>
            <p14:sldId id="2147475370"/>
            <p14:sldId id="2147475371"/>
            <p14:sldId id="2147475372"/>
            <p14:sldId id="2147475373"/>
            <p14:sldId id="2147475374"/>
            <p14:sldId id="2147475375"/>
            <p14:sldId id="2147475376"/>
            <p14:sldId id="2147475377"/>
            <p14:sldId id="2147475378"/>
            <p14:sldId id="2147475379"/>
            <p14:sldId id="2147475380"/>
            <p14:sldId id="2147475381"/>
            <p14:sldId id="2147475382"/>
            <p14:sldId id="2147475383"/>
            <p14:sldId id="2147475384"/>
            <p14:sldId id="2147475385"/>
            <p14:sldId id="2147475386"/>
            <p14:sldId id="2147475387"/>
            <p14:sldId id="2147475388"/>
            <p14:sldId id="2147475389"/>
            <p14:sldId id="2147475390"/>
            <p14:sldId id="2147475391"/>
            <p14:sldId id="2147475392"/>
            <p14:sldId id="2147475393"/>
            <p14:sldId id="2147475394"/>
            <p14:sldId id="2147475395"/>
            <p14:sldId id="2147475396"/>
            <p14:sldId id="2147475397"/>
            <p14:sldId id="2147475398"/>
            <p14:sldId id="2147475399"/>
            <p14:sldId id="2147475400"/>
            <p14:sldId id="2147475401"/>
            <p14:sldId id="2147475402"/>
            <p14:sldId id="2147475403"/>
            <p14:sldId id="2147475404"/>
            <p14:sldId id="2147475405"/>
            <p14:sldId id="2147475406"/>
            <p14:sldId id="2147475407"/>
            <p14:sldId id="2147475408"/>
            <p14:sldId id="2147475409"/>
            <p14:sldId id="2147475410"/>
            <p14:sldId id="2147475411"/>
            <p14:sldId id="2147475412"/>
            <p14:sldId id="2147475413"/>
            <p14:sldId id="2147475414"/>
            <p14:sldId id="2147475415"/>
            <p14:sldId id="2147475416"/>
            <p14:sldId id="2147475417"/>
            <p14:sldId id="2147475418"/>
            <p14:sldId id="2147475419"/>
            <p14:sldId id="2147475420"/>
            <p14:sldId id="2147475421"/>
            <p14:sldId id="2147475422"/>
            <p14:sldId id="2147475423"/>
            <p14:sldId id="2147475424"/>
            <p14:sldId id="2147475425"/>
            <p14:sldId id="2147475426"/>
            <p14:sldId id="2147475427"/>
            <p14:sldId id="2147475428"/>
            <p14:sldId id="2147475429"/>
            <p14:sldId id="2147475430"/>
            <p14:sldId id="2147475431"/>
            <p14:sldId id="2147475432"/>
            <p14:sldId id="2147475433"/>
            <p14:sldId id="2147475434"/>
            <p14:sldId id="2147475435"/>
            <p14:sldId id="2147475436"/>
            <p14:sldId id="2147475437"/>
            <p14:sldId id="2147475438"/>
            <p14:sldId id="2147475439"/>
            <p14:sldId id="2147475440"/>
            <p14:sldId id="2147475441"/>
            <p14:sldId id="2147475442"/>
            <p14:sldId id="2147475443"/>
            <p14:sldId id="2147475444"/>
            <p14:sldId id="2147475445"/>
            <p14:sldId id="2147475446"/>
          </p14:sldIdLst>
        </p14:section>
        <p14:section name="Top 20 cumulative share" id="{A8487C1C-D3FF-4B64-A201-CADA4D975A51}">
          <p14:sldIdLst>
            <p14:sldId id="2147475447"/>
            <p14:sldId id="2147475448"/>
            <p14:sldId id="2147475449"/>
            <p14:sldId id="2147475450"/>
            <p14:sldId id="2147475451"/>
            <p14:sldId id="2147475452"/>
            <p14:sldId id="2147475453"/>
            <p14:sldId id="2147475454"/>
            <p14:sldId id="2147475455"/>
            <p14:sldId id="2147475456"/>
            <p14:sldId id="2147475457"/>
            <p14:sldId id="2147475458"/>
            <p14:sldId id="2147475459"/>
            <p14:sldId id="2147475460"/>
            <p14:sldId id="2147475461"/>
            <p14:sldId id="2147475462"/>
            <p14:sldId id="2147475463"/>
            <p14:sldId id="2147475464"/>
            <p14:sldId id="2147475465"/>
            <p14:sldId id="2147475466"/>
            <p14:sldId id="2147475467"/>
            <p14:sldId id="2147475468"/>
            <p14:sldId id="2147475469"/>
            <p14:sldId id="2147475470"/>
            <p14:sldId id="2147475471"/>
            <p14:sldId id="2147475472"/>
            <p14:sldId id="2147475473"/>
            <p14:sldId id="2147475474"/>
            <p14:sldId id="2147475475"/>
            <p14:sldId id="2147475476"/>
            <p14:sldId id="2147475477"/>
            <p14:sldId id="2147475478"/>
            <p14:sldId id="2147475479"/>
            <p14:sldId id="2147475480"/>
            <p14:sldId id="2147475481"/>
            <p14:sldId id="2147475482"/>
            <p14:sldId id="2147475483"/>
            <p14:sldId id="2147475484"/>
            <p14:sldId id="2147475485"/>
            <p14:sldId id="2147475486"/>
            <p14:sldId id="2147475487"/>
            <p14:sldId id="2147475488"/>
            <p14:sldId id="2147475489"/>
            <p14:sldId id="2147475490"/>
            <p14:sldId id="2147475491"/>
            <p14:sldId id="2147475492"/>
            <p14:sldId id="2147475493"/>
            <p14:sldId id="2147475494"/>
            <p14:sldId id="2147475495"/>
            <p14:sldId id="2147475496"/>
            <p14:sldId id="2147475497"/>
            <p14:sldId id="2147475498"/>
            <p14:sldId id="2147475499"/>
            <p14:sldId id="2147475500"/>
            <p14:sldId id="2147475501"/>
            <p14:sldId id="2147475502"/>
          </p14:sldIdLst>
        </p14:section>
        <p14:section name="SKU Productivity Analysis with TM%" id="{6CBF65B5-91A8-47EE-BB42-A50348A6EAD3}">
          <p14:sldIdLst>
            <p14:sldId id="2147475503"/>
            <p14:sldId id="2147475504"/>
            <p14:sldId id="2147475505"/>
            <p14:sldId id="2147475506"/>
            <p14:sldId id="2147475507"/>
            <p14:sldId id="2147475508"/>
            <p14:sldId id="2147475509"/>
            <p14:sldId id="2147475510"/>
            <p14:sldId id="2147475511"/>
            <p14:sldId id="2147475512"/>
            <p14:sldId id="2147475513"/>
            <p14:sldId id="2147475514"/>
            <p14:sldId id="2147475515"/>
            <p14:sldId id="2147475516"/>
            <p14:sldId id="2147475517"/>
            <p14:sldId id="2147475518"/>
            <p14:sldId id="2147475519"/>
            <p14:sldId id="2147475520"/>
            <p14:sldId id="2147475521"/>
            <p14:sldId id="2147475522"/>
            <p14:sldId id="2147475523"/>
            <p14:sldId id="2147475524"/>
            <p14:sldId id="2147475525"/>
            <p14:sldId id="2147475526"/>
            <p14:sldId id="2147475527"/>
            <p14:sldId id="2147475528"/>
            <p14:sldId id="2147475529"/>
            <p14:sldId id="2147475530"/>
            <p14:sldId id="2147475531"/>
            <p14:sldId id="2147475532"/>
            <p14:sldId id="2147475533"/>
            <p14:sldId id="2147475534"/>
            <p14:sldId id="2147475535"/>
            <p14:sldId id="2147475536"/>
            <p14:sldId id="2147475537"/>
            <p14:sldId id="2147475538"/>
            <p14:sldId id="2147475539"/>
            <p14:sldId id="2147475540"/>
            <p14:sldId id="2147475541"/>
            <p14:sldId id="2147475542"/>
            <p14:sldId id="2147475543"/>
            <p14:sldId id="2147475544"/>
            <p14:sldId id="2147475545"/>
            <p14:sldId id="2147475546"/>
            <p14:sldId id="2147475547"/>
            <p14:sldId id="2147475548"/>
            <p14:sldId id="2147475549"/>
            <p14:sldId id="2147475550"/>
            <p14:sldId id="2147475551"/>
            <p14:sldId id="2147475552"/>
            <p14:sldId id="2147475553"/>
            <p14:sldId id="2147475554"/>
            <p14:sldId id="2147475555"/>
            <p14:sldId id="2147475556"/>
            <p14:sldId id="2147475557"/>
            <p14:sldId id="2147475558"/>
            <p14:sldId id="2147475559"/>
            <p14:sldId id="2147475560"/>
            <p14:sldId id="2147475561"/>
            <p14:sldId id="2147475562"/>
            <p14:sldId id="2147475563"/>
            <p14:sldId id="2147475564"/>
            <p14:sldId id="2147475565"/>
            <p14:sldId id="2147475566"/>
            <p14:sldId id="2147475567"/>
            <p14:sldId id="2147475568"/>
            <p14:sldId id="2147475569"/>
            <p14:sldId id="2147475570"/>
            <p14:sldId id="2147475571"/>
            <p14:sldId id="2147475572"/>
            <p14:sldId id="2147475573"/>
            <p14:sldId id="2147475574"/>
            <p14:sldId id="2147475575"/>
            <p14:sldId id="2147475576"/>
            <p14:sldId id="2147475577"/>
            <p14:sldId id="2147475578"/>
            <p14:sldId id="2147475579"/>
            <p14:sldId id="2147475580"/>
            <p14:sldId id="2147475581"/>
            <p14:sldId id="2147475582"/>
            <p14:sldId id="2147475583"/>
            <p14:sldId id="2147475584"/>
            <p14:sldId id="2147475585"/>
            <p14:sldId id="2147475586"/>
            <p14:sldId id="2147475587"/>
            <p14:sldId id="2147475588"/>
            <p14:sldId id="2147475589"/>
            <p14:sldId id="2147475590"/>
            <p14:sldId id="2147475591"/>
            <p14:sldId id="2147475592"/>
            <p14:sldId id="2147475593"/>
            <p14:sldId id="2147475594"/>
            <p14:sldId id="2147475595"/>
            <p14:sldId id="2147475596"/>
            <p14:sldId id="2147475597"/>
            <p14:sldId id="2147475598"/>
            <p14:sldId id="2147475599"/>
            <p14:sldId id="2147475600"/>
            <p14:sldId id="2147475601"/>
            <p14:sldId id="2147475602"/>
            <p14:sldId id="2147475603"/>
            <p14:sldId id="2147475604"/>
            <p14:sldId id="2147475605"/>
            <p14:sldId id="2147475606"/>
            <p14:sldId id="2147475607"/>
            <p14:sldId id="2147475608"/>
            <p14:sldId id="2147475609"/>
            <p14:sldId id="2147475610"/>
          </p14:sldIdLst>
        </p14:section>
        <p14:section name="SKU Productivity Analysis with WD" id="{E32140D3-9D90-4982-9778-C7DA35DA0588}">
          <p14:sldIdLst>
            <p14:sldId id="2147475611"/>
            <p14:sldId id="2147475612"/>
            <p14:sldId id="2147475613"/>
            <p14:sldId id="2147475614"/>
            <p14:sldId id="2147475615"/>
            <p14:sldId id="2147475616"/>
            <p14:sldId id="2147475617"/>
            <p14:sldId id="2147475618"/>
            <p14:sldId id="2147475619"/>
            <p14:sldId id="2147475620"/>
            <p14:sldId id="2147475621"/>
            <p14:sldId id="2147475622"/>
            <p14:sldId id="2147475623"/>
            <p14:sldId id="2147475624"/>
            <p14:sldId id="2147475625"/>
            <p14:sldId id="2147475626"/>
            <p14:sldId id="2147475627"/>
            <p14:sldId id="2147475628"/>
            <p14:sldId id="2147475629"/>
            <p14:sldId id="2147475630"/>
            <p14:sldId id="2147475631"/>
            <p14:sldId id="2147475632"/>
            <p14:sldId id="2147475633"/>
            <p14:sldId id="2147475634"/>
            <p14:sldId id="2147475635"/>
            <p14:sldId id="2147475636"/>
            <p14:sldId id="2147475637"/>
            <p14:sldId id="2147475638"/>
            <p14:sldId id="2147475639"/>
            <p14:sldId id="2147475640"/>
            <p14:sldId id="2147475641"/>
            <p14:sldId id="2147475642"/>
            <p14:sldId id="2147475643"/>
            <p14:sldId id="2147475644"/>
            <p14:sldId id="2147475645"/>
            <p14:sldId id="2147475646"/>
            <p14:sldId id="2147475647"/>
            <p14:sldId id="2147475648"/>
            <p14:sldId id="2147475649"/>
            <p14:sldId id="2147475650"/>
            <p14:sldId id="2147475651"/>
            <p14:sldId id="2147475652"/>
            <p14:sldId id="2147475653"/>
            <p14:sldId id="2147475654"/>
            <p14:sldId id="2147475655"/>
            <p14:sldId id="2147475656"/>
            <p14:sldId id="2147475657"/>
            <p14:sldId id="2147475658"/>
            <p14:sldId id="2147475659"/>
            <p14:sldId id="2147475660"/>
            <p14:sldId id="2147475661"/>
            <p14:sldId id="2147475662"/>
            <p14:sldId id="2147475663"/>
            <p14:sldId id="2147475664"/>
            <p14:sldId id="2147475665"/>
            <p14:sldId id="2147475666"/>
            <p14:sldId id="2147475667"/>
            <p14:sldId id="2147475668"/>
            <p14:sldId id="2147475669"/>
            <p14:sldId id="2147475670"/>
            <p14:sldId id="2147475671"/>
            <p14:sldId id="2147475672"/>
            <p14:sldId id="2147475673"/>
            <p14:sldId id="2147475674"/>
            <p14:sldId id="2147475675"/>
            <p14:sldId id="2147475676"/>
            <p14:sldId id="2147475677"/>
            <p14:sldId id="2147475678"/>
            <p14:sldId id="2147475679"/>
            <p14:sldId id="2147475680"/>
            <p14:sldId id="2147475681"/>
            <p14:sldId id="2147475682"/>
            <p14:sldId id="2147475683"/>
            <p14:sldId id="2147475684"/>
            <p14:sldId id="2147475685"/>
            <p14:sldId id="2147475686"/>
            <p14:sldId id="2147475687"/>
            <p14:sldId id="2147475688"/>
            <p14:sldId id="2147475689"/>
            <p14:sldId id="2147475690"/>
            <p14:sldId id="2147475691"/>
            <p14:sldId id="2147475692"/>
            <p14:sldId id="2147475693"/>
            <p14:sldId id="2147475694"/>
            <p14:sldId id="2147475695"/>
            <p14:sldId id="2147475696"/>
            <p14:sldId id="2147475697"/>
            <p14:sldId id="2147475698"/>
            <p14:sldId id="2147475699"/>
            <p14:sldId id="2147475700"/>
            <p14:sldId id="2147475701"/>
            <p14:sldId id="2147475702"/>
            <p14:sldId id="2147475703"/>
            <p14:sldId id="2147475704"/>
            <p14:sldId id="2147475705"/>
            <p14:sldId id="2147475706"/>
            <p14:sldId id="2147475707"/>
            <p14:sldId id="2147475708"/>
            <p14:sldId id="2147475709"/>
            <p14:sldId id="2147475710"/>
            <p14:sldId id="2147475711"/>
            <p14:sldId id="2147475712"/>
            <p14:sldId id="2147475713"/>
            <p14:sldId id="2147475714"/>
            <p14:sldId id="2147475715"/>
            <p14:sldId id="2147475716"/>
            <p14:sldId id="2147475717"/>
            <p14:sldId id="2147475718"/>
          </p14:sldIdLst>
        </p14:section>
        <p14:section name="Sectors Fair Share" id="{769D668B-FAA1-476E-9D0E-57B78E310BA2}">
          <p14:sldIdLst>
            <p14:sldId id="2147475719"/>
            <p14:sldId id="2147475720"/>
            <p14:sldId id="2147475721"/>
            <p14:sldId id="2147475722"/>
            <p14:sldId id="2147475723"/>
            <p14:sldId id="2147475724"/>
            <p14:sldId id="2147475725"/>
            <p14:sldId id="2147475726"/>
            <p14:sldId id="2147475727"/>
            <p14:sldId id="2147475728"/>
            <p14:sldId id="2147475729"/>
            <p14:sldId id="2147475730"/>
            <p14:sldId id="2147475731"/>
            <p14:sldId id="2147475732"/>
            <p14:sldId id="2147475733"/>
            <p14:sldId id="2147475734"/>
            <p14:sldId id="2147475735"/>
            <p14:sldId id="2147475736"/>
            <p14:sldId id="2147475737"/>
            <p14:sldId id="2147475738"/>
            <p14:sldId id="2147475739"/>
            <p14:sldId id="2147475740"/>
            <p14:sldId id="2147475741"/>
            <p14:sldId id="2147475742"/>
            <p14:sldId id="2147475743"/>
            <p14:sldId id="2147475744"/>
            <p14:sldId id="2147475745"/>
            <p14:sldId id="2147475746"/>
            <p14:sldId id="2147475747"/>
            <p14:sldId id="2147475748"/>
            <p14:sldId id="2147475749"/>
            <p14:sldId id="2147475750"/>
          </p14:sldIdLst>
        </p14:section>
        <p14:section name="Segments Fair Share" id="{360E2703-7876-42E5-A0FC-390A1A03776C}">
          <p14:sldIdLst>
            <p14:sldId id="2147475751"/>
            <p14:sldId id="2147475752"/>
            <p14:sldId id="2147475753"/>
            <p14:sldId id="2147475754"/>
            <p14:sldId id="2147475755"/>
            <p14:sldId id="2147475756"/>
            <p14:sldId id="2147475757"/>
            <p14:sldId id="2147475758"/>
            <p14:sldId id="2147475759"/>
            <p14:sldId id="2147475760"/>
            <p14:sldId id="2147475761"/>
            <p14:sldId id="2147475762"/>
            <p14:sldId id="2147475763"/>
            <p14:sldId id="2147475764"/>
            <p14:sldId id="2147475765"/>
            <p14:sldId id="2147475766"/>
            <p14:sldId id="2147475767"/>
            <p14:sldId id="2147475768"/>
            <p14:sldId id="2147475769"/>
            <p14:sldId id="2147475770"/>
            <p14:sldId id="2147475771"/>
            <p14:sldId id="2147475772"/>
            <p14:sldId id="2147475773"/>
            <p14:sldId id="2147475774"/>
            <p14:sldId id="2147475775"/>
            <p14:sldId id="2147475776"/>
            <p14:sldId id="2147475777"/>
            <p14:sldId id="2147475778"/>
            <p14:sldId id="2147475779"/>
            <p14:sldId id="2147475780"/>
            <p14:sldId id="2147475781"/>
            <p14:sldId id="2147475782"/>
          </p14:sldIdLst>
        </p14:section>
      </p14:sectionLst>
    </p:ext>
    <p:ext uri="{EFAFB233-063F-42B5-8137-9DF3F51BA10A}">
      <p15:sldGuideLst xmlns:p15="http://schemas.microsoft.com/office/powerpoint/2012/main">
        <p15:guide id="1" orient="horz" pos="917" userDrawn="1">
          <p15:clr>
            <a:srgbClr val="5ACBF0"/>
          </p15:clr>
        </p15:guide>
        <p15:guide id="2" pos="2880">
          <p15:clr>
            <a:srgbClr val="A4A3A4"/>
          </p15:clr>
        </p15:guide>
        <p15:guide id="3" orient="horz" pos="172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AEABAB"/>
    <a:srgbClr val="BCBBB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AC26EFF1-A239-452E-8245-DB8E6373D8EF}" v="3" dt="2024-11-01T08:43:25.104"/>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showGuides="1">
      <p:cViewPr varScale="1">
        <p:scale>
          <a:sx n="106" d="100"/>
          <a:sy n="106" d="100"/>
        </p:scale>
        <p:origin x="60" y="300"/>
      </p:cViewPr>
      <p:guideLst>
        <p:guide orient="horz" pos="917"/>
        <p:guide pos="2880"/>
        <p:guide orient="horz" pos="172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 Type="http://schemas.openxmlformats.org/officeDocument/2006/relationships/customXml" Target="../customXml/item1.xml"/><Relationship Id="rId2" Type="http://schemas.openxmlformats.org/officeDocument/2006/relationships/customXml" Target="../customXml/item2.xml"/><Relationship Id="rId3" Type="http://schemas.openxmlformats.org/officeDocument/2006/relationships/customXml" Target="../customXml/item3.xml"/><Relationship Id="rId4" Type="http://schemas.openxmlformats.org/officeDocument/2006/relationships/slideMaster" Target="slideMasters/slideMaster1.xml"/><Relationship Id="rId5" Type="http://schemas.openxmlformats.org/officeDocument/2006/relationships/slide" Target="slides/slide1.xml"/><Relationship Id="rId6" Type="http://schemas.openxmlformats.org/officeDocument/2006/relationships/slide" Target="slides/slide2.xml"/><Relationship Id="rId7" Type="http://schemas.openxmlformats.org/officeDocument/2006/relationships/slide" Target="slides/slide3.xml"/><Relationship Id="rId8" Type="http://schemas.openxmlformats.org/officeDocument/2006/relationships/slide" Target="slides/slide4.xml"/><Relationship Id="rId9" Type="http://schemas.openxmlformats.org/officeDocument/2006/relationships/slide" Target="slides/slide5.xml"/><Relationship Id="rId10" Type="http://schemas.openxmlformats.org/officeDocument/2006/relationships/slide" Target="slides/slide6.xml"/><Relationship Id="rId11" Type="http://schemas.openxmlformats.org/officeDocument/2006/relationships/slide" Target="slides/slide7.xml"/><Relationship Id="rId12" Type="http://schemas.openxmlformats.org/officeDocument/2006/relationships/slide" Target="slides/slide8.xml"/><Relationship Id="rId13" Type="http://schemas.openxmlformats.org/officeDocument/2006/relationships/slide" Target="slides/slide9.xml"/><Relationship Id="rId14" Type="http://schemas.openxmlformats.org/officeDocument/2006/relationships/slide" Target="slides/slide10.xml"/><Relationship Id="rId15" Type="http://schemas.openxmlformats.org/officeDocument/2006/relationships/slide" Target="slides/slide11.xml"/><Relationship Id="rId16" Type="http://schemas.openxmlformats.org/officeDocument/2006/relationships/slide" Target="slides/slide12.xml"/><Relationship Id="rId17" Type="http://schemas.openxmlformats.org/officeDocument/2006/relationships/slide" Target="slides/slide13.xml"/><Relationship Id="rId18" Type="http://schemas.openxmlformats.org/officeDocument/2006/relationships/slide" Target="slides/slide14.xml"/><Relationship Id="rId19" Type="http://schemas.openxmlformats.org/officeDocument/2006/relationships/slide" Target="slides/slide15.xml"/><Relationship Id="rId20" Type="http://schemas.openxmlformats.org/officeDocument/2006/relationships/slide" Target="slides/slide16.xml"/><Relationship Id="rId21" Type="http://schemas.openxmlformats.org/officeDocument/2006/relationships/slide" Target="slides/slide17.xml"/><Relationship Id="rId22" Type="http://schemas.openxmlformats.org/officeDocument/2006/relationships/slide" Target="slides/slide18.xml"/><Relationship Id="rId23" Type="http://schemas.openxmlformats.org/officeDocument/2006/relationships/slide" Target="slides/slide19.xml"/><Relationship Id="rId24" Type="http://schemas.openxmlformats.org/officeDocument/2006/relationships/slide" Target="slides/slide20.xml"/><Relationship Id="rId25" Type="http://schemas.openxmlformats.org/officeDocument/2006/relationships/slide" Target="slides/slide21.xml"/><Relationship Id="rId26" Type="http://schemas.openxmlformats.org/officeDocument/2006/relationships/slide" Target="slides/slide22.xml"/><Relationship Id="rId27" Type="http://schemas.openxmlformats.org/officeDocument/2006/relationships/slide" Target="slides/slide23.xml"/><Relationship Id="rId28" Type="http://schemas.openxmlformats.org/officeDocument/2006/relationships/slide" Target="slides/slide24.xml"/><Relationship Id="rId29" Type="http://schemas.openxmlformats.org/officeDocument/2006/relationships/slide" Target="slides/slide25.xml"/><Relationship Id="rId30" Type="http://schemas.openxmlformats.org/officeDocument/2006/relationships/slide" Target="slides/slide26.xml"/><Relationship Id="rId31" Type="http://schemas.openxmlformats.org/officeDocument/2006/relationships/slide" Target="slides/slide27.xml"/><Relationship Id="rId32" Type="http://schemas.openxmlformats.org/officeDocument/2006/relationships/slide" Target="slides/slide28.xml"/><Relationship Id="rId33" Type="http://schemas.openxmlformats.org/officeDocument/2006/relationships/slide" Target="slides/slide29.xml"/><Relationship Id="rId34" Type="http://schemas.openxmlformats.org/officeDocument/2006/relationships/slide" Target="slides/slide30.xml"/><Relationship Id="rId35" Type="http://schemas.openxmlformats.org/officeDocument/2006/relationships/slide" Target="slides/slide31.xml"/><Relationship Id="rId36" Type="http://schemas.openxmlformats.org/officeDocument/2006/relationships/slide" Target="slides/slide32.xml"/><Relationship Id="rId37" Type="http://schemas.openxmlformats.org/officeDocument/2006/relationships/slide" Target="slides/slide33.xml"/><Relationship Id="rId38" Type="http://schemas.openxmlformats.org/officeDocument/2006/relationships/slide" Target="slides/slide34.xml"/><Relationship Id="rId39" Type="http://schemas.openxmlformats.org/officeDocument/2006/relationships/slide" Target="slides/slide35.xml"/><Relationship Id="rId40" Type="http://schemas.openxmlformats.org/officeDocument/2006/relationships/slide" Target="slides/slide36.xml"/><Relationship Id="rId41" Type="http://schemas.openxmlformats.org/officeDocument/2006/relationships/slide" Target="slides/slide37.xml"/><Relationship Id="rId42" Type="http://schemas.openxmlformats.org/officeDocument/2006/relationships/slide" Target="slides/slide38.xml"/><Relationship Id="rId43" Type="http://schemas.openxmlformats.org/officeDocument/2006/relationships/slide" Target="slides/slide39.xml"/><Relationship Id="rId44" Type="http://schemas.openxmlformats.org/officeDocument/2006/relationships/slide" Target="slides/slide40.xml"/><Relationship Id="rId45" Type="http://schemas.openxmlformats.org/officeDocument/2006/relationships/slide" Target="slides/slide41.xml"/><Relationship Id="rId46" Type="http://schemas.openxmlformats.org/officeDocument/2006/relationships/slide" Target="slides/slide42.xml"/><Relationship Id="rId47" Type="http://schemas.openxmlformats.org/officeDocument/2006/relationships/slide" Target="slides/slide43.xml"/><Relationship Id="rId48" Type="http://schemas.openxmlformats.org/officeDocument/2006/relationships/slide" Target="slides/slide44.xml"/><Relationship Id="rId49" Type="http://schemas.openxmlformats.org/officeDocument/2006/relationships/slide" Target="slides/slide45.xml"/><Relationship Id="rId50" Type="http://schemas.openxmlformats.org/officeDocument/2006/relationships/slide" Target="slides/slide46.xml"/><Relationship Id="rId51" Type="http://schemas.openxmlformats.org/officeDocument/2006/relationships/slide" Target="slides/slide47.xml"/><Relationship Id="rId52" Type="http://schemas.openxmlformats.org/officeDocument/2006/relationships/slide" Target="slides/slide48.xml"/><Relationship Id="rId53" Type="http://schemas.openxmlformats.org/officeDocument/2006/relationships/slide" Target="slides/slide49.xml"/><Relationship Id="rId54" Type="http://schemas.openxmlformats.org/officeDocument/2006/relationships/slide" Target="slides/slide50.xml"/><Relationship Id="rId55" Type="http://schemas.openxmlformats.org/officeDocument/2006/relationships/slide" Target="slides/slide51.xml"/><Relationship Id="rId56" Type="http://schemas.openxmlformats.org/officeDocument/2006/relationships/slide" Target="slides/slide52.xml"/><Relationship Id="rId57" Type="http://schemas.openxmlformats.org/officeDocument/2006/relationships/slide" Target="slides/slide53.xml"/><Relationship Id="rId58" Type="http://schemas.openxmlformats.org/officeDocument/2006/relationships/slide" Target="slides/slide54.xml"/><Relationship Id="rId59" Type="http://schemas.openxmlformats.org/officeDocument/2006/relationships/slide" Target="slides/slide55.xml"/><Relationship Id="rId60" Type="http://schemas.openxmlformats.org/officeDocument/2006/relationships/slide" Target="slides/slide56.xml"/><Relationship Id="rId61" Type="http://schemas.openxmlformats.org/officeDocument/2006/relationships/slide" Target="slides/slide57.xml"/><Relationship Id="rId62" Type="http://schemas.openxmlformats.org/officeDocument/2006/relationships/slide" Target="slides/slide58.xml"/><Relationship Id="rId63" Type="http://schemas.openxmlformats.org/officeDocument/2006/relationships/slide" Target="slides/slide59.xml"/><Relationship Id="rId64" Type="http://schemas.openxmlformats.org/officeDocument/2006/relationships/slide" Target="slides/slide60.xml"/><Relationship Id="rId65" Type="http://schemas.openxmlformats.org/officeDocument/2006/relationships/slide" Target="slides/slide61.xml"/><Relationship Id="rId66" Type="http://schemas.openxmlformats.org/officeDocument/2006/relationships/slide" Target="slides/slide62.xml"/><Relationship Id="rId67" Type="http://schemas.openxmlformats.org/officeDocument/2006/relationships/slide" Target="slides/slide63.xml"/><Relationship Id="rId68" Type="http://schemas.openxmlformats.org/officeDocument/2006/relationships/slide" Target="slides/slide64.xml"/><Relationship Id="rId69" Type="http://schemas.openxmlformats.org/officeDocument/2006/relationships/slide" Target="slides/slide65.xml"/><Relationship Id="rId70" Type="http://schemas.openxmlformats.org/officeDocument/2006/relationships/slide" Target="slides/slide66.xml"/><Relationship Id="rId71" Type="http://schemas.openxmlformats.org/officeDocument/2006/relationships/slide" Target="slides/slide67.xml"/><Relationship Id="rId72" Type="http://schemas.openxmlformats.org/officeDocument/2006/relationships/slide" Target="slides/slide68.xml"/><Relationship Id="rId73" Type="http://schemas.openxmlformats.org/officeDocument/2006/relationships/slide" Target="slides/slide69.xml"/><Relationship Id="rId74" Type="http://schemas.openxmlformats.org/officeDocument/2006/relationships/slide" Target="slides/slide70.xml"/><Relationship Id="rId75" Type="http://schemas.openxmlformats.org/officeDocument/2006/relationships/slide" Target="slides/slide71.xml"/><Relationship Id="rId76" Type="http://schemas.openxmlformats.org/officeDocument/2006/relationships/slide" Target="slides/slide72.xml"/><Relationship Id="rId77" Type="http://schemas.openxmlformats.org/officeDocument/2006/relationships/slide" Target="slides/slide73.xml"/><Relationship Id="rId78" Type="http://schemas.openxmlformats.org/officeDocument/2006/relationships/slide" Target="slides/slide74.xml"/><Relationship Id="rId79" Type="http://schemas.openxmlformats.org/officeDocument/2006/relationships/slide" Target="slides/slide75.xml"/><Relationship Id="rId80" Type="http://schemas.openxmlformats.org/officeDocument/2006/relationships/slide" Target="slides/slide76.xml"/><Relationship Id="rId81" Type="http://schemas.openxmlformats.org/officeDocument/2006/relationships/slide" Target="slides/slide77.xml"/><Relationship Id="rId82" Type="http://schemas.openxmlformats.org/officeDocument/2006/relationships/slide" Target="slides/slide78.xml"/><Relationship Id="rId83" Type="http://schemas.openxmlformats.org/officeDocument/2006/relationships/slide" Target="slides/slide79.xml"/><Relationship Id="rId84" Type="http://schemas.openxmlformats.org/officeDocument/2006/relationships/slide" Target="slides/slide80.xml"/><Relationship Id="rId85" Type="http://schemas.openxmlformats.org/officeDocument/2006/relationships/slide" Target="slides/slide81.xml"/><Relationship Id="rId86" Type="http://schemas.openxmlformats.org/officeDocument/2006/relationships/slide" Target="slides/slide82.xml"/><Relationship Id="rId87" Type="http://schemas.openxmlformats.org/officeDocument/2006/relationships/slide" Target="slides/slide83.xml"/><Relationship Id="rId88" Type="http://schemas.openxmlformats.org/officeDocument/2006/relationships/slide" Target="slides/slide84.xml"/><Relationship Id="rId89" Type="http://schemas.openxmlformats.org/officeDocument/2006/relationships/slide" Target="slides/slide85.xml"/><Relationship Id="rId90" Type="http://schemas.openxmlformats.org/officeDocument/2006/relationships/slide" Target="slides/slide86.xml"/><Relationship Id="rId91" Type="http://schemas.openxmlformats.org/officeDocument/2006/relationships/slide" Target="slides/slide87.xml"/><Relationship Id="rId92" Type="http://schemas.openxmlformats.org/officeDocument/2006/relationships/slide" Target="slides/slide88.xml"/><Relationship Id="rId93" Type="http://schemas.openxmlformats.org/officeDocument/2006/relationships/slide" Target="slides/slide89.xml"/><Relationship Id="rId94" Type="http://schemas.openxmlformats.org/officeDocument/2006/relationships/slide" Target="slides/slide90.xml"/><Relationship Id="rId95" Type="http://schemas.openxmlformats.org/officeDocument/2006/relationships/slide" Target="slides/slide91.xml"/><Relationship Id="rId96" Type="http://schemas.openxmlformats.org/officeDocument/2006/relationships/slide" Target="slides/slide92.xml"/><Relationship Id="rId97" Type="http://schemas.openxmlformats.org/officeDocument/2006/relationships/slide" Target="slides/slide93.xml"/><Relationship Id="rId98" Type="http://schemas.openxmlformats.org/officeDocument/2006/relationships/slide" Target="slides/slide94.xml"/><Relationship Id="rId99" Type="http://schemas.openxmlformats.org/officeDocument/2006/relationships/slide" Target="slides/slide95.xml"/><Relationship Id="rId100" Type="http://schemas.openxmlformats.org/officeDocument/2006/relationships/slide" Target="slides/slide96.xml"/><Relationship Id="rId101" Type="http://schemas.openxmlformats.org/officeDocument/2006/relationships/slide" Target="slides/slide97.xml"/><Relationship Id="rId102" Type="http://schemas.openxmlformats.org/officeDocument/2006/relationships/slide" Target="slides/slide98.xml"/><Relationship Id="rId103" Type="http://schemas.openxmlformats.org/officeDocument/2006/relationships/slide" Target="slides/slide99.xml"/><Relationship Id="rId104" Type="http://schemas.openxmlformats.org/officeDocument/2006/relationships/slide" Target="slides/slide100.xml"/><Relationship Id="rId105" Type="http://schemas.openxmlformats.org/officeDocument/2006/relationships/slide" Target="slides/slide101.xml"/><Relationship Id="rId106" Type="http://schemas.openxmlformats.org/officeDocument/2006/relationships/slide" Target="slides/slide102.xml"/><Relationship Id="rId107" Type="http://schemas.openxmlformats.org/officeDocument/2006/relationships/slide" Target="slides/slide103.xml"/><Relationship Id="rId108" Type="http://schemas.openxmlformats.org/officeDocument/2006/relationships/slide" Target="slides/slide104.xml"/><Relationship Id="rId109" Type="http://schemas.openxmlformats.org/officeDocument/2006/relationships/slide" Target="slides/slide105.xml"/><Relationship Id="rId110" Type="http://schemas.openxmlformats.org/officeDocument/2006/relationships/slide" Target="slides/slide106.xml"/><Relationship Id="rId111" Type="http://schemas.openxmlformats.org/officeDocument/2006/relationships/slide" Target="slides/slide107.xml"/><Relationship Id="rId112" Type="http://schemas.openxmlformats.org/officeDocument/2006/relationships/slide" Target="slides/slide108.xml"/><Relationship Id="rId113" Type="http://schemas.openxmlformats.org/officeDocument/2006/relationships/slide" Target="slides/slide109.xml"/><Relationship Id="rId114" Type="http://schemas.openxmlformats.org/officeDocument/2006/relationships/slide" Target="slides/slide110.xml"/><Relationship Id="rId115" Type="http://schemas.openxmlformats.org/officeDocument/2006/relationships/slide" Target="slides/slide111.xml"/><Relationship Id="rId116" Type="http://schemas.openxmlformats.org/officeDocument/2006/relationships/slide" Target="slides/slide112.xml"/><Relationship Id="rId117" Type="http://schemas.openxmlformats.org/officeDocument/2006/relationships/slide" Target="slides/slide113.xml"/><Relationship Id="rId118" Type="http://schemas.openxmlformats.org/officeDocument/2006/relationships/slide" Target="slides/slide114.xml"/><Relationship Id="rId119" Type="http://schemas.openxmlformats.org/officeDocument/2006/relationships/slide" Target="slides/slide115.xml"/><Relationship Id="rId120" Type="http://schemas.openxmlformats.org/officeDocument/2006/relationships/slide" Target="slides/slide116.xml"/><Relationship Id="rId121" Type="http://schemas.openxmlformats.org/officeDocument/2006/relationships/slide" Target="slides/slide117.xml"/><Relationship Id="rId122" Type="http://schemas.openxmlformats.org/officeDocument/2006/relationships/slide" Target="slides/slide118.xml"/><Relationship Id="rId123" Type="http://schemas.openxmlformats.org/officeDocument/2006/relationships/slide" Target="slides/slide119.xml"/><Relationship Id="rId124" Type="http://schemas.openxmlformats.org/officeDocument/2006/relationships/slide" Target="slides/slide120.xml"/><Relationship Id="rId125" Type="http://schemas.openxmlformats.org/officeDocument/2006/relationships/slide" Target="slides/slide121.xml"/><Relationship Id="rId126" Type="http://schemas.openxmlformats.org/officeDocument/2006/relationships/slide" Target="slides/slide122.xml"/><Relationship Id="rId127" Type="http://schemas.openxmlformats.org/officeDocument/2006/relationships/slide" Target="slides/slide123.xml"/><Relationship Id="rId128" Type="http://schemas.openxmlformats.org/officeDocument/2006/relationships/slide" Target="slides/slide124.xml"/><Relationship Id="rId129" Type="http://schemas.openxmlformats.org/officeDocument/2006/relationships/slide" Target="slides/slide125.xml"/><Relationship Id="rId130" Type="http://schemas.openxmlformats.org/officeDocument/2006/relationships/slide" Target="slides/slide126.xml"/><Relationship Id="rId131" Type="http://schemas.openxmlformats.org/officeDocument/2006/relationships/slide" Target="slides/slide127.xml"/><Relationship Id="rId132" Type="http://schemas.openxmlformats.org/officeDocument/2006/relationships/slide" Target="slides/slide128.xml"/><Relationship Id="rId133" Type="http://schemas.openxmlformats.org/officeDocument/2006/relationships/slide" Target="slides/slide129.xml"/><Relationship Id="rId134" Type="http://schemas.openxmlformats.org/officeDocument/2006/relationships/slide" Target="slides/slide130.xml"/><Relationship Id="rId135" Type="http://schemas.openxmlformats.org/officeDocument/2006/relationships/slide" Target="slides/slide131.xml"/><Relationship Id="rId136" Type="http://schemas.openxmlformats.org/officeDocument/2006/relationships/slide" Target="slides/slide132.xml"/><Relationship Id="rId137" Type="http://schemas.openxmlformats.org/officeDocument/2006/relationships/slide" Target="slides/slide133.xml"/><Relationship Id="rId138" Type="http://schemas.openxmlformats.org/officeDocument/2006/relationships/slide" Target="slides/slide134.xml"/><Relationship Id="rId139" Type="http://schemas.openxmlformats.org/officeDocument/2006/relationships/slide" Target="slides/slide135.xml"/><Relationship Id="rId140" Type="http://schemas.openxmlformats.org/officeDocument/2006/relationships/slide" Target="slides/slide136.xml"/><Relationship Id="rId141" Type="http://schemas.openxmlformats.org/officeDocument/2006/relationships/slide" Target="slides/slide137.xml"/><Relationship Id="rId142" Type="http://schemas.openxmlformats.org/officeDocument/2006/relationships/slide" Target="slides/slide138.xml"/><Relationship Id="rId143" Type="http://schemas.openxmlformats.org/officeDocument/2006/relationships/slide" Target="slides/slide139.xml"/><Relationship Id="rId144" Type="http://schemas.openxmlformats.org/officeDocument/2006/relationships/slide" Target="slides/slide140.xml"/><Relationship Id="rId145" Type="http://schemas.openxmlformats.org/officeDocument/2006/relationships/slide" Target="slides/slide141.xml"/><Relationship Id="rId146" Type="http://schemas.openxmlformats.org/officeDocument/2006/relationships/slide" Target="slides/slide142.xml"/><Relationship Id="rId147" Type="http://schemas.openxmlformats.org/officeDocument/2006/relationships/slide" Target="slides/slide143.xml"/><Relationship Id="rId148" Type="http://schemas.openxmlformats.org/officeDocument/2006/relationships/slide" Target="slides/slide144.xml"/><Relationship Id="rId149" Type="http://schemas.openxmlformats.org/officeDocument/2006/relationships/slide" Target="slides/slide145.xml"/><Relationship Id="rId150" Type="http://schemas.openxmlformats.org/officeDocument/2006/relationships/slide" Target="slides/slide146.xml"/><Relationship Id="rId151" Type="http://schemas.openxmlformats.org/officeDocument/2006/relationships/slide" Target="slides/slide147.xml"/><Relationship Id="rId152" Type="http://schemas.openxmlformats.org/officeDocument/2006/relationships/slide" Target="slides/slide148.xml"/><Relationship Id="rId153" Type="http://schemas.openxmlformats.org/officeDocument/2006/relationships/slide" Target="slides/slide149.xml"/><Relationship Id="rId154" Type="http://schemas.openxmlformats.org/officeDocument/2006/relationships/slide" Target="slides/slide150.xml"/><Relationship Id="rId155" Type="http://schemas.openxmlformats.org/officeDocument/2006/relationships/slide" Target="slides/slide151.xml"/><Relationship Id="rId156" Type="http://schemas.openxmlformats.org/officeDocument/2006/relationships/slide" Target="slides/slide152.xml"/><Relationship Id="rId157" Type="http://schemas.openxmlformats.org/officeDocument/2006/relationships/slide" Target="slides/slide153.xml"/><Relationship Id="rId158" Type="http://schemas.openxmlformats.org/officeDocument/2006/relationships/slide" Target="slides/slide154.xml"/><Relationship Id="rId159" Type="http://schemas.openxmlformats.org/officeDocument/2006/relationships/slide" Target="slides/slide155.xml"/><Relationship Id="rId160" Type="http://schemas.openxmlformats.org/officeDocument/2006/relationships/slide" Target="slides/slide156.xml"/><Relationship Id="rId161" Type="http://schemas.openxmlformats.org/officeDocument/2006/relationships/slide" Target="slides/slide157.xml"/><Relationship Id="rId162" Type="http://schemas.openxmlformats.org/officeDocument/2006/relationships/slide" Target="slides/slide158.xml"/><Relationship Id="rId163" Type="http://schemas.openxmlformats.org/officeDocument/2006/relationships/slide" Target="slides/slide159.xml"/><Relationship Id="rId164" Type="http://schemas.openxmlformats.org/officeDocument/2006/relationships/slide" Target="slides/slide160.xml"/><Relationship Id="rId165" Type="http://schemas.openxmlformats.org/officeDocument/2006/relationships/slide" Target="slides/slide161.xml"/><Relationship Id="rId166" Type="http://schemas.openxmlformats.org/officeDocument/2006/relationships/slide" Target="slides/slide162.xml"/><Relationship Id="rId167" Type="http://schemas.openxmlformats.org/officeDocument/2006/relationships/slide" Target="slides/slide163.xml"/><Relationship Id="rId168" Type="http://schemas.openxmlformats.org/officeDocument/2006/relationships/slide" Target="slides/slide164.xml"/><Relationship Id="rId169" Type="http://schemas.openxmlformats.org/officeDocument/2006/relationships/slide" Target="slides/slide165.xml"/><Relationship Id="rId170" Type="http://schemas.openxmlformats.org/officeDocument/2006/relationships/slide" Target="slides/slide166.xml"/><Relationship Id="rId171" Type="http://schemas.openxmlformats.org/officeDocument/2006/relationships/slide" Target="slides/slide167.xml"/><Relationship Id="rId172" Type="http://schemas.openxmlformats.org/officeDocument/2006/relationships/slide" Target="slides/slide168.xml"/><Relationship Id="rId173" Type="http://schemas.openxmlformats.org/officeDocument/2006/relationships/slide" Target="slides/slide169.xml"/><Relationship Id="rId174" Type="http://schemas.openxmlformats.org/officeDocument/2006/relationships/slide" Target="slides/slide170.xml"/><Relationship Id="rId175" Type="http://schemas.openxmlformats.org/officeDocument/2006/relationships/slide" Target="slides/slide171.xml"/><Relationship Id="rId176" Type="http://schemas.openxmlformats.org/officeDocument/2006/relationships/slide" Target="slides/slide172.xml"/><Relationship Id="rId177" Type="http://schemas.openxmlformats.org/officeDocument/2006/relationships/slide" Target="slides/slide173.xml"/><Relationship Id="rId178" Type="http://schemas.openxmlformats.org/officeDocument/2006/relationships/slide" Target="slides/slide174.xml"/><Relationship Id="rId179" Type="http://schemas.openxmlformats.org/officeDocument/2006/relationships/slide" Target="slides/slide175.xml"/><Relationship Id="rId180" Type="http://schemas.openxmlformats.org/officeDocument/2006/relationships/slide" Target="slides/slide176.xml"/><Relationship Id="rId181" Type="http://schemas.openxmlformats.org/officeDocument/2006/relationships/slide" Target="slides/slide177.xml"/><Relationship Id="rId182" Type="http://schemas.openxmlformats.org/officeDocument/2006/relationships/slide" Target="slides/slide178.xml"/><Relationship Id="rId183" Type="http://schemas.openxmlformats.org/officeDocument/2006/relationships/slide" Target="slides/slide179.xml"/><Relationship Id="rId184" Type="http://schemas.openxmlformats.org/officeDocument/2006/relationships/slide" Target="slides/slide180.xml"/><Relationship Id="rId185" Type="http://schemas.openxmlformats.org/officeDocument/2006/relationships/slide" Target="slides/slide181.xml"/><Relationship Id="rId186" Type="http://schemas.openxmlformats.org/officeDocument/2006/relationships/slide" Target="slides/slide182.xml"/><Relationship Id="rId187" Type="http://schemas.openxmlformats.org/officeDocument/2006/relationships/slide" Target="slides/slide183.xml"/><Relationship Id="rId188" Type="http://schemas.openxmlformats.org/officeDocument/2006/relationships/slide" Target="slides/slide184.xml"/><Relationship Id="rId189" Type="http://schemas.openxmlformats.org/officeDocument/2006/relationships/slide" Target="slides/slide185.xml"/><Relationship Id="rId190" Type="http://schemas.openxmlformats.org/officeDocument/2006/relationships/slide" Target="slides/slide186.xml"/><Relationship Id="rId191" Type="http://schemas.openxmlformats.org/officeDocument/2006/relationships/slide" Target="slides/slide187.xml"/><Relationship Id="rId192" Type="http://schemas.openxmlformats.org/officeDocument/2006/relationships/slide" Target="slides/slide188.xml"/><Relationship Id="rId193" Type="http://schemas.openxmlformats.org/officeDocument/2006/relationships/slide" Target="slides/slide189.xml"/><Relationship Id="rId194" Type="http://schemas.openxmlformats.org/officeDocument/2006/relationships/slide" Target="slides/slide190.xml"/><Relationship Id="rId195" Type="http://schemas.openxmlformats.org/officeDocument/2006/relationships/slide" Target="slides/slide191.xml"/><Relationship Id="rId196" Type="http://schemas.openxmlformats.org/officeDocument/2006/relationships/slide" Target="slides/slide192.xml"/><Relationship Id="rId197" Type="http://schemas.openxmlformats.org/officeDocument/2006/relationships/slide" Target="slides/slide193.xml"/><Relationship Id="rId198" Type="http://schemas.openxmlformats.org/officeDocument/2006/relationships/slide" Target="slides/slide194.xml"/><Relationship Id="rId199" Type="http://schemas.openxmlformats.org/officeDocument/2006/relationships/slide" Target="slides/slide195.xml"/><Relationship Id="rId200" Type="http://schemas.openxmlformats.org/officeDocument/2006/relationships/slide" Target="slides/slide196.xml"/><Relationship Id="rId201" Type="http://schemas.openxmlformats.org/officeDocument/2006/relationships/slide" Target="slides/slide197.xml"/><Relationship Id="rId202" Type="http://schemas.openxmlformats.org/officeDocument/2006/relationships/slide" Target="slides/slide198.xml"/><Relationship Id="rId203" Type="http://schemas.openxmlformats.org/officeDocument/2006/relationships/slide" Target="slides/slide199.xml"/><Relationship Id="rId204" Type="http://schemas.openxmlformats.org/officeDocument/2006/relationships/slide" Target="slides/slide200.xml"/><Relationship Id="rId205" Type="http://schemas.openxmlformats.org/officeDocument/2006/relationships/slide" Target="slides/slide201.xml"/><Relationship Id="rId206" Type="http://schemas.openxmlformats.org/officeDocument/2006/relationships/slide" Target="slides/slide202.xml"/><Relationship Id="rId207" Type="http://schemas.openxmlformats.org/officeDocument/2006/relationships/slide" Target="slides/slide203.xml"/><Relationship Id="rId208" Type="http://schemas.openxmlformats.org/officeDocument/2006/relationships/slide" Target="slides/slide204.xml"/><Relationship Id="rId209" Type="http://schemas.openxmlformats.org/officeDocument/2006/relationships/slide" Target="slides/slide205.xml"/><Relationship Id="rId210" Type="http://schemas.openxmlformats.org/officeDocument/2006/relationships/slide" Target="slides/slide206.xml"/><Relationship Id="rId211" Type="http://schemas.openxmlformats.org/officeDocument/2006/relationships/slide" Target="slides/slide207.xml"/><Relationship Id="rId212" Type="http://schemas.openxmlformats.org/officeDocument/2006/relationships/slide" Target="slides/slide208.xml"/><Relationship Id="rId213" Type="http://schemas.openxmlformats.org/officeDocument/2006/relationships/slide" Target="slides/slide209.xml"/><Relationship Id="rId214" Type="http://schemas.openxmlformats.org/officeDocument/2006/relationships/slide" Target="slides/slide210.xml"/><Relationship Id="rId215" Type="http://schemas.openxmlformats.org/officeDocument/2006/relationships/slide" Target="slides/slide211.xml"/><Relationship Id="rId216" Type="http://schemas.openxmlformats.org/officeDocument/2006/relationships/slide" Target="slides/slide212.xml"/><Relationship Id="rId217" Type="http://schemas.openxmlformats.org/officeDocument/2006/relationships/slide" Target="slides/slide213.xml"/><Relationship Id="rId218" Type="http://schemas.openxmlformats.org/officeDocument/2006/relationships/slide" Target="slides/slide214.xml"/><Relationship Id="rId219" Type="http://schemas.openxmlformats.org/officeDocument/2006/relationships/slide" Target="slides/slide215.xml"/><Relationship Id="rId220" Type="http://schemas.openxmlformats.org/officeDocument/2006/relationships/slide" Target="slides/slide216.xml"/><Relationship Id="rId221" Type="http://schemas.openxmlformats.org/officeDocument/2006/relationships/slide" Target="slides/slide217.xml"/><Relationship Id="rId222" Type="http://schemas.openxmlformats.org/officeDocument/2006/relationships/slide" Target="slides/slide218.xml"/><Relationship Id="rId223" Type="http://schemas.openxmlformats.org/officeDocument/2006/relationships/slide" Target="slides/slide219.xml"/><Relationship Id="rId224" Type="http://schemas.openxmlformats.org/officeDocument/2006/relationships/slide" Target="slides/slide220.xml"/><Relationship Id="rId225" Type="http://schemas.openxmlformats.org/officeDocument/2006/relationships/slide" Target="slides/slide221.xml"/><Relationship Id="rId226" Type="http://schemas.openxmlformats.org/officeDocument/2006/relationships/slide" Target="slides/slide222.xml"/><Relationship Id="rId227" Type="http://schemas.openxmlformats.org/officeDocument/2006/relationships/slide" Target="slides/slide223.xml"/><Relationship Id="rId228" Type="http://schemas.openxmlformats.org/officeDocument/2006/relationships/slide" Target="slides/slide224.xml"/><Relationship Id="rId229" Type="http://schemas.openxmlformats.org/officeDocument/2006/relationships/slide" Target="slides/slide225.xml"/><Relationship Id="rId230" Type="http://schemas.openxmlformats.org/officeDocument/2006/relationships/slide" Target="slides/slide226.xml"/><Relationship Id="rId231" Type="http://schemas.openxmlformats.org/officeDocument/2006/relationships/slide" Target="slides/slide227.xml"/><Relationship Id="rId232" Type="http://schemas.openxmlformats.org/officeDocument/2006/relationships/slide" Target="slides/slide228.xml"/><Relationship Id="rId233" Type="http://schemas.openxmlformats.org/officeDocument/2006/relationships/slide" Target="slides/slide229.xml"/><Relationship Id="rId234" Type="http://schemas.openxmlformats.org/officeDocument/2006/relationships/slide" Target="slides/slide230.xml"/><Relationship Id="rId235" Type="http://schemas.openxmlformats.org/officeDocument/2006/relationships/slide" Target="slides/slide231.xml"/><Relationship Id="rId236" Type="http://schemas.openxmlformats.org/officeDocument/2006/relationships/slide" Target="slides/slide232.xml"/><Relationship Id="rId237" Type="http://schemas.openxmlformats.org/officeDocument/2006/relationships/slide" Target="slides/slide233.xml"/><Relationship Id="rId238" Type="http://schemas.openxmlformats.org/officeDocument/2006/relationships/slide" Target="slides/slide234.xml"/><Relationship Id="rId239" Type="http://schemas.openxmlformats.org/officeDocument/2006/relationships/slide" Target="slides/slide235.xml"/><Relationship Id="rId240" Type="http://schemas.openxmlformats.org/officeDocument/2006/relationships/slide" Target="slides/slide236.xml"/><Relationship Id="rId241" Type="http://schemas.openxmlformats.org/officeDocument/2006/relationships/slide" Target="slides/slide237.xml"/><Relationship Id="rId242" Type="http://schemas.openxmlformats.org/officeDocument/2006/relationships/slide" Target="slides/slide238.xml"/><Relationship Id="rId243" Type="http://schemas.openxmlformats.org/officeDocument/2006/relationships/slide" Target="slides/slide239.xml"/><Relationship Id="rId244" Type="http://schemas.openxmlformats.org/officeDocument/2006/relationships/slide" Target="slides/slide240.xml"/><Relationship Id="rId245" Type="http://schemas.openxmlformats.org/officeDocument/2006/relationships/slide" Target="slides/slide241.xml"/><Relationship Id="rId246" Type="http://schemas.openxmlformats.org/officeDocument/2006/relationships/slide" Target="slides/slide242.xml"/><Relationship Id="rId247" Type="http://schemas.openxmlformats.org/officeDocument/2006/relationships/slide" Target="slides/slide243.xml"/><Relationship Id="rId248" Type="http://schemas.openxmlformats.org/officeDocument/2006/relationships/slide" Target="slides/slide244.xml"/><Relationship Id="rId249" Type="http://schemas.openxmlformats.org/officeDocument/2006/relationships/slide" Target="slides/slide245.xml"/><Relationship Id="rId250" Type="http://schemas.openxmlformats.org/officeDocument/2006/relationships/slide" Target="slides/slide246.xml"/><Relationship Id="rId251" Type="http://schemas.openxmlformats.org/officeDocument/2006/relationships/slide" Target="slides/slide247.xml"/><Relationship Id="rId252" Type="http://schemas.openxmlformats.org/officeDocument/2006/relationships/slide" Target="slides/slide248.xml"/><Relationship Id="rId253" Type="http://schemas.openxmlformats.org/officeDocument/2006/relationships/slide" Target="slides/slide249.xml"/><Relationship Id="rId254" Type="http://schemas.openxmlformats.org/officeDocument/2006/relationships/slide" Target="slides/slide250.xml"/><Relationship Id="rId255" Type="http://schemas.openxmlformats.org/officeDocument/2006/relationships/slide" Target="slides/slide251.xml"/><Relationship Id="rId256" Type="http://schemas.openxmlformats.org/officeDocument/2006/relationships/slide" Target="slides/slide252.xml"/><Relationship Id="rId257" Type="http://schemas.openxmlformats.org/officeDocument/2006/relationships/slide" Target="slides/slide253.xml"/><Relationship Id="rId258" Type="http://schemas.openxmlformats.org/officeDocument/2006/relationships/slide" Target="slides/slide254.xml"/><Relationship Id="rId259" Type="http://schemas.openxmlformats.org/officeDocument/2006/relationships/slide" Target="slides/slide255.xml"/><Relationship Id="rId260" Type="http://schemas.openxmlformats.org/officeDocument/2006/relationships/slide" Target="slides/slide256.xml"/><Relationship Id="rId261" Type="http://schemas.openxmlformats.org/officeDocument/2006/relationships/slide" Target="slides/slide257.xml"/><Relationship Id="rId262" Type="http://schemas.openxmlformats.org/officeDocument/2006/relationships/slide" Target="slides/slide258.xml"/><Relationship Id="rId263" Type="http://schemas.openxmlformats.org/officeDocument/2006/relationships/slide" Target="slides/slide259.xml"/><Relationship Id="rId264" Type="http://schemas.openxmlformats.org/officeDocument/2006/relationships/slide" Target="slides/slide260.xml"/><Relationship Id="rId265" Type="http://schemas.openxmlformats.org/officeDocument/2006/relationships/slide" Target="slides/slide261.xml"/><Relationship Id="rId266" Type="http://schemas.openxmlformats.org/officeDocument/2006/relationships/slide" Target="slides/slide262.xml"/><Relationship Id="rId267" Type="http://schemas.openxmlformats.org/officeDocument/2006/relationships/slide" Target="slides/slide263.xml"/><Relationship Id="rId268" Type="http://schemas.openxmlformats.org/officeDocument/2006/relationships/slide" Target="slides/slide264.xml"/><Relationship Id="rId269" Type="http://schemas.openxmlformats.org/officeDocument/2006/relationships/slide" Target="slides/slide265.xml"/><Relationship Id="rId270" Type="http://schemas.openxmlformats.org/officeDocument/2006/relationships/slide" Target="slides/slide266.xml"/><Relationship Id="rId271" Type="http://schemas.openxmlformats.org/officeDocument/2006/relationships/slide" Target="slides/slide267.xml"/><Relationship Id="rId272" Type="http://schemas.openxmlformats.org/officeDocument/2006/relationships/slide" Target="slides/slide268.xml"/><Relationship Id="rId273" Type="http://schemas.openxmlformats.org/officeDocument/2006/relationships/slide" Target="slides/slide269.xml"/><Relationship Id="rId274" Type="http://schemas.openxmlformats.org/officeDocument/2006/relationships/slide" Target="slides/slide270.xml"/><Relationship Id="rId275" Type="http://schemas.openxmlformats.org/officeDocument/2006/relationships/slide" Target="slides/slide271.xml"/><Relationship Id="rId276" Type="http://schemas.openxmlformats.org/officeDocument/2006/relationships/slide" Target="slides/slide272.xml"/><Relationship Id="rId277" Type="http://schemas.openxmlformats.org/officeDocument/2006/relationships/slide" Target="slides/slide273.xml"/><Relationship Id="rId278" Type="http://schemas.openxmlformats.org/officeDocument/2006/relationships/slide" Target="slides/slide274.xml"/><Relationship Id="rId279" Type="http://schemas.openxmlformats.org/officeDocument/2006/relationships/slide" Target="slides/slide275.xml"/><Relationship Id="rId280" Type="http://schemas.openxmlformats.org/officeDocument/2006/relationships/slide" Target="slides/slide276.xml"/><Relationship Id="rId281" Type="http://schemas.openxmlformats.org/officeDocument/2006/relationships/slide" Target="slides/slide277.xml"/><Relationship Id="rId282" Type="http://schemas.openxmlformats.org/officeDocument/2006/relationships/slide" Target="slides/slide278.xml"/><Relationship Id="rId283" Type="http://schemas.openxmlformats.org/officeDocument/2006/relationships/slide" Target="slides/slide279.xml"/><Relationship Id="rId284" Type="http://schemas.openxmlformats.org/officeDocument/2006/relationships/slide" Target="slides/slide280.xml"/><Relationship Id="rId285" Type="http://schemas.openxmlformats.org/officeDocument/2006/relationships/slide" Target="slides/slide281.xml"/><Relationship Id="rId286" Type="http://schemas.openxmlformats.org/officeDocument/2006/relationships/slide" Target="slides/slide282.xml"/><Relationship Id="rId287" Type="http://schemas.openxmlformats.org/officeDocument/2006/relationships/slide" Target="slides/slide283.xml"/><Relationship Id="rId288" Type="http://schemas.openxmlformats.org/officeDocument/2006/relationships/slide" Target="slides/slide284.xml"/><Relationship Id="rId289" Type="http://schemas.openxmlformats.org/officeDocument/2006/relationships/slide" Target="slides/slide285.xml"/><Relationship Id="rId290" Type="http://schemas.openxmlformats.org/officeDocument/2006/relationships/slide" Target="slides/slide286.xml"/><Relationship Id="rId291" Type="http://schemas.openxmlformats.org/officeDocument/2006/relationships/slide" Target="slides/slide287.xml"/><Relationship Id="rId292" Type="http://schemas.openxmlformats.org/officeDocument/2006/relationships/slide" Target="slides/slide288.xml"/><Relationship Id="rId293" Type="http://schemas.openxmlformats.org/officeDocument/2006/relationships/slide" Target="slides/slide289.xml"/><Relationship Id="rId294" Type="http://schemas.openxmlformats.org/officeDocument/2006/relationships/slide" Target="slides/slide290.xml"/><Relationship Id="rId295" Type="http://schemas.openxmlformats.org/officeDocument/2006/relationships/slide" Target="slides/slide291.xml"/><Relationship Id="rId296" Type="http://schemas.openxmlformats.org/officeDocument/2006/relationships/slide" Target="slides/slide292.xml"/><Relationship Id="rId297" Type="http://schemas.openxmlformats.org/officeDocument/2006/relationships/slide" Target="slides/slide293.xml"/><Relationship Id="rId298" Type="http://schemas.openxmlformats.org/officeDocument/2006/relationships/slide" Target="slides/slide294.xml"/><Relationship Id="rId299" Type="http://schemas.openxmlformats.org/officeDocument/2006/relationships/slide" Target="slides/slide295.xml"/><Relationship Id="rId300" Type="http://schemas.openxmlformats.org/officeDocument/2006/relationships/slide" Target="slides/slide296.xml"/><Relationship Id="rId301" Type="http://schemas.openxmlformats.org/officeDocument/2006/relationships/slide" Target="slides/slide297.xml"/><Relationship Id="rId302" Type="http://schemas.openxmlformats.org/officeDocument/2006/relationships/slide" Target="slides/slide298.xml"/><Relationship Id="rId303" Type="http://schemas.openxmlformats.org/officeDocument/2006/relationships/slide" Target="slides/slide299.xml"/><Relationship Id="rId304" Type="http://schemas.openxmlformats.org/officeDocument/2006/relationships/slide" Target="slides/slide300.xml"/><Relationship Id="rId305" Type="http://schemas.openxmlformats.org/officeDocument/2006/relationships/slide" Target="slides/slide301.xml"/><Relationship Id="rId306" Type="http://schemas.openxmlformats.org/officeDocument/2006/relationships/slide" Target="slides/slide302.xml"/><Relationship Id="rId307" Type="http://schemas.openxmlformats.org/officeDocument/2006/relationships/slide" Target="slides/slide303.xml"/><Relationship Id="rId308" Type="http://schemas.openxmlformats.org/officeDocument/2006/relationships/slide" Target="slides/slide304.xml"/><Relationship Id="rId309" Type="http://schemas.openxmlformats.org/officeDocument/2006/relationships/slide" Target="slides/slide305.xml"/><Relationship Id="rId310" Type="http://schemas.openxmlformats.org/officeDocument/2006/relationships/slide" Target="slides/slide306.xml"/><Relationship Id="rId311" Type="http://schemas.openxmlformats.org/officeDocument/2006/relationships/slide" Target="slides/slide307.xml"/><Relationship Id="rId312" Type="http://schemas.openxmlformats.org/officeDocument/2006/relationships/slide" Target="slides/slide308.xml"/><Relationship Id="rId313" Type="http://schemas.openxmlformats.org/officeDocument/2006/relationships/slide" Target="slides/slide309.xml"/><Relationship Id="rId314" Type="http://schemas.openxmlformats.org/officeDocument/2006/relationships/slide" Target="slides/slide310.xml"/><Relationship Id="rId315" Type="http://schemas.openxmlformats.org/officeDocument/2006/relationships/slide" Target="slides/slide311.xml"/><Relationship Id="rId316" Type="http://schemas.openxmlformats.org/officeDocument/2006/relationships/slide" Target="slides/slide312.xml"/><Relationship Id="rId317" Type="http://schemas.openxmlformats.org/officeDocument/2006/relationships/slide" Target="slides/slide313.xml"/><Relationship Id="rId318" Type="http://schemas.openxmlformats.org/officeDocument/2006/relationships/slide" Target="slides/slide314.xml"/><Relationship Id="rId319" Type="http://schemas.openxmlformats.org/officeDocument/2006/relationships/slide" Target="slides/slide315.xml"/><Relationship Id="rId320" Type="http://schemas.openxmlformats.org/officeDocument/2006/relationships/slide" Target="slides/slide316.xml"/><Relationship Id="rId321" Type="http://schemas.openxmlformats.org/officeDocument/2006/relationships/slide" Target="slides/slide317.xml"/><Relationship Id="rId322" Type="http://schemas.openxmlformats.org/officeDocument/2006/relationships/slide" Target="slides/slide318.xml"/><Relationship Id="rId323" Type="http://schemas.openxmlformats.org/officeDocument/2006/relationships/slide" Target="slides/slide319.xml"/><Relationship Id="rId324" Type="http://schemas.openxmlformats.org/officeDocument/2006/relationships/slide" Target="slides/slide320.xml"/><Relationship Id="rId325" Type="http://schemas.openxmlformats.org/officeDocument/2006/relationships/slide" Target="slides/slide321.xml"/><Relationship Id="rId326" Type="http://schemas.openxmlformats.org/officeDocument/2006/relationships/slide" Target="slides/slide322.xml"/><Relationship Id="rId327" Type="http://schemas.openxmlformats.org/officeDocument/2006/relationships/slide" Target="slides/slide323.xml"/><Relationship Id="rId328" Type="http://schemas.openxmlformats.org/officeDocument/2006/relationships/slide" Target="slides/slide324.xml"/><Relationship Id="rId329" Type="http://schemas.openxmlformats.org/officeDocument/2006/relationships/slide" Target="slides/slide325.xml"/><Relationship Id="rId330" Type="http://schemas.openxmlformats.org/officeDocument/2006/relationships/slide" Target="slides/slide326.xml"/><Relationship Id="rId331" Type="http://schemas.openxmlformats.org/officeDocument/2006/relationships/slide" Target="slides/slide327.xml"/><Relationship Id="rId332" Type="http://schemas.openxmlformats.org/officeDocument/2006/relationships/slide" Target="slides/slide328.xml"/><Relationship Id="rId333" Type="http://schemas.openxmlformats.org/officeDocument/2006/relationships/slide" Target="slides/slide329.xml"/><Relationship Id="rId334" Type="http://schemas.openxmlformats.org/officeDocument/2006/relationships/slide" Target="slides/slide330.xml"/><Relationship Id="rId335" Type="http://schemas.openxmlformats.org/officeDocument/2006/relationships/slide" Target="slides/slide331.xml"/><Relationship Id="rId336" Type="http://schemas.openxmlformats.org/officeDocument/2006/relationships/slide" Target="slides/slide332.xml"/><Relationship Id="rId337" Type="http://schemas.openxmlformats.org/officeDocument/2006/relationships/slide" Target="slides/slide333.xml"/><Relationship Id="rId338" Type="http://schemas.openxmlformats.org/officeDocument/2006/relationships/slide" Target="slides/slide334.xml"/><Relationship Id="rId339" Type="http://schemas.openxmlformats.org/officeDocument/2006/relationships/slide" Target="slides/slide335.xml"/><Relationship Id="rId340" Type="http://schemas.openxmlformats.org/officeDocument/2006/relationships/slide" Target="slides/slide336.xml"/><Relationship Id="rId341" Type="http://schemas.openxmlformats.org/officeDocument/2006/relationships/slide" Target="slides/slide337.xml"/><Relationship Id="rId342" Type="http://schemas.openxmlformats.org/officeDocument/2006/relationships/slide" Target="slides/slide338.xml"/><Relationship Id="rId343" Type="http://schemas.openxmlformats.org/officeDocument/2006/relationships/slide" Target="slides/slide339.xml"/><Relationship Id="rId344" Type="http://schemas.openxmlformats.org/officeDocument/2006/relationships/slide" Target="slides/slide340.xml"/><Relationship Id="rId345" Type="http://schemas.openxmlformats.org/officeDocument/2006/relationships/slide" Target="slides/slide341.xml"/><Relationship Id="rId346" Type="http://schemas.openxmlformats.org/officeDocument/2006/relationships/slide" Target="slides/slide342.xml"/><Relationship Id="rId347" Type="http://schemas.openxmlformats.org/officeDocument/2006/relationships/slide" Target="slides/slide343.xml"/><Relationship Id="rId348" Type="http://schemas.openxmlformats.org/officeDocument/2006/relationships/slide" Target="slides/slide344.xml"/><Relationship Id="rId349" Type="http://schemas.openxmlformats.org/officeDocument/2006/relationships/slide" Target="slides/slide345.xml"/><Relationship Id="rId350" Type="http://schemas.openxmlformats.org/officeDocument/2006/relationships/slide" Target="slides/slide346.xml"/><Relationship Id="rId351" Type="http://schemas.openxmlformats.org/officeDocument/2006/relationships/slide" Target="slides/slide347.xml"/><Relationship Id="rId352" Type="http://schemas.openxmlformats.org/officeDocument/2006/relationships/slide" Target="slides/slide348.xml"/><Relationship Id="rId353" Type="http://schemas.openxmlformats.org/officeDocument/2006/relationships/slide" Target="slides/slide349.xml"/><Relationship Id="rId354" Type="http://schemas.openxmlformats.org/officeDocument/2006/relationships/slide" Target="slides/slide350.xml"/><Relationship Id="rId355" Type="http://schemas.openxmlformats.org/officeDocument/2006/relationships/slide" Target="slides/slide351.xml"/><Relationship Id="rId356" Type="http://schemas.openxmlformats.org/officeDocument/2006/relationships/slide" Target="slides/slide352.xml"/><Relationship Id="rId357" Type="http://schemas.openxmlformats.org/officeDocument/2006/relationships/slide" Target="slides/slide353.xml"/><Relationship Id="rId358" Type="http://schemas.openxmlformats.org/officeDocument/2006/relationships/slide" Target="slides/slide354.xml"/><Relationship Id="rId359" Type="http://schemas.openxmlformats.org/officeDocument/2006/relationships/slide" Target="slides/slide355.xml"/><Relationship Id="rId360" Type="http://schemas.openxmlformats.org/officeDocument/2006/relationships/slide" Target="slides/slide356.xml"/><Relationship Id="rId361" Type="http://schemas.openxmlformats.org/officeDocument/2006/relationships/slide" Target="slides/slide357.xml"/><Relationship Id="rId362" Type="http://schemas.openxmlformats.org/officeDocument/2006/relationships/slide" Target="slides/slide358.xml"/><Relationship Id="rId363" Type="http://schemas.openxmlformats.org/officeDocument/2006/relationships/slide" Target="slides/slide359.xml"/><Relationship Id="rId364" Type="http://schemas.openxmlformats.org/officeDocument/2006/relationships/slide" Target="slides/slide360.xml"/><Relationship Id="rId365" Type="http://schemas.openxmlformats.org/officeDocument/2006/relationships/slide" Target="slides/slide361.xml"/><Relationship Id="rId366" Type="http://schemas.openxmlformats.org/officeDocument/2006/relationships/slide" Target="slides/slide362.xml"/><Relationship Id="rId367" Type="http://schemas.openxmlformats.org/officeDocument/2006/relationships/slide" Target="slides/slide363.xml"/><Relationship Id="rId368" Type="http://schemas.openxmlformats.org/officeDocument/2006/relationships/slide" Target="slides/slide364.xml"/><Relationship Id="rId369" Type="http://schemas.openxmlformats.org/officeDocument/2006/relationships/slide" Target="slides/slide365.xml"/><Relationship Id="rId370" Type="http://schemas.openxmlformats.org/officeDocument/2006/relationships/slide" Target="slides/slide366.xml"/><Relationship Id="rId371" Type="http://schemas.openxmlformats.org/officeDocument/2006/relationships/slide" Target="slides/slide367.xml"/><Relationship Id="rId372" Type="http://schemas.openxmlformats.org/officeDocument/2006/relationships/slide" Target="slides/slide368.xml"/><Relationship Id="rId373" Type="http://schemas.openxmlformats.org/officeDocument/2006/relationships/slide" Target="slides/slide369.xml"/><Relationship Id="rId374" Type="http://schemas.openxmlformats.org/officeDocument/2006/relationships/slide" Target="slides/slide370.xml"/><Relationship Id="rId375" Type="http://schemas.openxmlformats.org/officeDocument/2006/relationships/slide" Target="slides/slide371.xml"/><Relationship Id="rId376" Type="http://schemas.openxmlformats.org/officeDocument/2006/relationships/slide" Target="slides/slide372.xml"/><Relationship Id="rId377" Type="http://schemas.openxmlformats.org/officeDocument/2006/relationships/slide" Target="slides/slide373.xml"/><Relationship Id="rId378" Type="http://schemas.openxmlformats.org/officeDocument/2006/relationships/slide" Target="slides/slide374.xml"/><Relationship Id="rId379" Type="http://schemas.openxmlformats.org/officeDocument/2006/relationships/slide" Target="slides/slide375.xml"/><Relationship Id="rId380" Type="http://schemas.openxmlformats.org/officeDocument/2006/relationships/slide" Target="slides/slide376.xml"/><Relationship Id="rId381" Type="http://schemas.openxmlformats.org/officeDocument/2006/relationships/slide" Target="slides/slide377.xml"/><Relationship Id="rId382" Type="http://schemas.openxmlformats.org/officeDocument/2006/relationships/slide" Target="slides/slide378.xml"/><Relationship Id="rId383" Type="http://schemas.openxmlformats.org/officeDocument/2006/relationships/slide" Target="slides/slide379.xml"/><Relationship Id="rId384" Type="http://schemas.openxmlformats.org/officeDocument/2006/relationships/slide" Target="slides/slide380.xml"/><Relationship Id="rId385" Type="http://schemas.openxmlformats.org/officeDocument/2006/relationships/slide" Target="slides/slide381.xml"/><Relationship Id="rId386" Type="http://schemas.openxmlformats.org/officeDocument/2006/relationships/slide" Target="slides/slide382.xml"/><Relationship Id="rId387" Type="http://schemas.openxmlformats.org/officeDocument/2006/relationships/slide" Target="slides/slide383.xml"/><Relationship Id="rId388" Type="http://schemas.openxmlformats.org/officeDocument/2006/relationships/slide" Target="slides/slide384.xml"/><Relationship Id="rId389" Type="http://schemas.openxmlformats.org/officeDocument/2006/relationships/slide" Target="slides/slide385.xml"/><Relationship Id="rId390" Type="http://schemas.openxmlformats.org/officeDocument/2006/relationships/slide" Target="slides/slide386.xml"/><Relationship Id="rId391" Type="http://schemas.openxmlformats.org/officeDocument/2006/relationships/slide" Target="slides/slide387.xml"/><Relationship Id="rId392" Type="http://schemas.openxmlformats.org/officeDocument/2006/relationships/slide" Target="slides/slide388.xml"/><Relationship Id="rId393" Type="http://schemas.openxmlformats.org/officeDocument/2006/relationships/slide" Target="slides/slide389.xml"/><Relationship Id="rId394" Type="http://schemas.openxmlformats.org/officeDocument/2006/relationships/slide" Target="slides/slide390.xml"/><Relationship Id="rId395" Type="http://schemas.openxmlformats.org/officeDocument/2006/relationships/slide" Target="slides/slide391.xml"/><Relationship Id="rId396" Type="http://schemas.openxmlformats.org/officeDocument/2006/relationships/slide" Target="slides/slide392.xml"/><Relationship Id="rId397" Type="http://schemas.openxmlformats.org/officeDocument/2006/relationships/slide" Target="slides/slide393.xml"/><Relationship Id="rId398" Type="http://schemas.openxmlformats.org/officeDocument/2006/relationships/slide" Target="slides/slide394.xml"/><Relationship Id="rId399" Type="http://schemas.openxmlformats.org/officeDocument/2006/relationships/slide" Target="slides/slide395.xml"/><Relationship Id="rId400" Type="http://schemas.openxmlformats.org/officeDocument/2006/relationships/slide" Target="slides/slide396.xml"/><Relationship Id="rId401" Type="http://schemas.openxmlformats.org/officeDocument/2006/relationships/slide" Target="slides/slide397.xml"/><Relationship Id="rId402" Type="http://schemas.openxmlformats.org/officeDocument/2006/relationships/slide" Target="slides/slide398.xml"/><Relationship Id="rId403" Type="http://schemas.openxmlformats.org/officeDocument/2006/relationships/slide" Target="slides/slide399.xml"/><Relationship Id="rId404" Type="http://schemas.openxmlformats.org/officeDocument/2006/relationships/slide" Target="slides/slide400.xml"/><Relationship Id="rId405" Type="http://schemas.openxmlformats.org/officeDocument/2006/relationships/slide" Target="slides/slide401.xml"/><Relationship Id="rId406" Type="http://schemas.openxmlformats.org/officeDocument/2006/relationships/slide" Target="slides/slide402.xml"/><Relationship Id="rId407" Type="http://schemas.openxmlformats.org/officeDocument/2006/relationships/slide" Target="slides/slide403.xml"/><Relationship Id="rId408" Type="http://schemas.openxmlformats.org/officeDocument/2006/relationships/slide" Target="slides/slide404.xml"/><Relationship Id="rId409" Type="http://schemas.openxmlformats.org/officeDocument/2006/relationships/slide" Target="slides/slide405.xml"/><Relationship Id="rId410" Type="http://schemas.openxmlformats.org/officeDocument/2006/relationships/slide" Target="slides/slide406.xml"/><Relationship Id="rId411" Type="http://schemas.openxmlformats.org/officeDocument/2006/relationships/slide" Target="slides/slide407.xml"/><Relationship Id="rId412" Type="http://schemas.openxmlformats.org/officeDocument/2006/relationships/slide" Target="slides/slide408.xml"/><Relationship Id="rId413" Type="http://schemas.openxmlformats.org/officeDocument/2006/relationships/slide" Target="slides/slide409.xml"/><Relationship Id="rId414" Type="http://schemas.openxmlformats.org/officeDocument/2006/relationships/slide" Target="slides/slide410.xml"/><Relationship Id="rId415" Type="http://schemas.openxmlformats.org/officeDocument/2006/relationships/slide" Target="slides/slide411.xml"/><Relationship Id="rId416" Type="http://schemas.openxmlformats.org/officeDocument/2006/relationships/slide" Target="slides/slide412.xml"/><Relationship Id="rId417" Type="http://schemas.openxmlformats.org/officeDocument/2006/relationships/slide" Target="slides/slide413.xml"/><Relationship Id="rId418" Type="http://schemas.openxmlformats.org/officeDocument/2006/relationships/slide" Target="slides/slide414.xml"/><Relationship Id="rId419" Type="http://schemas.openxmlformats.org/officeDocument/2006/relationships/slide" Target="slides/slide415.xml"/><Relationship Id="rId420" Type="http://schemas.openxmlformats.org/officeDocument/2006/relationships/slide" Target="slides/slide416.xml"/><Relationship Id="rId421" Type="http://schemas.openxmlformats.org/officeDocument/2006/relationships/slide" Target="slides/slide417.xml"/><Relationship Id="rId422" Type="http://schemas.openxmlformats.org/officeDocument/2006/relationships/slide" Target="slides/slide418.xml"/><Relationship Id="rId423" Type="http://schemas.openxmlformats.org/officeDocument/2006/relationships/slide" Target="slides/slide419.xml"/><Relationship Id="rId424" Type="http://schemas.openxmlformats.org/officeDocument/2006/relationships/slide" Target="slides/slide420.xml"/><Relationship Id="rId425" Type="http://schemas.openxmlformats.org/officeDocument/2006/relationships/slide" Target="slides/slide421.xml"/><Relationship Id="rId426" Type="http://schemas.openxmlformats.org/officeDocument/2006/relationships/slide" Target="slides/slide422.xml"/><Relationship Id="rId427" Type="http://schemas.openxmlformats.org/officeDocument/2006/relationships/slide" Target="slides/slide423.xml"/><Relationship Id="rId428" Type="http://schemas.openxmlformats.org/officeDocument/2006/relationships/slide" Target="slides/slide424.xml"/><Relationship Id="rId429" Type="http://schemas.openxmlformats.org/officeDocument/2006/relationships/slide" Target="slides/slide425.xml"/><Relationship Id="rId430" Type="http://schemas.openxmlformats.org/officeDocument/2006/relationships/slide" Target="slides/slide426.xml"/><Relationship Id="rId431" Type="http://schemas.openxmlformats.org/officeDocument/2006/relationships/slide" Target="slides/slide427.xml"/><Relationship Id="rId432" Type="http://schemas.openxmlformats.org/officeDocument/2006/relationships/slide" Target="slides/slide428.xml"/><Relationship Id="rId433" Type="http://schemas.openxmlformats.org/officeDocument/2006/relationships/slide" Target="slides/slide429.xml"/><Relationship Id="rId434" Type="http://schemas.openxmlformats.org/officeDocument/2006/relationships/slide" Target="slides/slide430.xml"/><Relationship Id="rId435" Type="http://schemas.openxmlformats.org/officeDocument/2006/relationships/slide" Target="slides/slide431.xml"/><Relationship Id="rId436" Type="http://schemas.openxmlformats.org/officeDocument/2006/relationships/slide" Target="slides/slide432.xml"/><Relationship Id="rId437" Type="http://schemas.openxmlformats.org/officeDocument/2006/relationships/slide" Target="slides/slide433.xml"/><Relationship Id="rId438" Type="http://schemas.openxmlformats.org/officeDocument/2006/relationships/slide" Target="slides/slide434.xml"/><Relationship Id="rId439" Type="http://schemas.openxmlformats.org/officeDocument/2006/relationships/slide" Target="slides/slide435.xml"/><Relationship Id="rId440" Type="http://schemas.openxmlformats.org/officeDocument/2006/relationships/slide" Target="slides/slide436.xml"/><Relationship Id="rId441" Type="http://schemas.openxmlformats.org/officeDocument/2006/relationships/slide" Target="slides/slide437.xml"/><Relationship Id="rId442" Type="http://schemas.openxmlformats.org/officeDocument/2006/relationships/slide" Target="slides/slide438.xml"/><Relationship Id="rId443" Type="http://schemas.openxmlformats.org/officeDocument/2006/relationships/slide" Target="slides/slide439.xml"/><Relationship Id="rId444" Type="http://schemas.openxmlformats.org/officeDocument/2006/relationships/slide" Target="slides/slide440.xml"/><Relationship Id="rId445" Type="http://schemas.openxmlformats.org/officeDocument/2006/relationships/slide" Target="slides/slide441.xml"/><Relationship Id="rId446" Type="http://schemas.openxmlformats.org/officeDocument/2006/relationships/slide" Target="slides/slide442.xml"/><Relationship Id="rId447" Type="http://schemas.openxmlformats.org/officeDocument/2006/relationships/slide" Target="slides/slide443.xml"/><Relationship Id="rId448" Type="http://schemas.openxmlformats.org/officeDocument/2006/relationships/slide" Target="slides/slide444.xml"/><Relationship Id="rId449" Type="http://schemas.openxmlformats.org/officeDocument/2006/relationships/slide" Target="slides/slide445.xml"/><Relationship Id="rId450" Type="http://schemas.openxmlformats.org/officeDocument/2006/relationships/slide" Target="slides/slide446.xml"/><Relationship Id="rId451" Type="http://schemas.openxmlformats.org/officeDocument/2006/relationships/slide" Target="slides/slide447.xml"/><Relationship Id="rId452" Type="http://schemas.openxmlformats.org/officeDocument/2006/relationships/slide" Target="slides/slide448.xml"/><Relationship Id="rId453" Type="http://schemas.openxmlformats.org/officeDocument/2006/relationships/slide" Target="slides/slide449.xml"/><Relationship Id="rId454" Type="http://schemas.openxmlformats.org/officeDocument/2006/relationships/slide" Target="slides/slide450.xml"/><Relationship Id="rId455" Type="http://schemas.openxmlformats.org/officeDocument/2006/relationships/slide" Target="slides/slide451.xml"/><Relationship Id="rId456" Type="http://schemas.openxmlformats.org/officeDocument/2006/relationships/slide" Target="slides/slide452.xml"/><Relationship Id="rId457" Type="http://schemas.openxmlformats.org/officeDocument/2006/relationships/slide" Target="slides/slide453.xml"/><Relationship Id="rId458" Type="http://schemas.openxmlformats.org/officeDocument/2006/relationships/slide" Target="slides/slide454.xml"/><Relationship Id="rId459" Type="http://schemas.openxmlformats.org/officeDocument/2006/relationships/slide" Target="slides/slide455.xml"/><Relationship Id="rId460" Type="http://schemas.openxmlformats.org/officeDocument/2006/relationships/slide" Target="slides/slide456.xml"/><Relationship Id="rId461" Type="http://schemas.openxmlformats.org/officeDocument/2006/relationships/slide" Target="slides/slide457.xml"/><Relationship Id="rId462" Type="http://schemas.openxmlformats.org/officeDocument/2006/relationships/slide" Target="slides/slide458.xml"/><Relationship Id="rId463" Type="http://schemas.openxmlformats.org/officeDocument/2006/relationships/slide" Target="slides/slide459.xml"/><Relationship Id="rId464" Type="http://schemas.openxmlformats.org/officeDocument/2006/relationships/slide" Target="slides/slide460.xml"/><Relationship Id="rId465" Type="http://schemas.openxmlformats.org/officeDocument/2006/relationships/slide" Target="slides/slide461.xml"/><Relationship Id="rId466" Type="http://schemas.openxmlformats.org/officeDocument/2006/relationships/slide" Target="slides/slide462.xml"/><Relationship Id="rId467" Type="http://schemas.openxmlformats.org/officeDocument/2006/relationships/slide" Target="slides/slide463.xml"/><Relationship Id="rId468" Type="http://schemas.openxmlformats.org/officeDocument/2006/relationships/slide" Target="slides/slide464.xml"/><Relationship Id="rId469" Type="http://schemas.openxmlformats.org/officeDocument/2006/relationships/slide" Target="slides/slide465.xml"/><Relationship Id="rId470" Type="http://schemas.openxmlformats.org/officeDocument/2006/relationships/slide" Target="slides/slide466.xml"/><Relationship Id="rId471" Type="http://schemas.openxmlformats.org/officeDocument/2006/relationships/slide" Target="slides/slide467.xml"/><Relationship Id="rId472" Type="http://schemas.openxmlformats.org/officeDocument/2006/relationships/slide" Target="slides/slide468.xml"/><Relationship Id="rId473" Type="http://schemas.openxmlformats.org/officeDocument/2006/relationships/slide" Target="slides/slide469.xml"/><Relationship Id="rId474" Type="http://schemas.openxmlformats.org/officeDocument/2006/relationships/slide" Target="slides/slide470.xml"/><Relationship Id="rId475" Type="http://schemas.openxmlformats.org/officeDocument/2006/relationships/slide" Target="slides/slide471.xml"/><Relationship Id="rId476" Type="http://schemas.openxmlformats.org/officeDocument/2006/relationships/slide" Target="slides/slide472.xml"/><Relationship Id="rId477" Type="http://schemas.openxmlformats.org/officeDocument/2006/relationships/slide" Target="slides/slide473.xml"/><Relationship Id="rId478" Type="http://schemas.openxmlformats.org/officeDocument/2006/relationships/slide" Target="slides/slide474.xml"/><Relationship Id="rId479" Type="http://schemas.openxmlformats.org/officeDocument/2006/relationships/slide" Target="slides/slide475.xml"/><Relationship Id="rId480" Type="http://schemas.openxmlformats.org/officeDocument/2006/relationships/slide" Target="slides/slide476.xml"/><Relationship Id="rId481" Type="http://schemas.openxmlformats.org/officeDocument/2006/relationships/slide" Target="slides/slide477.xml"/><Relationship Id="rId482" Type="http://schemas.openxmlformats.org/officeDocument/2006/relationships/slide" Target="slides/slide478.xml"/><Relationship Id="rId483" Type="http://schemas.openxmlformats.org/officeDocument/2006/relationships/slide" Target="slides/slide479.xml"/><Relationship Id="rId484" Type="http://schemas.openxmlformats.org/officeDocument/2006/relationships/slide" Target="slides/slide480.xml"/><Relationship Id="rId485" Type="http://schemas.openxmlformats.org/officeDocument/2006/relationships/slide" Target="slides/slide481.xml"/><Relationship Id="rId486" Type="http://schemas.openxmlformats.org/officeDocument/2006/relationships/slide" Target="slides/slide482.xml"/><Relationship Id="rId487" Type="http://schemas.openxmlformats.org/officeDocument/2006/relationships/slide" Target="slides/slide483.xml"/><Relationship Id="rId488" Type="http://schemas.openxmlformats.org/officeDocument/2006/relationships/slide" Target="slides/slide484.xml"/><Relationship Id="rId489" Type="http://schemas.openxmlformats.org/officeDocument/2006/relationships/slide" Target="slides/slide485.xml"/><Relationship Id="rId490" Type="http://schemas.openxmlformats.org/officeDocument/2006/relationships/slide" Target="slides/slide486.xml"/><Relationship Id="rId491" Type="http://schemas.openxmlformats.org/officeDocument/2006/relationships/slide" Target="slides/slide487.xml"/><Relationship Id="rId492" Type="http://schemas.openxmlformats.org/officeDocument/2006/relationships/slide" Target="slides/slide488.xml"/><Relationship Id="rId493" Type="http://schemas.openxmlformats.org/officeDocument/2006/relationships/slide" Target="slides/slide489.xml"/><Relationship Id="rId494" Type="http://schemas.openxmlformats.org/officeDocument/2006/relationships/slide" Target="slides/slide490.xml"/><Relationship Id="rId495" Type="http://schemas.openxmlformats.org/officeDocument/2006/relationships/slide" Target="slides/slide491.xml"/><Relationship Id="rId496" Type="http://schemas.openxmlformats.org/officeDocument/2006/relationships/slide" Target="slides/slide492.xml"/><Relationship Id="rId497" Type="http://schemas.openxmlformats.org/officeDocument/2006/relationships/slide" Target="slides/slide493.xml"/><Relationship Id="rId498" Type="http://schemas.openxmlformats.org/officeDocument/2006/relationships/slide" Target="slides/slide494.xml"/><Relationship Id="rId499" Type="http://schemas.openxmlformats.org/officeDocument/2006/relationships/slide" Target="slides/slide495.xml"/><Relationship Id="rId500" Type="http://schemas.openxmlformats.org/officeDocument/2006/relationships/slide" Target="slides/slide496.xml"/><Relationship Id="rId501" Type="http://schemas.openxmlformats.org/officeDocument/2006/relationships/slide" Target="slides/slide497.xml"/><Relationship Id="rId502" Type="http://schemas.openxmlformats.org/officeDocument/2006/relationships/slide" Target="slides/slide498.xml"/><Relationship Id="rId503" Type="http://schemas.openxmlformats.org/officeDocument/2006/relationships/slide" Target="slides/slide499.xml"/><Relationship Id="rId504" Type="http://schemas.openxmlformats.org/officeDocument/2006/relationships/slide" Target="slides/slide500.xml"/><Relationship Id="rId505" Type="http://schemas.openxmlformats.org/officeDocument/2006/relationships/slide" Target="slides/slide501.xml"/><Relationship Id="rId506" Type="http://schemas.openxmlformats.org/officeDocument/2006/relationships/slide" Target="slides/slide502.xml"/><Relationship Id="rId507" Type="http://schemas.openxmlformats.org/officeDocument/2006/relationships/slide" Target="slides/slide503.xml"/><Relationship Id="rId508" Type="http://schemas.openxmlformats.org/officeDocument/2006/relationships/slide" Target="slides/slide504.xml"/><Relationship Id="rId509" Type="http://schemas.openxmlformats.org/officeDocument/2006/relationships/slide" Target="slides/slide505.xml"/><Relationship Id="rId510" Type="http://schemas.openxmlformats.org/officeDocument/2006/relationships/slide" Target="slides/slide506.xml"/><Relationship Id="rId511" Type="http://schemas.openxmlformats.org/officeDocument/2006/relationships/slide" Target="slides/slide507.xml"/><Relationship Id="rId512" Type="http://schemas.openxmlformats.org/officeDocument/2006/relationships/slide" Target="slides/slide508.xml"/><Relationship Id="rId513" Type="http://schemas.openxmlformats.org/officeDocument/2006/relationships/slide" Target="slides/slide509.xml"/><Relationship Id="rId514" Type="http://schemas.openxmlformats.org/officeDocument/2006/relationships/slide" Target="slides/slide510.xml"/><Relationship Id="rId515" Type="http://schemas.openxmlformats.org/officeDocument/2006/relationships/slide" Target="slides/slide511.xml"/><Relationship Id="rId516" Type="http://schemas.openxmlformats.org/officeDocument/2006/relationships/slide" Target="slides/slide512.xml"/><Relationship Id="rId517" Type="http://schemas.openxmlformats.org/officeDocument/2006/relationships/slide" Target="slides/slide513.xml"/><Relationship Id="rId518" Type="http://schemas.openxmlformats.org/officeDocument/2006/relationships/slide" Target="slides/slide514.xml"/><Relationship Id="rId519" Type="http://schemas.openxmlformats.org/officeDocument/2006/relationships/slide" Target="slides/slide515.xml"/><Relationship Id="rId520" Type="http://schemas.openxmlformats.org/officeDocument/2006/relationships/slide" Target="slides/slide516.xml"/><Relationship Id="rId521" Type="http://schemas.openxmlformats.org/officeDocument/2006/relationships/slide" Target="slides/slide517.xml"/><Relationship Id="rId522" Type="http://schemas.openxmlformats.org/officeDocument/2006/relationships/slide" Target="slides/slide518.xml"/><Relationship Id="rId523" Type="http://schemas.openxmlformats.org/officeDocument/2006/relationships/slide" Target="slides/slide519.xml"/><Relationship Id="rId524" Type="http://schemas.openxmlformats.org/officeDocument/2006/relationships/slide" Target="slides/slide520.xml"/><Relationship Id="rId525" Type="http://schemas.openxmlformats.org/officeDocument/2006/relationships/slide" Target="slides/slide521.xml"/><Relationship Id="rId526" Type="http://schemas.openxmlformats.org/officeDocument/2006/relationships/slide" Target="slides/slide522.xml"/><Relationship Id="rId527" Type="http://schemas.openxmlformats.org/officeDocument/2006/relationships/slide" Target="slides/slide523.xml"/><Relationship Id="rId528" Type="http://schemas.openxmlformats.org/officeDocument/2006/relationships/slide" Target="slides/slide524.xml"/><Relationship Id="rId529" Type="http://schemas.openxmlformats.org/officeDocument/2006/relationships/slide" Target="slides/slide525.xml"/><Relationship Id="rId530" Type="http://schemas.openxmlformats.org/officeDocument/2006/relationships/slide" Target="slides/slide526.xml"/><Relationship Id="rId531" Type="http://schemas.openxmlformats.org/officeDocument/2006/relationships/slide" Target="slides/slide527.xml"/><Relationship Id="rId532" Type="http://schemas.openxmlformats.org/officeDocument/2006/relationships/slide" Target="slides/slide528.xml"/><Relationship Id="rId533" Type="http://schemas.openxmlformats.org/officeDocument/2006/relationships/slide" Target="slides/slide529.xml"/><Relationship Id="rId534" Type="http://schemas.openxmlformats.org/officeDocument/2006/relationships/slide" Target="slides/slide530.xml"/><Relationship Id="rId535" Type="http://schemas.openxmlformats.org/officeDocument/2006/relationships/slide" Target="slides/slide531.xml"/><Relationship Id="rId536" Type="http://schemas.openxmlformats.org/officeDocument/2006/relationships/slide" Target="slides/slide532.xml"/><Relationship Id="rId537" Type="http://schemas.openxmlformats.org/officeDocument/2006/relationships/slide" Target="slides/slide533.xml"/><Relationship Id="rId538" Type="http://schemas.openxmlformats.org/officeDocument/2006/relationships/slide" Target="slides/slide534.xml"/><Relationship Id="rId539" Type="http://schemas.openxmlformats.org/officeDocument/2006/relationships/slide" Target="slides/slide535.xml"/><Relationship Id="rId540" Type="http://schemas.openxmlformats.org/officeDocument/2006/relationships/slide" Target="slides/slide536.xml"/><Relationship Id="rId541" Type="http://schemas.openxmlformats.org/officeDocument/2006/relationships/slide" Target="slides/slide537.xml"/><Relationship Id="rId542" Type="http://schemas.openxmlformats.org/officeDocument/2006/relationships/slide" Target="slides/slide538.xml"/><Relationship Id="rId543" Type="http://schemas.openxmlformats.org/officeDocument/2006/relationships/slide" Target="slides/slide539.xml"/><Relationship Id="rId544" Type="http://schemas.openxmlformats.org/officeDocument/2006/relationships/slide" Target="slides/slide540.xml"/><Relationship Id="rId545" Type="http://schemas.openxmlformats.org/officeDocument/2006/relationships/slide" Target="slides/slide541.xml"/><Relationship Id="rId546" Type="http://schemas.openxmlformats.org/officeDocument/2006/relationships/slide" Target="slides/slide542.xml"/><Relationship Id="rId547" Type="http://schemas.openxmlformats.org/officeDocument/2006/relationships/slide" Target="slides/slide543.xml"/><Relationship Id="rId548" Type="http://schemas.openxmlformats.org/officeDocument/2006/relationships/slide" Target="slides/slide544.xml"/><Relationship Id="rId549" Type="http://schemas.openxmlformats.org/officeDocument/2006/relationships/slide" Target="slides/slide545.xml"/><Relationship Id="rId550" Type="http://schemas.openxmlformats.org/officeDocument/2006/relationships/slide" Target="slides/slide546.xml"/><Relationship Id="rId551" Type="http://schemas.openxmlformats.org/officeDocument/2006/relationships/slide" Target="slides/slide547.xml"/><Relationship Id="rId552" Type="http://schemas.openxmlformats.org/officeDocument/2006/relationships/slide" Target="slides/slide548.xml"/><Relationship Id="rId553" Type="http://schemas.openxmlformats.org/officeDocument/2006/relationships/slide" Target="slides/slide549.xml"/><Relationship Id="rId554" Type="http://schemas.openxmlformats.org/officeDocument/2006/relationships/slide" Target="slides/slide550.xml"/><Relationship Id="rId555" Type="http://schemas.openxmlformats.org/officeDocument/2006/relationships/slide" Target="slides/slide551.xml"/><Relationship Id="rId556" Type="http://schemas.openxmlformats.org/officeDocument/2006/relationships/slide" Target="slides/slide552.xml"/><Relationship Id="rId557" Type="http://schemas.openxmlformats.org/officeDocument/2006/relationships/slide" Target="slides/slide553.xml"/><Relationship Id="rId558" Type="http://schemas.openxmlformats.org/officeDocument/2006/relationships/slide" Target="slides/slide554.xml"/><Relationship Id="rId559" Type="http://schemas.openxmlformats.org/officeDocument/2006/relationships/slide" Target="slides/slide555.xml"/><Relationship Id="rId560" Type="http://schemas.openxmlformats.org/officeDocument/2006/relationships/slide" Target="slides/slide556.xml"/><Relationship Id="rId561" Type="http://schemas.openxmlformats.org/officeDocument/2006/relationships/slide" Target="slides/slide557.xml"/><Relationship Id="rId562" Type="http://schemas.openxmlformats.org/officeDocument/2006/relationships/slide" Target="slides/slide558.xml"/><Relationship Id="rId563" Type="http://schemas.openxmlformats.org/officeDocument/2006/relationships/slide" Target="slides/slide559.xml"/><Relationship Id="rId564" Type="http://schemas.openxmlformats.org/officeDocument/2006/relationships/slide" Target="slides/slide560.xml"/><Relationship Id="rId565" Type="http://schemas.openxmlformats.org/officeDocument/2006/relationships/slide" Target="slides/slide561.xml"/><Relationship Id="rId566" Type="http://schemas.openxmlformats.org/officeDocument/2006/relationships/slide" Target="slides/slide562.xml"/><Relationship Id="rId567" Type="http://schemas.openxmlformats.org/officeDocument/2006/relationships/slide" Target="slides/slide563.xml"/><Relationship Id="rId568" Type="http://schemas.openxmlformats.org/officeDocument/2006/relationships/slide" Target="slides/slide564.xml"/><Relationship Id="rId569" Type="http://schemas.openxmlformats.org/officeDocument/2006/relationships/slide" Target="slides/slide565.xml"/><Relationship Id="rId570" Type="http://schemas.openxmlformats.org/officeDocument/2006/relationships/slide" Target="slides/slide566.xml"/><Relationship Id="rId571" Type="http://schemas.openxmlformats.org/officeDocument/2006/relationships/slide" Target="slides/slide567.xml"/><Relationship Id="rId572" Type="http://schemas.openxmlformats.org/officeDocument/2006/relationships/slide" Target="slides/slide568.xml"/><Relationship Id="rId573" Type="http://schemas.openxmlformats.org/officeDocument/2006/relationships/slide" Target="slides/slide569.xml"/><Relationship Id="rId574" Type="http://schemas.openxmlformats.org/officeDocument/2006/relationships/slide" Target="slides/slide570.xml"/><Relationship Id="rId575" Type="http://schemas.openxmlformats.org/officeDocument/2006/relationships/slide" Target="slides/slide571.xml"/><Relationship Id="rId576" Type="http://schemas.openxmlformats.org/officeDocument/2006/relationships/slide" Target="slides/slide572.xml"/><Relationship Id="rId577" Type="http://schemas.openxmlformats.org/officeDocument/2006/relationships/slide" Target="slides/slide573.xml"/><Relationship Id="rId578" Type="http://schemas.openxmlformats.org/officeDocument/2006/relationships/slide" Target="slides/slide574.xml"/><Relationship Id="rId579" Type="http://schemas.openxmlformats.org/officeDocument/2006/relationships/slide" Target="slides/slide575.xml"/><Relationship Id="rId580" Type="http://schemas.openxmlformats.org/officeDocument/2006/relationships/slide" Target="slides/slide576.xml"/><Relationship Id="rId581" Type="http://schemas.openxmlformats.org/officeDocument/2006/relationships/slide" Target="slides/slide577.xml"/><Relationship Id="rId582" Type="http://schemas.openxmlformats.org/officeDocument/2006/relationships/slide" Target="slides/slide578.xml"/><Relationship Id="rId583" Type="http://schemas.openxmlformats.org/officeDocument/2006/relationships/slide" Target="slides/slide579.xml"/><Relationship Id="rId584" Type="http://schemas.openxmlformats.org/officeDocument/2006/relationships/slide" Target="slides/slide580.xml"/><Relationship Id="rId585" Type="http://schemas.openxmlformats.org/officeDocument/2006/relationships/slide" Target="slides/slide581.xml"/><Relationship Id="rId586" Type="http://schemas.openxmlformats.org/officeDocument/2006/relationships/slide" Target="slides/slide582.xml"/><Relationship Id="rId587" Type="http://schemas.openxmlformats.org/officeDocument/2006/relationships/slide" Target="slides/slide583.xml"/><Relationship Id="rId588" Type="http://schemas.openxmlformats.org/officeDocument/2006/relationships/slide" Target="slides/slide584.xml"/><Relationship Id="rId589" Type="http://schemas.openxmlformats.org/officeDocument/2006/relationships/slide" Target="slides/slide585.xml"/><Relationship Id="rId590" Type="http://schemas.openxmlformats.org/officeDocument/2006/relationships/slide" Target="slides/slide586.xml"/><Relationship Id="rId591" Type="http://schemas.openxmlformats.org/officeDocument/2006/relationships/slide" Target="slides/slide587.xml"/><Relationship Id="rId592" Type="http://schemas.openxmlformats.org/officeDocument/2006/relationships/slide" Target="slides/slide588.xml"/><Relationship Id="rId593" Type="http://schemas.openxmlformats.org/officeDocument/2006/relationships/slide" Target="slides/slide589.xml"/><Relationship Id="rId594" Type="http://schemas.openxmlformats.org/officeDocument/2006/relationships/slide" Target="slides/slide590.xml"/><Relationship Id="rId595" Type="http://schemas.openxmlformats.org/officeDocument/2006/relationships/slide" Target="slides/slide591.xml"/><Relationship Id="rId596" Type="http://schemas.openxmlformats.org/officeDocument/2006/relationships/slide" Target="slides/slide592.xml"/><Relationship Id="rId597" Type="http://schemas.openxmlformats.org/officeDocument/2006/relationships/slide" Target="slides/slide593.xml"/><Relationship Id="rId598" Type="http://schemas.openxmlformats.org/officeDocument/2006/relationships/slide" Target="slides/slide594.xml"/><Relationship Id="rId599" Type="http://schemas.openxmlformats.org/officeDocument/2006/relationships/slide" Target="slides/slide595.xml"/><Relationship Id="rId600" Type="http://schemas.openxmlformats.org/officeDocument/2006/relationships/slide" Target="slides/slide596.xml"/><Relationship Id="rId601" Type="http://schemas.openxmlformats.org/officeDocument/2006/relationships/slide" Target="slides/slide597.xml"/><Relationship Id="rId602" Type="http://schemas.openxmlformats.org/officeDocument/2006/relationships/slide" Target="slides/slide598.xml"/><Relationship Id="rId603" Type="http://schemas.openxmlformats.org/officeDocument/2006/relationships/slide" Target="slides/slide599.xml"/><Relationship Id="rId604" Type="http://schemas.openxmlformats.org/officeDocument/2006/relationships/slide" Target="slides/slide600.xml"/><Relationship Id="rId605" Type="http://schemas.openxmlformats.org/officeDocument/2006/relationships/slide" Target="slides/slide601.xml"/><Relationship Id="rId606" Type="http://schemas.openxmlformats.org/officeDocument/2006/relationships/slide" Target="slides/slide602.xml"/><Relationship Id="rId607" Type="http://schemas.openxmlformats.org/officeDocument/2006/relationships/slide" Target="slides/slide603.xml"/><Relationship Id="rId608" Type="http://schemas.openxmlformats.org/officeDocument/2006/relationships/slide" Target="slides/slide604.xml"/><Relationship Id="rId609" Type="http://schemas.openxmlformats.org/officeDocument/2006/relationships/slide" Target="slides/slide605.xml"/><Relationship Id="rId610" Type="http://schemas.openxmlformats.org/officeDocument/2006/relationships/slide" Target="slides/slide606.xml"/><Relationship Id="rId611" Type="http://schemas.openxmlformats.org/officeDocument/2006/relationships/slide" Target="slides/slide607.xml"/><Relationship Id="rId612" Type="http://schemas.openxmlformats.org/officeDocument/2006/relationships/slide" Target="slides/slide608.xml"/><Relationship Id="rId613" Type="http://schemas.openxmlformats.org/officeDocument/2006/relationships/slide" Target="slides/slide609.xml"/><Relationship Id="rId614" Type="http://schemas.openxmlformats.org/officeDocument/2006/relationships/slide" Target="slides/slide610.xml"/><Relationship Id="rId615" Type="http://schemas.openxmlformats.org/officeDocument/2006/relationships/slide" Target="slides/slide611.xml"/><Relationship Id="rId616" Type="http://schemas.openxmlformats.org/officeDocument/2006/relationships/slide" Target="slides/slide612.xml"/><Relationship Id="rId617" Type="http://schemas.openxmlformats.org/officeDocument/2006/relationships/slide" Target="slides/slide613.xml"/><Relationship Id="rId618" Type="http://schemas.openxmlformats.org/officeDocument/2006/relationships/slide" Target="slides/slide614.xml"/><Relationship Id="rId619" Type="http://schemas.openxmlformats.org/officeDocument/2006/relationships/notesMaster" Target="notesMasters/notesMaster1.xml"/><Relationship Id="rId620" Type="http://schemas.openxmlformats.org/officeDocument/2006/relationships/presProps" Target="presProps.xml"/><Relationship Id="rId621" Type="http://schemas.openxmlformats.org/officeDocument/2006/relationships/viewProps" Target="viewProps.xml"/><Relationship Id="rId622" Type="http://schemas.openxmlformats.org/officeDocument/2006/relationships/theme" Target="theme/theme1.xml"/><Relationship Id="rId623" Type="http://schemas.openxmlformats.org/officeDocument/2006/relationships/tableStyles" Target="tableStyles.xml"/><Relationship Id="rId624" Type="http://schemas.microsoft.com/office/2015/10/relationships/revisionInfo" Target="revisionInfo.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00.xml.rels><?xml version='1.0' encoding='UTF-8' standalone='yes'?>
<Relationships xmlns="http://schemas.openxmlformats.org/package/2006/relationships"><Relationship Id="rId1" Type="http://schemas.openxmlformats.org/officeDocument/2006/relationships/package" Target="../embeddings/Microsoft_Excel_Worksheet99.xlsx"/></Relationships>
</file>

<file path=ppt/charts/_rels/chart101.xml.rels><?xml version='1.0' encoding='UTF-8' standalone='yes'?>
<Relationships xmlns="http://schemas.openxmlformats.org/package/2006/relationships"><Relationship Id="rId1" Type="http://schemas.openxmlformats.org/officeDocument/2006/relationships/package" Target="../embeddings/Microsoft_Excel_Worksheet100.xlsx"/></Relationships>
</file>

<file path=ppt/charts/_rels/chart102.xml.rels><?xml version='1.0' encoding='UTF-8' standalone='yes'?>
<Relationships xmlns="http://schemas.openxmlformats.org/package/2006/relationships"><Relationship Id="rId1" Type="http://schemas.openxmlformats.org/officeDocument/2006/relationships/package" Target="../embeddings/Microsoft_Excel_Worksheet101.xlsx"/></Relationships>
</file>

<file path=ppt/charts/_rels/chart103.xml.rels><?xml version='1.0' encoding='UTF-8' standalone='yes'?>
<Relationships xmlns="http://schemas.openxmlformats.org/package/2006/relationships"><Relationship Id="rId1" Type="http://schemas.openxmlformats.org/officeDocument/2006/relationships/package" Target="../embeddings/Microsoft_Excel_Worksheet102.xlsx"/></Relationships>
</file>

<file path=ppt/charts/_rels/chart104.xml.rels><?xml version='1.0' encoding='UTF-8' standalone='yes'?>
<Relationships xmlns="http://schemas.openxmlformats.org/package/2006/relationships"><Relationship Id="rId1" Type="http://schemas.openxmlformats.org/officeDocument/2006/relationships/package" Target="../embeddings/Microsoft_Excel_Worksheet103.xlsx"/></Relationships>
</file>

<file path=ppt/charts/_rels/chart105.xml.rels><?xml version='1.0' encoding='UTF-8' standalone='yes'?>
<Relationships xmlns="http://schemas.openxmlformats.org/package/2006/relationships"><Relationship Id="rId1" Type="http://schemas.openxmlformats.org/officeDocument/2006/relationships/package" Target="../embeddings/Microsoft_Excel_Worksheet104.xlsx"/></Relationships>
</file>

<file path=ppt/charts/_rels/chart106.xml.rels><?xml version='1.0' encoding='UTF-8' standalone='yes'?>
<Relationships xmlns="http://schemas.openxmlformats.org/package/2006/relationships"><Relationship Id="rId1" Type="http://schemas.openxmlformats.org/officeDocument/2006/relationships/package" Target="../embeddings/Microsoft_Excel_Worksheet105.xlsx"/></Relationships>
</file>

<file path=ppt/charts/_rels/chart107.xml.rels><?xml version='1.0' encoding='UTF-8' standalone='yes'?>
<Relationships xmlns="http://schemas.openxmlformats.org/package/2006/relationships"><Relationship Id="rId1" Type="http://schemas.openxmlformats.org/officeDocument/2006/relationships/package" Target="../embeddings/Microsoft_Excel_Worksheet106.xlsx"/></Relationships>
</file>

<file path=ppt/charts/_rels/chart108.xml.rels><?xml version='1.0' encoding='UTF-8' standalone='yes'?>
<Relationships xmlns="http://schemas.openxmlformats.org/package/2006/relationships"><Relationship Id="rId1" Type="http://schemas.openxmlformats.org/officeDocument/2006/relationships/package" Target="../embeddings/Microsoft_Excel_Worksheet107.xlsx"/></Relationships>
</file>

<file path=ppt/charts/_rels/chart109.xml.rels><?xml version='1.0' encoding='UTF-8' standalone='yes'?>
<Relationships xmlns="http://schemas.openxmlformats.org/package/2006/relationships"><Relationship Id="rId1" Type="http://schemas.openxmlformats.org/officeDocument/2006/relationships/package" Target="../embeddings/Microsoft_Excel_Worksheet108.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10.xml.rels><?xml version='1.0' encoding='UTF-8' standalone='yes'?>
<Relationships xmlns="http://schemas.openxmlformats.org/package/2006/relationships"><Relationship Id="rId1" Type="http://schemas.openxmlformats.org/officeDocument/2006/relationships/package" Target="../embeddings/Microsoft_Excel_Worksheet109.xlsx"/></Relationships>
</file>

<file path=ppt/charts/_rels/chart111.xml.rels><?xml version='1.0' encoding='UTF-8' standalone='yes'?>
<Relationships xmlns="http://schemas.openxmlformats.org/package/2006/relationships"><Relationship Id="rId1" Type="http://schemas.openxmlformats.org/officeDocument/2006/relationships/package" Target="../embeddings/Microsoft_Excel_Worksheet110.xlsx"/></Relationships>
</file>

<file path=ppt/charts/_rels/chart112.xml.rels><?xml version='1.0' encoding='UTF-8' standalone='yes'?>
<Relationships xmlns="http://schemas.openxmlformats.org/package/2006/relationships"><Relationship Id="rId1" Type="http://schemas.openxmlformats.org/officeDocument/2006/relationships/package" Target="../embeddings/Microsoft_Excel_Worksheet111.xlsx"/></Relationships>
</file>

<file path=ppt/charts/_rels/chart113.xml.rels><?xml version='1.0' encoding='UTF-8' standalone='yes'?>
<Relationships xmlns="http://schemas.openxmlformats.org/package/2006/relationships"><Relationship Id="rId1" Type="http://schemas.openxmlformats.org/officeDocument/2006/relationships/package" Target="../embeddings/Microsoft_Excel_Worksheet112.xlsx"/></Relationships>
</file>

<file path=ppt/charts/_rels/chart114.xml.rels><?xml version='1.0' encoding='UTF-8' standalone='yes'?>
<Relationships xmlns="http://schemas.openxmlformats.org/package/2006/relationships"><Relationship Id="rId1" Type="http://schemas.openxmlformats.org/officeDocument/2006/relationships/package" Target="../embeddings/Microsoft_Excel_Worksheet113.xlsx"/></Relationships>
</file>

<file path=ppt/charts/_rels/chart115.xml.rels><?xml version='1.0' encoding='UTF-8' standalone='yes'?>
<Relationships xmlns="http://schemas.openxmlformats.org/package/2006/relationships"><Relationship Id="rId1" Type="http://schemas.openxmlformats.org/officeDocument/2006/relationships/package" Target="../embeddings/Microsoft_Excel_Worksheet114.xlsx"/></Relationships>
</file>

<file path=ppt/charts/_rels/chart116.xml.rels><?xml version='1.0' encoding='UTF-8' standalone='yes'?>
<Relationships xmlns="http://schemas.openxmlformats.org/package/2006/relationships"><Relationship Id="rId1" Type="http://schemas.openxmlformats.org/officeDocument/2006/relationships/package" Target="../embeddings/Microsoft_Excel_Worksheet115.xlsx"/></Relationships>
</file>

<file path=ppt/charts/_rels/chart117.xml.rels><?xml version='1.0' encoding='UTF-8' standalone='yes'?>
<Relationships xmlns="http://schemas.openxmlformats.org/package/2006/relationships"><Relationship Id="rId1" Type="http://schemas.openxmlformats.org/officeDocument/2006/relationships/package" Target="../embeddings/Microsoft_Excel_Worksheet116.xlsx"/></Relationships>
</file>

<file path=ppt/charts/_rels/chart118.xml.rels><?xml version='1.0' encoding='UTF-8' standalone='yes'?>
<Relationships xmlns="http://schemas.openxmlformats.org/package/2006/relationships"><Relationship Id="rId1" Type="http://schemas.openxmlformats.org/officeDocument/2006/relationships/package" Target="../embeddings/Microsoft_Excel_Worksheet117.xlsx"/></Relationships>
</file>

<file path=ppt/charts/_rels/chart119.xml.rels><?xml version='1.0' encoding='UTF-8' standalone='yes'?>
<Relationships xmlns="http://schemas.openxmlformats.org/package/2006/relationships"><Relationship Id="rId1" Type="http://schemas.openxmlformats.org/officeDocument/2006/relationships/package" Target="../embeddings/Microsoft_Excel_Worksheet118.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120.xml.rels><?xml version='1.0' encoding='UTF-8' standalone='yes'?>
<Relationships xmlns="http://schemas.openxmlformats.org/package/2006/relationships"><Relationship Id="rId1" Type="http://schemas.openxmlformats.org/officeDocument/2006/relationships/package" Target="../embeddings/Microsoft_Excel_Worksheet119.xlsx"/></Relationships>
</file>

<file path=ppt/charts/_rels/chart121.xml.rels><?xml version='1.0' encoding='UTF-8' standalone='yes'?>
<Relationships xmlns="http://schemas.openxmlformats.org/package/2006/relationships"><Relationship Id="rId1" Type="http://schemas.openxmlformats.org/officeDocument/2006/relationships/package" Target="../embeddings/Microsoft_Excel_Worksheet120.xlsx"/></Relationships>
</file>

<file path=ppt/charts/_rels/chart122.xml.rels><?xml version='1.0' encoding='UTF-8' standalone='yes'?>
<Relationships xmlns="http://schemas.openxmlformats.org/package/2006/relationships"><Relationship Id="rId1" Type="http://schemas.openxmlformats.org/officeDocument/2006/relationships/package" Target="../embeddings/Microsoft_Excel_Worksheet121.xlsx"/></Relationships>
</file>

<file path=ppt/charts/_rels/chart123.xml.rels><?xml version='1.0' encoding='UTF-8' standalone='yes'?>
<Relationships xmlns="http://schemas.openxmlformats.org/package/2006/relationships"><Relationship Id="rId1" Type="http://schemas.openxmlformats.org/officeDocument/2006/relationships/package" Target="../embeddings/Microsoft_Excel_Worksheet122.xlsx"/></Relationships>
</file>

<file path=ppt/charts/_rels/chart124.xml.rels><?xml version='1.0' encoding='UTF-8' standalone='yes'?>
<Relationships xmlns="http://schemas.openxmlformats.org/package/2006/relationships"><Relationship Id="rId1" Type="http://schemas.openxmlformats.org/officeDocument/2006/relationships/package" Target="../embeddings/Microsoft_Excel_Worksheet123.xlsx"/></Relationships>
</file>

<file path=ppt/charts/_rels/chart125.xml.rels><?xml version='1.0' encoding='UTF-8' standalone='yes'?>
<Relationships xmlns="http://schemas.openxmlformats.org/package/2006/relationships"><Relationship Id="rId1" Type="http://schemas.openxmlformats.org/officeDocument/2006/relationships/package" Target="../embeddings/Microsoft_Excel_Worksheet124.xlsx"/></Relationships>
</file>

<file path=ppt/charts/_rels/chart126.xml.rels><?xml version='1.0' encoding='UTF-8' standalone='yes'?>
<Relationships xmlns="http://schemas.openxmlformats.org/package/2006/relationships"><Relationship Id="rId1" Type="http://schemas.openxmlformats.org/officeDocument/2006/relationships/package" Target="../embeddings/Microsoft_Excel_Worksheet125.xlsx"/></Relationships>
</file>

<file path=ppt/charts/_rels/chart127.xml.rels><?xml version='1.0' encoding='UTF-8' standalone='yes'?>
<Relationships xmlns="http://schemas.openxmlformats.org/package/2006/relationships"><Relationship Id="rId1" Type="http://schemas.openxmlformats.org/officeDocument/2006/relationships/package" Target="../embeddings/Microsoft_Excel_Worksheet126.xlsx"/></Relationships>
</file>

<file path=ppt/charts/_rels/chart128.xml.rels><?xml version='1.0' encoding='UTF-8' standalone='yes'?>
<Relationships xmlns="http://schemas.openxmlformats.org/package/2006/relationships"><Relationship Id="rId1" Type="http://schemas.openxmlformats.org/officeDocument/2006/relationships/package" Target="../embeddings/Microsoft_Excel_Worksheet127.xlsx"/></Relationships>
</file>

<file path=ppt/charts/_rels/chart129.xml.rels><?xml version='1.0' encoding='UTF-8' standalone='yes'?>
<Relationships xmlns="http://schemas.openxmlformats.org/package/2006/relationships"><Relationship Id="rId1" Type="http://schemas.openxmlformats.org/officeDocument/2006/relationships/package" Target="../embeddings/Microsoft_Excel_Worksheet128.xlsx"/></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130.xml.rels><?xml version='1.0' encoding='UTF-8' standalone='yes'?>
<Relationships xmlns="http://schemas.openxmlformats.org/package/2006/relationships"><Relationship Id="rId1" Type="http://schemas.openxmlformats.org/officeDocument/2006/relationships/package" Target="../embeddings/Microsoft_Excel_Worksheet129.xlsx"/></Relationships>
</file>

<file path=ppt/charts/_rels/chart131.xml.rels><?xml version='1.0' encoding='UTF-8' standalone='yes'?>
<Relationships xmlns="http://schemas.openxmlformats.org/package/2006/relationships"><Relationship Id="rId1" Type="http://schemas.openxmlformats.org/officeDocument/2006/relationships/package" Target="../embeddings/Microsoft_Excel_Worksheet130.xlsx"/></Relationships>
</file>

<file path=ppt/charts/_rels/chart132.xml.rels><?xml version='1.0' encoding='UTF-8' standalone='yes'?>
<Relationships xmlns="http://schemas.openxmlformats.org/package/2006/relationships"><Relationship Id="rId1" Type="http://schemas.openxmlformats.org/officeDocument/2006/relationships/package" Target="../embeddings/Microsoft_Excel_Worksheet131.xlsx"/></Relationships>
</file>

<file path=ppt/charts/_rels/chart133.xml.rels><?xml version='1.0' encoding='UTF-8' standalone='yes'?>
<Relationships xmlns="http://schemas.openxmlformats.org/package/2006/relationships"><Relationship Id="rId1" Type="http://schemas.openxmlformats.org/officeDocument/2006/relationships/package" Target="../embeddings/Microsoft_Excel_Worksheet132.xlsx"/></Relationships>
</file>

<file path=ppt/charts/_rels/chart134.xml.rels><?xml version='1.0' encoding='UTF-8' standalone='yes'?>
<Relationships xmlns="http://schemas.openxmlformats.org/package/2006/relationships"><Relationship Id="rId1" Type="http://schemas.openxmlformats.org/officeDocument/2006/relationships/package" Target="../embeddings/Microsoft_Excel_Worksheet133.xlsx"/></Relationships>
</file>

<file path=ppt/charts/_rels/chart135.xml.rels><?xml version='1.0' encoding='UTF-8' standalone='yes'?>
<Relationships xmlns="http://schemas.openxmlformats.org/package/2006/relationships"><Relationship Id="rId1" Type="http://schemas.openxmlformats.org/officeDocument/2006/relationships/package" Target="../embeddings/Microsoft_Excel_Worksheet134.xlsx"/></Relationships>
</file>

<file path=ppt/charts/_rels/chart136.xml.rels><?xml version='1.0' encoding='UTF-8' standalone='yes'?>
<Relationships xmlns="http://schemas.openxmlformats.org/package/2006/relationships"><Relationship Id="rId1" Type="http://schemas.openxmlformats.org/officeDocument/2006/relationships/package" Target="../embeddings/Microsoft_Excel_Worksheet135.xlsx"/></Relationships>
</file>

<file path=ppt/charts/_rels/chart137.xml.rels><?xml version='1.0' encoding='UTF-8' standalone='yes'?>
<Relationships xmlns="http://schemas.openxmlformats.org/package/2006/relationships"><Relationship Id="rId1" Type="http://schemas.openxmlformats.org/officeDocument/2006/relationships/package" Target="../embeddings/Microsoft_Excel_Worksheet136.xlsx"/></Relationships>
</file>

<file path=ppt/charts/_rels/chart138.xml.rels><?xml version='1.0' encoding='UTF-8' standalone='yes'?>
<Relationships xmlns="http://schemas.openxmlformats.org/package/2006/relationships"><Relationship Id="rId1" Type="http://schemas.openxmlformats.org/officeDocument/2006/relationships/package" Target="../embeddings/Microsoft_Excel_Worksheet137.xlsx"/></Relationships>
</file>

<file path=ppt/charts/_rels/chart139.xml.rels><?xml version='1.0' encoding='UTF-8' standalone='yes'?>
<Relationships xmlns="http://schemas.openxmlformats.org/package/2006/relationships"><Relationship Id="rId1" Type="http://schemas.openxmlformats.org/officeDocument/2006/relationships/package" Target="../embeddings/Microsoft_Excel_Worksheet138.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140.xml.rels><?xml version='1.0' encoding='UTF-8' standalone='yes'?>
<Relationships xmlns="http://schemas.openxmlformats.org/package/2006/relationships"><Relationship Id="rId1" Type="http://schemas.openxmlformats.org/officeDocument/2006/relationships/package" Target="../embeddings/Microsoft_Excel_Worksheet139.xlsx"/></Relationships>
</file>

<file path=ppt/charts/_rels/chart141.xml.rels><?xml version='1.0' encoding='UTF-8' standalone='yes'?>
<Relationships xmlns="http://schemas.openxmlformats.org/package/2006/relationships"><Relationship Id="rId1" Type="http://schemas.openxmlformats.org/officeDocument/2006/relationships/package" Target="../embeddings/Microsoft_Excel_Worksheet140.xlsx"/></Relationships>
</file>

<file path=ppt/charts/_rels/chart142.xml.rels><?xml version='1.0' encoding='UTF-8' standalone='yes'?>
<Relationships xmlns="http://schemas.openxmlformats.org/package/2006/relationships"><Relationship Id="rId1" Type="http://schemas.openxmlformats.org/officeDocument/2006/relationships/package" Target="../embeddings/Microsoft_Excel_Worksheet141.xlsx"/></Relationships>
</file>

<file path=ppt/charts/_rels/chart143.xml.rels><?xml version='1.0' encoding='UTF-8' standalone='yes'?>
<Relationships xmlns="http://schemas.openxmlformats.org/package/2006/relationships"><Relationship Id="rId1" Type="http://schemas.openxmlformats.org/officeDocument/2006/relationships/package" Target="../embeddings/Microsoft_Excel_Worksheet142.xlsx"/></Relationships>
</file>

<file path=ppt/charts/_rels/chart144.xml.rels><?xml version='1.0' encoding='UTF-8' standalone='yes'?>
<Relationships xmlns="http://schemas.openxmlformats.org/package/2006/relationships"><Relationship Id="rId1" Type="http://schemas.openxmlformats.org/officeDocument/2006/relationships/package" Target="../embeddings/Microsoft_Excel_Worksheet143.xlsx"/></Relationships>
</file>

<file path=ppt/charts/_rels/chart145.xml.rels><?xml version='1.0' encoding='UTF-8' standalone='yes'?>
<Relationships xmlns="http://schemas.openxmlformats.org/package/2006/relationships"><Relationship Id="rId1" Type="http://schemas.openxmlformats.org/officeDocument/2006/relationships/package" Target="../embeddings/Microsoft_Excel_Worksheet144.xlsx"/></Relationships>
</file>

<file path=ppt/charts/_rels/chart146.xml.rels><?xml version='1.0' encoding='UTF-8' standalone='yes'?>
<Relationships xmlns="http://schemas.openxmlformats.org/package/2006/relationships"><Relationship Id="rId1" Type="http://schemas.openxmlformats.org/officeDocument/2006/relationships/package" Target="../embeddings/Microsoft_Excel_Worksheet145.xlsx"/></Relationships>
</file>

<file path=ppt/charts/_rels/chart147.xml.rels><?xml version='1.0' encoding='UTF-8' standalone='yes'?>
<Relationships xmlns="http://schemas.openxmlformats.org/package/2006/relationships"><Relationship Id="rId1" Type="http://schemas.openxmlformats.org/officeDocument/2006/relationships/package" Target="../embeddings/Microsoft_Excel_Worksheet146.xlsx"/></Relationships>
</file>

<file path=ppt/charts/_rels/chart148.xml.rels><?xml version='1.0' encoding='UTF-8' standalone='yes'?>
<Relationships xmlns="http://schemas.openxmlformats.org/package/2006/relationships"><Relationship Id="rId1" Type="http://schemas.openxmlformats.org/officeDocument/2006/relationships/package" Target="../embeddings/Microsoft_Excel_Worksheet147.xlsx"/></Relationships>
</file>

<file path=ppt/charts/_rels/chart149.xml.rels><?xml version='1.0' encoding='UTF-8' standalone='yes'?>
<Relationships xmlns="http://schemas.openxmlformats.org/package/2006/relationships"><Relationship Id="rId1" Type="http://schemas.openxmlformats.org/officeDocument/2006/relationships/package" Target="../embeddings/Microsoft_Excel_Worksheet148.xlsx"/></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Worksheet14.xlsx"/></Relationships>
</file>

<file path=ppt/charts/_rels/chart150.xml.rels><?xml version='1.0' encoding='UTF-8' standalone='yes'?>
<Relationships xmlns="http://schemas.openxmlformats.org/package/2006/relationships"><Relationship Id="rId1" Type="http://schemas.openxmlformats.org/officeDocument/2006/relationships/package" Target="../embeddings/Microsoft_Excel_Worksheet149.xlsx"/></Relationships>
</file>

<file path=ppt/charts/_rels/chart151.xml.rels><?xml version='1.0' encoding='UTF-8' standalone='yes'?>
<Relationships xmlns="http://schemas.openxmlformats.org/package/2006/relationships"><Relationship Id="rId1" Type="http://schemas.openxmlformats.org/officeDocument/2006/relationships/package" Target="../embeddings/Microsoft_Excel_Worksheet150.xlsx"/></Relationships>
</file>

<file path=ppt/charts/_rels/chart152.xml.rels><?xml version='1.0' encoding='UTF-8' standalone='yes'?>
<Relationships xmlns="http://schemas.openxmlformats.org/package/2006/relationships"><Relationship Id="rId1" Type="http://schemas.openxmlformats.org/officeDocument/2006/relationships/package" Target="../embeddings/Microsoft_Excel_Worksheet151.xlsx"/></Relationships>
</file>

<file path=ppt/charts/_rels/chart153.xml.rels><?xml version='1.0' encoding='UTF-8' standalone='yes'?>
<Relationships xmlns="http://schemas.openxmlformats.org/package/2006/relationships"><Relationship Id="rId1" Type="http://schemas.openxmlformats.org/officeDocument/2006/relationships/package" Target="../embeddings/Microsoft_Excel_Worksheet152.xlsx"/></Relationships>
</file>

<file path=ppt/charts/_rels/chart154.xml.rels><?xml version='1.0' encoding='UTF-8' standalone='yes'?>
<Relationships xmlns="http://schemas.openxmlformats.org/package/2006/relationships"><Relationship Id="rId1" Type="http://schemas.openxmlformats.org/officeDocument/2006/relationships/package" Target="../embeddings/Microsoft_Excel_Worksheet153.xlsx"/></Relationships>
</file>

<file path=ppt/charts/_rels/chart155.xml.rels><?xml version='1.0' encoding='UTF-8' standalone='yes'?>
<Relationships xmlns="http://schemas.openxmlformats.org/package/2006/relationships"><Relationship Id="rId1" Type="http://schemas.openxmlformats.org/officeDocument/2006/relationships/package" Target="../embeddings/Microsoft_Excel_Worksheet154.xlsx"/></Relationships>
</file>

<file path=ppt/charts/_rels/chart156.xml.rels><?xml version='1.0' encoding='UTF-8' standalone='yes'?>
<Relationships xmlns="http://schemas.openxmlformats.org/package/2006/relationships"><Relationship Id="rId1" Type="http://schemas.openxmlformats.org/officeDocument/2006/relationships/package" Target="../embeddings/Microsoft_Excel_Worksheet155.xlsx"/></Relationships>
</file>

<file path=ppt/charts/_rels/chart157.xml.rels><?xml version='1.0' encoding='UTF-8' standalone='yes'?>
<Relationships xmlns="http://schemas.openxmlformats.org/package/2006/relationships"><Relationship Id="rId1" Type="http://schemas.openxmlformats.org/officeDocument/2006/relationships/package" Target="../embeddings/Microsoft_Excel_Worksheet156.xlsx"/></Relationships>
</file>

<file path=ppt/charts/_rels/chart158.xml.rels><?xml version='1.0' encoding='UTF-8' standalone='yes'?>
<Relationships xmlns="http://schemas.openxmlformats.org/package/2006/relationships"><Relationship Id="rId1" Type="http://schemas.openxmlformats.org/officeDocument/2006/relationships/package" Target="../embeddings/Microsoft_Excel_Worksheet157.xlsx"/></Relationships>
</file>

<file path=ppt/charts/_rels/chart159.xml.rels><?xml version='1.0' encoding='UTF-8' standalone='yes'?>
<Relationships xmlns="http://schemas.openxmlformats.org/package/2006/relationships"><Relationship Id="rId1" Type="http://schemas.openxmlformats.org/officeDocument/2006/relationships/package" Target="../embeddings/Microsoft_Excel_Worksheet158.xlsx"/></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160.xml.rels><?xml version='1.0' encoding='UTF-8' standalone='yes'?>
<Relationships xmlns="http://schemas.openxmlformats.org/package/2006/relationships"><Relationship Id="rId1" Type="http://schemas.openxmlformats.org/officeDocument/2006/relationships/package" Target="../embeddings/Microsoft_Excel_Worksheet159.xlsx"/></Relationships>
</file>

<file path=ppt/charts/_rels/chart161.xml.rels><?xml version='1.0' encoding='UTF-8' standalone='yes'?>
<Relationships xmlns="http://schemas.openxmlformats.org/package/2006/relationships"><Relationship Id="rId1" Type="http://schemas.openxmlformats.org/officeDocument/2006/relationships/package" Target="../embeddings/Microsoft_Excel_Worksheet160.xlsx"/></Relationships>
</file>

<file path=ppt/charts/_rels/chart162.xml.rels><?xml version='1.0' encoding='UTF-8' standalone='yes'?>
<Relationships xmlns="http://schemas.openxmlformats.org/package/2006/relationships"><Relationship Id="rId1" Type="http://schemas.openxmlformats.org/officeDocument/2006/relationships/package" Target="../embeddings/Microsoft_Excel_Worksheet161.xlsx"/></Relationships>
</file>

<file path=ppt/charts/_rels/chart163.xml.rels><?xml version='1.0' encoding='UTF-8' standalone='yes'?>
<Relationships xmlns="http://schemas.openxmlformats.org/package/2006/relationships"><Relationship Id="rId1" Type="http://schemas.openxmlformats.org/officeDocument/2006/relationships/package" Target="../embeddings/Microsoft_Excel_Worksheet162.xlsx"/></Relationships>
</file>

<file path=ppt/charts/_rels/chart164.xml.rels><?xml version='1.0' encoding='UTF-8' standalone='yes'?>
<Relationships xmlns="http://schemas.openxmlformats.org/package/2006/relationships"><Relationship Id="rId1" Type="http://schemas.openxmlformats.org/officeDocument/2006/relationships/package" Target="../embeddings/Microsoft_Excel_Worksheet163.xlsx"/></Relationships>
</file>

<file path=ppt/charts/_rels/chart165.xml.rels><?xml version='1.0' encoding='UTF-8' standalone='yes'?>
<Relationships xmlns="http://schemas.openxmlformats.org/package/2006/relationships"><Relationship Id="rId1" Type="http://schemas.openxmlformats.org/officeDocument/2006/relationships/package" Target="../embeddings/Microsoft_Excel_Worksheet164.xlsx"/></Relationships>
</file>

<file path=ppt/charts/_rels/chart166.xml.rels><?xml version='1.0' encoding='UTF-8' standalone='yes'?>
<Relationships xmlns="http://schemas.openxmlformats.org/package/2006/relationships"><Relationship Id="rId1" Type="http://schemas.openxmlformats.org/officeDocument/2006/relationships/package" Target="../embeddings/Microsoft_Excel_Worksheet165.xlsx"/></Relationships>
</file>

<file path=ppt/charts/_rels/chart167.xml.rels><?xml version='1.0' encoding='UTF-8' standalone='yes'?>
<Relationships xmlns="http://schemas.openxmlformats.org/package/2006/relationships"><Relationship Id="rId1" Type="http://schemas.openxmlformats.org/officeDocument/2006/relationships/package" Target="../embeddings/Microsoft_Excel_Worksheet166.xlsx"/></Relationships>
</file>

<file path=ppt/charts/_rels/chart168.xml.rels><?xml version='1.0' encoding='UTF-8' standalone='yes'?>
<Relationships xmlns="http://schemas.openxmlformats.org/package/2006/relationships"><Relationship Id="rId1" Type="http://schemas.openxmlformats.org/officeDocument/2006/relationships/package" Target="../embeddings/Microsoft_Excel_Worksheet167.xlsx"/></Relationships>
</file>

<file path=ppt/charts/_rels/chart169.xml.rels><?xml version='1.0' encoding='UTF-8' standalone='yes'?>
<Relationships xmlns="http://schemas.openxmlformats.org/package/2006/relationships"><Relationship Id="rId1" Type="http://schemas.openxmlformats.org/officeDocument/2006/relationships/package" Target="../embeddings/Microsoft_Excel_Worksheet168.xlsx"/></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Worksheet16.xlsx"/></Relationships>
</file>

<file path=ppt/charts/_rels/chart170.xml.rels><?xml version='1.0' encoding='UTF-8' standalone='yes'?>
<Relationships xmlns="http://schemas.openxmlformats.org/package/2006/relationships"><Relationship Id="rId1" Type="http://schemas.openxmlformats.org/officeDocument/2006/relationships/package" Target="../embeddings/Microsoft_Excel_Worksheet169.xlsx"/></Relationships>
</file>

<file path=ppt/charts/_rels/chart171.xml.rels><?xml version='1.0' encoding='UTF-8' standalone='yes'?>
<Relationships xmlns="http://schemas.openxmlformats.org/package/2006/relationships"><Relationship Id="rId1" Type="http://schemas.openxmlformats.org/officeDocument/2006/relationships/package" Target="../embeddings/Microsoft_Excel_Worksheet170.xlsx"/></Relationships>
</file>

<file path=ppt/charts/_rels/chart172.xml.rels><?xml version='1.0' encoding='UTF-8' standalone='yes'?>
<Relationships xmlns="http://schemas.openxmlformats.org/package/2006/relationships"><Relationship Id="rId1" Type="http://schemas.openxmlformats.org/officeDocument/2006/relationships/package" Target="../embeddings/Microsoft_Excel_Worksheet171.xlsx"/></Relationships>
</file>

<file path=ppt/charts/_rels/chart173.xml.rels><?xml version='1.0' encoding='UTF-8' standalone='yes'?>
<Relationships xmlns="http://schemas.openxmlformats.org/package/2006/relationships"><Relationship Id="rId1" Type="http://schemas.openxmlformats.org/officeDocument/2006/relationships/package" Target="../embeddings/Microsoft_Excel_Worksheet172.xlsx"/></Relationships>
</file>

<file path=ppt/charts/_rels/chart174.xml.rels><?xml version='1.0' encoding='UTF-8' standalone='yes'?>
<Relationships xmlns="http://schemas.openxmlformats.org/package/2006/relationships"><Relationship Id="rId1" Type="http://schemas.openxmlformats.org/officeDocument/2006/relationships/package" Target="../embeddings/Microsoft_Excel_Worksheet173.xlsx"/></Relationships>
</file>

<file path=ppt/charts/_rels/chart175.xml.rels><?xml version='1.0' encoding='UTF-8' standalone='yes'?>
<Relationships xmlns="http://schemas.openxmlformats.org/package/2006/relationships"><Relationship Id="rId1" Type="http://schemas.openxmlformats.org/officeDocument/2006/relationships/package" Target="../embeddings/Microsoft_Excel_Worksheet174.xlsx"/></Relationships>
</file>

<file path=ppt/charts/_rels/chart176.xml.rels><?xml version='1.0' encoding='UTF-8' standalone='yes'?>
<Relationships xmlns="http://schemas.openxmlformats.org/package/2006/relationships"><Relationship Id="rId1" Type="http://schemas.openxmlformats.org/officeDocument/2006/relationships/package" Target="../embeddings/Microsoft_Excel_Worksheet175.xlsx"/></Relationships>
</file>

<file path=ppt/charts/_rels/chart177.xml.rels><?xml version='1.0' encoding='UTF-8' standalone='yes'?>
<Relationships xmlns="http://schemas.openxmlformats.org/package/2006/relationships"><Relationship Id="rId1" Type="http://schemas.openxmlformats.org/officeDocument/2006/relationships/package" Target="../embeddings/Microsoft_Excel_Worksheet176.xlsx"/></Relationships>
</file>

<file path=ppt/charts/_rels/chart178.xml.rels><?xml version='1.0' encoding='UTF-8' standalone='yes'?>
<Relationships xmlns="http://schemas.openxmlformats.org/package/2006/relationships"><Relationship Id="rId1" Type="http://schemas.openxmlformats.org/officeDocument/2006/relationships/package" Target="../embeddings/Microsoft_Excel_Worksheet177.xlsx"/></Relationships>
</file>

<file path=ppt/charts/_rels/chart179.xml.rels><?xml version='1.0' encoding='UTF-8' standalone='yes'?>
<Relationships xmlns="http://schemas.openxmlformats.org/package/2006/relationships"><Relationship Id="rId1" Type="http://schemas.openxmlformats.org/officeDocument/2006/relationships/package" Target="../embeddings/Microsoft_Excel_Worksheet178.xlsx"/></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Worksheet17.xlsx"/></Relationships>
</file>

<file path=ppt/charts/_rels/chart180.xml.rels><?xml version='1.0' encoding='UTF-8' standalone='yes'?>
<Relationships xmlns="http://schemas.openxmlformats.org/package/2006/relationships"><Relationship Id="rId1" Type="http://schemas.openxmlformats.org/officeDocument/2006/relationships/package" Target="../embeddings/Microsoft_Excel_Worksheet179.xlsx"/></Relationships>
</file>

<file path=ppt/charts/_rels/chart181.xml.rels><?xml version='1.0' encoding='UTF-8' standalone='yes'?>
<Relationships xmlns="http://schemas.openxmlformats.org/package/2006/relationships"><Relationship Id="rId1" Type="http://schemas.openxmlformats.org/officeDocument/2006/relationships/package" Target="../embeddings/Microsoft_Excel_Worksheet180.xlsx"/></Relationships>
</file>

<file path=ppt/charts/_rels/chart182.xml.rels><?xml version='1.0' encoding='UTF-8' standalone='yes'?>
<Relationships xmlns="http://schemas.openxmlformats.org/package/2006/relationships"><Relationship Id="rId1" Type="http://schemas.openxmlformats.org/officeDocument/2006/relationships/package" Target="../embeddings/Microsoft_Excel_Worksheet181.xlsx"/></Relationships>
</file>

<file path=ppt/charts/_rels/chart183.xml.rels><?xml version='1.0' encoding='UTF-8' standalone='yes'?>
<Relationships xmlns="http://schemas.openxmlformats.org/package/2006/relationships"><Relationship Id="rId1" Type="http://schemas.openxmlformats.org/officeDocument/2006/relationships/package" Target="../embeddings/Microsoft_Excel_Worksheet182.xlsx"/></Relationships>
</file>

<file path=ppt/charts/_rels/chart184.xml.rels><?xml version='1.0' encoding='UTF-8' standalone='yes'?>
<Relationships xmlns="http://schemas.openxmlformats.org/package/2006/relationships"><Relationship Id="rId1" Type="http://schemas.openxmlformats.org/officeDocument/2006/relationships/package" Target="../embeddings/Microsoft_Excel_Worksheet183.xlsx"/></Relationships>
</file>

<file path=ppt/charts/_rels/chart185.xml.rels><?xml version='1.0' encoding='UTF-8' standalone='yes'?>
<Relationships xmlns="http://schemas.openxmlformats.org/package/2006/relationships"><Relationship Id="rId1" Type="http://schemas.openxmlformats.org/officeDocument/2006/relationships/package" Target="../embeddings/Microsoft_Excel_Worksheet184.xlsx"/></Relationships>
</file>

<file path=ppt/charts/_rels/chart186.xml.rels><?xml version='1.0' encoding='UTF-8' standalone='yes'?>
<Relationships xmlns="http://schemas.openxmlformats.org/package/2006/relationships"><Relationship Id="rId1" Type="http://schemas.openxmlformats.org/officeDocument/2006/relationships/package" Target="../embeddings/Microsoft_Excel_Worksheet185.xlsx"/></Relationships>
</file>

<file path=ppt/charts/_rels/chart187.xml.rels><?xml version='1.0' encoding='UTF-8' standalone='yes'?>
<Relationships xmlns="http://schemas.openxmlformats.org/package/2006/relationships"><Relationship Id="rId1" Type="http://schemas.openxmlformats.org/officeDocument/2006/relationships/package" Target="../embeddings/Microsoft_Excel_Worksheet186.xlsx"/></Relationships>
</file>

<file path=ppt/charts/_rels/chart188.xml.rels><?xml version='1.0' encoding='UTF-8' standalone='yes'?>
<Relationships xmlns="http://schemas.openxmlformats.org/package/2006/relationships"><Relationship Id="rId1" Type="http://schemas.openxmlformats.org/officeDocument/2006/relationships/package" Target="../embeddings/Microsoft_Excel_Worksheet187.xlsx"/></Relationships>
</file>

<file path=ppt/charts/_rels/chart189.xml.rels><?xml version='1.0' encoding='UTF-8' standalone='yes'?>
<Relationships xmlns="http://schemas.openxmlformats.org/package/2006/relationships"><Relationship Id="rId1" Type="http://schemas.openxmlformats.org/officeDocument/2006/relationships/package" Target="../embeddings/Microsoft_Excel_Worksheet188.xlsx"/></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Worksheet18.xlsx"/></Relationships>
</file>

<file path=ppt/charts/_rels/chart190.xml.rels><?xml version='1.0' encoding='UTF-8' standalone='yes'?>
<Relationships xmlns="http://schemas.openxmlformats.org/package/2006/relationships"><Relationship Id="rId1" Type="http://schemas.openxmlformats.org/officeDocument/2006/relationships/package" Target="../embeddings/Microsoft_Excel_Worksheet189.xlsx"/></Relationships>
</file>

<file path=ppt/charts/_rels/chart191.xml.rels><?xml version='1.0' encoding='UTF-8' standalone='yes'?>
<Relationships xmlns="http://schemas.openxmlformats.org/package/2006/relationships"><Relationship Id="rId1" Type="http://schemas.openxmlformats.org/officeDocument/2006/relationships/package" Target="../embeddings/Microsoft_Excel_Worksheet190.xlsx"/></Relationships>
</file>

<file path=ppt/charts/_rels/chart192.xml.rels><?xml version='1.0' encoding='UTF-8' standalone='yes'?>
<Relationships xmlns="http://schemas.openxmlformats.org/package/2006/relationships"><Relationship Id="rId1" Type="http://schemas.openxmlformats.org/officeDocument/2006/relationships/package" Target="../embeddings/Microsoft_Excel_Worksheet191.xlsx"/></Relationships>
</file>

<file path=ppt/charts/_rels/chart193.xml.rels><?xml version='1.0' encoding='UTF-8' standalone='yes'?>
<Relationships xmlns="http://schemas.openxmlformats.org/package/2006/relationships"><Relationship Id="rId1" Type="http://schemas.openxmlformats.org/officeDocument/2006/relationships/package" Target="../embeddings/Microsoft_Excel_Worksheet192.xlsx"/></Relationships>
</file>

<file path=ppt/charts/_rels/chart194.xml.rels><?xml version='1.0' encoding='UTF-8' standalone='yes'?>
<Relationships xmlns="http://schemas.openxmlformats.org/package/2006/relationships"><Relationship Id="rId1" Type="http://schemas.openxmlformats.org/officeDocument/2006/relationships/package" Target="../embeddings/Microsoft_Excel_Worksheet193.xlsx"/></Relationships>
</file>

<file path=ppt/charts/_rels/chart195.xml.rels><?xml version='1.0' encoding='UTF-8' standalone='yes'?>
<Relationships xmlns="http://schemas.openxmlformats.org/package/2006/relationships"><Relationship Id="rId1" Type="http://schemas.openxmlformats.org/officeDocument/2006/relationships/package" Target="../embeddings/Microsoft_Excel_Worksheet194.xlsx"/></Relationships>
</file>

<file path=ppt/charts/_rels/chart196.xml.rels><?xml version='1.0' encoding='UTF-8' standalone='yes'?>
<Relationships xmlns="http://schemas.openxmlformats.org/package/2006/relationships"><Relationship Id="rId1" Type="http://schemas.openxmlformats.org/officeDocument/2006/relationships/package" Target="../embeddings/Microsoft_Excel_Worksheet195.xlsx"/></Relationships>
</file>

<file path=ppt/charts/_rels/chart197.xml.rels><?xml version='1.0' encoding='UTF-8' standalone='yes'?>
<Relationships xmlns="http://schemas.openxmlformats.org/package/2006/relationships"><Relationship Id="rId1" Type="http://schemas.openxmlformats.org/officeDocument/2006/relationships/package" Target="../embeddings/Microsoft_Excel_Worksheet196.xlsx"/></Relationships>
</file>

<file path=ppt/charts/_rels/chart198.xml.rels><?xml version='1.0' encoding='UTF-8' standalone='yes'?>
<Relationships xmlns="http://schemas.openxmlformats.org/package/2006/relationships"><Relationship Id="rId1" Type="http://schemas.openxmlformats.org/officeDocument/2006/relationships/package" Target="../embeddings/Microsoft_Excel_Worksheet197.xlsx"/></Relationships>
</file>

<file path=ppt/charts/_rels/chart199.xml.rels><?xml version='1.0' encoding='UTF-8' standalone='yes'?>
<Relationships xmlns="http://schemas.openxmlformats.org/package/2006/relationships"><Relationship Id="rId1" Type="http://schemas.openxmlformats.org/officeDocument/2006/relationships/package" Target="../embeddings/Microsoft_Excel_Worksheet198.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Worksheet19.xlsx"/></Relationships>
</file>

<file path=ppt/charts/_rels/chart200.xml.rels><?xml version='1.0' encoding='UTF-8' standalone='yes'?>
<Relationships xmlns="http://schemas.openxmlformats.org/package/2006/relationships"><Relationship Id="rId1" Type="http://schemas.openxmlformats.org/officeDocument/2006/relationships/package" Target="../embeddings/Microsoft_Excel_Worksheet199.xlsx"/></Relationships>
</file>

<file path=ppt/charts/_rels/chart201.xml.rels><?xml version='1.0' encoding='UTF-8' standalone='yes'?>
<Relationships xmlns="http://schemas.openxmlformats.org/package/2006/relationships"><Relationship Id="rId1" Type="http://schemas.openxmlformats.org/officeDocument/2006/relationships/package" Target="../embeddings/Microsoft_Excel_Worksheet200.xlsx"/></Relationships>
</file>

<file path=ppt/charts/_rels/chart202.xml.rels><?xml version='1.0' encoding='UTF-8' standalone='yes'?>
<Relationships xmlns="http://schemas.openxmlformats.org/package/2006/relationships"><Relationship Id="rId1" Type="http://schemas.openxmlformats.org/officeDocument/2006/relationships/package" Target="../embeddings/Microsoft_Excel_Worksheet201.xlsx"/></Relationships>
</file>

<file path=ppt/charts/_rels/chart203.xml.rels><?xml version='1.0' encoding='UTF-8' standalone='yes'?>
<Relationships xmlns="http://schemas.openxmlformats.org/package/2006/relationships"><Relationship Id="rId1" Type="http://schemas.openxmlformats.org/officeDocument/2006/relationships/package" Target="../embeddings/Microsoft_Excel_Worksheet202.xlsx"/></Relationships>
</file>

<file path=ppt/charts/_rels/chart204.xml.rels><?xml version='1.0' encoding='UTF-8' standalone='yes'?>
<Relationships xmlns="http://schemas.openxmlformats.org/package/2006/relationships"><Relationship Id="rId1" Type="http://schemas.openxmlformats.org/officeDocument/2006/relationships/package" Target="../embeddings/Microsoft_Excel_Worksheet203.xlsx"/></Relationships>
</file>

<file path=ppt/charts/_rels/chart205.xml.rels><?xml version='1.0' encoding='UTF-8' standalone='yes'?>
<Relationships xmlns="http://schemas.openxmlformats.org/package/2006/relationships"><Relationship Id="rId1" Type="http://schemas.openxmlformats.org/officeDocument/2006/relationships/package" Target="../embeddings/Microsoft_Excel_Worksheet204.xlsx"/></Relationships>
</file>

<file path=ppt/charts/_rels/chart206.xml.rels><?xml version='1.0' encoding='UTF-8' standalone='yes'?>
<Relationships xmlns="http://schemas.openxmlformats.org/package/2006/relationships"><Relationship Id="rId1" Type="http://schemas.openxmlformats.org/officeDocument/2006/relationships/package" Target="../embeddings/Microsoft_Excel_Worksheet205.xlsx"/></Relationships>
</file>

<file path=ppt/charts/_rels/chart207.xml.rels><?xml version='1.0' encoding='UTF-8' standalone='yes'?>
<Relationships xmlns="http://schemas.openxmlformats.org/package/2006/relationships"><Relationship Id="rId1" Type="http://schemas.openxmlformats.org/officeDocument/2006/relationships/package" Target="../embeddings/Microsoft_Excel_Worksheet206.xlsx"/></Relationships>
</file>

<file path=ppt/charts/_rels/chart208.xml.rels><?xml version='1.0' encoding='UTF-8' standalone='yes'?>
<Relationships xmlns="http://schemas.openxmlformats.org/package/2006/relationships"><Relationship Id="rId1" Type="http://schemas.openxmlformats.org/officeDocument/2006/relationships/package" Target="../embeddings/Microsoft_Excel_Worksheet207.xlsx"/></Relationships>
</file>

<file path=ppt/charts/_rels/chart209.xml.rels><?xml version='1.0' encoding='UTF-8' standalone='yes'?>
<Relationships xmlns="http://schemas.openxmlformats.org/package/2006/relationships"><Relationship Id="rId1" Type="http://schemas.openxmlformats.org/officeDocument/2006/relationships/package" Target="../embeddings/Microsoft_Excel_Worksheet208.xlsx"/></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Worksheet20.xlsx"/></Relationships>
</file>

<file path=ppt/charts/_rels/chart210.xml.rels><?xml version='1.0' encoding='UTF-8' standalone='yes'?>
<Relationships xmlns="http://schemas.openxmlformats.org/package/2006/relationships"><Relationship Id="rId1" Type="http://schemas.openxmlformats.org/officeDocument/2006/relationships/package" Target="../embeddings/Microsoft_Excel_Worksheet209.xlsx"/></Relationships>
</file>

<file path=ppt/charts/_rels/chart211.xml.rels><?xml version='1.0' encoding='UTF-8' standalone='yes'?>
<Relationships xmlns="http://schemas.openxmlformats.org/package/2006/relationships"><Relationship Id="rId1" Type="http://schemas.openxmlformats.org/officeDocument/2006/relationships/package" Target="../embeddings/Microsoft_Excel_Worksheet210.xlsx"/></Relationships>
</file>

<file path=ppt/charts/_rels/chart212.xml.rels><?xml version='1.0' encoding='UTF-8' standalone='yes'?>
<Relationships xmlns="http://schemas.openxmlformats.org/package/2006/relationships"><Relationship Id="rId1" Type="http://schemas.openxmlformats.org/officeDocument/2006/relationships/package" Target="../embeddings/Microsoft_Excel_Worksheet211.xlsx"/></Relationships>
</file>

<file path=ppt/charts/_rels/chart213.xml.rels><?xml version='1.0' encoding='UTF-8' standalone='yes'?>
<Relationships xmlns="http://schemas.openxmlformats.org/package/2006/relationships"><Relationship Id="rId1" Type="http://schemas.openxmlformats.org/officeDocument/2006/relationships/package" Target="../embeddings/Microsoft_Excel_Worksheet212.xlsx"/></Relationships>
</file>

<file path=ppt/charts/_rels/chart214.xml.rels><?xml version='1.0' encoding='UTF-8' standalone='yes'?>
<Relationships xmlns="http://schemas.openxmlformats.org/package/2006/relationships"><Relationship Id="rId1" Type="http://schemas.openxmlformats.org/officeDocument/2006/relationships/package" Target="../embeddings/Microsoft_Excel_Worksheet213.xlsx"/></Relationships>
</file>

<file path=ppt/charts/_rels/chart215.xml.rels><?xml version='1.0' encoding='UTF-8' standalone='yes'?>
<Relationships xmlns="http://schemas.openxmlformats.org/package/2006/relationships"><Relationship Id="rId1" Type="http://schemas.openxmlformats.org/officeDocument/2006/relationships/package" Target="../embeddings/Microsoft_Excel_Worksheet214.xlsx"/></Relationships>
</file>

<file path=ppt/charts/_rels/chart216.xml.rels><?xml version='1.0' encoding='UTF-8' standalone='yes'?>
<Relationships xmlns="http://schemas.openxmlformats.org/package/2006/relationships"><Relationship Id="rId1" Type="http://schemas.openxmlformats.org/officeDocument/2006/relationships/package" Target="../embeddings/Microsoft_Excel_Worksheet215.xlsx"/></Relationships>
</file>

<file path=ppt/charts/_rels/chart217.xml.rels><?xml version='1.0' encoding='UTF-8' standalone='yes'?>
<Relationships xmlns="http://schemas.openxmlformats.org/package/2006/relationships"><Relationship Id="rId1" Type="http://schemas.openxmlformats.org/officeDocument/2006/relationships/package" Target="../embeddings/Microsoft_Excel_Worksheet216.xlsx"/></Relationships>
</file>

<file path=ppt/charts/_rels/chart218.xml.rels><?xml version='1.0' encoding='UTF-8' standalone='yes'?>
<Relationships xmlns="http://schemas.openxmlformats.org/package/2006/relationships"><Relationship Id="rId1" Type="http://schemas.openxmlformats.org/officeDocument/2006/relationships/package" Target="../embeddings/Microsoft_Excel_Worksheet217.xlsx"/></Relationships>
</file>

<file path=ppt/charts/_rels/chart219.xml.rels><?xml version='1.0' encoding='UTF-8' standalone='yes'?>
<Relationships xmlns="http://schemas.openxmlformats.org/package/2006/relationships"><Relationship Id="rId1" Type="http://schemas.openxmlformats.org/officeDocument/2006/relationships/package" Target="../embeddings/Microsoft_Excel_Worksheet218.xlsx"/></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Worksheet21.xlsx"/></Relationships>
</file>

<file path=ppt/charts/_rels/chart220.xml.rels><?xml version='1.0' encoding='UTF-8' standalone='yes'?>
<Relationships xmlns="http://schemas.openxmlformats.org/package/2006/relationships"><Relationship Id="rId1" Type="http://schemas.openxmlformats.org/officeDocument/2006/relationships/package" Target="../embeddings/Microsoft_Excel_Worksheet219.xlsx"/></Relationships>
</file>

<file path=ppt/charts/_rels/chart221.xml.rels><?xml version='1.0' encoding='UTF-8' standalone='yes'?>
<Relationships xmlns="http://schemas.openxmlformats.org/package/2006/relationships"><Relationship Id="rId1" Type="http://schemas.openxmlformats.org/officeDocument/2006/relationships/package" Target="../embeddings/Microsoft_Excel_Worksheet220.xlsx"/></Relationships>
</file>

<file path=ppt/charts/_rels/chart222.xml.rels><?xml version='1.0' encoding='UTF-8' standalone='yes'?>
<Relationships xmlns="http://schemas.openxmlformats.org/package/2006/relationships"><Relationship Id="rId1" Type="http://schemas.openxmlformats.org/officeDocument/2006/relationships/package" Target="../embeddings/Microsoft_Excel_Worksheet221.xlsx"/></Relationships>
</file>

<file path=ppt/charts/_rels/chart223.xml.rels><?xml version='1.0' encoding='UTF-8' standalone='yes'?>
<Relationships xmlns="http://schemas.openxmlformats.org/package/2006/relationships"><Relationship Id="rId1" Type="http://schemas.openxmlformats.org/officeDocument/2006/relationships/package" Target="../embeddings/Microsoft_Excel_Worksheet222.xlsx"/></Relationships>
</file>

<file path=ppt/charts/_rels/chart224.xml.rels><?xml version='1.0' encoding='UTF-8' standalone='yes'?>
<Relationships xmlns="http://schemas.openxmlformats.org/package/2006/relationships"><Relationship Id="rId1" Type="http://schemas.openxmlformats.org/officeDocument/2006/relationships/package" Target="../embeddings/Microsoft_Excel_Worksheet223.xlsx"/></Relationships>
</file>

<file path=ppt/charts/_rels/chart225.xml.rels><?xml version='1.0' encoding='UTF-8' standalone='yes'?>
<Relationships xmlns="http://schemas.openxmlformats.org/package/2006/relationships"><Relationship Id="rId1" Type="http://schemas.openxmlformats.org/officeDocument/2006/relationships/package" Target="../embeddings/Microsoft_Excel_Worksheet224.xlsx"/></Relationships>
</file>

<file path=ppt/charts/_rels/chart226.xml.rels><?xml version='1.0' encoding='UTF-8' standalone='yes'?>
<Relationships xmlns="http://schemas.openxmlformats.org/package/2006/relationships"><Relationship Id="rId1" Type="http://schemas.openxmlformats.org/officeDocument/2006/relationships/package" Target="../embeddings/Microsoft_Excel_Worksheet225.xlsx"/></Relationships>
</file>

<file path=ppt/charts/_rels/chart227.xml.rels><?xml version='1.0' encoding='UTF-8' standalone='yes'?>
<Relationships xmlns="http://schemas.openxmlformats.org/package/2006/relationships"><Relationship Id="rId1" Type="http://schemas.openxmlformats.org/officeDocument/2006/relationships/package" Target="../embeddings/Microsoft_Excel_Worksheet226.xlsx"/></Relationships>
</file>

<file path=ppt/charts/_rels/chart228.xml.rels><?xml version='1.0' encoding='UTF-8' standalone='yes'?>
<Relationships xmlns="http://schemas.openxmlformats.org/package/2006/relationships"><Relationship Id="rId1" Type="http://schemas.openxmlformats.org/officeDocument/2006/relationships/package" Target="../embeddings/Microsoft_Excel_Worksheet227.xlsx"/></Relationships>
</file>

<file path=ppt/charts/_rels/chart229.xml.rels><?xml version='1.0' encoding='UTF-8' standalone='yes'?>
<Relationships xmlns="http://schemas.openxmlformats.org/package/2006/relationships"><Relationship Id="rId1" Type="http://schemas.openxmlformats.org/officeDocument/2006/relationships/package" Target="../embeddings/Microsoft_Excel_Worksheet228.xlsx"/></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Worksheet22.xlsx"/></Relationships>
</file>

<file path=ppt/charts/_rels/chart230.xml.rels><?xml version='1.0' encoding='UTF-8' standalone='yes'?>
<Relationships xmlns="http://schemas.openxmlformats.org/package/2006/relationships"><Relationship Id="rId1" Type="http://schemas.openxmlformats.org/officeDocument/2006/relationships/package" Target="../embeddings/Microsoft_Excel_Worksheet229.xlsx"/></Relationships>
</file>

<file path=ppt/charts/_rels/chart231.xml.rels><?xml version='1.0' encoding='UTF-8' standalone='yes'?>
<Relationships xmlns="http://schemas.openxmlformats.org/package/2006/relationships"><Relationship Id="rId1" Type="http://schemas.openxmlformats.org/officeDocument/2006/relationships/package" Target="../embeddings/Microsoft_Excel_Worksheet230.xlsx"/></Relationships>
</file>

<file path=ppt/charts/_rels/chart232.xml.rels><?xml version='1.0' encoding='UTF-8' standalone='yes'?>
<Relationships xmlns="http://schemas.openxmlformats.org/package/2006/relationships"><Relationship Id="rId1" Type="http://schemas.openxmlformats.org/officeDocument/2006/relationships/package" Target="../embeddings/Microsoft_Excel_Worksheet231.xlsx"/></Relationships>
</file>

<file path=ppt/charts/_rels/chart233.xml.rels><?xml version='1.0' encoding='UTF-8' standalone='yes'?>
<Relationships xmlns="http://schemas.openxmlformats.org/package/2006/relationships"><Relationship Id="rId1" Type="http://schemas.openxmlformats.org/officeDocument/2006/relationships/package" Target="../embeddings/Microsoft_Excel_Worksheet232.xlsx"/></Relationships>
</file>

<file path=ppt/charts/_rels/chart234.xml.rels><?xml version='1.0' encoding='UTF-8' standalone='yes'?>
<Relationships xmlns="http://schemas.openxmlformats.org/package/2006/relationships"><Relationship Id="rId1" Type="http://schemas.openxmlformats.org/officeDocument/2006/relationships/package" Target="../embeddings/Microsoft_Excel_Worksheet233.xlsx"/></Relationships>
</file>

<file path=ppt/charts/_rels/chart235.xml.rels><?xml version='1.0' encoding='UTF-8' standalone='yes'?>
<Relationships xmlns="http://schemas.openxmlformats.org/package/2006/relationships"><Relationship Id="rId1" Type="http://schemas.openxmlformats.org/officeDocument/2006/relationships/package" Target="../embeddings/Microsoft_Excel_Worksheet234.xlsx"/></Relationships>
</file>

<file path=ppt/charts/_rels/chart236.xml.rels><?xml version='1.0' encoding='UTF-8' standalone='yes'?>
<Relationships xmlns="http://schemas.openxmlformats.org/package/2006/relationships"><Relationship Id="rId1" Type="http://schemas.openxmlformats.org/officeDocument/2006/relationships/package" Target="../embeddings/Microsoft_Excel_Worksheet235.xlsx"/></Relationships>
</file>

<file path=ppt/charts/_rels/chart237.xml.rels><?xml version='1.0' encoding='UTF-8' standalone='yes'?>
<Relationships xmlns="http://schemas.openxmlformats.org/package/2006/relationships"><Relationship Id="rId1" Type="http://schemas.openxmlformats.org/officeDocument/2006/relationships/package" Target="../embeddings/Microsoft_Excel_Worksheet236.xlsx"/></Relationships>
</file>

<file path=ppt/charts/_rels/chart238.xml.rels><?xml version='1.0' encoding='UTF-8' standalone='yes'?>
<Relationships xmlns="http://schemas.openxmlformats.org/package/2006/relationships"><Relationship Id="rId1" Type="http://schemas.openxmlformats.org/officeDocument/2006/relationships/package" Target="../embeddings/Microsoft_Excel_Worksheet237.xlsx"/></Relationships>
</file>

<file path=ppt/charts/_rels/chart239.xml.rels><?xml version='1.0' encoding='UTF-8' standalone='yes'?>
<Relationships xmlns="http://schemas.openxmlformats.org/package/2006/relationships"><Relationship Id="rId1" Type="http://schemas.openxmlformats.org/officeDocument/2006/relationships/package" Target="../embeddings/Microsoft_Excel_Worksheet238.xlsx"/></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Worksheet23.xlsx"/></Relationships>
</file>

<file path=ppt/charts/_rels/chart240.xml.rels><?xml version='1.0' encoding='UTF-8' standalone='yes'?>
<Relationships xmlns="http://schemas.openxmlformats.org/package/2006/relationships"><Relationship Id="rId1" Type="http://schemas.openxmlformats.org/officeDocument/2006/relationships/package" Target="../embeddings/Microsoft_Excel_Worksheet239.xlsx"/></Relationships>
</file>

<file path=ppt/charts/_rels/chart241.xml.rels><?xml version='1.0' encoding='UTF-8' standalone='yes'?>
<Relationships xmlns="http://schemas.openxmlformats.org/package/2006/relationships"><Relationship Id="rId1" Type="http://schemas.openxmlformats.org/officeDocument/2006/relationships/package" Target="../embeddings/Microsoft_Excel_Worksheet240.xlsx"/></Relationships>
</file>

<file path=ppt/charts/_rels/chart242.xml.rels><?xml version='1.0' encoding='UTF-8' standalone='yes'?>
<Relationships xmlns="http://schemas.openxmlformats.org/package/2006/relationships"><Relationship Id="rId1" Type="http://schemas.openxmlformats.org/officeDocument/2006/relationships/package" Target="../embeddings/Microsoft_Excel_Worksheet241.xlsx"/></Relationships>
</file>

<file path=ppt/charts/_rels/chart243.xml.rels><?xml version='1.0' encoding='UTF-8' standalone='yes'?>
<Relationships xmlns="http://schemas.openxmlformats.org/package/2006/relationships"><Relationship Id="rId1" Type="http://schemas.openxmlformats.org/officeDocument/2006/relationships/package" Target="../embeddings/Microsoft_Excel_Worksheet242.xlsx"/></Relationships>
</file>

<file path=ppt/charts/_rels/chart244.xml.rels><?xml version='1.0' encoding='UTF-8' standalone='yes'?>
<Relationships xmlns="http://schemas.openxmlformats.org/package/2006/relationships"><Relationship Id="rId1" Type="http://schemas.openxmlformats.org/officeDocument/2006/relationships/package" Target="../embeddings/Microsoft_Excel_Worksheet243.xlsx"/></Relationships>
</file>

<file path=ppt/charts/_rels/chart245.xml.rels><?xml version='1.0' encoding='UTF-8' standalone='yes'?>
<Relationships xmlns="http://schemas.openxmlformats.org/package/2006/relationships"><Relationship Id="rId1" Type="http://schemas.openxmlformats.org/officeDocument/2006/relationships/package" Target="../embeddings/Microsoft_Excel_Worksheet244.xlsx"/></Relationships>
</file>

<file path=ppt/charts/_rels/chart246.xml.rels><?xml version='1.0' encoding='UTF-8' standalone='yes'?>
<Relationships xmlns="http://schemas.openxmlformats.org/package/2006/relationships"><Relationship Id="rId1" Type="http://schemas.openxmlformats.org/officeDocument/2006/relationships/package" Target="../embeddings/Microsoft_Excel_Worksheet245.xlsx"/></Relationships>
</file>

<file path=ppt/charts/_rels/chart247.xml.rels><?xml version='1.0' encoding='UTF-8' standalone='yes'?>
<Relationships xmlns="http://schemas.openxmlformats.org/package/2006/relationships"><Relationship Id="rId1" Type="http://schemas.openxmlformats.org/officeDocument/2006/relationships/package" Target="../embeddings/Microsoft_Excel_Worksheet246.xlsx"/></Relationships>
</file>

<file path=ppt/charts/_rels/chart248.xml.rels><?xml version='1.0' encoding='UTF-8' standalone='yes'?>
<Relationships xmlns="http://schemas.openxmlformats.org/package/2006/relationships"><Relationship Id="rId1" Type="http://schemas.openxmlformats.org/officeDocument/2006/relationships/package" Target="../embeddings/Microsoft_Excel_Worksheet247.xlsx"/></Relationships>
</file>

<file path=ppt/charts/_rels/chart249.xml.rels><?xml version='1.0' encoding='UTF-8' standalone='yes'?>
<Relationships xmlns="http://schemas.openxmlformats.org/package/2006/relationships"><Relationship Id="rId1" Type="http://schemas.openxmlformats.org/officeDocument/2006/relationships/package" Target="../embeddings/Microsoft_Excel_Worksheet248.xlsx"/></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Worksheet24.xlsx"/></Relationships>
</file>

<file path=ppt/charts/_rels/chart250.xml.rels><?xml version='1.0' encoding='UTF-8' standalone='yes'?>
<Relationships xmlns="http://schemas.openxmlformats.org/package/2006/relationships"><Relationship Id="rId1" Type="http://schemas.openxmlformats.org/officeDocument/2006/relationships/package" Target="../embeddings/Microsoft_Excel_Worksheet249.xlsx"/></Relationships>
</file>

<file path=ppt/charts/_rels/chart251.xml.rels><?xml version='1.0' encoding='UTF-8' standalone='yes'?>
<Relationships xmlns="http://schemas.openxmlformats.org/package/2006/relationships"><Relationship Id="rId1" Type="http://schemas.openxmlformats.org/officeDocument/2006/relationships/package" Target="../embeddings/Microsoft_Excel_Worksheet250.xlsx"/></Relationships>
</file>

<file path=ppt/charts/_rels/chart252.xml.rels><?xml version='1.0' encoding='UTF-8' standalone='yes'?>
<Relationships xmlns="http://schemas.openxmlformats.org/package/2006/relationships"><Relationship Id="rId1" Type="http://schemas.openxmlformats.org/officeDocument/2006/relationships/package" Target="../embeddings/Microsoft_Excel_Worksheet251.xlsx"/></Relationships>
</file>

<file path=ppt/charts/_rels/chart253.xml.rels><?xml version='1.0' encoding='UTF-8' standalone='yes'?>
<Relationships xmlns="http://schemas.openxmlformats.org/package/2006/relationships"><Relationship Id="rId1" Type="http://schemas.openxmlformats.org/officeDocument/2006/relationships/package" Target="../embeddings/Microsoft_Excel_Worksheet252.xlsx"/></Relationships>
</file>

<file path=ppt/charts/_rels/chart254.xml.rels><?xml version='1.0' encoding='UTF-8' standalone='yes'?>
<Relationships xmlns="http://schemas.openxmlformats.org/package/2006/relationships"><Relationship Id="rId1" Type="http://schemas.openxmlformats.org/officeDocument/2006/relationships/package" Target="../embeddings/Microsoft_Excel_Worksheet253.xlsx"/></Relationships>
</file>

<file path=ppt/charts/_rels/chart255.xml.rels><?xml version='1.0' encoding='UTF-8' standalone='yes'?>
<Relationships xmlns="http://schemas.openxmlformats.org/package/2006/relationships"><Relationship Id="rId1" Type="http://schemas.openxmlformats.org/officeDocument/2006/relationships/package" Target="../embeddings/Microsoft_Excel_Worksheet254.xlsx"/></Relationships>
</file>

<file path=ppt/charts/_rels/chart256.xml.rels><?xml version='1.0' encoding='UTF-8' standalone='yes'?>
<Relationships xmlns="http://schemas.openxmlformats.org/package/2006/relationships"><Relationship Id="rId1" Type="http://schemas.openxmlformats.org/officeDocument/2006/relationships/package" Target="../embeddings/Microsoft_Excel_Worksheet255.xlsx"/></Relationships>
</file>

<file path=ppt/charts/_rels/chart257.xml.rels><?xml version='1.0' encoding='UTF-8' standalone='yes'?>
<Relationships xmlns="http://schemas.openxmlformats.org/package/2006/relationships"><Relationship Id="rId1" Type="http://schemas.openxmlformats.org/officeDocument/2006/relationships/package" Target="../embeddings/Microsoft_Excel_Worksheet256.xlsx"/></Relationships>
</file>

<file path=ppt/charts/_rels/chart258.xml.rels><?xml version='1.0' encoding='UTF-8' standalone='yes'?>
<Relationships xmlns="http://schemas.openxmlformats.org/package/2006/relationships"><Relationship Id="rId1" Type="http://schemas.openxmlformats.org/officeDocument/2006/relationships/package" Target="../embeddings/Microsoft_Excel_Worksheet257.xlsx"/></Relationships>
</file>

<file path=ppt/charts/_rels/chart259.xml.rels><?xml version='1.0' encoding='UTF-8' standalone='yes'?>
<Relationships xmlns="http://schemas.openxmlformats.org/package/2006/relationships"><Relationship Id="rId1" Type="http://schemas.openxmlformats.org/officeDocument/2006/relationships/package" Target="../embeddings/Microsoft_Excel_Worksheet258.xlsx"/></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Worksheet25.xlsx"/></Relationships>
</file>

<file path=ppt/charts/_rels/chart260.xml.rels><?xml version='1.0' encoding='UTF-8' standalone='yes'?>
<Relationships xmlns="http://schemas.openxmlformats.org/package/2006/relationships"><Relationship Id="rId1" Type="http://schemas.openxmlformats.org/officeDocument/2006/relationships/package" Target="../embeddings/Microsoft_Excel_Worksheet259.xlsx"/></Relationships>
</file>

<file path=ppt/charts/_rels/chart261.xml.rels><?xml version='1.0' encoding='UTF-8' standalone='yes'?>
<Relationships xmlns="http://schemas.openxmlformats.org/package/2006/relationships"><Relationship Id="rId1" Type="http://schemas.openxmlformats.org/officeDocument/2006/relationships/package" Target="../embeddings/Microsoft_Excel_Worksheet260.xlsx"/></Relationships>
</file>

<file path=ppt/charts/_rels/chart262.xml.rels><?xml version='1.0' encoding='UTF-8' standalone='yes'?>
<Relationships xmlns="http://schemas.openxmlformats.org/package/2006/relationships"><Relationship Id="rId1" Type="http://schemas.openxmlformats.org/officeDocument/2006/relationships/package" Target="../embeddings/Microsoft_Excel_Worksheet261.xlsx"/></Relationships>
</file>

<file path=ppt/charts/_rels/chart263.xml.rels><?xml version='1.0' encoding='UTF-8' standalone='yes'?>
<Relationships xmlns="http://schemas.openxmlformats.org/package/2006/relationships"><Relationship Id="rId1" Type="http://schemas.openxmlformats.org/officeDocument/2006/relationships/package" Target="../embeddings/Microsoft_Excel_Worksheet262.xlsx"/></Relationships>
</file>

<file path=ppt/charts/_rels/chart264.xml.rels><?xml version='1.0' encoding='UTF-8' standalone='yes'?>
<Relationships xmlns="http://schemas.openxmlformats.org/package/2006/relationships"><Relationship Id="rId1" Type="http://schemas.openxmlformats.org/officeDocument/2006/relationships/package" Target="../embeddings/Microsoft_Excel_Worksheet263.xlsx"/></Relationships>
</file>

<file path=ppt/charts/_rels/chart265.xml.rels><?xml version='1.0' encoding='UTF-8' standalone='yes'?>
<Relationships xmlns="http://schemas.openxmlformats.org/package/2006/relationships"><Relationship Id="rId1" Type="http://schemas.openxmlformats.org/officeDocument/2006/relationships/package" Target="../embeddings/Microsoft_Excel_Worksheet264.xlsx"/></Relationships>
</file>

<file path=ppt/charts/_rels/chart266.xml.rels><?xml version='1.0' encoding='UTF-8' standalone='yes'?>
<Relationships xmlns="http://schemas.openxmlformats.org/package/2006/relationships"><Relationship Id="rId1" Type="http://schemas.openxmlformats.org/officeDocument/2006/relationships/package" Target="../embeddings/Microsoft_Excel_Worksheet265.xlsx"/></Relationships>
</file>

<file path=ppt/charts/_rels/chart267.xml.rels><?xml version='1.0' encoding='UTF-8' standalone='yes'?>
<Relationships xmlns="http://schemas.openxmlformats.org/package/2006/relationships"><Relationship Id="rId1" Type="http://schemas.openxmlformats.org/officeDocument/2006/relationships/package" Target="../embeddings/Microsoft_Excel_Worksheet266.xlsx"/></Relationships>
</file>

<file path=ppt/charts/_rels/chart268.xml.rels><?xml version='1.0' encoding='UTF-8' standalone='yes'?>
<Relationships xmlns="http://schemas.openxmlformats.org/package/2006/relationships"><Relationship Id="rId1" Type="http://schemas.openxmlformats.org/officeDocument/2006/relationships/package" Target="../embeddings/Microsoft_Excel_Worksheet267.xlsx"/></Relationships>
</file>

<file path=ppt/charts/_rels/chart269.xml.rels><?xml version='1.0' encoding='UTF-8' standalone='yes'?>
<Relationships xmlns="http://schemas.openxmlformats.org/package/2006/relationships"><Relationship Id="rId1" Type="http://schemas.openxmlformats.org/officeDocument/2006/relationships/package" Target="../embeddings/Microsoft_Excel_Worksheet268.xlsx"/></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Worksheet26.xlsx"/></Relationships>
</file>

<file path=ppt/charts/_rels/chart270.xml.rels><?xml version='1.0' encoding='UTF-8' standalone='yes'?>
<Relationships xmlns="http://schemas.openxmlformats.org/package/2006/relationships"><Relationship Id="rId1" Type="http://schemas.openxmlformats.org/officeDocument/2006/relationships/package" Target="../embeddings/Microsoft_Excel_Worksheet269.xlsx"/></Relationships>
</file>

<file path=ppt/charts/_rels/chart271.xml.rels><?xml version='1.0' encoding='UTF-8' standalone='yes'?>
<Relationships xmlns="http://schemas.openxmlformats.org/package/2006/relationships"><Relationship Id="rId1" Type="http://schemas.openxmlformats.org/officeDocument/2006/relationships/package" Target="../embeddings/Microsoft_Excel_Worksheet270.xlsx"/></Relationships>
</file>

<file path=ppt/charts/_rels/chart272.xml.rels><?xml version='1.0' encoding='UTF-8' standalone='yes'?>
<Relationships xmlns="http://schemas.openxmlformats.org/package/2006/relationships"><Relationship Id="rId1" Type="http://schemas.openxmlformats.org/officeDocument/2006/relationships/package" Target="../embeddings/Microsoft_Excel_Worksheet271.xlsx"/></Relationships>
</file>

<file path=ppt/charts/_rels/chart273.xml.rels><?xml version='1.0' encoding='UTF-8' standalone='yes'?>
<Relationships xmlns="http://schemas.openxmlformats.org/package/2006/relationships"><Relationship Id="rId1" Type="http://schemas.openxmlformats.org/officeDocument/2006/relationships/package" Target="../embeddings/Microsoft_Excel_Worksheet272.xlsx"/></Relationships>
</file>

<file path=ppt/charts/_rels/chart274.xml.rels><?xml version='1.0' encoding='UTF-8' standalone='yes'?>
<Relationships xmlns="http://schemas.openxmlformats.org/package/2006/relationships"><Relationship Id="rId1" Type="http://schemas.openxmlformats.org/officeDocument/2006/relationships/package" Target="../embeddings/Microsoft_Excel_Worksheet273.xlsx"/></Relationships>
</file>

<file path=ppt/charts/_rels/chart275.xml.rels><?xml version='1.0' encoding='UTF-8' standalone='yes'?>
<Relationships xmlns="http://schemas.openxmlformats.org/package/2006/relationships"><Relationship Id="rId1" Type="http://schemas.openxmlformats.org/officeDocument/2006/relationships/package" Target="../embeddings/Microsoft_Excel_Worksheet274.xlsx"/></Relationships>
</file>

<file path=ppt/charts/_rels/chart276.xml.rels><?xml version='1.0' encoding='UTF-8' standalone='yes'?>
<Relationships xmlns="http://schemas.openxmlformats.org/package/2006/relationships"><Relationship Id="rId1" Type="http://schemas.openxmlformats.org/officeDocument/2006/relationships/package" Target="../embeddings/Microsoft_Excel_Worksheet275.xlsx"/></Relationships>
</file>

<file path=ppt/charts/_rels/chart277.xml.rels><?xml version='1.0' encoding='UTF-8' standalone='yes'?>
<Relationships xmlns="http://schemas.openxmlformats.org/package/2006/relationships"><Relationship Id="rId1" Type="http://schemas.openxmlformats.org/officeDocument/2006/relationships/package" Target="../embeddings/Microsoft_Excel_Worksheet276.xlsx"/></Relationships>
</file>

<file path=ppt/charts/_rels/chart278.xml.rels><?xml version='1.0' encoding='UTF-8' standalone='yes'?>
<Relationships xmlns="http://schemas.openxmlformats.org/package/2006/relationships"><Relationship Id="rId1" Type="http://schemas.openxmlformats.org/officeDocument/2006/relationships/package" Target="../embeddings/Microsoft_Excel_Worksheet277.xlsx"/></Relationships>
</file>

<file path=ppt/charts/_rels/chart279.xml.rels><?xml version='1.0' encoding='UTF-8' standalone='yes'?>
<Relationships xmlns="http://schemas.openxmlformats.org/package/2006/relationships"><Relationship Id="rId1" Type="http://schemas.openxmlformats.org/officeDocument/2006/relationships/package" Target="../embeddings/Microsoft_Excel_Worksheet278.xlsx"/></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Worksheet27.xlsx"/></Relationships>
</file>

<file path=ppt/charts/_rels/chart280.xml.rels><?xml version='1.0' encoding='UTF-8' standalone='yes'?>
<Relationships xmlns="http://schemas.openxmlformats.org/package/2006/relationships"><Relationship Id="rId1" Type="http://schemas.openxmlformats.org/officeDocument/2006/relationships/package" Target="../embeddings/Microsoft_Excel_Worksheet279.xlsx"/></Relationships>
</file>

<file path=ppt/charts/_rels/chart281.xml.rels><?xml version='1.0' encoding='UTF-8' standalone='yes'?>
<Relationships xmlns="http://schemas.openxmlformats.org/package/2006/relationships"><Relationship Id="rId1" Type="http://schemas.openxmlformats.org/officeDocument/2006/relationships/package" Target="../embeddings/Microsoft_Excel_Worksheet280.xlsx"/></Relationships>
</file>

<file path=ppt/charts/_rels/chart282.xml.rels><?xml version='1.0' encoding='UTF-8' standalone='yes'?>
<Relationships xmlns="http://schemas.openxmlformats.org/package/2006/relationships"><Relationship Id="rId1" Type="http://schemas.openxmlformats.org/officeDocument/2006/relationships/package" Target="../embeddings/Microsoft_Excel_Worksheet281.xlsx"/></Relationships>
</file>

<file path=ppt/charts/_rels/chart283.xml.rels><?xml version='1.0' encoding='UTF-8' standalone='yes'?>
<Relationships xmlns="http://schemas.openxmlformats.org/package/2006/relationships"><Relationship Id="rId1" Type="http://schemas.openxmlformats.org/officeDocument/2006/relationships/package" Target="../embeddings/Microsoft_Excel_Worksheet282.xlsx"/></Relationships>
</file>

<file path=ppt/charts/_rels/chart284.xml.rels><?xml version='1.0' encoding='UTF-8' standalone='yes'?>
<Relationships xmlns="http://schemas.openxmlformats.org/package/2006/relationships"><Relationship Id="rId1" Type="http://schemas.openxmlformats.org/officeDocument/2006/relationships/package" Target="../embeddings/Microsoft_Excel_Worksheet283.xlsx"/></Relationships>
</file>

<file path=ppt/charts/_rels/chart285.xml.rels><?xml version='1.0' encoding='UTF-8' standalone='yes'?>
<Relationships xmlns="http://schemas.openxmlformats.org/package/2006/relationships"><Relationship Id="rId1" Type="http://schemas.openxmlformats.org/officeDocument/2006/relationships/package" Target="../embeddings/Microsoft_Excel_Worksheet284.xlsx"/></Relationships>
</file>

<file path=ppt/charts/_rels/chart286.xml.rels><?xml version='1.0' encoding='UTF-8' standalone='yes'?>
<Relationships xmlns="http://schemas.openxmlformats.org/package/2006/relationships"><Relationship Id="rId1" Type="http://schemas.openxmlformats.org/officeDocument/2006/relationships/package" Target="../embeddings/Microsoft_Excel_Worksheet285.xlsx"/></Relationships>
</file>

<file path=ppt/charts/_rels/chart287.xml.rels><?xml version='1.0' encoding='UTF-8' standalone='yes'?>
<Relationships xmlns="http://schemas.openxmlformats.org/package/2006/relationships"><Relationship Id="rId1" Type="http://schemas.openxmlformats.org/officeDocument/2006/relationships/package" Target="../embeddings/Microsoft_Excel_Worksheet286.xlsx"/></Relationships>
</file>

<file path=ppt/charts/_rels/chart288.xml.rels><?xml version='1.0' encoding='UTF-8' standalone='yes'?>
<Relationships xmlns="http://schemas.openxmlformats.org/package/2006/relationships"><Relationship Id="rId1" Type="http://schemas.openxmlformats.org/officeDocument/2006/relationships/package" Target="../embeddings/Microsoft_Excel_Worksheet287.xlsx"/></Relationships>
</file>

<file path=ppt/charts/_rels/chart289.xml.rels><?xml version='1.0' encoding='UTF-8' standalone='yes'?>
<Relationships xmlns="http://schemas.openxmlformats.org/package/2006/relationships"><Relationship Id="rId1" Type="http://schemas.openxmlformats.org/officeDocument/2006/relationships/package" Target="../embeddings/Microsoft_Excel_Worksheet288.xlsx"/></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Worksheet28.xlsx"/></Relationships>
</file>

<file path=ppt/charts/_rels/chart290.xml.rels><?xml version='1.0' encoding='UTF-8' standalone='yes'?>
<Relationships xmlns="http://schemas.openxmlformats.org/package/2006/relationships"><Relationship Id="rId1" Type="http://schemas.openxmlformats.org/officeDocument/2006/relationships/package" Target="../embeddings/Microsoft_Excel_Worksheet289.xlsx"/></Relationships>
</file>

<file path=ppt/charts/_rels/chart291.xml.rels><?xml version='1.0' encoding='UTF-8' standalone='yes'?>
<Relationships xmlns="http://schemas.openxmlformats.org/package/2006/relationships"><Relationship Id="rId1" Type="http://schemas.openxmlformats.org/officeDocument/2006/relationships/package" Target="../embeddings/Microsoft_Excel_Worksheet290.xlsx"/></Relationships>
</file>

<file path=ppt/charts/_rels/chart292.xml.rels><?xml version='1.0' encoding='UTF-8' standalone='yes'?>
<Relationships xmlns="http://schemas.openxmlformats.org/package/2006/relationships"><Relationship Id="rId1" Type="http://schemas.openxmlformats.org/officeDocument/2006/relationships/package" Target="../embeddings/Microsoft_Excel_Worksheet291.xlsx"/></Relationships>
</file>

<file path=ppt/charts/_rels/chart293.xml.rels><?xml version='1.0' encoding='UTF-8' standalone='yes'?>
<Relationships xmlns="http://schemas.openxmlformats.org/package/2006/relationships"><Relationship Id="rId1" Type="http://schemas.openxmlformats.org/officeDocument/2006/relationships/package" Target="../embeddings/Microsoft_Excel_Worksheet292.xlsx"/></Relationships>
</file>

<file path=ppt/charts/_rels/chart294.xml.rels><?xml version='1.0' encoding='UTF-8' standalone='yes'?>
<Relationships xmlns="http://schemas.openxmlformats.org/package/2006/relationships"><Relationship Id="rId1" Type="http://schemas.openxmlformats.org/officeDocument/2006/relationships/package" Target="../embeddings/Microsoft_Excel_Worksheet293.xlsx"/></Relationships>
</file>

<file path=ppt/charts/_rels/chart295.xml.rels><?xml version='1.0' encoding='UTF-8' standalone='yes'?>
<Relationships xmlns="http://schemas.openxmlformats.org/package/2006/relationships"><Relationship Id="rId1" Type="http://schemas.openxmlformats.org/officeDocument/2006/relationships/package" Target="../embeddings/Microsoft_Excel_Worksheet294.xlsx"/></Relationships>
</file>

<file path=ppt/charts/_rels/chart296.xml.rels><?xml version='1.0' encoding='UTF-8' standalone='yes'?>
<Relationships xmlns="http://schemas.openxmlformats.org/package/2006/relationships"><Relationship Id="rId1" Type="http://schemas.openxmlformats.org/officeDocument/2006/relationships/package" Target="../embeddings/Microsoft_Excel_Worksheet295.xlsx"/></Relationships>
</file>

<file path=ppt/charts/_rels/chart297.xml.rels><?xml version='1.0' encoding='UTF-8' standalone='yes'?>
<Relationships xmlns="http://schemas.openxmlformats.org/package/2006/relationships"><Relationship Id="rId1" Type="http://schemas.openxmlformats.org/officeDocument/2006/relationships/package" Target="../embeddings/Microsoft_Excel_Worksheet296.xlsx"/></Relationships>
</file>

<file path=ppt/charts/_rels/chart298.xml.rels><?xml version='1.0' encoding='UTF-8' standalone='yes'?>
<Relationships xmlns="http://schemas.openxmlformats.org/package/2006/relationships"><Relationship Id="rId1" Type="http://schemas.openxmlformats.org/officeDocument/2006/relationships/package" Target="../embeddings/Microsoft_Excel_Worksheet297.xlsx"/></Relationships>
</file>

<file path=ppt/charts/_rels/chart299.xml.rels><?xml version='1.0' encoding='UTF-8' standalone='yes'?>
<Relationships xmlns="http://schemas.openxmlformats.org/package/2006/relationships"><Relationship Id="rId1" Type="http://schemas.openxmlformats.org/officeDocument/2006/relationships/package" Target="../embeddings/Microsoft_Excel_Worksheet298.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30.xml.rels><?xml version='1.0' encoding='UTF-8' standalone='yes'?>
<Relationships xmlns="http://schemas.openxmlformats.org/package/2006/relationships"><Relationship Id="rId1" Type="http://schemas.openxmlformats.org/officeDocument/2006/relationships/package" Target="../embeddings/Microsoft_Excel_Worksheet29.xlsx"/></Relationships>
</file>

<file path=ppt/charts/_rels/chart300.xml.rels><?xml version='1.0' encoding='UTF-8' standalone='yes'?>
<Relationships xmlns="http://schemas.openxmlformats.org/package/2006/relationships"><Relationship Id="rId1" Type="http://schemas.openxmlformats.org/officeDocument/2006/relationships/package" Target="../embeddings/Microsoft_Excel_Worksheet299.xlsx"/></Relationships>
</file>

<file path=ppt/charts/_rels/chart301.xml.rels><?xml version='1.0' encoding='UTF-8' standalone='yes'?>
<Relationships xmlns="http://schemas.openxmlformats.org/package/2006/relationships"><Relationship Id="rId1" Type="http://schemas.openxmlformats.org/officeDocument/2006/relationships/package" Target="../embeddings/Microsoft_Excel_Worksheet300.xlsx"/></Relationships>
</file>

<file path=ppt/charts/_rels/chart302.xml.rels><?xml version='1.0' encoding='UTF-8' standalone='yes'?>
<Relationships xmlns="http://schemas.openxmlformats.org/package/2006/relationships"><Relationship Id="rId1" Type="http://schemas.openxmlformats.org/officeDocument/2006/relationships/package" Target="../embeddings/Microsoft_Excel_Worksheet301.xlsx"/></Relationships>
</file>

<file path=ppt/charts/_rels/chart303.xml.rels><?xml version='1.0' encoding='UTF-8' standalone='yes'?>
<Relationships xmlns="http://schemas.openxmlformats.org/package/2006/relationships"><Relationship Id="rId1" Type="http://schemas.openxmlformats.org/officeDocument/2006/relationships/package" Target="../embeddings/Microsoft_Excel_Worksheet302.xlsx"/></Relationships>
</file>

<file path=ppt/charts/_rels/chart304.xml.rels><?xml version='1.0' encoding='UTF-8' standalone='yes'?>
<Relationships xmlns="http://schemas.openxmlformats.org/package/2006/relationships"><Relationship Id="rId1" Type="http://schemas.openxmlformats.org/officeDocument/2006/relationships/package" Target="../embeddings/Microsoft_Excel_Worksheet303.xlsx"/></Relationships>
</file>

<file path=ppt/charts/_rels/chart305.xml.rels><?xml version='1.0' encoding='UTF-8' standalone='yes'?>
<Relationships xmlns="http://schemas.openxmlformats.org/package/2006/relationships"><Relationship Id="rId1" Type="http://schemas.openxmlformats.org/officeDocument/2006/relationships/package" Target="../embeddings/Microsoft_Excel_Worksheet304.xlsx"/></Relationships>
</file>

<file path=ppt/charts/_rels/chart306.xml.rels><?xml version='1.0' encoding='UTF-8' standalone='yes'?>
<Relationships xmlns="http://schemas.openxmlformats.org/package/2006/relationships"><Relationship Id="rId1" Type="http://schemas.openxmlformats.org/officeDocument/2006/relationships/package" Target="../embeddings/Microsoft_Excel_Worksheet305.xlsx"/></Relationships>
</file>

<file path=ppt/charts/_rels/chart307.xml.rels><?xml version='1.0' encoding='UTF-8' standalone='yes'?>
<Relationships xmlns="http://schemas.openxmlformats.org/package/2006/relationships"><Relationship Id="rId1" Type="http://schemas.openxmlformats.org/officeDocument/2006/relationships/package" Target="../embeddings/Microsoft_Excel_Worksheet306.xlsx"/></Relationships>
</file>

<file path=ppt/charts/_rels/chart308.xml.rels><?xml version='1.0' encoding='UTF-8' standalone='yes'?>
<Relationships xmlns="http://schemas.openxmlformats.org/package/2006/relationships"><Relationship Id="rId1" Type="http://schemas.openxmlformats.org/officeDocument/2006/relationships/package" Target="../embeddings/Microsoft_Excel_Worksheet307.xlsx"/></Relationships>
</file>

<file path=ppt/charts/_rels/chart309.xml.rels><?xml version='1.0' encoding='UTF-8' standalone='yes'?>
<Relationships xmlns="http://schemas.openxmlformats.org/package/2006/relationships"><Relationship Id="rId1" Type="http://schemas.openxmlformats.org/officeDocument/2006/relationships/package" Target="../embeddings/Microsoft_Excel_Worksheet308.xlsx"/></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_Worksheet30.xlsx"/></Relationships>
</file>

<file path=ppt/charts/_rels/chart310.xml.rels><?xml version='1.0' encoding='UTF-8' standalone='yes'?>
<Relationships xmlns="http://schemas.openxmlformats.org/package/2006/relationships"><Relationship Id="rId1" Type="http://schemas.openxmlformats.org/officeDocument/2006/relationships/package" Target="../embeddings/Microsoft_Excel_Worksheet309.xlsx"/></Relationships>
</file>

<file path=ppt/charts/_rels/chart311.xml.rels><?xml version='1.0' encoding='UTF-8' standalone='yes'?>
<Relationships xmlns="http://schemas.openxmlformats.org/package/2006/relationships"><Relationship Id="rId1" Type="http://schemas.openxmlformats.org/officeDocument/2006/relationships/package" Target="../embeddings/Microsoft_Excel_Worksheet310.xlsx"/></Relationships>
</file>

<file path=ppt/charts/_rels/chart312.xml.rels><?xml version='1.0' encoding='UTF-8' standalone='yes'?>
<Relationships xmlns="http://schemas.openxmlformats.org/package/2006/relationships"><Relationship Id="rId1" Type="http://schemas.openxmlformats.org/officeDocument/2006/relationships/package" Target="../embeddings/Microsoft_Excel_Worksheet311.xlsx"/></Relationships>
</file>

<file path=ppt/charts/_rels/chart313.xml.rels><?xml version='1.0' encoding='UTF-8' standalone='yes'?>
<Relationships xmlns="http://schemas.openxmlformats.org/package/2006/relationships"><Relationship Id="rId1" Type="http://schemas.openxmlformats.org/officeDocument/2006/relationships/package" Target="../embeddings/Microsoft_Excel_Worksheet312.xlsx"/></Relationships>
</file>

<file path=ppt/charts/_rels/chart314.xml.rels><?xml version='1.0' encoding='UTF-8' standalone='yes'?>
<Relationships xmlns="http://schemas.openxmlformats.org/package/2006/relationships"><Relationship Id="rId1" Type="http://schemas.openxmlformats.org/officeDocument/2006/relationships/package" Target="../embeddings/Microsoft_Excel_Worksheet313.xlsx"/></Relationships>
</file>

<file path=ppt/charts/_rels/chart315.xml.rels><?xml version='1.0' encoding='UTF-8' standalone='yes'?>
<Relationships xmlns="http://schemas.openxmlformats.org/package/2006/relationships"><Relationship Id="rId1" Type="http://schemas.openxmlformats.org/officeDocument/2006/relationships/package" Target="../embeddings/Microsoft_Excel_Worksheet314.xlsx"/></Relationships>
</file>

<file path=ppt/charts/_rels/chart316.xml.rels><?xml version='1.0' encoding='UTF-8' standalone='yes'?>
<Relationships xmlns="http://schemas.openxmlformats.org/package/2006/relationships"><Relationship Id="rId1" Type="http://schemas.openxmlformats.org/officeDocument/2006/relationships/package" Target="../embeddings/Microsoft_Excel_Worksheet315.xlsx"/></Relationships>
</file>

<file path=ppt/charts/_rels/chart317.xml.rels><?xml version='1.0' encoding='UTF-8' standalone='yes'?>
<Relationships xmlns="http://schemas.openxmlformats.org/package/2006/relationships"><Relationship Id="rId1" Type="http://schemas.openxmlformats.org/officeDocument/2006/relationships/package" Target="../embeddings/Microsoft_Excel_Worksheet316.xlsx"/></Relationships>
</file>

<file path=ppt/charts/_rels/chart318.xml.rels><?xml version='1.0' encoding='UTF-8' standalone='yes'?>
<Relationships xmlns="http://schemas.openxmlformats.org/package/2006/relationships"><Relationship Id="rId1" Type="http://schemas.openxmlformats.org/officeDocument/2006/relationships/package" Target="../embeddings/Microsoft_Excel_Worksheet317.xlsx"/></Relationships>
</file>

<file path=ppt/charts/_rels/chart319.xml.rels><?xml version='1.0' encoding='UTF-8' standalone='yes'?>
<Relationships xmlns="http://schemas.openxmlformats.org/package/2006/relationships"><Relationship Id="rId1" Type="http://schemas.openxmlformats.org/officeDocument/2006/relationships/package" Target="../embeddings/Microsoft_Excel_Worksheet318.xlsx"/></Relationships>
</file>

<file path=ppt/charts/_rels/chart32.xml.rels><?xml version='1.0' encoding='UTF-8' standalone='yes'?>
<Relationships xmlns="http://schemas.openxmlformats.org/package/2006/relationships"><Relationship Id="rId1" Type="http://schemas.openxmlformats.org/officeDocument/2006/relationships/package" Target="../embeddings/Microsoft_Excel_Worksheet31.xlsx"/></Relationships>
</file>

<file path=ppt/charts/_rels/chart320.xml.rels><?xml version='1.0' encoding='UTF-8' standalone='yes'?>
<Relationships xmlns="http://schemas.openxmlformats.org/package/2006/relationships"><Relationship Id="rId1" Type="http://schemas.openxmlformats.org/officeDocument/2006/relationships/package" Target="../embeddings/Microsoft_Excel_Worksheet319.xlsx"/></Relationships>
</file>

<file path=ppt/charts/_rels/chart321.xml.rels><?xml version='1.0' encoding='UTF-8' standalone='yes'?>
<Relationships xmlns="http://schemas.openxmlformats.org/package/2006/relationships"><Relationship Id="rId1" Type="http://schemas.openxmlformats.org/officeDocument/2006/relationships/package" Target="../embeddings/Microsoft_Excel_Worksheet320.xlsx"/></Relationships>
</file>

<file path=ppt/charts/_rels/chart322.xml.rels><?xml version='1.0' encoding='UTF-8' standalone='yes'?>
<Relationships xmlns="http://schemas.openxmlformats.org/package/2006/relationships"><Relationship Id="rId1" Type="http://schemas.openxmlformats.org/officeDocument/2006/relationships/package" Target="../embeddings/Microsoft_Excel_Worksheet321.xlsx"/></Relationships>
</file>

<file path=ppt/charts/_rels/chart323.xml.rels><?xml version='1.0' encoding='UTF-8' standalone='yes'?>
<Relationships xmlns="http://schemas.openxmlformats.org/package/2006/relationships"><Relationship Id="rId1" Type="http://schemas.openxmlformats.org/officeDocument/2006/relationships/package" Target="../embeddings/Microsoft_Excel_Worksheet322.xlsx"/></Relationships>
</file>

<file path=ppt/charts/_rels/chart324.xml.rels><?xml version='1.0' encoding='UTF-8' standalone='yes'?>
<Relationships xmlns="http://schemas.openxmlformats.org/package/2006/relationships"><Relationship Id="rId1" Type="http://schemas.openxmlformats.org/officeDocument/2006/relationships/package" Target="../embeddings/Microsoft_Excel_Worksheet323.xlsx"/></Relationships>
</file>

<file path=ppt/charts/_rels/chart325.xml.rels><?xml version='1.0' encoding='UTF-8' standalone='yes'?>
<Relationships xmlns="http://schemas.openxmlformats.org/package/2006/relationships"><Relationship Id="rId1" Type="http://schemas.openxmlformats.org/officeDocument/2006/relationships/package" Target="../embeddings/Microsoft_Excel_Worksheet324.xlsx"/></Relationships>
</file>

<file path=ppt/charts/_rels/chart326.xml.rels><?xml version='1.0' encoding='UTF-8' standalone='yes'?>
<Relationships xmlns="http://schemas.openxmlformats.org/package/2006/relationships"><Relationship Id="rId1" Type="http://schemas.openxmlformats.org/officeDocument/2006/relationships/package" Target="../embeddings/Microsoft_Excel_Worksheet325.xlsx"/></Relationships>
</file>

<file path=ppt/charts/_rels/chart327.xml.rels><?xml version='1.0' encoding='UTF-8' standalone='yes'?>
<Relationships xmlns="http://schemas.openxmlformats.org/package/2006/relationships"><Relationship Id="rId1" Type="http://schemas.openxmlformats.org/officeDocument/2006/relationships/package" Target="../embeddings/Microsoft_Excel_Worksheet326.xlsx"/></Relationships>
</file>

<file path=ppt/charts/_rels/chart328.xml.rels><?xml version='1.0' encoding='UTF-8' standalone='yes'?>
<Relationships xmlns="http://schemas.openxmlformats.org/package/2006/relationships"><Relationship Id="rId1" Type="http://schemas.openxmlformats.org/officeDocument/2006/relationships/package" Target="../embeddings/Microsoft_Excel_Worksheet327.xlsx"/></Relationships>
</file>

<file path=ppt/charts/_rels/chart329.xml.rels><?xml version='1.0' encoding='UTF-8' standalone='yes'?>
<Relationships xmlns="http://schemas.openxmlformats.org/package/2006/relationships"><Relationship Id="rId1" Type="http://schemas.openxmlformats.org/officeDocument/2006/relationships/package" Target="../embeddings/Microsoft_Excel_Worksheet328.xlsx"/></Relationships>
</file>

<file path=ppt/charts/_rels/chart33.xml.rels><?xml version='1.0' encoding='UTF-8' standalone='yes'?>
<Relationships xmlns="http://schemas.openxmlformats.org/package/2006/relationships"><Relationship Id="rId1" Type="http://schemas.openxmlformats.org/officeDocument/2006/relationships/package" Target="../embeddings/Microsoft_Excel_Worksheet32.xlsx"/></Relationships>
</file>

<file path=ppt/charts/_rels/chart330.xml.rels><?xml version='1.0' encoding='UTF-8' standalone='yes'?>
<Relationships xmlns="http://schemas.openxmlformats.org/package/2006/relationships"><Relationship Id="rId1" Type="http://schemas.openxmlformats.org/officeDocument/2006/relationships/package" Target="../embeddings/Microsoft_Excel_Worksheet329.xlsx"/></Relationships>
</file>

<file path=ppt/charts/_rels/chart331.xml.rels><?xml version='1.0' encoding='UTF-8' standalone='yes'?>
<Relationships xmlns="http://schemas.openxmlformats.org/package/2006/relationships"><Relationship Id="rId1" Type="http://schemas.openxmlformats.org/officeDocument/2006/relationships/package" Target="../embeddings/Microsoft_Excel_Worksheet330.xlsx"/></Relationships>
</file>

<file path=ppt/charts/_rels/chart332.xml.rels><?xml version='1.0' encoding='UTF-8' standalone='yes'?>
<Relationships xmlns="http://schemas.openxmlformats.org/package/2006/relationships"><Relationship Id="rId1" Type="http://schemas.openxmlformats.org/officeDocument/2006/relationships/package" Target="../embeddings/Microsoft_Excel_Worksheet331.xlsx"/></Relationships>
</file>

<file path=ppt/charts/_rels/chart333.xml.rels><?xml version='1.0' encoding='UTF-8' standalone='yes'?>
<Relationships xmlns="http://schemas.openxmlformats.org/package/2006/relationships"><Relationship Id="rId1" Type="http://schemas.openxmlformats.org/officeDocument/2006/relationships/package" Target="../embeddings/Microsoft_Excel_Worksheet332.xlsx"/></Relationships>
</file>

<file path=ppt/charts/_rels/chart334.xml.rels><?xml version='1.0' encoding='UTF-8' standalone='yes'?>
<Relationships xmlns="http://schemas.openxmlformats.org/package/2006/relationships"><Relationship Id="rId1" Type="http://schemas.openxmlformats.org/officeDocument/2006/relationships/package" Target="../embeddings/Microsoft_Excel_Worksheet333.xlsx"/></Relationships>
</file>

<file path=ppt/charts/_rels/chart335.xml.rels><?xml version='1.0' encoding='UTF-8' standalone='yes'?>
<Relationships xmlns="http://schemas.openxmlformats.org/package/2006/relationships"><Relationship Id="rId1" Type="http://schemas.openxmlformats.org/officeDocument/2006/relationships/package" Target="../embeddings/Microsoft_Excel_Worksheet334.xlsx"/></Relationships>
</file>

<file path=ppt/charts/_rels/chart336.xml.rels><?xml version='1.0' encoding='UTF-8' standalone='yes'?>
<Relationships xmlns="http://schemas.openxmlformats.org/package/2006/relationships"><Relationship Id="rId1" Type="http://schemas.openxmlformats.org/officeDocument/2006/relationships/package" Target="../embeddings/Microsoft_Excel_Worksheet335.xlsx"/></Relationships>
</file>

<file path=ppt/charts/_rels/chart337.xml.rels><?xml version='1.0' encoding='UTF-8' standalone='yes'?>
<Relationships xmlns="http://schemas.openxmlformats.org/package/2006/relationships"><Relationship Id="rId1" Type="http://schemas.openxmlformats.org/officeDocument/2006/relationships/package" Target="../embeddings/Microsoft_Excel_Worksheet336.xlsx"/></Relationships>
</file>

<file path=ppt/charts/_rels/chart338.xml.rels><?xml version='1.0' encoding='UTF-8' standalone='yes'?>
<Relationships xmlns="http://schemas.openxmlformats.org/package/2006/relationships"><Relationship Id="rId1" Type="http://schemas.openxmlformats.org/officeDocument/2006/relationships/package" Target="../embeddings/Microsoft_Excel_Worksheet337.xlsx"/></Relationships>
</file>

<file path=ppt/charts/_rels/chart339.xml.rels><?xml version='1.0' encoding='UTF-8' standalone='yes'?>
<Relationships xmlns="http://schemas.openxmlformats.org/package/2006/relationships"><Relationship Id="rId1" Type="http://schemas.openxmlformats.org/officeDocument/2006/relationships/package" Target="../embeddings/Microsoft_Excel_Worksheet338.xlsx"/></Relationships>
</file>

<file path=ppt/charts/_rels/chart34.xml.rels><?xml version='1.0' encoding='UTF-8' standalone='yes'?>
<Relationships xmlns="http://schemas.openxmlformats.org/package/2006/relationships"><Relationship Id="rId1" Type="http://schemas.openxmlformats.org/officeDocument/2006/relationships/package" Target="../embeddings/Microsoft_Excel_Worksheet33.xlsx"/></Relationships>
</file>

<file path=ppt/charts/_rels/chart340.xml.rels><?xml version='1.0' encoding='UTF-8' standalone='yes'?>
<Relationships xmlns="http://schemas.openxmlformats.org/package/2006/relationships"><Relationship Id="rId1" Type="http://schemas.openxmlformats.org/officeDocument/2006/relationships/package" Target="../embeddings/Microsoft_Excel_Worksheet339.xlsx"/></Relationships>
</file>

<file path=ppt/charts/_rels/chart341.xml.rels><?xml version='1.0' encoding='UTF-8' standalone='yes'?>
<Relationships xmlns="http://schemas.openxmlformats.org/package/2006/relationships"><Relationship Id="rId1" Type="http://schemas.openxmlformats.org/officeDocument/2006/relationships/package" Target="../embeddings/Microsoft_Excel_Worksheet340.xlsx"/></Relationships>
</file>

<file path=ppt/charts/_rels/chart342.xml.rels><?xml version='1.0' encoding='UTF-8' standalone='yes'?>
<Relationships xmlns="http://schemas.openxmlformats.org/package/2006/relationships"><Relationship Id="rId1" Type="http://schemas.openxmlformats.org/officeDocument/2006/relationships/package" Target="../embeddings/Microsoft_Excel_Worksheet341.xlsx"/></Relationships>
</file>

<file path=ppt/charts/_rels/chart343.xml.rels><?xml version='1.0' encoding='UTF-8' standalone='yes'?>
<Relationships xmlns="http://schemas.openxmlformats.org/package/2006/relationships"><Relationship Id="rId1" Type="http://schemas.openxmlformats.org/officeDocument/2006/relationships/package" Target="../embeddings/Microsoft_Excel_Worksheet342.xlsx"/></Relationships>
</file>

<file path=ppt/charts/_rels/chart344.xml.rels><?xml version='1.0' encoding='UTF-8' standalone='yes'?>
<Relationships xmlns="http://schemas.openxmlformats.org/package/2006/relationships"><Relationship Id="rId1" Type="http://schemas.openxmlformats.org/officeDocument/2006/relationships/package" Target="../embeddings/Microsoft_Excel_Worksheet343.xlsx"/></Relationships>
</file>

<file path=ppt/charts/_rels/chart345.xml.rels><?xml version='1.0' encoding='UTF-8' standalone='yes'?>
<Relationships xmlns="http://schemas.openxmlformats.org/package/2006/relationships"><Relationship Id="rId1" Type="http://schemas.openxmlformats.org/officeDocument/2006/relationships/package" Target="../embeddings/Microsoft_Excel_Worksheet344.xlsx"/></Relationships>
</file>

<file path=ppt/charts/_rels/chart346.xml.rels><?xml version='1.0' encoding='UTF-8' standalone='yes'?>
<Relationships xmlns="http://schemas.openxmlformats.org/package/2006/relationships"><Relationship Id="rId1" Type="http://schemas.openxmlformats.org/officeDocument/2006/relationships/package" Target="../embeddings/Microsoft_Excel_Worksheet345.xlsx"/></Relationships>
</file>

<file path=ppt/charts/_rels/chart347.xml.rels><?xml version='1.0' encoding='UTF-8' standalone='yes'?>
<Relationships xmlns="http://schemas.openxmlformats.org/package/2006/relationships"><Relationship Id="rId1" Type="http://schemas.openxmlformats.org/officeDocument/2006/relationships/package" Target="../embeddings/Microsoft_Excel_Worksheet346.xlsx"/></Relationships>
</file>

<file path=ppt/charts/_rels/chart348.xml.rels><?xml version='1.0' encoding='UTF-8' standalone='yes'?>
<Relationships xmlns="http://schemas.openxmlformats.org/package/2006/relationships"><Relationship Id="rId1" Type="http://schemas.openxmlformats.org/officeDocument/2006/relationships/package" Target="../embeddings/Microsoft_Excel_Worksheet347.xlsx"/></Relationships>
</file>

<file path=ppt/charts/_rels/chart349.xml.rels><?xml version='1.0' encoding='UTF-8' standalone='yes'?>
<Relationships xmlns="http://schemas.openxmlformats.org/package/2006/relationships"><Relationship Id="rId1" Type="http://schemas.openxmlformats.org/officeDocument/2006/relationships/package" Target="../embeddings/Microsoft_Excel_Worksheet348.xlsx"/></Relationships>
</file>

<file path=ppt/charts/_rels/chart35.xml.rels><?xml version='1.0' encoding='UTF-8' standalone='yes'?>
<Relationships xmlns="http://schemas.openxmlformats.org/package/2006/relationships"><Relationship Id="rId1" Type="http://schemas.openxmlformats.org/officeDocument/2006/relationships/package" Target="../embeddings/Microsoft_Excel_Worksheet34.xlsx"/></Relationships>
</file>

<file path=ppt/charts/_rels/chart350.xml.rels><?xml version='1.0' encoding='UTF-8' standalone='yes'?>
<Relationships xmlns="http://schemas.openxmlformats.org/package/2006/relationships"><Relationship Id="rId1" Type="http://schemas.openxmlformats.org/officeDocument/2006/relationships/package" Target="../embeddings/Microsoft_Excel_Worksheet349.xlsx"/></Relationships>
</file>

<file path=ppt/charts/_rels/chart351.xml.rels><?xml version='1.0' encoding='UTF-8' standalone='yes'?>
<Relationships xmlns="http://schemas.openxmlformats.org/package/2006/relationships"><Relationship Id="rId1" Type="http://schemas.openxmlformats.org/officeDocument/2006/relationships/package" Target="../embeddings/Microsoft_Excel_Worksheet350.xlsx"/></Relationships>
</file>

<file path=ppt/charts/_rels/chart352.xml.rels><?xml version='1.0' encoding='UTF-8' standalone='yes'?>
<Relationships xmlns="http://schemas.openxmlformats.org/package/2006/relationships"><Relationship Id="rId1" Type="http://schemas.openxmlformats.org/officeDocument/2006/relationships/package" Target="../embeddings/Microsoft_Excel_Worksheet351.xlsx"/></Relationships>
</file>

<file path=ppt/charts/_rels/chart353.xml.rels><?xml version='1.0' encoding='UTF-8' standalone='yes'?>
<Relationships xmlns="http://schemas.openxmlformats.org/package/2006/relationships"><Relationship Id="rId1" Type="http://schemas.openxmlformats.org/officeDocument/2006/relationships/package" Target="../embeddings/Microsoft_Excel_Worksheet352.xlsx"/></Relationships>
</file>

<file path=ppt/charts/_rels/chart354.xml.rels><?xml version='1.0' encoding='UTF-8' standalone='yes'?>
<Relationships xmlns="http://schemas.openxmlformats.org/package/2006/relationships"><Relationship Id="rId1" Type="http://schemas.openxmlformats.org/officeDocument/2006/relationships/package" Target="../embeddings/Microsoft_Excel_Worksheet353.xlsx"/></Relationships>
</file>

<file path=ppt/charts/_rels/chart355.xml.rels><?xml version='1.0' encoding='UTF-8' standalone='yes'?>
<Relationships xmlns="http://schemas.openxmlformats.org/package/2006/relationships"><Relationship Id="rId1" Type="http://schemas.openxmlformats.org/officeDocument/2006/relationships/package" Target="../embeddings/Microsoft_Excel_Worksheet354.xlsx"/></Relationships>
</file>

<file path=ppt/charts/_rels/chart356.xml.rels><?xml version='1.0' encoding='UTF-8' standalone='yes'?>
<Relationships xmlns="http://schemas.openxmlformats.org/package/2006/relationships"><Relationship Id="rId1" Type="http://schemas.openxmlformats.org/officeDocument/2006/relationships/package" Target="../embeddings/Microsoft_Excel_Worksheet355.xlsx"/></Relationships>
</file>

<file path=ppt/charts/_rels/chart357.xml.rels><?xml version='1.0' encoding='UTF-8' standalone='yes'?>
<Relationships xmlns="http://schemas.openxmlformats.org/package/2006/relationships"><Relationship Id="rId1" Type="http://schemas.openxmlformats.org/officeDocument/2006/relationships/package" Target="../embeddings/Microsoft_Excel_Worksheet356.xlsx"/></Relationships>
</file>

<file path=ppt/charts/_rels/chart358.xml.rels><?xml version='1.0' encoding='UTF-8' standalone='yes'?>
<Relationships xmlns="http://schemas.openxmlformats.org/package/2006/relationships"><Relationship Id="rId1" Type="http://schemas.openxmlformats.org/officeDocument/2006/relationships/package" Target="../embeddings/Microsoft_Excel_Worksheet357.xlsx"/></Relationships>
</file>

<file path=ppt/charts/_rels/chart359.xml.rels><?xml version='1.0' encoding='UTF-8' standalone='yes'?>
<Relationships xmlns="http://schemas.openxmlformats.org/package/2006/relationships"><Relationship Id="rId1" Type="http://schemas.openxmlformats.org/officeDocument/2006/relationships/package" Target="../embeddings/Microsoft_Excel_Worksheet358.xlsx"/></Relationships>
</file>

<file path=ppt/charts/_rels/chart36.xml.rels><?xml version='1.0' encoding='UTF-8' standalone='yes'?>
<Relationships xmlns="http://schemas.openxmlformats.org/package/2006/relationships"><Relationship Id="rId1" Type="http://schemas.openxmlformats.org/officeDocument/2006/relationships/package" Target="../embeddings/Microsoft_Excel_Worksheet35.xlsx"/></Relationships>
</file>

<file path=ppt/charts/_rels/chart360.xml.rels><?xml version='1.0' encoding='UTF-8' standalone='yes'?>
<Relationships xmlns="http://schemas.openxmlformats.org/package/2006/relationships"><Relationship Id="rId1" Type="http://schemas.openxmlformats.org/officeDocument/2006/relationships/package" Target="../embeddings/Microsoft_Excel_Worksheet359.xlsx"/></Relationships>
</file>

<file path=ppt/charts/_rels/chart361.xml.rels><?xml version='1.0' encoding='UTF-8' standalone='yes'?>
<Relationships xmlns="http://schemas.openxmlformats.org/package/2006/relationships"><Relationship Id="rId1" Type="http://schemas.openxmlformats.org/officeDocument/2006/relationships/package" Target="../embeddings/Microsoft_Excel_Worksheet360.xlsx"/></Relationships>
</file>

<file path=ppt/charts/_rels/chart362.xml.rels><?xml version='1.0' encoding='UTF-8' standalone='yes'?>
<Relationships xmlns="http://schemas.openxmlformats.org/package/2006/relationships"><Relationship Id="rId1" Type="http://schemas.openxmlformats.org/officeDocument/2006/relationships/package" Target="../embeddings/Microsoft_Excel_Worksheet361.xlsx"/></Relationships>
</file>

<file path=ppt/charts/_rels/chart363.xml.rels><?xml version='1.0' encoding='UTF-8' standalone='yes'?>
<Relationships xmlns="http://schemas.openxmlformats.org/package/2006/relationships"><Relationship Id="rId1" Type="http://schemas.openxmlformats.org/officeDocument/2006/relationships/package" Target="../embeddings/Microsoft_Excel_Worksheet362.xlsx"/></Relationships>
</file>

<file path=ppt/charts/_rels/chart364.xml.rels><?xml version='1.0' encoding='UTF-8' standalone='yes'?>
<Relationships xmlns="http://schemas.openxmlformats.org/package/2006/relationships"><Relationship Id="rId1" Type="http://schemas.openxmlformats.org/officeDocument/2006/relationships/package" Target="../embeddings/Microsoft_Excel_Worksheet363.xlsx"/></Relationships>
</file>

<file path=ppt/charts/_rels/chart365.xml.rels><?xml version='1.0' encoding='UTF-8' standalone='yes'?>
<Relationships xmlns="http://schemas.openxmlformats.org/package/2006/relationships"><Relationship Id="rId1" Type="http://schemas.openxmlformats.org/officeDocument/2006/relationships/package" Target="../embeddings/Microsoft_Excel_Worksheet364.xlsx"/></Relationships>
</file>

<file path=ppt/charts/_rels/chart366.xml.rels><?xml version='1.0' encoding='UTF-8' standalone='yes'?>
<Relationships xmlns="http://schemas.openxmlformats.org/package/2006/relationships"><Relationship Id="rId1" Type="http://schemas.openxmlformats.org/officeDocument/2006/relationships/package" Target="../embeddings/Microsoft_Excel_Worksheet365.xlsx"/></Relationships>
</file>

<file path=ppt/charts/_rels/chart367.xml.rels><?xml version='1.0' encoding='UTF-8' standalone='yes'?>
<Relationships xmlns="http://schemas.openxmlformats.org/package/2006/relationships"><Relationship Id="rId1" Type="http://schemas.openxmlformats.org/officeDocument/2006/relationships/package" Target="../embeddings/Microsoft_Excel_Worksheet366.xlsx"/></Relationships>
</file>

<file path=ppt/charts/_rels/chart368.xml.rels><?xml version='1.0' encoding='UTF-8' standalone='yes'?>
<Relationships xmlns="http://schemas.openxmlformats.org/package/2006/relationships"><Relationship Id="rId1" Type="http://schemas.openxmlformats.org/officeDocument/2006/relationships/package" Target="../embeddings/Microsoft_Excel_Worksheet367.xlsx"/></Relationships>
</file>

<file path=ppt/charts/_rels/chart369.xml.rels><?xml version='1.0' encoding='UTF-8' standalone='yes'?>
<Relationships xmlns="http://schemas.openxmlformats.org/package/2006/relationships"><Relationship Id="rId1" Type="http://schemas.openxmlformats.org/officeDocument/2006/relationships/package" Target="../embeddings/Microsoft_Excel_Worksheet368.xlsx"/></Relationships>
</file>

<file path=ppt/charts/_rels/chart37.xml.rels><?xml version='1.0' encoding='UTF-8' standalone='yes'?>
<Relationships xmlns="http://schemas.openxmlformats.org/package/2006/relationships"><Relationship Id="rId1" Type="http://schemas.openxmlformats.org/officeDocument/2006/relationships/package" Target="../embeddings/Microsoft_Excel_Worksheet36.xlsx"/></Relationships>
</file>

<file path=ppt/charts/_rels/chart370.xml.rels><?xml version='1.0' encoding='UTF-8' standalone='yes'?>
<Relationships xmlns="http://schemas.openxmlformats.org/package/2006/relationships"><Relationship Id="rId1" Type="http://schemas.openxmlformats.org/officeDocument/2006/relationships/package" Target="../embeddings/Microsoft_Excel_Worksheet369.xlsx"/></Relationships>
</file>

<file path=ppt/charts/_rels/chart371.xml.rels><?xml version='1.0' encoding='UTF-8' standalone='yes'?>
<Relationships xmlns="http://schemas.openxmlformats.org/package/2006/relationships"><Relationship Id="rId1" Type="http://schemas.openxmlformats.org/officeDocument/2006/relationships/package" Target="../embeddings/Microsoft_Excel_Worksheet370.xlsx"/></Relationships>
</file>

<file path=ppt/charts/_rels/chart372.xml.rels><?xml version='1.0' encoding='UTF-8' standalone='yes'?>
<Relationships xmlns="http://schemas.openxmlformats.org/package/2006/relationships"><Relationship Id="rId1" Type="http://schemas.openxmlformats.org/officeDocument/2006/relationships/package" Target="../embeddings/Microsoft_Excel_Worksheet371.xlsx"/></Relationships>
</file>

<file path=ppt/charts/_rels/chart373.xml.rels><?xml version='1.0' encoding='UTF-8' standalone='yes'?>
<Relationships xmlns="http://schemas.openxmlformats.org/package/2006/relationships"><Relationship Id="rId1" Type="http://schemas.openxmlformats.org/officeDocument/2006/relationships/package" Target="../embeddings/Microsoft_Excel_Worksheet372.xlsx"/></Relationships>
</file>

<file path=ppt/charts/_rels/chart374.xml.rels><?xml version='1.0' encoding='UTF-8' standalone='yes'?>
<Relationships xmlns="http://schemas.openxmlformats.org/package/2006/relationships"><Relationship Id="rId1" Type="http://schemas.openxmlformats.org/officeDocument/2006/relationships/package" Target="../embeddings/Microsoft_Excel_Worksheet373.xlsx"/></Relationships>
</file>

<file path=ppt/charts/_rels/chart375.xml.rels><?xml version='1.0' encoding='UTF-8' standalone='yes'?>
<Relationships xmlns="http://schemas.openxmlformats.org/package/2006/relationships"><Relationship Id="rId1" Type="http://schemas.openxmlformats.org/officeDocument/2006/relationships/package" Target="../embeddings/Microsoft_Excel_Worksheet374.xlsx"/></Relationships>
</file>

<file path=ppt/charts/_rels/chart376.xml.rels><?xml version='1.0' encoding='UTF-8' standalone='yes'?>
<Relationships xmlns="http://schemas.openxmlformats.org/package/2006/relationships"><Relationship Id="rId1" Type="http://schemas.openxmlformats.org/officeDocument/2006/relationships/package" Target="../embeddings/Microsoft_Excel_Worksheet375.xlsx"/></Relationships>
</file>

<file path=ppt/charts/_rels/chart377.xml.rels><?xml version='1.0' encoding='UTF-8' standalone='yes'?>
<Relationships xmlns="http://schemas.openxmlformats.org/package/2006/relationships"><Relationship Id="rId1" Type="http://schemas.openxmlformats.org/officeDocument/2006/relationships/package" Target="../embeddings/Microsoft_Excel_Worksheet376.xlsx"/></Relationships>
</file>

<file path=ppt/charts/_rels/chart378.xml.rels><?xml version='1.0' encoding='UTF-8' standalone='yes'?>
<Relationships xmlns="http://schemas.openxmlformats.org/package/2006/relationships"><Relationship Id="rId1" Type="http://schemas.openxmlformats.org/officeDocument/2006/relationships/package" Target="../embeddings/Microsoft_Excel_Worksheet377.xlsx"/></Relationships>
</file>

<file path=ppt/charts/_rels/chart379.xml.rels><?xml version='1.0' encoding='UTF-8' standalone='yes'?>
<Relationships xmlns="http://schemas.openxmlformats.org/package/2006/relationships"><Relationship Id="rId1" Type="http://schemas.openxmlformats.org/officeDocument/2006/relationships/package" Target="../embeddings/Microsoft_Excel_Worksheet378.xlsx"/></Relationships>
</file>

<file path=ppt/charts/_rels/chart38.xml.rels><?xml version='1.0' encoding='UTF-8' standalone='yes'?>
<Relationships xmlns="http://schemas.openxmlformats.org/package/2006/relationships"><Relationship Id="rId1" Type="http://schemas.openxmlformats.org/officeDocument/2006/relationships/package" Target="../embeddings/Microsoft_Excel_Worksheet37.xlsx"/></Relationships>
</file>

<file path=ppt/charts/_rels/chart380.xml.rels><?xml version='1.0' encoding='UTF-8' standalone='yes'?>
<Relationships xmlns="http://schemas.openxmlformats.org/package/2006/relationships"><Relationship Id="rId1" Type="http://schemas.openxmlformats.org/officeDocument/2006/relationships/package" Target="../embeddings/Microsoft_Excel_Worksheet379.xlsx"/></Relationships>
</file>

<file path=ppt/charts/_rels/chart381.xml.rels><?xml version='1.0' encoding='UTF-8' standalone='yes'?>
<Relationships xmlns="http://schemas.openxmlformats.org/package/2006/relationships"><Relationship Id="rId1" Type="http://schemas.openxmlformats.org/officeDocument/2006/relationships/package" Target="../embeddings/Microsoft_Excel_Worksheet380.xlsx"/></Relationships>
</file>

<file path=ppt/charts/_rels/chart382.xml.rels><?xml version='1.0' encoding='UTF-8' standalone='yes'?>
<Relationships xmlns="http://schemas.openxmlformats.org/package/2006/relationships"><Relationship Id="rId1" Type="http://schemas.openxmlformats.org/officeDocument/2006/relationships/package" Target="../embeddings/Microsoft_Excel_Worksheet381.xlsx"/></Relationships>
</file>

<file path=ppt/charts/_rels/chart383.xml.rels><?xml version='1.0' encoding='UTF-8' standalone='yes'?>
<Relationships xmlns="http://schemas.openxmlformats.org/package/2006/relationships"><Relationship Id="rId1" Type="http://schemas.openxmlformats.org/officeDocument/2006/relationships/package" Target="../embeddings/Microsoft_Excel_Worksheet382.xlsx"/></Relationships>
</file>

<file path=ppt/charts/_rels/chart384.xml.rels><?xml version='1.0' encoding='UTF-8' standalone='yes'?>
<Relationships xmlns="http://schemas.openxmlformats.org/package/2006/relationships"><Relationship Id="rId1" Type="http://schemas.openxmlformats.org/officeDocument/2006/relationships/package" Target="../embeddings/Microsoft_Excel_Worksheet383.xlsx"/></Relationships>
</file>

<file path=ppt/charts/_rels/chart385.xml.rels><?xml version='1.0' encoding='UTF-8' standalone='yes'?>
<Relationships xmlns="http://schemas.openxmlformats.org/package/2006/relationships"><Relationship Id="rId1" Type="http://schemas.openxmlformats.org/officeDocument/2006/relationships/package" Target="../embeddings/Microsoft_Excel_Worksheet384.xlsx"/></Relationships>
</file>

<file path=ppt/charts/_rels/chart386.xml.rels><?xml version='1.0' encoding='UTF-8' standalone='yes'?>
<Relationships xmlns="http://schemas.openxmlformats.org/package/2006/relationships"><Relationship Id="rId1" Type="http://schemas.openxmlformats.org/officeDocument/2006/relationships/package" Target="../embeddings/Microsoft_Excel_Worksheet385.xlsx"/></Relationships>
</file>

<file path=ppt/charts/_rels/chart387.xml.rels><?xml version='1.0' encoding='UTF-8' standalone='yes'?>
<Relationships xmlns="http://schemas.openxmlformats.org/package/2006/relationships"><Relationship Id="rId1" Type="http://schemas.openxmlformats.org/officeDocument/2006/relationships/package" Target="../embeddings/Microsoft_Excel_Worksheet386.xlsx"/></Relationships>
</file>

<file path=ppt/charts/_rels/chart388.xml.rels><?xml version='1.0' encoding='UTF-8' standalone='yes'?>
<Relationships xmlns="http://schemas.openxmlformats.org/package/2006/relationships"><Relationship Id="rId1" Type="http://schemas.openxmlformats.org/officeDocument/2006/relationships/package" Target="../embeddings/Microsoft_Excel_Worksheet387.xlsx"/></Relationships>
</file>

<file path=ppt/charts/_rels/chart389.xml.rels><?xml version='1.0' encoding='UTF-8' standalone='yes'?>
<Relationships xmlns="http://schemas.openxmlformats.org/package/2006/relationships"><Relationship Id="rId1" Type="http://schemas.openxmlformats.org/officeDocument/2006/relationships/package" Target="../embeddings/Microsoft_Excel_Worksheet388.xlsx"/></Relationships>
</file>

<file path=ppt/charts/_rels/chart39.xml.rels><?xml version='1.0' encoding='UTF-8' standalone='yes'?>
<Relationships xmlns="http://schemas.openxmlformats.org/package/2006/relationships"><Relationship Id="rId1" Type="http://schemas.openxmlformats.org/officeDocument/2006/relationships/package" Target="../embeddings/Microsoft_Excel_Worksheet38.xlsx"/></Relationships>
</file>

<file path=ppt/charts/_rels/chart390.xml.rels><?xml version='1.0' encoding='UTF-8' standalone='yes'?>
<Relationships xmlns="http://schemas.openxmlformats.org/package/2006/relationships"><Relationship Id="rId1" Type="http://schemas.openxmlformats.org/officeDocument/2006/relationships/package" Target="../embeddings/Microsoft_Excel_Worksheet389.xlsx"/></Relationships>
</file>

<file path=ppt/charts/_rels/chart391.xml.rels><?xml version='1.0' encoding='UTF-8' standalone='yes'?>
<Relationships xmlns="http://schemas.openxmlformats.org/package/2006/relationships"><Relationship Id="rId1" Type="http://schemas.openxmlformats.org/officeDocument/2006/relationships/package" Target="../embeddings/Microsoft_Excel_Worksheet390.xlsx"/></Relationships>
</file>

<file path=ppt/charts/_rels/chart392.xml.rels><?xml version='1.0' encoding='UTF-8' standalone='yes'?>
<Relationships xmlns="http://schemas.openxmlformats.org/package/2006/relationships"><Relationship Id="rId1" Type="http://schemas.openxmlformats.org/officeDocument/2006/relationships/package" Target="../embeddings/Microsoft_Excel_Worksheet391.xlsx"/></Relationships>
</file>

<file path=ppt/charts/_rels/chart393.xml.rels><?xml version='1.0' encoding='UTF-8' standalone='yes'?>
<Relationships xmlns="http://schemas.openxmlformats.org/package/2006/relationships"><Relationship Id="rId1" Type="http://schemas.openxmlformats.org/officeDocument/2006/relationships/package" Target="../embeddings/Microsoft_Excel_Worksheet392.xlsx"/></Relationships>
</file>

<file path=ppt/charts/_rels/chart394.xml.rels><?xml version='1.0' encoding='UTF-8' standalone='yes'?>
<Relationships xmlns="http://schemas.openxmlformats.org/package/2006/relationships"><Relationship Id="rId1" Type="http://schemas.openxmlformats.org/officeDocument/2006/relationships/package" Target="../embeddings/Microsoft_Excel_Worksheet393.xlsx"/></Relationships>
</file>

<file path=ppt/charts/_rels/chart395.xml.rels><?xml version='1.0' encoding='UTF-8' standalone='yes'?>
<Relationships xmlns="http://schemas.openxmlformats.org/package/2006/relationships"><Relationship Id="rId1" Type="http://schemas.openxmlformats.org/officeDocument/2006/relationships/package" Target="../embeddings/Microsoft_Excel_Worksheet394.xlsx"/></Relationships>
</file>

<file path=ppt/charts/_rels/chart396.xml.rels><?xml version='1.0' encoding='UTF-8' standalone='yes'?>
<Relationships xmlns="http://schemas.openxmlformats.org/package/2006/relationships"><Relationship Id="rId1" Type="http://schemas.openxmlformats.org/officeDocument/2006/relationships/package" Target="../embeddings/Microsoft_Excel_Worksheet395.xlsx"/></Relationships>
</file>

<file path=ppt/charts/_rels/chart397.xml.rels><?xml version='1.0' encoding='UTF-8' standalone='yes'?>
<Relationships xmlns="http://schemas.openxmlformats.org/package/2006/relationships"><Relationship Id="rId1" Type="http://schemas.openxmlformats.org/officeDocument/2006/relationships/package" Target="../embeddings/Microsoft_Excel_Worksheet396.xlsx"/></Relationships>
</file>

<file path=ppt/charts/_rels/chart398.xml.rels><?xml version='1.0' encoding='UTF-8' standalone='yes'?>
<Relationships xmlns="http://schemas.openxmlformats.org/package/2006/relationships"><Relationship Id="rId1" Type="http://schemas.openxmlformats.org/officeDocument/2006/relationships/package" Target="../embeddings/Microsoft_Excel_Worksheet397.xlsx"/></Relationships>
</file>

<file path=ppt/charts/_rels/chart399.xml.rels><?xml version='1.0' encoding='UTF-8' standalone='yes'?>
<Relationships xmlns="http://schemas.openxmlformats.org/package/2006/relationships"><Relationship Id="rId1" Type="http://schemas.openxmlformats.org/officeDocument/2006/relationships/package" Target="../embeddings/Microsoft_Excel_Worksheet398.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40.xml.rels><?xml version='1.0' encoding='UTF-8' standalone='yes'?>
<Relationships xmlns="http://schemas.openxmlformats.org/package/2006/relationships"><Relationship Id="rId1" Type="http://schemas.openxmlformats.org/officeDocument/2006/relationships/package" Target="../embeddings/Microsoft_Excel_Worksheet39.xlsx"/></Relationships>
</file>

<file path=ppt/charts/_rels/chart400.xml.rels><?xml version='1.0' encoding='UTF-8' standalone='yes'?>
<Relationships xmlns="http://schemas.openxmlformats.org/package/2006/relationships"><Relationship Id="rId1" Type="http://schemas.openxmlformats.org/officeDocument/2006/relationships/package" Target="../embeddings/Microsoft_Excel_Worksheet399.xlsx"/></Relationships>
</file>

<file path=ppt/charts/_rels/chart401.xml.rels><?xml version='1.0' encoding='UTF-8' standalone='yes'?>
<Relationships xmlns="http://schemas.openxmlformats.org/package/2006/relationships"><Relationship Id="rId1" Type="http://schemas.openxmlformats.org/officeDocument/2006/relationships/package" Target="../embeddings/Microsoft_Excel_Worksheet400.xlsx"/></Relationships>
</file>

<file path=ppt/charts/_rels/chart402.xml.rels><?xml version='1.0' encoding='UTF-8' standalone='yes'?>
<Relationships xmlns="http://schemas.openxmlformats.org/package/2006/relationships"><Relationship Id="rId1" Type="http://schemas.openxmlformats.org/officeDocument/2006/relationships/package" Target="../embeddings/Microsoft_Excel_Worksheet401.xlsx"/></Relationships>
</file>

<file path=ppt/charts/_rels/chart403.xml.rels><?xml version='1.0' encoding='UTF-8' standalone='yes'?>
<Relationships xmlns="http://schemas.openxmlformats.org/package/2006/relationships"><Relationship Id="rId1" Type="http://schemas.openxmlformats.org/officeDocument/2006/relationships/package" Target="../embeddings/Microsoft_Excel_Worksheet402.xlsx"/></Relationships>
</file>

<file path=ppt/charts/_rels/chart404.xml.rels><?xml version='1.0' encoding='UTF-8' standalone='yes'?>
<Relationships xmlns="http://schemas.openxmlformats.org/package/2006/relationships"><Relationship Id="rId1" Type="http://schemas.openxmlformats.org/officeDocument/2006/relationships/package" Target="../embeddings/Microsoft_Excel_Worksheet403.xlsx"/></Relationships>
</file>

<file path=ppt/charts/_rels/chart405.xml.rels><?xml version='1.0' encoding='UTF-8' standalone='yes'?>
<Relationships xmlns="http://schemas.openxmlformats.org/package/2006/relationships"><Relationship Id="rId1" Type="http://schemas.openxmlformats.org/officeDocument/2006/relationships/package" Target="../embeddings/Microsoft_Excel_Worksheet404.xlsx"/></Relationships>
</file>

<file path=ppt/charts/_rels/chart406.xml.rels><?xml version='1.0' encoding='UTF-8' standalone='yes'?>
<Relationships xmlns="http://schemas.openxmlformats.org/package/2006/relationships"><Relationship Id="rId1" Type="http://schemas.openxmlformats.org/officeDocument/2006/relationships/package" Target="../embeddings/Microsoft_Excel_Worksheet405.xlsx"/></Relationships>
</file>

<file path=ppt/charts/_rels/chart407.xml.rels><?xml version='1.0' encoding='UTF-8' standalone='yes'?>
<Relationships xmlns="http://schemas.openxmlformats.org/package/2006/relationships"><Relationship Id="rId1" Type="http://schemas.openxmlformats.org/officeDocument/2006/relationships/package" Target="../embeddings/Microsoft_Excel_Worksheet406.xlsx"/></Relationships>
</file>

<file path=ppt/charts/_rels/chart408.xml.rels><?xml version='1.0' encoding='UTF-8' standalone='yes'?>
<Relationships xmlns="http://schemas.openxmlformats.org/package/2006/relationships"><Relationship Id="rId1" Type="http://schemas.openxmlformats.org/officeDocument/2006/relationships/package" Target="../embeddings/Microsoft_Excel_Worksheet407.xlsx"/></Relationships>
</file>

<file path=ppt/charts/_rels/chart409.xml.rels><?xml version='1.0' encoding='UTF-8' standalone='yes'?>
<Relationships xmlns="http://schemas.openxmlformats.org/package/2006/relationships"><Relationship Id="rId1" Type="http://schemas.openxmlformats.org/officeDocument/2006/relationships/package" Target="../embeddings/Microsoft_Excel_Worksheet408.xlsx"/></Relationships>
</file>

<file path=ppt/charts/_rels/chart41.xml.rels><?xml version='1.0' encoding='UTF-8' standalone='yes'?>
<Relationships xmlns="http://schemas.openxmlformats.org/package/2006/relationships"><Relationship Id="rId1" Type="http://schemas.openxmlformats.org/officeDocument/2006/relationships/package" Target="../embeddings/Microsoft_Excel_Worksheet40.xlsx"/></Relationships>
</file>

<file path=ppt/charts/_rels/chart410.xml.rels><?xml version='1.0' encoding='UTF-8' standalone='yes'?>
<Relationships xmlns="http://schemas.openxmlformats.org/package/2006/relationships"><Relationship Id="rId1" Type="http://schemas.openxmlformats.org/officeDocument/2006/relationships/package" Target="../embeddings/Microsoft_Excel_Worksheet409.xlsx"/></Relationships>
</file>

<file path=ppt/charts/_rels/chart411.xml.rels><?xml version='1.0' encoding='UTF-8' standalone='yes'?>
<Relationships xmlns="http://schemas.openxmlformats.org/package/2006/relationships"><Relationship Id="rId1" Type="http://schemas.openxmlformats.org/officeDocument/2006/relationships/package" Target="../embeddings/Microsoft_Excel_Worksheet410.xlsx"/></Relationships>
</file>

<file path=ppt/charts/_rels/chart412.xml.rels><?xml version='1.0' encoding='UTF-8' standalone='yes'?>
<Relationships xmlns="http://schemas.openxmlformats.org/package/2006/relationships"><Relationship Id="rId1" Type="http://schemas.openxmlformats.org/officeDocument/2006/relationships/package" Target="../embeddings/Microsoft_Excel_Worksheet411.xlsx"/></Relationships>
</file>

<file path=ppt/charts/_rels/chart413.xml.rels><?xml version='1.0' encoding='UTF-8' standalone='yes'?>
<Relationships xmlns="http://schemas.openxmlformats.org/package/2006/relationships"><Relationship Id="rId1" Type="http://schemas.openxmlformats.org/officeDocument/2006/relationships/package" Target="../embeddings/Microsoft_Excel_Worksheet412.xlsx"/></Relationships>
</file>

<file path=ppt/charts/_rels/chart414.xml.rels><?xml version='1.0' encoding='UTF-8' standalone='yes'?>
<Relationships xmlns="http://schemas.openxmlformats.org/package/2006/relationships"><Relationship Id="rId1" Type="http://schemas.openxmlformats.org/officeDocument/2006/relationships/package" Target="../embeddings/Microsoft_Excel_Worksheet413.xlsx"/></Relationships>
</file>

<file path=ppt/charts/_rels/chart415.xml.rels><?xml version='1.0' encoding='UTF-8' standalone='yes'?>
<Relationships xmlns="http://schemas.openxmlformats.org/package/2006/relationships"><Relationship Id="rId1" Type="http://schemas.openxmlformats.org/officeDocument/2006/relationships/package" Target="../embeddings/Microsoft_Excel_Worksheet414.xlsx"/></Relationships>
</file>

<file path=ppt/charts/_rels/chart416.xml.rels><?xml version='1.0' encoding='UTF-8' standalone='yes'?>
<Relationships xmlns="http://schemas.openxmlformats.org/package/2006/relationships"><Relationship Id="rId1" Type="http://schemas.openxmlformats.org/officeDocument/2006/relationships/package" Target="../embeddings/Microsoft_Excel_Worksheet415.xlsx"/></Relationships>
</file>

<file path=ppt/charts/_rels/chart417.xml.rels><?xml version='1.0' encoding='UTF-8' standalone='yes'?>
<Relationships xmlns="http://schemas.openxmlformats.org/package/2006/relationships"><Relationship Id="rId1" Type="http://schemas.openxmlformats.org/officeDocument/2006/relationships/package" Target="../embeddings/Microsoft_Excel_Worksheet416.xlsx"/></Relationships>
</file>

<file path=ppt/charts/_rels/chart418.xml.rels><?xml version='1.0' encoding='UTF-8' standalone='yes'?>
<Relationships xmlns="http://schemas.openxmlformats.org/package/2006/relationships"><Relationship Id="rId1" Type="http://schemas.openxmlformats.org/officeDocument/2006/relationships/package" Target="../embeddings/Microsoft_Excel_Worksheet417.xlsx"/></Relationships>
</file>

<file path=ppt/charts/_rels/chart419.xml.rels><?xml version='1.0' encoding='UTF-8' standalone='yes'?>
<Relationships xmlns="http://schemas.openxmlformats.org/package/2006/relationships"><Relationship Id="rId1" Type="http://schemas.openxmlformats.org/officeDocument/2006/relationships/package" Target="../embeddings/Microsoft_Excel_Worksheet418.xlsx"/></Relationships>
</file>

<file path=ppt/charts/_rels/chart42.xml.rels><?xml version='1.0' encoding='UTF-8' standalone='yes'?>
<Relationships xmlns="http://schemas.openxmlformats.org/package/2006/relationships"><Relationship Id="rId1" Type="http://schemas.openxmlformats.org/officeDocument/2006/relationships/package" Target="../embeddings/Microsoft_Excel_Worksheet41.xlsx"/></Relationships>
</file>

<file path=ppt/charts/_rels/chart420.xml.rels><?xml version='1.0' encoding='UTF-8' standalone='yes'?>
<Relationships xmlns="http://schemas.openxmlformats.org/package/2006/relationships"><Relationship Id="rId1" Type="http://schemas.openxmlformats.org/officeDocument/2006/relationships/package" Target="../embeddings/Microsoft_Excel_Worksheet419.xlsx"/></Relationships>
</file>

<file path=ppt/charts/_rels/chart421.xml.rels><?xml version='1.0' encoding='UTF-8' standalone='yes'?>
<Relationships xmlns="http://schemas.openxmlformats.org/package/2006/relationships"><Relationship Id="rId1" Type="http://schemas.openxmlformats.org/officeDocument/2006/relationships/package" Target="../embeddings/Microsoft_Excel_Worksheet420.xlsx"/></Relationships>
</file>

<file path=ppt/charts/_rels/chart422.xml.rels><?xml version='1.0' encoding='UTF-8' standalone='yes'?>
<Relationships xmlns="http://schemas.openxmlformats.org/package/2006/relationships"><Relationship Id="rId1" Type="http://schemas.openxmlformats.org/officeDocument/2006/relationships/package" Target="../embeddings/Microsoft_Excel_Worksheet421.xlsx"/></Relationships>
</file>

<file path=ppt/charts/_rels/chart423.xml.rels><?xml version='1.0' encoding='UTF-8' standalone='yes'?>
<Relationships xmlns="http://schemas.openxmlformats.org/package/2006/relationships"><Relationship Id="rId1" Type="http://schemas.openxmlformats.org/officeDocument/2006/relationships/package" Target="../embeddings/Microsoft_Excel_Worksheet422.xlsx"/></Relationships>
</file>

<file path=ppt/charts/_rels/chart424.xml.rels><?xml version='1.0' encoding='UTF-8' standalone='yes'?>
<Relationships xmlns="http://schemas.openxmlformats.org/package/2006/relationships"><Relationship Id="rId1" Type="http://schemas.openxmlformats.org/officeDocument/2006/relationships/package" Target="../embeddings/Microsoft_Excel_Worksheet423.xlsx"/></Relationships>
</file>

<file path=ppt/charts/_rels/chart425.xml.rels><?xml version='1.0' encoding='UTF-8' standalone='yes'?>
<Relationships xmlns="http://schemas.openxmlformats.org/package/2006/relationships"><Relationship Id="rId1" Type="http://schemas.openxmlformats.org/officeDocument/2006/relationships/package" Target="../embeddings/Microsoft_Excel_Worksheet424.xlsx"/></Relationships>
</file>

<file path=ppt/charts/_rels/chart426.xml.rels><?xml version='1.0' encoding='UTF-8' standalone='yes'?>
<Relationships xmlns="http://schemas.openxmlformats.org/package/2006/relationships"><Relationship Id="rId1" Type="http://schemas.openxmlformats.org/officeDocument/2006/relationships/package" Target="../embeddings/Microsoft_Excel_Worksheet425.xlsx"/></Relationships>
</file>

<file path=ppt/charts/_rels/chart427.xml.rels><?xml version='1.0' encoding='UTF-8' standalone='yes'?>
<Relationships xmlns="http://schemas.openxmlformats.org/package/2006/relationships"><Relationship Id="rId1" Type="http://schemas.openxmlformats.org/officeDocument/2006/relationships/package" Target="../embeddings/Microsoft_Excel_Worksheet426.xlsx"/></Relationships>
</file>

<file path=ppt/charts/_rels/chart428.xml.rels><?xml version='1.0' encoding='UTF-8' standalone='yes'?>
<Relationships xmlns="http://schemas.openxmlformats.org/package/2006/relationships"><Relationship Id="rId1" Type="http://schemas.openxmlformats.org/officeDocument/2006/relationships/package" Target="../embeddings/Microsoft_Excel_Worksheet427.xlsx"/></Relationships>
</file>

<file path=ppt/charts/_rels/chart429.xml.rels><?xml version='1.0' encoding='UTF-8' standalone='yes'?>
<Relationships xmlns="http://schemas.openxmlformats.org/package/2006/relationships"><Relationship Id="rId1" Type="http://schemas.openxmlformats.org/officeDocument/2006/relationships/package" Target="../embeddings/Microsoft_Excel_Worksheet428.xlsx"/></Relationships>
</file>

<file path=ppt/charts/_rels/chart43.xml.rels><?xml version='1.0' encoding='UTF-8' standalone='yes'?>
<Relationships xmlns="http://schemas.openxmlformats.org/package/2006/relationships"><Relationship Id="rId1" Type="http://schemas.openxmlformats.org/officeDocument/2006/relationships/package" Target="../embeddings/Microsoft_Excel_Worksheet42.xlsx"/></Relationships>
</file>

<file path=ppt/charts/_rels/chart430.xml.rels><?xml version='1.0' encoding='UTF-8' standalone='yes'?>
<Relationships xmlns="http://schemas.openxmlformats.org/package/2006/relationships"><Relationship Id="rId1" Type="http://schemas.openxmlformats.org/officeDocument/2006/relationships/package" Target="../embeddings/Microsoft_Excel_Worksheet429.xlsx"/></Relationships>
</file>

<file path=ppt/charts/_rels/chart431.xml.rels><?xml version='1.0' encoding='UTF-8' standalone='yes'?>
<Relationships xmlns="http://schemas.openxmlformats.org/package/2006/relationships"><Relationship Id="rId1" Type="http://schemas.openxmlformats.org/officeDocument/2006/relationships/package" Target="../embeddings/Microsoft_Excel_Worksheet430.xlsx"/></Relationships>
</file>

<file path=ppt/charts/_rels/chart432.xml.rels><?xml version='1.0' encoding='UTF-8' standalone='yes'?>
<Relationships xmlns="http://schemas.openxmlformats.org/package/2006/relationships"><Relationship Id="rId1" Type="http://schemas.openxmlformats.org/officeDocument/2006/relationships/package" Target="../embeddings/Microsoft_Excel_Worksheet431.xlsx"/></Relationships>
</file>

<file path=ppt/charts/_rels/chart433.xml.rels><?xml version='1.0' encoding='UTF-8' standalone='yes'?>
<Relationships xmlns="http://schemas.openxmlformats.org/package/2006/relationships"><Relationship Id="rId1" Type="http://schemas.openxmlformats.org/officeDocument/2006/relationships/package" Target="../embeddings/Microsoft_Excel_Worksheet432.xlsx"/></Relationships>
</file>

<file path=ppt/charts/_rels/chart434.xml.rels><?xml version='1.0' encoding='UTF-8' standalone='yes'?>
<Relationships xmlns="http://schemas.openxmlformats.org/package/2006/relationships"><Relationship Id="rId1" Type="http://schemas.openxmlformats.org/officeDocument/2006/relationships/package" Target="../embeddings/Microsoft_Excel_Worksheet433.xlsx"/></Relationships>
</file>

<file path=ppt/charts/_rels/chart435.xml.rels><?xml version='1.0' encoding='UTF-8' standalone='yes'?>
<Relationships xmlns="http://schemas.openxmlformats.org/package/2006/relationships"><Relationship Id="rId1" Type="http://schemas.openxmlformats.org/officeDocument/2006/relationships/package" Target="../embeddings/Microsoft_Excel_Worksheet434.xlsx"/></Relationships>
</file>

<file path=ppt/charts/_rels/chart436.xml.rels><?xml version='1.0' encoding='UTF-8' standalone='yes'?>
<Relationships xmlns="http://schemas.openxmlformats.org/package/2006/relationships"><Relationship Id="rId1" Type="http://schemas.openxmlformats.org/officeDocument/2006/relationships/package" Target="../embeddings/Microsoft_Excel_Worksheet435.xlsx"/></Relationships>
</file>

<file path=ppt/charts/_rels/chart437.xml.rels><?xml version='1.0' encoding='UTF-8' standalone='yes'?>
<Relationships xmlns="http://schemas.openxmlformats.org/package/2006/relationships"><Relationship Id="rId1" Type="http://schemas.openxmlformats.org/officeDocument/2006/relationships/package" Target="../embeddings/Microsoft_Excel_Worksheet436.xlsx"/></Relationships>
</file>

<file path=ppt/charts/_rels/chart438.xml.rels><?xml version='1.0' encoding='UTF-8' standalone='yes'?>
<Relationships xmlns="http://schemas.openxmlformats.org/package/2006/relationships"><Relationship Id="rId1" Type="http://schemas.openxmlformats.org/officeDocument/2006/relationships/package" Target="../embeddings/Microsoft_Excel_Worksheet437.xlsx"/></Relationships>
</file>

<file path=ppt/charts/_rels/chart439.xml.rels><?xml version='1.0' encoding='UTF-8' standalone='yes'?>
<Relationships xmlns="http://schemas.openxmlformats.org/package/2006/relationships"><Relationship Id="rId1" Type="http://schemas.openxmlformats.org/officeDocument/2006/relationships/package" Target="../embeddings/Microsoft_Excel_Worksheet438.xlsx"/></Relationships>
</file>

<file path=ppt/charts/_rels/chart44.xml.rels><?xml version='1.0' encoding='UTF-8' standalone='yes'?>
<Relationships xmlns="http://schemas.openxmlformats.org/package/2006/relationships"><Relationship Id="rId1" Type="http://schemas.openxmlformats.org/officeDocument/2006/relationships/package" Target="../embeddings/Microsoft_Excel_Worksheet43.xlsx"/></Relationships>
</file>

<file path=ppt/charts/_rels/chart440.xml.rels><?xml version='1.0' encoding='UTF-8' standalone='yes'?>
<Relationships xmlns="http://schemas.openxmlformats.org/package/2006/relationships"><Relationship Id="rId1" Type="http://schemas.openxmlformats.org/officeDocument/2006/relationships/package" Target="../embeddings/Microsoft_Excel_Worksheet439.xlsx"/></Relationships>
</file>

<file path=ppt/charts/_rels/chart441.xml.rels><?xml version='1.0' encoding='UTF-8' standalone='yes'?>
<Relationships xmlns="http://schemas.openxmlformats.org/package/2006/relationships"><Relationship Id="rId1" Type="http://schemas.openxmlformats.org/officeDocument/2006/relationships/package" Target="../embeddings/Microsoft_Excel_Worksheet440.xlsx"/></Relationships>
</file>

<file path=ppt/charts/_rels/chart442.xml.rels><?xml version='1.0' encoding='UTF-8' standalone='yes'?>
<Relationships xmlns="http://schemas.openxmlformats.org/package/2006/relationships"><Relationship Id="rId1" Type="http://schemas.openxmlformats.org/officeDocument/2006/relationships/package" Target="../embeddings/Microsoft_Excel_Worksheet441.xlsx"/></Relationships>
</file>

<file path=ppt/charts/_rels/chart443.xml.rels><?xml version='1.0' encoding='UTF-8' standalone='yes'?>
<Relationships xmlns="http://schemas.openxmlformats.org/package/2006/relationships"><Relationship Id="rId1" Type="http://schemas.openxmlformats.org/officeDocument/2006/relationships/package" Target="../embeddings/Microsoft_Excel_Worksheet442.xlsx"/></Relationships>
</file>

<file path=ppt/charts/_rels/chart444.xml.rels><?xml version='1.0' encoding='UTF-8' standalone='yes'?>
<Relationships xmlns="http://schemas.openxmlformats.org/package/2006/relationships"><Relationship Id="rId1" Type="http://schemas.openxmlformats.org/officeDocument/2006/relationships/package" Target="../embeddings/Microsoft_Excel_Worksheet443.xlsx"/></Relationships>
</file>

<file path=ppt/charts/_rels/chart445.xml.rels><?xml version='1.0' encoding='UTF-8' standalone='yes'?>
<Relationships xmlns="http://schemas.openxmlformats.org/package/2006/relationships"><Relationship Id="rId1" Type="http://schemas.openxmlformats.org/officeDocument/2006/relationships/package" Target="../embeddings/Microsoft_Excel_Worksheet444.xlsx"/></Relationships>
</file>

<file path=ppt/charts/_rels/chart446.xml.rels><?xml version='1.0' encoding='UTF-8' standalone='yes'?>
<Relationships xmlns="http://schemas.openxmlformats.org/package/2006/relationships"><Relationship Id="rId1" Type="http://schemas.openxmlformats.org/officeDocument/2006/relationships/package" Target="../embeddings/Microsoft_Excel_Worksheet445.xlsx"/></Relationships>
</file>

<file path=ppt/charts/_rels/chart447.xml.rels><?xml version='1.0' encoding='UTF-8' standalone='yes'?>
<Relationships xmlns="http://schemas.openxmlformats.org/package/2006/relationships"><Relationship Id="rId1" Type="http://schemas.openxmlformats.org/officeDocument/2006/relationships/package" Target="../embeddings/Microsoft_Excel_Worksheet446.xlsx"/></Relationships>
</file>

<file path=ppt/charts/_rels/chart448.xml.rels><?xml version='1.0' encoding='UTF-8' standalone='yes'?>
<Relationships xmlns="http://schemas.openxmlformats.org/package/2006/relationships"><Relationship Id="rId1" Type="http://schemas.openxmlformats.org/officeDocument/2006/relationships/package" Target="../embeddings/Microsoft_Excel_Worksheet447.xlsx"/></Relationships>
</file>

<file path=ppt/charts/_rels/chart449.xml.rels><?xml version='1.0' encoding='UTF-8' standalone='yes'?>
<Relationships xmlns="http://schemas.openxmlformats.org/package/2006/relationships"><Relationship Id="rId1" Type="http://schemas.openxmlformats.org/officeDocument/2006/relationships/package" Target="../embeddings/Microsoft_Excel_Worksheet448.xlsx"/></Relationships>
</file>

<file path=ppt/charts/_rels/chart45.xml.rels><?xml version='1.0' encoding='UTF-8' standalone='yes'?>
<Relationships xmlns="http://schemas.openxmlformats.org/package/2006/relationships"><Relationship Id="rId1" Type="http://schemas.openxmlformats.org/officeDocument/2006/relationships/package" Target="../embeddings/Microsoft_Excel_Worksheet44.xlsx"/></Relationships>
</file>

<file path=ppt/charts/_rels/chart450.xml.rels><?xml version='1.0' encoding='UTF-8' standalone='yes'?>
<Relationships xmlns="http://schemas.openxmlformats.org/package/2006/relationships"><Relationship Id="rId1" Type="http://schemas.openxmlformats.org/officeDocument/2006/relationships/package" Target="../embeddings/Microsoft_Excel_Worksheet449.xlsx"/></Relationships>
</file>

<file path=ppt/charts/_rels/chart451.xml.rels><?xml version='1.0' encoding='UTF-8' standalone='yes'?>
<Relationships xmlns="http://schemas.openxmlformats.org/package/2006/relationships"><Relationship Id="rId1" Type="http://schemas.openxmlformats.org/officeDocument/2006/relationships/package" Target="../embeddings/Microsoft_Excel_Worksheet450.xlsx"/></Relationships>
</file>

<file path=ppt/charts/_rels/chart452.xml.rels><?xml version='1.0' encoding='UTF-8' standalone='yes'?>
<Relationships xmlns="http://schemas.openxmlformats.org/package/2006/relationships"><Relationship Id="rId1" Type="http://schemas.openxmlformats.org/officeDocument/2006/relationships/package" Target="../embeddings/Microsoft_Excel_Worksheet451.xlsx"/></Relationships>
</file>

<file path=ppt/charts/_rels/chart453.xml.rels><?xml version='1.0' encoding='UTF-8' standalone='yes'?>
<Relationships xmlns="http://schemas.openxmlformats.org/package/2006/relationships"><Relationship Id="rId1" Type="http://schemas.openxmlformats.org/officeDocument/2006/relationships/package" Target="../embeddings/Microsoft_Excel_Worksheet452.xlsx"/></Relationships>
</file>

<file path=ppt/charts/_rels/chart454.xml.rels><?xml version='1.0' encoding='UTF-8' standalone='yes'?>
<Relationships xmlns="http://schemas.openxmlformats.org/package/2006/relationships"><Relationship Id="rId1" Type="http://schemas.openxmlformats.org/officeDocument/2006/relationships/package" Target="../embeddings/Microsoft_Excel_Worksheet453.xlsx"/></Relationships>
</file>

<file path=ppt/charts/_rels/chart455.xml.rels><?xml version='1.0' encoding='UTF-8' standalone='yes'?>
<Relationships xmlns="http://schemas.openxmlformats.org/package/2006/relationships"><Relationship Id="rId1" Type="http://schemas.openxmlformats.org/officeDocument/2006/relationships/package" Target="../embeddings/Microsoft_Excel_Worksheet454.xlsx"/></Relationships>
</file>

<file path=ppt/charts/_rels/chart456.xml.rels><?xml version='1.0' encoding='UTF-8' standalone='yes'?>
<Relationships xmlns="http://schemas.openxmlformats.org/package/2006/relationships"><Relationship Id="rId1" Type="http://schemas.openxmlformats.org/officeDocument/2006/relationships/package" Target="../embeddings/Microsoft_Excel_Worksheet455.xlsx"/></Relationships>
</file>

<file path=ppt/charts/_rels/chart457.xml.rels><?xml version='1.0' encoding='UTF-8' standalone='yes'?>
<Relationships xmlns="http://schemas.openxmlformats.org/package/2006/relationships"><Relationship Id="rId1" Type="http://schemas.openxmlformats.org/officeDocument/2006/relationships/package" Target="../embeddings/Microsoft_Excel_Worksheet456.xlsx"/></Relationships>
</file>

<file path=ppt/charts/_rels/chart458.xml.rels><?xml version='1.0' encoding='UTF-8' standalone='yes'?>
<Relationships xmlns="http://schemas.openxmlformats.org/package/2006/relationships"><Relationship Id="rId1" Type="http://schemas.openxmlformats.org/officeDocument/2006/relationships/package" Target="../embeddings/Microsoft_Excel_Worksheet457.xlsx"/></Relationships>
</file>

<file path=ppt/charts/_rels/chart459.xml.rels><?xml version='1.0' encoding='UTF-8' standalone='yes'?>
<Relationships xmlns="http://schemas.openxmlformats.org/package/2006/relationships"><Relationship Id="rId1" Type="http://schemas.openxmlformats.org/officeDocument/2006/relationships/package" Target="../embeddings/Microsoft_Excel_Worksheet458.xlsx"/></Relationships>
</file>

<file path=ppt/charts/_rels/chart46.xml.rels><?xml version='1.0' encoding='UTF-8' standalone='yes'?>
<Relationships xmlns="http://schemas.openxmlformats.org/package/2006/relationships"><Relationship Id="rId1" Type="http://schemas.openxmlformats.org/officeDocument/2006/relationships/package" Target="../embeddings/Microsoft_Excel_Worksheet45.xlsx"/></Relationships>
</file>

<file path=ppt/charts/_rels/chart460.xml.rels><?xml version='1.0' encoding='UTF-8' standalone='yes'?>
<Relationships xmlns="http://schemas.openxmlformats.org/package/2006/relationships"><Relationship Id="rId1" Type="http://schemas.openxmlformats.org/officeDocument/2006/relationships/package" Target="../embeddings/Microsoft_Excel_Worksheet459.xlsx"/></Relationships>
</file>

<file path=ppt/charts/_rels/chart461.xml.rels><?xml version='1.0' encoding='UTF-8' standalone='yes'?>
<Relationships xmlns="http://schemas.openxmlformats.org/package/2006/relationships"><Relationship Id="rId1" Type="http://schemas.openxmlformats.org/officeDocument/2006/relationships/package" Target="../embeddings/Microsoft_Excel_Worksheet460.xlsx"/></Relationships>
</file>

<file path=ppt/charts/_rels/chart462.xml.rels><?xml version='1.0' encoding='UTF-8' standalone='yes'?>
<Relationships xmlns="http://schemas.openxmlformats.org/package/2006/relationships"><Relationship Id="rId1" Type="http://schemas.openxmlformats.org/officeDocument/2006/relationships/package" Target="../embeddings/Microsoft_Excel_Worksheet461.xlsx"/></Relationships>
</file>

<file path=ppt/charts/_rels/chart463.xml.rels><?xml version='1.0' encoding='UTF-8' standalone='yes'?>
<Relationships xmlns="http://schemas.openxmlformats.org/package/2006/relationships"><Relationship Id="rId1" Type="http://schemas.openxmlformats.org/officeDocument/2006/relationships/package" Target="../embeddings/Microsoft_Excel_Worksheet462.xlsx"/></Relationships>
</file>

<file path=ppt/charts/_rels/chart464.xml.rels><?xml version='1.0' encoding='UTF-8' standalone='yes'?>
<Relationships xmlns="http://schemas.openxmlformats.org/package/2006/relationships"><Relationship Id="rId1" Type="http://schemas.openxmlformats.org/officeDocument/2006/relationships/package" Target="../embeddings/Microsoft_Excel_Worksheet463.xlsx"/></Relationships>
</file>

<file path=ppt/charts/_rels/chart465.xml.rels><?xml version='1.0' encoding='UTF-8' standalone='yes'?>
<Relationships xmlns="http://schemas.openxmlformats.org/package/2006/relationships"><Relationship Id="rId1" Type="http://schemas.openxmlformats.org/officeDocument/2006/relationships/package" Target="../embeddings/Microsoft_Excel_Worksheet464.xlsx"/></Relationships>
</file>

<file path=ppt/charts/_rels/chart466.xml.rels><?xml version='1.0' encoding='UTF-8' standalone='yes'?>
<Relationships xmlns="http://schemas.openxmlformats.org/package/2006/relationships"><Relationship Id="rId1" Type="http://schemas.openxmlformats.org/officeDocument/2006/relationships/package" Target="../embeddings/Microsoft_Excel_Worksheet465.xlsx"/></Relationships>
</file>

<file path=ppt/charts/_rels/chart467.xml.rels><?xml version='1.0' encoding='UTF-8' standalone='yes'?>
<Relationships xmlns="http://schemas.openxmlformats.org/package/2006/relationships"><Relationship Id="rId1" Type="http://schemas.openxmlformats.org/officeDocument/2006/relationships/package" Target="../embeddings/Microsoft_Excel_Worksheet466.xlsx"/></Relationships>
</file>

<file path=ppt/charts/_rels/chart468.xml.rels><?xml version='1.0' encoding='UTF-8' standalone='yes'?>
<Relationships xmlns="http://schemas.openxmlformats.org/package/2006/relationships"><Relationship Id="rId1" Type="http://schemas.openxmlformats.org/officeDocument/2006/relationships/package" Target="../embeddings/Microsoft_Excel_Worksheet467.xlsx"/></Relationships>
</file>

<file path=ppt/charts/_rels/chart469.xml.rels><?xml version='1.0' encoding='UTF-8' standalone='yes'?>
<Relationships xmlns="http://schemas.openxmlformats.org/package/2006/relationships"><Relationship Id="rId1" Type="http://schemas.openxmlformats.org/officeDocument/2006/relationships/package" Target="../embeddings/Microsoft_Excel_Worksheet468.xlsx"/></Relationships>
</file>

<file path=ppt/charts/_rels/chart47.xml.rels><?xml version='1.0' encoding='UTF-8' standalone='yes'?>
<Relationships xmlns="http://schemas.openxmlformats.org/package/2006/relationships"><Relationship Id="rId1" Type="http://schemas.openxmlformats.org/officeDocument/2006/relationships/package" Target="../embeddings/Microsoft_Excel_Worksheet46.xlsx"/></Relationships>
</file>

<file path=ppt/charts/_rels/chart470.xml.rels><?xml version='1.0' encoding='UTF-8' standalone='yes'?>
<Relationships xmlns="http://schemas.openxmlformats.org/package/2006/relationships"><Relationship Id="rId1" Type="http://schemas.openxmlformats.org/officeDocument/2006/relationships/package" Target="../embeddings/Microsoft_Excel_Worksheet469.xlsx"/></Relationships>
</file>

<file path=ppt/charts/_rels/chart471.xml.rels><?xml version='1.0' encoding='UTF-8' standalone='yes'?>
<Relationships xmlns="http://schemas.openxmlformats.org/package/2006/relationships"><Relationship Id="rId1" Type="http://schemas.openxmlformats.org/officeDocument/2006/relationships/package" Target="../embeddings/Microsoft_Excel_Worksheet470.xlsx"/></Relationships>
</file>

<file path=ppt/charts/_rels/chart472.xml.rels><?xml version='1.0' encoding='UTF-8' standalone='yes'?>
<Relationships xmlns="http://schemas.openxmlformats.org/package/2006/relationships"><Relationship Id="rId1" Type="http://schemas.openxmlformats.org/officeDocument/2006/relationships/package" Target="../embeddings/Microsoft_Excel_Worksheet471.xlsx"/></Relationships>
</file>

<file path=ppt/charts/_rels/chart473.xml.rels><?xml version='1.0' encoding='UTF-8' standalone='yes'?>
<Relationships xmlns="http://schemas.openxmlformats.org/package/2006/relationships"><Relationship Id="rId1" Type="http://schemas.openxmlformats.org/officeDocument/2006/relationships/package" Target="../embeddings/Microsoft_Excel_Worksheet472.xlsx"/></Relationships>
</file>

<file path=ppt/charts/_rels/chart474.xml.rels><?xml version='1.0' encoding='UTF-8' standalone='yes'?>
<Relationships xmlns="http://schemas.openxmlformats.org/package/2006/relationships"><Relationship Id="rId1" Type="http://schemas.openxmlformats.org/officeDocument/2006/relationships/package" Target="../embeddings/Microsoft_Excel_Worksheet473.xlsx"/></Relationships>
</file>

<file path=ppt/charts/_rels/chart475.xml.rels><?xml version='1.0' encoding='UTF-8' standalone='yes'?>
<Relationships xmlns="http://schemas.openxmlformats.org/package/2006/relationships"><Relationship Id="rId1" Type="http://schemas.openxmlformats.org/officeDocument/2006/relationships/package" Target="../embeddings/Microsoft_Excel_Worksheet474.xlsx"/></Relationships>
</file>

<file path=ppt/charts/_rels/chart476.xml.rels><?xml version='1.0' encoding='UTF-8' standalone='yes'?>
<Relationships xmlns="http://schemas.openxmlformats.org/package/2006/relationships"><Relationship Id="rId1" Type="http://schemas.openxmlformats.org/officeDocument/2006/relationships/package" Target="../embeddings/Microsoft_Excel_Worksheet475.xlsx"/></Relationships>
</file>

<file path=ppt/charts/_rels/chart477.xml.rels><?xml version='1.0' encoding='UTF-8' standalone='yes'?>
<Relationships xmlns="http://schemas.openxmlformats.org/package/2006/relationships"><Relationship Id="rId1" Type="http://schemas.openxmlformats.org/officeDocument/2006/relationships/package" Target="../embeddings/Microsoft_Excel_Worksheet476.xlsx"/></Relationships>
</file>

<file path=ppt/charts/_rels/chart478.xml.rels><?xml version='1.0' encoding='UTF-8' standalone='yes'?>
<Relationships xmlns="http://schemas.openxmlformats.org/package/2006/relationships"><Relationship Id="rId1" Type="http://schemas.openxmlformats.org/officeDocument/2006/relationships/package" Target="../embeddings/Microsoft_Excel_Worksheet477.xlsx"/></Relationships>
</file>

<file path=ppt/charts/_rels/chart479.xml.rels><?xml version='1.0' encoding='UTF-8' standalone='yes'?>
<Relationships xmlns="http://schemas.openxmlformats.org/package/2006/relationships"><Relationship Id="rId1" Type="http://schemas.openxmlformats.org/officeDocument/2006/relationships/package" Target="../embeddings/Microsoft_Excel_Worksheet478.xlsx"/></Relationships>
</file>

<file path=ppt/charts/_rels/chart48.xml.rels><?xml version='1.0' encoding='UTF-8' standalone='yes'?>
<Relationships xmlns="http://schemas.openxmlformats.org/package/2006/relationships"><Relationship Id="rId1" Type="http://schemas.openxmlformats.org/officeDocument/2006/relationships/package" Target="../embeddings/Microsoft_Excel_Worksheet47.xlsx"/></Relationships>
</file>

<file path=ppt/charts/_rels/chart480.xml.rels><?xml version='1.0' encoding='UTF-8' standalone='yes'?>
<Relationships xmlns="http://schemas.openxmlformats.org/package/2006/relationships"><Relationship Id="rId1" Type="http://schemas.openxmlformats.org/officeDocument/2006/relationships/package" Target="../embeddings/Microsoft_Excel_Worksheet479.xlsx"/></Relationships>
</file>

<file path=ppt/charts/_rels/chart481.xml.rels><?xml version='1.0' encoding='UTF-8' standalone='yes'?>
<Relationships xmlns="http://schemas.openxmlformats.org/package/2006/relationships"><Relationship Id="rId1" Type="http://schemas.openxmlformats.org/officeDocument/2006/relationships/package" Target="../embeddings/Microsoft_Excel_Worksheet480.xlsx"/></Relationships>
</file>

<file path=ppt/charts/_rels/chart482.xml.rels><?xml version='1.0' encoding='UTF-8' standalone='yes'?>
<Relationships xmlns="http://schemas.openxmlformats.org/package/2006/relationships"><Relationship Id="rId1" Type="http://schemas.openxmlformats.org/officeDocument/2006/relationships/package" Target="../embeddings/Microsoft_Excel_Worksheet481.xlsx"/></Relationships>
</file>

<file path=ppt/charts/_rels/chart483.xml.rels><?xml version='1.0' encoding='UTF-8' standalone='yes'?>
<Relationships xmlns="http://schemas.openxmlformats.org/package/2006/relationships"><Relationship Id="rId1" Type="http://schemas.openxmlformats.org/officeDocument/2006/relationships/package" Target="../embeddings/Microsoft_Excel_Worksheet482.xlsx"/></Relationships>
</file>

<file path=ppt/charts/_rels/chart484.xml.rels><?xml version='1.0' encoding='UTF-8' standalone='yes'?>
<Relationships xmlns="http://schemas.openxmlformats.org/package/2006/relationships"><Relationship Id="rId1" Type="http://schemas.openxmlformats.org/officeDocument/2006/relationships/package" Target="../embeddings/Microsoft_Excel_Worksheet483.xlsx"/></Relationships>
</file>

<file path=ppt/charts/_rels/chart485.xml.rels><?xml version='1.0' encoding='UTF-8' standalone='yes'?>
<Relationships xmlns="http://schemas.openxmlformats.org/package/2006/relationships"><Relationship Id="rId1" Type="http://schemas.openxmlformats.org/officeDocument/2006/relationships/package" Target="../embeddings/Microsoft_Excel_Worksheet484.xlsx"/></Relationships>
</file>

<file path=ppt/charts/_rels/chart486.xml.rels><?xml version='1.0' encoding='UTF-8' standalone='yes'?>
<Relationships xmlns="http://schemas.openxmlformats.org/package/2006/relationships"><Relationship Id="rId1" Type="http://schemas.openxmlformats.org/officeDocument/2006/relationships/package" Target="../embeddings/Microsoft_Excel_Worksheet485.xlsx"/></Relationships>
</file>

<file path=ppt/charts/_rels/chart487.xml.rels><?xml version='1.0' encoding='UTF-8' standalone='yes'?>
<Relationships xmlns="http://schemas.openxmlformats.org/package/2006/relationships"><Relationship Id="rId1" Type="http://schemas.openxmlformats.org/officeDocument/2006/relationships/package" Target="../embeddings/Microsoft_Excel_Worksheet486.xlsx"/></Relationships>
</file>

<file path=ppt/charts/_rels/chart488.xml.rels><?xml version='1.0' encoding='UTF-8' standalone='yes'?>
<Relationships xmlns="http://schemas.openxmlformats.org/package/2006/relationships"><Relationship Id="rId1" Type="http://schemas.openxmlformats.org/officeDocument/2006/relationships/package" Target="../embeddings/Microsoft_Excel_Worksheet487.xlsx"/></Relationships>
</file>

<file path=ppt/charts/_rels/chart489.xml.rels><?xml version='1.0' encoding='UTF-8' standalone='yes'?>
<Relationships xmlns="http://schemas.openxmlformats.org/package/2006/relationships"><Relationship Id="rId1" Type="http://schemas.openxmlformats.org/officeDocument/2006/relationships/package" Target="../embeddings/Microsoft_Excel_Worksheet488.xlsx"/></Relationships>
</file>

<file path=ppt/charts/_rels/chart49.xml.rels><?xml version='1.0' encoding='UTF-8' standalone='yes'?>
<Relationships xmlns="http://schemas.openxmlformats.org/package/2006/relationships"><Relationship Id="rId1" Type="http://schemas.openxmlformats.org/officeDocument/2006/relationships/package" Target="../embeddings/Microsoft_Excel_Worksheet48.xlsx"/></Relationships>
</file>

<file path=ppt/charts/_rels/chart490.xml.rels><?xml version='1.0' encoding='UTF-8' standalone='yes'?>
<Relationships xmlns="http://schemas.openxmlformats.org/package/2006/relationships"><Relationship Id="rId1" Type="http://schemas.openxmlformats.org/officeDocument/2006/relationships/package" Target="../embeddings/Microsoft_Excel_Worksheet489.xlsx"/></Relationships>
</file>

<file path=ppt/charts/_rels/chart491.xml.rels><?xml version='1.0' encoding='UTF-8' standalone='yes'?>
<Relationships xmlns="http://schemas.openxmlformats.org/package/2006/relationships"><Relationship Id="rId1" Type="http://schemas.openxmlformats.org/officeDocument/2006/relationships/package" Target="../embeddings/Microsoft_Excel_Worksheet490.xlsx"/></Relationships>
</file>

<file path=ppt/charts/_rels/chart492.xml.rels><?xml version='1.0' encoding='UTF-8' standalone='yes'?>
<Relationships xmlns="http://schemas.openxmlformats.org/package/2006/relationships"><Relationship Id="rId1" Type="http://schemas.openxmlformats.org/officeDocument/2006/relationships/package" Target="../embeddings/Microsoft_Excel_Worksheet491.xlsx"/></Relationships>
</file>

<file path=ppt/charts/_rels/chart493.xml.rels><?xml version='1.0' encoding='UTF-8' standalone='yes'?>
<Relationships xmlns="http://schemas.openxmlformats.org/package/2006/relationships"><Relationship Id="rId1" Type="http://schemas.openxmlformats.org/officeDocument/2006/relationships/package" Target="../embeddings/Microsoft_Excel_Worksheet492.xlsx"/></Relationships>
</file>

<file path=ppt/charts/_rels/chart494.xml.rels><?xml version='1.0' encoding='UTF-8' standalone='yes'?>
<Relationships xmlns="http://schemas.openxmlformats.org/package/2006/relationships"><Relationship Id="rId1" Type="http://schemas.openxmlformats.org/officeDocument/2006/relationships/package" Target="../embeddings/Microsoft_Excel_Worksheet493.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50.xml.rels><?xml version='1.0' encoding='UTF-8' standalone='yes'?>
<Relationships xmlns="http://schemas.openxmlformats.org/package/2006/relationships"><Relationship Id="rId1" Type="http://schemas.openxmlformats.org/officeDocument/2006/relationships/package" Target="../embeddings/Microsoft_Excel_Worksheet49.xlsx"/></Relationships>
</file>

<file path=ppt/charts/_rels/chart51.xml.rels><?xml version='1.0' encoding='UTF-8' standalone='yes'?>
<Relationships xmlns="http://schemas.openxmlformats.org/package/2006/relationships"><Relationship Id="rId1" Type="http://schemas.openxmlformats.org/officeDocument/2006/relationships/package" Target="../embeddings/Microsoft_Excel_Worksheet50.xlsx"/></Relationships>
</file>

<file path=ppt/charts/_rels/chart52.xml.rels><?xml version='1.0' encoding='UTF-8' standalone='yes'?>
<Relationships xmlns="http://schemas.openxmlformats.org/package/2006/relationships"><Relationship Id="rId1" Type="http://schemas.openxmlformats.org/officeDocument/2006/relationships/package" Target="../embeddings/Microsoft_Excel_Worksheet51.xlsx"/></Relationships>
</file>

<file path=ppt/charts/_rels/chart53.xml.rels><?xml version='1.0' encoding='UTF-8' standalone='yes'?>
<Relationships xmlns="http://schemas.openxmlformats.org/package/2006/relationships"><Relationship Id="rId1" Type="http://schemas.openxmlformats.org/officeDocument/2006/relationships/package" Target="../embeddings/Microsoft_Excel_Worksheet52.xlsx"/></Relationships>
</file>

<file path=ppt/charts/_rels/chart54.xml.rels><?xml version='1.0' encoding='UTF-8' standalone='yes'?>
<Relationships xmlns="http://schemas.openxmlformats.org/package/2006/relationships"><Relationship Id="rId1" Type="http://schemas.openxmlformats.org/officeDocument/2006/relationships/package" Target="../embeddings/Microsoft_Excel_Worksheet53.xlsx"/></Relationships>
</file>

<file path=ppt/charts/_rels/chart55.xml.rels><?xml version='1.0' encoding='UTF-8' standalone='yes'?>
<Relationships xmlns="http://schemas.openxmlformats.org/package/2006/relationships"><Relationship Id="rId1" Type="http://schemas.openxmlformats.org/officeDocument/2006/relationships/package" Target="../embeddings/Microsoft_Excel_Worksheet54.xlsx"/></Relationships>
</file>

<file path=ppt/charts/_rels/chart56.xml.rels><?xml version='1.0' encoding='UTF-8' standalone='yes'?>
<Relationships xmlns="http://schemas.openxmlformats.org/package/2006/relationships"><Relationship Id="rId1" Type="http://schemas.openxmlformats.org/officeDocument/2006/relationships/package" Target="../embeddings/Microsoft_Excel_Worksheet55.xlsx"/></Relationships>
</file>

<file path=ppt/charts/_rels/chart57.xml.rels><?xml version='1.0' encoding='UTF-8' standalone='yes'?>
<Relationships xmlns="http://schemas.openxmlformats.org/package/2006/relationships"><Relationship Id="rId1" Type="http://schemas.openxmlformats.org/officeDocument/2006/relationships/package" Target="../embeddings/Microsoft_Excel_Worksheet56.xlsx"/></Relationships>
</file>

<file path=ppt/charts/_rels/chart58.xml.rels><?xml version='1.0' encoding='UTF-8' standalone='yes'?>
<Relationships xmlns="http://schemas.openxmlformats.org/package/2006/relationships"><Relationship Id="rId1" Type="http://schemas.openxmlformats.org/officeDocument/2006/relationships/package" Target="../embeddings/Microsoft_Excel_Worksheet57.xlsx"/></Relationships>
</file>

<file path=ppt/charts/_rels/chart59.xml.rels><?xml version='1.0' encoding='UTF-8' standalone='yes'?>
<Relationships xmlns="http://schemas.openxmlformats.org/package/2006/relationships"><Relationship Id="rId1" Type="http://schemas.openxmlformats.org/officeDocument/2006/relationships/package" Target="../embeddings/Microsoft_Excel_Worksheet58.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60.xml.rels><?xml version='1.0' encoding='UTF-8' standalone='yes'?>
<Relationships xmlns="http://schemas.openxmlformats.org/package/2006/relationships"><Relationship Id="rId1" Type="http://schemas.openxmlformats.org/officeDocument/2006/relationships/package" Target="../embeddings/Microsoft_Excel_Worksheet59.xlsx"/></Relationships>
</file>

<file path=ppt/charts/_rels/chart61.xml.rels><?xml version='1.0' encoding='UTF-8' standalone='yes'?>
<Relationships xmlns="http://schemas.openxmlformats.org/package/2006/relationships"><Relationship Id="rId1" Type="http://schemas.openxmlformats.org/officeDocument/2006/relationships/package" Target="../embeddings/Microsoft_Excel_Worksheet60.xlsx"/></Relationships>
</file>

<file path=ppt/charts/_rels/chart62.xml.rels><?xml version='1.0' encoding='UTF-8' standalone='yes'?>
<Relationships xmlns="http://schemas.openxmlformats.org/package/2006/relationships"><Relationship Id="rId1" Type="http://schemas.openxmlformats.org/officeDocument/2006/relationships/package" Target="../embeddings/Microsoft_Excel_Worksheet61.xlsx"/></Relationships>
</file>

<file path=ppt/charts/_rels/chart63.xml.rels><?xml version='1.0' encoding='UTF-8' standalone='yes'?>
<Relationships xmlns="http://schemas.openxmlformats.org/package/2006/relationships"><Relationship Id="rId1" Type="http://schemas.openxmlformats.org/officeDocument/2006/relationships/package" Target="../embeddings/Microsoft_Excel_Worksheet62.xlsx"/></Relationships>
</file>

<file path=ppt/charts/_rels/chart64.xml.rels><?xml version='1.0' encoding='UTF-8' standalone='yes'?>
<Relationships xmlns="http://schemas.openxmlformats.org/package/2006/relationships"><Relationship Id="rId1" Type="http://schemas.openxmlformats.org/officeDocument/2006/relationships/package" Target="../embeddings/Microsoft_Excel_Worksheet63.xlsx"/></Relationships>
</file>

<file path=ppt/charts/_rels/chart65.xml.rels><?xml version='1.0' encoding='UTF-8' standalone='yes'?>
<Relationships xmlns="http://schemas.openxmlformats.org/package/2006/relationships"><Relationship Id="rId1" Type="http://schemas.openxmlformats.org/officeDocument/2006/relationships/package" Target="../embeddings/Microsoft_Excel_Worksheet64.xlsx"/></Relationships>
</file>

<file path=ppt/charts/_rels/chart66.xml.rels><?xml version='1.0' encoding='UTF-8' standalone='yes'?>
<Relationships xmlns="http://schemas.openxmlformats.org/package/2006/relationships"><Relationship Id="rId1" Type="http://schemas.openxmlformats.org/officeDocument/2006/relationships/package" Target="../embeddings/Microsoft_Excel_Worksheet65.xlsx"/></Relationships>
</file>

<file path=ppt/charts/_rels/chart67.xml.rels><?xml version='1.0' encoding='UTF-8' standalone='yes'?>
<Relationships xmlns="http://schemas.openxmlformats.org/package/2006/relationships"><Relationship Id="rId1" Type="http://schemas.openxmlformats.org/officeDocument/2006/relationships/package" Target="../embeddings/Microsoft_Excel_Worksheet66.xlsx"/></Relationships>
</file>

<file path=ppt/charts/_rels/chart68.xml.rels><?xml version='1.0' encoding='UTF-8' standalone='yes'?>
<Relationships xmlns="http://schemas.openxmlformats.org/package/2006/relationships"><Relationship Id="rId1" Type="http://schemas.openxmlformats.org/officeDocument/2006/relationships/package" Target="../embeddings/Microsoft_Excel_Worksheet67.xlsx"/></Relationships>
</file>

<file path=ppt/charts/_rels/chart69.xml.rels><?xml version='1.0' encoding='UTF-8' standalone='yes'?>
<Relationships xmlns="http://schemas.openxmlformats.org/package/2006/relationships"><Relationship Id="rId1" Type="http://schemas.openxmlformats.org/officeDocument/2006/relationships/package" Target="../embeddings/Microsoft_Excel_Worksheet68.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70.xml.rels><?xml version='1.0' encoding='UTF-8' standalone='yes'?>
<Relationships xmlns="http://schemas.openxmlformats.org/package/2006/relationships"><Relationship Id="rId1" Type="http://schemas.openxmlformats.org/officeDocument/2006/relationships/package" Target="../embeddings/Microsoft_Excel_Worksheet69.xlsx"/></Relationships>
</file>

<file path=ppt/charts/_rels/chart71.xml.rels><?xml version='1.0' encoding='UTF-8' standalone='yes'?>
<Relationships xmlns="http://schemas.openxmlformats.org/package/2006/relationships"><Relationship Id="rId1" Type="http://schemas.openxmlformats.org/officeDocument/2006/relationships/package" Target="../embeddings/Microsoft_Excel_Worksheet70.xlsx"/></Relationships>
</file>

<file path=ppt/charts/_rels/chart72.xml.rels><?xml version='1.0' encoding='UTF-8' standalone='yes'?>
<Relationships xmlns="http://schemas.openxmlformats.org/package/2006/relationships"><Relationship Id="rId1" Type="http://schemas.openxmlformats.org/officeDocument/2006/relationships/package" Target="../embeddings/Microsoft_Excel_Worksheet71.xlsx"/></Relationships>
</file>

<file path=ppt/charts/_rels/chart73.xml.rels><?xml version='1.0' encoding='UTF-8' standalone='yes'?>
<Relationships xmlns="http://schemas.openxmlformats.org/package/2006/relationships"><Relationship Id="rId1" Type="http://schemas.openxmlformats.org/officeDocument/2006/relationships/package" Target="../embeddings/Microsoft_Excel_Worksheet72.xlsx"/></Relationships>
</file>

<file path=ppt/charts/_rels/chart74.xml.rels><?xml version='1.0' encoding='UTF-8' standalone='yes'?>
<Relationships xmlns="http://schemas.openxmlformats.org/package/2006/relationships"><Relationship Id="rId1" Type="http://schemas.openxmlformats.org/officeDocument/2006/relationships/package" Target="../embeddings/Microsoft_Excel_Worksheet73.xlsx"/></Relationships>
</file>

<file path=ppt/charts/_rels/chart75.xml.rels><?xml version='1.0' encoding='UTF-8' standalone='yes'?>
<Relationships xmlns="http://schemas.openxmlformats.org/package/2006/relationships"><Relationship Id="rId1" Type="http://schemas.openxmlformats.org/officeDocument/2006/relationships/package" Target="../embeddings/Microsoft_Excel_Worksheet74.xlsx"/></Relationships>
</file>

<file path=ppt/charts/_rels/chart76.xml.rels><?xml version='1.0' encoding='UTF-8' standalone='yes'?>
<Relationships xmlns="http://schemas.openxmlformats.org/package/2006/relationships"><Relationship Id="rId1" Type="http://schemas.openxmlformats.org/officeDocument/2006/relationships/package" Target="../embeddings/Microsoft_Excel_Worksheet75.xlsx"/></Relationships>
</file>

<file path=ppt/charts/_rels/chart77.xml.rels><?xml version='1.0' encoding='UTF-8' standalone='yes'?>
<Relationships xmlns="http://schemas.openxmlformats.org/package/2006/relationships"><Relationship Id="rId1" Type="http://schemas.openxmlformats.org/officeDocument/2006/relationships/package" Target="../embeddings/Microsoft_Excel_Worksheet76.xlsx"/></Relationships>
</file>

<file path=ppt/charts/_rels/chart78.xml.rels><?xml version='1.0' encoding='UTF-8' standalone='yes'?>
<Relationships xmlns="http://schemas.openxmlformats.org/package/2006/relationships"><Relationship Id="rId1" Type="http://schemas.openxmlformats.org/officeDocument/2006/relationships/package" Target="../embeddings/Microsoft_Excel_Worksheet77.xlsx"/></Relationships>
</file>

<file path=ppt/charts/_rels/chart79.xml.rels><?xml version='1.0' encoding='UTF-8' standalone='yes'?>
<Relationships xmlns="http://schemas.openxmlformats.org/package/2006/relationships"><Relationship Id="rId1" Type="http://schemas.openxmlformats.org/officeDocument/2006/relationships/package" Target="../embeddings/Microsoft_Excel_Worksheet78.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80.xml.rels><?xml version='1.0' encoding='UTF-8' standalone='yes'?>
<Relationships xmlns="http://schemas.openxmlformats.org/package/2006/relationships"><Relationship Id="rId1" Type="http://schemas.openxmlformats.org/officeDocument/2006/relationships/package" Target="../embeddings/Microsoft_Excel_Worksheet79.xlsx"/></Relationships>
</file>

<file path=ppt/charts/_rels/chart81.xml.rels><?xml version='1.0' encoding='UTF-8' standalone='yes'?>
<Relationships xmlns="http://schemas.openxmlformats.org/package/2006/relationships"><Relationship Id="rId1" Type="http://schemas.openxmlformats.org/officeDocument/2006/relationships/package" Target="../embeddings/Microsoft_Excel_Worksheet80.xlsx"/></Relationships>
</file>

<file path=ppt/charts/_rels/chart82.xml.rels><?xml version='1.0' encoding='UTF-8' standalone='yes'?>
<Relationships xmlns="http://schemas.openxmlformats.org/package/2006/relationships"><Relationship Id="rId1" Type="http://schemas.openxmlformats.org/officeDocument/2006/relationships/package" Target="../embeddings/Microsoft_Excel_Worksheet81.xlsx"/></Relationships>
</file>

<file path=ppt/charts/_rels/chart83.xml.rels><?xml version='1.0' encoding='UTF-8' standalone='yes'?>
<Relationships xmlns="http://schemas.openxmlformats.org/package/2006/relationships"><Relationship Id="rId1" Type="http://schemas.openxmlformats.org/officeDocument/2006/relationships/package" Target="../embeddings/Microsoft_Excel_Worksheet82.xlsx"/></Relationships>
</file>

<file path=ppt/charts/_rels/chart84.xml.rels><?xml version='1.0' encoding='UTF-8' standalone='yes'?>
<Relationships xmlns="http://schemas.openxmlformats.org/package/2006/relationships"><Relationship Id="rId1" Type="http://schemas.openxmlformats.org/officeDocument/2006/relationships/package" Target="../embeddings/Microsoft_Excel_Worksheet83.xlsx"/></Relationships>
</file>

<file path=ppt/charts/_rels/chart85.xml.rels><?xml version='1.0' encoding='UTF-8' standalone='yes'?>
<Relationships xmlns="http://schemas.openxmlformats.org/package/2006/relationships"><Relationship Id="rId1" Type="http://schemas.openxmlformats.org/officeDocument/2006/relationships/package" Target="../embeddings/Microsoft_Excel_Worksheet84.xlsx"/></Relationships>
</file>

<file path=ppt/charts/_rels/chart86.xml.rels><?xml version='1.0' encoding='UTF-8' standalone='yes'?>
<Relationships xmlns="http://schemas.openxmlformats.org/package/2006/relationships"><Relationship Id="rId1" Type="http://schemas.openxmlformats.org/officeDocument/2006/relationships/package" Target="../embeddings/Microsoft_Excel_Worksheet85.xlsx"/></Relationships>
</file>

<file path=ppt/charts/_rels/chart87.xml.rels><?xml version='1.0' encoding='UTF-8' standalone='yes'?>
<Relationships xmlns="http://schemas.openxmlformats.org/package/2006/relationships"><Relationship Id="rId1" Type="http://schemas.openxmlformats.org/officeDocument/2006/relationships/package" Target="../embeddings/Microsoft_Excel_Worksheet86.xlsx"/></Relationships>
</file>

<file path=ppt/charts/_rels/chart88.xml.rels><?xml version='1.0' encoding='UTF-8' standalone='yes'?>
<Relationships xmlns="http://schemas.openxmlformats.org/package/2006/relationships"><Relationship Id="rId1" Type="http://schemas.openxmlformats.org/officeDocument/2006/relationships/package" Target="../embeddings/Microsoft_Excel_Worksheet87.xlsx"/></Relationships>
</file>

<file path=ppt/charts/_rels/chart89.xml.rels><?xml version='1.0' encoding='UTF-8' standalone='yes'?>
<Relationships xmlns="http://schemas.openxmlformats.org/package/2006/relationships"><Relationship Id="rId1" Type="http://schemas.openxmlformats.org/officeDocument/2006/relationships/package" Target="../embeddings/Microsoft_Excel_Worksheet88.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_rels/chart90.xml.rels><?xml version='1.0' encoding='UTF-8' standalone='yes'?>
<Relationships xmlns="http://schemas.openxmlformats.org/package/2006/relationships"><Relationship Id="rId1" Type="http://schemas.openxmlformats.org/officeDocument/2006/relationships/package" Target="../embeddings/Microsoft_Excel_Worksheet89.xlsx"/></Relationships>
</file>

<file path=ppt/charts/_rels/chart91.xml.rels><?xml version='1.0' encoding='UTF-8' standalone='yes'?>
<Relationships xmlns="http://schemas.openxmlformats.org/package/2006/relationships"><Relationship Id="rId1" Type="http://schemas.openxmlformats.org/officeDocument/2006/relationships/package" Target="../embeddings/Microsoft_Excel_Worksheet90.xlsx"/></Relationships>
</file>

<file path=ppt/charts/_rels/chart92.xml.rels><?xml version='1.0' encoding='UTF-8' standalone='yes'?>
<Relationships xmlns="http://schemas.openxmlformats.org/package/2006/relationships"><Relationship Id="rId1" Type="http://schemas.openxmlformats.org/officeDocument/2006/relationships/package" Target="../embeddings/Microsoft_Excel_Worksheet91.xlsx"/></Relationships>
</file>

<file path=ppt/charts/_rels/chart93.xml.rels><?xml version='1.0' encoding='UTF-8' standalone='yes'?>
<Relationships xmlns="http://schemas.openxmlformats.org/package/2006/relationships"><Relationship Id="rId1" Type="http://schemas.openxmlformats.org/officeDocument/2006/relationships/package" Target="../embeddings/Microsoft_Excel_Worksheet92.xlsx"/></Relationships>
</file>

<file path=ppt/charts/_rels/chart94.xml.rels><?xml version='1.0' encoding='UTF-8' standalone='yes'?>
<Relationships xmlns="http://schemas.openxmlformats.org/package/2006/relationships"><Relationship Id="rId1" Type="http://schemas.openxmlformats.org/officeDocument/2006/relationships/package" Target="../embeddings/Microsoft_Excel_Worksheet93.xlsx"/></Relationships>
</file>

<file path=ppt/charts/_rels/chart95.xml.rels><?xml version='1.0' encoding='UTF-8' standalone='yes'?>
<Relationships xmlns="http://schemas.openxmlformats.org/package/2006/relationships"><Relationship Id="rId1" Type="http://schemas.openxmlformats.org/officeDocument/2006/relationships/package" Target="../embeddings/Microsoft_Excel_Worksheet94.xlsx"/></Relationships>
</file>

<file path=ppt/charts/_rels/chart96.xml.rels><?xml version='1.0' encoding='UTF-8' standalone='yes'?>
<Relationships xmlns="http://schemas.openxmlformats.org/package/2006/relationships"><Relationship Id="rId1" Type="http://schemas.openxmlformats.org/officeDocument/2006/relationships/package" Target="../embeddings/Microsoft_Excel_Worksheet95.xlsx"/></Relationships>
</file>

<file path=ppt/charts/_rels/chart97.xml.rels><?xml version='1.0' encoding='UTF-8' standalone='yes'?>
<Relationships xmlns="http://schemas.openxmlformats.org/package/2006/relationships"><Relationship Id="rId1" Type="http://schemas.openxmlformats.org/officeDocument/2006/relationships/package" Target="../embeddings/Microsoft_Excel_Worksheet96.xlsx"/></Relationships>
</file>

<file path=ppt/charts/_rels/chart98.xml.rels><?xml version='1.0' encoding='UTF-8' standalone='yes'?>
<Relationships xmlns="http://schemas.openxmlformats.org/package/2006/relationships"><Relationship Id="rId1" Type="http://schemas.openxmlformats.org/officeDocument/2006/relationships/package" Target="../embeddings/Microsoft_Excel_Worksheet97.xlsx"/></Relationships>
</file>

<file path=ppt/charts/_rels/chart99.xml.rels><?xml version='1.0' encoding='UTF-8' standalone='yes'?>
<Relationships xmlns="http://schemas.openxmlformats.org/package/2006/relationships"><Relationship Id="rId1" Type="http://schemas.openxmlformats.org/officeDocument/2006/relationships/package" Target="../embeddings/Microsoft_Excel_Worksheet9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President</c:v>
                </c:pt>
                <c:pt idx="2">
                  <c:v>Soignon</c:v>
                </c:pt>
                <c:pt idx="3">
                  <c:v>Caprice Des Dieux</c:v>
                </c:pt>
                <c:pt idx="4">
                  <c:v>St Moret</c:v>
                </c:pt>
                <c:pt idx="5">
                  <c:v>La Vache Qui Rit</c:v>
                </c:pt>
                <c:pt idx="6">
                  <c:v>Coeur De Lion</c:v>
                </c:pt>
                <c:pt idx="7">
                  <c:v>Kiri</c:v>
                </c:pt>
                <c:pt idx="8">
                  <c:v>Boursin</c:v>
                </c:pt>
                <c:pt idx="9">
                  <c:v>Others</c:v>
                </c:pt>
              </c:strCache>
            </c:strRef>
          </c:cat>
          <c:val>
            <c:numRef>
              <c:f>Sheet1!$B$2:$B$11</c:f>
              <c:numCache>
                <c:formatCode>General</c:formatCode>
                <c:ptCount val="10"/>
                <c:pt idx="0">
                  <c:v>0.40686721090165656</c:v>
                </c:pt>
                <c:pt idx="1">
                  <c:v>0.055354070928217675</c:v>
                </c:pt>
                <c:pt idx="2">
                  <c:v>0.029682414115805807</c:v>
                </c:pt>
                <c:pt idx="3">
                  <c:v>0.02656525684211483</c:v>
                </c:pt>
                <c:pt idx="4">
                  <c:v>0.02627806696421322</c:v>
                </c:pt>
                <c:pt idx="5">
                  <c:v>0.02624183412015517</c:v>
                </c:pt>
                <c:pt idx="6">
                  <c:v>0.021033356253661446</c:v>
                </c:pt>
                <c:pt idx="7">
                  <c:v>0.018632856836889946</c:v>
                </c:pt>
                <c:pt idx="8">
                  <c:v>0.015990723189821733</c:v>
                </c:pt>
                <c:pt idx="9">
                  <c:v>0.3733542098474636</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President</c:v>
                </c:pt>
                <c:pt idx="2">
                  <c:v>Soignon</c:v>
                </c:pt>
                <c:pt idx="3">
                  <c:v>Caprice Des Dieux</c:v>
                </c:pt>
                <c:pt idx="4">
                  <c:v>St Moret</c:v>
                </c:pt>
                <c:pt idx="5">
                  <c:v>La Vache Qui Rit</c:v>
                </c:pt>
                <c:pt idx="6">
                  <c:v>Coeur De Lion</c:v>
                </c:pt>
                <c:pt idx="7">
                  <c:v>Kiri</c:v>
                </c:pt>
                <c:pt idx="8">
                  <c:v>Boursin</c:v>
                </c:pt>
                <c:pt idx="9">
                  <c:v>Others</c:v>
                </c:pt>
              </c:strCache>
            </c:strRef>
          </c:cat>
          <c:val>
            <c:numRef>
              <c:f>Sheet1!$C$2:$C$11</c:f>
              <c:numCache>
                <c:formatCode>General</c:formatCode>
                <c:ptCount val="10"/>
                <c:pt idx="0">
                  <c:v>0.21838106370543592</c:v>
                </c:pt>
                <c:pt idx="1">
                  <c:v>0.045038233002143074</c:v>
                </c:pt>
                <c:pt idx="2">
                  <c:v>0.019524400935125696</c:v>
                </c:pt>
                <c:pt idx="3">
                  <c:v>0.012032437171244912</c:v>
                </c:pt>
                <c:pt idx="4">
                  <c:v>0.017456896551724173</c:v>
                </c:pt>
                <c:pt idx="5">
                  <c:v>0.012243083966491352</c:v>
                </c:pt>
                <c:pt idx="6">
                  <c:v>0.009224624975647785</c:v>
                </c:pt>
                <c:pt idx="7">
                  <c:v>0.010920757841418294</c:v>
                </c:pt>
                <c:pt idx="8">
                  <c:v>0.02238822326125077</c:v>
                </c:pt>
                <c:pt idx="9">
                  <c:v>0.6327902785895185</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President</c:v>
                </c:pt>
                <c:pt idx="2">
                  <c:v>Soignon</c:v>
                </c:pt>
                <c:pt idx="3">
                  <c:v>Caprice Des Dieux</c:v>
                </c:pt>
                <c:pt idx="4">
                  <c:v>St Moret</c:v>
                </c:pt>
                <c:pt idx="5">
                  <c:v>La Vache Qui Rit</c:v>
                </c:pt>
                <c:pt idx="6">
                  <c:v>Coeur De Lion</c:v>
                </c:pt>
                <c:pt idx="7">
                  <c:v>Kiri</c:v>
                </c:pt>
                <c:pt idx="8">
                  <c:v>Boursin</c:v>
                </c:pt>
                <c:pt idx="9">
                  <c:v>Others</c:v>
                </c:pt>
              </c:strCache>
            </c:strRef>
          </c:cat>
          <c:val>
            <c:numRef>
              <c:f>Sheet1!$D$2:$D$11</c:f>
              <c:numCache>
                <c:formatCode>General</c:formatCode>
                <c:ptCount val="10"/>
                <c:pt idx="0">
                  <c:v>53.67379278892557</c:v>
                </c:pt>
                <c:pt idx="1">
                  <c:v>81.36390376879051</c:v>
                </c:pt>
                <c:pt idx="2">
                  <c:v>65.77767178556074</c:v>
                </c:pt>
                <c:pt idx="3">
                  <c:v>45.29388608119711</c:v>
                </c:pt>
                <c:pt idx="4">
                  <c:v>66.4314333908116</c:v>
                </c:pt>
                <c:pt idx="5">
                  <c:v>46.6548333109384</c:v>
                </c:pt>
                <c:pt idx="6">
                  <c:v>43.857123249371966</c:v>
                </c:pt>
                <c:pt idx="7">
                  <c:v>58.61021708596513</c:v>
                </c:pt>
                <c:pt idx="8">
                  <c:v>140.00757186204757</c:v>
                </c:pt>
                <c:pt idx="9">
                  <c:v>169.48791841614678</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President</c:v>
                </c:pt>
                <c:pt idx="2">
                  <c:v>Soignon</c:v>
                </c:pt>
                <c:pt idx="3">
                  <c:v>St Moret</c:v>
                </c:pt>
                <c:pt idx="4">
                  <c:v>Caprice Des Dieux</c:v>
                </c:pt>
                <c:pt idx="5">
                  <c:v>Galbani</c:v>
                </c:pt>
                <c:pt idx="6">
                  <c:v>La Vache Qui Rit</c:v>
                </c:pt>
                <c:pt idx="7">
                  <c:v>Kiri</c:v>
                </c:pt>
                <c:pt idx="8">
                  <c:v>Boursin</c:v>
                </c:pt>
                <c:pt idx="9">
                  <c:v>Others</c:v>
                </c:pt>
              </c:strCache>
            </c:strRef>
          </c:cat>
          <c:val>
            <c:numRef>
              <c:f>Sheet1!$B$2:$B$11</c:f>
              <c:numCache>
                <c:formatCode>General</c:formatCode>
                <c:ptCount val="10"/>
                <c:pt idx="0">
                  <c:v>0.3314901756009331</c:v>
                </c:pt>
                <c:pt idx="1">
                  <c:v>0.06855406902316696</c:v>
                </c:pt>
                <c:pt idx="2">
                  <c:v>0.05780161375397526</c:v>
                </c:pt>
                <c:pt idx="3">
                  <c:v>0.05280308023484841</c:v>
                </c:pt>
                <c:pt idx="4">
                  <c:v>0.05133349959552851</c:v>
                </c:pt>
                <c:pt idx="5">
                  <c:v>0.04077919199159772</c:v>
                </c:pt>
                <c:pt idx="6">
                  <c:v>0.03937021038456818</c:v>
                </c:pt>
                <c:pt idx="7">
                  <c:v>0.030019753521709183</c:v>
                </c:pt>
                <c:pt idx="8">
                  <c:v>0.027579963525491333</c:v>
                </c:pt>
                <c:pt idx="9">
                  <c:v>0.30026844236818134</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President</c:v>
                </c:pt>
                <c:pt idx="2">
                  <c:v>Soignon</c:v>
                </c:pt>
                <c:pt idx="3">
                  <c:v>St Moret</c:v>
                </c:pt>
                <c:pt idx="4">
                  <c:v>Caprice Des Dieux</c:v>
                </c:pt>
                <c:pt idx="5">
                  <c:v>Galbani</c:v>
                </c:pt>
                <c:pt idx="6">
                  <c:v>La Vache Qui Rit</c:v>
                </c:pt>
                <c:pt idx="7">
                  <c:v>Kiri</c:v>
                </c:pt>
                <c:pt idx="8">
                  <c:v>Boursin</c:v>
                </c:pt>
                <c:pt idx="9">
                  <c:v>Others</c:v>
                </c:pt>
              </c:strCache>
            </c:strRef>
          </c:cat>
          <c:val>
            <c:numRef>
              <c:f>Sheet1!$C$2:$C$11</c:f>
              <c:numCache>
                <c:formatCode>General</c:formatCode>
                <c:ptCount val="10"/>
                <c:pt idx="0">
                  <c:v>0.22971749057354524</c:v>
                </c:pt>
                <c:pt idx="1">
                  <c:v>0.044447391856301026</c:v>
                </c:pt>
                <c:pt idx="2">
                  <c:v>0.05377721355893665</c:v>
                </c:pt>
                <c:pt idx="3">
                  <c:v>0.031130985088201293</c:v>
                </c:pt>
                <c:pt idx="4">
                  <c:v>0.03410576576917975</c:v>
                </c:pt>
                <c:pt idx="5">
                  <c:v>0.043291585349678835</c:v>
                </c:pt>
                <c:pt idx="6">
                  <c:v>0.031453095098243546</c:v>
                </c:pt>
                <c:pt idx="7">
                  <c:v>0.04151808552968149</c:v>
                </c:pt>
                <c:pt idx="8">
                  <c:v>0.056611781647308484</c:v>
                </c:pt>
                <c:pt idx="9">
                  <c:v>0.43394660552892356</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President</c:v>
                </c:pt>
                <c:pt idx="2">
                  <c:v>Soignon</c:v>
                </c:pt>
                <c:pt idx="3">
                  <c:v>St Moret</c:v>
                </c:pt>
                <c:pt idx="4">
                  <c:v>Caprice Des Dieux</c:v>
                </c:pt>
                <c:pt idx="5">
                  <c:v>Galbani</c:v>
                </c:pt>
                <c:pt idx="6">
                  <c:v>La Vache Qui Rit</c:v>
                </c:pt>
                <c:pt idx="7">
                  <c:v>Kiri</c:v>
                </c:pt>
                <c:pt idx="8">
                  <c:v>Boursin</c:v>
                </c:pt>
                <c:pt idx="9">
                  <c:v>Others</c:v>
                </c:pt>
              </c:strCache>
            </c:strRef>
          </c:cat>
          <c:val>
            <c:numRef>
              <c:f>Sheet1!$D$2:$D$11</c:f>
              <c:numCache>
                <c:formatCode>General</c:formatCode>
                <c:ptCount val="10"/>
                <c:pt idx="0">
                  <c:v>69.29843098882435</c:v>
                </c:pt>
                <c:pt idx="1">
                  <c:v>64.83552689087004</c:v>
                </c:pt>
                <c:pt idx="2">
                  <c:v>93.03756429332938</c:v>
                </c:pt>
                <c:pt idx="3">
                  <c:v>58.956759624139885</c:v>
                </c:pt>
                <c:pt idx="4">
                  <c:v>66.4395882570036</c:v>
                </c:pt>
                <c:pt idx="5">
                  <c:v>106.160968953477</c:v>
                </c:pt>
                <c:pt idx="6">
                  <c:v>79.89059441392297</c:v>
                </c:pt>
                <c:pt idx="7">
                  <c:v>138.30255301615696</c:v>
                </c:pt>
                <c:pt idx="8">
                  <c:v>205.2641643089336</c:v>
                </c:pt>
                <c:pt idx="9">
                  <c:v>144.51955127433257</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95</c:f>
              <c:strCache>
                <c:ptCount val="94"/>
                <c:pt idx="0">
                  <c:v>St Moret</c:v>
                </c:pt>
                <c:pt idx="1">
                  <c:v>Tartare</c:v>
                </c:pt>
                <c:pt idx="2">
                  <c:v>St Moret</c:v>
                </c:pt>
                <c:pt idx="3">
                  <c:v>Paysan Bret</c:v>
                </c:pt>
                <c:pt idx="4">
                  <c:v>St Moret</c:v>
                </c:pt>
                <c:pt idx="5">
                  <c:v>Carre Frais</c:v>
                </c:pt>
                <c:pt idx="6">
                  <c:v>Philadelphi</c:v>
                </c:pt>
                <c:pt idx="7">
                  <c:v>Paysan Bret</c:v>
                </c:pt>
                <c:pt idx="8">
                  <c:v>St Moret</c:v>
                </c:pt>
                <c:pt idx="9">
                  <c:v>Carre Frais</c:v>
                </c:pt>
                <c:pt idx="10">
                  <c:v>Tartare</c:v>
                </c:pt>
                <c:pt idx="11">
                  <c:v>Boursin</c:v>
                </c:pt>
                <c:pt idx="12">
                  <c:v>St Moret</c:v>
                </c:pt>
                <c:pt idx="13">
                  <c:v>Boursin</c:v>
                </c:pt>
                <c:pt idx="14">
                  <c:v>Philadelphi</c:v>
                </c:pt>
                <c:pt idx="15">
                  <c:v>Boursin</c:v>
                </c:pt>
                <c:pt idx="16">
                  <c:v>St Moret</c:v>
                </c:pt>
                <c:pt idx="17">
                  <c:v>St Moret</c:v>
                </c:pt>
                <c:pt idx="18">
                  <c:v>Private Lab</c:v>
                </c:pt>
                <c:pt idx="19">
                  <c:v>St Moret</c:v>
                </c:pt>
                <c:pt idx="20">
                  <c:v>Paysan Bret</c:v>
                </c:pt>
                <c:pt idx="21">
                  <c:v>Rondele</c:v>
                </c:pt>
                <c:pt idx="22">
                  <c:v>Paysan Bret</c:v>
                </c:pt>
                <c:pt idx="23">
                  <c:v>Private Lab</c:v>
                </c:pt>
                <c:pt idx="24">
                  <c:v>Tartare</c:v>
                </c:pt>
                <c:pt idx="25">
                  <c:v>Boursin</c:v>
                </c:pt>
                <c:pt idx="26">
                  <c:v>Private Lab</c:v>
                </c:pt>
                <c:pt idx="27">
                  <c:v>Paysan Bret</c:v>
                </c:pt>
                <c:pt idx="28">
                  <c:v>Paysan Bret</c:v>
                </c:pt>
                <c:pt idx="29">
                  <c:v>Private Lab</c:v>
                </c:pt>
                <c:pt idx="30">
                  <c:v>Tartare</c:v>
                </c:pt>
                <c:pt idx="31">
                  <c:v>Paysan Bret</c:v>
                </c:pt>
                <c:pt idx="32">
                  <c:v>Boursin</c:v>
                </c:pt>
                <c:pt idx="33">
                  <c:v>Boursin</c:v>
                </c:pt>
                <c:pt idx="34">
                  <c:v>Savencia: A</c:v>
                </c:pt>
                <c:pt idx="35">
                  <c:v>St Moret</c:v>
                </c:pt>
                <c:pt idx="36">
                  <c:v>St Moret</c:v>
                </c:pt>
                <c:pt idx="37">
                  <c:v>Tartare</c:v>
                </c:pt>
                <c:pt idx="38">
                  <c:v>Philadelphi</c:v>
                </c:pt>
                <c:pt idx="39">
                  <c:v>Kiri</c:v>
                </c:pt>
                <c:pt idx="40">
                  <c:v>Kiri</c:v>
                </c:pt>
                <c:pt idx="41">
                  <c:v>Kiri</c:v>
                </c:pt>
                <c:pt idx="42">
                  <c:v>Rondele</c:v>
                </c:pt>
                <c:pt idx="43">
                  <c:v>Rondele</c:v>
                </c:pt>
                <c:pt idx="44">
                  <c:v>Triballat R</c:v>
                </c:pt>
                <c:pt idx="45">
                  <c:v>Saint Agur</c:v>
                </c:pt>
                <c:pt idx="46">
                  <c:v>President</c:v>
                </c:pt>
                <c:pt idx="47">
                  <c:v>Lactalis: A</c:v>
                </c:pt>
                <c:pt idx="48">
                  <c:v>Boursin</c:v>
                </c:pt>
                <c:pt idx="49">
                  <c:v>Philadelphi</c:v>
                </c:pt>
                <c:pt idx="50">
                  <c:v>Paysan Bret</c:v>
                </c:pt>
                <c:pt idx="51">
                  <c:v>Private Lab</c:v>
                </c:pt>
                <c:pt idx="52">
                  <c:v>Tartare</c:v>
                </c:pt>
                <c:pt idx="53">
                  <c:v>St Moret</c:v>
                </c:pt>
                <c:pt idx="54">
                  <c:v>Paysan Bret</c:v>
                </c:pt>
                <c:pt idx="55">
                  <c:v>Paysan Bret</c:v>
                </c:pt>
                <c:pt idx="56">
                  <c:v>St Moret</c:v>
                </c:pt>
                <c:pt idx="57">
                  <c:v>Saint Agur</c:v>
                </c:pt>
                <c:pt idx="58">
                  <c:v>Tartare</c:v>
                </c:pt>
                <c:pt idx="59">
                  <c:v>Private Lab</c:v>
                </c:pt>
                <c:pt idx="60">
                  <c:v>Savencia: A</c:v>
                </c:pt>
                <c:pt idx="61">
                  <c:v>Boursin</c:v>
                </c:pt>
                <c:pt idx="62">
                  <c:v>Tartare</c:v>
                </c:pt>
                <c:pt idx="63">
                  <c:v>Tartare</c:v>
                </c:pt>
                <c:pt idx="64">
                  <c:v>All Others</c:v>
                </c:pt>
                <c:pt idx="65">
                  <c:v>Private Lab</c:v>
                </c:pt>
                <c:pt idx="66">
                  <c:v>Tartare</c:v>
                </c:pt>
                <c:pt idx="67">
                  <c:v>Private Lab</c:v>
                </c:pt>
                <c:pt idx="68">
                  <c:v>Philadelphi</c:v>
                </c:pt>
                <c:pt idx="69">
                  <c:v>Boursin</c:v>
                </c:pt>
                <c:pt idx="70">
                  <c:v>Boursin</c:v>
                </c:pt>
                <c:pt idx="71">
                  <c:v>All Others</c:v>
                </c:pt>
                <c:pt idx="72">
                  <c:v>All Others</c:v>
                </c:pt>
                <c:pt idx="73">
                  <c:v>All Others</c:v>
                </c:pt>
                <c:pt idx="74">
                  <c:v>Boursin</c:v>
                </c:pt>
                <c:pt idx="75">
                  <c:v>All Others</c:v>
                </c:pt>
                <c:pt idx="76">
                  <c:v>Carre Frais</c:v>
                </c:pt>
                <c:pt idx="77">
                  <c:v>All Others</c:v>
                </c:pt>
                <c:pt idx="78">
                  <c:v>Lactalis: A</c:v>
                </c:pt>
                <c:pt idx="79">
                  <c:v>All Others</c:v>
                </c:pt>
                <c:pt idx="80">
                  <c:v>All Others</c:v>
                </c:pt>
                <c:pt idx="81">
                  <c:v>All Others</c:v>
                </c:pt>
                <c:pt idx="82">
                  <c:v>All Others</c:v>
                </c:pt>
                <c:pt idx="83">
                  <c:v>Boursin</c:v>
                </c:pt>
                <c:pt idx="84">
                  <c:v>All Others</c:v>
                </c:pt>
                <c:pt idx="85">
                  <c:v>All Others</c:v>
                </c:pt>
                <c:pt idx="86">
                  <c:v>All Others</c:v>
                </c:pt>
                <c:pt idx="87">
                  <c:v>All Others</c:v>
                </c:pt>
                <c:pt idx="88">
                  <c:v>All Others</c:v>
                </c:pt>
                <c:pt idx="89">
                  <c:v>All Others</c:v>
                </c:pt>
                <c:pt idx="90">
                  <c:v>All Others</c:v>
                </c:pt>
                <c:pt idx="91">
                  <c:v>Boursin</c:v>
                </c:pt>
                <c:pt idx="92">
                  <c:v>Private Lab</c:v>
                </c:pt>
                <c:pt idx="93">
                  <c:v>Savencia: A</c:v>
                </c:pt>
              </c:strCache>
            </c:strRef>
          </c:cat>
          <c:val>
            <c:numRef>
              <c:f>Sheet1!$B$2:$B$95</c:f>
              <c:numCache>
                <c:formatCode>General</c:formatCode>
                <c:ptCount val="94"/>
                <c:pt idx="0">
                  <c:v>0.96</c:v>
                </c:pt>
                <c:pt idx="1">
                  <c:v>1.0</c:v>
                </c:pt>
                <c:pt idx="2">
                  <c:v>0.99</c:v>
                </c:pt>
                <c:pt idx="3">
                  <c:v>0.95</c:v>
                </c:pt>
                <c:pt idx="4">
                  <c:v>1.0</c:v>
                </c:pt>
                <c:pt idx="5">
                  <c:v>0.98</c:v>
                </c:pt>
                <c:pt idx="6">
                  <c:v>0.97</c:v>
                </c:pt>
                <c:pt idx="7">
                  <c:v>1.0</c:v>
                </c:pt>
                <c:pt idx="8">
                  <c:v>0.88</c:v>
                </c:pt>
                <c:pt idx="9">
                  <c:v>0.99</c:v>
                </c:pt>
                <c:pt idx="10">
                  <c:v>0.99</c:v>
                </c:pt>
                <c:pt idx="11">
                  <c:v>0.98</c:v>
                </c:pt>
                <c:pt idx="12">
                  <c:v>0.98</c:v>
                </c:pt>
                <c:pt idx="13">
                  <c:v>0.99</c:v>
                </c:pt>
                <c:pt idx="14">
                  <c:v>0.99</c:v>
                </c:pt>
                <c:pt idx="15">
                  <c:v>0.95</c:v>
                </c:pt>
                <c:pt idx="16">
                  <c:v>0.98</c:v>
                </c:pt>
                <c:pt idx="17">
                  <c:v>0.93</c:v>
                </c:pt>
                <c:pt idx="18">
                  <c:v>1.0</c:v>
                </c:pt>
                <c:pt idx="19">
                  <c:v>0.83</c:v>
                </c:pt>
                <c:pt idx="20">
                  <c:v>0.95</c:v>
                </c:pt>
                <c:pt idx="21">
                  <c:v>0.96</c:v>
                </c:pt>
                <c:pt idx="22">
                  <c:v>0.46</c:v>
                </c:pt>
                <c:pt idx="23">
                  <c:v>0.99</c:v>
                </c:pt>
                <c:pt idx="24">
                  <c:v>0.79</c:v>
                </c:pt>
                <c:pt idx="25">
                  <c:v>0.91</c:v>
                </c:pt>
                <c:pt idx="26">
                  <c:v>1.0</c:v>
                </c:pt>
                <c:pt idx="27">
                  <c:v>0.79</c:v>
                </c:pt>
                <c:pt idx="28">
                  <c:v>0.81</c:v>
                </c:pt>
                <c:pt idx="29">
                  <c:v>1.0</c:v>
                </c:pt>
                <c:pt idx="30">
                  <c:v>0.75</c:v>
                </c:pt>
                <c:pt idx="31">
                  <c:v>0.87</c:v>
                </c:pt>
                <c:pt idx="32">
                  <c:v>0.85</c:v>
                </c:pt>
                <c:pt idx="33">
                  <c:v>0.89</c:v>
                </c:pt>
                <c:pt idx="34">
                  <c:v>0.77</c:v>
                </c:pt>
                <c:pt idx="35">
                  <c:v>0.58</c:v>
                </c:pt>
                <c:pt idx="36">
                  <c:v>0.39</c:v>
                </c:pt>
                <c:pt idx="37">
                  <c:v>0.65</c:v>
                </c:pt>
                <c:pt idx="38">
                  <c:v>0.67</c:v>
                </c:pt>
                <c:pt idx="39">
                  <c:v>0.63</c:v>
                </c:pt>
                <c:pt idx="40">
                  <c:v>0.54</c:v>
                </c:pt>
                <c:pt idx="41">
                  <c:v>0.62</c:v>
                </c:pt>
                <c:pt idx="42">
                  <c:v>0.83</c:v>
                </c:pt>
                <c:pt idx="43">
                  <c:v>0.85</c:v>
                </c:pt>
                <c:pt idx="44">
                  <c:v>0.45</c:v>
                </c:pt>
                <c:pt idx="45">
                  <c:v>0.39</c:v>
                </c:pt>
                <c:pt idx="46">
                  <c:v>0.6</c:v>
                </c:pt>
                <c:pt idx="47">
                  <c:v>0.66</c:v>
                </c:pt>
                <c:pt idx="48">
                  <c:v>0.65</c:v>
                </c:pt>
                <c:pt idx="49">
                  <c:v>0.59</c:v>
                </c:pt>
                <c:pt idx="50">
                  <c:v>0.78</c:v>
                </c:pt>
                <c:pt idx="51">
                  <c:v>0.84</c:v>
                </c:pt>
                <c:pt idx="52">
                  <c:v>0.28</c:v>
                </c:pt>
                <c:pt idx="53">
                  <c:v>0.67</c:v>
                </c:pt>
                <c:pt idx="54">
                  <c:v>0.04</c:v>
                </c:pt>
                <c:pt idx="55">
                  <c:v>0.09</c:v>
                </c:pt>
                <c:pt idx="56">
                  <c:v>0.6</c:v>
                </c:pt>
                <c:pt idx="57">
                  <c:v>0.35</c:v>
                </c:pt>
                <c:pt idx="58">
                  <c:v>0.31</c:v>
                </c:pt>
                <c:pt idx="59">
                  <c:v>0.64</c:v>
                </c:pt>
                <c:pt idx="60">
                  <c:v>0.01</c:v>
                </c:pt>
                <c:pt idx="61">
                  <c:v>0.61</c:v>
                </c:pt>
                <c:pt idx="62">
                  <c:v>0.36</c:v>
                </c:pt>
                <c:pt idx="63">
                  <c:v>0.34</c:v>
                </c:pt>
                <c:pt idx="64">
                  <c:v>0.39</c:v>
                </c:pt>
                <c:pt idx="65">
                  <c:v>0.54</c:v>
                </c:pt>
                <c:pt idx="66">
                  <c:v>0.3</c:v>
                </c:pt>
                <c:pt idx="67">
                  <c:v>0.53</c:v>
                </c:pt>
                <c:pt idx="68">
                  <c:v>0.36</c:v>
                </c:pt>
                <c:pt idx="69">
                  <c:v>0.41</c:v>
                </c:pt>
                <c:pt idx="70">
                  <c:v>0.37</c:v>
                </c:pt>
                <c:pt idx="71">
                  <c:v>0.23</c:v>
                </c:pt>
                <c:pt idx="72">
                  <c:v>0.01</c:v>
                </c:pt>
                <c:pt idx="73">
                  <c:v>0.2</c:v>
                </c:pt>
                <c:pt idx="74">
                  <c:v>0.51</c:v>
                </c:pt>
                <c:pt idx="75">
                  <c:v>0.22</c:v>
                </c:pt>
                <c:pt idx="76">
                  <c:v>0.25</c:v>
                </c:pt>
                <c:pt idx="77">
                  <c:v>0.23</c:v>
                </c:pt>
                <c:pt idx="78">
                  <c:v>0.41</c:v>
                </c:pt>
                <c:pt idx="79">
                  <c:v>0.05</c:v>
                </c:pt>
                <c:pt idx="80">
                  <c:v>0.04</c:v>
                </c:pt>
                <c:pt idx="81">
                  <c:v>0.01</c:v>
                </c:pt>
                <c:pt idx="82">
                  <c:v>0.05</c:v>
                </c:pt>
                <c:pt idx="83">
                  <c:v>0.03</c:v>
                </c:pt>
                <c:pt idx="84">
                  <c:v>0.01</c:v>
                </c:pt>
                <c:pt idx="85">
                  <c:v>0.02</c:v>
                </c:pt>
                <c:pt idx="86">
                  <c:v>0.01</c:v>
                </c:pt>
                <c:pt idx="87">
                  <c:v>0.01</c:v>
                </c:pt>
                <c:pt idx="88">
                  <c:v>0.01</c:v>
                </c:pt>
                <c:pt idx="89">
                  <c:v>0.01</c:v>
                </c:pt>
                <c:pt idx="90">
                  <c:v>0.02</c:v>
                </c:pt>
                <c:pt idx="91">
                  <c:v>0.03</c:v>
                </c:pt>
                <c:pt idx="92">
                  <c:v>0.01</c:v>
                </c:pt>
                <c:pt idx="93">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Item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7ECAC4"/>
              </a:solidFill>
            </c:spPr>
            <c:extLst>
              <c:ext xmlns:c16="http://schemas.microsoft.com/office/drawing/2014/chart" uri="{C3380CC4-5D6E-409C-BE32-E72D297353CC}">
                <c16:uniqueId val="{00000067-2993-41DE-A2CB-63102DE87051}"/>
              </c:ext>
            </c:extLst>
          </c:dPt>
          <c:dPt>
            <c:idx val="24"/>
            <c:invertIfNegative val="1"/>
            <c:bubble3D val="0"/>
            <c:spPr>
              <a:solidFill>
                <a:srgbClr val="7ECAC4"/>
              </a:solidFill>
            </c:spPr>
            <c:extLst>
              <c:ext xmlns:c16="http://schemas.microsoft.com/office/drawing/2014/chart" uri="{C3380CC4-5D6E-409C-BE32-E72D297353CC}">
                <c16:uniqueId val="{00000069-2993-41DE-A2CB-63102DE87051}"/>
              </c:ext>
            </c:extLst>
          </c:dPt>
          <c:dPt>
            <c:idx val="25"/>
            <c:invertIfNegative val="1"/>
            <c:bubble3D val="0"/>
            <c:spPr>
              <a:solidFill>
                <a:srgbClr val="7ECAC4"/>
              </a:solidFill>
            </c:spPr>
            <c:extLst>
              <c:ext xmlns:c16="http://schemas.microsoft.com/office/drawing/2014/chart" uri="{C3380CC4-5D6E-409C-BE32-E72D297353CC}">
                <c16:uniqueId val="{0000006B-2993-41DE-A2CB-63102DE87051}"/>
              </c:ext>
            </c:extLst>
          </c:dPt>
          <c:dPt>
            <c:idx val="26"/>
            <c:invertIfNegative val="1"/>
            <c:bubble3D val="0"/>
            <c:spPr>
              <a:solidFill>
                <a:srgbClr val="7ECAC4"/>
              </a:solidFill>
            </c:spPr>
            <c:extLst>
              <c:ext xmlns:c16="http://schemas.microsoft.com/office/drawing/2014/chart" uri="{C3380CC4-5D6E-409C-BE32-E72D297353CC}">
                <c16:uniqueId val="{0000006D-2993-41DE-A2CB-63102DE87051}"/>
              </c:ext>
            </c:extLst>
          </c:dPt>
          <c:dPt>
            <c:idx val="27"/>
            <c:invertIfNegative val="1"/>
            <c:bubble3D val="0"/>
            <c:spPr>
              <a:solidFill>
                <a:srgbClr val="7ECAC4"/>
              </a:solidFill>
            </c:spPr>
            <c:extLst>
              <c:ext xmlns:c16="http://schemas.microsoft.com/office/drawing/2014/chart" uri="{C3380CC4-5D6E-409C-BE32-E72D297353CC}">
                <c16:uniqueId val="{0000006F-2993-41DE-A2CB-63102DE87051}"/>
              </c:ext>
            </c:extLst>
          </c:dPt>
          <c:dPt>
            <c:idx val="28"/>
            <c:invertIfNegative val="1"/>
            <c:bubble3D val="0"/>
            <c:spPr>
              <a:solidFill>
                <a:srgbClr val="7ECAC4"/>
              </a:solidFill>
            </c:spPr>
            <c:extLst>
              <c:ext xmlns:c16="http://schemas.microsoft.com/office/drawing/2014/chart" uri="{C3380CC4-5D6E-409C-BE32-E72D297353CC}">
                <c16:uniqueId val="{00000071-2993-41DE-A2CB-63102DE87051}"/>
              </c:ext>
            </c:extLst>
          </c:dPt>
          <c:dPt>
            <c:idx val="29"/>
            <c:invertIfNegative val="1"/>
            <c:bubble3D val="0"/>
            <c:spPr>
              <a:solidFill>
                <a:srgbClr val="7ECAC4"/>
              </a:solidFill>
            </c:spPr>
            <c:extLst>
              <c:ext xmlns:c16="http://schemas.microsoft.com/office/drawing/2014/chart" uri="{C3380CC4-5D6E-409C-BE32-E72D297353CC}">
                <c16:uniqueId val="{00000073-2993-41DE-A2CB-63102DE87051}"/>
              </c:ext>
            </c:extLst>
          </c:dPt>
          <c:dPt>
            <c:idx val="30"/>
            <c:invertIfNegative val="1"/>
            <c:bubble3D val="0"/>
            <c:spPr>
              <a:solidFill>
                <a:srgbClr val="7ECAC4"/>
              </a:solidFill>
            </c:spPr>
            <c:extLst>
              <c:ext xmlns:c16="http://schemas.microsoft.com/office/drawing/2014/chart" uri="{C3380CC4-5D6E-409C-BE32-E72D297353CC}">
                <c16:uniqueId val="{00000075-2993-41DE-A2CB-63102DE87051}"/>
              </c:ext>
            </c:extLst>
          </c:dPt>
          <c:dPt>
            <c:idx val="31"/>
            <c:invertIfNegative val="1"/>
            <c:bubble3D val="0"/>
            <c:spPr>
              <a:solidFill>
                <a:srgbClr val="7ECAC4"/>
              </a:solidFill>
            </c:spPr>
            <c:extLst>
              <c:ext xmlns:c16="http://schemas.microsoft.com/office/drawing/2014/chart" uri="{C3380CC4-5D6E-409C-BE32-E72D297353CC}">
                <c16:uniqueId val="{00000077-2993-41DE-A2CB-63102DE87051}"/>
              </c:ext>
            </c:extLst>
          </c:dPt>
          <c:dPt>
            <c:idx val="32"/>
            <c:invertIfNegative val="1"/>
            <c:bubble3D val="0"/>
            <c:spPr>
              <a:solidFill>
                <a:srgbClr val="7ECAC4"/>
              </a:solidFill>
            </c:spPr>
            <c:extLst>
              <c:ext xmlns:c16="http://schemas.microsoft.com/office/drawing/2014/chart" uri="{C3380CC4-5D6E-409C-BE32-E72D297353CC}">
                <c16:uniqueId val="{00000079-2993-41DE-A2CB-63102DE87051}"/>
              </c:ext>
            </c:extLst>
          </c:dPt>
          <c:dPt>
            <c:idx val="33"/>
            <c:invertIfNegative val="1"/>
            <c:bubble3D val="0"/>
            <c:spPr>
              <a:solidFill>
                <a:srgbClr val="7ECAC4"/>
              </a:solidFill>
            </c:spPr>
            <c:extLst>
              <c:ext xmlns:c16="http://schemas.microsoft.com/office/drawing/2014/chart" uri="{C3380CC4-5D6E-409C-BE32-E72D297353CC}">
                <c16:uniqueId val="{0000007B-2993-41DE-A2CB-63102DE87051}"/>
              </c:ext>
            </c:extLst>
          </c:dPt>
          <c:dPt>
            <c:idx val="34"/>
            <c:invertIfNegative val="1"/>
            <c:bubble3D val="0"/>
            <c:spPr>
              <a:solidFill>
                <a:srgbClr val="7ECAC4"/>
              </a:solidFill>
            </c:spPr>
            <c:extLst>
              <c:ext xmlns:c16="http://schemas.microsoft.com/office/drawing/2014/chart" uri="{C3380CC4-5D6E-409C-BE32-E72D297353CC}">
                <c16:uniqueId val="{0000007D-2993-41DE-A2CB-63102DE87051}"/>
              </c:ext>
            </c:extLst>
          </c:dPt>
          <c:dPt>
            <c:idx val="35"/>
            <c:invertIfNegative val="1"/>
            <c:bubble3D val="0"/>
            <c:spPr>
              <a:solidFill>
                <a:srgbClr val="7ECAC4"/>
              </a:solidFill>
            </c:spPr>
            <c:extLst>
              <c:ext xmlns:c16="http://schemas.microsoft.com/office/drawing/2014/chart" uri="{C3380CC4-5D6E-409C-BE32-E72D297353CC}">
                <c16:uniqueId val="{0000007F-2993-41DE-A2CB-63102DE87051}"/>
              </c:ext>
            </c:extLst>
          </c:dPt>
          <c:dPt>
            <c:idx val="36"/>
            <c:invertIfNegative val="1"/>
            <c:bubble3D val="0"/>
            <c:spPr>
              <a:solidFill>
                <a:srgbClr val="7ECAC4"/>
              </a:solidFill>
            </c:spPr>
            <c:extLst>
              <c:ext xmlns:c16="http://schemas.microsoft.com/office/drawing/2014/chart" uri="{C3380CC4-5D6E-409C-BE32-E72D297353CC}">
                <c16:uniqueId val="{00000081-2993-41DE-A2CB-63102DE87051}"/>
              </c:ext>
            </c:extLst>
          </c:dPt>
          <c:dPt>
            <c:idx val="37"/>
            <c:invertIfNegative val="1"/>
            <c:bubble3D val="0"/>
            <c:spPr>
              <a:solidFill>
                <a:srgbClr val="7ECAC4"/>
              </a:solidFill>
            </c:spPr>
            <c:extLst>
              <c:ext xmlns:c16="http://schemas.microsoft.com/office/drawing/2014/chart" uri="{C3380CC4-5D6E-409C-BE32-E72D297353CC}">
                <c16:uniqueId val="{00000083-2993-41DE-A2CB-63102DE87051}"/>
              </c:ext>
            </c:extLst>
          </c:dPt>
          <c:dPt>
            <c:idx val="38"/>
            <c:invertIfNegative val="1"/>
            <c:bubble3D val="0"/>
            <c:spPr>
              <a:solidFill>
                <a:srgbClr val="7ECAC4"/>
              </a:solidFill>
            </c:spPr>
            <c:extLst>
              <c:ext xmlns:c16="http://schemas.microsoft.com/office/drawing/2014/chart" uri="{C3380CC4-5D6E-409C-BE32-E72D297353CC}">
                <c16:uniqueId val="{00000085-2993-41DE-A2CB-63102DE87051}"/>
              </c:ext>
            </c:extLst>
          </c:dPt>
          <c:dPt>
            <c:idx val="39"/>
            <c:invertIfNegative val="1"/>
            <c:bubble3D val="0"/>
            <c:spPr>
              <a:solidFill>
                <a:srgbClr val="7ECAC4"/>
              </a:solidFill>
            </c:spPr>
            <c:extLst>
              <c:ext xmlns:c16="http://schemas.microsoft.com/office/drawing/2014/chart" uri="{C3380CC4-5D6E-409C-BE32-E72D297353CC}">
                <c16:uniqueId val="{00000087-2993-41DE-A2CB-63102DE87051}"/>
              </c:ext>
            </c:extLst>
          </c:dPt>
          <c:dPt>
            <c:idx val="40"/>
            <c:invertIfNegative val="1"/>
            <c:bubble3D val="0"/>
            <c:spPr>
              <a:solidFill>
                <a:srgbClr val="7ECAC4"/>
              </a:solidFill>
            </c:spPr>
            <c:extLst>
              <c:ext xmlns:c16="http://schemas.microsoft.com/office/drawing/2014/chart" uri="{C3380CC4-5D6E-409C-BE32-E72D297353CC}">
                <c16:uniqueId val="{00000089-2993-41DE-A2CB-63102DE87051}"/>
              </c:ext>
            </c:extLst>
          </c:dPt>
          <c:dPt>
            <c:idx val="41"/>
            <c:invertIfNegative val="1"/>
            <c:bubble3D val="0"/>
            <c:spPr>
              <a:solidFill>
                <a:srgbClr val="AEABAB"/>
              </a:solidFill>
            </c:spPr>
            <c:extLst>
              <c:ext xmlns:c16="http://schemas.microsoft.com/office/drawing/2014/chart" uri="{C3380CC4-5D6E-409C-BE32-E72D297353CC}">
                <c16:uniqueId val="{0000008B-2993-41DE-A2CB-63102DE87051}"/>
              </c:ext>
            </c:extLst>
          </c:dPt>
          <c:dPt>
            <c:idx val="42"/>
            <c:invertIfNegative val="1"/>
            <c:bubble3D val="0"/>
            <c:spPr>
              <a:solidFill>
                <a:srgbClr val="AEABAB"/>
              </a:solidFill>
            </c:spPr>
            <c:extLst>
              <c:ext xmlns:c16="http://schemas.microsoft.com/office/drawing/2014/chart" uri="{C3380CC4-5D6E-409C-BE32-E72D297353CC}">
                <c16:uniqueId val="{0000008D-2993-41DE-A2CB-63102DE87051}"/>
              </c:ext>
            </c:extLst>
          </c:dPt>
          <c:dPt>
            <c:idx val="43"/>
            <c:invertIfNegative val="1"/>
            <c:bubble3D val="0"/>
            <c:spPr>
              <a:solidFill>
                <a:srgbClr val="AEABAB"/>
              </a:solidFill>
            </c:spPr>
            <c:extLst>
              <c:ext xmlns:c16="http://schemas.microsoft.com/office/drawing/2014/chart" uri="{C3380CC4-5D6E-409C-BE32-E72D297353CC}">
                <c16:uniqueId val="{0000008F-2993-41DE-A2CB-63102DE87051}"/>
              </c:ext>
            </c:extLst>
          </c:dPt>
          <c:dPt>
            <c:idx val="44"/>
            <c:invertIfNegative val="1"/>
            <c:bubble3D val="0"/>
            <c:spPr>
              <a:solidFill>
                <a:srgbClr val="AEABAB"/>
              </a:solidFill>
            </c:spPr>
            <c:extLst>
              <c:ext xmlns:c16="http://schemas.microsoft.com/office/drawing/2014/chart" uri="{C3380CC4-5D6E-409C-BE32-E72D297353CC}">
                <c16:uniqueId val="{00000091-2993-41DE-A2CB-63102DE87051}"/>
              </c:ext>
            </c:extLst>
          </c:dPt>
          <c:dPt>
            <c:idx val="45"/>
            <c:invertIfNegative val="1"/>
            <c:bubble3D val="0"/>
            <c:spPr>
              <a:solidFill>
                <a:srgbClr val="AEABAB"/>
              </a:solidFill>
            </c:spPr>
            <c:extLst>
              <c:ext xmlns:c16="http://schemas.microsoft.com/office/drawing/2014/chart" uri="{C3380CC4-5D6E-409C-BE32-E72D297353CC}">
                <c16:uniqueId val="{00000093-2993-41DE-A2CB-63102DE87051}"/>
              </c:ext>
            </c:extLst>
          </c:dPt>
          <c:dPt>
            <c:idx val="46"/>
            <c:invertIfNegative val="1"/>
            <c:bubble3D val="0"/>
            <c:spPr>
              <a:solidFill>
                <a:srgbClr val="AEABAB"/>
              </a:solidFill>
            </c:spPr>
            <c:extLst>
              <c:ext xmlns:c16="http://schemas.microsoft.com/office/drawing/2014/chart" uri="{C3380CC4-5D6E-409C-BE32-E72D297353CC}">
                <c16:uniqueId val="{00000095-2993-41DE-A2CB-63102DE87051}"/>
              </c:ext>
            </c:extLst>
          </c:dPt>
          <c:dPt>
            <c:idx val="47"/>
            <c:invertIfNegative val="1"/>
            <c:bubble3D val="0"/>
            <c:spPr>
              <a:solidFill>
                <a:srgbClr val="AEABAB"/>
              </a:solidFill>
            </c:spPr>
            <c:extLst>
              <c:ext xmlns:c16="http://schemas.microsoft.com/office/drawing/2014/chart" uri="{C3380CC4-5D6E-409C-BE32-E72D297353CC}">
                <c16:uniqueId val="{00000097-2993-41DE-A2CB-63102DE87051}"/>
              </c:ext>
            </c:extLst>
          </c:dPt>
          <c:dPt>
            <c:idx val="48"/>
            <c:invertIfNegative val="1"/>
            <c:bubble3D val="0"/>
            <c:spPr>
              <a:solidFill>
                <a:srgbClr val="AEABAB"/>
              </a:solidFill>
            </c:spPr>
            <c:extLst>
              <c:ext xmlns:c16="http://schemas.microsoft.com/office/drawing/2014/chart" uri="{C3380CC4-5D6E-409C-BE32-E72D297353CC}">
                <c16:uniqueId val="{00000099-2993-41DE-A2CB-63102DE87051}"/>
              </c:ext>
            </c:extLst>
          </c:dPt>
          <c:dPt>
            <c:idx val="49"/>
            <c:invertIfNegative val="1"/>
            <c:bubble3D val="0"/>
            <c:spPr>
              <a:solidFill>
                <a:srgbClr val="AEABAB"/>
              </a:solidFill>
            </c:spPr>
            <c:extLst>
              <c:ext xmlns:c16="http://schemas.microsoft.com/office/drawing/2014/chart" uri="{C3380CC4-5D6E-409C-BE32-E72D297353CC}">
                <c16:uniqueId val="{0000009B-2993-41DE-A2CB-63102DE87051}"/>
              </c:ext>
            </c:extLst>
          </c:dPt>
          <c:dPt>
            <c:idx val="50"/>
            <c:invertIfNegative val="1"/>
            <c:bubble3D val="0"/>
            <c:spPr>
              <a:solidFill>
                <a:srgbClr val="AEABAB"/>
              </a:solidFill>
            </c:spPr>
            <c:extLst>
              <c:ext xmlns:c16="http://schemas.microsoft.com/office/drawing/2014/chart" uri="{C3380CC4-5D6E-409C-BE32-E72D297353CC}">
                <c16:uniqueId val="{0000009D-2993-41DE-A2CB-63102DE87051}"/>
              </c:ext>
            </c:extLst>
          </c:dPt>
          <c:dPt>
            <c:idx val="51"/>
            <c:invertIfNegative val="1"/>
            <c:bubble3D val="0"/>
            <c:spPr>
              <a:solidFill>
                <a:srgbClr val="AEABAB"/>
              </a:solidFill>
            </c:spPr>
            <c:extLst>
              <c:ext xmlns:c16="http://schemas.microsoft.com/office/drawing/2014/chart" uri="{C3380CC4-5D6E-409C-BE32-E72D297353CC}">
                <c16:uniqueId val="{0000009F-2993-41DE-A2CB-63102DE87051}"/>
              </c:ext>
            </c:extLst>
          </c:dPt>
          <c:dPt>
            <c:idx val="52"/>
            <c:invertIfNegative val="1"/>
            <c:bubble3D val="0"/>
            <c:spPr>
              <a:solidFill>
                <a:srgbClr val="AEABAB"/>
              </a:solidFill>
            </c:spPr>
            <c:extLst>
              <c:ext xmlns:c16="http://schemas.microsoft.com/office/drawing/2014/chart" uri="{C3380CC4-5D6E-409C-BE32-E72D297353CC}">
                <c16:uniqueId val="{000000A1-2993-41DE-A2CB-63102DE87051}"/>
              </c:ext>
            </c:extLst>
          </c:dPt>
          <c:dPt>
            <c:idx val="53"/>
            <c:invertIfNegative val="1"/>
            <c:bubble3D val="0"/>
            <c:spPr>
              <a:solidFill>
                <a:srgbClr val="AEABAB"/>
              </a:solidFill>
            </c:spPr>
            <c:extLst>
              <c:ext xmlns:c16="http://schemas.microsoft.com/office/drawing/2014/chart" uri="{C3380CC4-5D6E-409C-BE32-E72D297353CC}">
                <c16:uniqueId val="{000000A3-2993-41DE-A2CB-63102DE87051}"/>
              </c:ext>
            </c:extLst>
          </c:dPt>
          <c:dPt>
            <c:idx val="54"/>
            <c:invertIfNegative val="0"/>
            <c:bubble3D val="0"/>
            <c:spPr>
              <a:solidFill>
                <a:srgbClr val="AEABAB"/>
              </a:solidFill>
            </c:spPr>
            <c:extLst>
              <c:ext xmlns:c16="http://schemas.microsoft.com/office/drawing/2014/chart" uri="{C3380CC4-5D6E-409C-BE32-E72D297353CC}">
                <c16:uniqueId val="{00000072-C76F-4230-900D-40618C09729F}"/>
              </c:ext>
            </c:extLst>
          </c:dPt>
          <c:dPt>
            <c:idx val="55"/>
            <c:invertIfNegative val="0"/>
            <c:bubble3D val="0"/>
            <c:spPr>
              <a:solidFill>
                <a:srgbClr val="AEABAB"/>
              </a:solidFill>
            </c:spPr>
            <c:extLst>
              <c:ext xmlns:c16="http://schemas.microsoft.com/office/drawing/2014/chart" uri="{C3380CC4-5D6E-409C-BE32-E72D297353CC}">
                <c16:uniqueId val="{00000074-C76F-4230-900D-40618C09729F}"/>
              </c:ext>
            </c:extLst>
          </c:dPt>
          <c:dPt>
            <c:idx val="56"/>
            <c:invertIfNegative val="0"/>
            <c:bubble3D val="0"/>
            <c:spPr>
              <a:solidFill>
                <a:srgbClr val="AEABAB"/>
              </a:solidFill>
            </c:spPr>
            <c:extLst>
              <c:ext xmlns:c16="http://schemas.microsoft.com/office/drawing/2014/chart" uri="{C3380CC4-5D6E-409C-BE32-E72D297353CC}">
                <c16:uniqueId val="{00000076-C76F-4230-900D-40618C09729F}"/>
              </c:ext>
            </c:extLst>
          </c:dPt>
          <c:dPt>
            <c:idx val="57"/>
            <c:invertIfNegative val="0"/>
            <c:bubble3D val="0"/>
            <c:spPr>
              <a:solidFill>
                <a:srgbClr val="AEABAB"/>
              </a:solidFill>
            </c:spPr>
            <c:extLst>
              <c:ext xmlns:c16="http://schemas.microsoft.com/office/drawing/2014/chart" uri="{C3380CC4-5D6E-409C-BE32-E72D297353CC}">
                <c16:uniqueId val="{00000078-C76F-4230-900D-40618C09729F}"/>
              </c:ext>
            </c:extLst>
          </c:dPt>
          <c:dPt>
            <c:idx val="58"/>
            <c:invertIfNegative val="0"/>
            <c:bubble3D val="0"/>
            <c:spPr>
              <a:solidFill>
                <a:srgbClr val="AEABAB"/>
              </a:solidFill>
            </c:spPr>
            <c:extLst>
              <c:ext xmlns:c16="http://schemas.microsoft.com/office/drawing/2014/chart" uri="{C3380CC4-5D6E-409C-BE32-E72D297353CC}">
                <c16:uniqueId val="{0000007A-C76F-4230-900D-40618C09729F}"/>
              </c:ext>
            </c:extLst>
          </c:dPt>
          <c:dPt>
            <c:idx val="59"/>
            <c:invertIfNegative val="0"/>
            <c:bubble3D val="0"/>
            <c:spPr>
              <a:solidFill>
                <a:srgbClr val="AEABAB"/>
              </a:solidFill>
            </c:spPr>
            <c:extLst>
              <c:ext xmlns:c16="http://schemas.microsoft.com/office/drawing/2014/chart" uri="{C3380CC4-5D6E-409C-BE32-E72D297353CC}">
                <c16:uniqueId val="{0000007C-C76F-4230-900D-40618C09729F}"/>
              </c:ext>
            </c:extLst>
          </c:dPt>
          <c:dPt>
            <c:idx val="60"/>
            <c:invertIfNegative val="0"/>
            <c:bubble3D val="0"/>
            <c:spPr>
              <a:solidFill>
                <a:srgbClr val="AEABAB"/>
              </a:solidFill>
            </c:spPr>
            <c:extLst>
              <c:ext xmlns:c16="http://schemas.microsoft.com/office/drawing/2014/chart" uri="{C3380CC4-5D6E-409C-BE32-E72D297353CC}">
                <c16:uniqueId val="{0000007E-C76F-4230-900D-40618C09729F}"/>
              </c:ext>
            </c:extLst>
          </c:dPt>
          <c:dPt>
            <c:idx val="61"/>
            <c:invertIfNegative val="0"/>
            <c:bubble3D val="0"/>
            <c:spPr>
              <a:solidFill>
                <a:srgbClr val="AEABAB"/>
              </a:solidFill>
            </c:spPr>
            <c:extLst>
              <c:ext xmlns:c16="http://schemas.microsoft.com/office/drawing/2014/chart" uri="{C3380CC4-5D6E-409C-BE32-E72D297353CC}">
                <c16:uniqueId val="{00000080-C76F-4230-900D-40618C09729F}"/>
              </c:ext>
            </c:extLst>
          </c:dPt>
          <c:dPt>
            <c:idx val="62"/>
            <c:invertIfNegative val="0"/>
            <c:bubble3D val="0"/>
            <c:spPr>
              <a:solidFill>
                <a:srgbClr val="AEABAB"/>
              </a:solidFill>
            </c:spPr>
            <c:extLst>
              <c:ext xmlns:c16="http://schemas.microsoft.com/office/drawing/2014/chart" uri="{C3380CC4-5D6E-409C-BE32-E72D297353CC}">
                <c16:uniqueId val="{00000082-C76F-4230-900D-40618C09729F}"/>
              </c:ext>
            </c:extLst>
          </c:dPt>
          <c:dPt>
            <c:idx val="63"/>
            <c:invertIfNegative val="0"/>
            <c:bubble3D val="0"/>
            <c:spPr>
              <a:solidFill>
                <a:srgbClr val="AEABAB"/>
              </a:solidFill>
            </c:spPr>
            <c:extLst>
              <c:ext xmlns:c16="http://schemas.microsoft.com/office/drawing/2014/chart" uri="{C3380CC4-5D6E-409C-BE32-E72D297353CC}">
                <c16:uniqueId val="{00000084-C76F-4230-900D-40618C09729F}"/>
              </c:ext>
            </c:extLst>
          </c:dPt>
          <c:dPt>
            <c:idx val="64"/>
            <c:invertIfNegative val="0"/>
            <c:bubble3D val="0"/>
            <c:spPr>
              <a:solidFill>
                <a:srgbClr val="AEABAB"/>
              </a:solidFill>
            </c:spPr>
            <c:extLst>
              <c:ext xmlns:c16="http://schemas.microsoft.com/office/drawing/2014/chart" uri="{C3380CC4-5D6E-409C-BE32-E72D297353CC}">
                <c16:uniqueId val="{00000086-C76F-4230-900D-40618C09729F}"/>
              </c:ext>
            </c:extLst>
          </c:dPt>
          <c:dPt>
            <c:idx val="65"/>
            <c:invertIfNegative val="0"/>
            <c:bubble3D val="0"/>
            <c:spPr>
              <a:solidFill>
                <a:srgbClr val="AEABAB"/>
              </a:solidFill>
            </c:spPr>
            <c:extLst>
              <c:ext xmlns:c16="http://schemas.microsoft.com/office/drawing/2014/chart" uri="{C3380CC4-5D6E-409C-BE32-E72D297353CC}">
                <c16:uniqueId val="{00000088-C76F-4230-900D-40618C09729F}"/>
              </c:ext>
            </c:extLst>
          </c:dPt>
          <c:dPt>
            <c:idx val="66"/>
            <c:invertIfNegative val="0"/>
            <c:bubble3D val="0"/>
            <c:spPr>
              <a:solidFill>
                <a:srgbClr val="AEABAB"/>
              </a:solidFill>
            </c:spPr>
            <c:extLst>
              <c:ext xmlns:c16="http://schemas.microsoft.com/office/drawing/2014/chart" uri="{C3380CC4-5D6E-409C-BE32-E72D297353CC}">
                <c16:uniqueId val="{0000008A-C76F-4230-900D-40618C09729F}"/>
              </c:ext>
            </c:extLst>
          </c:dPt>
          <c:dPt>
            <c:idx val="67"/>
            <c:invertIfNegative val="0"/>
            <c:bubble3D val="0"/>
            <c:spPr>
              <a:solidFill>
                <a:srgbClr val="AEABAB"/>
              </a:solidFill>
            </c:spPr>
            <c:extLst>
              <c:ext xmlns:c16="http://schemas.microsoft.com/office/drawing/2014/chart" uri="{C3380CC4-5D6E-409C-BE32-E72D297353CC}">
                <c16:uniqueId val="{0000008C-C76F-4230-900D-40618C09729F}"/>
              </c:ext>
            </c:extLst>
          </c:dPt>
          <c:dPt>
            <c:idx val="68"/>
            <c:invertIfNegative val="0"/>
            <c:bubble3D val="0"/>
            <c:spPr>
              <a:solidFill>
                <a:srgbClr val="AEABAB"/>
              </a:solidFill>
            </c:spPr>
            <c:extLst>
              <c:ext xmlns:c16="http://schemas.microsoft.com/office/drawing/2014/chart" uri="{C3380CC4-5D6E-409C-BE32-E72D297353CC}">
                <c16:uniqueId val="{0000008E-C76F-4230-900D-40618C09729F}"/>
              </c:ext>
            </c:extLst>
          </c:dPt>
          <c:dPt>
            <c:idx val="69"/>
            <c:invertIfNegative val="0"/>
            <c:bubble3D val="0"/>
            <c:spPr>
              <a:solidFill>
                <a:srgbClr val="AEABAB"/>
              </a:solidFill>
            </c:spPr>
            <c:extLst>
              <c:ext xmlns:c16="http://schemas.microsoft.com/office/drawing/2014/chart" uri="{C3380CC4-5D6E-409C-BE32-E72D297353CC}">
                <c16:uniqueId val="{00000090-C76F-4230-900D-40618C09729F}"/>
              </c:ext>
            </c:extLst>
          </c:dPt>
          <c:dPt>
            <c:idx val="70"/>
            <c:invertIfNegative val="0"/>
            <c:bubble3D val="0"/>
            <c:spPr>
              <a:solidFill>
                <a:srgbClr val="AEABAB"/>
              </a:solidFill>
            </c:spPr>
            <c:extLst>
              <c:ext xmlns:c16="http://schemas.microsoft.com/office/drawing/2014/chart" uri="{C3380CC4-5D6E-409C-BE32-E72D297353CC}">
                <c16:uniqueId val="{00000092-C76F-4230-900D-40618C09729F}"/>
              </c:ext>
            </c:extLst>
          </c:dPt>
          <c:dPt>
            <c:idx val="71"/>
            <c:invertIfNegative val="0"/>
            <c:bubble3D val="0"/>
            <c:spPr>
              <a:solidFill>
                <a:srgbClr val="AEABAB"/>
              </a:solidFill>
            </c:spPr>
            <c:extLst>
              <c:ext xmlns:c16="http://schemas.microsoft.com/office/drawing/2014/chart" uri="{C3380CC4-5D6E-409C-BE32-E72D297353CC}">
                <c16:uniqueId val="{00000094-C76F-4230-900D-40618C09729F}"/>
              </c:ext>
            </c:extLst>
          </c:dPt>
          <c:dPt>
            <c:idx val="72"/>
            <c:invertIfNegative val="0"/>
            <c:bubble3D val="0"/>
            <c:spPr>
              <a:solidFill>
                <a:srgbClr val="AEABAB"/>
              </a:solidFill>
            </c:spPr>
            <c:extLst>
              <c:ext xmlns:c16="http://schemas.microsoft.com/office/drawing/2014/chart" uri="{C3380CC4-5D6E-409C-BE32-E72D297353CC}">
                <c16:uniqueId val="{00000096-C76F-4230-900D-40618C09729F}"/>
              </c:ext>
            </c:extLst>
          </c:dPt>
          <c:dPt>
            <c:idx val="73"/>
            <c:invertIfNegative val="0"/>
            <c:bubble3D val="0"/>
            <c:spPr>
              <a:solidFill>
                <a:srgbClr val="AEABAB"/>
              </a:solidFill>
            </c:spPr>
            <c:extLst>
              <c:ext xmlns:c16="http://schemas.microsoft.com/office/drawing/2014/chart" uri="{C3380CC4-5D6E-409C-BE32-E72D297353CC}">
                <c16:uniqueId val="{00000098-C76F-4230-900D-40618C09729F}"/>
              </c:ext>
            </c:extLst>
          </c:dPt>
          <c:dPt>
            <c:idx val="74"/>
            <c:invertIfNegative val="0"/>
            <c:bubble3D val="0"/>
            <c:spPr>
              <a:solidFill>
                <a:srgbClr val="AEABAB"/>
              </a:solidFill>
            </c:spPr>
            <c:extLst>
              <c:ext xmlns:c16="http://schemas.microsoft.com/office/drawing/2014/chart" uri="{C3380CC4-5D6E-409C-BE32-E72D297353CC}">
                <c16:uniqueId val="{0000009A-C76F-4230-900D-40618C09729F}"/>
              </c:ext>
            </c:extLst>
          </c:dPt>
          <c:dPt>
            <c:idx val="75"/>
            <c:invertIfNegative val="0"/>
            <c:bubble3D val="0"/>
            <c:spPr>
              <a:solidFill>
                <a:srgbClr val="AEABAB"/>
              </a:solidFill>
            </c:spPr>
            <c:extLst>
              <c:ext xmlns:c16="http://schemas.microsoft.com/office/drawing/2014/chart" uri="{C3380CC4-5D6E-409C-BE32-E72D297353CC}">
                <c16:uniqueId val="{0000009C-C76F-4230-900D-40618C09729F}"/>
              </c:ext>
            </c:extLst>
          </c:dPt>
          <c:dPt>
            <c:idx val="76"/>
            <c:invertIfNegative val="0"/>
            <c:bubble3D val="0"/>
            <c:spPr>
              <a:solidFill>
                <a:srgbClr val="AEABAB"/>
              </a:solidFill>
            </c:spPr>
            <c:extLst>
              <c:ext xmlns:c16="http://schemas.microsoft.com/office/drawing/2014/chart" uri="{C3380CC4-5D6E-409C-BE32-E72D297353CC}">
                <c16:uniqueId val="{0000009E-C76F-4230-900D-40618C09729F}"/>
              </c:ext>
            </c:extLst>
          </c:dPt>
          <c:dPt>
            <c:idx val="77"/>
            <c:invertIfNegative val="0"/>
            <c:bubble3D val="0"/>
            <c:spPr>
              <a:solidFill>
                <a:srgbClr val="AEABAB"/>
              </a:solidFill>
            </c:spPr>
            <c:extLst>
              <c:ext xmlns:c16="http://schemas.microsoft.com/office/drawing/2014/chart" uri="{C3380CC4-5D6E-409C-BE32-E72D297353CC}">
                <c16:uniqueId val="{000000A0-C76F-4230-900D-40618C09729F}"/>
              </c:ext>
            </c:extLst>
          </c:dPt>
          <c:dPt>
            <c:idx val="78"/>
            <c:invertIfNegative val="0"/>
            <c:bubble3D val="0"/>
            <c:spPr>
              <a:solidFill>
                <a:srgbClr val="AEABAB"/>
              </a:solidFill>
            </c:spPr>
            <c:extLst>
              <c:ext xmlns:c16="http://schemas.microsoft.com/office/drawing/2014/chart" uri="{C3380CC4-5D6E-409C-BE32-E72D297353CC}">
                <c16:uniqueId val="{000000A2-C76F-4230-900D-40618C09729F}"/>
              </c:ext>
            </c:extLst>
          </c:dPt>
          <c:dPt>
            <c:idx val="79"/>
            <c:invertIfNegative val="0"/>
            <c:bubble3D val="0"/>
            <c:spPr>
              <a:solidFill>
                <a:srgbClr val="AEABAB"/>
              </a:solidFill>
            </c:spPr>
            <c:extLst>
              <c:ext xmlns:c16="http://schemas.microsoft.com/office/drawing/2014/chart" uri="{C3380CC4-5D6E-409C-BE32-E72D297353CC}">
                <c16:uniqueId val="{000000A4-C76F-4230-900D-40618C09729F}"/>
              </c:ext>
            </c:extLst>
          </c:dPt>
          <c:dPt>
            <c:idx val="80"/>
            <c:invertIfNegative val="0"/>
            <c:bubble3D val="0"/>
            <c:spPr>
              <a:solidFill>
                <a:srgbClr val="AEABAB"/>
              </a:solidFill>
            </c:spPr>
            <c:extLst>
              <c:ext xmlns:c16="http://schemas.microsoft.com/office/drawing/2014/chart" uri="{C3380CC4-5D6E-409C-BE32-E72D297353CC}">
                <c16:uniqueId val="{000000A6-C76F-4230-900D-40618C09729F}"/>
              </c:ext>
            </c:extLst>
          </c:dPt>
          <c:dPt>
            <c:idx val="81"/>
            <c:invertIfNegative val="1"/>
            <c:bubble3D val="0"/>
            <c:spPr>
              <a:solidFill>
                <a:srgbClr val="AEABAB"/>
              </a:solidFill>
            </c:spPr>
            <c:extLst>
              <c:ext xmlns:c16="http://schemas.microsoft.com/office/drawing/2014/chart" uri="{C3380CC4-5D6E-409C-BE32-E72D297353CC}">
                <c16:uniqueId val="{000000A5-2993-41DE-A2CB-63102DE87051}"/>
              </c:ext>
            </c:extLst>
          </c:dPt>
          <c:dPt>
            <c:idx val="82"/>
            <c:invertIfNegative val="1"/>
            <c:bubble3D val="0"/>
            <c:spPr>
              <a:solidFill>
                <a:srgbClr val="AEABAB"/>
              </a:solidFill>
            </c:spPr>
            <c:extLst>
              <c:ext xmlns:c16="http://schemas.microsoft.com/office/drawing/2014/chart" uri="{C3380CC4-5D6E-409C-BE32-E72D297353CC}">
                <c16:uniqueId val="{000000A7-2993-41DE-A2CB-63102DE87051}"/>
              </c:ext>
            </c:extLst>
          </c:dPt>
          <c:dPt>
            <c:idx val="83"/>
            <c:invertIfNegative val="1"/>
            <c:bubble3D val="0"/>
            <c:spPr>
              <a:solidFill>
                <a:srgbClr val="AEABAB"/>
              </a:solidFill>
            </c:spPr>
            <c:extLst>
              <c:ext xmlns:c16="http://schemas.microsoft.com/office/drawing/2014/chart" uri="{C3380CC4-5D6E-409C-BE32-E72D297353CC}">
                <c16:uniqueId val="{000000A9-2993-41DE-A2CB-63102DE87051}"/>
              </c:ext>
            </c:extLst>
          </c:dPt>
          <c:dPt>
            <c:idx val="84"/>
            <c:invertIfNegative val="1"/>
            <c:bubble3D val="0"/>
            <c:spPr>
              <a:solidFill>
                <a:srgbClr val="AEABAB"/>
              </a:solidFill>
            </c:spPr>
            <c:extLst>
              <c:ext xmlns:c16="http://schemas.microsoft.com/office/drawing/2014/chart" uri="{C3380CC4-5D6E-409C-BE32-E72D297353CC}">
                <c16:uniqueId val="{000000AB-2993-41DE-A2CB-63102DE87051}"/>
              </c:ext>
            </c:extLst>
          </c:dPt>
          <c:dPt>
            <c:idx val="85"/>
            <c:invertIfNegative val="1"/>
            <c:bubble3D val="0"/>
            <c:spPr>
              <a:solidFill>
                <a:srgbClr val="AEABAB"/>
              </a:solidFill>
            </c:spPr>
            <c:extLst>
              <c:ext xmlns:c16="http://schemas.microsoft.com/office/drawing/2014/chart" uri="{C3380CC4-5D6E-409C-BE32-E72D297353CC}">
                <c16:uniqueId val="{000000AD-2993-41DE-A2CB-63102DE87051}"/>
              </c:ext>
            </c:extLst>
          </c:dPt>
          <c:dPt>
            <c:idx val="86"/>
            <c:invertIfNegative val="1"/>
            <c:bubble3D val="0"/>
            <c:spPr>
              <a:solidFill>
                <a:srgbClr val="AEABAB"/>
              </a:solidFill>
            </c:spPr>
            <c:extLst>
              <c:ext xmlns:c16="http://schemas.microsoft.com/office/drawing/2014/chart" uri="{C3380CC4-5D6E-409C-BE32-E72D297353CC}">
                <c16:uniqueId val="{000000AF-2993-41DE-A2CB-63102DE87051}"/>
              </c:ext>
            </c:extLst>
          </c:dPt>
          <c:dPt>
            <c:idx val="87"/>
            <c:invertIfNegative val="1"/>
            <c:bubble3D val="0"/>
            <c:spPr>
              <a:solidFill>
                <a:srgbClr val="AEABAB"/>
              </a:solidFill>
            </c:spPr>
            <c:extLst>
              <c:ext xmlns:c16="http://schemas.microsoft.com/office/drawing/2014/chart" uri="{C3380CC4-5D6E-409C-BE32-E72D297353CC}">
                <c16:uniqueId val="{000000B1-2993-41DE-A2CB-63102DE87051}"/>
              </c:ext>
            </c:extLst>
          </c:dPt>
          <c:dPt>
            <c:idx val="88"/>
            <c:invertIfNegative val="1"/>
            <c:bubble3D val="0"/>
            <c:spPr>
              <a:solidFill>
                <a:srgbClr val="AEABAB"/>
              </a:solidFill>
            </c:spPr>
            <c:extLst>
              <c:ext xmlns:c16="http://schemas.microsoft.com/office/drawing/2014/chart" uri="{C3380CC4-5D6E-409C-BE32-E72D297353CC}">
                <c16:uniqueId val="{000000B3-2993-41DE-A2CB-63102DE87051}"/>
              </c:ext>
            </c:extLst>
          </c:dPt>
          <c:dPt>
            <c:idx val="89"/>
            <c:invertIfNegative val="1"/>
            <c:bubble3D val="0"/>
            <c:spPr>
              <a:solidFill>
                <a:srgbClr val="AEABAB"/>
              </a:solidFill>
            </c:spPr>
            <c:extLst>
              <c:ext xmlns:c16="http://schemas.microsoft.com/office/drawing/2014/chart" uri="{C3380CC4-5D6E-409C-BE32-E72D297353CC}">
                <c16:uniqueId val="{000000B5-2993-41DE-A2CB-63102DE87051}"/>
              </c:ext>
            </c:extLst>
          </c:dPt>
          <c:dPt>
            <c:idx val="90"/>
            <c:invertIfNegative val="1"/>
            <c:bubble3D val="0"/>
            <c:spPr>
              <a:solidFill>
                <a:srgbClr val="AEABAB"/>
              </a:solidFill>
            </c:spPr>
            <c:extLst>
              <c:ext xmlns:c16="http://schemas.microsoft.com/office/drawing/2014/chart" uri="{C3380CC4-5D6E-409C-BE32-E72D297353CC}">
                <c16:uniqueId val="{000000B7-2993-41DE-A2CB-63102DE87051}"/>
              </c:ext>
            </c:extLst>
          </c:dPt>
          <c:dPt>
            <c:idx val="91"/>
            <c:invertIfNegative val="1"/>
            <c:bubble3D val="0"/>
            <c:spPr>
              <a:solidFill>
                <a:srgbClr val="AEABAB"/>
              </a:solidFill>
            </c:spPr>
            <c:extLst>
              <c:ext xmlns:c16="http://schemas.microsoft.com/office/drawing/2014/chart" uri="{C3380CC4-5D6E-409C-BE32-E72D297353CC}">
                <c16:uniqueId val="{000000B9-2993-41DE-A2CB-63102DE87051}"/>
              </c:ext>
            </c:extLst>
          </c:dPt>
          <c:dPt>
            <c:idx val="92"/>
            <c:invertIfNegative val="1"/>
            <c:bubble3D val="0"/>
            <c:spPr>
              <a:solidFill>
                <a:srgbClr val="AEABAB"/>
              </a:solidFill>
            </c:spPr>
            <c:extLst>
              <c:ext xmlns:c16="http://schemas.microsoft.com/office/drawing/2014/chart" uri="{C3380CC4-5D6E-409C-BE32-E72D297353CC}">
                <c16:uniqueId val="{000000BB-2993-41DE-A2CB-63102DE87051}"/>
              </c:ext>
            </c:extLst>
          </c:dPt>
          <c:dPt>
            <c:idx val="93"/>
            <c:invertIfNegative val="1"/>
            <c:bubble3D val="0"/>
            <c:spPr>
              <a:solidFill>
                <a:srgbClr val="AEABAB"/>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95</c:f>
              <c:strCache>
                <c:ptCount val="94"/>
                <c:pt idx="0">
                  <c:v>St Moret</c:v>
                </c:pt>
                <c:pt idx="1">
                  <c:v>Tartare</c:v>
                </c:pt>
                <c:pt idx="2">
                  <c:v>St Moret</c:v>
                </c:pt>
                <c:pt idx="3">
                  <c:v>Paysan Bret</c:v>
                </c:pt>
                <c:pt idx="4">
                  <c:v>St Moret</c:v>
                </c:pt>
                <c:pt idx="5">
                  <c:v>Carre Frais</c:v>
                </c:pt>
                <c:pt idx="6">
                  <c:v>Philadelphi</c:v>
                </c:pt>
                <c:pt idx="7">
                  <c:v>Paysan Bret</c:v>
                </c:pt>
                <c:pt idx="8">
                  <c:v>St Moret</c:v>
                </c:pt>
                <c:pt idx="9">
                  <c:v>Carre Frais</c:v>
                </c:pt>
                <c:pt idx="10">
                  <c:v>Tartare</c:v>
                </c:pt>
                <c:pt idx="11">
                  <c:v>Boursin</c:v>
                </c:pt>
                <c:pt idx="12">
                  <c:v>St Moret</c:v>
                </c:pt>
                <c:pt idx="13">
                  <c:v>Boursin</c:v>
                </c:pt>
                <c:pt idx="14">
                  <c:v>Philadelphi</c:v>
                </c:pt>
                <c:pt idx="15">
                  <c:v>Boursin</c:v>
                </c:pt>
                <c:pt idx="16">
                  <c:v>St Moret</c:v>
                </c:pt>
                <c:pt idx="17">
                  <c:v>St Moret</c:v>
                </c:pt>
                <c:pt idx="18">
                  <c:v>Private Lab</c:v>
                </c:pt>
                <c:pt idx="19">
                  <c:v>St Moret</c:v>
                </c:pt>
                <c:pt idx="20">
                  <c:v>Paysan Bret</c:v>
                </c:pt>
                <c:pt idx="21">
                  <c:v>Rondele</c:v>
                </c:pt>
                <c:pt idx="22">
                  <c:v>Paysan Bret</c:v>
                </c:pt>
                <c:pt idx="23">
                  <c:v>Private Lab</c:v>
                </c:pt>
                <c:pt idx="24">
                  <c:v>Tartare</c:v>
                </c:pt>
                <c:pt idx="25">
                  <c:v>Boursin</c:v>
                </c:pt>
                <c:pt idx="26">
                  <c:v>Private Lab</c:v>
                </c:pt>
                <c:pt idx="27">
                  <c:v>Paysan Bret</c:v>
                </c:pt>
                <c:pt idx="28">
                  <c:v>Paysan Bret</c:v>
                </c:pt>
                <c:pt idx="29">
                  <c:v>Private Lab</c:v>
                </c:pt>
                <c:pt idx="30">
                  <c:v>Tartare</c:v>
                </c:pt>
                <c:pt idx="31">
                  <c:v>Paysan Bret</c:v>
                </c:pt>
                <c:pt idx="32">
                  <c:v>Boursin</c:v>
                </c:pt>
                <c:pt idx="33">
                  <c:v>Boursin</c:v>
                </c:pt>
                <c:pt idx="34">
                  <c:v>Savencia: A</c:v>
                </c:pt>
                <c:pt idx="35">
                  <c:v>St Moret</c:v>
                </c:pt>
                <c:pt idx="36">
                  <c:v>St Moret</c:v>
                </c:pt>
                <c:pt idx="37">
                  <c:v>Tartare</c:v>
                </c:pt>
                <c:pt idx="38">
                  <c:v>Philadelphi</c:v>
                </c:pt>
                <c:pt idx="39">
                  <c:v>Kiri</c:v>
                </c:pt>
                <c:pt idx="40">
                  <c:v>Kiri</c:v>
                </c:pt>
                <c:pt idx="41">
                  <c:v>Kiri</c:v>
                </c:pt>
                <c:pt idx="42">
                  <c:v>Rondele</c:v>
                </c:pt>
                <c:pt idx="43">
                  <c:v>Rondele</c:v>
                </c:pt>
                <c:pt idx="44">
                  <c:v>Triballat R</c:v>
                </c:pt>
                <c:pt idx="45">
                  <c:v>Saint Agur</c:v>
                </c:pt>
                <c:pt idx="46">
                  <c:v>President</c:v>
                </c:pt>
                <c:pt idx="47">
                  <c:v>Lactalis: A</c:v>
                </c:pt>
                <c:pt idx="48">
                  <c:v>Boursin</c:v>
                </c:pt>
                <c:pt idx="49">
                  <c:v>Philadelphi</c:v>
                </c:pt>
                <c:pt idx="50">
                  <c:v>Paysan Bret</c:v>
                </c:pt>
                <c:pt idx="51">
                  <c:v>Private Lab</c:v>
                </c:pt>
                <c:pt idx="52">
                  <c:v>Tartare</c:v>
                </c:pt>
                <c:pt idx="53">
                  <c:v>St Moret</c:v>
                </c:pt>
                <c:pt idx="54">
                  <c:v>Paysan Bret</c:v>
                </c:pt>
                <c:pt idx="55">
                  <c:v>Paysan Bret</c:v>
                </c:pt>
                <c:pt idx="56">
                  <c:v>St Moret</c:v>
                </c:pt>
                <c:pt idx="57">
                  <c:v>Saint Agur</c:v>
                </c:pt>
                <c:pt idx="58">
                  <c:v>Tartare</c:v>
                </c:pt>
                <c:pt idx="59">
                  <c:v>Private Lab</c:v>
                </c:pt>
                <c:pt idx="60">
                  <c:v>Savencia: A</c:v>
                </c:pt>
                <c:pt idx="61">
                  <c:v>Boursin</c:v>
                </c:pt>
                <c:pt idx="62">
                  <c:v>Tartare</c:v>
                </c:pt>
                <c:pt idx="63">
                  <c:v>Tartare</c:v>
                </c:pt>
                <c:pt idx="64">
                  <c:v>All Others</c:v>
                </c:pt>
                <c:pt idx="65">
                  <c:v>Private Lab</c:v>
                </c:pt>
                <c:pt idx="66">
                  <c:v>Tartare</c:v>
                </c:pt>
                <c:pt idx="67">
                  <c:v>Private Lab</c:v>
                </c:pt>
                <c:pt idx="68">
                  <c:v>Philadelphi</c:v>
                </c:pt>
                <c:pt idx="69">
                  <c:v>Boursin</c:v>
                </c:pt>
                <c:pt idx="70">
                  <c:v>Boursin</c:v>
                </c:pt>
                <c:pt idx="71">
                  <c:v>All Others</c:v>
                </c:pt>
                <c:pt idx="72">
                  <c:v>All Others</c:v>
                </c:pt>
                <c:pt idx="73">
                  <c:v>All Others</c:v>
                </c:pt>
                <c:pt idx="74">
                  <c:v>Boursin</c:v>
                </c:pt>
                <c:pt idx="75">
                  <c:v>All Others</c:v>
                </c:pt>
                <c:pt idx="76">
                  <c:v>Carre Frais</c:v>
                </c:pt>
                <c:pt idx="77">
                  <c:v>All Others</c:v>
                </c:pt>
                <c:pt idx="78">
                  <c:v>Lactalis: A</c:v>
                </c:pt>
                <c:pt idx="79">
                  <c:v>All Others</c:v>
                </c:pt>
                <c:pt idx="80">
                  <c:v>All Others</c:v>
                </c:pt>
                <c:pt idx="81">
                  <c:v>All Others</c:v>
                </c:pt>
                <c:pt idx="82">
                  <c:v>All Others</c:v>
                </c:pt>
                <c:pt idx="83">
                  <c:v>Boursin</c:v>
                </c:pt>
                <c:pt idx="84">
                  <c:v>All Others</c:v>
                </c:pt>
                <c:pt idx="85">
                  <c:v>All Others</c:v>
                </c:pt>
                <c:pt idx="86">
                  <c:v>All Others</c:v>
                </c:pt>
                <c:pt idx="87">
                  <c:v>All Others</c:v>
                </c:pt>
                <c:pt idx="88">
                  <c:v>All Others</c:v>
                </c:pt>
                <c:pt idx="89">
                  <c:v>All Others</c:v>
                </c:pt>
                <c:pt idx="90">
                  <c:v>All Others</c:v>
                </c:pt>
                <c:pt idx="91">
                  <c:v>Boursin</c:v>
                </c:pt>
                <c:pt idx="92">
                  <c:v>Private Lab</c:v>
                </c:pt>
                <c:pt idx="93">
                  <c:v>Savencia: A</c:v>
                </c:pt>
              </c:strCache>
            </c:strRef>
          </c:cat>
          <c:val>
            <c:numRef>
              <c:f>Sheet1!$C$2:$C$95</c:f>
              <c:numCache>
                <c:formatCode>General</c:formatCode>
                <c:ptCount val="94"/>
                <c:pt idx="0">
                  <c:v>0.06223391229598601</c:v>
                </c:pt>
                <c:pt idx="1">
                  <c:v>0.11554100006720684</c:v>
                </c:pt>
                <c:pt idx="2">
                  <c:v>0.1612170650091597</c:v>
                </c:pt>
                <c:pt idx="3">
                  <c:v>0.20559213172183766</c:v>
                </c:pt>
                <c:pt idx="4">
                  <c:v>0.24699686967269818</c:v>
                </c:pt>
                <c:pt idx="5">
                  <c:v>0.2868234277744089</c:v>
                </c:pt>
                <c:pt idx="6">
                  <c:v>0.32459439624196623</c:v>
                </c:pt>
                <c:pt idx="7">
                  <c:v>0.36220225819477836</c:v>
                </c:pt>
                <c:pt idx="8">
                  <c:v>0.4315335416239994</c:v>
                </c:pt>
                <c:pt idx="9">
                  <c:v>0.464163596629931</c:v>
                </c:pt>
                <c:pt idx="10">
                  <c:v>0.49398297332087127</c:v>
                </c:pt>
                <c:pt idx="11">
                  <c:v>0.52350174669424</c:v>
                </c:pt>
                <c:pt idx="12">
                  <c:v>0.5514222005420955</c:v>
                </c:pt>
                <c:pt idx="13">
                  <c:v>0.5788614155800587</c:v>
                </c:pt>
                <c:pt idx="14">
                  <c:v>0.6314406902568249</c:v>
                </c:pt>
                <c:pt idx="15">
                  <c:v>0.6552611535454645</c:v>
                </c:pt>
                <c:pt idx="16">
                  <c:v>0.678954811464409</c:v>
                </c:pt>
                <c:pt idx="17">
                  <c:v>0.7018621269084551</c:v>
                </c:pt>
                <c:pt idx="18">
                  <c:v>0.7229483431970921</c:v>
                </c:pt>
                <c:pt idx="19">
                  <c:v>0.7415574538844302</c:v>
                </c:pt>
                <c:pt idx="20">
                  <c:v>0.7598682487236108</c:v>
                </c:pt>
                <c:pt idx="21">
                  <c:v>0.7908336724548181</c:v>
                </c:pt>
                <c:pt idx="22">
                  <c:v>0.8043496827640448</c:v>
                </c:pt>
                <c:pt idx="23">
                  <c:v>0.8173477304337637</c:v>
                </c:pt>
                <c:pt idx="24">
                  <c:v>0.8300728481930622</c:v>
                </c:pt>
                <c:pt idx="25">
                  <c:v>0.8425764543761616</c:v>
                </c:pt>
                <c:pt idx="26">
                  <c:v>0.854224522134586</c:v>
                </c:pt>
                <c:pt idx="27">
                  <c:v>0.865519747735884</c:v>
                </c:pt>
                <c:pt idx="28">
                  <c:v>0.8756031118236635</c:v>
                </c:pt>
                <c:pt idx="29">
                  <c:v>0.8842985787082298</c:v>
                </c:pt>
                <c:pt idx="30">
                  <c:v>0.8927913310478697</c:v>
                </c:pt>
                <c:pt idx="31">
                  <c:v>0.9010906679030274</c:v>
                </c:pt>
                <c:pt idx="32">
                  <c:v>0.9092978843866713</c:v>
                </c:pt>
                <c:pt idx="33">
                  <c:v>0.9171727962103197</c:v>
                </c:pt>
                <c:pt idx="34">
                  <c:v>0.9247842015029819</c:v>
                </c:pt>
                <c:pt idx="35">
                  <c:v>0.9296684459780657</c:v>
                </c:pt>
                <c:pt idx="36">
                  <c:v>0.9338322619066949</c:v>
                </c:pt>
                <c:pt idx="37">
                  <c:v>0.9378312059909223</c:v>
                </c:pt>
                <c:pt idx="38">
                  <c:v>0.941666397101657</c:v>
                </c:pt>
                <c:pt idx="39">
                  <c:v>0.945357328456515</c:v>
                </c:pt>
                <c:pt idx="40">
                  <c:v>0.9490325210272519</c:v>
                </c:pt>
                <c:pt idx="41">
                  <c:v>0.9526640527687369</c:v>
                </c:pt>
                <c:pt idx="42">
                  <c:v>0.9562621427019395</c:v>
                </c:pt>
                <c:pt idx="43">
                  <c:v>0.9597378032938914</c:v>
                </c:pt>
                <c:pt idx="44">
                  <c:v>0.962903909600999</c:v>
                </c:pt>
                <c:pt idx="45">
                  <c:v>0.965992167356633</c:v>
                </c:pt>
                <c:pt idx="46">
                  <c:v>0.968530984904517</c:v>
                </c:pt>
                <c:pt idx="47">
                  <c:v>0.9704077292398041</c:v>
                </c:pt>
                <c:pt idx="48">
                  <c:v>0.9722211952092336</c:v>
                </c:pt>
                <c:pt idx="49">
                  <c:v>0.9740325726196327</c:v>
                </c:pt>
                <c:pt idx="50">
                  <c:v>0.9757964850396891</c:v>
                </c:pt>
                <c:pt idx="51">
                  <c:v>0.977495577538413</c:v>
                </c:pt>
                <c:pt idx="52">
                  <c:v>0.9791762708266322</c:v>
                </c:pt>
                <c:pt idx="53">
                  <c:v>0.9807687224958223</c:v>
                </c:pt>
                <c:pt idx="54">
                  <c:v>0.9821020685262685</c:v>
                </c:pt>
                <c:pt idx="55">
                  <c:v>0.9833051282553023</c:v>
                </c:pt>
                <c:pt idx="56">
                  <c:v>0.9844794702976698</c:v>
                </c:pt>
                <c:pt idx="57">
                  <c:v>0.9865417482934795</c:v>
                </c:pt>
                <c:pt idx="58">
                  <c:v>0.9875568625735867</c:v>
                </c:pt>
                <c:pt idx="59">
                  <c:v>0.9885457704106234</c:v>
                </c:pt>
                <c:pt idx="60">
                  <c:v>0.9895267715599028</c:v>
                </c:pt>
                <c:pt idx="61">
                  <c:v>0.9904543155435263</c:v>
                </c:pt>
                <c:pt idx="62">
                  <c:v>0.9911832972364858</c:v>
                </c:pt>
                <c:pt idx="63">
                  <c:v>0.9918499702517088</c:v>
                </c:pt>
                <c:pt idx="64">
                  <c:v>0.9924713911546094</c:v>
                </c:pt>
                <c:pt idx="65">
                  <c:v>0.9930570579160154</c:v>
                </c:pt>
                <c:pt idx="66">
                  <c:v>0.9936168911913208</c:v>
                </c:pt>
                <c:pt idx="67">
                  <c:v>0.9941735170366868</c:v>
                </c:pt>
                <c:pt idx="68">
                  <c:v>0.9946979691274673</c:v>
                </c:pt>
                <c:pt idx="69">
                  <c:v>0.9951934548936019</c:v>
                </c:pt>
                <c:pt idx="70">
                  <c:v>0.9956864294161405</c:v>
                </c:pt>
                <c:pt idx="71">
                  <c:v>0.9961564546531441</c:v>
                </c:pt>
                <c:pt idx="72">
                  <c:v>0.9965583530836839</c:v>
                </c:pt>
                <c:pt idx="73">
                  <c:v>0.9969238757777799</c:v>
                </c:pt>
                <c:pt idx="74">
                  <c:v>0.9972382536394321</c:v>
                </c:pt>
                <c:pt idx="75">
                  <c:v>0.9978057201007172</c:v>
                </c:pt>
                <c:pt idx="76">
                  <c:v>0.9980186536666132</c:v>
                </c:pt>
                <c:pt idx="77">
                  <c:v>0.9982214428029337</c:v>
                </c:pt>
                <c:pt idx="78">
                  <c:v>0.9984126702731937</c:v>
                </c:pt>
                <c:pt idx="79">
                  <c:v>0.9985774923899995</c:v>
                </c:pt>
                <c:pt idx="80">
                  <c:v>0.9986896529826848</c:v>
                </c:pt>
                <c:pt idx="81">
                  <c:v>0.9989050232007828</c:v>
                </c:pt>
                <c:pt idx="82">
                  <c:v>0.9990041054357309</c:v>
                </c:pt>
                <c:pt idx="83">
                  <c:v>0.9991607722267994</c:v>
                </c:pt>
                <c:pt idx="84">
                  <c:v>0.99923029140595</c:v>
                </c:pt>
                <c:pt idx="85">
                  <c:v>0.9992959318326158</c:v>
                </c:pt>
                <c:pt idx="86">
                  <c:v>0.999421469148614</c:v>
                </c:pt>
                <c:pt idx="87">
                  <c:v>0.9995234853117236</c:v>
                </c:pt>
                <c:pt idx="88">
                  <c:v>0.9996760744399235</c:v>
                </c:pt>
                <c:pt idx="89">
                  <c:v>0.9998735178596783</c:v>
                </c:pt>
                <c:pt idx="90">
                  <c:v>0.9998949753173345</c:v>
                </c:pt>
                <c:pt idx="91">
                  <c:v>0.9999458217842024</c:v>
                </c:pt>
                <c:pt idx="92">
                  <c:v>0.9999964196130906</c:v>
                </c:pt>
                <c:pt idx="93">
                  <c:v>0.9999977622581815</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47</c:f>
              <c:strCache>
                <c:ptCount val="46"/>
                <c:pt idx="0">
                  <c:v>St Moret</c:v>
                </c:pt>
                <c:pt idx="1">
                  <c:v>Paysan Bret</c:v>
                </c:pt>
                <c:pt idx="2">
                  <c:v>Philadelphi</c:v>
                </c:pt>
                <c:pt idx="3">
                  <c:v>Boursin</c:v>
                </c:pt>
                <c:pt idx="4">
                  <c:v>St Moret</c:v>
                </c:pt>
                <c:pt idx="5">
                  <c:v>St Moret</c:v>
                </c:pt>
                <c:pt idx="6">
                  <c:v>Tartare</c:v>
                </c:pt>
                <c:pt idx="7">
                  <c:v>Private Lab</c:v>
                </c:pt>
                <c:pt idx="8">
                  <c:v>Carre Frais</c:v>
                </c:pt>
                <c:pt idx="9">
                  <c:v>Private Lab</c:v>
                </c:pt>
                <c:pt idx="10">
                  <c:v>Boursin</c:v>
                </c:pt>
                <c:pt idx="11">
                  <c:v>Paysan Bret</c:v>
                </c:pt>
                <c:pt idx="12">
                  <c:v>Tartare</c:v>
                </c:pt>
                <c:pt idx="13">
                  <c:v>Tartare</c:v>
                </c:pt>
                <c:pt idx="14">
                  <c:v>St Moret</c:v>
                </c:pt>
                <c:pt idx="15">
                  <c:v>Private Lab</c:v>
                </c:pt>
                <c:pt idx="16">
                  <c:v>Kiri</c:v>
                </c:pt>
                <c:pt idx="17">
                  <c:v>Carre Frais</c:v>
                </c:pt>
                <c:pt idx="18">
                  <c:v>Paysan Bret</c:v>
                </c:pt>
                <c:pt idx="19">
                  <c:v>Paysan Bret</c:v>
                </c:pt>
                <c:pt idx="20">
                  <c:v>Kiri</c:v>
                </c:pt>
                <c:pt idx="21">
                  <c:v>Paysan Bret</c:v>
                </c:pt>
                <c:pt idx="22">
                  <c:v>Paysan Bret</c:v>
                </c:pt>
                <c:pt idx="23">
                  <c:v>St Moret</c:v>
                </c:pt>
                <c:pt idx="24">
                  <c:v>Private Lab</c:v>
                </c:pt>
                <c:pt idx="25">
                  <c:v>All Others</c:v>
                </c:pt>
                <c:pt idx="26">
                  <c:v>Carre Frais</c:v>
                </c:pt>
                <c:pt idx="27">
                  <c:v>Savencia: A</c:v>
                </c:pt>
                <c:pt idx="28">
                  <c:v>Paysan Bret</c:v>
                </c:pt>
                <c:pt idx="29">
                  <c:v>Boursin</c:v>
                </c:pt>
                <c:pt idx="30">
                  <c:v>Boursin</c:v>
                </c:pt>
                <c:pt idx="31">
                  <c:v>Private Lab</c:v>
                </c:pt>
                <c:pt idx="32">
                  <c:v>Boursin</c:v>
                </c:pt>
                <c:pt idx="33">
                  <c:v>All Others</c:v>
                </c:pt>
                <c:pt idx="34">
                  <c:v>All Others</c:v>
                </c:pt>
                <c:pt idx="35">
                  <c:v>Philadelphi</c:v>
                </c:pt>
                <c:pt idx="36">
                  <c:v>All Others</c:v>
                </c:pt>
                <c:pt idx="37">
                  <c:v>St Moret</c:v>
                </c:pt>
                <c:pt idx="38">
                  <c:v>Lactalis: A</c:v>
                </c:pt>
                <c:pt idx="39">
                  <c:v>All Others</c:v>
                </c:pt>
                <c:pt idx="40">
                  <c:v>Tartare</c:v>
                </c:pt>
                <c:pt idx="41">
                  <c:v>All Others</c:v>
                </c:pt>
                <c:pt idx="42">
                  <c:v>Boursin</c:v>
                </c:pt>
                <c:pt idx="43">
                  <c:v>All Others</c:v>
                </c:pt>
                <c:pt idx="44">
                  <c:v>Carre Frais</c:v>
                </c:pt>
                <c:pt idx="45">
                  <c:v>Triballat R</c:v>
                </c:pt>
              </c:strCache>
            </c:strRef>
          </c:cat>
          <c:val>
            <c:numRef>
              <c:f>Sheet1!$B$2:$B$47</c:f>
              <c:numCache>
                <c:formatCode>General</c:formatCode>
                <c:ptCount val="46"/>
                <c:pt idx="0">
                  <c:v>0.97</c:v>
                </c:pt>
                <c:pt idx="1">
                  <c:v>0.86</c:v>
                </c:pt>
                <c:pt idx="2">
                  <c:v>0.91</c:v>
                </c:pt>
                <c:pt idx="3">
                  <c:v>0.83</c:v>
                </c:pt>
                <c:pt idx="4">
                  <c:v>0.65</c:v>
                </c:pt>
                <c:pt idx="5">
                  <c:v>0.75</c:v>
                </c:pt>
                <c:pt idx="6">
                  <c:v>0.75</c:v>
                </c:pt>
                <c:pt idx="7">
                  <c:v>0.96</c:v>
                </c:pt>
                <c:pt idx="8">
                  <c:v>0.54</c:v>
                </c:pt>
                <c:pt idx="9">
                  <c:v>0.95</c:v>
                </c:pt>
                <c:pt idx="10">
                  <c:v>0.53</c:v>
                </c:pt>
                <c:pt idx="11">
                  <c:v>0.48</c:v>
                </c:pt>
                <c:pt idx="12">
                  <c:v>0.41</c:v>
                </c:pt>
                <c:pt idx="13">
                  <c:v>0.59</c:v>
                </c:pt>
                <c:pt idx="14">
                  <c:v>0.19</c:v>
                </c:pt>
                <c:pt idx="15">
                  <c:v>0.52</c:v>
                </c:pt>
                <c:pt idx="16">
                  <c:v>0.56</c:v>
                </c:pt>
                <c:pt idx="17">
                  <c:v>0.28</c:v>
                </c:pt>
                <c:pt idx="18">
                  <c:v>0.24</c:v>
                </c:pt>
                <c:pt idx="19">
                  <c:v>0.52</c:v>
                </c:pt>
                <c:pt idx="20">
                  <c:v>0.27</c:v>
                </c:pt>
                <c:pt idx="21">
                  <c:v>0.05</c:v>
                </c:pt>
                <c:pt idx="22">
                  <c:v>0.06</c:v>
                </c:pt>
                <c:pt idx="23">
                  <c:v>0.12</c:v>
                </c:pt>
                <c:pt idx="24">
                  <c:v>0.16</c:v>
                </c:pt>
                <c:pt idx="25">
                  <c:v>0.04</c:v>
                </c:pt>
                <c:pt idx="26">
                  <c:v>0.08</c:v>
                </c:pt>
                <c:pt idx="27">
                  <c:v>0.12</c:v>
                </c:pt>
                <c:pt idx="28">
                  <c:v>0.04</c:v>
                </c:pt>
                <c:pt idx="29">
                  <c:v>0.08</c:v>
                </c:pt>
                <c:pt idx="30">
                  <c:v>0.12</c:v>
                </c:pt>
                <c:pt idx="31">
                  <c:v>0.16</c:v>
                </c:pt>
                <c:pt idx="32">
                  <c:v>0.11</c:v>
                </c:pt>
                <c:pt idx="33">
                  <c:v>0.01</c:v>
                </c:pt>
                <c:pt idx="34">
                  <c:v>0.02</c:v>
                </c:pt>
                <c:pt idx="35">
                  <c:v>0.03</c:v>
                </c:pt>
                <c:pt idx="36">
                  <c:v>0.01</c:v>
                </c:pt>
                <c:pt idx="37">
                  <c:v>0.03</c:v>
                </c:pt>
                <c:pt idx="38">
                  <c:v>0.08</c:v>
                </c:pt>
                <c:pt idx="39">
                  <c:v>0.01</c:v>
                </c:pt>
                <c:pt idx="40">
                  <c:v>0.03</c:v>
                </c:pt>
                <c:pt idx="41">
                  <c:v>0.01</c:v>
                </c:pt>
                <c:pt idx="42">
                  <c:v>0.1</c:v>
                </c:pt>
                <c:pt idx="43">
                  <c:v>0.01</c:v>
                </c:pt>
                <c:pt idx="44">
                  <c:v>0.01</c:v>
                </c:pt>
                <c:pt idx="45">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Item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7ECAC4"/>
              </a:solidFill>
            </c:spPr>
            <c:extLst>
              <c:ext xmlns:c16="http://schemas.microsoft.com/office/drawing/2014/chart" uri="{C3380CC4-5D6E-409C-BE32-E72D297353CC}">
                <c16:uniqueId val="{00000053-2993-41DE-A2CB-63102DE87051}"/>
              </c:ext>
            </c:extLst>
          </c:dPt>
          <c:dPt>
            <c:idx val="14"/>
            <c:invertIfNegative val="1"/>
            <c:bubble3D val="0"/>
            <c:spPr>
              <a:solidFill>
                <a:srgbClr val="7ECAC4"/>
              </a:solidFill>
            </c:spPr>
            <c:extLst>
              <c:ext xmlns:c16="http://schemas.microsoft.com/office/drawing/2014/chart" uri="{C3380CC4-5D6E-409C-BE32-E72D297353CC}">
                <c16:uniqueId val="{00000055-2993-41DE-A2CB-63102DE87051}"/>
              </c:ext>
            </c:extLst>
          </c:dPt>
          <c:dPt>
            <c:idx val="15"/>
            <c:invertIfNegative val="1"/>
            <c:bubble3D val="0"/>
            <c:spPr>
              <a:solidFill>
                <a:srgbClr val="7ECAC4"/>
              </a:solidFill>
            </c:spPr>
            <c:extLst>
              <c:ext xmlns:c16="http://schemas.microsoft.com/office/drawing/2014/chart" uri="{C3380CC4-5D6E-409C-BE32-E72D297353CC}">
                <c16:uniqueId val="{00000057-2993-41DE-A2CB-63102DE87051}"/>
              </c:ext>
            </c:extLst>
          </c:dPt>
          <c:dPt>
            <c:idx val="16"/>
            <c:invertIfNegative val="1"/>
            <c:bubble3D val="0"/>
            <c:spPr>
              <a:solidFill>
                <a:srgbClr val="7ECAC4"/>
              </a:solidFill>
            </c:spPr>
            <c:extLst>
              <c:ext xmlns:c16="http://schemas.microsoft.com/office/drawing/2014/chart" uri="{C3380CC4-5D6E-409C-BE32-E72D297353CC}">
                <c16:uniqueId val="{00000059-2993-41DE-A2CB-63102DE87051}"/>
              </c:ext>
            </c:extLst>
          </c:dPt>
          <c:dPt>
            <c:idx val="17"/>
            <c:invertIfNegative val="1"/>
            <c:bubble3D val="0"/>
            <c:spPr>
              <a:solidFill>
                <a:srgbClr val="7ECAC4"/>
              </a:solidFill>
            </c:spPr>
            <c:extLst>
              <c:ext xmlns:c16="http://schemas.microsoft.com/office/drawing/2014/chart" uri="{C3380CC4-5D6E-409C-BE32-E72D297353CC}">
                <c16:uniqueId val="{0000005B-2993-41DE-A2CB-63102DE87051}"/>
              </c:ext>
            </c:extLst>
          </c:dPt>
          <c:dPt>
            <c:idx val="18"/>
            <c:invertIfNegative val="1"/>
            <c:bubble3D val="0"/>
            <c:spPr>
              <a:solidFill>
                <a:srgbClr val="7ECAC4"/>
              </a:solidFill>
            </c:spPr>
            <c:extLst>
              <c:ext xmlns:c16="http://schemas.microsoft.com/office/drawing/2014/chart" uri="{C3380CC4-5D6E-409C-BE32-E72D297353CC}">
                <c16:uniqueId val="{0000005D-2993-41DE-A2CB-63102DE87051}"/>
              </c:ext>
            </c:extLst>
          </c:dPt>
          <c:dPt>
            <c:idx val="19"/>
            <c:invertIfNegative val="1"/>
            <c:bubble3D val="0"/>
            <c:spPr>
              <a:solidFill>
                <a:srgbClr val="AEABAB"/>
              </a:solidFill>
            </c:spPr>
            <c:extLst>
              <c:ext xmlns:c16="http://schemas.microsoft.com/office/drawing/2014/chart" uri="{C3380CC4-5D6E-409C-BE32-E72D297353CC}">
                <c16:uniqueId val="{0000005F-2993-41DE-A2CB-63102DE87051}"/>
              </c:ext>
            </c:extLst>
          </c:dPt>
          <c:dPt>
            <c:idx val="20"/>
            <c:invertIfNegative val="1"/>
            <c:bubble3D val="0"/>
            <c:spPr>
              <a:solidFill>
                <a:srgbClr val="AEABAB"/>
              </a:solidFill>
            </c:spPr>
            <c:extLst>
              <c:ext xmlns:c16="http://schemas.microsoft.com/office/drawing/2014/chart" uri="{C3380CC4-5D6E-409C-BE32-E72D297353CC}">
                <c16:uniqueId val="{00000061-2993-41DE-A2CB-63102DE87051}"/>
              </c:ext>
            </c:extLst>
          </c:dPt>
          <c:dPt>
            <c:idx val="21"/>
            <c:invertIfNegative val="1"/>
            <c:bubble3D val="0"/>
            <c:spPr>
              <a:solidFill>
                <a:srgbClr val="AEABAB"/>
              </a:solidFill>
            </c:spPr>
            <c:extLst>
              <c:ext xmlns:c16="http://schemas.microsoft.com/office/drawing/2014/chart" uri="{C3380CC4-5D6E-409C-BE32-E72D297353CC}">
                <c16:uniqueId val="{00000063-2993-41DE-A2CB-63102DE87051}"/>
              </c:ext>
            </c:extLst>
          </c:dPt>
          <c:dPt>
            <c:idx val="22"/>
            <c:invertIfNegative val="1"/>
            <c:bubble3D val="0"/>
            <c:spPr>
              <a:solidFill>
                <a:srgbClr val="AEABAB"/>
              </a:solidFill>
            </c:spPr>
            <c:extLst>
              <c:ext xmlns:c16="http://schemas.microsoft.com/office/drawing/2014/chart" uri="{C3380CC4-5D6E-409C-BE32-E72D297353CC}">
                <c16:uniqueId val="{00000065-2993-41DE-A2CB-63102DE87051}"/>
              </c:ext>
            </c:extLst>
          </c:dPt>
          <c:dPt>
            <c:idx val="23"/>
            <c:invertIfNegative val="1"/>
            <c:bubble3D val="0"/>
            <c:spPr>
              <a:solidFill>
                <a:srgbClr val="AEABAB"/>
              </a:solidFill>
            </c:spPr>
            <c:extLst>
              <c:ext xmlns:c16="http://schemas.microsoft.com/office/drawing/2014/chart" uri="{C3380CC4-5D6E-409C-BE32-E72D297353CC}">
                <c16:uniqueId val="{00000067-2993-41DE-A2CB-63102DE87051}"/>
              </c:ext>
            </c:extLst>
          </c:dPt>
          <c:dPt>
            <c:idx val="24"/>
            <c:invertIfNegative val="1"/>
            <c:bubble3D val="0"/>
            <c:spPr>
              <a:solidFill>
                <a:srgbClr val="AEABAB"/>
              </a:solidFill>
            </c:spPr>
            <c:extLst>
              <c:ext xmlns:c16="http://schemas.microsoft.com/office/drawing/2014/chart" uri="{C3380CC4-5D6E-409C-BE32-E72D297353CC}">
                <c16:uniqueId val="{00000069-2993-41DE-A2CB-63102DE87051}"/>
              </c:ext>
            </c:extLst>
          </c:dPt>
          <c:dPt>
            <c:idx val="25"/>
            <c:invertIfNegative val="1"/>
            <c:bubble3D val="0"/>
            <c:spPr>
              <a:solidFill>
                <a:srgbClr val="AEABAB"/>
              </a:solidFill>
            </c:spPr>
            <c:extLst>
              <c:ext xmlns:c16="http://schemas.microsoft.com/office/drawing/2014/chart" uri="{C3380CC4-5D6E-409C-BE32-E72D297353CC}">
                <c16:uniqueId val="{0000006B-2993-41DE-A2CB-63102DE87051}"/>
              </c:ext>
            </c:extLst>
          </c:dPt>
          <c:dPt>
            <c:idx val="26"/>
            <c:invertIfNegative val="1"/>
            <c:bubble3D val="0"/>
            <c:spPr>
              <a:solidFill>
                <a:srgbClr val="AEABAB"/>
              </a:solidFill>
            </c:spPr>
            <c:extLst>
              <c:ext xmlns:c16="http://schemas.microsoft.com/office/drawing/2014/chart" uri="{C3380CC4-5D6E-409C-BE32-E72D297353CC}">
                <c16:uniqueId val="{0000006D-2993-41DE-A2CB-63102DE87051}"/>
              </c:ext>
            </c:extLst>
          </c:dPt>
          <c:dPt>
            <c:idx val="27"/>
            <c:invertIfNegative val="1"/>
            <c:bubble3D val="0"/>
            <c:spPr>
              <a:solidFill>
                <a:srgbClr val="AEABAB"/>
              </a:solidFill>
            </c:spPr>
            <c:extLst>
              <c:ext xmlns:c16="http://schemas.microsoft.com/office/drawing/2014/chart" uri="{C3380CC4-5D6E-409C-BE32-E72D297353CC}">
                <c16:uniqueId val="{0000006F-2993-41DE-A2CB-63102DE87051}"/>
              </c:ext>
            </c:extLst>
          </c:dPt>
          <c:dPt>
            <c:idx val="28"/>
            <c:invertIfNegative val="1"/>
            <c:bubble3D val="0"/>
            <c:spPr>
              <a:solidFill>
                <a:srgbClr val="AEABAB"/>
              </a:solidFill>
            </c:spPr>
            <c:extLst>
              <c:ext xmlns:c16="http://schemas.microsoft.com/office/drawing/2014/chart" uri="{C3380CC4-5D6E-409C-BE32-E72D297353CC}">
                <c16:uniqueId val="{00000071-2993-41DE-A2CB-63102DE87051}"/>
              </c:ext>
            </c:extLst>
          </c:dPt>
          <c:dPt>
            <c:idx val="29"/>
            <c:invertIfNegative val="1"/>
            <c:bubble3D val="0"/>
            <c:spPr>
              <a:solidFill>
                <a:srgbClr val="AEABAB"/>
              </a:solidFill>
            </c:spPr>
            <c:extLst>
              <c:ext xmlns:c16="http://schemas.microsoft.com/office/drawing/2014/chart" uri="{C3380CC4-5D6E-409C-BE32-E72D297353CC}">
                <c16:uniqueId val="{00000073-2993-41DE-A2CB-63102DE87051}"/>
              </c:ext>
            </c:extLst>
          </c:dPt>
          <c:dPt>
            <c:idx val="30"/>
            <c:invertIfNegative val="1"/>
            <c:bubble3D val="0"/>
            <c:spPr>
              <a:solidFill>
                <a:srgbClr val="AEABAB"/>
              </a:solidFill>
            </c:spPr>
            <c:extLst>
              <c:ext xmlns:c16="http://schemas.microsoft.com/office/drawing/2014/chart" uri="{C3380CC4-5D6E-409C-BE32-E72D297353CC}">
                <c16:uniqueId val="{00000075-2993-41DE-A2CB-63102DE87051}"/>
              </c:ext>
            </c:extLst>
          </c:dPt>
          <c:dPt>
            <c:idx val="31"/>
            <c:invertIfNegative val="1"/>
            <c:bubble3D val="0"/>
            <c:spPr>
              <a:solidFill>
                <a:srgbClr val="AEABAB"/>
              </a:solidFill>
            </c:spPr>
            <c:extLst>
              <c:ext xmlns:c16="http://schemas.microsoft.com/office/drawing/2014/chart" uri="{C3380CC4-5D6E-409C-BE32-E72D297353CC}">
                <c16:uniqueId val="{00000077-2993-41DE-A2CB-63102DE87051}"/>
              </c:ext>
            </c:extLst>
          </c:dPt>
          <c:dPt>
            <c:idx val="32"/>
            <c:invertIfNegative val="1"/>
            <c:bubble3D val="0"/>
            <c:spPr>
              <a:solidFill>
                <a:srgbClr val="AEABAB"/>
              </a:solidFill>
            </c:spPr>
            <c:extLst>
              <c:ext xmlns:c16="http://schemas.microsoft.com/office/drawing/2014/chart" uri="{C3380CC4-5D6E-409C-BE32-E72D297353CC}">
                <c16:uniqueId val="{00000079-2993-41DE-A2CB-63102DE87051}"/>
              </c:ext>
            </c:extLst>
          </c:dPt>
          <c:dPt>
            <c:idx val="33"/>
            <c:invertIfNegative val="1"/>
            <c:bubble3D val="0"/>
            <c:spPr>
              <a:solidFill>
                <a:srgbClr val="AEABAB"/>
              </a:solidFill>
            </c:spPr>
            <c:extLst>
              <c:ext xmlns:c16="http://schemas.microsoft.com/office/drawing/2014/chart" uri="{C3380CC4-5D6E-409C-BE32-E72D297353CC}">
                <c16:uniqueId val="{0000007B-2993-41DE-A2CB-63102DE87051}"/>
              </c:ext>
            </c:extLst>
          </c:dPt>
          <c:dPt>
            <c:idx val="34"/>
            <c:invertIfNegative val="1"/>
            <c:bubble3D val="0"/>
            <c:spPr>
              <a:solidFill>
                <a:srgbClr val="AEABAB"/>
              </a:solidFill>
            </c:spPr>
            <c:extLst>
              <c:ext xmlns:c16="http://schemas.microsoft.com/office/drawing/2014/chart" uri="{C3380CC4-5D6E-409C-BE32-E72D297353CC}">
                <c16:uniqueId val="{0000007D-2993-41DE-A2CB-63102DE87051}"/>
              </c:ext>
            </c:extLst>
          </c:dPt>
          <c:dPt>
            <c:idx val="35"/>
            <c:invertIfNegative val="1"/>
            <c:bubble3D val="0"/>
            <c:spPr>
              <a:solidFill>
                <a:srgbClr val="AEABAB"/>
              </a:solidFill>
            </c:spPr>
            <c:extLst>
              <c:ext xmlns:c16="http://schemas.microsoft.com/office/drawing/2014/chart" uri="{C3380CC4-5D6E-409C-BE32-E72D297353CC}">
                <c16:uniqueId val="{0000007F-2993-41DE-A2CB-63102DE87051}"/>
              </c:ext>
            </c:extLst>
          </c:dPt>
          <c:dPt>
            <c:idx val="36"/>
            <c:invertIfNegative val="1"/>
            <c:bubble3D val="0"/>
            <c:spPr>
              <a:solidFill>
                <a:srgbClr val="AEABAB"/>
              </a:solidFill>
            </c:spPr>
            <c:extLst>
              <c:ext xmlns:c16="http://schemas.microsoft.com/office/drawing/2014/chart" uri="{C3380CC4-5D6E-409C-BE32-E72D297353CC}">
                <c16:uniqueId val="{00000081-2993-41DE-A2CB-63102DE87051}"/>
              </c:ext>
            </c:extLst>
          </c:dPt>
          <c:dPt>
            <c:idx val="37"/>
            <c:invertIfNegative val="1"/>
            <c:bubble3D val="0"/>
            <c:spPr>
              <a:solidFill>
                <a:srgbClr val="AEABAB"/>
              </a:solidFill>
            </c:spPr>
            <c:extLst>
              <c:ext xmlns:c16="http://schemas.microsoft.com/office/drawing/2014/chart" uri="{C3380CC4-5D6E-409C-BE32-E72D297353CC}">
                <c16:uniqueId val="{00000083-2993-41DE-A2CB-63102DE87051}"/>
              </c:ext>
            </c:extLst>
          </c:dPt>
          <c:dPt>
            <c:idx val="38"/>
            <c:invertIfNegative val="1"/>
            <c:bubble3D val="0"/>
            <c:spPr>
              <a:solidFill>
                <a:srgbClr val="AEABAB"/>
              </a:solidFill>
            </c:spPr>
            <c:extLst>
              <c:ext xmlns:c16="http://schemas.microsoft.com/office/drawing/2014/chart" uri="{C3380CC4-5D6E-409C-BE32-E72D297353CC}">
                <c16:uniqueId val="{00000085-2993-41DE-A2CB-63102DE87051}"/>
              </c:ext>
            </c:extLst>
          </c:dPt>
          <c:dPt>
            <c:idx val="39"/>
            <c:invertIfNegative val="1"/>
            <c:bubble3D val="0"/>
            <c:spPr>
              <a:solidFill>
                <a:srgbClr val="AEABAB"/>
              </a:solidFill>
            </c:spPr>
            <c:extLst>
              <c:ext xmlns:c16="http://schemas.microsoft.com/office/drawing/2014/chart" uri="{C3380CC4-5D6E-409C-BE32-E72D297353CC}">
                <c16:uniqueId val="{00000087-2993-41DE-A2CB-63102DE87051}"/>
              </c:ext>
            </c:extLst>
          </c:dPt>
          <c:dPt>
            <c:idx val="40"/>
            <c:invertIfNegative val="1"/>
            <c:bubble3D val="0"/>
            <c:spPr>
              <a:solidFill>
                <a:srgbClr val="AEABAB"/>
              </a:solidFill>
            </c:spPr>
            <c:extLst>
              <c:ext xmlns:c16="http://schemas.microsoft.com/office/drawing/2014/chart" uri="{C3380CC4-5D6E-409C-BE32-E72D297353CC}">
                <c16:uniqueId val="{00000089-2993-41DE-A2CB-63102DE87051}"/>
              </c:ext>
            </c:extLst>
          </c:dPt>
          <c:dPt>
            <c:idx val="41"/>
            <c:invertIfNegative val="1"/>
            <c:bubble3D val="0"/>
            <c:spPr>
              <a:solidFill>
                <a:srgbClr val="AEABAB"/>
              </a:solidFill>
            </c:spPr>
            <c:extLst>
              <c:ext xmlns:c16="http://schemas.microsoft.com/office/drawing/2014/chart" uri="{C3380CC4-5D6E-409C-BE32-E72D297353CC}">
                <c16:uniqueId val="{0000008B-2993-41DE-A2CB-63102DE87051}"/>
              </c:ext>
            </c:extLst>
          </c:dPt>
          <c:dPt>
            <c:idx val="42"/>
            <c:invertIfNegative val="1"/>
            <c:bubble3D val="0"/>
            <c:spPr>
              <a:solidFill>
                <a:srgbClr val="AEABAB"/>
              </a:solidFill>
            </c:spPr>
            <c:extLst>
              <c:ext xmlns:c16="http://schemas.microsoft.com/office/drawing/2014/chart" uri="{C3380CC4-5D6E-409C-BE32-E72D297353CC}">
                <c16:uniqueId val="{0000008D-2993-41DE-A2CB-63102DE87051}"/>
              </c:ext>
            </c:extLst>
          </c:dPt>
          <c:dPt>
            <c:idx val="43"/>
            <c:invertIfNegative val="1"/>
            <c:bubble3D val="0"/>
            <c:spPr>
              <a:solidFill>
                <a:srgbClr val="AEABAB"/>
              </a:solidFill>
            </c:spPr>
            <c:extLst>
              <c:ext xmlns:c16="http://schemas.microsoft.com/office/drawing/2014/chart" uri="{C3380CC4-5D6E-409C-BE32-E72D297353CC}">
                <c16:uniqueId val="{0000008F-2993-41DE-A2CB-63102DE87051}"/>
              </c:ext>
            </c:extLst>
          </c:dPt>
          <c:dPt>
            <c:idx val="44"/>
            <c:invertIfNegative val="1"/>
            <c:bubble3D val="0"/>
            <c:spPr>
              <a:solidFill>
                <a:srgbClr val="AEABAB"/>
              </a:solidFill>
            </c:spPr>
            <c:extLst>
              <c:ext xmlns:c16="http://schemas.microsoft.com/office/drawing/2014/chart" uri="{C3380CC4-5D6E-409C-BE32-E72D297353CC}">
                <c16:uniqueId val="{00000091-2993-41DE-A2CB-63102DE87051}"/>
              </c:ext>
            </c:extLst>
          </c:dPt>
          <c:dPt>
            <c:idx val="45"/>
            <c:invertIfNegative val="1"/>
            <c:bubble3D val="0"/>
            <c:spPr>
              <a:solidFill>
                <a:srgbClr val="AEABAB"/>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47</c:f>
              <c:strCache>
                <c:ptCount val="46"/>
                <c:pt idx="0">
                  <c:v>St Moret</c:v>
                </c:pt>
                <c:pt idx="1">
                  <c:v>Paysan Bret</c:v>
                </c:pt>
                <c:pt idx="2">
                  <c:v>Philadelphi</c:v>
                </c:pt>
                <c:pt idx="3">
                  <c:v>Boursin</c:v>
                </c:pt>
                <c:pt idx="4">
                  <c:v>St Moret</c:v>
                </c:pt>
                <c:pt idx="5">
                  <c:v>St Moret</c:v>
                </c:pt>
                <c:pt idx="6">
                  <c:v>Tartare</c:v>
                </c:pt>
                <c:pt idx="7">
                  <c:v>Private Lab</c:v>
                </c:pt>
                <c:pt idx="8">
                  <c:v>Carre Frais</c:v>
                </c:pt>
                <c:pt idx="9">
                  <c:v>Private Lab</c:v>
                </c:pt>
                <c:pt idx="10">
                  <c:v>Boursin</c:v>
                </c:pt>
                <c:pt idx="11">
                  <c:v>Paysan Bret</c:v>
                </c:pt>
                <c:pt idx="12">
                  <c:v>Tartare</c:v>
                </c:pt>
                <c:pt idx="13">
                  <c:v>Tartare</c:v>
                </c:pt>
                <c:pt idx="14">
                  <c:v>St Moret</c:v>
                </c:pt>
                <c:pt idx="15">
                  <c:v>Private Lab</c:v>
                </c:pt>
                <c:pt idx="16">
                  <c:v>Kiri</c:v>
                </c:pt>
                <c:pt idx="17">
                  <c:v>Carre Frais</c:v>
                </c:pt>
                <c:pt idx="18">
                  <c:v>Paysan Bret</c:v>
                </c:pt>
                <c:pt idx="19">
                  <c:v>Paysan Bret</c:v>
                </c:pt>
                <c:pt idx="20">
                  <c:v>Kiri</c:v>
                </c:pt>
                <c:pt idx="21">
                  <c:v>Paysan Bret</c:v>
                </c:pt>
                <c:pt idx="22">
                  <c:v>Paysan Bret</c:v>
                </c:pt>
                <c:pt idx="23">
                  <c:v>St Moret</c:v>
                </c:pt>
                <c:pt idx="24">
                  <c:v>Private Lab</c:v>
                </c:pt>
                <c:pt idx="25">
                  <c:v>All Others</c:v>
                </c:pt>
                <c:pt idx="26">
                  <c:v>Carre Frais</c:v>
                </c:pt>
                <c:pt idx="27">
                  <c:v>Savencia: A</c:v>
                </c:pt>
                <c:pt idx="28">
                  <c:v>Paysan Bret</c:v>
                </c:pt>
                <c:pt idx="29">
                  <c:v>Boursin</c:v>
                </c:pt>
                <c:pt idx="30">
                  <c:v>Boursin</c:v>
                </c:pt>
                <c:pt idx="31">
                  <c:v>Private Lab</c:v>
                </c:pt>
                <c:pt idx="32">
                  <c:v>Boursin</c:v>
                </c:pt>
                <c:pt idx="33">
                  <c:v>All Others</c:v>
                </c:pt>
                <c:pt idx="34">
                  <c:v>All Others</c:v>
                </c:pt>
                <c:pt idx="35">
                  <c:v>Philadelphi</c:v>
                </c:pt>
                <c:pt idx="36">
                  <c:v>All Others</c:v>
                </c:pt>
                <c:pt idx="37">
                  <c:v>St Moret</c:v>
                </c:pt>
                <c:pt idx="38">
                  <c:v>Lactalis: A</c:v>
                </c:pt>
                <c:pt idx="39">
                  <c:v>All Others</c:v>
                </c:pt>
                <c:pt idx="40">
                  <c:v>Tartare</c:v>
                </c:pt>
                <c:pt idx="41">
                  <c:v>All Others</c:v>
                </c:pt>
                <c:pt idx="42">
                  <c:v>Boursin</c:v>
                </c:pt>
                <c:pt idx="43">
                  <c:v>All Others</c:v>
                </c:pt>
                <c:pt idx="44">
                  <c:v>Carre Frais</c:v>
                </c:pt>
                <c:pt idx="45">
                  <c:v>Triballat R</c:v>
                </c:pt>
              </c:strCache>
            </c:strRef>
          </c:cat>
          <c:val>
            <c:numRef>
              <c:f>Sheet1!$C$2:$C$47</c:f>
              <c:numCache>
                <c:formatCode>General</c:formatCode>
                <c:ptCount val="46"/>
                <c:pt idx="0">
                  <c:v>0.13770167368092495</c:v>
                </c:pt>
                <c:pt idx="1">
                  <c:v>0.23562155439316032</c:v>
                </c:pt>
                <c:pt idx="2">
                  <c:v>0.4171706709186057</c:v>
                </c:pt>
                <c:pt idx="3">
                  <c:v>0.4769952196437702</c:v>
                </c:pt>
                <c:pt idx="4">
                  <c:v>0.5313782499715772</c:v>
                </c:pt>
                <c:pt idx="5">
                  <c:v>0.5843946825196049</c:v>
                </c:pt>
                <c:pt idx="6">
                  <c:v>0.6322620998781779</c:v>
                </c:pt>
                <c:pt idx="7">
                  <c:v>0.6690791096361537</c:v>
                </c:pt>
                <c:pt idx="8">
                  <c:v>0.7015527090509301</c:v>
                </c:pt>
                <c:pt idx="9">
                  <c:v>0.7332523598107827</c:v>
                </c:pt>
                <c:pt idx="10">
                  <c:v>0.764869659250043</c:v>
                </c:pt>
                <c:pt idx="11">
                  <c:v>0.793208688738147</c:v>
                </c:pt>
                <c:pt idx="12">
                  <c:v>0.8200577065234093</c:v>
                </c:pt>
                <c:pt idx="13">
                  <c:v>0.8680115905074477</c:v>
                </c:pt>
                <c:pt idx="14">
                  <c:v>0.8874798316143869</c:v>
                </c:pt>
                <c:pt idx="15">
                  <c:v>0.9049450498263928</c:v>
                </c:pt>
                <c:pt idx="16">
                  <c:v>0.9209927942368364</c:v>
                </c:pt>
                <c:pt idx="17">
                  <c:v>0.9368912118704565</c:v>
                </c:pt>
                <c:pt idx="18">
                  <c:v>0.9456223060015886</c:v>
                </c:pt>
                <c:pt idx="19">
                  <c:v>0.9533909614699831</c:v>
                </c:pt>
                <c:pt idx="20">
                  <c:v>0.9585244199025549</c:v>
                </c:pt>
                <c:pt idx="21">
                  <c:v>0.9629657835463598</c:v>
                </c:pt>
                <c:pt idx="22">
                  <c:v>0.9670698730830931</c:v>
                </c:pt>
                <c:pt idx="23">
                  <c:v>0.974045314842982</c:v>
                </c:pt>
                <c:pt idx="24">
                  <c:v>0.9768403304218982</c:v>
                </c:pt>
                <c:pt idx="25">
                  <c:v>0.9796225478548904</c:v>
                </c:pt>
                <c:pt idx="26">
                  <c:v>0.9821656705970692</c:v>
                </c:pt>
                <c:pt idx="27">
                  <c:v>0.9844218977995238</c:v>
                </c:pt>
                <c:pt idx="28">
                  <c:v>0.9866035520598276</c:v>
                </c:pt>
                <c:pt idx="29">
                  <c:v>0.9887735839755998</c:v>
                </c:pt>
                <c:pt idx="30">
                  <c:v>0.990746126480594</c:v>
                </c:pt>
                <c:pt idx="31">
                  <c:v>0.9924584098697131</c:v>
                </c:pt>
                <c:pt idx="32">
                  <c:v>0.993410944666877</c:v>
                </c:pt>
                <c:pt idx="33">
                  <c:v>0.994270184145874</c:v>
                </c:pt>
                <c:pt idx="34">
                  <c:v>0.9951049579112847</c:v>
                </c:pt>
                <c:pt idx="35">
                  <c:v>0.9964244784122412</c:v>
                </c:pt>
                <c:pt idx="36">
                  <c:v>0.9968810963606324</c:v>
                </c:pt>
                <c:pt idx="37">
                  <c:v>0.9973090880674338</c:v>
                </c:pt>
                <c:pt idx="38">
                  <c:v>0.9976827667945365</c:v>
                </c:pt>
                <c:pt idx="39">
                  <c:v>0.9980102274822953</c:v>
                </c:pt>
                <c:pt idx="40">
                  <c:v>0.998292600708972</c:v>
                </c:pt>
                <c:pt idx="41">
                  <c:v>0.9984993156383665</c:v>
                </c:pt>
                <c:pt idx="42">
                  <c:v>0.9987058948983696</c:v>
                </c:pt>
                <c:pt idx="43">
                  <c:v>0.9988644924169402</c:v>
                </c:pt>
                <c:pt idx="44">
                  <c:v>0.9995415279032595</c:v>
                </c:pt>
                <c:pt idx="45">
                  <c:v>0.9997152751705387</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83</c:f>
              <c:strCache>
                <c:ptCount val="82"/>
                <c:pt idx="0">
                  <c:v>St Moret</c:v>
                </c:pt>
                <c:pt idx="1">
                  <c:v>St Moret</c:v>
                </c:pt>
                <c:pt idx="2">
                  <c:v>Private Lab</c:v>
                </c:pt>
                <c:pt idx="3">
                  <c:v>St Moret</c:v>
                </c:pt>
                <c:pt idx="4">
                  <c:v>Tartare</c:v>
                </c:pt>
                <c:pt idx="5">
                  <c:v>St Moret</c:v>
                </c:pt>
                <c:pt idx="6">
                  <c:v>Paysan Bret</c:v>
                </c:pt>
                <c:pt idx="7">
                  <c:v>Paysan Bret</c:v>
                </c:pt>
                <c:pt idx="8">
                  <c:v>Private Lab</c:v>
                </c:pt>
                <c:pt idx="9">
                  <c:v>Tartare</c:v>
                </c:pt>
                <c:pt idx="10">
                  <c:v>Boursin</c:v>
                </c:pt>
                <c:pt idx="11">
                  <c:v>Boursin</c:v>
                </c:pt>
                <c:pt idx="12">
                  <c:v>Private Lab</c:v>
                </c:pt>
                <c:pt idx="13">
                  <c:v>St Moret</c:v>
                </c:pt>
                <c:pt idx="14">
                  <c:v>Carre Frais</c:v>
                </c:pt>
                <c:pt idx="15">
                  <c:v>Boursin</c:v>
                </c:pt>
                <c:pt idx="16">
                  <c:v>Carre Frais</c:v>
                </c:pt>
                <c:pt idx="17">
                  <c:v>Philadelphi</c:v>
                </c:pt>
                <c:pt idx="18">
                  <c:v>St Moret</c:v>
                </c:pt>
                <c:pt idx="19">
                  <c:v>Private Lab</c:v>
                </c:pt>
                <c:pt idx="20">
                  <c:v>Philadelphi</c:v>
                </c:pt>
                <c:pt idx="21">
                  <c:v>St Moret</c:v>
                </c:pt>
                <c:pt idx="22">
                  <c:v>Tartare</c:v>
                </c:pt>
                <c:pt idx="23">
                  <c:v>Paysan Bret</c:v>
                </c:pt>
                <c:pt idx="24">
                  <c:v>Boursin</c:v>
                </c:pt>
                <c:pt idx="25">
                  <c:v>Boursin</c:v>
                </c:pt>
                <c:pt idx="26">
                  <c:v>Boursin</c:v>
                </c:pt>
                <c:pt idx="27">
                  <c:v>Paysan Bret</c:v>
                </c:pt>
                <c:pt idx="28">
                  <c:v>Paysan Bret</c:v>
                </c:pt>
                <c:pt idx="29">
                  <c:v>Private Lab</c:v>
                </c:pt>
                <c:pt idx="30">
                  <c:v>Carre Frais</c:v>
                </c:pt>
                <c:pt idx="31">
                  <c:v>Paysan Bret</c:v>
                </c:pt>
                <c:pt idx="32">
                  <c:v>Tartare</c:v>
                </c:pt>
                <c:pt idx="33">
                  <c:v>Boursin</c:v>
                </c:pt>
                <c:pt idx="34">
                  <c:v>Boursin</c:v>
                </c:pt>
                <c:pt idx="35">
                  <c:v>Paysan Bret</c:v>
                </c:pt>
                <c:pt idx="36">
                  <c:v>Boursin</c:v>
                </c:pt>
                <c:pt idx="37">
                  <c:v>Tartare</c:v>
                </c:pt>
                <c:pt idx="38">
                  <c:v>Savencia: A</c:v>
                </c:pt>
                <c:pt idx="39">
                  <c:v>Saint Agur</c:v>
                </c:pt>
                <c:pt idx="40">
                  <c:v>Kiri</c:v>
                </c:pt>
                <c:pt idx="41">
                  <c:v>Boursin</c:v>
                </c:pt>
                <c:pt idx="42">
                  <c:v>Tartare</c:v>
                </c:pt>
                <c:pt idx="43">
                  <c:v>St Moret</c:v>
                </c:pt>
                <c:pt idx="44">
                  <c:v>Paysan Bret</c:v>
                </c:pt>
                <c:pt idx="45">
                  <c:v>Tartare</c:v>
                </c:pt>
                <c:pt idx="46">
                  <c:v>St Moret</c:v>
                </c:pt>
                <c:pt idx="47">
                  <c:v>Paysan Bret</c:v>
                </c:pt>
                <c:pt idx="48">
                  <c:v>Private Lab</c:v>
                </c:pt>
                <c:pt idx="49">
                  <c:v>Kiri</c:v>
                </c:pt>
                <c:pt idx="50">
                  <c:v>Paysan Bret</c:v>
                </c:pt>
                <c:pt idx="51">
                  <c:v>Saint Agur</c:v>
                </c:pt>
                <c:pt idx="52">
                  <c:v>Carre Frais</c:v>
                </c:pt>
                <c:pt idx="53">
                  <c:v>All Others</c:v>
                </c:pt>
                <c:pt idx="54">
                  <c:v>Lactalis: A</c:v>
                </c:pt>
                <c:pt idx="55">
                  <c:v>Tartare</c:v>
                </c:pt>
                <c:pt idx="56">
                  <c:v>Boursin</c:v>
                </c:pt>
                <c:pt idx="57">
                  <c:v>Boursin</c:v>
                </c:pt>
                <c:pt idx="58">
                  <c:v>President</c:v>
                </c:pt>
                <c:pt idx="59">
                  <c:v>All Others</c:v>
                </c:pt>
                <c:pt idx="60">
                  <c:v>All Others</c:v>
                </c:pt>
                <c:pt idx="61">
                  <c:v>All Others</c:v>
                </c:pt>
                <c:pt idx="62">
                  <c:v>Kiri</c:v>
                </c:pt>
                <c:pt idx="63">
                  <c:v>All Others</c:v>
                </c:pt>
                <c:pt idx="64">
                  <c:v>Savencia: A</c:v>
                </c:pt>
                <c:pt idx="65">
                  <c:v>Savencia: A</c:v>
                </c:pt>
                <c:pt idx="66">
                  <c:v>All Others</c:v>
                </c:pt>
                <c:pt idx="67">
                  <c:v>All Others</c:v>
                </c:pt>
                <c:pt idx="68">
                  <c:v>All Others</c:v>
                </c:pt>
                <c:pt idx="69">
                  <c:v>All Others</c:v>
                </c:pt>
                <c:pt idx="70">
                  <c:v>Paysan Bret</c:v>
                </c:pt>
                <c:pt idx="71">
                  <c:v>All Others</c:v>
                </c:pt>
                <c:pt idx="72">
                  <c:v>All Others</c:v>
                </c:pt>
                <c:pt idx="73">
                  <c:v>All Others</c:v>
                </c:pt>
                <c:pt idx="74">
                  <c:v>All Others</c:v>
                </c:pt>
                <c:pt idx="75">
                  <c:v>All Others</c:v>
                </c:pt>
                <c:pt idx="76">
                  <c:v>All Others</c:v>
                </c:pt>
                <c:pt idx="77">
                  <c:v>All Others</c:v>
                </c:pt>
                <c:pt idx="78">
                  <c:v>All Others</c:v>
                </c:pt>
                <c:pt idx="79">
                  <c:v>All Others</c:v>
                </c:pt>
                <c:pt idx="80">
                  <c:v>All Others</c:v>
                </c:pt>
                <c:pt idx="81">
                  <c:v>All Others</c:v>
                </c:pt>
              </c:strCache>
            </c:strRef>
          </c:cat>
          <c:val>
            <c:numRef>
              <c:f>Sheet1!$B$2:$B$83</c:f>
              <c:numCache>
                <c:formatCode>General</c:formatCode>
                <c:ptCount val="82"/>
                <c:pt idx="0">
                  <c:v>0.98</c:v>
                </c:pt>
                <c:pt idx="1">
                  <c:v>0.99</c:v>
                </c:pt>
                <c:pt idx="2">
                  <c:v>1.0</c:v>
                </c:pt>
                <c:pt idx="3">
                  <c:v>1.0</c:v>
                </c:pt>
                <c:pt idx="4">
                  <c:v>1.0</c:v>
                </c:pt>
                <c:pt idx="5">
                  <c:v>1.0</c:v>
                </c:pt>
                <c:pt idx="6">
                  <c:v>0.98</c:v>
                </c:pt>
                <c:pt idx="7">
                  <c:v>1.0</c:v>
                </c:pt>
                <c:pt idx="8">
                  <c:v>1.0</c:v>
                </c:pt>
                <c:pt idx="9">
                  <c:v>0.99</c:v>
                </c:pt>
                <c:pt idx="10">
                  <c:v>0.99</c:v>
                </c:pt>
                <c:pt idx="11">
                  <c:v>0.99</c:v>
                </c:pt>
                <c:pt idx="12">
                  <c:v>1.0</c:v>
                </c:pt>
                <c:pt idx="13">
                  <c:v>0.88</c:v>
                </c:pt>
                <c:pt idx="14">
                  <c:v>0.99</c:v>
                </c:pt>
                <c:pt idx="15">
                  <c:v>1.0</c:v>
                </c:pt>
                <c:pt idx="16">
                  <c:v>0.97</c:v>
                </c:pt>
                <c:pt idx="17">
                  <c:v>0.92</c:v>
                </c:pt>
                <c:pt idx="18">
                  <c:v>0.97</c:v>
                </c:pt>
                <c:pt idx="19">
                  <c:v>0.99</c:v>
                </c:pt>
                <c:pt idx="20">
                  <c:v>0.98</c:v>
                </c:pt>
                <c:pt idx="21">
                  <c:v>0.9</c:v>
                </c:pt>
                <c:pt idx="22">
                  <c:v>0.96</c:v>
                </c:pt>
                <c:pt idx="23">
                  <c:v>0.71</c:v>
                </c:pt>
                <c:pt idx="24">
                  <c:v>0.97</c:v>
                </c:pt>
                <c:pt idx="25">
                  <c:v>0.96</c:v>
                </c:pt>
                <c:pt idx="26">
                  <c:v>0.99</c:v>
                </c:pt>
                <c:pt idx="27">
                  <c:v>0.67</c:v>
                </c:pt>
                <c:pt idx="28">
                  <c:v>0.53</c:v>
                </c:pt>
                <c:pt idx="29">
                  <c:v>0.79</c:v>
                </c:pt>
                <c:pt idx="30">
                  <c:v>0.79</c:v>
                </c:pt>
                <c:pt idx="31">
                  <c:v>0.42</c:v>
                </c:pt>
                <c:pt idx="32">
                  <c:v>0.96</c:v>
                </c:pt>
                <c:pt idx="33">
                  <c:v>0.99</c:v>
                </c:pt>
                <c:pt idx="34">
                  <c:v>0.87</c:v>
                </c:pt>
                <c:pt idx="35">
                  <c:v>0.57</c:v>
                </c:pt>
                <c:pt idx="36">
                  <c:v>0.96</c:v>
                </c:pt>
                <c:pt idx="37">
                  <c:v>0.92</c:v>
                </c:pt>
                <c:pt idx="38">
                  <c:v>0.87</c:v>
                </c:pt>
                <c:pt idx="39">
                  <c:v>0.87</c:v>
                </c:pt>
                <c:pt idx="40">
                  <c:v>0.87</c:v>
                </c:pt>
                <c:pt idx="41">
                  <c:v>0.83</c:v>
                </c:pt>
                <c:pt idx="42">
                  <c:v>0.83</c:v>
                </c:pt>
                <c:pt idx="43">
                  <c:v>0.66</c:v>
                </c:pt>
                <c:pt idx="44">
                  <c:v>0.55</c:v>
                </c:pt>
                <c:pt idx="45">
                  <c:v>0.9</c:v>
                </c:pt>
                <c:pt idx="46">
                  <c:v>0.2</c:v>
                </c:pt>
                <c:pt idx="47">
                  <c:v>0.5</c:v>
                </c:pt>
                <c:pt idx="48">
                  <c:v>0.94</c:v>
                </c:pt>
                <c:pt idx="49">
                  <c:v>0.94</c:v>
                </c:pt>
                <c:pt idx="50">
                  <c:v>0.22</c:v>
                </c:pt>
                <c:pt idx="51">
                  <c:v>0.86</c:v>
                </c:pt>
                <c:pt idx="52">
                  <c:v>0.26</c:v>
                </c:pt>
                <c:pt idx="53">
                  <c:v>0.08</c:v>
                </c:pt>
                <c:pt idx="54">
                  <c:v>0.36</c:v>
                </c:pt>
                <c:pt idx="55">
                  <c:v>0.61</c:v>
                </c:pt>
                <c:pt idx="56">
                  <c:v>0.29</c:v>
                </c:pt>
                <c:pt idx="57">
                  <c:v>0.7</c:v>
                </c:pt>
                <c:pt idx="58">
                  <c:v>0.37</c:v>
                </c:pt>
                <c:pt idx="59">
                  <c:v>0.09</c:v>
                </c:pt>
                <c:pt idx="60">
                  <c:v>0.07</c:v>
                </c:pt>
                <c:pt idx="61">
                  <c:v>0.07</c:v>
                </c:pt>
                <c:pt idx="62">
                  <c:v>0.38</c:v>
                </c:pt>
                <c:pt idx="63">
                  <c:v>0.02</c:v>
                </c:pt>
                <c:pt idx="64">
                  <c:v>0.18</c:v>
                </c:pt>
                <c:pt idx="65">
                  <c:v>0.2</c:v>
                </c:pt>
                <c:pt idx="66">
                  <c:v>0.06</c:v>
                </c:pt>
                <c:pt idx="67">
                  <c:v>0.01</c:v>
                </c:pt>
                <c:pt idx="68">
                  <c:v>0.11</c:v>
                </c:pt>
                <c:pt idx="69">
                  <c:v>0.17</c:v>
                </c:pt>
                <c:pt idx="70">
                  <c:v>0.13</c:v>
                </c:pt>
                <c:pt idx="71">
                  <c:v>0.02</c:v>
                </c:pt>
                <c:pt idx="72">
                  <c:v>0.12</c:v>
                </c:pt>
                <c:pt idx="73">
                  <c:v>0.01</c:v>
                </c:pt>
                <c:pt idx="74">
                  <c:v>0.01</c:v>
                </c:pt>
                <c:pt idx="75">
                  <c:v>0.02</c:v>
                </c:pt>
                <c:pt idx="76">
                  <c:v>0.01</c:v>
                </c:pt>
                <c:pt idx="77">
                  <c:v>0.01</c:v>
                </c:pt>
                <c:pt idx="78">
                  <c:v>0.01</c:v>
                </c:pt>
                <c:pt idx="79">
                  <c:v>0.01</c:v>
                </c:pt>
                <c:pt idx="80">
                  <c:v>0.01</c:v>
                </c:pt>
                <c:pt idx="81">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Item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7ECAC4"/>
              </a:solidFill>
            </c:spPr>
            <c:extLst>
              <c:ext xmlns:c16="http://schemas.microsoft.com/office/drawing/2014/chart" uri="{C3380CC4-5D6E-409C-BE32-E72D297353CC}">
                <c16:uniqueId val="{00000069-2993-41DE-A2CB-63102DE87051}"/>
              </c:ext>
            </c:extLst>
          </c:dPt>
          <c:dPt>
            <c:idx val="25"/>
            <c:invertIfNegative val="1"/>
            <c:bubble3D val="0"/>
            <c:spPr>
              <a:solidFill>
                <a:srgbClr val="7ECAC4"/>
              </a:solidFill>
            </c:spPr>
            <c:extLst>
              <c:ext xmlns:c16="http://schemas.microsoft.com/office/drawing/2014/chart" uri="{C3380CC4-5D6E-409C-BE32-E72D297353CC}">
                <c16:uniqueId val="{0000006B-2993-41DE-A2CB-63102DE87051}"/>
              </c:ext>
            </c:extLst>
          </c:dPt>
          <c:dPt>
            <c:idx val="26"/>
            <c:invertIfNegative val="1"/>
            <c:bubble3D val="0"/>
            <c:spPr>
              <a:solidFill>
                <a:srgbClr val="7ECAC4"/>
              </a:solidFill>
            </c:spPr>
            <c:extLst>
              <c:ext xmlns:c16="http://schemas.microsoft.com/office/drawing/2014/chart" uri="{C3380CC4-5D6E-409C-BE32-E72D297353CC}">
                <c16:uniqueId val="{0000006D-2993-41DE-A2CB-63102DE87051}"/>
              </c:ext>
            </c:extLst>
          </c:dPt>
          <c:dPt>
            <c:idx val="27"/>
            <c:invertIfNegative val="1"/>
            <c:bubble3D val="0"/>
            <c:spPr>
              <a:solidFill>
                <a:srgbClr val="7ECAC4"/>
              </a:solidFill>
            </c:spPr>
            <c:extLst>
              <c:ext xmlns:c16="http://schemas.microsoft.com/office/drawing/2014/chart" uri="{C3380CC4-5D6E-409C-BE32-E72D297353CC}">
                <c16:uniqueId val="{0000006F-2993-41DE-A2CB-63102DE87051}"/>
              </c:ext>
            </c:extLst>
          </c:dPt>
          <c:dPt>
            <c:idx val="28"/>
            <c:invertIfNegative val="1"/>
            <c:bubble3D val="0"/>
            <c:spPr>
              <a:solidFill>
                <a:srgbClr val="7ECAC4"/>
              </a:solidFill>
            </c:spPr>
            <c:extLst>
              <c:ext xmlns:c16="http://schemas.microsoft.com/office/drawing/2014/chart" uri="{C3380CC4-5D6E-409C-BE32-E72D297353CC}">
                <c16:uniqueId val="{00000071-2993-41DE-A2CB-63102DE87051}"/>
              </c:ext>
            </c:extLst>
          </c:dPt>
          <c:dPt>
            <c:idx val="29"/>
            <c:invertIfNegative val="1"/>
            <c:bubble3D val="0"/>
            <c:spPr>
              <a:solidFill>
                <a:srgbClr val="7ECAC4"/>
              </a:solidFill>
            </c:spPr>
            <c:extLst>
              <c:ext xmlns:c16="http://schemas.microsoft.com/office/drawing/2014/chart" uri="{C3380CC4-5D6E-409C-BE32-E72D297353CC}">
                <c16:uniqueId val="{00000073-2993-41DE-A2CB-63102DE87051}"/>
              </c:ext>
            </c:extLst>
          </c:dPt>
          <c:dPt>
            <c:idx val="30"/>
            <c:invertIfNegative val="1"/>
            <c:bubble3D val="0"/>
            <c:spPr>
              <a:solidFill>
                <a:srgbClr val="7ECAC4"/>
              </a:solidFill>
            </c:spPr>
            <c:extLst>
              <c:ext xmlns:c16="http://schemas.microsoft.com/office/drawing/2014/chart" uri="{C3380CC4-5D6E-409C-BE32-E72D297353CC}">
                <c16:uniqueId val="{00000075-2993-41DE-A2CB-63102DE87051}"/>
              </c:ext>
            </c:extLst>
          </c:dPt>
          <c:dPt>
            <c:idx val="31"/>
            <c:invertIfNegative val="1"/>
            <c:bubble3D val="0"/>
            <c:spPr>
              <a:solidFill>
                <a:srgbClr val="7ECAC4"/>
              </a:solidFill>
            </c:spPr>
            <c:extLst>
              <c:ext xmlns:c16="http://schemas.microsoft.com/office/drawing/2014/chart" uri="{C3380CC4-5D6E-409C-BE32-E72D297353CC}">
                <c16:uniqueId val="{00000077-2993-41DE-A2CB-63102DE87051}"/>
              </c:ext>
            </c:extLst>
          </c:dPt>
          <c:dPt>
            <c:idx val="32"/>
            <c:invertIfNegative val="1"/>
            <c:bubble3D val="0"/>
            <c:spPr>
              <a:solidFill>
                <a:srgbClr val="7ECAC4"/>
              </a:solidFill>
            </c:spPr>
            <c:extLst>
              <c:ext xmlns:c16="http://schemas.microsoft.com/office/drawing/2014/chart" uri="{C3380CC4-5D6E-409C-BE32-E72D297353CC}">
                <c16:uniqueId val="{00000079-2993-41DE-A2CB-63102DE87051}"/>
              </c:ext>
            </c:extLst>
          </c:dPt>
          <c:dPt>
            <c:idx val="33"/>
            <c:invertIfNegative val="1"/>
            <c:bubble3D val="0"/>
            <c:spPr>
              <a:solidFill>
                <a:srgbClr val="7ECAC4"/>
              </a:solidFill>
            </c:spPr>
            <c:extLst>
              <c:ext xmlns:c16="http://schemas.microsoft.com/office/drawing/2014/chart" uri="{C3380CC4-5D6E-409C-BE32-E72D297353CC}">
                <c16:uniqueId val="{0000007B-2993-41DE-A2CB-63102DE87051}"/>
              </c:ext>
            </c:extLst>
          </c:dPt>
          <c:dPt>
            <c:idx val="34"/>
            <c:invertIfNegative val="1"/>
            <c:bubble3D val="0"/>
            <c:spPr>
              <a:solidFill>
                <a:srgbClr val="7ECAC4"/>
              </a:solidFill>
            </c:spPr>
            <c:extLst>
              <c:ext xmlns:c16="http://schemas.microsoft.com/office/drawing/2014/chart" uri="{C3380CC4-5D6E-409C-BE32-E72D297353CC}">
                <c16:uniqueId val="{0000007D-2993-41DE-A2CB-63102DE87051}"/>
              </c:ext>
            </c:extLst>
          </c:dPt>
          <c:dPt>
            <c:idx val="35"/>
            <c:invertIfNegative val="1"/>
            <c:bubble3D val="0"/>
            <c:spPr>
              <a:solidFill>
                <a:srgbClr val="7ECAC4"/>
              </a:solidFill>
            </c:spPr>
            <c:extLst>
              <c:ext xmlns:c16="http://schemas.microsoft.com/office/drawing/2014/chart" uri="{C3380CC4-5D6E-409C-BE32-E72D297353CC}">
                <c16:uniqueId val="{0000007F-2993-41DE-A2CB-63102DE87051}"/>
              </c:ext>
            </c:extLst>
          </c:dPt>
          <c:dPt>
            <c:idx val="36"/>
            <c:invertIfNegative val="1"/>
            <c:bubble3D val="0"/>
            <c:spPr>
              <a:solidFill>
                <a:srgbClr val="7ECAC4"/>
              </a:solidFill>
            </c:spPr>
            <c:extLst>
              <c:ext xmlns:c16="http://schemas.microsoft.com/office/drawing/2014/chart" uri="{C3380CC4-5D6E-409C-BE32-E72D297353CC}">
                <c16:uniqueId val="{00000081-2993-41DE-A2CB-63102DE87051}"/>
              </c:ext>
            </c:extLst>
          </c:dPt>
          <c:dPt>
            <c:idx val="37"/>
            <c:invertIfNegative val="1"/>
            <c:bubble3D val="0"/>
            <c:spPr>
              <a:solidFill>
                <a:srgbClr val="7ECAC4"/>
              </a:solidFill>
            </c:spPr>
            <c:extLst>
              <c:ext xmlns:c16="http://schemas.microsoft.com/office/drawing/2014/chart" uri="{C3380CC4-5D6E-409C-BE32-E72D297353CC}">
                <c16:uniqueId val="{00000083-2993-41DE-A2CB-63102DE87051}"/>
              </c:ext>
            </c:extLst>
          </c:dPt>
          <c:dPt>
            <c:idx val="38"/>
            <c:invertIfNegative val="1"/>
            <c:bubble3D val="0"/>
            <c:spPr>
              <a:solidFill>
                <a:srgbClr val="7ECAC4"/>
              </a:solidFill>
            </c:spPr>
            <c:extLst>
              <c:ext xmlns:c16="http://schemas.microsoft.com/office/drawing/2014/chart" uri="{C3380CC4-5D6E-409C-BE32-E72D297353CC}">
                <c16:uniqueId val="{00000085-2993-41DE-A2CB-63102DE87051}"/>
              </c:ext>
            </c:extLst>
          </c:dPt>
          <c:dPt>
            <c:idx val="39"/>
            <c:invertIfNegative val="1"/>
            <c:bubble3D val="0"/>
            <c:spPr>
              <a:solidFill>
                <a:srgbClr val="7ECAC4"/>
              </a:solidFill>
            </c:spPr>
            <c:extLst>
              <c:ext xmlns:c16="http://schemas.microsoft.com/office/drawing/2014/chart" uri="{C3380CC4-5D6E-409C-BE32-E72D297353CC}">
                <c16:uniqueId val="{00000087-2993-41DE-A2CB-63102DE87051}"/>
              </c:ext>
            </c:extLst>
          </c:dPt>
          <c:dPt>
            <c:idx val="40"/>
            <c:invertIfNegative val="1"/>
            <c:bubble3D val="0"/>
            <c:spPr>
              <a:solidFill>
                <a:srgbClr val="7ECAC4"/>
              </a:solidFill>
            </c:spPr>
            <c:extLst>
              <c:ext xmlns:c16="http://schemas.microsoft.com/office/drawing/2014/chart" uri="{C3380CC4-5D6E-409C-BE32-E72D297353CC}">
                <c16:uniqueId val="{00000089-2993-41DE-A2CB-63102DE87051}"/>
              </c:ext>
            </c:extLst>
          </c:dPt>
          <c:dPt>
            <c:idx val="41"/>
            <c:invertIfNegative val="1"/>
            <c:bubble3D val="0"/>
            <c:spPr>
              <a:solidFill>
                <a:srgbClr val="AEABAB"/>
              </a:solidFill>
            </c:spPr>
            <c:extLst>
              <c:ext xmlns:c16="http://schemas.microsoft.com/office/drawing/2014/chart" uri="{C3380CC4-5D6E-409C-BE32-E72D297353CC}">
                <c16:uniqueId val="{0000008B-2993-41DE-A2CB-63102DE87051}"/>
              </c:ext>
            </c:extLst>
          </c:dPt>
          <c:dPt>
            <c:idx val="42"/>
            <c:invertIfNegative val="1"/>
            <c:bubble3D val="0"/>
            <c:spPr>
              <a:solidFill>
                <a:srgbClr val="AEABAB"/>
              </a:solidFill>
            </c:spPr>
            <c:extLst>
              <c:ext xmlns:c16="http://schemas.microsoft.com/office/drawing/2014/chart" uri="{C3380CC4-5D6E-409C-BE32-E72D297353CC}">
                <c16:uniqueId val="{0000008D-2993-41DE-A2CB-63102DE87051}"/>
              </c:ext>
            </c:extLst>
          </c:dPt>
          <c:dPt>
            <c:idx val="43"/>
            <c:invertIfNegative val="1"/>
            <c:bubble3D val="0"/>
            <c:spPr>
              <a:solidFill>
                <a:srgbClr val="AEABAB"/>
              </a:solidFill>
            </c:spPr>
            <c:extLst>
              <c:ext xmlns:c16="http://schemas.microsoft.com/office/drawing/2014/chart" uri="{C3380CC4-5D6E-409C-BE32-E72D297353CC}">
                <c16:uniqueId val="{0000008F-2993-41DE-A2CB-63102DE87051}"/>
              </c:ext>
            </c:extLst>
          </c:dPt>
          <c:dPt>
            <c:idx val="44"/>
            <c:invertIfNegative val="1"/>
            <c:bubble3D val="0"/>
            <c:spPr>
              <a:solidFill>
                <a:srgbClr val="AEABAB"/>
              </a:solidFill>
            </c:spPr>
            <c:extLst>
              <c:ext xmlns:c16="http://schemas.microsoft.com/office/drawing/2014/chart" uri="{C3380CC4-5D6E-409C-BE32-E72D297353CC}">
                <c16:uniqueId val="{00000091-2993-41DE-A2CB-63102DE87051}"/>
              </c:ext>
            </c:extLst>
          </c:dPt>
          <c:dPt>
            <c:idx val="45"/>
            <c:invertIfNegative val="1"/>
            <c:bubble3D val="0"/>
            <c:spPr>
              <a:solidFill>
                <a:srgbClr val="AEABAB"/>
              </a:solidFill>
            </c:spPr>
            <c:extLst>
              <c:ext xmlns:c16="http://schemas.microsoft.com/office/drawing/2014/chart" uri="{C3380CC4-5D6E-409C-BE32-E72D297353CC}">
                <c16:uniqueId val="{00000093-2993-41DE-A2CB-63102DE87051}"/>
              </c:ext>
            </c:extLst>
          </c:dPt>
          <c:dPt>
            <c:idx val="46"/>
            <c:invertIfNegative val="1"/>
            <c:bubble3D val="0"/>
            <c:spPr>
              <a:solidFill>
                <a:srgbClr val="AEABAB"/>
              </a:solidFill>
            </c:spPr>
            <c:extLst>
              <c:ext xmlns:c16="http://schemas.microsoft.com/office/drawing/2014/chart" uri="{C3380CC4-5D6E-409C-BE32-E72D297353CC}">
                <c16:uniqueId val="{00000095-2993-41DE-A2CB-63102DE87051}"/>
              </c:ext>
            </c:extLst>
          </c:dPt>
          <c:dPt>
            <c:idx val="47"/>
            <c:invertIfNegative val="1"/>
            <c:bubble3D val="0"/>
            <c:spPr>
              <a:solidFill>
                <a:srgbClr val="AEABAB"/>
              </a:solidFill>
            </c:spPr>
            <c:extLst>
              <c:ext xmlns:c16="http://schemas.microsoft.com/office/drawing/2014/chart" uri="{C3380CC4-5D6E-409C-BE32-E72D297353CC}">
                <c16:uniqueId val="{00000097-2993-41DE-A2CB-63102DE87051}"/>
              </c:ext>
            </c:extLst>
          </c:dPt>
          <c:dPt>
            <c:idx val="48"/>
            <c:invertIfNegative val="1"/>
            <c:bubble3D val="0"/>
            <c:spPr>
              <a:solidFill>
                <a:srgbClr val="AEABAB"/>
              </a:solidFill>
            </c:spPr>
            <c:extLst>
              <c:ext xmlns:c16="http://schemas.microsoft.com/office/drawing/2014/chart" uri="{C3380CC4-5D6E-409C-BE32-E72D297353CC}">
                <c16:uniqueId val="{00000099-2993-41DE-A2CB-63102DE87051}"/>
              </c:ext>
            </c:extLst>
          </c:dPt>
          <c:dPt>
            <c:idx val="49"/>
            <c:invertIfNegative val="1"/>
            <c:bubble3D val="0"/>
            <c:spPr>
              <a:solidFill>
                <a:srgbClr val="AEABAB"/>
              </a:solidFill>
            </c:spPr>
            <c:extLst>
              <c:ext xmlns:c16="http://schemas.microsoft.com/office/drawing/2014/chart" uri="{C3380CC4-5D6E-409C-BE32-E72D297353CC}">
                <c16:uniqueId val="{0000009B-2993-41DE-A2CB-63102DE87051}"/>
              </c:ext>
            </c:extLst>
          </c:dPt>
          <c:dPt>
            <c:idx val="50"/>
            <c:invertIfNegative val="1"/>
            <c:bubble3D val="0"/>
            <c:spPr>
              <a:solidFill>
                <a:srgbClr val="AEABAB"/>
              </a:solidFill>
            </c:spPr>
            <c:extLst>
              <c:ext xmlns:c16="http://schemas.microsoft.com/office/drawing/2014/chart" uri="{C3380CC4-5D6E-409C-BE32-E72D297353CC}">
                <c16:uniqueId val="{0000009D-2993-41DE-A2CB-63102DE87051}"/>
              </c:ext>
            </c:extLst>
          </c:dPt>
          <c:dPt>
            <c:idx val="51"/>
            <c:invertIfNegative val="1"/>
            <c:bubble3D val="0"/>
            <c:spPr>
              <a:solidFill>
                <a:srgbClr val="AEABAB"/>
              </a:solidFill>
            </c:spPr>
            <c:extLst>
              <c:ext xmlns:c16="http://schemas.microsoft.com/office/drawing/2014/chart" uri="{C3380CC4-5D6E-409C-BE32-E72D297353CC}">
                <c16:uniqueId val="{0000009F-2993-41DE-A2CB-63102DE87051}"/>
              </c:ext>
            </c:extLst>
          </c:dPt>
          <c:dPt>
            <c:idx val="52"/>
            <c:invertIfNegative val="1"/>
            <c:bubble3D val="0"/>
            <c:spPr>
              <a:solidFill>
                <a:srgbClr val="AEABAB"/>
              </a:solidFill>
            </c:spPr>
            <c:extLst>
              <c:ext xmlns:c16="http://schemas.microsoft.com/office/drawing/2014/chart" uri="{C3380CC4-5D6E-409C-BE32-E72D297353CC}">
                <c16:uniqueId val="{000000A1-2993-41DE-A2CB-63102DE87051}"/>
              </c:ext>
            </c:extLst>
          </c:dPt>
          <c:dPt>
            <c:idx val="53"/>
            <c:invertIfNegative val="1"/>
            <c:bubble3D val="0"/>
            <c:spPr>
              <a:solidFill>
                <a:srgbClr val="AEABAB"/>
              </a:solidFill>
            </c:spPr>
            <c:extLst>
              <c:ext xmlns:c16="http://schemas.microsoft.com/office/drawing/2014/chart" uri="{C3380CC4-5D6E-409C-BE32-E72D297353CC}">
                <c16:uniqueId val="{000000A3-2993-41DE-A2CB-63102DE87051}"/>
              </c:ext>
            </c:extLst>
          </c:dPt>
          <c:dPt>
            <c:idx val="54"/>
            <c:invertIfNegative val="0"/>
            <c:bubble3D val="0"/>
            <c:spPr>
              <a:solidFill>
                <a:srgbClr val="AEABAB"/>
              </a:solidFill>
            </c:spPr>
            <c:extLst>
              <c:ext xmlns:c16="http://schemas.microsoft.com/office/drawing/2014/chart" uri="{C3380CC4-5D6E-409C-BE32-E72D297353CC}">
                <c16:uniqueId val="{00000072-C76F-4230-900D-40618C09729F}"/>
              </c:ext>
            </c:extLst>
          </c:dPt>
          <c:dPt>
            <c:idx val="55"/>
            <c:invertIfNegative val="0"/>
            <c:bubble3D val="0"/>
            <c:spPr>
              <a:solidFill>
                <a:srgbClr val="AEABAB"/>
              </a:solidFill>
            </c:spPr>
            <c:extLst>
              <c:ext xmlns:c16="http://schemas.microsoft.com/office/drawing/2014/chart" uri="{C3380CC4-5D6E-409C-BE32-E72D297353CC}">
                <c16:uniqueId val="{00000074-C76F-4230-900D-40618C09729F}"/>
              </c:ext>
            </c:extLst>
          </c:dPt>
          <c:dPt>
            <c:idx val="56"/>
            <c:invertIfNegative val="0"/>
            <c:bubble3D val="0"/>
            <c:spPr>
              <a:solidFill>
                <a:srgbClr val="AEABAB"/>
              </a:solidFill>
            </c:spPr>
            <c:extLst>
              <c:ext xmlns:c16="http://schemas.microsoft.com/office/drawing/2014/chart" uri="{C3380CC4-5D6E-409C-BE32-E72D297353CC}">
                <c16:uniqueId val="{00000076-C76F-4230-900D-40618C09729F}"/>
              </c:ext>
            </c:extLst>
          </c:dPt>
          <c:dPt>
            <c:idx val="57"/>
            <c:invertIfNegative val="0"/>
            <c:bubble3D val="0"/>
            <c:spPr>
              <a:solidFill>
                <a:srgbClr val="AEABAB"/>
              </a:solidFill>
            </c:spPr>
            <c:extLst>
              <c:ext xmlns:c16="http://schemas.microsoft.com/office/drawing/2014/chart" uri="{C3380CC4-5D6E-409C-BE32-E72D297353CC}">
                <c16:uniqueId val="{00000078-C76F-4230-900D-40618C09729F}"/>
              </c:ext>
            </c:extLst>
          </c:dPt>
          <c:dPt>
            <c:idx val="58"/>
            <c:invertIfNegative val="0"/>
            <c:bubble3D val="0"/>
            <c:spPr>
              <a:solidFill>
                <a:srgbClr val="AEABAB"/>
              </a:solidFill>
            </c:spPr>
            <c:extLst>
              <c:ext xmlns:c16="http://schemas.microsoft.com/office/drawing/2014/chart" uri="{C3380CC4-5D6E-409C-BE32-E72D297353CC}">
                <c16:uniqueId val="{0000007A-C76F-4230-900D-40618C09729F}"/>
              </c:ext>
            </c:extLst>
          </c:dPt>
          <c:dPt>
            <c:idx val="59"/>
            <c:invertIfNegative val="0"/>
            <c:bubble3D val="0"/>
            <c:spPr>
              <a:solidFill>
                <a:srgbClr val="AEABAB"/>
              </a:solidFill>
            </c:spPr>
            <c:extLst>
              <c:ext xmlns:c16="http://schemas.microsoft.com/office/drawing/2014/chart" uri="{C3380CC4-5D6E-409C-BE32-E72D297353CC}">
                <c16:uniqueId val="{0000007C-C76F-4230-900D-40618C09729F}"/>
              </c:ext>
            </c:extLst>
          </c:dPt>
          <c:dPt>
            <c:idx val="60"/>
            <c:invertIfNegative val="0"/>
            <c:bubble3D val="0"/>
            <c:spPr>
              <a:solidFill>
                <a:srgbClr val="AEABAB"/>
              </a:solidFill>
            </c:spPr>
            <c:extLst>
              <c:ext xmlns:c16="http://schemas.microsoft.com/office/drawing/2014/chart" uri="{C3380CC4-5D6E-409C-BE32-E72D297353CC}">
                <c16:uniqueId val="{0000007E-C76F-4230-900D-40618C09729F}"/>
              </c:ext>
            </c:extLst>
          </c:dPt>
          <c:dPt>
            <c:idx val="61"/>
            <c:invertIfNegative val="0"/>
            <c:bubble3D val="0"/>
            <c:spPr>
              <a:solidFill>
                <a:srgbClr val="AEABAB"/>
              </a:solidFill>
            </c:spPr>
            <c:extLst>
              <c:ext xmlns:c16="http://schemas.microsoft.com/office/drawing/2014/chart" uri="{C3380CC4-5D6E-409C-BE32-E72D297353CC}">
                <c16:uniqueId val="{00000080-C76F-4230-900D-40618C09729F}"/>
              </c:ext>
            </c:extLst>
          </c:dPt>
          <c:dPt>
            <c:idx val="62"/>
            <c:invertIfNegative val="0"/>
            <c:bubble3D val="0"/>
            <c:spPr>
              <a:solidFill>
                <a:srgbClr val="AEABAB"/>
              </a:solidFill>
            </c:spPr>
            <c:extLst>
              <c:ext xmlns:c16="http://schemas.microsoft.com/office/drawing/2014/chart" uri="{C3380CC4-5D6E-409C-BE32-E72D297353CC}">
                <c16:uniqueId val="{00000082-C76F-4230-900D-40618C09729F}"/>
              </c:ext>
            </c:extLst>
          </c:dPt>
          <c:dPt>
            <c:idx val="63"/>
            <c:invertIfNegative val="0"/>
            <c:bubble3D val="0"/>
            <c:spPr>
              <a:solidFill>
                <a:srgbClr val="AEABAB"/>
              </a:solidFill>
            </c:spPr>
            <c:extLst>
              <c:ext xmlns:c16="http://schemas.microsoft.com/office/drawing/2014/chart" uri="{C3380CC4-5D6E-409C-BE32-E72D297353CC}">
                <c16:uniqueId val="{00000084-C76F-4230-900D-40618C09729F}"/>
              </c:ext>
            </c:extLst>
          </c:dPt>
          <c:dPt>
            <c:idx val="64"/>
            <c:invertIfNegative val="0"/>
            <c:bubble3D val="0"/>
            <c:spPr>
              <a:solidFill>
                <a:srgbClr val="AEABAB"/>
              </a:solidFill>
            </c:spPr>
            <c:extLst>
              <c:ext xmlns:c16="http://schemas.microsoft.com/office/drawing/2014/chart" uri="{C3380CC4-5D6E-409C-BE32-E72D297353CC}">
                <c16:uniqueId val="{00000086-C76F-4230-900D-40618C09729F}"/>
              </c:ext>
            </c:extLst>
          </c:dPt>
          <c:dPt>
            <c:idx val="65"/>
            <c:invertIfNegative val="0"/>
            <c:bubble3D val="0"/>
            <c:spPr>
              <a:solidFill>
                <a:srgbClr val="AEABAB"/>
              </a:solidFill>
            </c:spPr>
            <c:extLst>
              <c:ext xmlns:c16="http://schemas.microsoft.com/office/drawing/2014/chart" uri="{C3380CC4-5D6E-409C-BE32-E72D297353CC}">
                <c16:uniqueId val="{00000088-C76F-4230-900D-40618C09729F}"/>
              </c:ext>
            </c:extLst>
          </c:dPt>
          <c:dPt>
            <c:idx val="66"/>
            <c:invertIfNegative val="0"/>
            <c:bubble3D val="0"/>
            <c:spPr>
              <a:solidFill>
                <a:srgbClr val="AEABAB"/>
              </a:solidFill>
            </c:spPr>
            <c:extLst>
              <c:ext xmlns:c16="http://schemas.microsoft.com/office/drawing/2014/chart" uri="{C3380CC4-5D6E-409C-BE32-E72D297353CC}">
                <c16:uniqueId val="{0000008A-C76F-4230-900D-40618C09729F}"/>
              </c:ext>
            </c:extLst>
          </c:dPt>
          <c:dPt>
            <c:idx val="67"/>
            <c:invertIfNegative val="0"/>
            <c:bubble3D val="0"/>
            <c:spPr>
              <a:solidFill>
                <a:srgbClr val="AEABAB"/>
              </a:solidFill>
            </c:spPr>
            <c:extLst>
              <c:ext xmlns:c16="http://schemas.microsoft.com/office/drawing/2014/chart" uri="{C3380CC4-5D6E-409C-BE32-E72D297353CC}">
                <c16:uniqueId val="{0000008C-C76F-4230-900D-40618C09729F}"/>
              </c:ext>
            </c:extLst>
          </c:dPt>
          <c:dPt>
            <c:idx val="68"/>
            <c:invertIfNegative val="0"/>
            <c:bubble3D val="0"/>
            <c:spPr>
              <a:solidFill>
                <a:srgbClr val="AEABAB"/>
              </a:solidFill>
            </c:spPr>
            <c:extLst>
              <c:ext xmlns:c16="http://schemas.microsoft.com/office/drawing/2014/chart" uri="{C3380CC4-5D6E-409C-BE32-E72D297353CC}">
                <c16:uniqueId val="{0000008E-C76F-4230-900D-40618C09729F}"/>
              </c:ext>
            </c:extLst>
          </c:dPt>
          <c:dPt>
            <c:idx val="69"/>
            <c:invertIfNegative val="0"/>
            <c:bubble3D val="0"/>
            <c:spPr>
              <a:solidFill>
                <a:srgbClr val="AEABAB"/>
              </a:solidFill>
            </c:spPr>
            <c:extLst>
              <c:ext xmlns:c16="http://schemas.microsoft.com/office/drawing/2014/chart" uri="{C3380CC4-5D6E-409C-BE32-E72D297353CC}">
                <c16:uniqueId val="{00000090-C76F-4230-900D-40618C09729F}"/>
              </c:ext>
            </c:extLst>
          </c:dPt>
          <c:dPt>
            <c:idx val="70"/>
            <c:invertIfNegative val="0"/>
            <c:bubble3D val="0"/>
            <c:spPr>
              <a:solidFill>
                <a:srgbClr val="AEABAB"/>
              </a:solidFill>
            </c:spPr>
            <c:extLst>
              <c:ext xmlns:c16="http://schemas.microsoft.com/office/drawing/2014/chart" uri="{C3380CC4-5D6E-409C-BE32-E72D297353CC}">
                <c16:uniqueId val="{00000092-C76F-4230-900D-40618C09729F}"/>
              </c:ext>
            </c:extLst>
          </c:dPt>
          <c:dPt>
            <c:idx val="71"/>
            <c:invertIfNegative val="0"/>
            <c:bubble3D val="0"/>
            <c:spPr>
              <a:solidFill>
                <a:srgbClr val="AEABAB"/>
              </a:solidFill>
            </c:spPr>
            <c:extLst>
              <c:ext xmlns:c16="http://schemas.microsoft.com/office/drawing/2014/chart" uri="{C3380CC4-5D6E-409C-BE32-E72D297353CC}">
                <c16:uniqueId val="{00000094-C76F-4230-900D-40618C09729F}"/>
              </c:ext>
            </c:extLst>
          </c:dPt>
          <c:dPt>
            <c:idx val="72"/>
            <c:invertIfNegative val="0"/>
            <c:bubble3D val="0"/>
            <c:spPr>
              <a:solidFill>
                <a:srgbClr val="AEABAB"/>
              </a:solidFill>
            </c:spPr>
            <c:extLst>
              <c:ext xmlns:c16="http://schemas.microsoft.com/office/drawing/2014/chart" uri="{C3380CC4-5D6E-409C-BE32-E72D297353CC}">
                <c16:uniqueId val="{00000096-C76F-4230-900D-40618C09729F}"/>
              </c:ext>
            </c:extLst>
          </c:dPt>
          <c:dPt>
            <c:idx val="73"/>
            <c:invertIfNegative val="0"/>
            <c:bubble3D val="0"/>
            <c:spPr>
              <a:solidFill>
                <a:srgbClr val="AEABAB"/>
              </a:solidFill>
            </c:spPr>
            <c:extLst>
              <c:ext xmlns:c16="http://schemas.microsoft.com/office/drawing/2014/chart" uri="{C3380CC4-5D6E-409C-BE32-E72D297353CC}">
                <c16:uniqueId val="{00000098-C76F-4230-900D-40618C09729F}"/>
              </c:ext>
            </c:extLst>
          </c:dPt>
          <c:dPt>
            <c:idx val="74"/>
            <c:invertIfNegative val="0"/>
            <c:bubble3D val="0"/>
            <c:spPr>
              <a:solidFill>
                <a:srgbClr val="AEABAB"/>
              </a:solidFill>
            </c:spPr>
            <c:extLst>
              <c:ext xmlns:c16="http://schemas.microsoft.com/office/drawing/2014/chart" uri="{C3380CC4-5D6E-409C-BE32-E72D297353CC}">
                <c16:uniqueId val="{0000009A-C76F-4230-900D-40618C09729F}"/>
              </c:ext>
            </c:extLst>
          </c:dPt>
          <c:dPt>
            <c:idx val="75"/>
            <c:invertIfNegative val="0"/>
            <c:bubble3D val="0"/>
            <c:spPr>
              <a:solidFill>
                <a:srgbClr val="AEABAB"/>
              </a:solidFill>
            </c:spPr>
            <c:extLst>
              <c:ext xmlns:c16="http://schemas.microsoft.com/office/drawing/2014/chart" uri="{C3380CC4-5D6E-409C-BE32-E72D297353CC}">
                <c16:uniqueId val="{0000009C-C76F-4230-900D-40618C09729F}"/>
              </c:ext>
            </c:extLst>
          </c:dPt>
          <c:dPt>
            <c:idx val="76"/>
            <c:invertIfNegative val="0"/>
            <c:bubble3D val="0"/>
            <c:spPr>
              <a:solidFill>
                <a:srgbClr val="AEABAB"/>
              </a:solidFill>
            </c:spPr>
            <c:extLst>
              <c:ext xmlns:c16="http://schemas.microsoft.com/office/drawing/2014/chart" uri="{C3380CC4-5D6E-409C-BE32-E72D297353CC}">
                <c16:uniqueId val="{0000009E-C76F-4230-900D-40618C09729F}"/>
              </c:ext>
            </c:extLst>
          </c:dPt>
          <c:dPt>
            <c:idx val="77"/>
            <c:invertIfNegative val="0"/>
            <c:bubble3D val="0"/>
            <c:spPr>
              <a:solidFill>
                <a:srgbClr val="AEABAB"/>
              </a:solidFill>
            </c:spPr>
            <c:extLst>
              <c:ext xmlns:c16="http://schemas.microsoft.com/office/drawing/2014/chart" uri="{C3380CC4-5D6E-409C-BE32-E72D297353CC}">
                <c16:uniqueId val="{000000A0-C76F-4230-900D-40618C09729F}"/>
              </c:ext>
            </c:extLst>
          </c:dPt>
          <c:dPt>
            <c:idx val="78"/>
            <c:invertIfNegative val="0"/>
            <c:bubble3D val="0"/>
            <c:spPr>
              <a:solidFill>
                <a:srgbClr val="AEABAB"/>
              </a:solidFill>
            </c:spPr>
            <c:extLst>
              <c:ext xmlns:c16="http://schemas.microsoft.com/office/drawing/2014/chart" uri="{C3380CC4-5D6E-409C-BE32-E72D297353CC}">
                <c16:uniqueId val="{000000A2-C76F-4230-900D-40618C09729F}"/>
              </c:ext>
            </c:extLst>
          </c:dPt>
          <c:dPt>
            <c:idx val="79"/>
            <c:invertIfNegative val="0"/>
            <c:bubble3D val="0"/>
            <c:spPr>
              <a:solidFill>
                <a:srgbClr val="AEABAB"/>
              </a:solidFill>
            </c:spPr>
            <c:extLst>
              <c:ext xmlns:c16="http://schemas.microsoft.com/office/drawing/2014/chart" uri="{C3380CC4-5D6E-409C-BE32-E72D297353CC}">
                <c16:uniqueId val="{000000A4-C76F-4230-900D-40618C09729F}"/>
              </c:ext>
            </c:extLst>
          </c:dPt>
          <c:dPt>
            <c:idx val="80"/>
            <c:invertIfNegative val="0"/>
            <c:bubble3D val="0"/>
            <c:spPr>
              <a:solidFill>
                <a:srgbClr val="AEABAB"/>
              </a:solidFill>
            </c:spPr>
            <c:extLst>
              <c:ext xmlns:c16="http://schemas.microsoft.com/office/drawing/2014/chart" uri="{C3380CC4-5D6E-409C-BE32-E72D297353CC}">
                <c16:uniqueId val="{000000A6-C76F-4230-900D-40618C09729F}"/>
              </c:ext>
            </c:extLst>
          </c:dPt>
          <c:dPt>
            <c:idx val="81"/>
            <c:invertIfNegative val="1"/>
            <c:bubble3D val="0"/>
            <c:spPr>
              <a:solidFill>
                <a:srgbClr val="AEABAB"/>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83</c:f>
              <c:strCache>
                <c:ptCount val="82"/>
                <c:pt idx="0">
                  <c:v>St Moret</c:v>
                </c:pt>
                <c:pt idx="1">
                  <c:v>St Moret</c:v>
                </c:pt>
                <c:pt idx="2">
                  <c:v>Private Lab</c:v>
                </c:pt>
                <c:pt idx="3">
                  <c:v>St Moret</c:v>
                </c:pt>
                <c:pt idx="4">
                  <c:v>Tartare</c:v>
                </c:pt>
                <c:pt idx="5">
                  <c:v>St Moret</c:v>
                </c:pt>
                <c:pt idx="6">
                  <c:v>Paysan Bret</c:v>
                </c:pt>
                <c:pt idx="7">
                  <c:v>Paysan Bret</c:v>
                </c:pt>
                <c:pt idx="8">
                  <c:v>Private Lab</c:v>
                </c:pt>
                <c:pt idx="9">
                  <c:v>Tartare</c:v>
                </c:pt>
                <c:pt idx="10">
                  <c:v>Boursin</c:v>
                </c:pt>
                <c:pt idx="11">
                  <c:v>Boursin</c:v>
                </c:pt>
                <c:pt idx="12">
                  <c:v>Private Lab</c:v>
                </c:pt>
                <c:pt idx="13">
                  <c:v>St Moret</c:v>
                </c:pt>
                <c:pt idx="14">
                  <c:v>Carre Frais</c:v>
                </c:pt>
                <c:pt idx="15">
                  <c:v>Boursin</c:v>
                </c:pt>
                <c:pt idx="16">
                  <c:v>Carre Frais</c:v>
                </c:pt>
                <c:pt idx="17">
                  <c:v>Philadelphi</c:v>
                </c:pt>
                <c:pt idx="18">
                  <c:v>St Moret</c:v>
                </c:pt>
                <c:pt idx="19">
                  <c:v>Private Lab</c:v>
                </c:pt>
                <c:pt idx="20">
                  <c:v>Philadelphi</c:v>
                </c:pt>
                <c:pt idx="21">
                  <c:v>St Moret</c:v>
                </c:pt>
                <c:pt idx="22">
                  <c:v>Tartare</c:v>
                </c:pt>
                <c:pt idx="23">
                  <c:v>Paysan Bret</c:v>
                </c:pt>
                <c:pt idx="24">
                  <c:v>Boursin</c:v>
                </c:pt>
                <c:pt idx="25">
                  <c:v>Boursin</c:v>
                </c:pt>
                <c:pt idx="26">
                  <c:v>Boursin</c:v>
                </c:pt>
                <c:pt idx="27">
                  <c:v>Paysan Bret</c:v>
                </c:pt>
                <c:pt idx="28">
                  <c:v>Paysan Bret</c:v>
                </c:pt>
                <c:pt idx="29">
                  <c:v>Private Lab</c:v>
                </c:pt>
                <c:pt idx="30">
                  <c:v>Carre Frais</c:v>
                </c:pt>
                <c:pt idx="31">
                  <c:v>Paysan Bret</c:v>
                </c:pt>
                <c:pt idx="32">
                  <c:v>Tartare</c:v>
                </c:pt>
                <c:pt idx="33">
                  <c:v>Boursin</c:v>
                </c:pt>
                <c:pt idx="34">
                  <c:v>Boursin</c:v>
                </c:pt>
                <c:pt idx="35">
                  <c:v>Paysan Bret</c:v>
                </c:pt>
                <c:pt idx="36">
                  <c:v>Boursin</c:v>
                </c:pt>
                <c:pt idx="37">
                  <c:v>Tartare</c:v>
                </c:pt>
                <c:pt idx="38">
                  <c:v>Savencia: A</c:v>
                </c:pt>
                <c:pt idx="39">
                  <c:v>Saint Agur</c:v>
                </c:pt>
                <c:pt idx="40">
                  <c:v>Kiri</c:v>
                </c:pt>
                <c:pt idx="41">
                  <c:v>Boursin</c:v>
                </c:pt>
                <c:pt idx="42">
                  <c:v>Tartare</c:v>
                </c:pt>
                <c:pt idx="43">
                  <c:v>St Moret</c:v>
                </c:pt>
                <c:pt idx="44">
                  <c:v>Paysan Bret</c:v>
                </c:pt>
                <c:pt idx="45">
                  <c:v>Tartare</c:v>
                </c:pt>
                <c:pt idx="46">
                  <c:v>St Moret</c:v>
                </c:pt>
                <c:pt idx="47">
                  <c:v>Paysan Bret</c:v>
                </c:pt>
                <c:pt idx="48">
                  <c:v>Private Lab</c:v>
                </c:pt>
                <c:pt idx="49">
                  <c:v>Kiri</c:v>
                </c:pt>
                <c:pt idx="50">
                  <c:v>Paysan Bret</c:v>
                </c:pt>
                <c:pt idx="51">
                  <c:v>Saint Agur</c:v>
                </c:pt>
                <c:pt idx="52">
                  <c:v>Carre Frais</c:v>
                </c:pt>
                <c:pt idx="53">
                  <c:v>All Others</c:v>
                </c:pt>
                <c:pt idx="54">
                  <c:v>Lactalis: A</c:v>
                </c:pt>
                <c:pt idx="55">
                  <c:v>Tartare</c:v>
                </c:pt>
                <c:pt idx="56">
                  <c:v>Boursin</c:v>
                </c:pt>
                <c:pt idx="57">
                  <c:v>Boursin</c:v>
                </c:pt>
                <c:pt idx="58">
                  <c:v>President</c:v>
                </c:pt>
                <c:pt idx="59">
                  <c:v>All Others</c:v>
                </c:pt>
                <c:pt idx="60">
                  <c:v>All Others</c:v>
                </c:pt>
                <c:pt idx="61">
                  <c:v>All Others</c:v>
                </c:pt>
                <c:pt idx="62">
                  <c:v>Kiri</c:v>
                </c:pt>
                <c:pt idx="63">
                  <c:v>All Others</c:v>
                </c:pt>
                <c:pt idx="64">
                  <c:v>Savencia: A</c:v>
                </c:pt>
                <c:pt idx="65">
                  <c:v>Savencia: A</c:v>
                </c:pt>
                <c:pt idx="66">
                  <c:v>All Others</c:v>
                </c:pt>
                <c:pt idx="67">
                  <c:v>All Others</c:v>
                </c:pt>
                <c:pt idx="68">
                  <c:v>All Others</c:v>
                </c:pt>
                <c:pt idx="69">
                  <c:v>All Others</c:v>
                </c:pt>
                <c:pt idx="70">
                  <c:v>Paysan Bret</c:v>
                </c:pt>
                <c:pt idx="71">
                  <c:v>All Others</c:v>
                </c:pt>
                <c:pt idx="72">
                  <c:v>All Others</c:v>
                </c:pt>
                <c:pt idx="73">
                  <c:v>All Others</c:v>
                </c:pt>
                <c:pt idx="74">
                  <c:v>All Others</c:v>
                </c:pt>
                <c:pt idx="75">
                  <c:v>All Others</c:v>
                </c:pt>
                <c:pt idx="76">
                  <c:v>All Others</c:v>
                </c:pt>
                <c:pt idx="77">
                  <c:v>All Others</c:v>
                </c:pt>
                <c:pt idx="78">
                  <c:v>All Others</c:v>
                </c:pt>
                <c:pt idx="79">
                  <c:v>All Others</c:v>
                </c:pt>
                <c:pt idx="80">
                  <c:v>All Others</c:v>
                </c:pt>
                <c:pt idx="81">
                  <c:v>All Others</c:v>
                </c:pt>
              </c:strCache>
            </c:strRef>
          </c:cat>
          <c:val>
            <c:numRef>
              <c:f>Sheet1!$C$2:$C$83</c:f>
              <c:numCache>
                <c:formatCode>General</c:formatCode>
                <c:ptCount val="82"/>
                <c:pt idx="0">
                  <c:v>0.07175694280307278</c:v>
                </c:pt>
                <c:pt idx="1">
                  <c:v>0.13897426865091722</c:v>
                </c:pt>
                <c:pt idx="2">
                  <c:v>0.19643741086830563</c:v>
                </c:pt>
                <c:pt idx="3">
                  <c:v>0.2536268879312757</c:v>
                </c:pt>
                <c:pt idx="4">
                  <c:v>0.3101296428954092</c:v>
                </c:pt>
                <c:pt idx="5">
                  <c:v>0.36100141882757114</c:v>
                </c:pt>
                <c:pt idx="6">
                  <c:v>0.3957406850910272</c:v>
                </c:pt>
                <c:pt idx="7">
                  <c:v>0.4291141847951822</c:v>
                </c:pt>
                <c:pt idx="8">
                  <c:v>0.4613392377595127</c:v>
                </c:pt>
                <c:pt idx="9">
                  <c:v>0.49130894179849643</c:v>
                </c:pt>
                <c:pt idx="10">
                  <c:v>0.5208644230294573</c:v>
                </c:pt>
                <c:pt idx="11">
                  <c:v>0.5492645192103611</c:v>
                </c:pt>
                <c:pt idx="12">
                  <c:v>0.5763001000026615</c:v>
                </c:pt>
                <c:pt idx="13">
                  <c:v>0.6029807179808925</c:v>
                </c:pt>
                <c:pt idx="14">
                  <c:v>0.6293714482391819</c:v>
                </c:pt>
                <c:pt idx="15">
                  <c:v>0.6548378477088675</c:v>
                </c:pt>
                <c:pt idx="16">
                  <c:v>0.6782828529558225</c:v>
                </c:pt>
                <c:pt idx="17">
                  <c:v>0.7006340364381854</c:v>
                </c:pt>
                <c:pt idx="18">
                  <c:v>0.7217459211266541</c:v>
                </c:pt>
                <c:pt idx="19">
                  <c:v>0.7426459740852975</c:v>
                </c:pt>
                <c:pt idx="20">
                  <c:v>0.7589628892534219</c:v>
                </c:pt>
                <c:pt idx="21">
                  <c:v>0.7742056175061984</c:v>
                </c:pt>
                <c:pt idx="22">
                  <c:v>0.789025663330894</c:v>
                </c:pt>
                <c:pt idx="23">
                  <c:v>0.8014640062076266</c:v>
                </c:pt>
                <c:pt idx="24">
                  <c:v>0.8136991191530804</c:v>
                </c:pt>
                <c:pt idx="25">
                  <c:v>0.8249557597415582</c:v>
                </c:pt>
                <c:pt idx="26">
                  <c:v>0.8353862295698044</c:v>
                </c:pt>
                <c:pt idx="27">
                  <c:v>0.8456034601011901</c:v>
                </c:pt>
                <c:pt idx="28">
                  <c:v>0.8555911008095529</c:v>
                </c:pt>
                <c:pt idx="29">
                  <c:v>0.8650156720504163</c:v>
                </c:pt>
                <c:pt idx="30">
                  <c:v>0.8741688245569775</c:v>
                </c:pt>
                <c:pt idx="31">
                  <c:v>0.8830981028157483</c:v>
                </c:pt>
                <c:pt idx="32">
                  <c:v>0.8919541022816122</c:v>
                </c:pt>
                <c:pt idx="33">
                  <c:v>0.900742510094104</c:v>
                </c:pt>
                <c:pt idx="34">
                  <c:v>0.9083945705561318</c:v>
                </c:pt>
                <c:pt idx="35">
                  <c:v>0.9156792702399041</c:v>
                </c:pt>
                <c:pt idx="36">
                  <c:v>0.9228637198715254</c:v>
                </c:pt>
                <c:pt idx="37">
                  <c:v>0.9294574463196588</c:v>
                </c:pt>
                <c:pt idx="38">
                  <c:v>0.9353467921006998</c:v>
                </c:pt>
                <c:pt idx="39">
                  <c:v>0.9412163039826129</c:v>
                </c:pt>
                <c:pt idx="40">
                  <c:v>0.9467280663520845</c:v>
                </c:pt>
                <c:pt idx="41">
                  <c:v>0.9518694964128936</c:v>
                </c:pt>
                <c:pt idx="42">
                  <c:v>0.9568068861250402</c:v>
                </c:pt>
                <c:pt idx="43">
                  <c:v>0.9617252523554426</c:v>
                </c:pt>
                <c:pt idx="44">
                  <c:v>0.9666390830920659</c:v>
                </c:pt>
                <c:pt idx="45">
                  <c:v>0.9714913931967707</c:v>
                </c:pt>
                <c:pt idx="46">
                  <c:v>0.976264893765371</c:v>
                </c:pt>
                <c:pt idx="47">
                  <c:v>0.9798995588599606</c:v>
                </c:pt>
                <c:pt idx="48">
                  <c:v>0.9832579853694924</c:v>
                </c:pt>
                <c:pt idx="49">
                  <c:v>0.9861481612454199</c:v>
                </c:pt>
                <c:pt idx="50">
                  <c:v>0.9888992154704755</c:v>
                </c:pt>
                <c:pt idx="51">
                  <c:v>0.9908120137637877</c:v>
                </c:pt>
                <c:pt idx="52">
                  <c:v>0.9924027209095421</c:v>
                </c:pt>
                <c:pt idx="53">
                  <c:v>0.9936776638504711</c:v>
                </c:pt>
                <c:pt idx="54">
                  <c:v>0.9947971914857607</c:v>
                </c:pt>
                <c:pt idx="55">
                  <c:v>0.9956574993010506</c:v>
                </c:pt>
                <c:pt idx="56">
                  <c:v>0.9964889733188987</c:v>
                </c:pt>
                <c:pt idx="57">
                  <c:v>0.9969515794665146</c:v>
                </c:pt>
                <c:pt idx="58">
                  <c:v>0.9973634563294793</c:v>
                </c:pt>
                <c:pt idx="59">
                  <c:v>0.997744167667793</c:v>
                </c:pt>
                <c:pt idx="60">
                  <c:v>0.998008690745409</c:v>
                </c:pt>
                <c:pt idx="61">
                  <c:v>0.9982162144670367</c:v>
                </c:pt>
                <c:pt idx="62">
                  <c:v>0.9984174965530248</c:v>
                </c:pt>
                <c:pt idx="63">
                  <c:v>0.9986171151506991</c:v>
                </c:pt>
                <c:pt idx="64">
                  <c:v>0.9987940420616291</c:v>
                </c:pt>
                <c:pt idx="65">
                  <c:v>0.9989518033123267</c:v>
                </c:pt>
                <c:pt idx="66">
                  <c:v>0.9991063086756405</c:v>
                </c:pt>
                <c:pt idx="67">
                  <c:v>0.9992509895054078</c:v>
                </c:pt>
                <c:pt idx="68">
                  <c:v>0.9993861443764542</c:v>
                </c:pt>
                <c:pt idx="69">
                  <c:v>0.9995023895085472</c:v>
                </c:pt>
                <c:pt idx="70">
                  <c:v>0.9996166299239541</c:v>
                </c:pt>
                <c:pt idx="71">
                  <c:v>0.9997170079367447</c:v>
                </c:pt>
                <c:pt idx="72">
                  <c:v>0.9998132485555237</c:v>
                </c:pt>
                <c:pt idx="73">
                  <c:v>0.9998665512708144</c:v>
                </c:pt>
                <c:pt idx="74">
                  <c:v>0.9999090342031399</c:v>
                </c:pt>
                <c:pt idx="75">
                  <c:v>0.9999437541900004</c:v>
                </c:pt>
                <c:pt idx="76">
                  <c:v>0.9999634885641864</c:v>
                </c:pt>
                <c:pt idx="77">
                  <c:v>0.999971123549012</c:v>
                </c:pt>
                <c:pt idx="78">
                  <c:v>0.999977493145291</c:v>
                </c:pt>
                <c:pt idx="79">
                  <c:v>0.9999837347809306</c:v>
                </c:pt>
                <c:pt idx="80">
                  <c:v>0.9999880570069771</c:v>
                </c:pt>
                <c:pt idx="81">
                  <c:v>0.999996587716279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84</c:f>
              <c:strCache>
                <c:ptCount val="83"/>
                <c:pt idx="0">
                  <c:v>St Moret</c:v>
                </c:pt>
                <c:pt idx="1">
                  <c:v>St Moret</c:v>
                </c:pt>
                <c:pt idx="2">
                  <c:v>St Moret</c:v>
                </c:pt>
                <c:pt idx="3">
                  <c:v>Private Lab</c:v>
                </c:pt>
                <c:pt idx="4">
                  <c:v>St Moret</c:v>
                </c:pt>
                <c:pt idx="5">
                  <c:v>Tartare</c:v>
                </c:pt>
                <c:pt idx="6">
                  <c:v>Paysan Bret</c:v>
                </c:pt>
                <c:pt idx="7">
                  <c:v>Boursin</c:v>
                </c:pt>
                <c:pt idx="8">
                  <c:v>St Moret</c:v>
                </c:pt>
                <c:pt idx="9">
                  <c:v>Paysan Bret</c:v>
                </c:pt>
                <c:pt idx="10">
                  <c:v>Philadelphi</c:v>
                </c:pt>
                <c:pt idx="11">
                  <c:v>Tartare</c:v>
                </c:pt>
                <c:pt idx="12">
                  <c:v>Boursin</c:v>
                </c:pt>
                <c:pt idx="13">
                  <c:v>Boursin</c:v>
                </c:pt>
                <c:pt idx="14">
                  <c:v>Carre Frais</c:v>
                </c:pt>
                <c:pt idx="15">
                  <c:v>Carre Frais</c:v>
                </c:pt>
                <c:pt idx="16">
                  <c:v>Private Lab</c:v>
                </c:pt>
                <c:pt idx="17">
                  <c:v>St Moret</c:v>
                </c:pt>
                <c:pt idx="18">
                  <c:v>Private Lab</c:v>
                </c:pt>
                <c:pt idx="19">
                  <c:v>Private Lab</c:v>
                </c:pt>
                <c:pt idx="20">
                  <c:v>Tartare</c:v>
                </c:pt>
                <c:pt idx="21">
                  <c:v>St Moret</c:v>
                </c:pt>
                <c:pt idx="22">
                  <c:v>St Moret</c:v>
                </c:pt>
                <c:pt idx="23">
                  <c:v>Philadelphi</c:v>
                </c:pt>
                <c:pt idx="24">
                  <c:v>Paysan Bret</c:v>
                </c:pt>
                <c:pt idx="25">
                  <c:v>Boursin</c:v>
                </c:pt>
                <c:pt idx="26">
                  <c:v>Paysan Bret</c:v>
                </c:pt>
                <c:pt idx="27">
                  <c:v>Boursin</c:v>
                </c:pt>
                <c:pt idx="28">
                  <c:v>Paysan Bret</c:v>
                </c:pt>
                <c:pt idx="29">
                  <c:v>Boursin</c:v>
                </c:pt>
                <c:pt idx="30">
                  <c:v>Tartare</c:v>
                </c:pt>
                <c:pt idx="31">
                  <c:v>Private Lab</c:v>
                </c:pt>
                <c:pt idx="32">
                  <c:v>Carre Frais</c:v>
                </c:pt>
                <c:pt idx="33">
                  <c:v>Paysan Bret</c:v>
                </c:pt>
                <c:pt idx="34">
                  <c:v>Boursin</c:v>
                </c:pt>
                <c:pt idx="35">
                  <c:v>Tartare</c:v>
                </c:pt>
                <c:pt idx="36">
                  <c:v>Boursin</c:v>
                </c:pt>
                <c:pt idx="37">
                  <c:v>Paysan Bret</c:v>
                </c:pt>
                <c:pt idx="38">
                  <c:v>Boursin</c:v>
                </c:pt>
                <c:pt idx="39">
                  <c:v>Saint Agur</c:v>
                </c:pt>
                <c:pt idx="40">
                  <c:v>Savencia: A</c:v>
                </c:pt>
                <c:pt idx="41">
                  <c:v>Tartare</c:v>
                </c:pt>
                <c:pt idx="42">
                  <c:v>Tartare</c:v>
                </c:pt>
                <c:pt idx="43">
                  <c:v>Kiri</c:v>
                </c:pt>
                <c:pt idx="44">
                  <c:v>St Moret</c:v>
                </c:pt>
                <c:pt idx="45">
                  <c:v>Boursin</c:v>
                </c:pt>
                <c:pt idx="46">
                  <c:v>Paysan Bret</c:v>
                </c:pt>
                <c:pt idx="47">
                  <c:v>Paysan Bret</c:v>
                </c:pt>
                <c:pt idx="48">
                  <c:v>Paysan Bret</c:v>
                </c:pt>
                <c:pt idx="49">
                  <c:v>Kiri</c:v>
                </c:pt>
                <c:pt idx="50">
                  <c:v>Private Lab</c:v>
                </c:pt>
                <c:pt idx="51">
                  <c:v>Carre Frais</c:v>
                </c:pt>
                <c:pt idx="52">
                  <c:v>Saint Agur</c:v>
                </c:pt>
                <c:pt idx="53">
                  <c:v>Boursin</c:v>
                </c:pt>
                <c:pt idx="54">
                  <c:v>Lactalis: A</c:v>
                </c:pt>
                <c:pt idx="55">
                  <c:v>Tartare</c:v>
                </c:pt>
                <c:pt idx="56">
                  <c:v>All Others</c:v>
                </c:pt>
                <c:pt idx="57">
                  <c:v>Savencia: A</c:v>
                </c:pt>
                <c:pt idx="58">
                  <c:v>Savencia: A</c:v>
                </c:pt>
                <c:pt idx="59">
                  <c:v>Boursin</c:v>
                </c:pt>
                <c:pt idx="60">
                  <c:v>President</c:v>
                </c:pt>
                <c:pt idx="61">
                  <c:v>All Others</c:v>
                </c:pt>
                <c:pt idx="62">
                  <c:v>Kiri</c:v>
                </c:pt>
                <c:pt idx="63">
                  <c:v>All Others</c:v>
                </c:pt>
                <c:pt idx="64">
                  <c:v>All Others</c:v>
                </c:pt>
                <c:pt idx="65">
                  <c:v>All Others</c:v>
                </c:pt>
                <c:pt idx="66">
                  <c:v>All Others</c:v>
                </c:pt>
                <c:pt idx="67">
                  <c:v>All Others</c:v>
                </c:pt>
                <c:pt idx="68">
                  <c:v>All Others</c:v>
                </c:pt>
                <c:pt idx="69">
                  <c:v>Paysan Bret</c:v>
                </c:pt>
                <c:pt idx="70">
                  <c:v>All Others</c:v>
                </c:pt>
                <c:pt idx="71">
                  <c:v>All Others</c:v>
                </c:pt>
                <c:pt idx="72">
                  <c:v>All Others</c:v>
                </c:pt>
                <c:pt idx="73">
                  <c:v>All Others</c:v>
                </c:pt>
                <c:pt idx="74">
                  <c:v>All Others</c:v>
                </c:pt>
                <c:pt idx="75">
                  <c:v>All Others</c:v>
                </c:pt>
                <c:pt idx="76">
                  <c:v>All Others</c:v>
                </c:pt>
                <c:pt idx="77">
                  <c:v>All Others</c:v>
                </c:pt>
                <c:pt idx="78">
                  <c:v>All Others</c:v>
                </c:pt>
                <c:pt idx="79">
                  <c:v>All Others</c:v>
                </c:pt>
                <c:pt idx="80">
                  <c:v>All Others</c:v>
                </c:pt>
                <c:pt idx="81">
                  <c:v>All Others</c:v>
                </c:pt>
                <c:pt idx="82">
                  <c:v>All Others</c:v>
                </c:pt>
              </c:strCache>
            </c:strRef>
          </c:cat>
          <c:val>
            <c:numRef>
              <c:f>Sheet1!$B$2:$B$84</c:f>
              <c:numCache>
                <c:formatCode>General</c:formatCode>
                <c:ptCount val="83"/>
                <c:pt idx="0">
                  <c:v>1.0</c:v>
                </c:pt>
                <c:pt idx="1">
                  <c:v>1.0</c:v>
                </c:pt>
                <c:pt idx="2">
                  <c:v>1.0</c:v>
                </c:pt>
                <c:pt idx="3">
                  <c:v>1.0</c:v>
                </c:pt>
                <c:pt idx="4">
                  <c:v>1.0</c:v>
                </c:pt>
                <c:pt idx="5">
                  <c:v>1.0</c:v>
                </c:pt>
                <c:pt idx="6">
                  <c:v>1.0</c:v>
                </c:pt>
                <c:pt idx="7">
                  <c:v>1.0</c:v>
                </c:pt>
                <c:pt idx="8">
                  <c:v>1.0</c:v>
                </c:pt>
                <c:pt idx="9">
                  <c:v>0.99</c:v>
                </c:pt>
                <c:pt idx="10">
                  <c:v>0.98</c:v>
                </c:pt>
                <c:pt idx="11">
                  <c:v>1.0</c:v>
                </c:pt>
                <c:pt idx="12">
                  <c:v>1.0</c:v>
                </c:pt>
                <c:pt idx="13">
                  <c:v>1.0</c:v>
                </c:pt>
                <c:pt idx="14">
                  <c:v>0.99</c:v>
                </c:pt>
                <c:pt idx="15">
                  <c:v>1.0</c:v>
                </c:pt>
                <c:pt idx="16">
                  <c:v>1.0</c:v>
                </c:pt>
                <c:pt idx="17">
                  <c:v>1.0</c:v>
                </c:pt>
                <c:pt idx="18">
                  <c:v>1.0</c:v>
                </c:pt>
                <c:pt idx="19">
                  <c:v>1.0</c:v>
                </c:pt>
                <c:pt idx="20">
                  <c:v>0.99</c:v>
                </c:pt>
                <c:pt idx="21">
                  <c:v>0.99</c:v>
                </c:pt>
                <c:pt idx="22">
                  <c:v>0.78</c:v>
                </c:pt>
                <c:pt idx="23">
                  <c:v>0.99</c:v>
                </c:pt>
                <c:pt idx="24">
                  <c:v>0.63</c:v>
                </c:pt>
                <c:pt idx="25">
                  <c:v>0.99</c:v>
                </c:pt>
                <c:pt idx="26">
                  <c:v>0.68</c:v>
                </c:pt>
                <c:pt idx="27">
                  <c:v>0.99</c:v>
                </c:pt>
                <c:pt idx="28">
                  <c:v>0.79</c:v>
                </c:pt>
                <c:pt idx="29">
                  <c:v>0.99</c:v>
                </c:pt>
                <c:pt idx="30">
                  <c:v>0.99</c:v>
                </c:pt>
                <c:pt idx="31">
                  <c:v>0.96</c:v>
                </c:pt>
                <c:pt idx="32">
                  <c:v>0.93</c:v>
                </c:pt>
                <c:pt idx="33">
                  <c:v>0.72</c:v>
                </c:pt>
                <c:pt idx="34">
                  <c:v>1.0</c:v>
                </c:pt>
                <c:pt idx="35">
                  <c:v>0.98</c:v>
                </c:pt>
                <c:pt idx="36">
                  <c:v>1.0</c:v>
                </c:pt>
                <c:pt idx="37">
                  <c:v>0.7</c:v>
                </c:pt>
                <c:pt idx="38">
                  <c:v>0.99</c:v>
                </c:pt>
                <c:pt idx="39">
                  <c:v>0.99</c:v>
                </c:pt>
                <c:pt idx="40">
                  <c:v>0.97</c:v>
                </c:pt>
                <c:pt idx="41">
                  <c:v>0.98</c:v>
                </c:pt>
                <c:pt idx="42">
                  <c:v>0.99</c:v>
                </c:pt>
                <c:pt idx="43">
                  <c:v>0.99</c:v>
                </c:pt>
                <c:pt idx="44">
                  <c:v>0.93</c:v>
                </c:pt>
                <c:pt idx="45">
                  <c:v>0.98</c:v>
                </c:pt>
                <c:pt idx="46">
                  <c:v>0.7</c:v>
                </c:pt>
                <c:pt idx="47">
                  <c:v>0.61</c:v>
                </c:pt>
                <c:pt idx="48">
                  <c:v>0.28</c:v>
                </c:pt>
                <c:pt idx="49">
                  <c:v>0.98</c:v>
                </c:pt>
                <c:pt idx="50">
                  <c:v>0.97</c:v>
                </c:pt>
                <c:pt idx="51">
                  <c:v>0.59</c:v>
                </c:pt>
                <c:pt idx="52">
                  <c:v>0.94</c:v>
                </c:pt>
                <c:pt idx="53">
                  <c:v>0.7</c:v>
                </c:pt>
                <c:pt idx="54">
                  <c:v>0.73</c:v>
                </c:pt>
                <c:pt idx="55">
                  <c:v>0.82</c:v>
                </c:pt>
                <c:pt idx="56">
                  <c:v>0.12</c:v>
                </c:pt>
                <c:pt idx="57">
                  <c:v>0.89</c:v>
                </c:pt>
                <c:pt idx="58">
                  <c:v>0.86</c:v>
                </c:pt>
                <c:pt idx="59">
                  <c:v>0.92</c:v>
                </c:pt>
                <c:pt idx="60">
                  <c:v>0.8</c:v>
                </c:pt>
                <c:pt idx="61">
                  <c:v>0.43</c:v>
                </c:pt>
                <c:pt idx="62">
                  <c:v>0.64</c:v>
                </c:pt>
                <c:pt idx="63">
                  <c:v>0.14</c:v>
                </c:pt>
                <c:pt idx="64">
                  <c:v>0.07</c:v>
                </c:pt>
                <c:pt idx="65">
                  <c:v>0.09</c:v>
                </c:pt>
                <c:pt idx="66">
                  <c:v>0.13</c:v>
                </c:pt>
                <c:pt idx="67">
                  <c:v>0.4</c:v>
                </c:pt>
                <c:pt idx="68">
                  <c:v>0.04</c:v>
                </c:pt>
                <c:pt idx="69">
                  <c:v>0.23</c:v>
                </c:pt>
                <c:pt idx="70">
                  <c:v>0.21</c:v>
                </c:pt>
                <c:pt idx="71">
                  <c:v>0.05</c:v>
                </c:pt>
                <c:pt idx="72">
                  <c:v>0.04</c:v>
                </c:pt>
                <c:pt idx="73">
                  <c:v>0.06</c:v>
                </c:pt>
                <c:pt idx="74">
                  <c:v>0.04</c:v>
                </c:pt>
                <c:pt idx="75">
                  <c:v>0.04</c:v>
                </c:pt>
                <c:pt idx="76">
                  <c:v>0.03</c:v>
                </c:pt>
                <c:pt idx="77">
                  <c:v>0.04</c:v>
                </c:pt>
                <c:pt idx="78">
                  <c:v>0.02</c:v>
                </c:pt>
                <c:pt idx="79">
                  <c:v>0.02</c:v>
                </c:pt>
                <c:pt idx="80">
                  <c:v>0.02</c:v>
                </c:pt>
                <c:pt idx="81">
                  <c:v>0.01</c:v>
                </c:pt>
                <c:pt idx="82">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Item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7ECAC4"/>
              </a:solidFill>
            </c:spPr>
            <c:extLst>
              <c:ext xmlns:c16="http://schemas.microsoft.com/office/drawing/2014/chart" uri="{C3380CC4-5D6E-409C-BE32-E72D297353CC}">
                <c16:uniqueId val="{0000006F-2993-41DE-A2CB-63102DE87051}"/>
              </c:ext>
            </c:extLst>
          </c:dPt>
          <c:dPt>
            <c:idx val="28"/>
            <c:invertIfNegative val="1"/>
            <c:bubble3D val="0"/>
            <c:spPr>
              <a:solidFill>
                <a:srgbClr val="7ECAC4"/>
              </a:solidFill>
            </c:spPr>
            <c:extLst>
              <c:ext xmlns:c16="http://schemas.microsoft.com/office/drawing/2014/chart" uri="{C3380CC4-5D6E-409C-BE32-E72D297353CC}">
                <c16:uniqueId val="{00000071-2993-41DE-A2CB-63102DE87051}"/>
              </c:ext>
            </c:extLst>
          </c:dPt>
          <c:dPt>
            <c:idx val="29"/>
            <c:invertIfNegative val="1"/>
            <c:bubble3D val="0"/>
            <c:spPr>
              <a:solidFill>
                <a:srgbClr val="7ECAC4"/>
              </a:solidFill>
            </c:spPr>
            <c:extLst>
              <c:ext xmlns:c16="http://schemas.microsoft.com/office/drawing/2014/chart" uri="{C3380CC4-5D6E-409C-BE32-E72D297353CC}">
                <c16:uniqueId val="{00000073-2993-41DE-A2CB-63102DE87051}"/>
              </c:ext>
            </c:extLst>
          </c:dPt>
          <c:dPt>
            <c:idx val="30"/>
            <c:invertIfNegative val="1"/>
            <c:bubble3D val="0"/>
            <c:spPr>
              <a:solidFill>
                <a:srgbClr val="7ECAC4"/>
              </a:solidFill>
            </c:spPr>
            <c:extLst>
              <c:ext xmlns:c16="http://schemas.microsoft.com/office/drawing/2014/chart" uri="{C3380CC4-5D6E-409C-BE32-E72D297353CC}">
                <c16:uniqueId val="{00000075-2993-41DE-A2CB-63102DE87051}"/>
              </c:ext>
            </c:extLst>
          </c:dPt>
          <c:dPt>
            <c:idx val="31"/>
            <c:invertIfNegative val="1"/>
            <c:bubble3D val="0"/>
            <c:spPr>
              <a:solidFill>
                <a:srgbClr val="7ECAC4"/>
              </a:solidFill>
            </c:spPr>
            <c:extLst>
              <c:ext xmlns:c16="http://schemas.microsoft.com/office/drawing/2014/chart" uri="{C3380CC4-5D6E-409C-BE32-E72D297353CC}">
                <c16:uniqueId val="{00000077-2993-41DE-A2CB-63102DE87051}"/>
              </c:ext>
            </c:extLst>
          </c:dPt>
          <c:dPt>
            <c:idx val="32"/>
            <c:invertIfNegative val="1"/>
            <c:bubble3D val="0"/>
            <c:spPr>
              <a:solidFill>
                <a:srgbClr val="7ECAC4"/>
              </a:solidFill>
            </c:spPr>
            <c:extLst>
              <c:ext xmlns:c16="http://schemas.microsoft.com/office/drawing/2014/chart" uri="{C3380CC4-5D6E-409C-BE32-E72D297353CC}">
                <c16:uniqueId val="{00000079-2993-41DE-A2CB-63102DE87051}"/>
              </c:ext>
            </c:extLst>
          </c:dPt>
          <c:dPt>
            <c:idx val="33"/>
            <c:invertIfNegative val="1"/>
            <c:bubble3D val="0"/>
            <c:spPr>
              <a:solidFill>
                <a:srgbClr val="7ECAC4"/>
              </a:solidFill>
            </c:spPr>
            <c:extLst>
              <c:ext xmlns:c16="http://schemas.microsoft.com/office/drawing/2014/chart" uri="{C3380CC4-5D6E-409C-BE32-E72D297353CC}">
                <c16:uniqueId val="{0000007B-2993-41DE-A2CB-63102DE87051}"/>
              </c:ext>
            </c:extLst>
          </c:dPt>
          <c:dPt>
            <c:idx val="34"/>
            <c:invertIfNegative val="1"/>
            <c:bubble3D val="0"/>
            <c:spPr>
              <a:solidFill>
                <a:srgbClr val="7ECAC4"/>
              </a:solidFill>
            </c:spPr>
            <c:extLst>
              <c:ext xmlns:c16="http://schemas.microsoft.com/office/drawing/2014/chart" uri="{C3380CC4-5D6E-409C-BE32-E72D297353CC}">
                <c16:uniqueId val="{0000007D-2993-41DE-A2CB-63102DE87051}"/>
              </c:ext>
            </c:extLst>
          </c:dPt>
          <c:dPt>
            <c:idx val="35"/>
            <c:invertIfNegative val="1"/>
            <c:bubble3D val="0"/>
            <c:spPr>
              <a:solidFill>
                <a:srgbClr val="7ECAC4"/>
              </a:solidFill>
            </c:spPr>
            <c:extLst>
              <c:ext xmlns:c16="http://schemas.microsoft.com/office/drawing/2014/chart" uri="{C3380CC4-5D6E-409C-BE32-E72D297353CC}">
                <c16:uniqueId val="{0000007F-2993-41DE-A2CB-63102DE87051}"/>
              </c:ext>
            </c:extLst>
          </c:dPt>
          <c:dPt>
            <c:idx val="36"/>
            <c:invertIfNegative val="1"/>
            <c:bubble3D val="0"/>
            <c:spPr>
              <a:solidFill>
                <a:srgbClr val="7ECAC4"/>
              </a:solidFill>
            </c:spPr>
            <c:extLst>
              <c:ext xmlns:c16="http://schemas.microsoft.com/office/drawing/2014/chart" uri="{C3380CC4-5D6E-409C-BE32-E72D297353CC}">
                <c16:uniqueId val="{00000081-2993-41DE-A2CB-63102DE87051}"/>
              </c:ext>
            </c:extLst>
          </c:dPt>
          <c:dPt>
            <c:idx val="37"/>
            <c:invertIfNegative val="1"/>
            <c:bubble3D val="0"/>
            <c:spPr>
              <a:solidFill>
                <a:srgbClr val="7ECAC4"/>
              </a:solidFill>
            </c:spPr>
            <c:extLst>
              <c:ext xmlns:c16="http://schemas.microsoft.com/office/drawing/2014/chart" uri="{C3380CC4-5D6E-409C-BE32-E72D297353CC}">
                <c16:uniqueId val="{00000083-2993-41DE-A2CB-63102DE87051}"/>
              </c:ext>
            </c:extLst>
          </c:dPt>
          <c:dPt>
            <c:idx val="38"/>
            <c:invertIfNegative val="1"/>
            <c:bubble3D val="0"/>
            <c:spPr>
              <a:solidFill>
                <a:srgbClr val="7ECAC4"/>
              </a:solidFill>
            </c:spPr>
            <c:extLst>
              <c:ext xmlns:c16="http://schemas.microsoft.com/office/drawing/2014/chart" uri="{C3380CC4-5D6E-409C-BE32-E72D297353CC}">
                <c16:uniqueId val="{00000085-2993-41DE-A2CB-63102DE87051}"/>
              </c:ext>
            </c:extLst>
          </c:dPt>
          <c:dPt>
            <c:idx val="39"/>
            <c:invertIfNegative val="1"/>
            <c:bubble3D val="0"/>
            <c:spPr>
              <a:solidFill>
                <a:srgbClr val="7ECAC4"/>
              </a:solidFill>
            </c:spPr>
            <c:extLst>
              <c:ext xmlns:c16="http://schemas.microsoft.com/office/drawing/2014/chart" uri="{C3380CC4-5D6E-409C-BE32-E72D297353CC}">
                <c16:uniqueId val="{00000087-2993-41DE-A2CB-63102DE87051}"/>
              </c:ext>
            </c:extLst>
          </c:dPt>
          <c:dPt>
            <c:idx val="40"/>
            <c:invertIfNegative val="1"/>
            <c:bubble3D val="0"/>
            <c:spPr>
              <a:solidFill>
                <a:srgbClr val="7ECAC4"/>
              </a:solidFill>
            </c:spPr>
            <c:extLst>
              <c:ext xmlns:c16="http://schemas.microsoft.com/office/drawing/2014/chart" uri="{C3380CC4-5D6E-409C-BE32-E72D297353CC}">
                <c16:uniqueId val="{00000089-2993-41DE-A2CB-63102DE87051}"/>
              </c:ext>
            </c:extLst>
          </c:dPt>
          <c:dPt>
            <c:idx val="41"/>
            <c:invertIfNegative val="1"/>
            <c:bubble3D val="0"/>
            <c:spPr>
              <a:solidFill>
                <a:srgbClr val="7ECAC4"/>
              </a:solidFill>
            </c:spPr>
            <c:extLst>
              <c:ext xmlns:c16="http://schemas.microsoft.com/office/drawing/2014/chart" uri="{C3380CC4-5D6E-409C-BE32-E72D297353CC}">
                <c16:uniqueId val="{0000008B-2993-41DE-A2CB-63102DE87051}"/>
              </c:ext>
            </c:extLst>
          </c:dPt>
          <c:dPt>
            <c:idx val="42"/>
            <c:invertIfNegative val="1"/>
            <c:bubble3D val="0"/>
            <c:spPr>
              <a:solidFill>
                <a:srgbClr val="7ECAC4"/>
              </a:solidFill>
            </c:spPr>
            <c:extLst>
              <c:ext xmlns:c16="http://schemas.microsoft.com/office/drawing/2014/chart" uri="{C3380CC4-5D6E-409C-BE32-E72D297353CC}">
                <c16:uniqueId val="{0000008D-2993-41DE-A2CB-63102DE87051}"/>
              </c:ext>
            </c:extLst>
          </c:dPt>
          <c:dPt>
            <c:idx val="43"/>
            <c:invertIfNegative val="1"/>
            <c:bubble3D val="0"/>
            <c:spPr>
              <a:solidFill>
                <a:srgbClr val="AEABAB"/>
              </a:solidFill>
            </c:spPr>
            <c:extLst>
              <c:ext xmlns:c16="http://schemas.microsoft.com/office/drawing/2014/chart" uri="{C3380CC4-5D6E-409C-BE32-E72D297353CC}">
                <c16:uniqueId val="{0000008F-2993-41DE-A2CB-63102DE87051}"/>
              </c:ext>
            </c:extLst>
          </c:dPt>
          <c:dPt>
            <c:idx val="44"/>
            <c:invertIfNegative val="1"/>
            <c:bubble3D val="0"/>
            <c:spPr>
              <a:solidFill>
                <a:srgbClr val="AEABAB"/>
              </a:solidFill>
            </c:spPr>
            <c:extLst>
              <c:ext xmlns:c16="http://schemas.microsoft.com/office/drawing/2014/chart" uri="{C3380CC4-5D6E-409C-BE32-E72D297353CC}">
                <c16:uniqueId val="{00000091-2993-41DE-A2CB-63102DE87051}"/>
              </c:ext>
            </c:extLst>
          </c:dPt>
          <c:dPt>
            <c:idx val="45"/>
            <c:invertIfNegative val="1"/>
            <c:bubble3D val="0"/>
            <c:spPr>
              <a:solidFill>
                <a:srgbClr val="AEABAB"/>
              </a:solidFill>
            </c:spPr>
            <c:extLst>
              <c:ext xmlns:c16="http://schemas.microsoft.com/office/drawing/2014/chart" uri="{C3380CC4-5D6E-409C-BE32-E72D297353CC}">
                <c16:uniqueId val="{00000093-2993-41DE-A2CB-63102DE87051}"/>
              </c:ext>
            </c:extLst>
          </c:dPt>
          <c:dPt>
            <c:idx val="46"/>
            <c:invertIfNegative val="1"/>
            <c:bubble3D val="0"/>
            <c:spPr>
              <a:solidFill>
                <a:srgbClr val="AEABAB"/>
              </a:solidFill>
            </c:spPr>
            <c:extLst>
              <c:ext xmlns:c16="http://schemas.microsoft.com/office/drawing/2014/chart" uri="{C3380CC4-5D6E-409C-BE32-E72D297353CC}">
                <c16:uniqueId val="{00000095-2993-41DE-A2CB-63102DE87051}"/>
              </c:ext>
            </c:extLst>
          </c:dPt>
          <c:dPt>
            <c:idx val="47"/>
            <c:invertIfNegative val="1"/>
            <c:bubble3D val="0"/>
            <c:spPr>
              <a:solidFill>
                <a:srgbClr val="AEABAB"/>
              </a:solidFill>
            </c:spPr>
            <c:extLst>
              <c:ext xmlns:c16="http://schemas.microsoft.com/office/drawing/2014/chart" uri="{C3380CC4-5D6E-409C-BE32-E72D297353CC}">
                <c16:uniqueId val="{00000097-2993-41DE-A2CB-63102DE87051}"/>
              </c:ext>
            </c:extLst>
          </c:dPt>
          <c:dPt>
            <c:idx val="48"/>
            <c:invertIfNegative val="1"/>
            <c:bubble3D val="0"/>
            <c:spPr>
              <a:solidFill>
                <a:srgbClr val="AEABAB"/>
              </a:solidFill>
            </c:spPr>
            <c:extLst>
              <c:ext xmlns:c16="http://schemas.microsoft.com/office/drawing/2014/chart" uri="{C3380CC4-5D6E-409C-BE32-E72D297353CC}">
                <c16:uniqueId val="{00000099-2993-41DE-A2CB-63102DE87051}"/>
              </c:ext>
            </c:extLst>
          </c:dPt>
          <c:dPt>
            <c:idx val="49"/>
            <c:invertIfNegative val="1"/>
            <c:bubble3D val="0"/>
            <c:spPr>
              <a:solidFill>
                <a:srgbClr val="AEABAB"/>
              </a:solidFill>
            </c:spPr>
            <c:extLst>
              <c:ext xmlns:c16="http://schemas.microsoft.com/office/drawing/2014/chart" uri="{C3380CC4-5D6E-409C-BE32-E72D297353CC}">
                <c16:uniqueId val="{0000009B-2993-41DE-A2CB-63102DE87051}"/>
              </c:ext>
            </c:extLst>
          </c:dPt>
          <c:dPt>
            <c:idx val="50"/>
            <c:invertIfNegative val="1"/>
            <c:bubble3D val="0"/>
            <c:spPr>
              <a:solidFill>
                <a:srgbClr val="AEABAB"/>
              </a:solidFill>
            </c:spPr>
            <c:extLst>
              <c:ext xmlns:c16="http://schemas.microsoft.com/office/drawing/2014/chart" uri="{C3380CC4-5D6E-409C-BE32-E72D297353CC}">
                <c16:uniqueId val="{0000009D-2993-41DE-A2CB-63102DE87051}"/>
              </c:ext>
            </c:extLst>
          </c:dPt>
          <c:dPt>
            <c:idx val="51"/>
            <c:invertIfNegative val="1"/>
            <c:bubble3D val="0"/>
            <c:spPr>
              <a:solidFill>
                <a:srgbClr val="AEABAB"/>
              </a:solidFill>
            </c:spPr>
            <c:extLst>
              <c:ext xmlns:c16="http://schemas.microsoft.com/office/drawing/2014/chart" uri="{C3380CC4-5D6E-409C-BE32-E72D297353CC}">
                <c16:uniqueId val="{0000009F-2993-41DE-A2CB-63102DE87051}"/>
              </c:ext>
            </c:extLst>
          </c:dPt>
          <c:dPt>
            <c:idx val="52"/>
            <c:invertIfNegative val="1"/>
            <c:bubble3D val="0"/>
            <c:spPr>
              <a:solidFill>
                <a:srgbClr val="AEABAB"/>
              </a:solidFill>
            </c:spPr>
            <c:extLst>
              <c:ext xmlns:c16="http://schemas.microsoft.com/office/drawing/2014/chart" uri="{C3380CC4-5D6E-409C-BE32-E72D297353CC}">
                <c16:uniqueId val="{000000A1-2993-41DE-A2CB-63102DE87051}"/>
              </c:ext>
            </c:extLst>
          </c:dPt>
          <c:dPt>
            <c:idx val="53"/>
            <c:invertIfNegative val="1"/>
            <c:bubble3D val="0"/>
            <c:spPr>
              <a:solidFill>
                <a:srgbClr val="AEABAB"/>
              </a:solidFill>
            </c:spPr>
            <c:extLst>
              <c:ext xmlns:c16="http://schemas.microsoft.com/office/drawing/2014/chart" uri="{C3380CC4-5D6E-409C-BE32-E72D297353CC}">
                <c16:uniqueId val="{000000A3-2993-41DE-A2CB-63102DE87051}"/>
              </c:ext>
            </c:extLst>
          </c:dPt>
          <c:dPt>
            <c:idx val="54"/>
            <c:invertIfNegative val="0"/>
            <c:bubble3D val="0"/>
            <c:spPr>
              <a:solidFill>
                <a:srgbClr val="AEABAB"/>
              </a:solidFill>
            </c:spPr>
            <c:extLst>
              <c:ext xmlns:c16="http://schemas.microsoft.com/office/drawing/2014/chart" uri="{C3380CC4-5D6E-409C-BE32-E72D297353CC}">
                <c16:uniqueId val="{00000072-C76F-4230-900D-40618C09729F}"/>
              </c:ext>
            </c:extLst>
          </c:dPt>
          <c:dPt>
            <c:idx val="55"/>
            <c:invertIfNegative val="0"/>
            <c:bubble3D val="0"/>
            <c:spPr>
              <a:solidFill>
                <a:srgbClr val="AEABAB"/>
              </a:solidFill>
            </c:spPr>
            <c:extLst>
              <c:ext xmlns:c16="http://schemas.microsoft.com/office/drawing/2014/chart" uri="{C3380CC4-5D6E-409C-BE32-E72D297353CC}">
                <c16:uniqueId val="{00000074-C76F-4230-900D-40618C09729F}"/>
              </c:ext>
            </c:extLst>
          </c:dPt>
          <c:dPt>
            <c:idx val="56"/>
            <c:invertIfNegative val="0"/>
            <c:bubble3D val="0"/>
            <c:spPr>
              <a:solidFill>
                <a:srgbClr val="AEABAB"/>
              </a:solidFill>
            </c:spPr>
            <c:extLst>
              <c:ext xmlns:c16="http://schemas.microsoft.com/office/drawing/2014/chart" uri="{C3380CC4-5D6E-409C-BE32-E72D297353CC}">
                <c16:uniqueId val="{00000076-C76F-4230-900D-40618C09729F}"/>
              </c:ext>
            </c:extLst>
          </c:dPt>
          <c:dPt>
            <c:idx val="57"/>
            <c:invertIfNegative val="0"/>
            <c:bubble3D val="0"/>
            <c:spPr>
              <a:solidFill>
                <a:srgbClr val="AEABAB"/>
              </a:solidFill>
            </c:spPr>
            <c:extLst>
              <c:ext xmlns:c16="http://schemas.microsoft.com/office/drawing/2014/chart" uri="{C3380CC4-5D6E-409C-BE32-E72D297353CC}">
                <c16:uniqueId val="{00000078-C76F-4230-900D-40618C09729F}"/>
              </c:ext>
            </c:extLst>
          </c:dPt>
          <c:dPt>
            <c:idx val="58"/>
            <c:invertIfNegative val="0"/>
            <c:bubble3D val="0"/>
            <c:spPr>
              <a:solidFill>
                <a:srgbClr val="AEABAB"/>
              </a:solidFill>
            </c:spPr>
            <c:extLst>
              <c:ext xmlns:c16="http://schemas.microsoft.com/office/drawing/2014/chart" uri="{C3380CC4-5D6E-409C-BE32-E72D297353CC}">
                <c16:uniqueId val="{0000007A-C76F-4230-900D-40618C09729F}"/>
              </c:ext>
            </c:extLst>
          </c:dPt>
          <c:dPt>
            <c:idx val="59"/>
            <c:invertIfNegative val="0"/>
            <c:bubble3D val="0"/>
            <c:spPr>
              <a:solidFill>
                <a:srgbClr val="AEABAB"/>
              </a:solidFill>
            </c:spPr>
            <c:extLst>
              <c:ext xmlns:c16="http://schemas.microsoft.com/office/drawing/2014/chart" uri="{C3380CC4-5D6E-409C-BE32-E72D297353CC}">
                <c16:uniqueId val="{0000007C-C76F-4230-900D-40618C09729F}"/>
              </c:ext>
            </c:extLst>
          </c:dPt>
          <c:dPt>
            <c:idx val="60"/>
            <c:invertIfNegative val="0"/>
            <c:bubble3D val="0"/>
            <c:spPr>
              <a:solidFill>
                <a:srgbClr val="AEABAB"/>
              </a:solidFill>
            </c:spPr>
            <c:extLst>
              <c:ext xmlns:c16="http://schemas.microsoft.com/office/drawing/2014/chart" uri="{C3380CC4-5D6E-409C-BE32-E72D297353CC}">
                <c16:uniqueId val="{0000007E-C76F-4230-900D-40618C09729F}"/>
              </c:ext>
            </c:extLst>
          </c:dPt>
          <c:dPt>
            <c:idx val="61"/>
            <c:invertIfNegative val="0"/>
            <c:bubble3D val="0"/>
            <c:spPr>
              <a:solidFill>
                <a:srgbClr val="AEABAB"/>
              </a:solidFill>
            </c:spPr>
            <c:extLst>
              <c:ext xmlns:c16="http://schemas.microsoft.com/office/drawing/2014/chart" uri="{C3380CC4-5D6E-409C-BE32-E72D297353CC}">
                <c16:uniqueId val="{00000080-C76F-4230-900D-40618C09729F}"/>
              </c:ext>
            </c:extLst>
          </c:dPt>
          <c:dPt>
            <c:idx val="62"/>
            <c:invertIfNegative val="0"/>
            <c:bubble3D val="0"/>
            <c:spPr>
              <a:solidFill>
                <a:srgbClr val="AEABAB"/>
              </a:solidFill>
            </c:spPr>
            <c:extLst>
              <c:ext xmlns:c16="http://schemas.microsoft.com/office/drawing/2014/chart" uri="{C3380CC4-5D6E-409C-BE32-E72D297353CC}">
                <c16:uniqueId val="{00000082-C76F-4230-900D-40618C09729F}"/>
              </c:ext>
            </c:extLst>
          </c:dPt>
          <c:dPt>
            <c:idx val="63"/>
            <c:invertIfNegative val="0"/>
            <c:bubble3D val="0"/>
            <c:spPr>
              <a:solidFill>
                <a:srgbClr val="AEABAB"/>
              </a:solidFill>
            </c:spPr>
            <c:extLst>
              <c:ext xmlns:c16="http://schemas.microsoft.com/office/drawing/2014/chart" uri="{C3380CC4-5D6E-409C-BE32-E72D297353CC}">
                <c16:uniqueId val="{00000084-C76F-4230-900D-40618C09729F}"/>
              </c:ext>
            </c:extLst>
          </c:dPt>
          <c:dPt>
            <c:idx val="64"/>
            <c:invertIfNegative val="0"/>
            <c:bubble3D val="0"/>
            <c:spPr>
              <a:solidFill>
                <a:srgbClr val="AEABAB"/>
              </a:solidFill>
            </c:spPr>
            <c:extLst>
              <c:ext xmlns:c16="http://schemas.microsoft.com/office/drawing/2014/chart" uri="{C3380CC4-5D6E-409C-BE32-E72D297353CC}">
                <c16:uniqueId val="{00000086-C76F-4230-900D-40618C09729F}"/>
              </c:ext>
            </c:extLst>
          </c:dPt>
          <c:dPt>
            <c:idx val="65"/>
            <c:invertIfNegative val="0"/>
            <c:bubble3D val="0"/>
            <c:spPr>
              <a:solidFill>
                <a:srgbClr val="AEABAB"/>
              </a:solidFill>
            </c:spPr>
            <c:extLst>
              <c:ext xmlns:c16="http://schemas.microsoft.com/office/drawing/2014/chart" uri="{C3380CC4-5D6E-409C-BE32-E72D297353CC}">
                <c16:uniqueId val="{00000088-C76F-4230-900D-40618C09729F}"/>
              </c:ext>
            </c:extLst>
          </c:dPt>
          <c:dPt>
            <c:idx val="66"/>
            <c:invertIfNegative val="0"/>
            <c:bubble3D val="0"/>
            <c:spPr>
              <a:solidFill>
                <a:srgbClr val="AEABAB"/>
              </a:solidFill>
            </c:spPr>
            <c:extLst>
              <c:ext xmlns:c16="http://schemas.microsoft.com/office/drawing/2014/chart" uri="{C3380CC4-5D6E-409C-BE32-E72D297353CC}">
                <c16:uniqueId val="{0000008A-C76F-4230-900D-40618C09729F}"/>
              </c:ext>
            </c:extLst>
          </c:dPt>
          <c:dPt>
            <c:idx val="67"/>
            <c:invertIfNegative val="0"/>
            <c:bubble3D val="0"/>
            <c:spPr>
              <a:solidFill>
                <a:srgbClr val="AEABAB"/>
              </a:solidFill>
            </c:spPr>
            <c:extLst>
              <c:ext xmlns:c16="http://schemas.microsoft.com/office/drawing/2014/chart" uri="{C3380CC4-5D6E-409C-BE32-E72D297353CC}">
                <c16:uniqueId val="{0000008C-C76F-4230-900D-40618C09729F}"/>
              </c:ext>
            </c:extLst>
          </c:dPt>
          <c:dPt>
            <c:idx val="68"/>
            <c:invertIfNegative val="0"/>
            <c:bubble3D val="0"/>
            <c:spPr>
              <a:solidFill>
                <a:srgbClr val="AEABAB"/>
              </a:solidFill>
            </c:spPr>
            <c:extLst>
              <c:ext xmlns:c16="http://schemas.microsoft.com/office/drawing/2014/chart" uri="{C3380CC4-5D6E-409C-BE32-E72D297353CC}">
                <c16:uniqueId val="{0000008E-C76F-4230-900D-40618C09729F}"/>
              </c:ext>
            </c:extLst>
          </c:dPt>
          <c:dPt>
            <c:idx val="69"/>
            <c:invertIfNegative val="0"/>
            <c:bubble3D val="0"/>
            <c:spPr>
              <a:solidFill>
                <a:srgbClr val="AEABAB"/>
              </a:solidFill>
            </c:spPr>
            <c:extLst>
              <c:ext xmlns:c16="http://schemas.microsoft.com/office/drawing/2014/chart" uri="{C3380CC4-5D6E-409C-BE32-E72D297353CC}">
                <c16:uniqueId val="{00000090-C76F-4230-900D-40618C09729F}"/>
              </c:ext>
            </c:extLst>
          </c:dPt>
          <c:dPt>
            <c:idx val="70"/>
            <c:invertIfNegative val="0"/>
            <c:bubble3D val="0"/>
            <c:spPr>
              <a:solidFill>
                <a:srgbClr val="AEABAB"/>
              </a:solidFill>
            </c:spPr>
            <c:extLst>
              <c:ext xmlns:c16="http://schemas.microsoft.com/office/drawing/2014/chart" uri="{C3380CC4-5D6E-409C-BE32-E72D297353CC}">
                <c16:uniqueId val="{00000092-C76F-4230-900D-40618C09729F}"/>
              </c:ext>
            </c:extLst>
          </c:dPt>
          <c:dPt>
            <c:idx val="71"/>
            <c:invertIfNegative val="0"/>
            <c:bubble3D val="0"/>
            <c:spPr>
              <a:solidFill>
                <a:srgbClr val="AEABAB"/>
              </a:solidFill>
            </c:spPr>
            <c:extLst>
              <c:ext xmlns:c16="http://schemas.microsoft.com/office/drawing/2014/chart" uri="{C3380CC4-5D6E-409C-BE32-E72D297353CC}">
                <c16:uniqueId val="{00000094-C76F-4230-900D-40618C09729F}"/>
              </c:ext>
            </c:extLst>
          </c:dPt>
          <c:dPt>
            <c:idx val="72"/>
            <c:invertIfNegative val="0"/>
            <c:bubble3D val="0"/>
            <c:spPr>
              <a:solidFill>
                <a:srgbClr val="AEABAB"/>
              </a:solidFill>
            </c:spPr>
            <c:extLst>
              <c:ext xmlns:c16="http://schemas.microsoft.com/office/drawing/2014/chart" uri="{C3380CC4-5D6E-409C-BE32-E72D297353CC}">
                <c16:uniqueId val="{00000096-C76F-4230-900D-40618C09729F}"/>
              </c:ext>
            </c:extLst>
          </c:dPt>
          <c:dPt>
            <c:idx val="73"/>
            <c:invertIfNegative val="0"/>
            <c:bubble3D val="0"/>
            <c:spPr>
              <a:solidFill>
                <a:srgbClr val="AEABAB"/>
              </a:solidFill>
            </c:spPr>
            <c:extLst>
              <c:ext xmlns:c16="http://schemas.microsoft.com/office/drawing/2014/chart" uri="{C3380CC4-5D6E-409C-BE32-E72D297353CC}">
                <c16:uniqueId val="{00000098-C76F-4230-900D-40618C09729F}"/>
              </c:ext>
            </c:extLst>
          </c:dPt>
          <c:dPt>
            <c:idx val="74"/>
            <c:invertIfNegative val="0"/>
            <c:bubble3D val="0"/>
            <c:spPr>
              <a:solidFill>
                <a:srgbClr val="AEABAB"/>
              </a:solidFill>
            </c:spPr>
            <c:extLst>
              <c:ext xmlns:c16="http://schemas.microsoft.com/office/drawing/2014/chart" uri="{C3380CC4-5D6E-409C-BE32-E72D297353CC}">
                <c16:uniqueId val="{0000009A-C76F-4230-900D-40618C09729F}"/>
              </c:ext>
            </c:extLst>
          </c:dPt>
          <c:dPt>
            <c:idx val="75"/>
            <c:invertIfNegative val="0"/>
            <c:bubble3D val="0"/>
            <c:spPr>
              <a:solidFill>
                <a:srgbClr val="AEABAB"/>
              </a:solidFill>
            </c:spPr>
            <c:extLst>
              <c:ext xmlns:c16="http://schemas.microsoft.com/office/drawing/2014/chart" uri="{C3380CC4-5D6E-409C-BE32-E72D297353CC}">
                <c16:uniqueId val="{0000009C-C76F-4230-900D-40618C09729F}"/>
              </c:ext>
            </c:extLst>
          </c:dPt>
          <c:dPt>
            <c:idx val="76"/>
            <c:invertIfNegative val="0"/>
            <c:bubble3D val="0"/>
            <c:spPr>
              <a:solidFill>
                <a:srgbClr val="AEABAB"/>
              </a:solidFill>
            </c:spPr>
            <c:extLst>
              <c:ext xmlns:c16="http://schemas.microsoft.com/office/drawing/2014/chart" uri="{C3380CC4-5D6E-409C-BE32-E72D297353CC}">
                <c16:uniqueId val="{0000009E-C76F-4230-900D-40618C09729F}"/>
              </c:ext>
            </c:extLst>
          </c:dPt>
          <c:dPt>
            <c:idx val="77"/>
            <c:invertIfNegative val="0"/>
            <c:bubble3D val="0"/>
            <c:spPr>
              <a:solidFill>
                <a:srgbClr val="AEABAB"/>
              </a:solidFill>
            </c:spPr>
            <c:extLst>
              <c:ext xmlns:c16="http://schemas.microsoft.com/office/drawing/2014/chart" uri="{C3380CC4-5D6E-409C-BE32-E72D297353CC}">
                <c16:uniqueId val="{000000A0-C76F-4230-900D-40618C09729F}"/>
              </c:ext>
            </c:extLst>
          </c:dPt>
          <c:dPt>
            <c:idx val="78"/>
            <c:invertIfNegative val="0"/>
            <c:bubble3D val="0"/>
            <c:spPr>
              <a:solidFill>
                <a:srgbClr val="AEABAB"/>
              </a:solidFill>
            </c:spPr>
            <c:extLst>
              <c:ext xmlns:c16="http://schemas.microsoft.com/office/drawing/2014/chart" uri="{C3380CC4-5D6E-409C-BE32-E72D297353CC}">
                <c16:uniqueId val="{000000A2-C76F-4230-900D-40618C09729F}"/>
              </c:ext>
            </c:extLst>
          </c:dPt>
          <c:dPt>
            <c:idx val="79"/>
            <c:invertIfNegative val="0"/>
            <c:bubble3D val="0"/>
            <c:spPr>
              <a:solidFill>
                <a:srgbClr val="AEABAB"/>
              </a:solidFill>
            </c:spPr>
            <c:extLst>
              <c:ext xmlns:c16="http://schemas.microsoft.com/office/drawing/2014/chart" uri="{C3380CC4-5D6E-409C-BE32-E72D297353CC}">
                <c16:uniqueId val="{000000A4-C76F-4230-900D-40618C09729F}"/>
              </c:ext>
            </c:extLst>
          </c:dPt>
          <c:dPt>
            <c:idx val="80"/>
            <c:invertIfNegative val="0"/>
            <c:bubble3D val="0"/>
            <c:spPr>
              <a:solidFill>
                <a:srgbClr val="AEABAB"/>
              </a:solidFill>
            </c:spPr>
            <c:extLst>
              <c:ext xmlns:c16="http://schemas.microsoft.com/office/drawing/2014/chart" uri="{C3380CC4-5D6E-409C-BE32-E72D297353CC}">
                <c16:uniqueId val="{000000A6-C76F-4230-900D-40618C09729F}"/>
              </c:ext>
            </c:extLst>
          </c:dPt>
          <c:dPt>
            <c:idx val="81"/>
            <c:invertIfNegative val="1"/>
            <c:bubble3D val="0"/>
            <c:spPr>
              <a:solidFill>
                <a:srgbClr val="AEABAB"/>
              </a:solidFill>
            </c:spPr>
            <c:extLst>
              <c:ext xmlns:c16="http://schemas.microsoft.com/office/drawing/2014/chart" uri="{C3380CC4-5D6E-409C-BE32-E72D297353CC}">
                <c16:uniqueId val="{000000A5-2993-41DE-A2CB-63102DE87051}"/>
              </c:ext>
            </c:extLst>
          </c:dPt>
          <c:dPt>
            <c:idx val="82"/>
            <c:invertIfNegative val="1"/>
            <c:bubble3D val="0"/>
            <c:spPr>
              <a:solidFill>
                <a:srgbClr val="AEABAB"/>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84</c:f>
              <c:strCache>
                <c:ptCount val="83"/>
                <c:pt idx="0">
                  <c:v>St Moret</c:v>
                </c:pt>
                <c:pt idx="1">
                  <c:v>St Moret</c:v>
                </c:pt>
                <c:pt idx="2">
                  <c:v>St Moret</c:v>
                </c:pt>
                <c:pt idx="3">
                  <c:v>Private Lab</c:v>
                </c:pt>
                <c:pt idx="4">
                  <c:v>St Moret</c:v>
                </c:pt>
                <c:pt idx="5">
                  <c:v>Tartare</c:v>
                </c:pt>
                <c:pt idx="6">
                  <c:v>Paysan Bret</c:v>
                </c:pt>
                <c:pt idx="7">
                  <c:v>Boursin</c:v>
                </c:pt>
                <c:pt idx="8">
                  <c:v>St Moret</c:v>
                </c:pt>
                <c:pt idx="9">
                  <c:v>Paysan Bret</c:v>
                </c:pt>
                <c:pt idx="10">
                  <c:v>Philadelphi</c:v>
                </c:pt>
                <c:pt idx="11">
                  <c:v>Tartare</c:v>
                </c:pt>
                <c:pt idx="12">
                  <c:v>Boursin</c:v>
                </c:pt>
                <c:pt idx="13">
                  <c:v>Boursin</c:v>
                </c:pt>
                <c:pt idx="14">
                  <c:v>Carre Frais</c:v>
                </c:pt>
                <c:pt idx="15">
                  <c:v>Carre Frais</c:v>
                </c:pt>
                <c:pt idx="16">
                  <c:v>Private Lab</c:v>
                </c:pt>
                <c:pt idx="17">
                  <c:v>St Moret</c:v>
                </c:pt>
                <c:pt idx="18">
                  <c:v>Private Lab</c:v>
                </c:pt>
                <c:pt idx="19">
                  <c:v>Private Lab</c:v>
                </c:pt>
                <c:pt idx="20">
                  <c:v>Tartare</c:v>
                </c:pt>
                <c:pt idx="21">
                  <c:v>St Moret</c:v>
                </c:pt>
                <c:pt idx="22">
                  <c:v>St Moret</c:v>
                </c:pt>
                <c:pt idx="23">
                  <c:v>Philadelphi</c:v>
                </c:pt>
                <c:pt idx="24">
                  <c:v>Paysan Bret</c:v>
                </c:pt>
                <c:pt idx="25">
                  <c:v>Boursin</c:v>
                </c:pt>
                <c:pt idx="26">
                  <c:v>Paysan Bret</c:v>
                </c:pt>
                <c:pt idx="27">
                  <c:v>Boursin</c:v>
                </c:pt>
                <c:pt idx="28">
                  <c:v>Paysan Bret</c:v>
                </c:pt>
                <c:pt idx="29">
                  <c:v>Boursin</c:v>
                </c:pt>
                <c:pt idx="30">
                  <c:v>Tartare</c:v>
                </c:pt>
                <c:pt idx="31">
                  <c:v>Private Lab</c:v>
                </c:pt>
                <c:pt idx="32">
                  <c:v>Carre Frais</c:v>
                </c:pt>
                <c:pt idx="33">
                  <c:v>Paysan Bret</c:v>
                </c:pt>
                <c:pt idx="34">
                  <c:v>Boursin</c:v>
                </c:pt>
                <c:pt idx="35">
                  <c:v>Tartare</c:v>
                </c:pt>
                <c:pt idx="36">
                  <c:v>Boursin</c:v>
                </c:pt>
                <c:pt idx="37">
                  <c:v>Paysan Bret</c:v>
                </c:pt>
                <c:pt idx="38">
                  <c:v>Boursin</c:v>
                </c:pt>
                <c:pt idx="39">
                  <c:v>Saint Agur</c:v>
                </c:pt>
                <c:pt idx="40">
                  <c:v>Savencia: A</c:v>
                </c:pt>
                <c:pt idx="41">
                  <c:v>Tartare</c:v>
                </c:pt>
                <c:pt idx="42">
                  <c:v>Tartare</c:v>
                </c:pt>
                <c:pt idx="43">
                  <c:v>Kiri</c:v>
                </c:pt>
                <c:pt idx="44">
                  <c:v>St Moret</c:v>
                </c:pt>
                <c:pt idx="45">
                  <c:v>Boursin</c:v>
                </c:pt>
                <c:pt idx="46">
                  <c:v>Paysan Bret</c:v>
                </c:pt>
                <c:pt idx="47">
                  <c:v>Paysan Bret</c:v>
                </c:pt>
                <c:pt idx="48">
                  <c:v>Paysan Bret</c:v>
                </c:pt>
                <c:pt idx="49">
                  <c:v>Kiri</c:v>
                </c:pt>
                <c:pt idx="50">
                  <c:v>Private Lab</c:v>
                </c:pt>
                <c:pt idx="51">
                  <c:v>Carre Frais</c:v>
                </c:pt>
                <c:pt idx="52">
                  <c:v>Saint Agur</c:v>
                </c:pt>
                <c:pt idx="53">
                  <c:v>Boursin</c:v>
                </c:pt>
                <c:pt idx="54">
                  <c:v>Lactalis: A</c:v>
                </c:pt>
                <c:pt idx="55">
                  <c:v>Tartare</c:v>
                </c:pt>
                <c:pt idx="56">
                  <c:v>All Others</c:v>
                </c:pt>
                <c:pt idx="57">
                  <c:v>Savencia: A</c:v>
                </c:pt>
                <c:pt idx="58">
                  <c:v>Savencia: A</c:v>
                </c:pt>
                <c:pt idx="59">
                  <c:v>Boursin</c:v>
                </c:pt>
                <c:pt idx="60">
                  <c:v>President</c:v>
                </c:pt>
                <c:pt idx="61">
                  <c:v>All Others</c:v>
                </c:pt>
                <c:pt idx="62">
                  <c:v>Kiri</c:v>
                </c:pt>
                <c:pt idx="63">
                  <c:v>All Others</c:v>
                </c:pt>
                <c:pt idx="64">
                  <c:v>All Others</c:v>
                </c:pt>
                <c:pt idx="65">
                  <c:v>All Others</c:v>
                </c:pt>
                <c:pt idx="66">
                  <c:v>All Others</c:v>
                </c:pt>
                <c:pt idx="67">
                  <c:v>All Others</c:v>
                </c:pt>
                <c:pt idx="68">
                  <c:v>All Others</c:v>
                </c:pt>
                <c:pt idx="69">
                  <c:v>Paysan Bret</c:v>
                </c:pt>
                <c:pt idx="70">
                  <c:v>All Others</c:v>
                </c:pt>
                <c:pt idx="71">
                  <c:v>All Others</c:v>
                </c:pt>
                <c:pt idx="72">
                  <c:v>All Others</c:v>
                </c:pt>
                <c:pt idx="73">
                  <c:v>All Others</c:v>
                </c:pt>
                <c:pt idx="74">
                  <c:v>All Others</c:v>
                </c:pt>
                <c:pt idx="75">
                  <c:v>All Others</c:v>
                </c:pt>
                <c:pt idx="76">
                  <c:v>All Others</c:v>
                </c:pt>
                <c:pt idx="77">
                  <c:v>All Others</c:v>
                </c:pt>
                <c:pt idx="78">
                  <c:v>All Others</c:v>
                </c:pt>
                <c:pt idx="79">
                  <c:v>All Others</c:v>
                </c:pt>
                <c:pt idx="80">
                  <c:v>All Others</c:v>
                </c:pt>
                <c:pt idx="81">
                  <c:v>All Others</c:v>
                </c:pt>
                <c:pt idx="82">
                  <c:v>All Others</c:v>
                </c:pt>
              </c:strCache>
            </c:strRef>
          </c:cat>
          <c:val>
            <c:numRef>
              <c:f>Sheet1!$C$2:$C$84</c:f>
              <c:numCache>
                <c:formatCode>General</c:formatCode>
                <c:ptCount val="83"/>
                <c:pt idx="0">
                  <c:v>0.06676572146531423</c:v>
                </c:pt>
                <c:pt idx="1">
                  <c:v>0.13086015395118078</c:v>
                </c:pt>
                <c:pt idx="2">
                  <c:v>0.1875544747037374</c:v>
                </c:pt>
                <c:pt idx="3">
                  <c:v>0.24243715669296123</c:v>
                </c:pt>
                <c:pt idx="4">
                  <c:v>0.2940083110784858</c:v>
                </c:pt>
                <c:pt idx="5">
                  <c:v>0.3449691680347802</c:v>
                </c:pt>
                <c:pt idx="6">
                  <c:v>0.38094567496294485</c:v>
                </c:pt>
                <c:pt idx="7">
                  <c:v>0.4131573713139619</c:v>
                </c:pt>
                <c:pt idx="8">
                  <c:v>0.44460317032461366</c:v>
                </c:pt>
                <c:pt idx="9">
                  <c:v>0.47548362299147434</c:v>
                </c:pt>
                <c:pt idx="10">
                  <c:v>0.5062014030239664</c:v>
                </c:pt>
                <c:pt idx="11">
                  <c:v>0.5342391710516896</c:v>
                </c:pt>
                <c:pt idx="12">
                  <c:v>0.5618467603351937</c:v>
                </c:pt>
                <c:pt idx="13">
                  <c:v>0.5854270624237767</c:v>
                </c:pt>
                <c:pt idx="14">
                  <c:v>0.6079033910014372</c:v>
                </c:pt>
                <c:pt idx="15">
                  <c:v>0.6301324100233692</c:v>
                </c:pt>
                <c:pt idx="16">
                  <c:v>0.6518614660985123</c:v>
                </c:pt>
                <c:pt idx="17">
                  <c:v>0.6735674179444262</c:v>
                </c:pt>
                <c:pt idx="18">
                  <c:v>0.694870853252545</c:v>
                </c:pt>
                <c:pt idx="19">
                  <c:v>0.7125222486261825</c:v>
                </c:pt>
                <c:pt idx="20">
                  <c:v>0.7293333258938763</c:v>
                </c:pt>
                <c:pt idx="21">
                  <c:v>0.7454357948793956</c:v>
                </c:pt>
                <c:pt idx="22">
                  <c:v>0.7613278896416276</c:v>
                </c:pt>
                <c:pt idx="23">
                  <c:v>0.7749616638754296</c:v>
                </c:pt>
                <c:pt idx="24">
                  <c:v>0.7875790091947761</c:v>
                </c:pt>
                <c:pt idx="25">
                  <c:v>0.7987127329371928</c:v>
                </c:pt>
                <c:pt idx="26">
                  <c:v>0.8096879490933674</c:v>
                </c:pt>
                <c:pt idx="27">
                  <c:v>0.8204987637272718</c:v>
                </c:pt>
                <c:pt idx="28">
                  <c:v>0.831226355984463</c:v>
                </c:pt>
                <c:pt idx="29">
                  <c:v>0.8418367767934207</c:v>
                </c:pt>
                <c:pt idx="30">
                  <c:v>0.8520229913800008</c:v>
                </c:pt>
                <c:pt idx="31">
                  <c:v>0.8621676340711312</c:v>
                </c:pt>
                <c:pt idx="32">
                  <c:v>0.8722179737858159</c:v>
                </c:pt>
                <c:pt idx="33">
                  <c:v>0.8816727116184333</c:v>
                </c:pt>
                <c:pt idx="34">
                  <c:v>0.8907617896598831</c:v>
                </c:pt>
                <c:pt idx="35">
                  <c:v>0.899213065237306</c:v>
                </c:pt>
                <c:pt idx="36">
                  <c:v>0.9069371862805201</c:v>
                </c:pt>
                <c:pt idx="37">
                  <c:v>0.9146165134099226</c:v>
                </c:pt>
                <c:pt idx="38">
                  <c:v>0.9215315935010475</c:v>
                </c:pt>
                <c:pt idx="39">
                  <c:v>0.9284101311887998</c:v>
                </c:pt>
                <c:pt idx="40">
                  <c:v>0.9351162516012841</c:v>
                </c:pt>
                <c:pt idx="41">
                  <c:v>0.9413925861986179</c:v>
                </c:pt>
                <c:pt idx="42">
                  <c:v>0.9476607478713264</c:v>
                </c:pt>
                <c:pt idx="43">
                  <c:v>0.9536707551460152</c:v>
                </c:pt>
                <c:pt idx="44">
                  <c:v>0.959544808962995</c:v>
                </c:pt>
                <c:pt idx="45">
                  <c:v>0.9652813376059917</c:v>
                </c:pt>
                <c:pt idx="46">
                  <c:v>0.9704848186746299</c:v>
                </c:pt>
                <c:pt idx="47">
                  <c:v>0.9744613394338977</c:v>
                </c:pt>
                <c:pt idx="48">
                  <c:v>0.9781696468109916</c:v>
                </c:pt>
                <c:pt idx="49">
                  <c:v>0.9818257732077856</c:v>
                </c:pt>
                <c:pt idx="50">
                  <c:v>0.9846125833333791</c:v>
                </c:pt>
                <c:pt idx="51">
                  <c:v>0.987395542754101</c:v>
                </c:pt>
                <c:pt idx="52">
                  <c:v>0.9893043921689865</c:v>
                </c:pt>
                <c:pt idx="53">
                  <c:v>0.9909908437310878</c:v>
                </c:pt>
                <c:pt idx="54">
                  <c:v>0.992599652509249</c:v>
                </c:pt>
                <c:pt idx="55">
                  <c:v>0.9941046494275063</c:v>
                </c:pt>
                <c:pt idx="56">
                  <c:v>0.9950181309260089</c:v>
                </c:pt>
                <c:pt idx="57">
                  <c:v>0.9958152268344149</c:v>
                </c:pt>
                <c:pt idx="58">
                  <c:v>0.996504031491536</c:v>
                </c:pt>
                <c:pt idx="59">
                  <c:v>0.9971199870993529</c:v>
                </c:pt>
                <c:pt idx="60">
                  <c:v>0.9977126813063132</c:v>
                </c:pt>
                <c:pt idx="61">
                  <c:v>0.9980303251653073</c:v>
                </c:pt>
                <c:pt idx="62">
                  <c:v>0.9983230573213571</c:v>
                </c:pt>
                <c:pt idx="63">
                  <c:v>0.9985568501171284</c:v>
                </c:pt>
                <c:pt idx="64">
                  <c:v>0.998766595653906</c:v>
                </c:pt>
                <c:pt idx="65">
                  <c:v>0.9989717046276751</c:v>
                </c:pt>
                <c:pt idx="66">
                  <c:v>0.9991493871524613</c:v>
                </c:pt>
                <c:pt idx="67">
                  <c:v>0.9993127670591532</c:v>
                </c:pt>
                <c:pt idx="68">
                  <c:v>0.9994251447727508</c:v>
                </c:pt>
                <c:pt idx="69">
                  <c:v>0.9995365794565839</c:v>
                </c:pt>
                <c:pt idx="70">
                  <c:v>0.9996439276781044</c:v>
                </c:pt>
                <c:pt idx="71">
                  <c:v>0.9997458534784793</c:v>
                </c:pt>
                <c:pt idx="72">
                  <c:v>0.9998447144321198</c:v>
                </c:pt>
                <c:pt idx="73">
                  <c:v>0.9998891154168629</c:v>
                </c:pt>
                <c:pt idx="74">
                  <c:v>0.9999281725662741</c:v>
                </c:pt>
                <c:pt idx="75">
                  <c:v>0.9999502551799251</c:v>
                </c:pt>
                <c:pt idx="76">
                  <c:v>0.9999710804205568</c:v>
                </c:pt>
                <c:pt idx="77">
                  <c:v>0.9999813751621521</c:v>
                </c:pt>
                <c:pt idx="78">
                  <c:v>0.9999876620272485</c:v>
                </c:pt>
                <c:pt idx="79">
                  <c:v>0.9999929272767667</c:v>
                </c:pt>
                <c:pt idx="80">
                  <c:v>0.999996306466756</c:v>
                </c:pt>
                <c:pt idx="81">
                  <c:v>0.9999992927276767</c:v>
                </c:pt>
                <c:pt idx="82">
                  <c:v>1.0</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75</c:f>
              <c:strCache>
                <c:ptCount val="74"/>
                <c:pt idx="0">
                  <c:v>Private Lab</c:v>
                </c:pt>
                <c:pt idx="1">
                  <c:v>St Moret</c:v>
                </c:pt>
                <c:pt idx="2">
                  <c:v>St Moret</c:v>
                </c:pt>
                <c:pt idx="3">
                  <c:v>Tartare</c:v>
                </c:pt>
                <c:pt idx="4">
                  <c:v>St Moret</c:v>
                </c:pt>
                <c:pt idx="5">
                  <c:v>St Moret</c:v>
                </c:pt>
                <c:pt idx="6">
                  <c:v>Private Lab</c:v>
                </c:pt>
                <c:pt idx="7">
                  <c:v>Paysan Bret</c:v>
                </c:pt>
                <c:pt idx="8">
                  <c:v>Private Lab</c:v>
                </c:pt>
                <c:pt idx="9">
                  <c:v>Carre Frais</c:v>
                </c:pt>
                <c:pt idx="10">
                  <c:v>Philadelphi</c:v>
                </c:pt>
                <c:pt idx="11">
                  <c:v>Boursin</c:v>
                </c:pt>
                <c:pt idx="12">
                  <c:v>Carre Frais</c:v>
                </c:pt>
                <c:pt idx="13">
                  <c:v>Boursin</c:v>
                </c:pt>
                <c:pt idx="14">
                  <c:v>Paysan Bret</c:v>
                </c:pt>
                <c:pt idx="15">
                  <c:v>Tartare</c:v>
                </c:pt>
                <c:pt idx="16">
                  <c:v>Philadelphi</c:v>
                </c:pt>
                <c:pt idx="17">
                  <c:v>St Moret</c:v>
                </c:pt>
                <c:pt idx="18">
                  <c:v>St Moret</c:v>
                </c:pt>
                <c:pt idx="19">
                  <c:v>Boursin</c:v>
                </c:pt>
                <c:pt idx="20">
                  <c:v>Private Lab</c:v>
                </c:pt>
                <c:pt idx="21">
                  <c:v>St Moret</c:v>
                </c:pt>
                <c:pt idx="22">
                  <c:v>Boursin</c:v>
                </c:pt>
                <c:pt idx="23">
                  <c:v>Boursin</c:v>
                </c:pt>
                <c:pt idx="24">
                  <c:v>Boursin</c:v>
                </c:pt>
                <c:pt idx="25">
                  <c:v>Tartare</c:v>
                </c:pt>
                <c:pt idx="26">
                  <c:v>Paysan Bret</c:v>
                </c:pt>
                <c:pt idx="27">
                  <c:v>Paysan Bret</c:v>
                </c:pt>
                <c:pt idx="28">
                  <c:v>Boursin</c:v>
                </c:pt>
                <c:pt idx="29">
                  <c:v>Private Lab</c:v>
                </c:pt>
                <c:pt idx="30">
                  <c:v>Paysan Bret</c:v>
                </c:pt>
                <c:pt idx="31">
                  <c:v>Boursin</c:v>
                </c:pt>
                <c:pt idx="32">
                  <c:v>Carre Frais</c:v>
                </c:pt>
                <c:pt idx="33">
                  <c:v>Tartare</c:v>
                </c:pt>
                <c:pt idx="34">
                  <c:v>Paysan Bret</c:v>
                </c:pt>
                <c:pt idx="35">
                  <c:v>Paysan Bret</c:v>
                </c:pt>
                <c:pt idx="36">
                  <c:v>Boursin</c:v>
                </c:pt>
                <c:pt idx="37">
                  <c:v>St Moret</c:v>
                </c:pt>
                <c:pt idx="38">
                  <c:v>Savencia: A</c:v>
                </c:pt>
                <c:pt idx="39">
                  <c:v>Kiri</c:v>
                </c:pt>
                <c:pt idx="40">
                  <c:v>Private Lab</c:v>
                </c:pt>
                <c:pt idx="41">
                  <c:v>Tartare</c:v>
                </c:pt>
                <c:pt idx="42">
                  <c:v>Paysan Bret</c:v>
                </c:pt>
                <c:pt idx="43">
                  <c:v>Tartare</c:v>
                </c:pt>
                <c:pt idx="44">
                  <c:v>Boursin</c:v>
                </c:pt>
                <c:pt idx="45">
                  <c:v>Tartare</c:v>
                </c:pt>
                <c:pt idx="46">
                  <c:v>Saint Agur</c:v>
                </c:pt>
                <c:pt idx="47">
                  <c:v>Lactalis: A</c:v>
                </c:pt>
                <c:pt idx="48">
                  <c:v>Kiri</c:v>
                </c:pt>
                <c:pt idx="49">
                  <c:v>Paysan Bret</c:v>
                </c:pt>
                <c:pt idx="50">
                  <c:v>Paysan Bret</c:v>
                </c:pt>
                <c:pt idx="51">
                  <c:v>All Others</c:v>
                </c:pt>
                <c:pt idx="52">
                  <c:v>Carre Frais</c:v>
                </c:pt>
                <c:pt idx="53">
                  <c:v>Boursin</c:v>
                </c:pt>
                <c:pt idx="54">
                  <c:v>St Moret</c:v>
                </c:pt>
                <c:pt idx="55">
                  <c:v>All Others</c:v>
                </c:pt>
                <c:pt idx="56">
                  <c:v>Saint Agur</c:v>
                </c:pt>
                <c:pt idx="57">
                  <c:v>All Others</c:v>
                </c:pt>
                <c:pt idx="58">
                  <c:v>Boursin</c:v>
                </c:pt>
                <c:pt idx="59">
                  <c:v>President</c:v>
                </c:pt>
                <c:pt idx="60">
                  <c:v>All Others</c:v>
                </c:pt>
                <c:pt idx="61">
                  <c:v>All Others</c:v>
                </c:pt>
                <c:pt idx="62">
                  <c:v>Tartare</c:v>
                </c:pt>
                <c:pt idx="63">
                  <c:v>All Others</c:v>
                </c:pt>
                <c:pt idx="64">
                  <c:v>All Others</c:v>
                </c:pt>
                <c:pt idx="65">
                  <c:v>All Others</c:v>
                </c:pt>
                <c:pt idx="66">
                  <c:v>All Others</c:v>
                </c:pt>
                <c:pt idx="67">
                  <c:v>Paysan Bret</c:v>
                </c:pt>
                <c:pt idx="68">
                  <c:v>Savencia: A</c:v>
                </c:pt>
                <c:pt idx="69">
                  <c:v>Savencia: A</c:v>
                </c:pt>
                <c:pt idx="70">
                  <c:v>All Others</c:v>
                </c:pt>
                <c:pt idx="71">
                  <c:v>All Others</c:v>
                </c:pt>
                <c:pt idx="72">
                  <c:v>All Others</c:v>
                </c:pt>
                <c:pt idx="73">
                  <c:v>Kiri</c:v>
                </c:pt>
              </c:strCache>
            </c:strRef>
          </c:cat>
          <c:val>
            <c:numRef>
              <c:f>Sheet1!$B$2:$B$75</c:f>
              <c:numCache>
                <c:formatCode>General</c:formatCode>
                <c:ptCount val="74"/>
                <c:pt idx="0">
                  <c:v>0.99</c:v>
                </c:pt>
                <c:pt idx="1">
                  <c:v>0.99</c:v>
                </c:pt>
                <c:pt idx="2">
                  <c:v>0.88</c:v>
                </c:pt>
                <c:pt idx="3">
                  <c:v>0.93</c:v>
                </c:pt>
                <c:pt idx="4">
                  <c:v>0.97</c:v>
                </c:pt>
                <c:pt idx="5">
                  <c:v>0.76</c:v>
                </c:pt>
                <c:pt idx="6">
                  <c:v>0.93</c:v>
                </c:pt>
                <c:pt idx="7">
                  <c:v>0.87</c:v>
                </c:pt>
                <c:pt idx="8">
                  <c:v>0.98</c:v>
                </c:pt>
                <c:pt idx="9">
                  <c:v>0.91</c:v>
                </c:pt>
                <c:pt idx="10">
                  <c:v>0.92</c:v>
                </c:pt>
                <c:pt idx="11">
                  <c:v>0.98</c:v>
                </c:pt>
                <c:pt idx="12">
                  <c:v>0.74</c:v>
                </c:pt>
                <c:pt idx="13">
                  <c:v>0.9</c:v>
                </c:pt>
                <c:pt idx="14">
                  <c:v>0.47</c:v>
                </c:pt>
                <c:pt idx="15">
                  <c:v>0.77</c:v>
                </c:pt>
                <c:pt idx="16">
                  <c:v>0.62</c:v>
                </c:pt>
                <c:pt idx="17">
                  <c:v>0.75</c:v>
                </c:pt>
                <c:pt idx="18">
                  <c:v>0.56</c:v>
                </c:pt>
                <c:pt idx="19">
                  <c:v>0.89</c:v>
                </c:pt>
                <c:pt idx="20">
                  <c:v>0.87</c:v>
                </c:pt>
                <c:pt idx="21">
                  <c:v>0.6</c:v>
                </c:pt>
                <c:pt idx="22">
                  <c:v>0.81</c:v>
                </c:pt>
                <c:pt idx="23">
                  <c:v>0.89</c:v>
                </c:pt>
                <c:pt idx="24">
                  <c:v>0.74</c:v>
                </c:pt>
                <c:pt idx="25">
                  <c:v>0.77</c:v>
                </c:pt>
                <c:pt idx="26">
                  <c:v>0.49</c:v>
                </c:pt>
                <c:pt idx="27">
                  <c:v>0.51</c:v>
                </c:pt>
                <c:pt idx="28">
                  <c:v>0.83</c:v>
                </c:pt>
                <c:pt idx="29">
                  <c:v>0.55</c:v>
                </c:pt>
                <c:pt idx="30">
                  <c:v>0.29</c:v>
                </c:pt>
                <c:pt idx="31">
                  <c:v>0.75</c:v>
                </c:pt>
                <c:pt idx="32">
                  <c:v>0.39</c:v>
                </c:pt>
                <c:pt idx="33">
                  <c:v>0.73</c:v>
                </c:pt>
                <c:pt idx="34">
                  <c:v>0.19</c:v>
                </c:pt>
                <c:pt idx="35">
                  <c:v>0.26</c:v>
                </c:pt>
                <c:pt idx="36">
                  <c:v>0.64</c:v>
                </c:pt>
                <c:pt idx="37">
                  <c:v>0.34</c:v>
                </c:pt>
                <c:pt idx="38">
                  <c:v>0.69</c:v>
                </c:pt>
                <c:pt idx="39">
                  <c:v>0.44</c:v>
                </c:pt>
                <c:pt idx="40">
                  <c:v>0.77</c:v>
                </c:pt>
                <c:pt idx="41">
                  <c:v>0.36</c:v>
                </c:pt>
                <c:pt idx="42">
                  <c:v>0.28</c:v>
                </c:pt>
                <c:pt idx="43">
                  <c:v>0.67</c:v>
                </c:pt>
                <c:pt idx="44">
                  <c:v>0.46</c:v>
                </c:pt>
                <c:pt idx="45">
                  <c:v>0.16</c:v>
                </c:pt>
                <c:pt idx="46">
                  <c:v>0.41</c:v>
                </c:pt>
                <c:pt idx="47">
                  <c:v>0.24</c:v>
                </c:pt>
                <c:pt idx="48">
                  <c:v>0.5</c:v>
                </c:pt>
                <c:pt idx="49">
                  <c:v>0.17</c:v>
                </c:pt>
                <c:pt idx="50">
                  <c:v>0.16</c:v>
                </c:pt>
                <c:pt idx="51">
                  <c:v>0.05</c:v>
                </c:pt>
                <c:pt idx="52">
                  <c:v>0.1</c:v>
                </c:pt>
                <c:pt idx="53">
                  <c:v>0.12</c:v>
                </c:pt>
                <c:pt idx="54">
                  <c:v>0.03</c:v>
                </c:pt>
                <c:pt idx="55">
                  <c:v>0.05</c:v>
                </c:pt>
                <c:pt idx="56">
                  <c:v>0.25</c:v>
                </c:pt>
                <c:pt idx="57">
                  <c:v>0.14</c:v>
                </c:pt>
                <c:pt idx="58">
                  <c:v>0.33</c:v>
                </c:pt>
                <c:pt idx="59">
                  <c:v>0.15</c:v>
                </c:pt>
                <c:pt idx="60">
                  <c:v>0.04</c:v>
                </c:pt>
                <c:pt idx="61">
                  <c:v>0.02</c:v>
                </c:pt>
                <c:pt idx="62">
                  <c:v>0.03</c:v>
                </c:pt>
                <c:pt idx="63">
                  <c:v>0.02</c:v>
                </c:pt>
                <c:pt idx="64">
                  <c:v>0.04</c:v>
                </c:pt>
                <c:pt idx="65">
                  <c:v>0.01</c:v>
                </c:pt>
                <c:pt idx="66">
                  <c:v>0.07</c:v>
                </c:pt>
                <c:pt idx="67">
                  <c:v>0.04</c:v>
                </c:pt>
                <c:pt idx="68">
                  <c:v>0.06</c:v>
                </c:pt>
                <c:pt idx="69">
                  <c:v>0.05</c:v>
                </c:pt>
                <c:pt idx="70">
                  <c:v>0.01</c:v>
                </c:pt>
                <c:pt idx="71">
                  <c:v>0.02</c:v>
                </c:pt>
                <c:pt idx="72">
                  <c:v>0.01</c:v>
                </c:pt>
                <c:pt idx="73">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Item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7ECAC4"/>
              </a:solidFill>
            </c:spPr>
            <c:extLst>
              <c:ext xmlns:c16="http://schemas.microsoft.com/office/drawing/2014/chart" uri="{C3380CC4-5D6E-409C-BE32-E72D297353CC}">
                <c16:uniqueId val="{00000065-2993-41DE-A2CB-63102DE87051}"/>
              </c:ext>
            </c:extLst>
          </c:dPt>
          <c:dPt>
            <c:idx val="23"/>
            <c:invertIfNegative val="1"/>
            <c:bubble3D val="0"/>
            <c:spPr>
              <a:solidFill>
                <a:srgbClr val="7ECAC4"/>
              </a:solidFill>
            </c:spPr>
            <c:extLst>
              <c:ext xmlns:c16="http://schemas.microsoft.com/office/drawing/2014/chart" uri="{C3380CC4-5D6E-409C-BE32-E72D297353CC}">
                <c16:uniqueId val="{00000067-2993-41DE-A2CB-63102DE87051}"/>
              </c:ext>
            </c:extLst>
          </c:dPt>
          <c:dPt>
            <c:idx val="24"/>
            <c:invertIfNegative val="1"/>
            <c:bubble3D val="0"/>
            <c:spPr>
              <a:solidFill>
                <a:srgbClr val="7ECAC4"/>
              </a:solidFill>
            </c:spPr>
            <c:extLst>
              <c:ext xmlns:c16="http://schemas.microsoft.com/office/drawing/2014/chart" uri="{C3380CC4-5D6E-409C-BE32-E72D297353CC}">
                <c16:uniqueId val="{00000069-2993-41DE-A2CB-63102DE87051}"/>
              </c:ext>
            </c:extLst>
          </c:dPt>
          <c:dPt>
            <c:idx val="25"/>
            <c:invertIfNegative val="1"/>
            <c:bubble3D val="0"/>
            <c:spPr>
              <a:solidFill>
                <a:srgbClr val="7ECAC4"/>
              </a:solidFill>
            </c:spPr>
            <c:extLst>
              <c:ext xmlns:c16="http://schemas.microsoft.com/office/drawing/2014/chart" uri="{C3380CC4-5D6E-409C-BE32-E72D297353CC}">
                <c16:uniqueId val="{0000006B-2993-41DE-A2CB-63102DE87051}"/>
              </c:ext>
            </c:extLst>
          </c:dPt>
          <c:dPt>
            <c:idx val="26"/>
            <c:invertIfNegative val="1"/>
            <c:bubble3D val="0"/>
            <c:spPr>
              <a:solidFill>
                <a:srgbClr val="7ECAC4"/>
              </a:solidFill>
            </c:spPr>
            <c:extLst>
              <c:ext xmlns:c16="http://schemas.microsoft.com/office/drawing/2014/chart" uri="{C3380CC4-5D6E-409C-BE32-E72D297353CC}">
                <c16:uniqueId val="{0000006D-2993-41DE-A2CB-63102DE87051}"/>
              </c:ext>
            </c:extLst>
          </c:dPt>
          <c:dPt>
            <c:idx val="27"/>
            <c:invertIfNegative val="1"/>
            <c:bubble3D val="0"/>
            <c:spPr>
              <a:solidFill>
                <a:srgbClr val="7ECAC4"/>
              </a:solidFill>
            </c:spPr>
            <c:extLst>
              <c:ext xmlns:c16="http://schemas.microsoft.com/office/drawing/2014/chart" uri="{C3380CC4-5D6E-409C-BE32-E72D297353CC}">
                <c16:uniqueId val="{0000006F-2993-41DE-A2CB-63102DE87051}"/>
              </c:ext>
            </c:extLst>
          </c:dPt>
          <c:dPt>
            <c:idx val="28"/>
            <c:invertIfNegative val="1"/>
            <c:bubble3D val="0"/>
            <c:spPr>
              <a:solidFill>
                <a:srgbClr val="7ECAC4"/>
              </a:solidFill>
            </c:spPr>
            <c:extLst>
              <c:ext xmlns:c16="http://schemas.microsoft.com/office/drawing/2014/chart" uri="{C3380CC4-5D6E-409C-BE32-E72D297353CC}">
                <c16:uniqueId val="{00000071-2993-41DE-A2CB-63102DE87051}"/>
              </c:ext>
            </c:extLst>
          </c:dPt>
          <c:dPt>
            <c:idx val="29"/>
            <c:invertIfNegative val="1"/>
            <c:bubble3D val="0"/>
            <c:spPr>
              <a:solidFill>
                <a:srgbClr val="7ECAC4"/>
              </a:solidFill>
            </c:spPr>
            <c:extLst>
              <c:ext xmlns:c16="http://schemas.microsoft.com/office/drawing/2014/chart" uri="{C3380CC4-5D6E-409C-BE32-E72D297353CC}">
                <c16:uniqueId val="{00000073-2993-41DE-A2CB-63102DE87051}"/>
              </c:ext>
            </c:extLst>
          </c:dPt>
          <c:dPt>
            <c:idx val="30"/>
            <c:invertIfNegative val="1"/>
            <c:bubble3D val="0"/>
            <c:spPr>
              <a:solidFill>
                <a:srgbClr val="7ECAC4"/>
              </a:solidFill>
            </c:spPr>
            <c:extLst>
              <c:ext xmlns:c16="http://schemas.microsoft.com/office/drawing/2014/chart" uri="{C3380CC4-5D6E-409C-BE32-E72D297353CC}">
                <c16:uniqueId val="{00000075-2993-41DE-A2CB-63102DE87051}"/>
              </c:ext>
            </c:extLst>
          </c:dPt>
          <c:dPt>
            <c:idx val="31"/>
            <c:invertIfNegative val="1"/>
            <c:bubble3D val="0"/>
            <c:spPr>
              <a:solidFill>
                <a:srgbClr val="7ECAC4"/>
              </a:solidFill>
            </c:spPr>
            <c:extLst>
              <c:ext xmlns:c16="http://schemas.microsoft.com/office/drawing/2014/chart" uri="{C3380CC4-5D6E-409C-BE32-E72D297353CC}">
                <c16:uniqueId val="{00000077-2993-41DE-A2CB-63102DE87051}"/>
              </c:ext>
            </c:extLst>
          </c:dPt>
          <c:dPt>
            <c:idx val="32"/>
            <c:invertIfNegative val="1"/>
            <c:bubble3D val="0"/>
            <c:spPr>
              <a:solidFill>
                <a:srgbClr val="7ECAC4"/>
              </a:solidFill>
            </c:spPr>
            <c:extLst>
              <c:ext xmlns:c16="http://schemas.microsoft.com/office/drawing/2014/chart" uri="{C3380CC4-5D6E-409C-BE32-E72D297353CC}">
                <c16:uniqueId val="{00000079-2993-41DE-A2CB-63102DE87051}"/>
              </c:ext>
            </c:extLst>
          </c:dPt>
          <c:dPt>
            <c:idx val="33"/>
            <c:invertIfNegative val="1"/>
            <c:bubble3D val="0"/>
            <c:spPr>
              <a:solidFill>
                <a:srgbClr val="7ECAC4"/>
              </a:solidFill>
            </c:spPr>
            <c:extLst>
              <c:ext xmlns:c16="http://schemas.microsoft.com/office/drawing/2014/chart" uri="{C3380CC4-5D6E-409C-BE32-E72D297353CC}">
                <c16:uniqueId val="{0000007B-2993-41DE-A2CB-63102DE87051}"/>
              </c:ext>
            </c:extLst>
          </c:dPt>
          <c:dPt>
            <c:idx val="34"/>
            <c:invertIfNegative val="1"/>
            <c:bubble3D val="0"/>
            <c:spPr>
              <a:solidFill>
                <a:srgbClr val="7ECAC4"/>
              </a:solidFill>
            </c:spPr>
            <c:extLst>
              <c:ext xmlns:c16="http://schemas.microsoft.com/office/drawing/2014/chart" uri="{C3380CC4-5D6E-409C-BE32-E72D297353CC}">
                <c16:uniqueId val="{0000007D-2993-41DE-A2CB-63102DE87051}"/>
              </c:ext>
            </c:extLst>
          </c:dPt>
          <c:dPt>
            <c:idx val="35"/>
            <c:invertIfNegative val="1"/>
            <c:bubble3D val="0"/>
            <c:spPr>
              <a:solidFill>
                <a:srgbClr val="7ECAC4"/>
              </a:solidFill>
            </c:spPr>
            <c:extLst>
              <c:ext xmlns:c16="http://schemas.microsoft.com/office/drawing/2014/chart" uri="{C3380CC4-5D6E-409C-BE32-E72D297353CC}">
                <c16:uniqueId val="{0000007F-2993-41DE-A2CB-63102DE87051}"/>
              </c:ext>
            </c:extLst>
          </c:dPt>
          <c:dPt>
            <c:idx val="36"/>
            <c:invertIfNegative val="1"/>
            <c:bubble3D val="0"/>
            <c:spPr>
              <a:solidFill>
                <a:srgbClr val="AEABAB"/>
              </a:solidFill>
            </c:spPr>
            <c:extLst>
              <c:ext xmlns:c16="http://schemas.microsoft.com/office/drawing/2014/chart" uri="{C3380CC4-5D6E-409C-BE32-E72D297353CC}">
                <c16:uniqueId val="{00000081-2993-41DE-A2CB-63102DE87051}"/>
              </c:ext>
            </c:extLst>
          </c:dPt>
          <c:dPt>
            <c:idx val="37"/>
            <c:invertIfNegative val="1"/>
            <c:bubble3D val="0"/>
            <c:spPr>
              <a:solidFill>
                <a:srgbClr val="AEABAB"/>
              </a:solidFill>
            </c:spPr>
            <c:extLst>
              <c:ext xmlns:c16="http://schemas.microsoft.com/office/drawing/2014/chart" uri="{C3380CC4-5D6E-409C-BE32-E72D297353CC}">
                <c16:uniqueId val="{00000083-2993-41DE-A2CB-63102DE87051}"/>
              </c:ext>
            </c:extLst>
          </c:dPt>
          <c:dPt>
            <c:idx val="38"/>
            <c:invertIfNegative val="1"/>
            <c:bubble3D val="0"/>
            <c:spPr>
              <a:solidFill>
                <a:srgbClr val="AEABAB"/>
              </a:solidFill>
            </c:spPr>
            <c:extLst>
              <c:ext xmlns:c16="http://schemas.microsoft.com/office/drawing/2014/chart" uri="{C3380CC4-5D6E-409C-BE32-E72D297353CC}">
                <c16:uniqueId val="{00000085-2993-41DE-A2CB-63102DE87051}"/>
              </c:ext>
            </c:extLst>
          </c:dPt>
          <c:dPt>
            <c:idx val="39"/>
            <c:invertIfNegative val="1"/>
            <c:bubble3D val="0"/>
            <c:spPr>
              <a:solidFill>
                <a:srgbClr val="AEABAB"/>
              </a:solidFill>
            </c:spPr>
            <c:extLst>
              <c:ext xmlns:c16="http://schemas.microsoft.com/office/drawing/2014/chart" uri="{C3380CC4-5D6E-409C-BE32-E72D297353CC}">
                <c16:uniqueId val="{00000087-2993-41DE-A2CB-63102DE87051}"/>
              </c:ext>
            </c:extLst>
          </c:dPt>
          <c:dPt>
            <c:idx val="40"/>
            <c:invertIfNegative val="1"/>
            <c:bubble3D val="0"/>
            <c:spPr>
              <a:solidFill>
                <a:srgbClr val="AEABAB"/>
              </a:solidFill>
            </c:spPr>
            <c:extLst>
              <c:ext xmlns:c16="http://schemas.microsoft.com/office/drawing/2014/chart" uri="{C3380CC4-5D6E-409C-BE32-E72D297353CC}">
                <c16:uniqueId val="{00000089-2993-41DE-A2CB-63102DE87051}"/>
              </c:ext>
            </c:extLst>
          </c:dPt>
          <c:dPt>
            <c:idx val="41"/>
            <c:invertIfNegative val="1"/>
            <c:bubble3D val="0"/>
            <c:spPr>
              <a:solidFill>
                <a:srgbClr val="AEABAB"/>
              </a:solidFill>
            </c:spPr>
            <c:extLst>
              <c:ext xmlns:c16="http://schemas.microsoft.com/office/drawing/2014/chart" uri="{C3380CC4-5D6E-409C-BE32-E72D297353CC}">
                <c16:uniqueId val="{0000008B-2993-41DE-A2CB-63102DE87051}"/>
              </c:ext>
            </c:extLst>
          </c:dPt>
          <c:dPt>
            <c:idx val="42"/>
            <c:invertIfNegative val="1"/>
            <c:bubble3D val="0"/>
            <c:spPr>
              <a:solidFill>
                <a:srgbClr val="AEABAB"/>
              </a:solidFill>
            </c:spPr>
            <c:extLst>
              <c:ext xmlns:c16="http://schemas.microsoft.com/office/drawing/2014/chart" uri="{C3380CC4-5D6E-409C-BE32-E72D297353CC}">
                <c16:uniqueId val="{0000008D-2993-41DE-A2CB-63102DE87051}"/>
              </c:ext>
            </c:extLst>
          </c:dPt>
          <c:dPt>
            <c:idx val="43"/>
            <c:invertIfNegative val="1"/>
            <c:bubble3D val="0"/>
            <c:spPr>
              <a:solidFill>
                <a:srgbClr val="AEABAB"/>
              </a:solidFill>
            </c:spPr>
            <c:extLst>
              <c:ext xmlns:c16="http://schemas.microsoft.com/office/drawing/2014/chart" uri="{C3380CC4-5D6E-409C-BE32-E72D297353CC}">
                <c16:uniqueId val="{0000008F-2993-41DE-A2CB-63102DE87051}"/>
              </c:ext>
            </c:extLst>
          </c:dPt>
          <c:dPt>
            <c:idx val="44"/>
            <c:invertIfNegative val="1"/>
            <c:bubble3D val="0"/>
            <c:spPr>
              <a:solidFill>
                <a:srgbClr val="AEABAB"/>
              </a:solidFill>
            </c:spPr>
            <c:extLst>
              <c:ext xmlns:c16="http://schemas.microsoft.com/office/drawing/2014/chart" uri="{C3380CC4-5D6E-409C-BE32-E72D297353CC}">
                <c16:uniqueId val="{00000091-2993-41DE-A2CB-63102DE87051}"/>
              </c:ext>
            </c:extLst>
          </c:dPt>
          <c:dPt>
            <c:idx val="45"/>
            <c:invertIfNegative val="1"/>
            <c:bubble3D val="0"/>
            <c:spPr>
              <a:solidFill>
                <a:srgbClr val="AEABAB"/>
              </a:solidFill>
            </c:spPr>
            <c:extLst>
              <c:ext xmlns:c16="http://schemas.microsoft.com/office/drawing/2014/chart" uri="{C3380CC4-5D6E-409C-BE32-E72D297353CC}">
                <c16:uniqueId val="{00000093-2993-41DE-A2CB-63102DE87051}"/>
              </c:ext>
            </c:extLst>
          </c:dPt>
          <c:dPt>
            <c:idx val="46"/>
            <c:invertIfNegative val="1"/>
            <c:bubble3D val="0"/>
            <c:spPr>
              <a:solidFill>
                <a:srgbClr val="AEABAB"/>
              </a:solidFill>
            </c:spPr>
            <c:extLst>
              <c:ext xmlns:c16="http://schemas.microsoft.com/office/drawing/2014/chart" uri="{C3380CC4-5D6E-409C-BE32-E72D297353CC}">
                <c16:uniqueId val="{00000095-2993-41DE-A2CB-63102DE87051}"/>
              </c:ext>
            </c:extLst>
          </c:dPt>
          <c:dPt>
            <c:idx val="47"/>
            <c:invertIfNegative val="1"/>
            <c:bubble3D val="0"/>
            <c:spPr>
              <a:solidFill>
                <a:srgbClr val="AEABAB"/>
              </a:solidFill>
            </c:spPr>
            <c:extLst>
              <c:ext xmlns:c16="http://schemas.microsoft.com/office/drawing/2014/chart" uri="{C3380CC4-5D6E-409C-BE32-E72D297353CC}">
                <c16:uniqueId val="{00000097-2993-41DE-A2CB-63102DE87051}"/>
              </c:ext>
            </c:extLst>
          </c:dPt>
          <c:dPt>
            <c:idx val="48"/>
            <c:invertIfNegative val="1"/>
            <c:bubble3D val="0"/>
            <c:spPr>
              <a:solidFill>
                <a:srgbClr val="AEABAB"/>
              </a:solidFill>
            </c:spPr>
            <c:extLst>
              <c:ext xmlns:c16="http://schemas.microsoft.com/office/drawing/2014/chart" uri="{C3380CC4-5D6E-409C-BE32-E72D297353CC}">
                <c16:uniqueId val="{00000099-2993-41DE-A2CB-63102DE87051}"/>
              </c:ext>
            </c:extLst>
          </c:dPt>
          <c:dPt>
            <c:idx val="49"/>
            <c:invertIfNegative val="1"/>
            <c:bubble3D val="0"/>
            <c:spPr>
              <a:solidFill>
                <a:srgbClr val="AEABAB"/>
              </a:solidFill>
            </c:spPr>
            <c:extLst>
              <c:ext xmlns:c16="http://schemas.microsoft.com/office/drawing/2014/chart" uri="{C3380CC4-5D6E-409C-BE32-E72D297353CC}">
                <c16:uniqueId val="{0000009B-2993-41DE-A2CB-63102DE87051}"/>
              </c:ext>
            </c:extLst>
          </c:dPt>
          <c:dPt>
            <c:idx val="50"/>
            <c:invertIfNegative val="1"/>
            <c:bubble3D val="0"/>
            <c:spPr>
              <a:solidFill>
                <a:srgbClr val="AEABAB"/>
              </a:solidFill>
            </c:spPr>
            <c:extLst>
              <c:ext xmlns:c16="http://schemas.microsoft.com/office/drawing/2014/chart" uri="{C3380CC4-5D6E-409C-BE32-E72D297353CC}">
                <c16:uniqueId val="{0000009D-2993-41DE-A2CB-63102DE87051}"/>
              </c:ext>
            </c:extLst>
          </c:dPt>
          <c:dPt>
            <c:idx val="51"/>
            <c:invertIfNegative val="1"/>
            <c:bubble3D val="0"/>
            <c:spPr>
              <a:solidFill>
                <a:srgbClr val="AEABAB"/>
              </a:solidFill>
            </c:spPr>
            <c:extLst>
              <c:ext xmlns:c16="http://schemas.microsoft.com/office/drawing/2014/chart" uri="{C3380CC4-5D6E-409C-BE32-E72D297353CC}">
                <c16:uniqueId val="{0000009F-2993-41DE-A2CB-63102DE87051}"/>
              </c:ext>
            </c:extLst>
          </c:dPt>
          <c:dPt>
            <c:idx val="52"/>
            <c:invertIfNegative val="1"/>
            <c:bubble3D val="0"/>
            <c:spPr>
              <a:solidFill>
                <a:srgbClr val="AEABAB"/>
              </a:solidFill>
            </c:spPr>
            <c:extLst>
              <c:ext xmlns:c16="http://schemas.microsoft.com/office/drawing/2014/chart" uri="{C3380CC4-5D6E-409C-BE32-E72D297353CC}">
                <c16:uniqueId val="{000000A1-2993-41DE-A2CB-63102DE87051}"/>
              </c:ext>
            </c:extLst>
          </c:dPt>
          <c:dPt>
            <c:idx val="53"/>
            <c:invertIfNegative val="1"/>
            <c:bubble3D val="0"/>
            <c:spPr>
              <a:solidFill>
                <a:srgbClr val="AEABAB"/>
              </a:solidFill>
            </c:spPr>
            <c:extLst>
              <c:ext xmlns:c16="http://schemas.microsoft.com/office/drawing/2014/chart" uri="{C3380CC4-5D6E-409C-BE32-E72D297353CC}">
                <c16:uniqueId val="{000000A3-2993-41DE-A2CB-63102DE87051}"/>
              </c:ext>
            </c:extLst>
          </c:dPt>
          <c:dPt>
            <c:idx val="54"/>
            <c:invertIfNegative val="0"/>
            <c:bubble3D val="0"/>
            <c:spPr>
              <a:solidFill>
                <a:srgbClr val="AEABAB"/>
              </a:solidFill>
            </c:spPr>
            <c:extLst>
              <c:ext xmlns:c16="http://schemas.microsoft.com/office/drawing/2014/chart" uri="{C3380CC4-5D6E-409C-BE32-E72D297353CC}">
                <c16:uniqueId val="{00000072-C76F-4230-900D-40618C09729F}"/>
              </c:ext>
            </c:extLst>
          </c:dPt>
          <c:dPt>
            <c:idx val="55"/>
            <c:invertIfNegative val="0"/>
            <c:bubble3D val="0"/>
            <c:spPr>
              <a:solidFill>
                <a:srgbClr val="AEABAB"/>
              </a:solidFill>
            </c:spPr>
            <c:extLst>
              <c:ext xmlns:c16="http://schemas.microsoft.com/office/drawing/2014/chart" uri="{C3380CC4-5D6E-409C-BE32-E72D297353CC}">
                <c16:uniqueId val="{00000074-C76F-4230-900D-40618C09729F}"/>
              </c:ext>
            </c:extLst>
          </c:dPt>
          <c:dPt>
            <c:idx val="56"/>
            <c:invertIfNegative val="0"/>
            <c:bubble3D val="0"/>
            <c:spPr>
              <a:solidFill>
                <a:srgbClr val="AEABAB"/>
              </a:solidFill>
            </c:spPr>
            <c:extLst>
              <c:ext xmlns:c16="http://schemas.microsoft.com/office/drawing/2014/chart" uri="{C3380CC4-5D6E-409C-BE32-E72D297353CC}">
                <c16:uniqueId val="{00000076-C76F-4230-900D-40618C09729F}"/>
              </c:ext>
            </c:extLst>
          </c:dPt>
          <c:dPt>
            <c:idx val="57"/>
            <c:invertIfNegative val="0"/>
            <c:bubble3D val="0"/>
            <c:spPr>
              <a:solidFill>
                <a:srgbClr val="AEABAB"/>
              </a:solidFill>
            </c:spPr>
            <c:extLst>
              <c:ext xmlns:c16="http://schemas.microsoft.com/office/drawing/2014/chart" uri="{C3380CC4-5D6E-409C-BE32-E72D297353CC}">
                <c16:uniqueId val="{00000078-C76F-4230-900D-40618C09729F}"/>
              </c:ext>
            </c:extLst>
          </c:dPt>
          <c:dPt>
            <c:idx val="58"/>
            <c:invertIfNegative val="0"/>
            <c:bubble3D val="0"/>
            <c:spPr>
              <a:solidFill>
                <a:srgbClr val="AEABAB"/>
              </a:solidFill>
            </c:spPr>
            <c:extLst>
              <c:ext xmlns:c16="http://schemas.microsoft.com/office/drawing/2014/chart" uri="{C3380CC4-5D6E-409C-BE32-E72D297353CC}">
                <c16:uniqueId val="{0000007A-C76F-4230-900D-40618C09729F}"/>
              </c:ext>
            </c:extLst>
          </c:dPt>
          <c:dPt>
            <c:idx val="59"/>
            <c:invertIfNegative val="0"/>
            <c:bubble3D val="0"/>
            <c:spPr>
              <a:solidFill>
                <a:srgbClr val="AEABAB"/>
              </a:solidFill>
            </c:spPr>
            <c:extLst>
              <c:ext xmlns:c16="http://schemas.microsoft.com/office/drawing/2014/chart" uri="{C3380CC4-5D6E-409C-BE32-E72D297353CC}">
                <c16:uniqueId val="{0000007C-C76F-4230-900D-40618C09729F}"/>
              </c:ext>
            </c:extLst>
          </c:dPt>
          <c:dPt>
            <c:idx val="60"/>
            <c:invertIfNegative val="0"/>
            <c:bubble3D val="0"/>
            <c:spPr>
              <a:solidFill>
                <a:srgbClr val="AEABAB"/>
              </a:solidFill>
            </c:spPr>
            <c:extLst>
              <c:ext xmlns:c16="http://schemas.microsoft.com/office/drawing/2014/chart" uri="{C3380CC4-5D6E-409C-BE32-E72D297353CC}">
                <c16:uniqueId val="{0000007E-C76F-4230-900D-40618C09729F}"/>
              </c:ext>
            </c:extLst>
          </c:dPt>
          <c:dPt>
            <c:idx val="61"/>
            <c:invertIfNegative val="0"/>
            <c:bubble3D val="0"/>
            <c:spPr>
              <a:solidFill>
                <a:srgbClr val="AEABAB"/>
              </a:solidFill>
            </c:spPr>
            <c:extLst>
              <c:ext xmlns:c16="http://schemas.microsoft.com/office/drawing/2014/chart" uri="{C3380CC4-5D6E-409C-BE32-E72D297353CC}">
                <c16:uniqueId val="{00000080-C76F-4230-900D-40618C09729F}"/>
              </c:ext>
            </c:extLst>
          </c:dPt>
          <c:dPt>
            <c:idx val="62"/>
            <c:invertIfNegative val="0"/>
            <c:bubble3D val="0"/>
            <c:spPr>
              <a:solidFill>
                <a:srgbClr val="AEABAB"/>
              </a:solidFill>
            </c:spPr>
            <c:extLst>
              <c:ext xmlns:c16="http://schemas.microsoft.com/office/drawing/2014/chart" uri="{C3380CC4-5D6E-409C-BE32-E72D297353CC}">
                <c16:uniqueId val="{00000082-C76F-4230-900D-40618C09729F}"/>
              </c:ext>
            </c:extLst>
          </c:dPt>
          <c:dPt>
            <c:idx val="63"/>
            <c:invertIfNegative val="0"/>
            <c:bubble3D val="0"/>
            <c:spPr>
              <a:solidFill>
                <a:srgbClr val="AEABAB"/>
              </a:solidFill>
            </c:spPr>
            <c:extLst>
              <c:ext xmlns:c16="http://schemas.microsoft.com/office/drawing/2014/chart" uri="{C3380CC4-5D6E-409C-BE32-E72D297353CC}">
                <c16:uniqueId val="{00000084-C76F-4230-900D-40618C09729F}"/>
              </c:ext>
            </c:extLst>
          </c:dPt>
          <c:dPt>
            <c:idx val="64"/>
            <c:invertIfNegative val="0"/>
            <c:bubble3D val="0"/>
            <c:spPr>
              <a:solidFill>
                <a:srgbClr val="AEABAB"/>
              </a:solidFill>
            </c:spPr>
            <c:extLst>
              <c:ext xmlns:c16="http://schemas.microsoft.com/office/drawing/2014/chart" uri="{C3380CC4-5D6E-409C-BE32-E72D297353CC}">
                <c16:uniqueId val="{00000086-C76F-4230-900D-40618C09729F}"/>
              </c:ext>
            </c:extLst>
          </c:dPt>
          <c:dPt>
            <c:idx val="65"/>
            <c:invertIfNegative val="0"/>
            <c:bubble3D val="0"/>
            <c:spPr>
              <a:solidFill>
                <a:srgbClr val="AEABAB"/>
              </a:solidFill>
            </c:spPr>
            <c:extLst>
              <c:ext xmlns:c16="http://schemas.microsoft.com/office/drawing/2014/chart" uri="{C3380CC4-5D6E-409C-BE32-E72D297353CC}">
                <c16:uniqueId val="{00000088-C76F-4230-900D-40618C09729F}"/>
              </c:ext>
            </c:extLst>
          </c:dPt>
          <c:dPt>
            <c:idx val="66"/>
            <c:invertIfNegative val="0"/>
            <c:bubble3D val="0"/>
            <c:spPr>
              <a:solidFill>
                <a:srgbClr val="AEABAB"/>
              </a:solidFill>
            </c:spPr>
            <c:extLst>
              <c:ext xmlns:c16="http://schemas.microsoft.com/office/drawing/2014/chart" uri="{C3380CC4-5D6E-409C-BE32-E72D297353CC}">
                <c16:uniqueId val="{0000008A-C76F-4230-900D-40618C09729F}"/>
              </c:ext>
            </c:extLst>
          </c:dPt>
          <c:dPt>
            <c:idx val="67"/>
            <c:invertIfNegative val="0"/>
            <c:bubble3D val="0"/>
            <c:spPr>
              <a:solidFill>
                <a:srgbClr val="AEABAB"/>
              </a:solidFill>
            </c:spPr>
            <c:extLst>
              <c:ext xmlns:c16="http://schemas.microsoft.com/office/drawing/2014/chart" uri="{C3380CC4-5D6E-409C-BE32-E72D297353CC}">
                <c16:uniqueId val="{0000008C-C76F-4230-900D-40618C09729F}"/>
              </c:ext>
            </c:extLst>
          </c:dPt>
          <c:dPt>
            <c:idx val="68"/>
            <c:invertIfNegative val="0"/>
            <c:bubble3D val="0"/>
            <c:spPr>
              <a:solidFill>
                <a:srgbClr val="AEABAB"/>
              </a:solidFill>
            </c:spPr>
            <c:extLst>
              <c:ext xmlns:c16="http://schemas.microsoft.com/office/drawing/2014/chart" uri="{C3380CC4-5D6E-409C-BE32-E72D297353CC}">
                <c16:uniqueId val="{0000008E-C76F-4230-900D-40618C09729F}"/>
              </c:ext>
            </c:extLst>
          </c:dPt>
          <c:dPt>
            <c:idx val="69"/>
            <c:invertIfNegative val="0"/>
            <c:bubble3D val="0"/>
            <c:spPr>
              <a:solidFill>
                <a:srgbClr val="AEABAB"/>
              </a:solidFill>
            </c:spPr>
            <c:extLst>
              <c:ext xmlns:c16="http://schemas.microsoft.com/office/drawing/2014/chart" uri="{C3380CC4-5D6E-409C-BE32-E72D297353CC}">
                <c16:uniqueId val="{00000090-C76F-4230-900D-40618C09729F}"/>
              </c:ext>
            </c:extLst>
          </c:dPt>
          <c:dPt>
            <c:idx val="70"/>
            <c:invertIfNegative val="0"/>
            <c:bubble3D val="0"/>
            <c:spPr>
              <a:solidFill>
                <a:srgbClr val="AEABAB"/>
              </a:solidFill>
            </c:spPr>
            <c:extLst>
              <c:ext xmlns:c16="http://schemas.microsoft.com/office/drawing/2014/chart" uri="{C3380CC4-5D6E-409C-BE32-E72D297353CC}">
                <c16:uniqueId val="{00000092-C76F-4230-900D-40618C09729F}"/>
              </c:ext>
            </c:extLst>
          </c:dPt>
          <c:dPt>
            <c:idx val="71"/>
            <c:invertIfNegative val="0"/>
            <c:bubble3D val="0"/>
            <c:spPr>
              <a:solidFill>
                <a:srgbClr val="AEABAB"/>
              </a:solidFill>
            </c:spPr>
            <c:extLst>
              <c:ext xmlns:c16="http://schemas.microsoft.com/office/drawing/2014/chart" uri="{C3380CC4-5D6E-409C-BE32-E72D297353CC}">
                <c16:uniqueId val="{00000094-C76F-4230-900D-40618C09729F}"/>
              </c:ext>
            </c:extLst>
          </c:dPt>
          <c:dPt>
            <c:idx val="72"/>
            <c:invertIfNegative val="0"/>
            <c:bubble3D val="0"/>
            <c:spPr>
              <a:solidFill>
                <a:srgbClr val="AEABAB"/>
              </a:solidFill>
            </c:spPr>
            <c:extLst>
              <c:ext xmlns:c16="http://schemas.microsoft.com/office/drawing/2014/chart" uri="{C3380CC4-5D6E-409C-BE32-E72D297353CC}">
                <c16:uniqueId val="{00000096-C76F-4230-900D-40618C09729F}"/>
              </c:ext>
            </c:extLst>
          </c:dPt>
          <c:dPt>
            <c:idx val="73"/>
            <c:invertIfNegative val="0"/>
            <c:bubble3D val="0"/>
            <c:spPr>
              <a:solidFill>
                <a:srgbClr val="AEABAB"/>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75</c:f>
              <c:strCache>
                <c:ptCount val="74"/>
                <c:pt idx="0">
                  <c:v>Private Lab</c:v>
                </c:pt>
                <c:pt idx="1">
                  <c:v>St Moret</c:v>
                </c:pt>
                <c:pt idx="2">
                  <c:v>St Moret</c:v>
                </c:pt>
                <c:pt idx="3">
                  <c:v>Tartare</c:v>
                </c:pt>
                <c:pt idx="4">
                  <c:v>St Moret</c:v>
                </c:pt>
                <c:pt idx="5">
                  <c:v>St Moret</c:v>
                </c:pt>
                <c:pt idx="6">
                  <c:v>Private Lab</c:v>
                </c:pt>
                <c:pt idx="7">
                  <c:v>Paysan Bret</c:v>
                </c:pt>
                <c:pt idx="8">
                  <c:v>Private Lab</c:v>
                </c:pt>
                <c:pt idx="9">
                  <c:v>Carre Frais</c:v>
                </c:pt>
                <c:pt idx="10">
                  <c:v>Philadelphi</c:v>
                </c:pt>
                <c:pt idx="11">
                  <c:v>Boursin</c:v>
                </c:pt>
                <c:pt idx="12">
                  <c:v>Carre Frais</c:v>
                </c:pt>
                <c:pt idx="13">
                  <c:v>Boursin</c:v>
                </c:pt>
                <c:pt idx="14">
                  <c:v>Paysan Bret</c:v>
                </c:pt>
                <c:pt idx="15">
                  <c:v>Tartare</c:v>
                </c:pt>
                <c:pt idx="16">
                  <c:v>Philadelphi</c:v>
                </c:pt>
                <c:pt idx="17">
                  <c:v>St Moret</c:v>
                </c:pt>
                <c:pt idx="18">
                  <c:v>St Moret</c:v>
                </c:pt>
                <c:pt idx="19">
                  <c:v>Boursin</c:v>
                </c:pt>
                <c:pt idx="20">
                  <c:v>Private Lab</c:v>
                </c:pt>
                <c:pt idx="21">
                  <c:v>St Moret</c:v>
                </c:pt>
                <c:pt idx="22">
                  <c:v>Boursin</c:v>
                </c:pt>
                <c:pt idx="23">
                  <c:v>Boursin</c:v>
                </c:pt>
                <c:pt idx="24">
                  <c:v>Boursin</c:v>
                </c:pt>
                <c:pt idx="25">
                  <c:v>Tartare</c:v>
                </c:pt>
                <c:pt idx="26">
                  <c:v>Paysan Bret</c:v>
                </c:pt>
                <c:pt idx="27">
                  <c:v>Paysan Bret</c:v>
                </c:pt>
                <c:pt idx="28">
                  <c:v>Boursin</c:v>
                </c:pt>
                <c:pt idx="29">
                  <c:v>Private Lab</c:v>
                </c:pt>
                <c:pt idx="30">
                  <c:v>Paysan Bret</c:v>
                </c:pt>
                <c:pt idx="31">
                  <c:v>Boursin</c:v>
                </c:pt>
                <c:pt idx="32">
                  <c:v>Carre Frais</c:v>
                </c:pt>
                <c:pt idx="33">
                  <c:v>Tartare</c:v>
                </c:pt>
                <c:pt idx="34">
                  <c:v>Paysan Bret</c:v>
                </c:pt>
                <c:pt idx="35">
                  <c:v>Paysan Bret</c:v>
                </c:pt>
                <c:pt idx="36">
                  <c:v>Boursin</c:v>
                </c:pt>
                <c:pt idx="37">
                  <c:v>St Moret</c:v>
                </c:pt>
                <c:pt idx="38">
                  <c:v>Savencia: A</c:v>
                </c:pt>
                <c:pt idx="39">
                  <c:v>Kiri</c:v>
                </c:pt>
                <c:pt idx="40">
                  <c:v>Private Lab</c:v>
                </c:pt>
                <c:pt idx="41">
                  <c:v>Tartare</c:v>
                </c:pt>
                <c:pt idx="42">
                  <c:v>Paysan Bret</c:v>
                </c:pt>
                <c:pt idx="43">
                  <c:v>Tartare</c:v>
                </c:pt>
                <c:pt idx="44">
                  <c:v>Boursin</c:v>
                </c:pt>
                <c:pt idx="45">
                  <c:v>Tartare</c:v>
                </c:pt>
                <c:pt idx="46">
                  <c:v>Saint Agur</c:v>
                </c:pt>
                <c:pt idx="47">
                  <c:v>Lactalis: A</c:v>
                </c:pt>
                <c:pt idx="48">
                  <c:v>Kiri</c:v>
                </c:pt>
                <c:pt idx="49">
                  <c:v>Paysan Bret</c:v>
                </c:pt>
                <c:pt idx="50">
                  <c:v>Paysan Bret</c:v>
                </c:pt>
                <c:pt idx="51">
                  <c:v>All Others</c:v>
                </c:pt>
                <c:pt idx="52">
                  <c:v>Carre Frais</c:v>
                </c:pt>
                <c:pt idx="53">
                  <c:v>Boursin</c:v>
                </c:pt>
                <c:pt idx="54">
                  <c:v>St Moret</c:v>
                </c:pt>
                <c:pt idx="55">
                  <c:v>All Others</c:v>
                </c:pt>
                <c:pt idx="56">
                  <c:v>Saint Agur</c:v>
                </c:pt>
                <c:pt idx="57">
                  <c:v>All Others</c:v>
                </c:pt>
                <c:pt idx="58">
                  <c:v>Boursin</c:v>
                </c:pt>
                <c:pt idx="59">
                  <c:v>President</c:v>
                </c:pt>
                <c:pt idx="60">
                  <c:v>All Others</c:v>
                </c:pt>
                <c:pt idx="61">
                  <c:v>All Others</c:v>
                </c:pt>
                <c:pt idx="62">
                  <c:v>Tartare</c:v>
                </c:pt>
                <c:pt idx="63">
                  <c:v>All Others</c:v>
                </c:pt>
                <c:pt idx="64">
                  <c:v>All Others</c:v>
                </c:pt>
                <c:pt idx="65">
                  <c:v>All Others</c:v>
                </c:pt>
                <c:pt idx="66">
                  <c:v>All Others</c:v>
                </c:pt>
                <c:pt idx="67">
                  <c:v>Paysan Bret</c:v>
                </c:pt>
                <c:pt idx="68">
                  <c:v>Savencia: A</c:v>
                </c:pt>
                <c:pt idx="69">
                  <c:v>Savencia: A</c:v>
                </c:pt>
                <c:pt idx="70">
                  <c:v>All Others</c:v>
                </c:pt>
                <c:pt idx="71">
                  <c:v>All Others</c:v>
                </c:pt>
                <c:pt idx="72">
                  <c:v>All Others</c:v>
                </c:pt>
                <c:pt idx="73">
                  <c:v>Kiri</c:v>
                </c:pt>
              </c:strCache>
            </c:strRef>
          </c:cat>
          <c:val>
            <c:numRef>
              <c:f>Sheet1!$C$2:$C$75</c:f>
              <c:numCache>
                <c:formatCode>General</c:formatCode>
                <c:ptCount val="74"/>
                <c:pt idx="0">
                  <c:v>0.0770305215037011</c:v>
                </c:pt>
                <c:pt idx="1">
                  <c:v>0.14572664884473385</c:v>
                </c:pt>
                <c:pt idx="2">
                  <c:v>0.2140326755521899</c:v>
                </c:pt>
                <c:pt idx="3">
                  <c:v>0.26470826272645775</c:v>
                </c:pt>
                <c:pt idx="4">
                  <c:v>0.3134379499370574</c:v>
                </c:pt>
                <c:pt idx="5">
                  <c:v>0.3620453593047789</c:v>
                </c:pt>
                <c:pt idx="6">
                  <c:v>0.4062414762258312</c:v>
                </c:pt>
                <c:pt idx="7">
                  <c:v>0.448964400408798</c:v>
                </c:pt>
                <c:pt idx="8">
                  <c:v>0.4846194811452337</c:v>
                </c:pt>
                <c:pt idx="9">
                  <c:v>0.5166875777679967</c:v>
                </c:pt>
                <c:pt idx="10">
                  <c:v>0.5476349197063088</c:v>
                </c:pt>
                <c:pt idx="11">
                  <c:v>0.5777419676388048</c:v>
                </c:pt>
                <c:pt idx="12">
                  <c:v>0.607784570712289</c:v>
                </c:pt>
                <c:pt idx="13">
                  <c:v>0.6372147802359167</c:v>
                </c:pt>
                <c:pt idx="14">
                  <c:v>0.6650221510371563</c:v>
                </c:pt>
                <c:pt idx="15">
                  <c:v>0.690105680362371</c:v>
                </c:pt>
                <c:pt idx="16">
                  <c:v>0.7148379433586602</c:v>
                </c:pt>
                <c:pt idx="17">
                  <c:v>0.7358033624983984</c:v>
                </c:pt>
                <c:pt idx="18">
                  <c:v>0.756542136601508</c:v>
                </c:pt>
                <c:pt idx="19">
                  <c:v>0.7765866638143542</c:v>
                </c:pt>
                <c:pt idx="20">
                  <c:v>0.7964971959372289</c:v>
                </c:pt>
                <c:pt idx="21">
                  <c:v>0.8138646669678001</c:v>
                </c:pt>
                <c:pt idx="22">
                  <c:v>0.829903485872641</c:v>
                </c:pt>
                <c:pt idx="23">
                  <c:v>0.8433807471736956</c:v>
                </c:pt>
                <c:pt idx="24">
                  <c:v>0.8557084628402994</c:v>
                </c:pt>
                <c:pt idx="25">
                  <c:v>0.8678396635342283</c:v>
                </c:pt>
                <c:pt idx="26">
                  <c:v>0.8797056359707436</c:v>
                </c:pt>
                <c:pt idx="27">
                  <c:v>0.8903477419483893</c:v>
                </c:pt>
                <c:pt idx="28">
                  <c:v>0.9007082155226912</c:v>
                </c:pt>
                <c:pt idx="29">
                  <c:v>0.9095528957962622</c:v>
                </c:pt>
                <c:pt idx="30">
                  <c:v>0.9175540179737552</c:v>
                </c:pt>
                <c:pt idx="31">
                  <c:v>0.9247712563207229</c:v>
                </c:pt>
                <c:pt idx="32">
                  <c:v>0.9316941406817885</c:v>
                </c:pt>
                <c:pt idx="33">
                  <c:v>0.9371507789584024</c:v>
                </c:pt>
                <c:pt idx="34">
                  <c:v>0.9423434443969342</c:v>
                </c:pt>
                <c:pt idx="35">
                  <c:v>0.9473118919428781</c:v>
                </c:pt>
                <c:pt idx="36">
                  <c:v>0.9516308692213784</c:v>
                </c:pt>
                <c:pt idx="37">
                  <c:v>0.9558125873196458</c:v>
                </c:pt>
                <c:pt idx="38">
                  <c:v>0.9599897022136981</c:v>
                </c:pt>
                <c:pt idx="39">
                  <c:v>0.9641545139983025</c:v>
                </c:pt>
                <c:pt idx="40">
                  <c:v>0.9682596515173546</c:v>
                </c:pt>
                <c:pt idx="41">
                  <c:v>0.971935184541202</c:v>
                </c:pt>
                <c:pt idx="42">
                  <c:v>0.9753929441583626</c:v>
                </c:pt>
                <c:pt idx="43">
                  <c:v>0.9785499053037202</c:v>
                </c:pt>
                <c:pt idx="44">
                  <c:v>0.9814608879547457</c:v>
                </c:pt>
                <c:pt idx="45">
                  <c:v>0.9840719090801889</c:v>
                </c:pt>
                <c:pt idx="46">
                  <c:v>0.986274416755195</c:v>
                </c:pt>
                <c:pt idx="47">
                  <c:v>0.9882850963563633</c:v>
                </c:pt>
                <c:pt idx="48">
                  <c:v>0.9900560745598566</c:v>
                </c:pt>
                <c:pt idx="49">
                  <c:v>0.991727623552303</c:v>
                </c:pt>
                <c:pt idx="50">
                  <c:v>0.99325965360972</c:v>
                </c:pt>
                <c:pt idx="51">
                  <c:v>0.9944615920776012</c:v>
                </c:pt>
                <c:pt idx="52">
                  <c:v>0.99538675243022</c:v>
                </c:pt>
                <c:pt idx="53">
                  <c:v>0.9961243531347279</c:v>
                </c:pt>
                <c:pt idx="54">
                  <c:v>0.9966490347206305</c:v>
                </c:pt>
                <c:pt idx="55">
                  <c:v>0.9971221604193237</c:v>
                </c:pt>
                <c:pt idx="56">
                  <c:v>0.9975788819720866</c:v>
                </c:pt>
                <c:pt idx="57">
                  <c:v>0.9980121690306634</c:v>
                </c:pt>
                <c:pt idx="58">
                  <c:v>0.9983603386585713</c:v>
                </c:pt>
                <c:pt idx="59">
                  <c:v>0.9986437286489791</c:v>
                </c:pt>
                <c:pt idx="60">
                  <c:v>0.998877906201596</c:v>
                </c:pt>
                <c:pt idx="61">
                  <c:v>0.999084297139678</c:v>
                </c:pt>
                <c:pt idx="62">
                  <c:v>0.9992842435918587</c:v>
                </c:pt>
                <c:pt idx="63">
                  <c:v>0.9994506285005801</c:v>
                </c:pt>
                <c:pt idx="64">
                  <c:v>0.9995854605367723</c:v>
                </c:pt>
                <c:pt idx="65">
                  <c:v>0.9996827973822667</c:v>
                </c:pt>
                <c:pt idx="66">
                  <c:v>0.9997510084992728</c:v>
                </c:pt>
                <c:pt idx="67">
                  <c:v>0.9998047404466567</c:v>
                </c:pt>
                <c:pt idx="68">
                  <c:v>0.9998703570303779</c:v>
                </c:pt>
                <c:pt idx="69">
                  <c:v>0.9999013240405523</c:v>
                </c:pt>
                <c:pt idx="70">
                  <c:v>0.9999307845475292</c:v>
                </c:pt>
                <c:pt idx="71">
                  <c:v>0.9999555581556687</c:v>
                </c:pt>
                <c:pt idx="72">
                  <c:v>0.9999803317638083</c:v>
                </c:pt>
                <c:pt idx="73">
                  <c:v>0.9999976565505816</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342</c:f>
              <c:strCache>
                <c:ptCount val="341"/>
                <c:pt idx="0">
                  <c:v>Private Lab</c:v>
                </c:pt>
                <c:pt idx="1">
                  <c:v>Private Lab</c:v>
                </c:pt>
                <c:pt idx="2">
                  <c:v>Galbani</c:v>
                </c:pt>
                <c:pt idx="3">
                  <c:v>Private Lab</c:v>
                </c:pt>
                <c:pt idx="4">
                  <c:v>Private Lab</c:v>
                </c:pt>
                <c:pt idx="5">
                  <c:v>Salakis</c:v>
                </c:pt>
                <c:pt idx="6">
                  <c:v>Islos</c:v>
                </c:pt>
                <c:pt idx="7">
                  <c:v>Private Lab</c:v>
                </c:pt>
                <c:pt idx="8">
                  <c:v>Private Lab</c:v>
                </c:pt>
                <c:pt idx="9">
                  <c:v>Galbani</c:v>
                </c:pt>
                <c:pt idx="10">
                  <c:v>Salakis</c:v>
                </c:pt>
                <c:pt idx="11">
                  <c:v>Galbani</c:v>
                </c:pt>
                <c:pt idx="12">
                  <c:v>Casa Azzurr</c:v>
                </c:pt>
                <c:pt idx="13">
                  <c:v>Private Lab</c:v>
                </c:pt>
                <c:pt idx="14">
                  <c:v>Casa Azzurr</c:v>
                </c:pt>
                <c:pt idx="15">
                  <c:v>Galbani</c:v>
                </c:pt>
                <c:pt idx="16">
                  <c:v>Boursin</c:v>
                </c:pt>
                <c:pt idx="17">
                  <c:v>All Others</c:v>
                </c:pt>
                <c:pt idx="18">
                  <c:v>Private Lab</c:v>
                </c:pt>
                <c:pt idx="19">
                  <c:v>All Others</c:v>
                </c:pt>
                <c:pt idx="20">
                  <c:v>Casa Azzurr</c:v>
                </c:pt>
                <c:pt idx="21">
                  <c:v>Salakis</c:v>
                </c:pt>
                <c:pt idx="22">
                  <c:v>Private Lab</c:v>
                </c:pt>
                <c:pt idx="23">
                  <c:v>Casa Azzurr</c:v>
                </c:pt>
                <c:pt idx="24">
                  <c:v>Private Lab</c:v>
                </c:pt>
                <c:pt idx="25">
                  <c:v>Casa Azzurr</c:v>
                </c:pt>
                <c:pt idx="26">
                  <c:v>Casa Azzurr</c:v>
                </c:pt>
                <c:pt idx="27">
                  <c:v>Salakis</c:v>
                </c:pt>
                <c:pt idx="28">
                  <c:v>Casa Azzurr</c:v>
                </c:pt>
                <c:pt idx="29">
                  <c:v>Galbani</c:v>
                </c:pt>
                <c:pt idx="30">
                  <c:v>Private Lab</c:v>
                </c:pt>
                <c:pt idx="31">
                  <c:v>All Others</c:v>
                </c:pt>
                <c:pt idx="32">
                  <c:v>Salakis</c:v>
                </c:pt>
                <c:pt idx="33">
                  <c:v>All Others</c:v>
                </c:pt>
                <c:pt idx="34">
                  <c:v>All Others</c:v>
                </c:pt>
                <c:pt idx="35">
                  <c:v>Salakis</c:v>
                </c:pt>
                <c:pt idx="36">
                  <c:v>All Others</c:v>
                </c:pt>
                <c:pt idx="37">
                  <c:v>Galbani</c:v>
                </c:pt>
                <c:pt idx="38">
                  <c:v>All Others</c:v>
                </c:pt>
                <c:pt idx="39">
                  <c:v>Galbani</c:v>
                </c:pt>
                <c:pt idx="40">
                  <c:v>Private Lab</c:v>
                </c:pt>
                <c:pt idx="41">
                  <c:v>Casa Azzurr</c:v>
                </c:pt>
                <c:pt idx="42">
                  <c:v>Galbani</c:v>
                </c:pt>
                <c:pt idx="43">
                  <c:v>Private Lab</c:v>
                </c:pt>
                <c:pt idx="44">
                  <c:v>All Others</c:v>
                </c:pt>
                <c:pt idx="45">
                  <c:v>Casa Azzurr</c:v>
                </c:pt>
                <c:pt idx="46">
                  <c:v>Casa Azzurr</c:v>
                </c:pt>
                <c:pt idx="47">
                  <c:v>Casa Azzurr</c:v>
                </c:pt>
                <c:pt idx="48">
                  <c:v>All Others</c:v>
                </c:pt>
                <c:pt idx="49">
                  <c:v>Galbani</c:v>
                </c:pt>
                <c:pt idx="50">
                  <c:v>Private Lab</c:v>
                </c:pt>
                <c:pt idx="51">
                  <c:v>All Others</c:v>
                </c:pt>
                <c:pt idx="52">
                  <c:v>All Others</c:v>
                </c:pt>
                <c:pt idx="53">
                  <c:v>All Others</c:v>
                </c:pt>
                <c:pt idx="54">
                  <c:v>All Others</c:v>
                </c:pt>
                <c:pt idx="55">
                  <c:v>All Others</c:v>
                </c:pt>
                <c:pt idx="56">
                  <c:v>Private Lab</c:v>
                </c:pt>
                <c:pt idx="57">
                  <c:v>Boursin</c:v>
                </c:pt>
                <c:pt idx="58">
                  <c:v>All Others</c:v>
                </c:pt>
                <c:pt idx="59">
                  <c:v>All Others</c:v>
                </c:pt>
                <c:pt idx="60">
                  <c:v>All Others</c:v>
                </c:pt>
                <c:pt idx="61">
                  <c:v>Galbani</c:v>
                </c:pt>
                <c:pt idx="62">
                  <c:v>All Others</c:v>
                </c:pt>
                <c:pt idx="63">
                  <c:v>Galbani</c:v>
                </c:pt>
                <c:pt idx="64">
                  <c:v>All Others</c:v>
                </c:pt>
                <c:pt idx="65">
                  <c:v>Salakis</c:v>
                </c:pt>
                <c:pt idx="66">
                  <c:v>Casa Azzurr</c:v>
                </c:pt>
                <c:pt idx="67">
                  <c:v>All Others</c:v>
                </c:pt>
                <c:pt idx="68">
                  <c:v>All Others</c:v>
                </c:pt>
                <c:pt idx="69">
                  <c:v>All Others</c:v>
                </c:pt>
                <c:pt idx="70">
                  <c:v>Boursin</c:v>
                </c:pt>
                <c:pt idx="71">
                  <c:v>All Others</c:v>
                </c:pt>
                <c:pt idx="72">
                  <c:v>All Others</c:v>
                </c:pt>
                <c:pt idx="73">
                  <c:v>All Others</c:v>
                </c:pt>
                <c:pt idx="74">
                  <c:v>Galbani</c:v>
                </c:pt>
                <c:pt idx="75">
                  <c:v>All Others</c:v>
                </c:pt>
                <c:pt idx="76">
                  <c:v>All Others</c:v>
                </c:pt>
                <c:pt idx="77">
                  <c:v>Casa Azzurr</c:v>
                </c:pt>
                <c:pt idx="78">
                  <c:v>Private Lab</c:v>
                </c:pt>
                <c:pt idx="79">
                  <c:v>All Others</c:v>
                </c:pt>
                <c:pt idx="80">
                  <c:v>All Others</c:v>
                </c:pt>
                <c:pt idx="81">
                  <c:v>All Others</c:v>
                </c:pt>
                <c:pt idx="82">
                  <c:v>Private Lab</c:v>
                </c:pt>
                <c:pt idx="83">
                  <c:v>All Others</c:v>
                </c:pt>
                <c:pt idx="84">
                  <c:v>Lactalis: A</c:v>
                </c:pt>
                <c:pt idx="85">
                  <c:v>Casa Azzurr</c:v>
                </c:pt>
                <c:pt idx="86">
                  <c:v>All Others</c:v>
                </c:pt>
                <c:pt idx="87">
                  <c:v>All Others</c:v>
                </c:pt>
                <c:pt idx="88">
                  <c:v>Casa Azzurr</c:v>
                </c:pt>
                <c:pt idx="89">
                  <c:v>Galbani</c:v>
                </c:pt>
                <c:pt idx="90">
                  <c:v>Islos</c:v>
                </c:pt>
                <c:pt idx="91">
                  <c:v>All Others</c:v>
                </c:pt>
                <c:pt idx="92">
                  <c:v>All Others</c:v>
                </c:pt>
                <c:pt idx="93">
                  <c:v>All Others</c:v>
                </c:pt>
                <c:pt idx="94">
                  <c:v>All Others</c:v>
                </c:pt>
                <c:pt idx="95">
                  <c:v>Private Lab</c:v>
                </c:pt>
                <c:pt idx="96">
                  <c:v>All Others</c:v>
                </c:pt>
                <c:pt idx="97">
                  <c:v>Private Lab</c:v>
                </c:pt>
                <c:pt idx="98">
                  <c:v>All Others</c:v>
                </c:pt>
                <c:pt idx="99">
                  <c:v>All Others</c:v>
                </c:pt>
                <c:pt idx="100">
                  <c:v>Private Lab</c:v>
                </c:pt>
                <c:pt idx="101">
                  <c:v>Islos</c:v>
                </c:pt>
                <c:pt idx="102">
                  <c:v>Salakis</c:v>
                </c:pt>
                <c:pt idx="103">
                  <c:v>Private Lab</c:v>
                </c:pt>
                <c:pt idx="104">
                  <c:v>Boursin</c:v>
                </c:pt>
                <c:pt idx="105">
                  <c:v>Lactalis: A</c:v>
                </c:pt>
                <c:pt idx="106">
                  <c:v>Private Lab</c:v>
                </c:pt>
                <c:pt idx="107">
                  <c:v>Private Lab</c:v>
                </c:pt>
                <c:pt idx="108">
                  <c:v>All Others</c:v>
                </c:pt>
                <c:pt idx="109">
                  <c:v>All Others</c:v>
                </c:pt>
                <c:pt idx="110">
                  <c:v>Private Lab</c:v>
                </c:pt>
                <c:pt idx="111">
                  <c:v>All Others</c:v>
                </c:pt>
                <c:pt idx="112">
                  <c:v>All Others</c:v>
                </c:pt>
                <c:pt idx="113">
                  <c:v>All Others</c:v>
                </c:pt>
                <c:pt idx="114">
                  <c:v>All Others</c:v>
                </c:pt>
                <c:pt idx="115">
                  <c:v>All Others</c:v>
                </c:pt>
                <c:pt idx="116">
                  <c:v>Boursin</c:v>
                </c:pt>
                <c:pt idx="117">
                  <c:v>All Others</c:v>
                </c:pt>
                <c:pt idx="118">
                  <c:v>All Others</c:v>
                </c:pt>
                <c:pt idx="119">
                  <c:v>All Others</c:v>
                </c:pt>
                <c:pt idx="120">
                  <c:v>Boursin</c:v>
                </c:pt>
                <c:pt idx="121">
                  <c:v>Salakis</c:v>
                </c:pt>
                <c:pt idx="122">
                  <c:v>All Others</c:v>
                </c:pt>
                <c:pt idx="123">
                  <c:v>All Others</c:v>
                </c:pt>
                <c:pt idx="124">
                  <c:v>All Others</c:v>
                </c:pt>
                <c:pt idx="125">
                  <c:v>All Others</c:v>
                </c:pt>
                <c:pt idx="126">
                  <c:v>All Others</c:v>
                </c:pt>
                <c:pt idx="127">
                  <c:v>All Others</c:v>
                </c:pt>
                <c:pt idx="128">
                  <c:v>All Others</c:v>
                </c:pt>
                <c:pt idx="129">
                  <c:v>Private Lab</c:v>
                </c:pt>
                <c:pt idx="130">
                  <c:v>Lactalis: A</c:v>
                </c:pt>
                <c:pt idx="131">
                  <c:v>All Others</c:v>
                </c:pt>
                <c:pt idx="132">
                  <c:v>All Others</c:v>
                </c:pt>
                <c:pt idx="133">
                  <c:v>All Others</c:v>
                </c:pt>
                <c:pt idx="134">
                  <c:v>All Others</c:v>
                </c:pt>
                <c:pt idx="135">
                  <c:v>All Others</c:v>
                </c:pt>
                <c:pt idx="136">
                  <c:v>All Others</c:v>
                </c:pt>
                <c:pt idx="137">
                  <c:v>All Others</c:v>
                </c:pt>
                <c:pt idx="138">
                  <c:v>All Others</c:v>
                </c:pt>
                <c:pt idx="139">
                  <c:v>All Others</c:v>
                </c:pt>
                <c:pt idx="140">
                  <c:v>All Others</c:v>
                </c:pt>
                <c:pt idx="141">
                  <c:v>All Others</c:v>
                </c:pt>
                <c:pt idx="142">
                  <c:v>All Others</c:v>
                </c:pt>
                <c:pt idx="143">
                  <c:v>All Others</c:v>
                </c:pt>
                <c:pt idx="144">
                  <c:v>Casa Azzurr</c:v>
                </c:pt>
                <c:pt idx="145">
                  <c:v>All Others</c:v>
                </c:pt>
                <c:pt idx="146">
                  <c:v>All Others</c:v>
                </c:pt>
                <c:pt idx="147">
                  <c:v>All Others</c:v>
                </c:pt>
                <c:pt idx="148">
                  <c:v>All Others</c:v>
                </c:pt>
                <c:pt idx="149">
                  <c:v>All Others</c:v>
                </c:pt>
                <c:pt idx="150">
                  <c:v>All Others</c:v>
                </c:pt>
                <c:pt idx="151">
                  <c:v>Salakis</c:v>
                </c:pt>
                <c:pt idx="152">
                  <c:v>All Others</c:v>
                </c:pt>
                <c:pt idx="153">
                  <c:v>Salakis</c:v>
                </c:pt>
                <c:pt idx="154">
                  <c:v>All Others</c:v>
                </c:pt>
                <c:pt idx="155">
                  <c:v>All Others</c:v>
                </c:pt>
                <c:pt idx="156">
                  <c:v>All Others</c:v>
                </c:pt>
                <c:pt idx="157">
                  <c:v>All Others</c:v>
                </c:pt>
                <c:pt idx="158">
                  <c:v>Casa Azzurr</c:v>
                </c:pt>
                <c:pt idx="159">
                  <c:v>All Others</c:v>
                </c:pt>
                <c:pt idx="160">
                  <c:v>All Others</c:v>
                </c:pt>
                <c:pt idx="161">
                  <c:v>All Others</c:v>
                </c:pt>
                <c:pt idx="162">
                  <c:v>All Others</c:v>
                </c:pt>
                <c:pt idx="163">
                  <c:v>All Others</c:v>
                </c:pt>
                <c:pt idx="164">
                  <c:v>Casa Azzurr</c:v>
                </c:pt>
                <c:pt idx="165">
                  <c:v>Private Lab</c:v>
                </c:pt>
                <c:pt idx="166">
                  <c:v>All Others</c:v>
                </c:pt>
                <c:pt idx="167">
                  <c:v>All Others</c:v>
                </c:pt>
                <c:pt idx="168">
                  <c:v>All Others</c:v>
                </c:pt>
                <c:pt idx="169">
                  <c:v>Private Lab</c:v>
                </c:pt>
                <c:pt idx="170">
                  <c:v>All Others</c:v>
                </c:pt>
                <c:pt idx="171">
                  <c:v>All Others</c:v>
                </c:pt>
                <c:pt idx="172">
                  <c:v>All Others</c:v>
                </c:pt>
                <c:pt idx="173">
                  <c:v>All Others</c:v>
                </c:pt>
                <c:pt idx="174">
                  <c:v>All Others</c:v>
                </c:pt>
                <c:pt idx="175">
                  <c:v>All Others</c:v>
                </c:pt>
                <c:pt idx="176">
                  <c:v>All Others</c:v>
                </c:pt>
                <c:pt idx="177">
                  <c:v>All Others</c:v>
                </c:pt>
                <c:pt idx="178">
                  <c:v>All Others</c:v>
                </c:pt>
                <c:pt idx="179">
                  <c:v>All Others</c:v>
                </c:pt>
                <c:pt idx="180">
                  <c:v>Lactalis: A</c:v>
                </c:pt>
                <c:pt idx="181">
                  <c:v>All Others</c:v>
                </c:pt>
                <c:pt idx="182">
                  <c:v>Galbani</c:v>
                </c:pt>
                <c:pt idx="183">
                  <c:v>All Others</c:v>
                </c:pt>
                <c:pt idx="184">
                  <c:v>All Others</c:v>
                </c:pt>
                <c:pt idx="185">
                  <c:v>All Others</c:v>
                </c:pt>
                <c:pt idx="186">
                  <c:v>All Others</c:v>
                </c:pt>
                <c:pt idx="187">
                  <c:v>All Others</c:v>
                </c:pt>
                <c:pt idx="188">
                  <c:v>All Others</c:v>
                </c:pt>
                <c:pt idx="189">
                  <c:v>All Others</c:v>
                </c:pt>
                <c:pt idx="190">
                  <c:v>Savencia: A</c:v>
                </c:pt>
                <c:pt idx="191">
                  <c:v>All Others</c:v>
                </c:pt>
                <c:pt idx="192">
                  <c:v>All Others</c:v>
                </c:pt>
                <c:pt idx="193">
                  <c:v>All Others</c:v>
                </c:pt>
                <c:pt idx="194">
                  <c:v>All Others</c:v>
                </c:pt>
                <c:pt idx="195">
                  <c:v>Salakis</c:v>
                </c:pt>
                <c:pt idx="196">
                  <c:v>All Others</c:v>
                </c:pt>
                <c:pt idx="197">
                  <c:v>Private Lab</c:v>
                </c:pt>
                <c:pt idx="198">
                  <c:v>All Others</c:v>
                </c:pt>
                <c:pt idx="199">
                  <c:v>Savencia: A</c:v>
                </c:pt>
                <c:pt idx="200">
                  <c:v>All Others</c:v>
                </c:pt>
                <c:pt idx="201">
                  <c:v>All Others</c:v>
                </c:pt>
                <c:pt idx="202">
                  <c:v>Islos</c:v>
                </c:pt>
                <c:pt idx="203">
                  <c:v>All Others</c:v>
                </c:pt>
                <c:pt idx="204">
                  <c:v>All Others</c:v>
                </c:pt>
                <c:pt idx="205">
                  <c:v>All Others</c:v>
                </c:pt>
                <c:pt idx="206">
                  <c:v>All Others</c:v>
                </c:pt>
                <c:pt idx="207">
                  <c:v>All Others</c:v>
                </c:pt>
                <c:pt idx="208">
                  <c:v>All Others</c:v>
                </c:pt>
                <c:pt idx="209">
                  <c:v>All Others</c:v>
                </c:pt>
                <c:pt idx="210">
                  <c:v>All Others</c:v>
                </c:pt>
                <c:pt idx="211">
                  <c:v>All Others</c:v>
                </c:pt>
                <c:pt idx="212">
                  <c:v>All Others</c:v>
                </c:pt>
                <c:pt idx="213">
                  <c:v>All Others</c:v>
                </c:pt>
                <c:pt idx="214">
                  <c:v>All Others</c:v>
                </c:pt>
                <c:pt idx="215">
                  <c:v>All Others</c:v>
                </c:pt>
                <c:pt idx="216">
                  <c:v>All Others</c:v>
                </c:pt>
                <c:pt idx="217">
                  <c:v>All Others</c:v>
                </c:pt>
                <c:pt idx="218">
                  <c:v>All Others</c:v>
                </c:pt>
                <c:pt idx="219">
                  <c:v>All Others</c:v>
                </c:pt>
                <c:pt idx="220">
                  <c:v>All Others</c:v>
                </c:pt>
                <c:pt idx="221">
                  <c:v>All Others</c:v>
                </c:pt>
                <c:pt idx="222">
                  <c:v>All Others</c:v>
                </c:pt>
                <c:pt idx="223">
                  <c:v>All Others</c:v>
                </c:pt>
                <c:pt idx="224">
                  <c:v>All Others</c:v>
                </c:pt>
                <c:pt idx="225">
                  <c:v>All Others</c:v>
                </c:pt>
                <c:pt idx="226">
                  <c:v>All Others</c:v>
                </c:pt>
                <c:pt idx="227">
                  <c:v>All Others</c:v>
                </c:pt>
                <c:pt idx="228">
                  <c:v>All Others</c:v>
                </c:pt>
                <c:pt idx="229">
                  <c:v>All Others</c:v>
                </c:pt>
                <c:pt idx="230">
                  <c:v>All Others</c:v>
                </c:pt>
                <c:pt idx="231">
                  <c:v>All Others</c:v>
                </c:pt>
                <c:pt idx="232">
                  <c:v>All Others</c:v>
                </c:pt>
                <c:pt idx="233">
                  <c:v>All Others</c:v>
                </c:pt>
                <c:pt idx="234">
                  <c:v>All Others</c:v>
                </c:pt>
                <c:pt idx="235">
                  <c:v>All Others</c:v>
                </c:pt>
                <c:pt idx="236">
                  <c:v>All Others</c:v>
                </c:pt>
                <c:pt idx="237">
                  <c:v>All Others</c:v>
                </c:pt>
                <c:pt idx="238">
                  <c:v>All Others</c:v>
                </c:pt>
                <c:pt idx="239">
                  <c:v>All Others</c:v>
                </c:pt>
                <c:pt idx="240">
                  <c:v>All Others</c:v>
                </c:pt>
                <c:pt idx="241">
                  <c:v>All Others</c:v>
                </c:pt>
                <c:pt idx="242">
                  <c:v>All Others</c:v>
                </c:pt>
                <c:pt idx="243">
                  <c:v>All Others</c:v>
                </c:pt>
                <c:pt idx="244">
                  <c:v>All Others</c:v>
                </c:pt>
                <c:pt idx="245">
                  <c:v>All Others</c:v>
                </c:pt>
                <c:pt idx="246">
                  <c:v>All Others</c:v>
                </c:pt>
                <c:pt idx="247">
                  <c:v>All Others</c:v>
                </c:pt>
                <c:pt idx="248">
                  <c:v>All Others</c:v>
                </c:pt>
                <c:pt idx="249">
                  <c:v>All Others</c:v>
                </c:pt>
                <c:pt idx="250">
                  <c:v>All Others</c:v>
                </c:pt>
                <c:pt idx="251">
                  <c:v>All Others</c:v>
                </c:pt>
                <c:pt idx="252">
                  <c:v>All Others</c:v>
                </c:pt>
                <c:pt idx="253">
                  <c:v>All Others</c:v>
                </c:pt>
                <c:pt idx="254">
                  <c:v>All Others</c:v>
                </c:pt>
                <c:pt idx="255">
                  <c:v>All Others</c:v>
                </c:pt>
                <c:pt idx="256">
                  <c:v>All Others</c:v>
                </c:pt>
                <c:pt idx="257">
                  <c:v>All Others</c:v>
                </c:pt>
                <c:pt idx="258">
                  <c:v>All Others</c:v>
                </c:pt>
                <c:pt idx="259">
                  <c:v>All Others</c:v>
                </c:pt>
                <c:pt idx="260">
                  <c:v>All Others</c:v>
                </c:pt>
                <c:pt idx="261">
                  <c:v>All Others</c:v>
                </c:pt>
                <c:pt idx="262">
                  <c:v>All Others</c:v>
                </c:pt>
                <c:pt idx="263">
                  <c:v>All Others</c:v>
                </c:pt>
                <c:pt idx="264">
                  <c:v>All Others</c:v>
                </c:pt>
                <c:pt idx="265">
                  <c:v>All Others</c:v>
                </c:pt>
                <c:pt idx="266">
                  <c:v>All Others</c:v>
                </c:pt>
                <c:pt idx="267">
                  <c:v>All Others</c:v>
                </c:pt>
                <c:pt idx="268">
                  <c:v>All Others</c:v>
                </c:pt>
                <c:pt idx="269">
                  <c:v>Private Lab</c:v>
                </c:pt>
                <c:pt idx="270">
                  <c:v>All Others</c:v>
                </c:pt>
                <c:pt idx="271">
                  <c:v>All Others</c:v>
                </c:pt>
                <c:pt idx="272">
                  <c:v>All Others</c:v>
                </c:pt>
                <c:pt idx="273">
                  <c:v>All Others</c:v>
                </c:pt>
                <c:pt idx="274">
                  <c:v>All Others</c:v>
                </c:pt>
                <c:pt idx="275">
                  <c:v>All Others</c:v>
                </c:pt>
                <c:pt idx="276">
                  <c:v>All Others</c:v>
                </c:pt>
                <c:pt idx="277">
                  <c:v>All Others</c:v>
                </c:pt>
                <c:pt idx="278">
                  <c:v>All Others</c:v>
                </c:pt>
                <c:pt idx="279">
                  <c:v>All Others</c:v>
                </c:pt>
                <c:pt idx="280">
                  <c:v>All Others</c:v>
                </c:pt>
                <c:pt idx="281">
                  <c:v>All Others</c:v>
                </c:pt>
                <c:pt idx="282">
                  <c:v>All Others</c:v>
                </c:pt>
                <c:pt idx="283">
                  <c:v>All Others</c:v>
                </c:pt>
                <c:pt idx="284">
                  <c:v>All Others</c:v>
                </c:pt>
                <c:pt idx="285">
                  <c:v>All Others</c:v>
                </c:pt>
                <c:pt idx="286">
                  <c:v>All Others</c:v>
                </c:pt>
                <c:pt idx="287">
                  <c:v>All Others</c:v>
                </c:pt>
                <c:pt idx="288">
                  <c:v>All Others</c:v>
                </c:pt>
                <c:pt idx="289">
                  <c:v>All Others</c:v>
                </c:pt>
                <c:pt idx="290">
                  <c:v>All Others</c:v>
                </c:pt>
                <c:pt idx="291">
                  <c:v>All Others</c:v>
                </c:pt>
                <c:pt idx="292">
                  <c:v>All Others</c:v>
                </c:pt>
                <c:pt idx="293">
                  <c:v>All Others</c:v>
                </c:pt>
                <c:pt idx="294">
                  <c:v>All Others</c:v>
                </c:pt>
                <c:pt idx="295">
                  <c:v>All Others</c:v>
                </c:pt>
                <c:pt idx="296">
                  <c:v>All Others</c:v>
                </c:pt>
                <c:pt idx="297">
                  <c:v>All Others</c:v>
                </c:pt>
                <c:pt idx="298">
                  <c:v>All Others</c:v>
                </c:pt>
                <c:pt idx="299">
                  <c:v>All Others</c:v>
                </c:pt>
                <c:pt idx="300">
                  <c:v>All Others</c:v>
                </c:pt>
                <c:pt idx="301">
                  <c:v>All Others</c:v>
                </c:pt>
                <c:pt idx="302">
                  <c:v>All Others</c:v>
                </c:pt>
                <c:pt idx="303">
                  <c:v>All Others</c:v>
                </c:pt>
                <c:pt idx="304">
                  <c:v>All Others</c:v>
                </c:pt>
                <c:pt idx="305">
                  <c:v>All Others</c:v>
                </c:pt>
                <c:pt idx="306">
                  <c:v>All Others</c:v>
                </c:pt>
                <c:pt idx="307">
                  <c:v>All Others</c:v>
                </c:pt>
                <c:pt idx="308">
                  <c:v>All Others</c:v>
                </c:pt>
                <c:pt idx="309">
                  <c:v>All Others</c:v>
                </c:pt>
                <c:pt idx="310">
                  <c:v>All Others</c:v>
                </c:pt>
                <c:pt idx="311">
                  <c:v>Galbani</c:v>
                </c:pt>
                <c:pt idx="312">
                  <c:v>All Others</c:v>
                </c:pt>
                <c:pt idx="313">
                  <c:v>All Others</c:v>
                </c:pt>
                <c:pt idx="314">
                  <c:v>All Others</c:v>
                </c:pt>
                <c:pt idx="315">
                  <c:v>All Others</c:v>
                </c:pt>
                <c:pt idx="316">
                  <c:v>All Others</c:v>
                </c:pt>
                <c:pt idx="317">
                  <c:v>All Others</c:v>
                </c:pt>
                <c:pt idx="318">
                  <c:v>All Others</c:v>
                </c:pt>
                <c:pt idx="319">
                  <c:v>All Others</c:v>
                </c:pt>
                <c:pt idx="320">
                  <c:v>All Others</c:v>
                </c:pt>
                <c:pt idx="321">
                  <c:v>Salakis</c:v>
                </c:pt>
                <c:pt idx="322">
                  <c:v>Societe</c:v>
                </c:pt>
                <c:pt idx="323">
                  <c:v>All Others</c:v>
                </c:pt>
                <c:pt idx="324">
                  <c:v>All Others</c:v>
                </c:pt>
                <c:pt idx="325">
                  <c:v>All Others</c:v>
                </c:pt>
                <c:pt idx="326">
                  <c:v>All Others</c:v>
                </c:pt>
                <c:pt idx="327">
                  <c:v>All Others</c:v>
                </c:pt>
                <c:pt idx="328">
                  <c:v>All Others</c:v>
                </c:pt>
                <c:pt idx="329">
                  <c:v>All Others</c:v>
                </c:pt>
                <c:pt idx="330">
                  <c:v>All Others</c:v>
                </c:pt>
                <c:pt idx="331">
                  <c:v>All Others</c:v>
                </c:pt>
                <c:pt idx="332">
                  <c:v>All Others</c:v>
                </c:pt>
                <c:pt idx="333">
                  <c:v>All Others</c:v>
                </c:pt>
                <c:pt idx="334">
                  <c:v>All Others</c:v>
                </c:pt>
                <c:pt idx="335">
                  <c:v>All Others</c:v>
                </c:pt>
                <c:pt idx="336">
                  <c:v>All Others</c:v>
                </c:pt>
                <c:pt idx="337">
                  <c:v>All Others</c:v>
                </c:pt>
                <c:pt idx="338">
                  <c:v>All Others</c:v>
                </c:pt>
                <c:pt idx="339">
                  <c:v>All Others</c:v>
                </c:pt>
                <c:pt idx="340">
                  <c:v>All Others</c:v>
                </c:pt>
              </c:strCache>
            </c:strRef>
          </c:cat>
          <c:val>
            <c:numRef>
              <c:f>Sheet1!$B$2:$B$342</c:f>
              <c:numCache>
                <c:formatCode>General</c:formatCode>
                <c:ptCount val="341"/>
                <c:pt idx="0">
                  <c:v>0.375</c:v>
                </c:pt>
                <c:pt idx="1">
                  <c:v>1.0</c:v>
                </c:pt>
                <c:pt idx="2">
                  <c:v>0.953</c:v>
                </c:pt>
                <c:pt idx="3">
                  <c:v>0.974</c:v>
                </c:pt>
                <c:pt idx="4">
                  <c:v>0.992</c:v>
                </c:pt>
                <c:pt idx="5">
                  <c:v>0.94</c:v>
                </c:pt>
                <c:pt idx="6">
                  <c:v>0.84</c:v>
                </c:pt>
                <c:pt idx="7">
                  <c:v>0.98</c:v>
                </c:pt>
                <c:pt idx="8">
                  <c:v>0.846</c:v>
                </c:pt>
                <c:pt idx="9">
                  <c:v>0.825</c:v>
                </c:pt>
                <c:pt idx="10">
                  <c:v>0.928</c:v>
                </c:pt>
                <c:pt idx="11">
                  <c:v>0.859</c:v>
                </c:pt>
                <c:pt idx="12">
                  <c:v>0.87</c:v>
                </c:pt>
                <c:pt idx="13">
                  <c:v>0.944</c:v>
                </c:pt>
                <c:pt idx="14">
                  <c:v>0.828</c:v>
                </c:pt>
                <c:pt idx="15">
                  <c:v>0.85</c:v>
                </c:pt>
                <c:pt idx="16">
                  <c:v>0.962</c:v>
                </c:pt>
                <c:pt idx="17">
                  <c:v>0.76</c:v>
                </c:pt>
                <c:pt idx="18">
                  <c:v>0.914</c:v>
                </c:pt>
                <c:pt idx="19">
                  <c:v>0.772</c:v>
                </c:pt>
                <c:pt idx="20">
                  <c:v>0.782</c:v>
                </c:pt>
                <c:pt idx="21">
                  <c:v>0.815</c:v>
                </c:pt>
                <c:pt idx="22">
                  <c:v>0.844</c:v>
                </c:pt>
                <c:pt idx="23">
                  <c:v>0.745</c:v>
                </c:pt>
                <c:pt idx="24">
                  <c:v>0.82</c:v>
                </c:pt>
                <c:pt idx="25">
                  <c:v>0.778</c:v>
                </c:pt>
                <c:pt idx="26">
                  <c:v>0.756</c:v>
                </c:pt>
                <c:pt idx="27">
                  <c:v>0.76</c:v>
                </c:pt>
                <c:pt idx="28">
                  <c:v>0.767</c:v>
                </c:pt>
                <c:pt idx="29">
                  <c:v>0.812</c:v>
                </c:pt>
                <c:pt idx="30">
                  <c:v>0.962</c:v>
                </c:pt>
                <c:pt idx="31">
                  <c:v>0.781</c:v>
                </c:pt>
                <c:pt idx="32">
                  <c:v>0.657</c:v>
                </c:pt>
                <c:pt idx="33">
                  <c:v>0.66</c:v>
                </c:pt>
                <c:pt idx="34">
                  <c:v>0.64</c:v>
                </c:pt>
                <c:pt idx="35">
                  <c:v>0.656</c:v>
                </c:pt>
                <c:pt idx="36">
                  <c:v>0.602</c:v>
                </c:pt>
                <c:pt idx="37">
                  <c:v>0.751</c:v>
                </c:pt>
                <c:pt idx="38">
                  <c:v>0.712</c:v>
                </c:pt>
                <c:pt idx="39">
                  <c:v>0.688</c:v>
                </c:pt>
                <c:pt idx="40">
                  <c:v>0.949</c:v>
                </c:pt>
                <c:pt idx="41">
                  <c:v>0.663</c:v>
                </c:pt>
                <c:pt idx="42">
                  <c:v>0.681</c:v>
                </c:pt>
                <c:pt idx="43">
                  <c:v>0.779</c:v>
                </c:pt>
                <c:pt idx="44">
                  <c:v>0.753</c:v>
                </c:pt>
                <c:pt idx="45">
                  <c:v>0.652</c:v>
                </c:pt>
                <c:pt idx="46">
                  <c:v>0.74</c:v>
                </c:pt>
                <c:pt idx="47">
                  <c:v>0.618</c:v>
                </c:pt>
                <c:pt idx="48">
                  <c:v>0.36</c:v>
                </c:pt>
                <c:pt idx="49">
                  <c:v>0.633</c:v>
                </c:pt>
                <c:pt idx="50">
                  <c:v>0.77</c:v>
                </c:pt>
                <c:pt idx="51">
                  <c:v>0.663</c:v>
                </c:pt>
                <c:pt idx="52">
                  <c:v>0.683</c:v>
                </c:pt>
                <c:pt idx="53">
                  <c:v>0.186</c:v>
                </c:pt>
                <c:pt idx="54">
                  <c:v>0.302</c:v>
                </c:pt>
                <c:pt idx="55">
                  <c:v>0.63</c:v>
                </c:pt>
                <c:pt idx="56">
                  <c:v>0.798</c:v>
                </c:pt>
                <c:pt idx="57">
                  <c:v>0.817</c:v>
                </c:pt>
                <c:pt idx="58">
                  <c:v>0.713</c:v>
                </c:pt>
                <c:pt idx="59">
                  <c:v>0.727</c:v>
                </c:pt>
                <c:pt idx="60">
                  <c:v>0.696</c:v>
                </c:pt>
                <c:pt idx="61">
                  <c:v>0.599</c:v>
                </c:pt>
                <c:pt idx="62">
                  <c:v>0.463</c:v>
                </c:pt>
                <c:pt idx="63">
                  <c:v>0.577</c:v>
                </c:pt>
                <c:pt idx="64">
                  <c:v>0.687</c:v>
                </c:pt>
                <c:pt idx="65">
                  <c:v>0.574</c:v>
                </c:pt>
                <c:pt idx="66">
                  <c:v>0.731</c:v>
                </c:pt>
                <c:pt idx="67">
                  <c:v>0.587</c:v>
                </c:pt>
                <c:pt idx="68">
                  <c:v>0.433</c:v>
                </c:pt>
                <c:pt idx="69">
                  <c:v>0.577</c:v>
                </c:pt>
                <c:pt idx="70">
                  <c:v>0.801</c:v>
                </c:pt>
                <c:pt idx="71">
                  <c:v>0.434</c:v>
                </c:pt>
                <c:pt idx="72">
                  <c:v>0.676</c:v>
                </c:pt>
                <c:pt idx="73">
                  <c:v>0.429</c:v>
                </c:pt>
                <c:pt idx="74">
                  <c:v>0.804</c:v>
                </c:pt>
                <c:pt idx="75">
                  <c:v>0.327</c:v>
                </c:pt>
                <c:pt idx="76">
                  <c:v>0.329</c:v>
                </c:pt>
                <c:pt idx="77">
                  <c:v>0.587</c:v>
                </c:pt>
                <c:pt idx="78">
                  <c:v>0.596</c:v>
                </c:pt>
                <c:pt idx="79">
                  <c:v>0.606</c:v>
                </c:pt>
                <c:pt idx="80">
                  <c:v>0.535</c:v>
                </c:pt>
                <c:pt idx="81">
                  <c:v>0.434</c:v>
                </c:pt>
                <c:pt idx="82">
                  <c:v>0.632</c:v>
                </c:pt>
                <c:pt idx="83">
                  <c:v>0.596</c:v>
                </c:pt>
                <c:pt idx="84">
                  <c:v>0.42</c:v>
                </c:pt>
                <c:pt idx="85">
                  <c:v>0.411</c:v>
                </c:pt>
                <c:pt idx="86">
                  <c:v>0.579</c:v>
                </c:pt>
                <c:pt idx="87">
                  <c:v>0.497</c:v>
                </c:pt>
                <c:pt idx="88">
                  <c:v>0.603</c:v>
                </c:pt>
                <c:pt idx="89">
                  <c:v>0.573</c:v>
                </c:pt>
                <c:pt idx="90">
                  <c:v>0.778</c:v>
                </c:pt>
                <c:pt idx="91">
                  <c:v>0.399</c:v>
                </c:pt>
                <c:pt idx="92">
                  <c:v>0.121</c:v>
                </c:pt>
                <c:pt idx="93">
                  <c:v>0.293</c:v>
                </c:pt>
                <c:pt idx="94">
                  <c:v>0.291</c:v>
                </c:pt>
                <c:pt idx="95">
                  <c:v>0.443</c:v>
                </c:pt>
                <c:pt idx="96">
                  <c:v>0.552</c:v>
                </c:pt>
                <c:pt idx="97">
                  <c:v>0.618</c:v>
                </c:pt>
                <c:pt idx="98">
                  <c:v>0.127</c:v>
                </c:pt>
                <c:pt idx="99">
                  <c:v>0.609</c:v>
                </c:pt>
                <c:pt idx="100">
                  <c:v>0.65</c:v>
                </c:pt>
                <c:pt idx="101">
                  <c:v>0.546</c:v>
                </c:pt>
                <c:pt idx="102">
                  <c:v>0.726</c:v>
                </c:pt>
                <c:pt idx="103">
                  <c:v>0.438</c:v>
                </c:pt>
                <c:pt idx="104">
                  <c:v>0.707</c:v>
                </c:pt>
                <c:pt idx="105">
                  <c:v>0.231</c:v>
                </c:pt>
                <c:pt idx="106">
                  <c:v>0.424</c:v>
                </c:pt>
                <c:pt idx="107">
                  <c:v>0.472</c:v>
                </c:pt>
                <c:pt idx="108">
                  <c:v>0.324</c:v>
                </c:pt>
                <c:pt idx="109">
                  <c:v>0.322</c:v>
                </c:pt>
                <c:pt idx="110">
                  <c:v>0.697</c:v>
                </c:pt>
                <c:pt idx="111">
                  <c:v>0.241</c:v>
                </c:pt>
                <c:pt idx="112">
                  <c:v>0.191</c:v>
                </c:pt>
                <c:pt idx="113">
                  <c:v>0.553</c:v>
                </c:pt>
                <c:pt idx="114">
                  <c:v>0.343</c:v>
                </c:pt>
                <c:pt idx="115">
                  <c:v>0.429</c:v>
                </c:pt>
                <c:pt idx="116">
                  <c:v>0.738</c:v>
                </c:pt>
                <c:pt idx="117">
                  <c:v>0.105</c:v>
                </c:pt>
                <c:pt idx="118">
                  <c:v>0.324</c:v>
                </c:pt>
                <c:pt idx="119">
                  <c:v>0.556</c:v>
                </c:pt>
                <c:pt idx="120">
                  <c:v>0.698</c:v>
                </c:pt>
                <c:pt idx="121">
                  <c:v>0.333</c:v>
                </c:pt>
                <c:pt idx="122">
                  <c:v>0.543</c:v>
                </c:pt>
                <c:pt idx="123">
                  <c:v>0.474</c:v>
                </c:pt>
                <c:pt idx="124">
                  <c:v>0.24</c:v>
                </c:pt>
                <c:pt idx="125">
                  <c:v>0.285</c:v>
                </c:pt>
                <c:pt idx="126">
                  <c:v>0.374</c:v>
                </c:pt>
                <c:pt idx="127">
                  <c:v>0.251</c:v>
                </c:pt>
                <c:pt idx="128">
                  <c:v>0.294</c:v>
                </c:pt>
                <c:pt idx="129">
                  <c:v>0.361</c:v>
                </c:pt>
                <c:pt idx="130">
                  <c:v>0.17</c:v>
                </c:pt>
                <c:pt idx="131">
                  <c:v>0.368</c:v>
                </c:pt>
                <c:pt idx="132">
                  <c:v>0.049</c:v>
                </c:pt>
                <c:pt idx="133">
                  <c:v>0.388</c:v>
                </c:pt>
                <c:pt idx="134">
                  <c:v>0.495</c:v>
                </c:pt>
                <c:pt idx="135">
                  <c:v>0.306</c:v>
                </c:pt>
                <c:pt idx="136">
                  <c:v>0.388</c:v>
                </c:pt>
                <c:pt idx="137">
                  <c:v>0.376</c:v>
                </c:pt>
                <c:pt idx="138">
                  <c:v>0.5</c:v>
                </c:pt>
                <c:pt idx="139">
                  <c:v>0.559</c:v>
                </c:pt>
                <c:pt idx="140">
                  <c:v>0.243</c:v>
                </c:pt>
                <c:pt idx="141">
                  <c:v>0.179</c:v>
                </c:pt>
                <c:pt idx="142">
                  <c:v>0.268</c:v>
                </c:pt>
                <c:pt idx="143">
                  <c:v>0.041</c:v>
                </c:pt>
                <c:pt idx="144">
                  <c:v>0.329</c:v>
                </c:pt>
                <c:pt idx="145">
                  <c:v>0.092</c:v>
                </c:pt>
                <c:pt idx="146">
                  <c:v>0.52</c:v>
                </c:pt>
                <c:pt idx="147">
                  <c:v>0.146</c:v>
                </c:pt>
                <c:pt idx="148">
                  <c:v>0.541</c:v>
                </c:pt>
                <c:pt idx="149">
                  <c:v>0.274</c:v>
                </c:pt>
                <c:pt idx="150">
                  <c:v>0.412</c:v>
                </c:pt>
                <c:pt idx="151">
                  <c:v>0.452</c:v>
                </c:pt>
                <c:pt idx="152">
                  <c:v>0.1</c:v>
                </c:pt>
                <c:pt idx="153">
                  <c:v>0.319</c:v>
                </c:pt>
                <c:pt idx="154">
                  <c:v>0.046</c:v>
                </c:pt>
                <c:pt idx="155">
                  <c:v>0.16</c:v>
                </c:pt>
                <c:pt idx="156">
                  <c:v>0.052</c:v>
                </c:pt>
                <c:pt idx="157">
                  <c:v>0.101</c:v>
                </c:pt>
                <c:pt idx="158">
                  <c:v>0.082</c:v>
                </c:pt>
                <c:pt idx="159">
                  <c:v>0.388</c:v>
                </c:pt>
                <c:pt idx="160">
                  <c:v>0.187</c:v>
                </c:pt>
                <c:pt idx="161">
                  <c:v>0.06</c:v>
                </c:pt>
                <c:pt idx="162">
                  <c:v>0.351</c:v>
                </c:pt>
                <c:pt idx="163">
                  <c:v>0.068</c:v>
                </c:pt>
                <c:pt idx="164">
                  <c:v>0.269</c:v>
                </c:pt>
                <c:pt idx="165">
                  <c:v>0.501</c:v>
                </c:pt>
                <c:pt idx="166">
                  <c:v>0.016</c:v>
                </c:pt>
                <c:pt idx="167">
                  <c:v>0.078</c:v>
                </c:pt>
                <c:pt idx="168">
                  <c:v>0.009</c:v>
                </c:pt>
                <c:pt idx="169">
                  <c:v>0.497</c:v>
                </c:pt>
                <c:pt idx="170">
                  <c:v>0.176</c:v>
                </c:pt>
                <c:pt idx="171">
                  <c:v>0.069</c:v>
                </c:pt>
                <c:pt idx="172">
                  <c:v>0.016</c:v>
                </c:pt>
                <c:pt idx="173">
                  <c:v>0.05</c:v>
                </c:pt>
                <c:pt idx="174">
                  <c:v>0.059</c:v>
                </c:pt>
                <c:pt idx="175">
                  <c:v>0.147</c:v>
                </c:pt>
                <c:pt idx="176">
                  <c:v>0.103</c:v>
                </c:pt>
                <c:pt idx="177">
                  <c:v>0.115</c:v>
                </c:pt>
                <c:pt idx="178">
                  <c:v>0.411</c:v>
                </c:pt>
                <c:pt idx="179">
                  <c:v>0.178</c:v>
                </c:pt>
                <c:pt idx="180">
                  <c:v>0.456</c:v>
                </c:pt>
                <c:pt idx="181">
                  <c:v>0.068</c:v>
                </c:pt>
                <c:pt idx="182">
                  <c:v>0.329</c:v>
                </c:pt>
                <c:pt idx="183">
                  <c:v>0.075</c:v>
                </c:pt>
                <c:pt idx="184">
                  <c:v>0.046</c:v>
                </c:pt>
                <c:pt idx="185">
                  <c:v>0.012</c:v>
                </c:pt>
                <c:pt idx="186">
                  <c:v>0.253</c:v>
                </c:pt>
                <c:pt idx="187">
                  <c:v>0.041</c:v>
                </c:pt>
                <c:pt idx="188">
                  <c:v>0.46</c:v>
                </c:pt>
                <c:pt idx="189">
                  <c:v>0.093</c:v>
                </c:pt>
                <c:pt idx="190">
                  <c:v>0.26</c:v>
                </c:pt>
                <c:pt idx="191">
                  <c:v>0.055</c:v>
                </c:pt>
                <c:pt idx="192">
                  <c:v>0.064</c:v>
                </c:pt>
                <c:pt idx="193">
                  <c:v>0.512</c:v>
                </c:pt>
                <c:pt idx="194">
                  <c:v>0.122</c:v>
                </c:pt>
                <c:pt idx="195">
                  <c:v>0.246</c:v>
                </c:pt>
                <c:pt idx="196">
                  <c:v>0.003</c:v>
                </c:pt>
                <c:pt idx="197">
                  <c:v>0.444</c:v>
                </c:pt>
                <c:pt idx="198">
                  <c:v>0.01</c:v>
                </c:pt>
                <c:pt idx="199">
                  <c:v>0.242</c:v>
                </c:pt>
                <c:pt idx="200">
                  <c:v>0.059</c:v>
                </c:pt>
                <c:pt idx="201">
                  <c:v>0.141</c:v>
                </c:pt>
                <c:pt idx="202">
                  <c:v>0.218</c:v>
                </c:pt>
                <c:pt idx="203">
                  <c:v>0.012</c:v>
                </c:pt>
                <c:pt idx="204">
                  <c:v>0.007</c:v>
                </c:pt>
                <c:pt idx="205">
                  <c:v>0.149</c:v>
                </c:pt>
                <c:pt idx="206">
                  <c:v>0.219</c:v>
                </c:pt>
                <c:pt idx="207">
                  <c:v>0.009</c:v>
                </c:pt>
                <c:pt idx="208">
                  <c:v>0.064</c:v>
                </c:pt>
                <c:pt idx="209">
                  <c:v>0.155</c:v>
                </c:pt>
                <c:pt idx="210">
                  <c:v>0.012</c:v>
                </c:pt>
                <c:pt idx="211">
                  <c:v>0.132</c:v>
                </c:pt>
                <c:pt idx="212">
                  <c:v>0.037</c:v>
                </c:pt>
                <c:pt idx="213">
                  <c:v>0.31</c:v>
                </c:pt>
                <c:pt idx="214">
                  <c:v>0.037</c:v>
                </c:pt>
                <c:pt idx="215">
                  <c:v>0.002</c:v>
                </c:pt>
                <c:pt idx="216">
                  <c:v>0.002</c:v>
                </c:pt>
                <c:pt idx="217">
                  <c:v>0.04</c:v>
                </c:pt>
                <c:pt idx="218">
                  <c:v>0.002</c:v>
                </c:pt>
                <c:pt idx="219">
                  <c:v>0.037</c:v>
                </c:pt>
                <c:pt idx="220">
                  <c:v>0.078</c:v>
                </c:pt>
                <c:pt idx="221">
                  <c:v>0.002</c:v>
                </c:pt>
                <c:pt idx="222">
                  <c:v>0.064</c:v>
                </c:pt>
                <c:pt idx="223">
                  <c:v>0.002</c:v>
                </c:pt>
                <c:pt idx="224">
                  <c:v>0.023</c:v>
                </c:pt>
                <c:pt idx="225">
                  <c:v>0.032</c:v>
                </c:pt>
                <c:pt idx="226">
                  <c:v>0.002</c:v>
                </c:pt>
                <c:pt idx="227">
                  <c:v>0.002</c:v>
                </c:pt>
                <c:pt idx="228">
                  <c:v>0.046</c:v>
                </c:pt>
                <c:pt idx="229">
                  <c:v>0.002</c:v>
                </c:pt>
                <c:pt idx="230">
                  <c:v>0.012</c:v>
                </c:pt>
                <c:pt idx="231">
                  <c:v>0.094</c:v>
                </c:pt>
                <c:pt idx="232">
                  <c:v>0.083</c:v>
                </c:pt>
                <c:pt idx="233">
                  <c:v>0.011</c:v>
                </c:pt>
                <c:pt idx="234">
                  <c:v>0.023</c:v>
                </c:pt>
                <c:pt idx="235">
                  <c:v>0.032</c:v>
                </c:pt>
                <c:pt idx="236">
                  <c:v>0.023</c:v>
                </c:pt>
                <c:pt idx="237">
                  <c:v>0.059</c:v>
                </c:pt>
                <c:pt idx="238">
                  <c:v>0.005</c:v>
                </c:pt>
                <c:pt idx="239">
                  <c:v>0.009</c:v>
                </c:pt>
                <c:pt idx="240">
                  <c:v>0.004</c:v>
                </c:pt>
                <c:pt idx="241">
                  <c:v>0.009</c:v>
                </c:pt>
                <c:pt idx="242">
                  <c:v>0.027</c:v>
                </c:pt>
                <c:pt idx="243">
                  <c:v>0.004</c:v>
                </c:pt>
                <c:pt idx="244">
                  <c:v>0.173</c:v>
                </c:pt>
                <c:pt idx="245">
                  <c:v>0.002</c:v>
                </c:pt>
                <c:pt idx="246">
                  <c:v>0.025</c:v>
                </c:pt>
                <c:pt idx="247">
                  <c:v>0.008</c:v>
                </c:pt>
                <c:pt idx="248">
                  <c:v>0.037</c:v>
                </c:pt>
                <c:pt idx="249">
                  <c:v>0.027</c:v>
                </c:pt>
                <c:pt idx="250">
                  <c:v>0.004</c:v>
                </c:pt>
                <c:pt idx="251">
                  <c:v>0.031</c:v>
                </c:pt>
                <c:pt idx="252">
                  <c:v>0.005</c:v>
                </c:pt>
                <c:pt idx="253">
                  <c:v>0.014</c:v>
                </c:pt>
                <c:pt idx="254">
                  <c:v>0.005</c:v>
                </c:pt>
                <c:pt idx="255">
                  <c:v>0.008</c:v>
                </c:pt>
                <c:pt idx="256">
                  <c:v>0.03</c:v>
                </c:pt>
                <c:pt idx="257">
                  <c:v>0.002</c:v>
                </c:pt>
                <c:pt idx="258">
                  <c:v>0.002</c:v>
                </c:pt>
                <c:pt idx="259">
                  <c:v>0.008</c:v>
                </c:pt>
                <c:pt idx="260">
                  <c:v>0.009</c:v>
                </c:pt>
                <c:pt idx="261">
                  <c:v>0.01</c:v>
                </c:pt>
                <c:pt idx="262">
                  <c:v>0.008</c:v>
                </c:pt>
                <c:pt idx="263">
                  <c:v>0.005</c:v>
                </c:pt>
                <c:pt idx="264">
                  <c:v>0.002</c:v>
                </c:pt>
                <c:pt idx="265">
                  <c:v>0.015</c:v>
                </c:pt>
                <c:pt idx="266">
                  <c:v>0.002</c:v>
                </c:pt>
                <c:pt idx="267">
                  <c:v>0.004</c:v>
                </c:pt>
                <c:pt idx="268">
                  <c:v>0.005</c:v>
                </c:pt>
                <c:pt idx="269">
                  <c:v>0.059</c:v>
                </c:pt>
                <c:pt idx="270">
                  <c:v>0.018</c:v>
                </c:pt>
                <c:pt idx="271">
                  <c:v>0.004</c:v>
                </c:pt>
                <c:pt idx="272">
                  <c:v>0.032</c:v>
                </c:pt>
                <c:pt idx="273">
                  <c:v>0.005</c:v>
                </c:pt>
                <c:pt idx="274">
                  <c:v>0.023</c:v>
                </c:pt>
                <c:pt idx="275">
                  <c:v>0.005</c:v>
                </c:pt>
                <c:pt idx="276">
                  <c:v>0.024</c:v>
                </c:pt>
                <c:pt idx="277">
                  <c:v>0.012</c:v>
                </c:pt>
                <c:pt idx="278">
                  <c:v>0.018</c:v>
                </c:pt>
                <c:pt idx="279">
                  <c:v>0.004</c:v>
                </c:pt>
                <c:pt idx="280">
                  <c:v>0.014</c:v>
                </c:pt>
                <c:pt idx="281">
                  <c:v>0.032</c:v>
                </c:pt>
                <c:pt idx="282">
                  <c:v>0.023</c:v>
                </c:pt>
                <c:pt idx="283">
                  <c:v>0.031</c:v>
                </c:pt>
                <c:pt idx="284">
                  <c:v>0.004</c:v>
                </c:pt>
                <c:pt idx="285">
                  <c:v>0.009</c:v>
                </c:pt>
                <c:pt idx="286">
                  <c:v>0.059</c:v>
                </c:pt>
                <c:pt idx="287">
                  <c:v>0.004</c:v>
                </c:pt>
                <c:pt idx="288">
                  <c:v>0.012</c:v>
                </c:pt>
                <c:pt idx="289">
                  <c:v>0.004</c:v>
                </c:pt>
                <c:pt idx="290">
                  <c:v>0.043</c:v>
                </c:pt>
                <c:pt idx="291">
                  <c:v>0.066</c:v>
                </c:pt>
                <c:pt idx="292">
                  <c:v>0.021</c:v>
                </c:pt>
                <c:pt idx="293">
                  <c:v>0.005</c:v>
                </c:pt>
                <c:pt idx="294">
                  <c:v>0.002</c:v>
                </c:pt>
                <c:pt idx="295">
                  <c:v>0.005</c:v>
                </c:pt>
                <c:pt idx="296">
                  <c:v>0.004</c:v>
                </c:pt>
                <c:pt idx="297">
                  <c:v>0.009</c:v>
                </c:pt>
                <c:pt idx="298">
                  <c:v>0.037</c:v>
                </c:pt>
                <c:pt idx="299">
                  <c:v>0.027</c:v>
                </c:pt>
                <c:pt idx="300">
                  <c:v>0.068</c:v>
                </c:pt>
                <c:pt idx="301">
                  <c:v>0.078</c:v>
                </c:pt>
                <c:pt idx="302">
                  <c:v>0.005</c:v>
                </c:pt>
                <c:pt idx="303">
                  <c:v>0.008</c:v>
                </c:pt>
                <c:pt idx="304">
                  <c:v>0.004</c:v>
                </c:pt>
                <c:pt idx="305">
                  <c:v>0.008</c:v>
                </c:pt>
                <c:pt idx="306">
                  <c:v>0.005</c:v>
                </c:pt>
                <c:pt idx="307">
                  <c:v>0.008</c:v>
                </c:pt>
                <c:pt idx="308">
                  <c:v>0.005</c:v>
                </c:pt>
                <c:pt idx="309">
                  <c:v>0.005</c:v>
                </c:pt>
                <c:pt idx="310">
                  <c:v>0.008</c:v>
                </c:pt>
                <c:pt idx="311">
                  <c:v>0.004</c:v>
                </c:pt>
                <c:pt idx="312">
                  <c:v>0.008</c:v>
                </c:pt>
                <c:pt idx="313">
                  <c:v>0.018</c:v>
                </c:pt>
                <c:pt idx="314">
                  <c:v>0.004</c:v>
                </c:pt>
                <c:pt idx="315">
                  <c:v>0.005</c:v>
                </c:pt>
                <c:pt idx="316">
                  <c:v>0.005</c:v>
                </c:pt>
                <c:pt idx="317">
                  <c:v>0.005</c:v>
                </c:pt>
                <c:pt idx="318">
                  <c:v>0.008</c:v>
                </c:pt>
                <c:pt idx="319">
                  <c:v>0.005</c:v>
                </c:pt>
                <c:pt idx="320">
                  <c:v>0.005</c:v>
                </c:pt>
                <c:pt idx="321">
                  <c:v>0.005</c:v>
                </c:pt>
                <c:pt idx="322">
                  <c:v>0.005</c:v>
                </c:pt>
                <c:pt idx="323">
                  <c:v>0.014</c:v>
                </c:pt>
                <c:pt idx="324">
                  <c:v>0.004</c:v>
                </c:pt>
                <c:pt idx="325">
                  <c:v>0.009</c:v>
                </c:pt>
                <c:pt idx="326">
                  <c:v>0.005</c:v>
                </c:pt>
                <c:pt idx="327">
                  <c:v>0.009</c:v>
                </c:pt>
                <c:pt idx="328">
                  <c:v>0.005</c:v>
                </c:pt>
                <c:pt idx="329">
                  <c:v>0.005</c:v>
                </c:pt>
                <c:pt idx="330">
                  <c:v>0.005</c:v>
                </c:pt>
                <c:pt idx="331">
                  <c:v>0.005</c:v>
                </c:pt>
                <c:pt idx="332">
                  <c:v>0.005</c:v>
                </c:pt>
                <c:pt idx="333">
                  <c:v>0.005</c:v>
                </c:pt>
                <c:pt idx="334">
                  <c:v>0.023</c:v>
                </c:pt>
                <c:pt idx="335">
                  <c:v>0.005</c:v>
                </c:pt>
                <c:pt idx="336">
                  <c:v>0.005</c:v>
                </c:pt>
                <c:pt idx="337">
                  <c:v>0.005</c:v>
                </c:pt>
                <c:pt idx="338">
                  <c:v>0.005</c:v>
                </c:pt>
                <c:pt idx="339">
                  <c:v>0.018</c:v>
                </c:pt>
                <c:pt idx="340">
                  <c:v>0.005</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Item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7ECAC4"/>
              </a:solidFill>
            </c:spPr>
            <c:extLst>
              <c:ext xmlns:c16="http://schemas.microsoft.com/office/drawing/2014/chart" uri="{C3380CC4-5D6E-409C-BE32-E72D297353CC}">
                <c16:uniqueId val="{0000007B-2993-41DE-A2CB-63102DE87051}"/>
              </c:ext>
            </c:extLst>
          </c:dPt>
          <c:dPt>
            <c:idx val="34"/>
            <c:invertIfNegative val="1"/>
            <c:bubble3D val="0"/>
            <c:spPr>
              <a:solidFill>
                <a:srgbClr val="7ECAC4"/>
              </a:solidFill>
            </c:spPr>
            <c:extLst>
              <c:ext xmlns:c16="http://schemas.microsoft.com/office/drawing/2014/chart" uri="{C3380CC4-5D6E-409C-BE32-E72D297353CC}">
                <c16:uniqueId val="{0000007D-2993-41DE-A2CB-63102DE87051}"/>
              </c:ext>
            </c:extLst>
          </c:dPt>
          <c:dPt>
            <c:idx val="35"/>
            <c:invertIfNegative val="1"/>
            <c:bubble3D val="0"/>
            <c:spPr>
              <a:solidFill>
                <a:srgbClr val="7ECAC4"/>
              </a:solidFill>
            </c:spPr>
            <c:extLst>
              <c:ext xmlns:c16="http://schemas.microsoft.com/office/drawing/2014/chart" uri="{C3380CC4-5D6E-409C-BE32-E72D297353CC}">
                <c16:uniqueId val="{0000007F-2993-41DE-A2CB-63102DE87051}"/>
              </c:ext>
            </c:extLst>
          </c:dPt>
          <c:dPt>
            <c:idx val="36"/>
            <c:invertIfNegative val="1"/>
            <c:bubble3D val="0"/>
            <c:spPr>
              <a:solidFill>
                <a:srgbClr val="7ECAC4"/>
              </a:solidFill>
            </c:spPr>
            <c:extLst>
              <c:ext xmlns:c16="http://schemas.microsoft.com/office/drawing/2014/chart" uri="{C3380CC4-5D6E-409C-BE32-E72D297353CC}">
                <c16:uniqueId val="{00000081-2993-41DE-A2CB-63102DE87051}"/>
              </c:ext>
            </c:extLst>
          </c:dPt>
          <c:dPt>
            <c:idx val="37"/>
            <c:invertIfNegative val="1"/>
            <c:bubble3D val="0"/>
            <c:spPr>
              <a:solidFill>
                <a:srgbClr val="7ECAC4"/>
              </a:solidFill>
            </c:spPr>
            <c:extLst>
              <c:ext xmlns:c16="http://schemas.microsoft.com/office/drawing/2014/chart" uri="{C3380CC4-5D6E-409C-BE32-E72D297353CC}">
                <c16:uniqueId val="{00000083-2993-41DE-A2CB-63102DE87051}"/>
              </c:ext>
            </c:extLst>
          </c:dPt>
          <c:dPt>
            <c:idx val="38"/>
            <c:invertIfNegative val="1"/>
            <c:bubble3D val="0"/>
            <c:spPr>
              <a:solidFill>
                <a:srgbClr val="7ECAC4"/>
              </a:solidFill>
            </c:spPr>
            <c:extLst>
              <c:ext xmlns:c16="http://schemas.microsoft.com/office/drawing/2014/chart" uri="{C3380CC4-5D6E-409C-BE32-E72D297353CC}">
                <c16:uniqueId val="{00000085-2993-41DE-A2CB-63102DE87051}"/>
              </c:ext>
            </c:extLst>
          </c:dPt>
          <c:dPt>
            <c:idx val="39"/>
            <c:invertIfNegative val="1"/>
            <c:bubble3D val="0"/>
            <c:spPr>
              <a:solidFill>
                <a:srgbClr val="7ECAC4"/>
              </a:solidFill>
            </c:spPr>
            <c:extLst>
              <c:ext xmlns:c16="http://schemas.microsoft.com/office/drawing/2014/chart" uri="{C3380CC4-5D6E-409C-BE32-E72D297353CC}">
                <c16:uniqueId val="{00000087-2993-41DE-A2CB-63102DE87051}"/>
              </c:ext>
            </c:extLst>
          </c:dPt>
          <c:dPt>
            <c:idx val="40"/>
            <c:invertIfNegative val="1"/>
            <c:bubble3D val="0"/>
            <c:spPr>
              <a:solidFill>
                <a:srgbClr val="7ECAC4"/>
              </a:solidFill>
            </c:spPr>
            <c:extLst>
              <c:ext xmlns:c16="http://schemas.microsoft.com/office/drawing/2014/chart" uri="{C3380CC4-5D6E-409C-BE32-E72D297353CC}">
                <c16:uniqueId val="{00000089-2993-41DE-A2CB-63102DE87051}"/>
              </c:ext>
            </c:extLst>
          </c:dPt>
          <c:dPt>
            <c:idx val="41"/>
            <c:invertIfNegative val="1"/>
            <c:bubble3D val="0"/>
            <c:spPr>
              <a:solidFill>
                <a:srgbClr val="7ECAC4"/>
              </a:solidFill>
            </c:spPr>
            <c:extLst>
              <c:ext xmlns:c16="http://schemas.microsoft.com/office/drawing/2014/chart" uri="{C3380CC4-5D6E-409C-BE32-E72D297353CC}">
                <c16:uniqueId val="{0000008B-2993-41DE-A2CB-63102DE87051}"/>
              </c:ext>
            </c:extLst>
          </c:dPt>
          <c:dPt>
            <c:idx val="42"/>
            <c:invertIfNegative val="1"/>
            <c:bubble3D val="0"/>
            <c:spPr>
              <a:solidFill>
                <a:srgbClr val="7ECAC4"/>
              </a:solidFill>
            </c:spPr>
            <c:extLst>
              <c:ext xmlns:c16="http://schemas.microsoft.com/office/drawing/2014/chart" uri="{C3380CC4-5D6E-409C-BE32-E72D297353CC}">
                <c16:uniqueId val="{0000008D-2993-41DE-A2CB-63102DE87051}"/>
              </c:ext>
            </c:extLst>
          </c:dPt>
          <c:dPt>
            <c:idx val="43"/>
            <c:invertIfNegative val="1"/>
            <c:bubble3D val="0"/>
            <c:spPr>
              <a:solidFill>
                <a:srgbClr val="7ECAC4"/>
              </a:solidFill>
            </c:spPr>
            <c:extLst>
              <c:ext xmlns:c16="http://schemas.microsoft.com/office/drawing/2014/chart" uri="{C3380CC4-5D6E-409C-BE32-E72D297353CC}">
                <c16:uniqueId val="{0000008F-2993-41DE-A2CB-63102DE87051}"/>
              </c:ext>
            </c:extLst>
          </c:dPt>
          <c:dPt>
            <c:idx val="44"/>
            <c:invertIfNegative val="1"/>
            <c:bubble3D val="0"/>
            <c:spPr>
              <a:solidFill>
                <a:srgbClr val="7ECAC4"/>
              </a:solidFill>
            </c:spPr>
            <c:extLst>
              <c:ext xmlns:c16="http://schemas.microsoft.com/office/drawing/2014/chart" uri="{C3380CC4-5D6E-409C-BE32-E72D297353CC}">
                <c16:uniqueId val="{00000091-2993-41DE-A2CB-63102DE87051}"/>
              </c:ext>
            </c:extLst>
          </c:dPt>
          <c:dPt>
            <c:idx val="45"/>
            <c:invertIfNegative val="1"/>
            <c:bubble3D val="0"/>
            <c:spPr>
              <a:solidFill>
                <a:srgbClr val="7ECAC4"/>
              </a:solidFill>
            </c:spPr>
            <c:extLst>
              <c:ext xmlns:c16="http://schemas.microsoft.com/office/drawing/2014/chart" uri="{C3380CC4-5D6E-409C-BE32-E72D297353CC}">
                <c16:uniqueId val="{00000093-2993-41DE-A2CB-63102DE87051}"/>
              </c:ext>
            </c:extLst>
          </c:dPt>
          <c:dPt>
            <c:idx val="46"/>
            <c:invertIfNegative val="1"/>
            <c:bubble3D val="0"/>
            <c:spPr>
              <a:solidFill>
                <a:srgbClr val="7ECAC4"/>
              </a:solidFill>
            </c:spPr>
            <c:extLst>
              <c:ext xmlns:c16="http://schemas.microsoft.com/office/drawing/2014/chart" uri="{C3380CC4-5D6E-409C-BE32-E72D297353CC}">
                <c16:uniqueId val="{00000095-2993-41DE-A2CB-63102DE87051}"/>
              </c:ext>
            </c:extLst>
          </c:dPt>
          <c:dPt>
            <c:idx val="47"/>
            <c:invertIfNegative val="1"/>
            <c:bubble3D val="0"/>
            <c:spPr>
              <a:solidFill>
                <a:srgbClr val="7ECAC4"/>
              </a:solidFill>
            </c:spPr>
            <c:extLst>
              <c:ext xmlns:c16="http://schemas.microsoft.com/office/drawing/2014/chart" uri="{C3380CC4-5D6E-409C-BE32-E72D297353CC}">
                <c16:uniqueId val="{00000097-2993-41DE-A2CB-63102DE87051}"/>
              </c:ext>
            </c:extLst>
          </c:dPt>
          <c:dPt>
            <c:idx val="48"/>
            <c:invertIfNegative val="1"/>
            <c:bubble3D val="0"/>
            <c:spPr>
              <a:solidFill>
                <a:srgbClr val="7ECAC4"/>
              </a:solidFill>
            </c:spPr>
            <c:extLst>
              <c:ext xmlns:c16="http://schemas.microsoft.com/office/drawing/2014/chart" uri="{C3380CC4-5D6E-409C-BE32-E72D297353CC}">
                <c16:uniqueId val="{00000099-2993-41DE-A2CB-63102DE87051}"/>
              </c:ext>
            </c:extLst>
          </c:dPt>
          <c:dPt>
            <c:idx val="49"/>
            <c:invertIfNegative val="1"/>
            <c:bubble3D val="0"/>
            <c:spPr>
              <a:solidFill>
                <a:srgbClr val="7ECAC4"/>
              </a:solidFill>
            </c:spPr>
            <c:extLst>
              <c:ext xmlns:c16="http://schemas.microsoft.com/office/drawing/2014/chart" uri="{C3380CC4-5D6E-409C-BE32-E72D297353CC}">
                <c16:uniqueId val="{0000009B-2993-41DE-A2CB-63102DE87051}"/>
              </c:ext>
            </c:extLst>
          </c:dPt>
          <c:dPt>
            <c:idx val="50"/>
            <c:invertIfNegative val="1"/>
            <c:bubble3D val="0"/>
            <c:spPr>
              <a:solidFill>
                <a:srgbClr val="7ECAC4"/>
              </a:solidFill>
            </c:spPr>
            <c:extLst>
              <c:ext xmlns:c16="http://schemas.microsoft.com/office/drawing/2014/chart" uri="{C3380CC4-5D6E-409C-BE32-E72D297353CC}">
                <c16:uniqueId val="{0000009D-2993-41DE-A2CB-63102DE87051}"/>
              </c:ext>
            </c:extLst>
          </c:dPt>
          <c:dPt>
            <c:idx val="51"/>
            <c:invertIfNegative val="1"/>
            <c:bubble3D val="0"/>
            <c:spPr>
              <a:solidFill>
                <a:srgbClr val="7ECAC4"/>
              </a:solidFill>
            </c:spPr>
            <c:extLst>
              <c:ext xmlns:c16="http://schemas.microsoft.com/office/drawing/2014/chart" uri="{C3380CC4-5D6E-409C-BE32-E72D297353CC}">
                <c16:uniqueId val="{0000009F-2993-41DE-A2CB-63102DE87051}"/>
              </c:ext>
            </c:extLst>
          </c:dPt>
          <c:dPt>
            <c:idx val="52"/>
            <c:invertIfNegative val="1"/>
            <c:bubble3D val="0"/>
            <c:spPr>
              <a:solidFill>
                <a:srgbClr val="7ECAC4"/>
              </a:solidFill>
            </c:spPr>
            <c:extLst>
              <c:ext xmlns:c16="http://schemas.microsoft.com/office/drawing/2014/chart" uri="{C3380CC4-5D6E-409C-BE32-E72D297353CC}">
                <c16:uniqueId val="{000000A1-2993-41DE-A2CB-63102DE87051}"/>
              </c:ext>
            </c:extLst>
          </c:dPt>
          <c:dPt>
            <c:idx val="53"/>
            <c:invertIfNegative val="1"/>
            <c:bubble3D val="0"/>
            <c:spPr>
              <a:solidFill>
                <a:srgbClr val="7ECAC4"/>
              </a:solidFill>
            </c:spPr>
            <c:extLst>
              <c:ext xmlns:c16="http://schemas.microsoft.com/office/drawing/2014/chart" uri="{C3380CC4-5D6E-409C-BE32-E72D297353CC}">
                <c16:uniqueId val="{000000A3-2993-41DE-A2CB-63102DE87051}"/>
              </c:ext>
            </c:extLst>
          </c:dPt>
          <c:dPt>
            <c:idx val="54"/>
            <c:invertIfNegative val="0"/>
            <c:bubble3D val="0"/>
            <c:spPr>
              <a:solidFill>
                <a:srgbClr val="7ECAC4"/>
              </a:solidFill>
            </c:spPr>
            <c:extLst>
              <c:ext xmlns:c16="http://schemas.microsoft.com/office/drawing/2014/chart" uri="{C3380CC4-5D6E-409C-BE32-E72D297353CC}">
                <c16:uniqueId val="{00000072-C76F-4230-900D-40618C09729F}"/>
              </c:ext>
            </c:extLst>
          </c:dPt>
          <c:dPt>
            <c:idx val="55"/>
            <c:invertIfNegative val="0"/>
            <c:bubble3D val="0"/>
            <c:spPr>
              <a:solidFill>
                <a:srgbClr val="7ECAC4"/>
              </a:solidFill>
            </c:spPr>
            <c:extLst>
              <c:ext xmlns:c16="http://schemas.microsoft.com/office/drawing/2014/chart" uri="{C3380CC4-5D6E-409C-BE32-E72D297353CC}">
                <c16:uniqueId val="{00000074-C76F-4230-900D-40618C09729F}"/>
              </c:ext>
            </c:extLst>
          </c:dPt>
          <c:dPt>
            <c:idx val="56"/>
            <c:invertIfNegative val="0"/>
            <c:bubble3D val="0"/>
            <c:spPr>
              <a:solidFill>
                <a:srgbClr val="7ECAC4"/>
              </a:solidFill>
            </c:spPr>
            <c:extLst>
              <c:ext xmlns:c16="http://schemas.microsoft.com/office/drawing/2014/chart" uri="{C3380CC4-5D6E-409C-BE32-E72D297353CC}">
                <c16:uniqueId val="{00000076-C76F-4230-900D-40618C09729F}"/>
              </c:ext>
            </c:extLst>
          </c:dPt>
          <c:dPt>
            <c:idx val="57"/>
            <c:invertIfNegative val="0"/>
            <c:bubble3D val="0"/>
            <c:spPr>
              <a:solidFill>
                <a:srgbClr val="7ECAC4"/>
              </a:solidFill>
            </c:spPr>
            <c:extLst>
              <c:ext xmlns:c16="http://schemas.microsoft.com/office/drawing/2014/chart" uri="{C3380CC4-5D6E-409C-BE32-E72D297353CC}">
                <c16:uniqueId val="{00000078-C76F-4230-900D-40618C09729F}"/>
              </c:ext>
            </c:extLst>
          </c:dPt>
          <c:dPt>
            <c:idx val="58"/>
            <c:invertIfNegative val="0"/>
            <c:bubble3D val="0"/>
            <c:spPr>
              <a:solidFill>
                <a:srgbClr val="7ECAC4"/>
              </a:solidFill>
            </c:spPr>
            <c:extLst>
              <c:ext xmlns:c16="http://schemas.microsoft.com/office/drawing/2014/chart" uri="{C3380CC4-5D6E-409C-BE32-E72D297353CC}">
                <c16:uniqueId val="{0000007A-C76F-4230-900D-40618C09729F}"/>
              </c:ext>
            </c:extLst>
          </c:dPt>
          <c:dPt>
            <c:idx val="59"/>
            <c:invertIfNegative val="0"/>
            <c:bubble3D val="0"/>
            <c:spPr>
              <a:solidFill>
                <a:srgbClr val="7ECAC4"/>
              </a:solidFill>
            </c:spPr>
            <c:extLst>
              <c:ext xmlns:c16="http://schemas.microsoft.com/office/drawing/2014/chart" uri="{C3380CC4-5D6E-409C-BE32-E72D297353CC}">
                <c16:uniqueId val="{0000007C-C76F-4230-900D-40618C09729F}"/>
              </c:ext>
            </c:extLst>
          </c:dPt>
          <c:dPt>
            <c:idx val="60"/>
            <c:invertIfNegative val="0"/>
            <c:bubble3D val="0"/>
            <c:spPr>
              <a:solidFill>
                <a:srgbClr val="7ECAC4"/>
              </a:solidFill>
            </c:spPr>
            <c:extLst>
              <c:ext xmlns:c16="http://schemas.microsoft.com/office/drawing/2014/chart" uri="{C3380CC4-5D6E-409C-BE32-E72D297353CC}">
                <c16:uniqueId val="{0000007E-C76F-4230-900D-40618C09729F}"/>
              </c:ext>
            </c:extLst>
          </c:dPt>
          <c:dPt>
            <c:idx val="61"/>
            <c:invertIfNegative val="0"/>
            <c:bubble3D val="0"/>
            <c:spPr>
              <a:solidFill>
                <a:srgbClr val="7ECAC4"/>
              </a:solidFill>
            </c:spPr>
            <c:extLst>
              <c:ext xmlns:c16="http://schemas.microsoft.com/office/drawing/2014/chart" uri="{C3380CC4-5D6E-409C-BE32-E72D297353CC}">
                <c16:uniqueId val="{00000080-C76F-4230-900D-40618C09729F}"/>
              </c:ext>
            </c:extLst>
          </c:dPt>
          <c:dPt>
            <c:idx val="62"/>
            <c:invertIfNegative val="0"/>
            <c:bubble3D val="0"/>
            <c:spPr>
              <a:solidFill>
                <a:srgbClr val="7ECAC4"/>
              </a:solidFill>
            </c:spPr>
            <c:extLst>
              <c:ext xmlns:c16="http://schemas.microsoft.com/office/drawing/2014/chart" uri="{C3380CC4-5D6E-409C-BE32-E72D297353CC}">
                <c16:uniqueId val="{00000082-C76F-4230-900D-40618C09729F}"/>
              </c:ext>
            </c:extLst>
          </c:dPt>
          <c:dPt>
            <c:idx val="63"/>
            <c:invertIfNegative val="0"/>
            <c:bubble3D val="0"/>
            <c:spPr>
              <a:solidFill>
                <a:srgbClr val="7ECAC4"/>
              </a:solidFill>
            </c:spPr>
            <c:extLst>
              <c:ext xmlns:c16="http://schemas.microsoft.com/office/drawing/2014/chart" uri="{C3380CC4-5D6E-409C-BE32-E72D297353CC}">
                <c16:uniqueId val="{00000084-C76F-4230-900D-40618C09729F}"/>
              </c:ext>
            </c:extLst>
          </c:dPt>
          <c:dPt>
            <c:idx val="64"/>
            <c:invertIfNegative val="0"/>
            <c:bubble3D val="0"/>
            <c:spPr>
              <a:solidFill>
                <a:srgbClr val="7ECAC4"/>
              </a:solidFill>
            </c:spPr>
            <c:extLst>
              <c:ext xmlns:c16="http://schemas.microsoft.com/office/drawing/2014/chart" uri="{C3380CC4-5D6E-409C-BE32-E72D297353CC}">
                <c16:uniqueId val="{00000086-C76F-4230-900D-40618C09729F}"/>
              </c:ext>
            </c:extLst>
          </c:dPt>
          <c:dPt>
            <c:idx val="65"/>
            <c:invertIfNegative val="0"/>
            <c:bubble3D val="0"/>
            <c:spPr>
              <a:solidFill>
                <a:srgbClr val="7ECAC4"/>
              </a:solidFill>
            </c:spPr>
            <c:extLst>
              <c:ext xmlns:c16="http://schemas.microsoft.com/office/drawing/2014/chart" uri="{C3380CC4-5D6E-409C-BE32-E72D297353CC}">
                <c16:uniqueId val="{00000088-C76F-4230-900D-40618C09729F}"/>
              </c:ext>
            </c:extLst>
          </c:dPt>
          <c:dPt>
            <c:idx val="66"/>
            <c:invertIfNegative val="0"/>
            <c:bubble3D val="0"/>
            <c:spPr>
              <a:solidFill>
                <a:srgbClr val="7ECAC4"/>
              </a:solidFill>
            </c:spPr>
            <c:extLst>
              <c:ext xmlns:c16="http://schemas.microsoft.com/office/drawing/2014/chart" uri="{C3380CC4-5D6E-409C-BE32-E72D297353CC}">
                <c16:uniqueId val="{0000008A-C76F-4230-900D-40618C09729F}"/>
              </c:ext>
            </c:extLst>
          </c:dPt>
          <c:dPt>
            <c:idx val="67"/>
            <c:invertIfNegative val="0"/>
            <c:bubble3D val="0"/>
            <c:spPr>
              <a:solidFill>
                <a:srgbClr val="7ECAC4"/>
              </a:solidFill>
            </c:spPr>
            <c:extLst>
              <c:ext xmlns:c16="http://schemas.microsoft.com/office/drawing/2014/chart" uri="{C3380CC4-5D6E-409C-BE32-E72D297353CC}">
                <c16:uniqueId val="{0000008C-C76F-4230-900D-40618C09729F}"/>
              </c:ext>
            </c:extLst>
          </c:dPt>
          <c:dPt>
            <c:idx val="68"/>
            <c:invertIfNegative val="0"/>
            <c:bubble3D val="0"/>
            <c:spPr>
              <a:solidFill>
                <a:srgbClr val="7ECAC4"/>
              </a:solidFill>
            </c:spPr>
            <c:extLst>
              <c:ext xmlns:c16="http://schemas.microsoft.com/office/drawing/2014/chart" uri="{C3380CC4-5D6E-409C-BE32-E72D297353CC}">
                <c16:uniqueId val="{0000008E-C76F-4230-900D-40618C09729F}"/>
              </c:ext>
            </c:extLst>
          </c:dPt>
          <c:dPt>
            <c:idx val="69"/>
            <c:invertIfNegative val="0"/>
            <c:bubble3D val="0"/>
            <c:spPr>
              <a:solidFill>
                <a:srgbClr val="7ECAC4"/>
              </a:solidFill>
            </c:spPr>
            <c:extLst>
              <c:ext xmlns:c16="http://schemas.microsoft.com/office/drawing/2014/chart" uri="{C3380CC4-5D6E-409C-BE32-E72D297353CC}">
                <c16:uniqueId val="{00000090-C76F-4230-900D-40618C09729F}"/>
              </c:ext>
            </c:extLst>
          </c:dPt>
          <c:dPt>
            <c:idx val="70"/>
            <c:invertIfNegative val="0"/>
            <c:bubble3D val="0"/>
            <c:spPr>
              <a:solidFill>
                <a:srgbClr val="7ECAC4"/>
              </a:solidFill>
            </c:spPr>
            <c:extLst>
              <c:ext xmlns:c16="http://schemas.microsoft.com/office/drawing/2014/chart" uri="{C3380CC4-5D6E-409C-BE32-E72D297353CC}">
                <c16:uniqueId val="{00000092-C76F-4230-900D-40618C09729F}"/>
              </c:ext>
            </c:extLst>
          </c:dPt>
          <c:dPt>
            <c:idx val="71"/>
            <c:invertIfNegative val="0"/>
            <c:bubble3D val="0"/>
            <c:spPr>
              <a:solidFill>
                <a:srgbClr val="7ECAC4"/>
              </a:solidFill>
            </c:spPr>
            <c:extLst>
              <c:ext xmlns:c16="http://schemas.microsoft.com/office/drawing/2014/chart" uri="{C3380CC4-5D6E-409C-BE32-E72D297353CC}">
                <c16:uniqueId val="{00000094-C76F-4230-900D-40618C09729F}"/>
              </c:ext>
            </c:extLst>
          </c:dPt>
          <c:dPt>
            <c:idx val="72"/>
            <c:invertIfNegative val="0"/>
            <c:bubble3D val="0"/>
            <c:spPr>
              <a:solidFill>
                <a:srgbClr val="7ECAC4"/>
              </a:solidFill>
            </c:spPr>
            <c:extLst>
              <c:ext xmlns:c16="http://schemas.microsoft.com/office/drawing/2014/chart" uri="{C3380CC4-5D6E-409C-BE32-E72D297353CC}">
                <c16:uniqueId val="{00000096-C76F-4230-900D-40618C09729F}"/>
              </c:ext>
            </c:extLst>
          </c:dPt>
          <c:dPt>
            <c:idx val="73"/>
            <c:invertIfNegative val="0"/>
            <c:bubble3D val="0"/>
            <c:spPr>
              <a:solidFill>
                <a:srgbClr val="7ECAC4"/>
              </a:solidFill>
            </c:spPr>
            <c:extLst>
              <c:ext xmlns:c16="http://schemas.microsoft.com/office/drawing/2014/chart" uri="{C3380CC4-5D6E-409C-BE32-E72D297353CC}">
                <c16:uniqueId val="{00000098-C76F-4230-900D-40618C09729F}"/>
              </c:ext>
            </c:extLst>
          </c:dPt>
          <c:dPt>
            <c:idx val="74"/>
            <c:invertIfNegative val="0"/>
            <c:bubble3D val="0"/>
            <c:spPr>
              <a:solidFill>
                <a:srgbClr val="7ECAC4"/>
              </a:solidFill>
            </c:spPr>
            <c:extLst>
              <c:ext xmlns:c16="http://schemas.microsoft.com/office/drawing/2014/chart" uri="{C3380CC4-5D6E-409C-BE32-E72D297353CC}">
                <c16:uniqueId val="{0000009A-C76F-4230-900D-40618C09729F}"/>
              </c:ext>
            </c:extLst>
          </c:dPt>
          <c:dPt>
            <c:idx val="75"/>
            <c:invertIfNegative val="0"/>
            <c:bubble3D val="0"/>
            <c:spPr>
              <a:solidFill>
                <a:srgbClr val="7ECAC4"/>
              </a:solidFill>
            </c:spPr>
            <c:extLst>
              <c:ext xmlns:c16="http://schemas.microsoft.com/office/drawing/2014/chart" uri="{C3380CC4-5D6E-409C-BE32-E72D297353CC}">
                <c16:uniqueId val="{0000009C-C76F-4230-900D-40618C09729F}"/>
              </c:ext>
            </c:extLst>
          </c:dPt>
          <c:dPt>
            <c:idx val="76"/>
            <c:invertIfNegative val="0"/>
            <c:bubble3D val="0"/>
            <c:spPr>
              <a:solidFill>
                <a:srgbClr val="7ECAC4"/>
              </a:solidFill>
            </c:spPr>
            <c:extLst>
              <c:ext xmlns:c16="http://schemas.microsoft.com/office/drawing/2014/chart" uri="{C3380CC4-5D6E-409C-BE32-E72D297353CC}">
                <c16:uniqueId val="{0000009E-C76F-4230-900D-40618C09729F}"/>
              </c:ext>
            </c:extLst>
          </c:dPt>
          <c:dPt>
            <c:idx val="77"/>
            <c:invertIfNegative val="0"/>
            <c:bubble3D val="0"/>
            <c:spPr>
              <a:solidFill>
                <a:srgbClr val="7ECAC4"/>
              </a:solidFill>
            </c:spPr>
            <c:extLst>
              <c:ext xmlns:c16="http://schemas.microsoft.com/office/drawing/2014/chart" uri="{C3380CC4-5D6E-409C-BE32-E72D297353CC}">
                <c16:uniqueId val="{000000A0-C76F-4230-900D-40618C09729F}"/>
              </c:ext>
            </c:extLst>
          </c:dPt>
          <c:dPt>
            <c:idx val="78"/>
            <c:invertIfNegative val="0"/>
            <c:bubble3D val="0"/>
            <c:spPr>
              <a:solidFill>
                <a:srgbClr val="7ECAC4"/>
              </a:solidFill>
            </c:spPr>
            <c:extLst>
              <c:ext xmlns:c16="http://schemas.microsoft.com/office/drawing/2014/chart" uri="{C3380CC4-5D6E-409C-BE32-E72D297353CC}">
                <c16:uniqueId val="{000000A2-C76F-4230-900D-40618C09729F}"/>
              </c:ext>
            </c:extLst>
          </c:dPt>
          <c:dPt>
            <c:idx val="79"/>
            <c:invertIfNegative val="0"/>
            <c:bubble3D val="0"/>
            <c:spPr>
              <a:solidFill>
                <a:srgbClr val="7ECAC4"/>
              </a:solidFill>
            </c:spPr>
            <c:extLst>
              <c:ext xmlns:c16="http://schemas.microsoft.com/office/drawing/2014/chart" uri="{C3380CC4-5D6E-409C-BE32-E72D297353CC}">
                <c16:uniqueId val="{000000A4-C76F-4230-900D-40618C09729F}"/>
              </c:ext>
            </c:extLst>
          </c:dPt>
          <c:dPt>
            <c:idx val="80"/>
            <c:invertIfNegative val="0"/>
            <c:bubble3D val="0"/>
            <c:spPr>
              <a:solidFill>
                <a:srgbClr val="7ECAC4"/>
              </a:solidFill>
            </c:spPr>
            <c:extLst>
              <c:ext xmlns:c16="http://schemas.microsoft.com/office/drawing/2014/chart" uri="{C3380CC4-5D6E-409C-BE32-E72D297353CC}">
                <c16:uniqueId val="{000000A6-C76F-4230-900D-40618C09729F}"/>
              </c:ext>
            </c:extLst>
          </c:dPt>
          <c:dPt>
            <c:idx val="81"/>
            <c:invertIfNegative val="1"/>
            <c:bubble3D val="0"/>
            <c:spPr>
              <a:solidFill>
                <a:srgbClr val="7ECAC4"/>
              </a:solidFill>
            </c:spPr>
            <c:extLst>
              <c:ext xmlns:c16="http://schemas.microsoft.com/office/drawing/2014/chart" uri="{C3380CC4-5D6E-409C-BE32-E72D297353CC}">
                <c16:uniqueId val="{000000A5-2993-41DE-A2CB-63102DE87051}"/>
              </c:ext>
            </c:extLst>
          </c:dPt>
          <c:dPt>
            <c:idx val="82"/>
            <c:invertIfNegative val="1"/>
            <c:bubble3D val="0"/>
            <c:spPr>
              <a:solidFill>
                <a:srgbClr val="7ECAC4"/>
              </a:solidFill>
            </c:spPr>
            <c:extLst>
              <c:ext xmlns:c16="http://schemas.microsoft.com/office/drawing/2014/chart" uri="{C3380CC4-5D6E-409C-BE32-E72D297353CC}">
                <c16:uniqueId val="{000000A7-2993-41DE-A2CB-63102DE87051}"/>
              </c:ext>
            </c:extLst>
          </c:dPt>
          <c:dPt>
            <c:idx val="83"/>
            <c:invertIfNegative val="1"/>
            <c:bubble3D val="0"/>
            <c:spPr>
              <a:solidFill>
                <a:srgbClr val="7ECAC4"/>
              </a:solidFill>
            </c:spPr>
            <c:extLst>
              <c:ext xmlns:c16="http://schemas.microsoft.com/office/drawing/2014/chart" uri="{C3380CC4-5D6E-409C-BE32-E72D297353CC}">
                <c16:uniqueId val="{000000A9-2993-41DE-A2CB-63102DE87051}"/>
              </c:ext>
            </c:extLst>
          </c:dPt>
          <c:dPt>
            <c:idx val="84"/>
            <c:invertIfNegative val="1"/>
            <c:bubble3D val="0"/>
            <c:spPr>
              <a:solidFill>
                <a:srgbClr val="7ECAC4"/>
              </a:solidFill>
            </c:spPr>
            <c:extLst>
              <c:ext xmlns:c16="http://schemas.microsoft.com/office/drawing/2014/chart" uri="{C3380CC4-5D6E-409C-BE32-E72D297353CC}">
                <c16:uniqueId val="{000000AB-2993-41DE-A2CB-63102DE87051}"/>
              </c:ext>
            </c:extLst>
          </c:dPt>
          <c:dPt>
            <c:idx val="85"/>
            <c:invertIfNegative val="1"/>
            <c:bubble3D val="0"/>
            <c:spPr>
              <a:solidFill>
                <a:srgbClr val="7ECAC4"/>
              </a:solidFill>
            </c:spPr>
            <c:extLst>
              <c:ext xmlns:c16="http://schemas.microsoft.com/office/drawing/2014/chart" uri="{C3380CC4-5D6E-409C-BE32-E72D297353CC}">
                <c16:uniqueId val="{000000AD-2993-41DE-A2CB-63102DE87051}"/>
              </c:ext>
            </c:extLst>
          </c:dPt>
          <c:dPt>
            <c:idx val="86"/>
            <c:invertIfNegative val="1"/>
            <c:bubble3D val="0"/>
            <c:spPr>
              <a:solidFill>
                <a:srgbClr val="7ECAC4"/>
              </a:solidFill>
            </c:spPr>
            <c:extLst>
              <c:ext xmlns:c16="http://schemas.microsoft.com/office/drawing/2014/chart" uri="{C3380CC4-5D6E-409C-BE32-E72D297353CC}">
                <c16:uniqueId val="{000000AF-2993-41DE-A2CB-63102DE87051}"/>
              </c:ext>
            </c:extLst>
          </c:dPt>
          <c:dPt>
            <c:idx val="87"/>
            <c:invertIfNegative val="1"/>
            <c:bubble3D val="0"/>
            <c:spPr>
              <a:solidFill>
                <a:srgbClr val="7ECAC4"/>
              </a:solidFill>
            </c:spPr>
            <c:extLst>
              <c:ext xmlns:c16="http://schemas.microsoft.com/office/drawing/2014/chart" uri="{C3380CC4-5D6E-409C-BE32-E72D297353CC}">
                <c16:uniqueId val="{000000B1-2993-41DE-A2CB-63102DE87051}"/>
              </c:ext>
            </c:extLst>
          </c:dPt>
          <c:dPt>
            <c:idx val="88"/>
            <c:invertIfNegative val="1"/>
            <c:bubble3D val="0"/>
            <c:spPr>
              <a:solidFill>
                <a:srgbClr val="7ECAC4"/>
              </a:solidFill>
            </c:spPr>
            <c:extLst>
              <c:ext xmlns:c16="http://schemas.microsoft.com/office/drawing/2014/chart" uri="{C3380CC4-5D6E-409C-BE32-E72D297353CC}">
                <c16:uniqueId val="{000000B3-2993-41DE-A2CB-63102DE87051}"/>
              </c:ext>
            </c:extLst>
          </c:dPt>
          <c:dPt>
            <c:idx val="89"/>
            <c:invertIfNegative val="1"/>
            <c:bubble3D val="0"/>
            <c:spPr>
              <a:solidFill>
                <a:srgbClr val="7ECAC4"/>
              </a:solidFill>
            </c:spPr>
            <c:extLst>
              <c:ext xmlns:c16="http://schemas.microsoft.com/office/drawing/2014/chart" uri="{C3380CC4-5D6E-409C-BE32-E72D297353CC}">
                <c16:uniqueId val="{000000B5-2993-41DE-A2CB-63102DE87051}"/>
              </c:ext>
            </c:extLst>
          </c:dPt>
          <c:dPt>
            <c:idx val="90"/>
            <c:invertIfNegative val="1"/>
            <c:bubble3D val="0"/>
            <c:spPr>
              <a:solidFill>
                <a:srgbClr val="7ECAC4"/>
              </a:solidFill>
            </c:spPr>
            <c:extLst>
              <c:ext xmlns:c16="http://schemas.microsoft.com/office/drawing/2014/chart" uri="{C3380CC4-5D6E-409C-BE32-E72D297353CC}">
                <c16:uniqueId val="{000000B7-2993-41DE-A2CB-63102DE87051}"/>
              </c:ext>
            </c:extLst>
          </c:dPt>
          <c:dPt>
            <c:idx val="91"/>
            <c:invertIfNegative val="1"/>
            <c:bubble3D val="0"/>
            <c:spPr>
              <a:solidFill>
                <a:srgbClr val="7ECAC4"/>
              </a:solidFill>
            </c:spPr>
            <c:extLst>
              <c:ext xmlns:c16="http://schemas.microsoft.com/office/drawing/2014/chart" uri="{C3380CC4-5D6E-409C-BE32-E72D297353CC}">
                <c16:uniqueId val="{000000B9-2993-41DE-A2CB-63102DE87051}"/>
              </c:ext>
            </c:extLst>
          </c:dPt>
          <c:dPt>
            <c:idx val="92"/>
            <c:invertIfNegative val="1"/>
            <c:bubble3D val="0"/>
            <c:spPr>
              <a:solidFill>
                <a:srgbClr val="7ECAC4"/>
              </a:solidFill>
            </c:spPr>
            <c:extLst>
              <c:ext xmlns:c16="http://schemas.microsoft.com/office/drawing/2014/chart" uri="{C3380CC4-5D6E-409C-BE32-E72D297353CC}">
                <c16:uniqueId val="{000000BB-2993-41DE-A2CB-63102DE87051}"/>
              </c:ext>
            </c:extLst>
          </c:dPt>
          <c:dPt>
            <c:idx val="93"/>
            <c:invertIfNegative val="1"/>
            <c:bubble3D val="0"/>
            <c:spPr>
              <a:solidFill>
                <a:srgbClr val="7ECAC4"/>
              </a:solidFill>
            </c:spPr>
            <c:extLst>
              <c:ext xmlns:c16="http://schemas.microsoft.com/office/drawing/2014/chart" uri="{C3380CC4-5D6E-409C-BE32-E72D297353CC}">
                <c16:uniqueId val="{000000BD-2993-41DE-A2CB-63102DE87051}"/>
              </c:ext>
            </c:extLst>
          </c:dPt>
          <c:dPt>
            <c:idx val="94"/>
            <c:invertIfNegative val="1"/>
            <c:bubble3D val="0"/>
            <c:spPr>
              <a:solidFill>
                <a:srgbClr val="AEABAB"/>
              </a:solidFill>
            </c:spPr>
            <c:extLst>
              <c:ext xmlns:c16="http://schemas.microsoft.com/office/drawing/2014/chart" uri="{C3380CC4-5D6E-409C-BE32-E72D297353CC}">
                <c16:uniqueId val="{000000BF-2993-41DE-A2CB-63102DE87051}"/>
              </c:ext>
            </c:extLst>
          </c:dPt>
          <c:dPt>
            <c:idx val="95"/>
            <c:invertIfNegative val="1"/>
            <c:bubble3D val="0"/>
            <c:spPr>
              <a:solidFill>
                <a:srgbClr val="AEABAB"/>
              </a:solidFill>
            </c:spPr>
            <c:extLst>
              <c:ext xmlns:c16="http://schemas.microsoft.com/office/drawing/2014/chart" uri="{C3380CC4-5D6E-409C-BE32-E72D297353CC}">
                <c16:uniqueId val="{000000C1-2993-41DE-A2CB-63102DE87051}"/>
              </c:ext>
            </c:extLst>
          </c:dPt>
          <c:dPt>
            <c:idx val="96"/>
            <c:invertIfNegative val="1"/>
            <c:bubble3D val="0"/>
            <c:spPr>
              <a:solidFill>
                <a:srgbClr val="AEABAB"/>
              </a:solidFill>
            </c:spPr>
            <c:extLst>
              <c:ext xmlns:c16="http://schemas.microsoft.com/office/drawing/2014/chart" uri="{C3380CC4-5D6E-409C-BE32-E72D297353CC}">
                <c16:uniqueId val="{000000C3-2993-41DE-A2CB-63102DE87051}"/>
              </c:ext>
            </c:extLst>
          </c:dPt>
          <c:dPt>
            <c:idx val="97"/>
            <c:invertIfNegative val="1"/>
            <c:bubble3D val="0"/>
            <c:spPr>
              <a:solidFill>
                <a:srgbClr val="AEABAB"/>
              </a:solidFill>
            </c:spPr>
            <c:extLst>
              <c:ext xmlns:c16="http://schemas.microsoft.com/office/drawing/2014/chart" uri="{C3380CC4-5D6E-409C-BE32-E72D297353CC}">
                <c16:uniqueId val="{000000C5-2993-41DE-A2CB-63102DE87051}"/>
              </c:ext>
            </c:extLst>
          </c:dPt>
          <c:dPt>
            <c:idx val="98"/>
            <c:invertIfNegative val="1"/>
            <c:bubble3D val="0"/>
            <c:spPr>
              <a:solidFill>
                <a:srgbClr val="AEABAB"/>
              </a:solidFill>
            </c:spPr>
            <c:extLst>
              <c:ext xmlns:c16="http://schemas.microsoft.com/office/drawing/2014/chart" uri="{C3380CC4-5D6E-409C-BE32-E72D297353CC}">
                <c16:uniqueId val="{000000C7-2993-41DE-A2CB-63102DE87051}"/>
              </c:ext>
            </c:extLst>
          </c:dPt>
          <c:dPt>
            <c:idx val="99"/>
            <c:invertIfNegative val="1"/>
            <c:bubble3D val="0"/>
            <c:spPr>
              <a:solidFill>
                <a:srgbClr val="AEABAB"/>
              </a:solidFill>
            </c:spPr>
            <c:extLst>
              <c:ext xmlns:c16="http://schemas.microsoft.com/office/drawing/2014/chart" uri="{C3380CC4-5D6E-409C-BE32-E72D297353CC}">
                <c16:uniqueId val="{000000C9-2993-41DE-A2CB-63102DE87051}"/>
              </c:ext>
            </c:extLst>
          </c:dPt>
          <c:dPt>
            <c:idx val="100"/>
            <c:invertIfNegative val="1"/>
            <c:bubble3D val="0"/>
            <c:spPr>
              <a:solidFill>
                <a:srgbClr val="AEABAB"/>
              </a:solidFill>
            </c:spPr>
            <c:extLst>
              <c:ext xmlns:c16="http://schemas.microsoft.com/office/drawing/2014/chart" uri="{C3380CC4-5D6E-409C-BE32-E72D297353CC}">
                <c16:uniqueId val="{000000CB-2993-41DE-A2CB-63102DE87051}"/>
              </c:ext>
            </c:extLst>
          </c:dPt>
          <c:dPt>
            <c:idx val="101"/>
            <c:invertIfNegative val="1"/>
            <c:bubble3D val="0"/>
            <c:spPr>
              <a:solidFill>
                <a:srgbClr val="AEABAB"/>
              </a:solidFill>
            </c:spPr>
            <c:extLst>
              <c:ext xmlns:c16="http://schemas.microsoft.com/office/drawing/2014/chart" uri="{C3380CC4-5D6E-409C-BE32-E72D297353CC}">
                <c16:uniqueId val="{000000CD-2993-41DE-A2CB-63102DE87051}"/>
              </c:ext>
            </c:extLst>
          </c:dPt>
          <c:dPt>
            <c:idx val="102"/>
            <c:invertIfNegative val="1"/>
            <c:bubble3D val="0"/>
            <c:spPr>
              <a:solidFill>
                <a:srgbClr val="AEABAB"/>
              </a:solidFill>
            </c:spPr>
            <c:extLst>
              <c:ext xmlns:c16="http://schemas.microsoft.com/office/drawing/2014/chart" uri="{C3380CC4-5D6E-409C-BE32-E72D297353CC}">
                <c16:uniqueId val="{000000CF-2993-41DE-A2CB-63102DE87051}"/>
              </c:ext>
            </c:extLst>
          </c:dPt>
          <c:dPt>
            <c:idx val="103"/>
            <c:invertIfNegative val="1"/>
            <c:bubble3D val="0"/>
            <c:spPr>
              <a:solidFill>
                <a:srgbClr val="AEABAB"/>
              </a:solidFill>
            </c:spPr>
            <c:extLst>
              <c:ext xmlns:c16="http://schemas.microsoft.com/office/drawing/2014/chart" uri="{C3380CC4-5D6E-409C-BE32-E72D297353CC}">
                <c16:uniqueId val="{000000D1-2993-41DE-A2CB-63102DE87051}"/>
              </c:ext>
            </c:extLst>
          </c:dPt>
          <c:dPt>
            <c:idx val="104"/>
            <c:invertIfNegative val="1"/>
            <c:bubble3D val="0"/>
            <c:spPr>
              <a:solidFill>
                <a:srgbClr val="AEABAB"/>
              </a:solidFill>
            </c:spPr>
            <c:extLst>
              <c:ext xmlns:c16="http://schemas.microsoft.com/office/drawing/2014/chart" uri="{C3380CC4-5D6E-409C-BE32-E72D297353CC}">
                <c16:uniqueId val="{000000D3-2993-41DE-A2CB-63102DE87051}"/>
              </c:ext>
            </c:extLst>
          </c:dPt>
          <c:dPt>
            <c:idx val="105"/>
            <c:invertIfNegative val="1"/>
            <c:bubble3D val="0"/>
            <c:spPr>
              <a:solidFill>
                <a:srgbClr val="AEABAB"/>
              </a:solidFill>
            </c:spPr>
            <c:extLst>
              <c:ext xmlns:c16="http://schemas.microsoft.com/office/drawing/2014/chart" uri="{C3380CC4-5D6E-409C-BE32-E72D297353CC}">
                <c16:uniqueId val="{000000D5-2993-41DE-A2CB-63102DE87051}"/>
              </c:ext>
            </c:extLst>
          </c:dPt>
          <c:dPt>
            <c:idx val="106"/>
            <c:invertIfNegative val="1"/>
            <c:bubble3D val="0"/>
            <c:spPr>
              <a:solidFill>
                <a:srgbClr val="AEABAB"/>
              </a:solidFill>
            </c:spPr>
            <c:extLst>
              <c:ext xmlns:c16="http://schemas.microsoft.com/office/drawing/2014/chart" uri="{C3380CC4-5D6E-409C-BE32-E72D297353CC}">
                <c16:uniqueId val="{000000D7-2993-41DE-A2CB-63102DE87051}"/>
              </c:ext>
            </c:extLst>
          </c:dPt>
          <c:dPt>
            <c:idx val="107"/>
            <c:invertIfNegative val="1"/>
            <c:bubble3D val="0"/>
            <c:spPr>
              <a:solidFill>
                <a:srgbClr val="AEABAB"/>
              </a:solidFill>
            </c:spPr>
            <c:extLst>
              <c:ext xmlns:c16="http://schemas.microsoft.com/office/drawing/2014/chart" uri="{C3380CC4-5D6E-409C-BE32-E72D297353CC}">
                <c16:uniqueId val="{000000D9-2993-41DE-A2CB-63102DE87051}"/>
              </c:ext>
            </c:extLst>
          </c:dPt>
          <c:dPt>
            <c:idx val="108"/>
            <c:invertIfNegative val="1"/>
            <c:bubble3D val="0"/>
            <c:spPr>
              <a:solidFill>
                <a:srgbClr val="AEABAB"/>
              </a:solidFill>
            </c:spPr>
            <c:extLst>
              <c:ext xmlns:c16="http://schemas.microsoft.com/office/drawing/2014/chart" uri="{C3380CC4-5D6E-409C-BE32-E72D297353CC}">
                <c16:uniqueId val="{000000DB-2993-41DE-A2CB-63102DE87051}"/>
              </c:ext>
            </c:extLst>
          </c:dPt>
          <c:dPt>
            <c:idx val="109"/>
            <c:invertIfNegative val="1"/>
            <c:bubble3D val="0"/>
            <c:spPr>
              <a:solidFill>
                <a:srgbClr val="AEABAB"/>
              </a:solidFill>
            </c:spPr>
            <c:extLst>
              <c:ext xmlns:c16="http://schemas.microsoft.com/office/drawing/2014/chart" uri="{C3380CC4-5D6E-409C-BE32-E72D297353CC}">
                <c16:uniqueId val="{000000DD-2993-41DE-A2CB-63102DE87051}"/>
              </c:ext>
            </c:extLst>
          </c:dPt>
          <c:dPt>
            <c:idx val="110"/>
            <c:invertIfNegative val="1"/>
            <c:bubble3D val="0"/>
            <c:spPr>
              <a:solidFill>
                <a:srgbClr val="AEABAB"/>
              </a:solidFill>
            </c:spPr>
            <c:extLst>
              <c:ext xmlns:c16="http://schemas.microsoft.com/office/drawing/2014/chart" uri="{C3380CC4-5D6E-409C-BE32-E72D297353CC}">
                <c16:uniqueId val="{000000DF-2993-41DE-A2CB-63102DE87051}"/>
              </c:ext>
            </c:extLst>
          </c:dPt>
          <c:dPt>
            <c:idx val="111"/>
            <c:invertIfNegative val="1"/>
            <c:bubble3D val="0"/>
            <c:spPr>
              <a:solidFill>
                <a:srgbClr val="AEABAB"/>
              </a:solidFill>
            </c:spPr>
            <c:extLst>
              <c:ext xmlns:c16="http://schemas.microsoft.com/office/drawing/2014/chart" uri="{C3380CC4-5D6E-409C-BE32-E72D297353CC}">
                <c16:uniqueId val="{000000E1-2993-41DE-A2CB-63102DE87051}"/>
              </c:ext>
            </c:extLst>
          </c:dPt>
          <c:dPt>
            <c:idx val="112"/>
            <c:invertIfNegative val="1"/>
            <c:bubble3D val="0"/>
            <c:spPr>
              <a:solidFill>
                <a:srgbClr val="AEABAB"/>
              </a:solidFill>
            </c:spPr>
            <c:extLst>
              <c:ext xmlns:c16="http://schemas.microsoft.com/office/drawing/2014/chart" uri="{C3380CC4-5D6E-409C-BE32-E72D297353CC}">
                <c16:uniqueId val="{000000E3-2993-41DE-A2CB-63102DE87051}"/>
              </c:ext>
            </c:extLst>
          </c:dPt>
          <c:dPt>
            <c:idx val="113"/>
            <c:invertIfNegative val="1"/>
            <c:bubble3D val="0"/>
            <c:spPr>
              <a:solidFill>
                <a:srgbClr val="AEABAB"/>
              </a:solidFill>
            </c:spPr>
            <c:extLst>
              <c:ext xmlns:c16="http://schemas.microsoft.com/office/drawing/2014/chart" uri="{C3380CC4-5D6E-409C-BE32-E72D297353CC}">
                <c16:uniqueId val="{000000E5-2993-41DE-A2CB-63102DE87051}"/>
              </c:ext>
            </c:extLst>
          </c:dPt>
          <c:dPt>
            <c:idx val="114"/>
            <c:invertIfNegative val="1"/>
            <c:bubble3D val="0"/>
            <c:spPr>
              <a:solidFill>
                <a:srgbClr val="AEABAB"/>
              </a:solidFill>
            </c:spPr>
            <c:extLst>
              <c:ext xmlns:c16="http://schemas.microsoft.com/office/drawing/2014/chart" uri="{C3380CC4-5D6E-409C-BE32-E72D297353CC}">
                <c16:uniqueId val="{000000E7-2993-41DE-A2CB-63102DE87051}"/>
              </c:ext>
            </c:extLst>
          </c:dPt>
          <c:dPt>
            <c:idx val="115"/>
            <c:invertIfNegative val="1"/>
            <c:bubble3D val="0"/>
            <c:spPr>
              <a:solidFill>
                <a:srgbClr val="AEABAB"/>
              </a:solidFill>
            </c:spPr>
            <c:extLst>
              <c:ext xmlns:c16="http://schemas.microsoft.com/office/drawing/2014/chart" uri="{C3380CC4-5D6E-409C-BE32-E72D297353CC}">
                <c16:uniqueId val="{000000E9-2993-41DE-A2CB-63102DE87051}"/>
              </c:ext>
            </c:extLst>
          </c:dPt>
          <c:dPt>
            <c:idx val="116"/>
            <c:invertIfNegative val="1"/>
            <c:bubble3D val="0"/>
            <c:spPr>
              <a:solidFill>
                <a:srgbClr val="AEABAB"/>
              </a:solidFill>
            </c:spPr>
            <c:extLst>
              <c:ext xmlns:c16="http://schemas.microsoft.com/office/drawing/2014/chart" uri="{C3380CC4-5D6E-409C-BE32-E72D297353CC}">
                <c16:uniqueId val="{000000EB-2993-41DE-A2CB-63102DE87051}"/>
              </c:ext>
            </c:extLst>
          </c:dPt>
          <c:dPt>
            <c:idx val="117"/>
            <c:invertIfNegative val="1"/>
            <c:bubble3D val="0"/>
            <c:spPr>
              <a:solidFill>
                <a:srgbClr val="AEABAB"/>
              </a:solidFill>
            </c:spPr>
            <c:extLst>
              <c:ext xmlns:c16="http://schemas.microsoft.com/office/drawing/2014/chart" uri="{C3380CC4-5D6E-409C-BE32-E72D297353CC}">
                <c16:uniqueId val="{000000ED-2993-41DE-A2CB-63102DE87051}"/>
              </c:ext>
            </c:extLst>
          </c:dPt>
          <c:dPt>
            <c:idx val="118"/>
            <c:invertIfNegative val="1"/>
            <c:bubble3D val="0"/>
            <c:spPr>
              <a:solidFill>
                <a:srgbClr val="AEABAB"/>
              </a:solidFill>
            </c:spPr>
            <c:extLst>
              <c:ext xmlns:c16="http://schemas.microsoft.com/office/drawing/2014/chart" uri="{C3380CC4-5D6E-409C-BE32-E72D297353CC}">
                <c16:uniqueId val="{000000EF-2993-41DE-A2CB-63102DE87051}"/>
              </c:ext>
            </c:extLst>
          </c:dPt>
          <c:dPt>
            <c:idx val="119"/>
            <c:invertIfNegative val="1"/>
            <c:bubble3D val="0"/>
            <c:spPr>
              <a:solidFill>
                <a:srgbClr val="AEABAB"/>
              </a:solidFill>
            </c:spPr>
            <c:extLst>
              <c:ext xmlns:c16="http://schemas.microsoft.com/office/drawing/2014/chart" uri="{C3380CC4-5D6E-409C-BE32-E72D297353CC}">
                <c16:uniqueId val="{000000F1-2993-41DE-A2CB-63102DE87051}"/>
              </c:ext>
            </c:extLst>
          </c:dPt>
          <c:dPt>
            <c:idx val="120"/>
            <c:invertIfNegative val="1"/>
            <c:bubble3D val="0"/>
            <c:spPr>
              <a:solidFill>
                <a:srgbClr val="AEABAB"/>
              </a:solidFill>
            </c:spPr>
            <c:extLst>
              <c:ext xmlns:c16="http://schemas.microsoft.com/office/drawing/2014/chart" uri="{C3380CC4-5D6E-409C-BE32-E72D297353CC}">
                <c16:uniqueId val="{000000F3-2993-41DE-A2CB-63102DE87051}"/>
              </c:ext>
            </c:extLst>
          </c:dPt>
          <c:dPt>
            <c:idx val="121"/>
            <c:invertIfNegative val="1"/>
            <c:bubble3D val="0"/>
            <c:spPr>
              <a:solidFill>
                <a:srgbClr val="AEABAB"/>
              </a:solidFill>
            </c:spPr>
            <c:extLst>
              <c:ext xmlns:c16="http://schemas.microsoft.com/office/drawing/2014/chart" uri="{C3380CC4-5D6E-409C-BE32-E72D297353CC}">
                <c16:uniqueId val="{000000F5-2993-41DE-A2CB-63102DE87051}"/>
              </c:ext>
            </c:extLst>
          </c:dPt>
          <c:dPt>
            <c:idx val="122"/>
            <c:invertIfNegative val="1"/>
            <c:bubble3D val="0"/>
            <c:spPr>
              <a:solidFill>
                <a:srgbClr val="AEABAB"/>
              </a:solidFill>
            </c:spPr>
            <c:extLst>
              <c:ext xmlns:c16="http://schemas.microsoft.com/office/drawing/2014/chart" uri="{C3380CC4-5D6E-409C-BE32-E72D297353CC}">
                <c16:uniqueId val="{000000F7-2993-41DE-A2CB-63102DE87051}"/>
              </c:ext>
            </c:extLst>
          </c:dPt>
          <c:dPt>
            <c:idx val="123"/>
            <c:invertIfNegative val="1"/>
            <c:bubble3D val="0"/>
            <c:spPr>
              <a:solidFill>
                <a:srgbClr val="AEABAB"/>
              </a:solidFill>
            </c:spPr>
            <c:extLst>
              <c:ext xmlns:c16="http://schemas.microsoft.com/office/drawing/2014/chart" uri="{C3380CC4-5D6E-409C-BE32-E72D297353CC}">
                <c16:uniqueId val="{000000F9-2993-41DE-A2CB-63102DE87051}"/>
              </c:ext>
            </c:extLst>
          </c:dPt>
          <c:dPt>
            <c:idx val="124"/>
            <c:invertIfNegative val="1"/>
            <c:bubble3D val="0"/>
            <c:spPr>
              <a:solidFill>
                <a:srgbClr val="AEABAB"/>
              </a:solidFill>
            </c:spPr>
            <c:extLst>
              <c:ext xmlns:c16="http://schemas.microsoft.com/office/drawing/2014/chart" uri="{C3380CC4-5D6E-409C-BE32-E72D297353CC}">
                <c16:uniqueId val="{000000FB-2993-41DE-A2CB-63102DE87051}"/>
              </c:ext>
            </c:extLst>
          </c:dPt>
          <c:dPt>
            <c:idx val="125"/>
            <c:invertIfNegative val="1"/>
            <c:bubble3D val="0"/>
            <c:spPr>
              <a:solidFill>
                <a:srgbClr val="AEABAB"/>
              </a:solidFill>
            </c:spPr>
            <c:extLst>
              <c:ext xmlns:c16="http://schemas.microsoft.com/office/drawing/2014/chart" uri="{C3380CC4-5D6E-409C-BE32-E72D297353CC}">
                <c16:uniqueId val="{000000FD-2993-41DE-A2CB-63102DE87051}"/>
              </c:ext>
            </c:extLst>
          </c:dPt>
          <c:dPt>
            <c:idx val="126"/>
            <c:invertIfNegative val="1"/>
            <c:bubble3D val="0"/>
            <c:spPr>
              <a:solidFill>
                <a:srgbClr val="AEABAB"/>
              </a:solidFill>
            </c:spPr>
            <c:extLst>
              <c:ext xmlns:c16="http://schemas.microsoft.com/office/drawing/2014/chart" uri="{C3380CC4-5D6E-409C-BE32-E72D297353CC}">
                <c16:uniqueId val="{000000FF-2993-41DE-A2CB-63102DE87051}"/>
              </c:ext>
            </c:extLst>
          </c:dPt>
          <c:dPt>
            <c:idx val="127"/>
            <c:invertIfNegative val="1"/>
            <c:bubble3D val="0"/>
            <c:spPr>
              <a:solidFill>
                <a:srgbClr val="AEABAB"/>
              </a:solidFill>
            </c:spPr>
            <c:extLst>
              <c:ext xmlns:c16="http://schemas.microsoft.com/office/drawing/2014/chart" uri="{C3380CC4-5D6E-409C-BE32-E72D297353CC}">
                <c16:uniqueId val="{00000101-2993-41DE-A2CB-63102DE87051}"/>
              </c:ext>
            </c:extLst>
          </c:dPt>
          <c:dPt>
            <c:idx val="128"/>
            <c:invertIfNegative val="1"/>
            <c:bubble3D val="0"/>
            <c:spPr>
              <a:solidFill>
                <a:srgbClr val="AEABAB"/>
              </a:solidFill>
            </c:spPr>
            <c:extLst>
              <c:ext xmlns:c16="http://schemas.microsoft.com/office/drawing/2014/chart" uri="{C3380CC4-5D6E-409C-BE32-E72D297353CC}">
                <c16:uniqueId val="{00000103-2993-41DE-A2CB-63102DE87051}"/>
              </c:ext>
            </c:extLst>
          </c:dPt>
          <c:dPt>
            <c:idx val="129"/>
            <c:invertIfNegative val="1"/>
            <c:bubble3D val="0"/>
            <c:spPr>
              <a:solidFill>
                <a:srgbClr val="AEABAB"/>
              </a:solidFill>
            </c:spPr>
            <c:extLst>
              <c:ext xmlns:c16="http://schemas.microsoft.com/office/drawing/2014/chart" uri="{C3380CC4-5D6E-409C-BE32-E72D297353CC}">
                <c16:uniqueId val="{00000105-2993-41DE-A2CB-63102DE87051}"/>
              </c:ext>
            </c:extLst>
          </c:dPt>
          <c:dPt>
            <c:idx val="130"/>
            <c:invertIfNegative val="1"/>
            <c:bubble3D val="0"/>
            <c:spPr>
              <a:solidFill>
                <a:srgbClr val="AEABAB"/>
              </a:solidFill>
            </c:spPr>
            <c:extLst>
              <c:ext xmlns:c16="http://schemas.microsoft.com/office/drawing/2014/chart" uri="{C3380CC4-5D6E-409C-BE32-E72D297353CC}">
                <c16:uniqueId val="{00000107-2993-41DE-A2CB-63102DE87051}"/>
              </c:ext>
            </c:extLst>
          </c:dPt>
          <c:dPt>
            <c:idx val="131"/>
            <c:invertIfNegative val="1"/>
            <c:bubble3D val="0"/>
            <c:spPr>
              <a:solidFill>
                <a:srgbClr val="AEABAB"/>
              </a:solidFill>
            </c:spPr>
            <c:extLst>
              <c:ext xmlns:c16="http://schemas.microsoft.com/office/drawing/2014/chart" uri="{C3380CC4-5D6E-409C-BE32-E72D297353CC}">
                <c16:uniqueId val="{00000109-2993-41DE-A2CB-63102DE87051}"/>
              </c:ext>
            </c:extLst>
          </c:dPt>
          <c:dPt>
            <c:idx val="132"/>
            <c:invertIfNegative val="1"/>
            <c:bubble3D val="0"/>
            <c:spPr>
              <a:solidFill>
                <a:srgbClr val="AEABAB"/>
              </a:solidFill>
            </c:spPr>
            <c:extLst>
              <c:ext xmlns:c16="http://schemas.microsoft.com/office/drawing/2014/chart" uri="{C3380CC4-5D6E-409C-BE32-E72D297353CC}">
                <c16:uniqueId val="{0000010B-2993-41DE-A2CB-63102DE87051}"/>
              </c:ext>
            </c:extLst>
          </c:dPt>
          <c:dPt>
            <c:idx val="133"/>
            <c:invertIfNegative val="1"/>
            <c:bubble3D val="0"/>
            <c:spPr>
              <a:solidFill>
                <a:srgbClr val="AEABAB"/>
              </a:solidFill>
            </c:spPr>
            <c:extLst>
              <c:ext xmlns:c16="http://schemas.microsoft.com/office/drawing/2014/chart" uri="{C3380CC4-5D6E-409C-BE32-E72D297353CC}">
                <c16:uniqueId val="{0000010D-2993-41DE-A2CB-63102DE87051}"/>
              </c:ext>
            </c:extLst>
          </c:dPt>
          <c:dPt>
            <c:idx val="134"/>
            <c:invertIfNegative val="1"/>
            <c:bubble3D val="0"/>
            <c:spPr>
              <a:solidFill>
                <a:srgbClr val="AEABAB"/>
              </a:solidFill>
            </c:spPr>
            <c:extLst>
              <c:ext xmlns:c16="http://schemas.microsoft.com/office/drawing/2014/chart" uri="{C3380CC4-5D6E-409C-BE32-E72D297353CC}">
                <c16:uniqueId val="{0000010F-2993-41DE-A2CB-63102DE87051}"/>
              </c:ext>
            </c:extLst>
          </c:dPt>
          <c:dPt>
            <c:idx val="135"/>
            <c:invertIfNegative val="1"/>
            <c:bubble3D val="0"/>
            <c:spPr>
              <a:solidFill>
                <a:srgbClr val="AEABAB"/>
              </a:solidFill>
            </c:spPr>
            <c:extLst>
              <c:ext xmlns:c16="http://schemas.microsoft.com/office/drawing/2014/chart" uri="{C3380CC4-5D6E-409C-BE32-E72D297353CC}">
                <c16:uniqueId val="{00000111-2993-41DE-A2CB-63102DE87051}"/>
              </c:ext>
            </c:extLst>
          </c:dPt>
          <c:dPt>
            <c:idx val="136"/>
            <c:invertIfNegative val="1"/>
            <c:bubble3D val="0"/>
            <c:spPr>
              <a:solidFill>
                <a:srgbClr val="AEABAB"/>
              </a:solidFill>
            </c:spPr>
            <c:extLst>
              <c:ext xmlns:c16="http://schemas.microsoft.com/office/drawing/2014/chart" uri="{C3380CC4-5D6E-409C-BE32-E72D297353CC}">
                <c16:uniqueId val="{00000113-2993-41DE-A2CB-63102DE87051}"/>
              </c:ext>
            </c:extLst>
          </c:dPt>
          <c:dPt>
            <c:idx val="137"/>
            <c:invertIfNegative val="1"/>
            <c:bubble3D val="0"/>
            <c:spPr>
              <a:solidFill>
                <a:srgbClr val="AEABAB"/>
              </a:solidFill>
            </c:spPr>
            <c:extLst>
              <c:ext xmlns:c16="http://schemas.microsoft.com/office/drawing/2014/chart" uri="{C3380CC4-5D6E-409C-BE32-E72D297353CC}">
                <c16:uniqueId val="{00000115-2993-41DE-A2CB-63102DE87051}"/>
              </c:ext>
            </c:extLst>
          </c:dPt>
          <c:dPt>
            <c:idx val="138"/>
            <c:invertIfNegative val="1"/>
            <c:bubble3D val="0"/>
            <c:spPr>
              <a:solidFill>
                <a:srgbClr val="AEABAB"/>
              </a:solidFill>
            </c:spPr>
            <c:extLst>
              <c:ext xmlns:c16="http://schemas.microsoft.com/office/drawing/2014/chart" uri="{C3380CC4-5D6E-409C-BE32-E72D297353CC}">
                <c16:uniqueId val="{00000117-2993-41DE-A2CB-63102DE87051}"/>
              </c:ext>
            </c:extLst>
          </c:dPt>
          <c:dPt>
            <c:idx val="139"/>
            <c:invertIfNegative val="1"/>
            <c:bubble3D val="0"/>
            <c:spPr>
              <a:solidFill>
                <a:srgbClr val="AEABAB"/>
              </a:solidFill>
            </c:spPr>
            <c:extLst>
              <c:ext xmlns:c16="http://schemas.microsoft.com/office/drawing/2014/chart" uri="{C3380CC4-5D6E-409C-BE32-E72D297353CC}">
                <c16:uniqueId val="{00000119-2993-41DE-A2CB-63102DE87051}"/>
              </c:ext>
            </c:extLst>
          </c:dPt>
          <c:dPt>
            <c:idx val="140"/>
            <c:invertIfNegative val="1"/>
            <c:bubble3D val="0"/>
            <c:spPr>
              <a:solidFill>
                <a:srgbClr val="AEABAB"/>
              </a:solidFill>
            </c:spPr>
            <c:extLst>
              <c:ext xmlns:c16="http://schemas.microsoft.com/office/drawing/2014/chart" uri="{C3380CC4-5D6E-409C-BE32-E72D297353CC}">
                <c16:uniqueId val="{0000011B-2993-41DE-A2CB-63102DE87051}"/>
              </c:ext>
            </c:extLst>
          </c:dPt>
          <c:dPt>
            <c:idx val="141"/>
            <c:invertIfNegative val="1"/>
            <c:bubble3D val="0"/>
            <c:spPr>
              <a:solidFill>
                <a:srgbClr val="AEABAB"/>
              </a:solidFill>
            </c:spPr>
            <c:extLst>
              <c:ext xmlns:c16="http://schemas.microsoft.com/office/drawing/2014/chart" uri="{C3380CC4-5D6E-409C-BE32-E72D297353CC}">
                <c16:uniqueId val="{0000011D-2993-41DE-A2CB-63102DE87051}"/>
              </c:ext>
            </c:extLst>
          </c:dPt>
          <c:dPt>
            <c:idx val="142"/>
            <c:invertIfNegative val="1"/>
            <c:bubble3D val="0"/>
            <c:spPr>
              <a:solidFill>
                <a:srgbClr val="AEABAB"/>
              </a:solidFill>
            </c:spPr>
            <c:extLst>
              <c:ext xmlns:c16="http://schemas.microsoft.com/office/drawing/2014/chart" uri="{C3380CC4-5D6E-409C-BE32-E72D297353CC}">
                <c16:uniqueId val="{0000011F-2993-41DE-A2CB-63102DE87051}"/>
              </c:ext>
            </c:extLst>
          </c:dPt>
          <c:dPt>
            <c:idx val="143"/>
            <c:invertIfNegative val="1"/>
            <c:bubble3D val="0"/>
            <c:spPr>
              <a:solidFill>
                <a:srgbClr val="AEABAB"/>
              </a:solidFill>
            </c:spPr>
            <c:extLst>
              <c:ext xmlns:c16="http://schemas.microsoft.com/office/drawing/2014/chart" uri="{C3380CC4-5D6E-409C-BE32-E72D297353CC}">
                <c16:uniqueId val="{00000121-2993-41DE-A2CB-63102DE87051}"/>
              </c:ext>
            </c:extLst>
          </c:dPt>
          <c:dPt>
            <c:idx val="144"/>
            <c:invertIfNegative val="1"/>
            <c:bubble3D val="0"/>
            <c:spPr>
              <a:solidFill>
                <a:srgbClr val="AEABAB"/>
              </a:solidFill>
            </c:spPr>
            <c:extLst>
              <c:ext xmlns:c16="http://schemas.microsoft.com/office/drawing/2014/chart" uri="{C3380CC4-5D6E-409C-BE32-E72D297353CC}">
                <c16:uniqueId val="{00000123-2993-41DE-A2CB-63102DE87051}"/>
              </c:ext>
            </c:extLst>
          </c:dPt>
          <c:dPt>
            <c:idx val="145"/>
            <c:invertIfNegative val="1"/>
            <c:bubble3D val="0"/>
            <c:spPr>
              <a:solidFill>
                <a:srgbClr val="AEABAB"/>
              </a:solidFill>
            </c:spPr>
            <c:extLst>
              <c:ext xmlns:c16="http://schemas.microsoft.com/office/drawing/2014/chart" uri="{C3380CC4-5D6E-409C-BE32-E72D297353CC}">
                <c16:uniqueId val="{00000125-2993-41DE-A2CB-63102DE87051}"/>
              </c:ext>
            </c:extLst>
          </c:dPt>
          <c:dPt>
            <c:idx val="146"/>
            <c:invertIfNegative val="1"/>
            <c:bubble3D val="0"/>
            <c:spPr>
              <a:solidFill>
                <a:srgbClr val="AEABAB"/>
              </a:solidFill>
            </c:spPr>
            <c:extLst>
              <c:ext xmlns:c16="http://schemas.microsoft.com/office/drawing/2014/chart" uri="{C3380CC4-5D6E-409C-BE32-E72D297353CC}">
                <c16:uniqueId val="{00000127-2993-41DE-A2CB-63102DE87051}"/>
              </c:ext>
            </c:extLst>
          </c:dPt>
          <c:dPt>
            <c:idx val="147"/>
            <c:invertIfNegative val="1"/>
            <c:bubble3D val="0"/>
            <c:spPr>
              <a:solidFill>
                <a:srgbClr val="AEABAB"/>
              </a:solidFill>
            </c:spPr>
            <c:extLst>
              <c:ext xmlns:c16="http://schemas.microsoft.com/office/drawing/2014/chart" uri="{C3380CC4-5D6E-409C-BE32-E72D297353CC}">
                <c16:uniqueId val="{00000129-2993-41DE-A2CB-63102DE87051}"/>
              </c:ext>
            </c:extLst>
          </c:dPt>
          <c:dPt>
            <c:idx val="148"/>
            <c:invertIfNegative val="1"/>
            <c:bubble3D val="0"/>
            <c:spPr>
              <a:solidFill>
                <a:srgbClr val="AEABAB"/>
              </a:solidFill>
            </c:spPr>
            <c:extLst>
              <c:ext xmlns:c16="http://schemas.microsoft.com/office/drawing/2014/chart" uri="{C3380CC4-5D6E-409C-BE32-E72D297353CC}">
                <c16:uniqueId val="{0000012B-2993-41DE-A2CB-63102DE87051}"/>
              </c:ext>
            </c:extLst>
          </c:dPt>
          <c:dPt>
            <c:idx val="149"/>
            <c:invertIfNegative val="1"/>
            <c:bubble3D val="0"/>
            <c:spPr>
              <a:solidFill>
                <a:srgbClr val="AEABAB"/>
              </a:solidFill>
            </c:spPr>
            <c:extLst>
              <c:ext xmlns:c16="http://schemas.microsoft.com/office/drawing/2014/chart" uri="{C3380CC4-5D6E-409C-BE32-E72D297353CC}">
                <c16:uniqueId val="{0000012D-2993-41DE-A2CB-63102DE87051}"/>
              </c:ext>
            </c:extLst>
          </c:dPt>
          <c:dPt>
            <c:idx val="150"/>
            <c:invertIfNegative val="1"/>
            <c:bubble3D val="0"/>
            <c:spPr>
              <a:solidFill>
                <a:srgbClr val="AEABAB"/>
              </a:solidFill>
            </c:spPr>
            <c:extLst>
              <c:ext xmlns:c16="http://schemas.microsoft.com/office/drawing/2014/chart" uri="{C3380CC4-5D6E-409C-BE32-E72D297353CC}">
                <c16:uniqueId val="{0000012F-2993-41DE-A2CB-63102DE87051}"/>
              </c:ext>
            </c:extLst>
          </c:dPt>
          <c:dPt>
            <c:idx val="151"/>
            <c:invertIfNegative val="1"/>
            <c:bubble3D val="0"/>
            <c:spPr>
              <a:solidFill>
                <a:srgbClr val="AEABAB"/>
              </a:solidFill>
            </c:spPr>
            <c:extLst>
              <c:ext xmlns:c16="http://schemas.microsoft.com/office/drawing/2014/chart" uri="{C3380CC4-5D6E-409C-BE32-E72D297353CC}">
                <c16:uniqueId val="{00000131-2993-41DE-A2CB-63102DE87051}"/>
              </c:ext>
            </c:extLst>
          </c:dPt>
          <c:dPt>
            <c:idx val="152"/>
            <c:invertIfNegative val="1"/>
            <c:bubble3D val="0"/>
            <c:spPr>
              <a:solidFill>
                <a:srgbClr val="AEABAB"/>
              </a:solidFill>
            </c:spPr>
            <c:extLst>
              <c:ext xmlns:c16="http://schemas.microsoft.com/office/drawing/2014/chart" uri="{C3380CC4-5D6E-409C-BE32-E72D297353CC}">
                <c16:uniqueId val="{00000133-2993-41DE-A2CB-63102DE87051}"/>
              </c:ext>
            </c:extLst>
          </c:dPt>
          <c:dPt>
            <c:idx val="153"/>
            <c:invertIfNegative val="1"/>
            <c:bubble3D val="0"/>
            <c:spPr>
              <a:solidFill>
                <a:srgbClr val="AEABAB"/>
              </a:solidFill>
            </c:spPr>
            <c:extLst>
              <c:ext xmlns:c16="http://schemas.microsoft.com/office/drawing/2014/chart" uri="{C3380CC4-5D6E-409C-BE32-E72D297353CC}">
                <c16:uniqueId val="{00000135-2993-41DE-A2CB-63102DE87051}"/>
              </c:ext>
            </c:extLst>
          </c:dPt>
          <c:dPt>
            <c:idx val="154"/>
            <c:invertIfNegative val="1"/>
            <c:bubble3D val="0"/>
            <c:spPr>
              <a:solidFill>
                <a:srgbClr val="AEABAB"/>
              </a:solidFill>
            </c:spPr>
            <c:extLst>
              <c:ext xmlns:c16="http://schemas.microsoft.com/office/drawing/2014/chart" uri="{C3380CC4-5D6E-409C-BE32-E72D297353CC}">
                <c16:uniqueId val="{00000137-2993-41DE-A2CB-63102DE87051}"/>
              </c:ext>
            </c:extLst>
          </c:dPt>
          <c:dPt>
            <c:idx val="155"/>
            <c:invertIfNegative val="1"/>
            <c:bubble3D val="0"/>
            <c:spPr>
              <a:solidFill>
                <a:srgbClr val="AEABAB"/>
              </a:solidFill>
            </c:spPr>
            <c:extLst>
              <c:ext xmlns:c16="http://schemas.microsoft.com/office/drawing/2014/chart" uri="{C3380CC4-5D6E-409C-BE32-E72D297353CC}">
                <c16:uniqueId val="{00000139-2993-41DE-A2CB-63102DE87051}"/>
              </c:ext>
            </c:extLst>
          </c:dPt>
          <c:dPt>
            <c:idx val="156"/>
            <c:invertIfNegative val="1"/>
            <c:bubble3D val="0"/>
            <c:spPr>
              <a:solidFill>
                <a:srgbClr val="AEABAB"/>
              </a:solidFill>
            </c:spPr>
            <c:extLst>
              <c:ext xmlns:c16="http://schemas.microsoft.com/office/drawing/2014/chart" uri="{C3380CC4-5D6E-409C-BE32-E72D297353CC}">
                <c16:uniqueId val="{0000013B-2993-41DE-A2CB-63102DE87051}"/>
              </c:ext>
            </c:extLst>
          </c:dPt>
          <c:dPt>
            <c:idx val="157"/>
            <c:invertIfNegative val="1"/>
            <c:bubble3D val="0"/>
            <c:spPr>
              <a:solidFill>
                <a:srgbClr val="AEABAB"/>
              </a:solidFill>
            </c:spPr>
            <c:extLst>
              <c:ext xmlns:c16="http://schemas.microsoft.com/office/drawing/2014/chart" uri="{C3380CC4-5D6E-409C-BE32-E72D297353CC}">
                <c16:uniqueId val="{0000013D-2993-41DE-A2CB-63102DE87051}"/>
              </c:ext>
            </c:extLst>
          </c:dPt>
          <c:dPt>
            <c:idx val="158"/>
            <c:invertIfNegative val="1"/>
            <c:bubble3D val="0"/>
            <c:spPr>
              <a:solidFill>
                <a:srgbClr val="AEABAB"/>
              </a:solidFill>
            </c:spPr>
            <c:extLst>
              <c:ext xmlns:c16="http://schemas.microsoft.com/office/drawing/2014/chart" uri="{C3380CC4-5D6E-409C-BE32-E72D297353CC}">
                <c16:uniqueId val="{0000013F-2993-41DE-A2CB-63102DE87051}"/>
              </c:ext>
            </c:extLst>
          </c:dPt>
          <c:dPt>
            <c:idx val="159"/>
            <c:invertIfNegative val="1"/>
            <c:bubble3D val="0"/>
            <c:spPr>
              <a:solidFill>
                <a:srgbClr val="AEABAB"/>
              </a:solidFill>
            </c:spPr>
            <c:extLst>
              <c:ext xmlns:c16="http://schemas.microsoft.com/office/drawing/2014/chart" uri="{C3380CC4-5D6E-409C-BE32-E72D297353CC}">
                <c16:uniqueId val="{00000141-2993-41DE-A2CB-63102DE87051}"/>
              </c:ext>
            </c:extLst>
          </c:dPt>
          <c:dPt>
            <c:idx val="160"/>
            <c:invertIfNegative val="1"/>
            <c:bubble3D val="0"/>
            <c:spPr>
              <a:solidFill>
                <a:srgbClr val="AEABAB"/>
              </a:solidFill>
            </c:spPr>
            <c:extLst>
              <c:ext xmlns:c16="http://schemas.microsoft.com/office/drawing/2014/chart" uri="{C3380CC4-5D6E-409C-BE32-E72D297353CC}">
                <c16:uniqueId val="{00000143-2993-41DE-A2CB-63102DE87051}"/>
              </c:ext>
            </c:extLst>
          </c:dPt>
          <c:dPt>
            <c:idx val="161"/>
            <c:invertIfNegative val="1"/>
            <c:bubble3D val="0"/>
            <c:spPr>
              <a:solidFill>
                <a:srgbClr val="AEABAB"/>
              </a:solidFill>
            </c:spPr>
            <c:extLst>
              <c:ext xmlns:c16="http://schemas.microsoft.com/office/drawing/2014/chart" uri="{C3380CC4-5D6E-409C-BE32-E72D297353CC}">
                <c16:uniqueId val="{00000145-2993-41DE-A2CB-63102DE87051}"/>
              </c:ext>
            </c:extLst>
          </c:dPt>
          <c:dPt>
            <c:idx val="162"/>
            <c:invertIfNegative val="1"/>
            <c:bubble3D val="0"/>
            <c:spPr>
              <a:solidFill>
                <a:srgbClr val="AEABAB"/>
              </a:solidFill>
            </c:spPr>
            <c:extLst>
              <c:ext xmlns:c16="http://schemas.microsoft.com/office/drawing/2014/chart" uri="{C3380CC4-5D6E-409C-BE32-E72D297353CC}">
                <c16:uniqueId val="{00000147-2993-41DE-A2CB-63102DE87051}"/>
              </c:ext>
            </c:extLst>
          </c:dPt>
          <c:dPt>
            <c:idx val="163"/>
            <c:invertIfNegative val="1"/>
            <c:bubble3D val="0"/>
            <c:spPr>
              <a:solidFill>
                <a:srgbClr val="AEABAB"/>
              </a:solidFill>
            </c:spPr>
            <c:extLst>
              <c:ext xmlns:c16="http://schemas.microsoft.com/office/drawing/2014/chart" uri="{C3380CC4-5D6E-409C-BE32-E72D297353CC}">
                <c16:uniqueId val="{00000149-2993-41DE-A2CB-63102DE87051}"/>
              </c:ext>
            </c:extLst>
          </c:dPt>
          <c:dPt>
            <c:idx val="164"/>
            <c:invertIfNegative val="1"/>
            <c:bubble3D val="0"/>
            <c:spPr>
              <a:solidFill>
                <a:srgbClr val="AEABAB"/>
              </a:solidFill>
            </c:spPr>
            <c:extLst>
              <c:ext xmlns:c16="http://schemas.microsoft.com/office/drawing/2014/chart" uri="{C3380CC4-5D6E-409C-BE32-E72D297353CC}">
                <c16:uniqueId val="{0000014B-2993-41DE-A2CB-63102DE87051}"/>
              </c:ext>
            </c:extLst>
          </c:dPt>
          <c:dPt>
            <c:idx val="165"/>
            <c:invertIfNegative val="1"/>
            <c:bubble3D val="0"/>
            <c:spPr>
              <a:solidFill>
                <a:srgbClr val="AEABAB"/>
              </a:solidFill>
            </c:spPr>
            <c:extLst>
              <c:ext xmlns:c16="http://schemas.microsoft.com/office/drawing/2014/chart" uri="{C3380CC4-5D6E-409C-BE32-E72D297353CC}">
                <c16:uniqueId val="{0000014D-2993-41DE-A2CB-63102DE87051}"/>
              </c:ext>
            </c:extLst>
          </c:dPt>
          <c:dPt>
            <c:idx val="166"/>
            <c:invertIfNegative val="1"/>
            <c:bubble3D val="0"/>
            <c:spPr>
              <a:solidFill>
                <a:srgbClr val="AEABAB"/>
              </a:solidFill>
            </c:spPr>
            <c:extLst>
              <c:ext xmlns:c16="http://schemas.microsoft.com/office/drawing/2014/chart" uri="{C3380CC4-5D6E-409C-BE32-E72D297353CC}">
                <c16:uniqueId val="{0000014F-2993-41DE-A2CB-63102DE87051}"/>
              </c:ext>
            </c:extLst>
          </c:dPt>
          <c:dPt>
            <c:idx val="167"/>
            <c:invertIfNegative val="1"/>
            <c:bubble3D val="0"/>
            <c:spPr>
              <a:solidFill>
                <a:srgbClr val="AEABAB"/>
              </a:solidFill>
            </c:spPr>
            <c:extLst>
              <c:ext xmlns:c16="http://schemas.microsoft.com/office/drawing/2014/chart" uri="{C3380CC4-5D6E-409C-BE32-E72D297353CC}">
                <c16:uniqueId val="{00000151-2993-41DE-A2CB-63102DE87051}"/>
              </c:ext>
            </c:extLst>
          </c:dPt>
          <c:dPt>
            <c:idx val="168"/>
            <c:invertIfNegative val="1"/>
            <c:bubble3D val="0"/>
            <c:spPr>
              <a:solidFill>
                <a:srgbClr val="AEABAB"/>
              </a:solidFill>
            </c:spPr>
            <c:extLst>
              <c:ext xmlns:c16="http://schemas.microsoft.com/office/drawing/2014/chart" uri="{C3380CC4-5D6E-409C-BE32-E72D297353CC}">
                <c16:uniqueId val="{00000153-2993-41DE-A2CB-63102DE87051}"/>
              </c:ext>
            </c:extLst>
          </c:dPt>
          <c:dPt>
            <c:idx val="169"/>
            <c:invertIfNegative val="1"/>
            <c:bubble3D val="0"/>
            <c:spPr>
              <a:solidFill>
                <a:srgbClr val="AEABAB"/>
              </a:solidFill>
            </c:spPr>
            <c:extLst>
              <c:ext xmlns:c16="http://schemas.microsoft.com/office/drawing/2014/chart" uri="{C3380CC4-5D6E-409C-BE32-E72D297353CC}">
                <c16:uniqueId val="{00000155-2993-41DE-A2CB-63102DE87051}"/>
              </c:ext>
            </c:extLst>
          </c:dPt>
          <c:dPt>
            <c:idx val="170"/>
            <c:invertIfNegative val="1"/>
            <c:bubble3D val="0"/>
            <c:spPr>
              <a:solidFill>
                <a:srgbClr val="AEABAB"/>
              </a:solidFill>
            </c:spPr>
            <c:extLst>
              <c:ext xmlns:c16="http://schemas.microsoft.com/office/drawing/2014/chart" uri="{C3380CC4-5D6E-409C-BE32-E72D297353CC}">
                <c16:uniqueId val="{00000157-2993-41DE-A2CB-63102DE87051}"/>
              </c:ext>
            </c:extLst>
          </c:dPt>
          <c:dPt>
            <c:idx val="171"/>
            <c:invertIfNegative val="1"/>
            <c:bubble3D val="0"/>
            <c:spPr>
              <a:solidFill>
                <a:srgbClr val="AEABAB"/>
              </a:solidFill>
            </c:spPr>
            <c:extLst>
              <c:ext xmlns:c16="http://schemas.microsoft.com/office/drawing/2014/chart" uri="{C3380CC4-5D6E-409C-BE32-E72D297353CC}">
                <c16:uniqueId val="{00000159-2993-41DE-A2CB-63102DE87051}"/>
              </c:ext>
            </c:extLst>
          </c:dPt>
          <c:dPt>
            <c:idx val="172"/>
            <c:invertIfNegative val="1"/>
            <c:bubble3D val="0"/>
            <c:spPr>
              <a:solidFill>
                <a:srgbClr val="AEABAB"/>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dPt>
            <c:idx val="210"/>
            <c:spPr>
              <a:solidFill>
                <a:srgbClr val="AEABAB"/>
              </a:solidFill>
            </c:spPr>
          </c:dPt>
          <c:dPt>
            <c:idx val="211"/>
            <c:spPr>
              <a:solidFill>
                <a:srgbClr val="AEABAB"/>
              </a:solidFill>
            </c:spPr>
          </c:dPt>
          <c:dPt>
            <c:idx val="212"/>
            <c:spPr>
              <a:solidFill>
                <a:srgbClr val="AEABAB"/>
              </a:solidFill>
            </c:spPr>
          </c:dPt>
          <c:dPt>
            <c:idx val="213"/>
            <c:spPr>
              <a:solidFill>
                <a:srgbClr val="AEABAB"/>
              </a:solidFill>
            </c:spPr>
          </c:dPt>
          <c:dPt>
            <c:idx val="214"/>
            <c:spPr>
              <a:solidFill>
                <a:srgbClr val="AEABAB"/>
              </a:solidFill>
            </c:spPr>
          </c:dPt>
          <c:dPt>
            <c:idx val="215"/>
            <c:spPr>
              <a:solidFill>
                <a:srgbClr val="AEABAB"/>
              </a:solidFill>
            </c:spPr>
          </c:dPt>
          <c:dPt>
            <c:idx val="216"/>
            <c:spPr>
              <a:solidFill>
                <a:srgbClr val="AEABAB"/>
              </a:solidFill>
            </c:spPr>
          </c:dPt>
          <c:dPt>
            <c:idx val="217"/>
            <c:spPr>
              <a:solidFill>
                <a:srgbClr val="AEABAB"/>
              </a:solidFill>
            </c:spPr>
          </c:dPt>
          <c:dPt>
            <c:idx val="218"/>
            <c:spPr>
              <a:solidFill>
                <a:srgbClr val="AEABAB"/>
              </a:solidFill>
            </c:spPr>
          </c:dPt>
          <c:dPt>
            <c:idx val="219"/>
            <c:spPr>
              <a:solidFill>
                <a:srgbClr val="AEABAB"/>
              </a:solidFill>
            </c:spPr>
          </c:dPt>
          <c:dPt>
            <c:idx val="220"/>
            <c:spPr>
              <a:solidFill>
                <a:srgbClr val="AEABAB"/>
              </a:solidFill>
            </c:spPr>
          </c:dPt>
          <c:dPt>
            <c:idx val="221"/>
            <c:spPr>
              <a:solidFill>
                <a:srgbClr val="AEABAB"/>
              </a:solidFill>
            </c:spPr>
          </c:dPt>
          <c:dPt>
            <c:idx val="222"/>
            <c:spPr>
              <a:solidFill>
                <a:srgbClr val="AEABAB"/>
              </a:solidFill>
            </c:spPr>
          </c:dPt>
          <c:dPt>
            <c:idx val="223"/>
            <c:spPr>
              <a:solidFill>
                <a:srgbClr val="AEABAB"/>
              </a:solidFill>
            </c:spPr>
          </c:dPt>
          <c:dPt>
            <c:idx val="224"/>
            <c:spPr>
              <a:solidFill>
                <a:srgbClr val="AEABAB"/>
              </a:solidFill>
            </c:spPr>
          </c:dPt>
          <c:dPt>
            <c:idx val="225"/>
            <c:spPr>
              <a:solidFill>
                <a:srgbClr val="AEABAB"/>
              </a:solidFill>
            </c:spPr>
          </c:dPt>
          <c:dPt>
            <c:idx val="226"/>
            <c:spPr>
              <a:solidFill>
                <a:srgbClr val="AEABAB"/>
              </a:solidFill>
            </c:spPr>
          </c:dPt>
          <c:dPt>
            <c:idx val="227"/>
            <c:spPr>
              <a:solidFill>
                <a:srgbClr val="AEABAB"/>
              </a:solidFill>
            </c:spPr>
          </c:dPt>
          <c:dPt>
            <c:idx val="228"/>
            <c:spPr>
              <a:solidFill>
                <a:srgbClr val="AEABAB"/>
              </a:solidFill>
            </c:spPr>
          </c:dPt>
          <c:dPt>
            <c:idx val="229"/>
            <c:spPr>
              <a:solidFill>
                <a:srgbClr val="AEABAB"/>
              </a:solidFill>
            </c:spPr>
          </c:dPt>
          <c:dPt>
            <c:idx val="230"/>
            <c:spPr>
              <a:solidFill>
                <a:srgbClr val="AEABAB"/>
              </a:solidFill>
            </c:spPr>
          </c:dPt>
          <c:dPt>
            <c:idx val="231"/>
            <c:spPr>
              <a:solidFill>
                <a:srgbClr val="AEABAB"/>
              </a:solidFill>
            </c:spPr>
          </c:dPt>
          <c:dPt>
            <c:idx val="232"/>
            <c:spPr>
              <a:solidFill>
                <a:srgbClr val="AEABAB"/>
              </a:solidFill>
            </c:spPr>
          </c:dPt>
          <c:dPt>
            <c:idx val="233"/>
            <c:spPr>
              <a:solidFill>
                <a:srgbClr val="AEABAB"/>
              </a:solidFill>
            </c:spPr>
          </c:dPt>
          <c:dPt>
            <c:idx val="234"/>
            <c:spPr>
              <a:solidFill>
                <a:srgbClr val="AEABAB"/>
              </a:solidFill>
            </c:spPr>
          </c:dPt>
          <c:dPt>
            <c:idx val="235"/>
            <c:spPr>
              <a:solidFill>
                <a:srgbClr val="AEABAB"/>
              </a:solidFill>
            </c:spPr>
          </c:dPt>
          <c:dPt>
            <c:idx val="236"/>
            <c:spPr>
              <a:solidFill>
                <a:srgbClr val="AEABAB"/>
              </a:solidFill>
            </c:spPr>
          </c:dPt>
          <c:dPt>
            <c:idx val="237"/>
            <c:spPr>
              <a:solidFill>
                <a:srgbClr val="AEABAB"/>
              </a:solidFill>
            </c:spPr>
          </c:dPt>
          <c:dPt>
            <c:idx val="238"/>
            <c:spPr>
              <a:solidFill>
                <a:srgbClr val="AEABAB"/>
              </a:solidFill>
            </c:spPr>
          </c:dPt>
          <c:dPt>
            <c:idx val="239"/>
            <c:spPr>
              <a:solidFill>
                <a:srgbClr val="AEABAB"/>
              </a:solidFill>
            </c:spPr>
          </c:dPt>
          <c:dPt>
            <c:idx val="240"/>
            <c:spPr>
              <a:solidFill>
                <a:srgbClr val="AEABAB"/>
              </a:solidFill>
            </c:spPr>
          </c:dPt>
          <c:dPt>
            <c:idx val="241"/>
            <c:spPr>
              <a:solidFill>
                <a:srgbClr val="AEABAB"/>
              </a:solidFill>
            </c:spPr>
          </c:dPt>
          <c:dPt>
            <c:idx val="242"/>
            <c:spPr>
              <a:solidFill>
                <a:srgbClr val="AEABAB"/>
              </a:solidFill>
            </c:spPr>
          </c:dPt>
          <c:dPt>
            <c:idx val="243"/>
            <c:spPr>
              <a:solidFill>
                <a:srgbClr val="AEABAB"/>
              </a:solidFill>
            </c:spPr>
          </c:dPt>
          <c:dPt>
            <c:idx val="244"/>
            <c:spPr>
              <a:solidFill>
                <a:srgbClr val="AEABAB"/>
              </a:solidFill>
            </c:spPr>
          </c:dPt>
          <c:dPt>
            <c:idx val="245"/>
            <c:spPr>
              <a:solidFill>
                <a:srgbClr val="AEABAB"/>
              </a:solidFill>
            </c:spPr>
          </c:dPt>
          <c:dPt>
            <c:idx val="246"/>
            <c:spPr>
              <a:solidFill>
                <a:srgbClr val="AEABAB"/>
              </a:solidFill>
            </c:spPr>
          </c:dPt>
          <c:dPt>
            <c:idx val="247"/>
            <c:spPr>
              <a:solidFill>
                <a:srgbClr val="AEABAB"/>
              </a:solidFill>
            </c:spPr>
          </c:dPt>
          <c:dPt>
            <c:idx val="248"/>
            <c:spPr>
              <a:solidFill>
                <a:srgbClr val="AEABAB"/>
              </a:solidFill>
            </c:spPr>
          </c:dPt>
          <c:dPt>
            <c:idx val="249"/>
            <c:spPr>
              <a:solidFill>
                <a:srgbClr val="AEABAB"/>
              </a:solidFill>
            </c:spPr>
          </c:dPt>
          <c:dPt>
            <c:idx val="250"/>
            <c:spPr>
              <a:solidFill>
                <a:srgbClr val="AEABAB"/>
              </a:solidFill>
            </c:spPr>
          </c:dPt>
          <c:dPt>
            <c:idx val="251"/>
            <c:spPr>
              <a:solidFill>
                <a:srgbClr val="AEABAB"/>
              </a:solidFill>
            </c:spPr>
          </c:dPt>
          <c:dPt>
            <c:idx val="252"/>
            <c:spPr>
              <a:solidFill>
                <a:srgbClr val="AEABAB"/>
              </a:solidFill>
            </c:spPr>
          </c:dPt>
          <c:dPt>
            <c:idx val="253"/>
            <c:spPr>
              <a:solidFill>
                <a:srgbClr val="AEABAB"/>
              </a:solidFill>
            </c:spPr>
          </c:dPt>
          <c:dPt>
            <c:idx val="254"/>
            <c:spPr>
              <a:solidFill>
                <a:srgbClr val="AEABAB"/>
              </a:solidFill>
            </c:spPr>
          </c:dPt>
          <c:dPt>
            <c:idx val="255"/>
            <c:spPr>
              <a:solidFill>
                <a:srgbClr val="AEABAB"/>
              </a:solidFill>
            </c:spPr>
          </c:dPt>
          <c:dPt>
            <c:idx val="256"/>
            <c:spPr>
              <a:solidFill>
                <a:srgbClr val="AEABAB"/>
              </a:solidFill>
            </c:spPr>
          </c:dPt>
          <c:dPt>
            <c:idx val="257"/>
            <c:spPr>
              <a:solidFill>
                <a:srgbClr val="AEABAB"/>
              </a:solidFill>
            </c:spPr>
          </c:dPt>
          <c:dPt>
            <c:idx val="258"/>
            <c:spPr>
              <a:solidFill>
                <a:srgbClr val="AEABAB"/>
              </a:solidFill>
            </c:spPr>
          </c:dPt>
          <c:dPt>
            <c:idx val="259"/>
            <c:spPr>
              <a:solidFill>
                <a:srgbClr val="AEABAB"/>
              </a:solidFill>
            </c:spPr>
          </c:dPt>
          <c:dPt>
            <c:idx val="260"/>
            <c:spPr>
              <a:solidFill>
                <a:srgbClr val="AEABAB"/>
              </a:solidFill>
            </c:spPr>
          </c:dPt>
          <c:dPt>
            <c:idx val="261"/>
            <c:spPr>
              <a:solidFill>
                <a:srgbClr val="AEABAB"/>
              </a:solidFill>
            </c:spPr>
          </c:dPt>
          <c:dPt>
            <c:idx val="262"/>
            <c:spPr>
              <a:solidFill>
                <a:srgbClr val="AEABAB"/>
              </a:solidFill>
            </c:spPr>
          </c:dPt>
          <c:dPt>
            <c:idx val="263"/>
            <c:spPr>
              <a:solidFill>
                <a:srgbClr val="AEABAB"/>
              </a:solidFill>
            </c:spPr>
          </c:dPt>
          <c:dPt>
            <c:idx val="264"/>
            <c:spPr>
              <a:solidFill>
                <a:srgbClr val="AEABAB"/>
              </a:solidFill>
            </c:spPr>
          </c:dPt>
          <c:dPt>
            <c:idx val="265"/>
            <c:spPr>
              <a:solidFill>
                <a:srgbClr val="AEABAB"/>
              </a:solidFill>
            </c:spPr>
          </c:dPt>
          <c:dPt>
            <c:idx val="266"/>
            <c:spPr>
              <a:solidFill>
                <a:srgbClr val="AEABAB"/>
              </a:solidFill>
            </c:spPr>
          </c:dPt>
          <c:dPt>
            <c:idx val="267"/>
            <c:spPr>
              <a:solidFill>
                <a:srgbClr val="AEABAB"/>
              </a:solidFill>
            </c:spPr>
          </c:dPt>
          <c:dPt>
            <c:idx val="268"/>
            <c:spPr>
              <a:solidFill>
                <a:srgbClr val="AEABAB"/>
              </a:solidFill>
            </c:spPr>
          </c:dPt>
          <c:dPt>
            <c:idx val="269"/>
            <c:spPr>
              <a:solidFill>
                <a:srgbClr val="AEABAB"/>
              </a:solidFill>
            </c:spPr>
          </c:dPt>
          <c:dPt>
            <c:idx val="270"/>
            <c:spPr>
              <a:solidFill>
                <a:srgbClr val="AEABAB"/>
              </a:solidFill>
            </c:spPr>
          </c:dPt>
          <c:dPt>
            <c:idx val="271"/>
            <c:spPr>
              <a:solidFill>
                <a:srgbClr val="AEABAB"/>
              </a:solidFill>
            </c:spPr>
          </c:dPt>
          <c:dPt>
            <c:idx val="272"/>
            <c:spPr>
              <a:solidFill>
                <a:srgbClr val="AEABAB"/>
              </a:solidFill>
            </c:spPr>
          </c:dPt>
          <c:dPt>
            <c:idx val="273"/>
            <c:spPr>
              <a:solidFill>
                <a:srgbClr val="AEABAB"/>
              </a:solidFill>
            </c:spPr>
          </c:dPt>
          <c:dPt>
            <c:idx val="274"/>
            <c:spPr>
              <a:solidFill>
                <a:srgbClr val="AEABAB"/>
              </a:solidFill>
            </c:spPr>
          </c:dPt>
          <c:dPt>
            <c:idx val="275"/>
            <c:spPr>
              <a:solidFill>
                <a:srgbClr val="AEABAB"/>
              </a:solidFill>
            </c:spPr>
          </c:dPt>
          <c:dPt>
            <c:idx val="276"/>
            <c:spPr>
              <a:solidFill>
                <a:srgbClr val="AEABAB"/>
              </a:solidFill>
            </c:spPr>
          </c:dPt>
          <c:dPt>
            <c:idx val="277"/>
            <c:spPr>
              <a:solidFill>
                <a:srgbClr val="AEABAB"/>
              </a:solidFill>
            </c:spPr>
          </c:dPt>
          <c:dPt>
            <c:idx val="278"/>
            <c:spPr>
              <a:solidFill>
                <a:srgbClr val="AEABAB"/>
              </a:solidFill>
            </c:spPr>
          </c:dPt>
          <c:dPt>
            <c:idx val="279"/>
            <c:spPr>
              <a:solidFill>
                <a:srgbClr val="AEABAB"/>
              </a:solidFill>
            </c:spPr>
          </c:dPt>
          <c:dPt>
            <c:idx val="280"/>
            <c:spPr>
              <a:solidFill>
                <a:srgbClr val="AEABAB"/>
              </a:solidFill>
            </c:spPr>
          </c:dPt>
          <c:dPt>
            <c:idx val="281"/>
            <c:spPr>
              <a:solidFill>
                <a:srgbClr val="AEABAB"/>
              </a:solidFill>
            </c:spPr>
          </c:dPt>
          <c:dPt>
            <c:idx val="282"/>
            <c:spPr>
              <a:solidFill>
                <a:srgbClr val="AEABAB"/>
              </a:solidFill>
            </c:spPr>
          </c:dPt>
          <c:dPt>
            <c:idx val="283"/>
            <c:spPr>
              <a:solidFill>
                <a:srgbClr val="AEABAB"/>
              </a:solidFill>
            </c:spPr>
          </c:dPt>
          <c:dPt>
            <c:idx val="284"/>
            <c:spPr>
              <a:solidFill>
                <a:srgbClr val="AEABAB"/>
              </a:solidFill>
            </c:spPr>
          </c:dPt>
          <c:dPt>
            <c:idx val="285"/>
            <c:spPr>
              <a:solidFill>
                <a:srgbClr val="AEABAB"/>
              </a:solidFill>
            </c:spPr>
          </c:dPt>
          <c:dPt>
            <c:idx val="286"/>
            <c:spPr>
              <a:solidFill>
                <a:srgbClr val="AEABAB"/>
              </a:solidFill>
            </c:spPr>
          </c:dPt>
          <c:dPt>
            <c:idx val="287"/>
            <c:spPr>
              <a:solidFill>
                <a:srgbClr val="AEABAB"/>
              </a:solidFill>
            </c:spPr>
          </c:dPt>
          <c:dPt>
            <c:idx val="288"/>
            <c:spPr>
              <a:solidFill>
                <a:srgbClr val="AEABAB"/>
              </a:solidFill>
            </c:spPr>
          </c:dPt>
          <c:dPt>
            <c:idx val="289"/>
            <c:spPr>
              <a:solidFill>
                <a:srgbClr val="AEABAB"/>
              </a:solidFill>
            </c:spPr>
          </c:dPt>
          <c:dPt>
            <c:idx val="290"/>
            <c:spPr>
              <a:solidFill>
                <a:srgbClr val="AEABAB"/>
              </a:solidFill>
            </c:spPr>
          </c:dPt>
          <c:dPt>
            <c:idx val="291"/>
            <c:spPr>
              <a:solidFill>
                <a:srgbClr val="AEABAB"/>
              </a:solidFill>
            </c:spPr>
          </c:dPt>
          <c:dPt>
            <c:idx val="292"/>
            <c:spPr>
              <a:solidFill>
                <a:srgbClr val="AEABAB"/>
              </a:solidFill>
            </c:spPr>
          </c:dPt>
          <c:dPt>
            <c:idx val="293"/>
            <c:spPr>
              <a:solidFill>
                <a:srgbClr val="AEABAB"/>
              </a:solidFill>
            </c:spPr>
          </c:dPt>
          <c:dPt>
            <c:idx val="294"/>
            <c:spPr>
              <a:solidFill>
                <a:srgbClr val="AEABAB"/>
              </a:solidFill>
            </c:spPr>
          </c:dPt>
          <c:dPt>
            <c:idx val="295"/>
            <c:spPr>
              <a:solidFill>
                <a:srgbClr val="AEABAB"/>
              </a:solidFill>
            </c:spPr>
          </c:dPt>
          <c:dPt>
            <c:idx val="296"/>
            <c:spPr>
              <a:solidFill>
                <a:srgbClr val="AEABAB"/>
              </a:solidFill>
            </c:spPr>
          </c:dPt>
          <c:dPt>
            <c:idx val="297"/>
            <c:spPr>
              <a:solidFill>
                <a:srgbClr val="AEABAB"/>
              </a:solidFill>
            </c:spPr>
          </c:dPt>
          <c:dPt>
            <c:idx val="298"/>
            <c:spPr>
              <a:solidFill>
                <a:srgbClr val="AEABAB"/>
              </a:solidFill>
            </c:spPr>
          </c:dPt>
          <c:dPt>
            <c:idx val="299"/>
            <c:spPr>
              <a:solidFill>
                <a:srgbClr val="AEABAB"/>
              </a:solidFill>
            </c:spPr>
          </c:dPt>
          <c:dPt>
            <c:idx val="300"/>
            <c:spPr>
              <a:solidFill>
                <a:srgbClr val="AEABAB"/>
              </a:solidFill>
            </c:spPr>
          </c:dPt>
          <c:dPt>
            <c:idx val="301"/>
            <c:spPr>
              <a:solidFill>
                <a:srgbClr val="AEABAB"/>
              </a:solidFill>
            </c:spPr>
          </c:dPt>
          <c:dPt>
            <c:idx val="302"/>
            <c:spPr>
              <a:solidFill>
                <a:srgbClr val="AEABAB"/>
              </a:solidFill>
            </c:spPr>
          </c:dPt>
          <c:dPt>
            <c:idx val="303"/>
            <c:spPr>
              <a:solidFill>
                <a:srgbClr val="AEABAB"/>
              </a:solidFill>
            </c:spPr>
          </c:dPt>
          <c:dPt>
            <c:idx val="304"/>
            <c:spPr>
              <a:solidFill>
                <a:srgbClr val="AEABAB"/>
              </a:solidFill>
            </c:spPr>
          </c:dPt>
          <c:dPt>
            <c:idx val="305"/>
            <c:spPr>
              <a:solidFill>
                <a:srgbClr val="AEABAB"/>
              </a:solidFill>
            </c:spPr>
          </c:dPt>
          <c:dPt>
            <c:idx val="306"/>
            <c:spPr>
              <a:solidFill>
                <a:srgbClr val="AEABAB"/>
              </a:solidFill>
            </c:spPr>
          </c:dPt>
          <c:dPt>
            <c:idx val="307"/>
            <c:spPr>
              <a:solidFill>
                <a:srgbClr val="AEABAB"/>
              </a:solidFill>
            </c:spPr>
          </c:dPt>
          <c:dPt>
            <c:idx val="308"/>
            <c:spPr>
              <a:solidFill>
                <a:srgbClr val="AEABAB"/>
              </a:solidFill>
            </c:spPr>
          </c:dPt>
          <c:dPt>
            <c:idx val="309"/>
            <c:spPr>
              <a:solidFill>
                <a:srgbClr val="AEABAB"/>
              </a:solidFill>
            </c:spPr>
          </c:dPt>
          <c:dPt>
            <c:idx val="310"/>
            <c:spPr>
              <a:solidFill>
                <a:srgbClr val="AEABAB"/>
              </a:solidFill>
            </c:spPr>
          </c:dPt>
          <c:dPt>
            <c:idx val="311"/>
            <c:spPr>
              <a:solidFill>
                <a:srgbClr val="AEABAB"/>
              </a:solidFill>
            </c:spPr>
          </c:dPt>
          <c:dPt>
            <c:idx val="312"/>
            <c:spPr>
              <a:solidFill>
                <a:srgbClr val="AEABAB"/>
              </a:solidFill>
            </c:spPr>
          </c:dPt>
          <c:dPt>
            <c:idx val="313"/>
            <c:spPr>
              <a:solidFill>
                <a:srgbClr val="AEABAB"/>
              </a:solidFill>
            </c:spPr>
          </c:dPt>
          <c:dPt>
            <c:idx val="314"/>
            <c:spPr>
              <a:solidFill>
                <a:srgbClr val="AEABAB"/>
              </a:solidFill>
            </c:spPr>
          </c:dPt>
          <c:dPt>
            <c:idx val="315"/>
            <c:spPr>
              <a:solidFill>
                <a:srgbClr val="AEABAB"/>
              </a:solidFill>
            </c:spPr>
          </c:dPt>
          <c:dPt>
            <c:idx val="316"/>
            <c:spPr>
              <a:solidFill>
                <a:srgbClr val="AEABAB"/>
              </a:solidFill>
            </c:spPr>
          </c:dPt>
          <c:dPt>
            <c:idx val="317"/>
            <c:spPr>
              <a:solidFill>
                <a:srgbClr val="AEABAB"/>
              </a:solidFill>
            </c:spPr>
          </c:dPt>
          <c:dPt>
            <c:idx val="318"/>
            <c:spPr>
              <a:solidFill>
                <a:srgbClr val="AEABAB"/>
              </a:solidFill>
            </c:spPr>
          </c:dPt>
          <c:dPt>
            <c:idx val="319"/>
            <c:spPr>
              <a:solidFill>
                <a:srgbClr val="AEABAB"/>
              </a:solidFill>
            </c:spPr>
          </c:dPt>
          <c:dPt>
            <c:idx val="320"/>
            <c:spPr>
              <a:solidFill>
                <a:srgbClr val="AEABAB"/>
              </a:solidFill>
            </c:spPr>
          </c:dPt>
          <c:dPt>
            <c:idx val="321"/>
            <c:spPr>
              <a:solidFill>
                <a:srgbClr val="AEABAB"/>
              </a:solidFill>
            </c:spPr>
          </c:dPt>
          <c:dPt>
            <c:idx val="322"/>
            <c:spPr>
              <a:solidFill>
                <a:srgbClr val="AEABAB"/>
              </a:solidFill>
            </c:spPr>
          </c:dPt>
          <c:dPt>
            <c:idx val="323"/>
            <c:spPr>
              <a:solidFill>
                <a:srgbClr val="AEABAB"/>
              </a:solidFill>
            </c:spPr>
          </c:dPt>
          <c:dPt>
            <c:idx val="324"/>
            <c:spPr>
              <a:solidFill>
                <a:srgbClr val="AEABAB"/>
              </a:solidFill>
            </c:spPr>
          </c:dPt>
          <c:dPt>
            <c:idx val="325"/>
            <c:spPr>
              <a:solidFill>
                <a:srgbClr val="AEABAB"/>
              </a:solidFill>
            </c:spPr>
          </c:dPt>
          <c:dPt>
            <c:idx val="326"/>
            <c:spPr>
              <a:solidFill>
                <a:srgbClr val="AEABAB"/>
              </a:solidFill>
            </c:spPr>
          </c:dPt>
          <c:dPt>
            <c:idx val="327"/>
            <c:spPr>
              <a:solidFill>
                <a:srgbClr val="AEABAB"/>
              </a:solidFill>
            </c:spPr>
          </c:dPt>
          <c:dPt>
            <c:idx val="328"/>
            <c:spPr>
              <a:solidFill>
                <a:srgbClr val="AEABAB"/>
              </a:solidFill>
            </c:spPr>
          </c:dPt>
          <c:dPt>
            <c:idx val="329"/>
            <c:spPr>
              <a:solidFill>
                <a:srgbClr val="AEABAB"/>
              </a:solidFill>
            </c:spPr>
          </c:dPt>
          <c:dPt>
            <c:idx val="330"/>
            <c:spPr>
              <a:solidFill>
                <a:srgbClr val="AEABAB"/>
              </a:solidFill>
            </c:spPr>
          </c:dPt>
          <c:dPt>
            <c:idx val="331"/>
            <c:spPr>
              <a:solidFill>
                <a:srgbClr val="AEABAB"/>
              </a:solidFill>
            </c:spPr>
          </c:dPt>
          <c:dPt>
            <c:idx val="332"/>
            <c:spPr>
              <a:solidFill>
                <a:srgbClr val="AEABAB"/>
              </a:solidFill>
            </c:spPr>
          </c:dPt>
          <c:dPt>
            <c:idx val="333"/>
            <c:spPr>
              <a:solidFill>
                <a:srgbClr val="AEABAB"/>
              </a:solidFill>
            </c:spPr>
          </c:dPt>
          <c:dPt>
            <c:idx val="334"/>
            <c:spPr>
              <a:solidFill>
                <a:srgbClr val="AEABAB"/>
              </a:solidFill>
            </c:spPr>
          </c:dPt>
          <c:dPt>
            <c:idx val="335"/>
            <c:spPr>
              <a:solidFill>
                <a:srgbClr val="AEABAB"/>
              </a:solidFill>
            </c:spPr>
          </c:dPt>
          <c:dPt>
            <c:idx val="336"/>
            <c:spPr>
              <a:solidFill>
                <a:srgbClr val="AEABAB"/>
              </a:solidFill>
            </c:spPr>
          </c:dPt>
          <c:dPt>
            <c:idx val="337"/>
            <c:spPr>
              <a:solidFill>
                <a:srgbClr val="AEABAB"/>
              </a:solidFill>
            </c:spPr>
          </c:dPt>
          <c:dPt>
            <c:idx val="338"/>
            <c:spPr>
              <a:solidFill>
                <a:srgbClr val="AEABAB"/>
              </a:solidFill>
            </c:spPr>
          </c:dPt>
          <c:dPt>
            <c:idx val="339"/>
            <c:spPr>
              <a:solidFill>
                <a:srgbClr val="AEABAB"/>
              </a:solidFill>
            </c:spPr>
          </c:dPt>
          <c:dPt>
            <c:idx val="340"/>
            <c:spPr>
              <a:solidFill>
                <a:srgbClr val="AEABAB"/>
              </a:solidFill>
            </c:spPr>
          </c:dPt>
          <c:cat>
            <c:strRef>
              <c:f>Sheet1!$A$2:$A$342</c:f>
              <c:strCache>
                <c:ptCount val="341"/>
                <c:pt idx="0">
                  <c:v>Private Lab</c:v>
                </c:pt>
                <c:pt idx="1">
                  <c:v>Private Lab</c:v>
                </c:pt>
                <c:pt idx="2">
                  <c:v>Galbani</c:v>
                </c:pt>
                <c:pt idx="3">
                  <c:v>Private Lab</c:v>
                </c:pt>
                <c:pt idx="4">
                  <c:v>Private Lab</c:v>
                </c:pt>
                <c:pt idx="5">
                  <c:v>Salakis</c:v>
                </c:pt>
                <c:pt idx="6">
                  <c:v>Islos</c:v>
                </c:pt>
                <c:pt idx="7">
                  <c:v>Private Lab</c:v>
                </c:pt>
                <c:pt idx="8">
                  <c:v>Private Lab</c:v>
                </c:pt>
                <c:pt idx="9">
                  <c:v>Galbani</c:v>
                </c:pt>
                <c:pt idx="10">
                  <c:v>Salakis</c:v>
                </c:pt>
                <c:pt idx="11">
                  <c:v>Galbani</c:v>
                </c:pt>
                <c:pt idx="12">
                  <c:v>Casa Azzurr</c:v>
                </c:pt>
                <c:pt idx="13">
                  <c:v>Private Lab</c:v>
                </c:pt>
                <c:pt idx="14">
                  <c:v>Casa Azzurr</c:v>
                </c:pt>
                <c:pt idx="15">
                  <c:v>Galbani</c:v>
                </c:pt>
                <c:pt idx="16">
                  <c:v>Boursin</c:v>
                </c:pt>
                <c:pt idx="17">
                  <c:v>All Others</c:v>
                </c:pt>
                <c:pt idx="18">
                  <c:v>Private Lab</c:v>
                </c:pt>
                <c:pt idx="19">
                  <c:v>All Others</c:v>
                </c:pt>
                <c:pt idx="20">
                  <c:v>Casa Azzurr</c:v>
                </c:pt>
                <c:pt idx="21">
                  <c:v>Salakis</c:v>
                </c:pt>
                <c:pt idx="22">
                  <c:v>Private Lab</c:v>
                </c:pt>
                <c:pt idx="23">
                  <c:v>Casa Azzurr</c:v>
                </c:pt>
                <c:pt idx="24">
                  <c:v>Private Lab</c:v>
                </c:pt>
                <c:pt idx="25">
                  <c:v>Casa Azzurr</c:v>
                </c:pt>
                <c:pt idx="26">
                  <c:v>Casa Azzurr</c:v>
                </c:pt>
                <c:pt idx="27">
                  <c:v>Salakis</c:v>
                </c:pt>
                <c:pt idx="28">
                  <c:v>Casa Azzurr</c:v>
                </c:pt>
                <c:pt idx="29">
                  <c:v>Galbani</c:v>
                </c:pt>
                <c:pt idx="30">
                  <c:v>Private Lab</c:v>
                </c:pt>
                <c:pt idx="31">
                  <c:v>All Others</c:v>
                </c:pt>
                <c:pt idx="32">
                  <c:v>Salakis</c:v>
                </c:pt>
                <c:pt idx="33">
                  <c:v>All Others</c:v>
                </c:pt>
                <c:pt idx="34">
                  <c:v>All Others</c:v>
                </c:pt>
                <c:pt idx="35">
                  <c:v>Salakis</c:v>
                </c:pt>
                <c:pt idx="36">
                  <c:v>All Others</c:v>
                </c:pt>
                <c:pt idx="37">
                  <c:v>Galbani</c:v>
                </c:pt>
                <c:pt idx="38">
                  <c:v>All Others</c:v>
                </c:pt>
                <c:pt idx="39">
                  <c:v>Galbani</c:v>
                </c:pt>
                <c:pt idx="40">
                  <c:v>Private Lab</c:v>
                </c:pt>
                <c:pt idx="41">
                  <c:v>Casa Azzurr</c:v>
                </c:pt>
                <c:pt idx="42">
                  <c:v>Galbani</c:v>
                </c:pt>
                <c:pt idx="43">
                  <c:v>Private Lab</c:v>
                </c:pt>
                <c:pt idx="44">
                  <c:v>All Others</c:v>
                </c:pt>
                <c:pt idx="45">
                  <c:v>Casa Azzurr</c:v>
                </c:pt>
                <c:pt idx="46">
                  <c:v>Casa Azzurr</c:v>
                </c:pt>
                <c:pt idx="47">
                  <c:v>Casa Azzurr</c:v>
                </c:pt>
                <c:pt idx="48">
                  <c:v>All Others</c:v>
                </c:pt>
                <c:pt idx="49">
                  <c:v>Galbani</c:v>
                </c:pt>
                <c:pt idx="50">
                  <c:v>Private Lab</c:v>
                </c:pt>
                <c:pt idx="51">
                  <c:v>All Others</c:v>
                </c:pt>
                <c:pt idx="52">
                  <c:v>All Others</c:v>
                </c:pt>
                <c:pt idx="53">
                  <c:v>All Others</c:v>
                </c:pt>
                <c:pt idx="54">
                  <c:v>All Others</c:v>
                </c:pt>
                <c:pt idx="55">
                  <c:v>All Others</c:v>
                </c:pt>
                <c:pt idx="56">
                  <c:v>Private Lab</c:v>
                </c:pt>
                <c:pt idx="57">
                  <c:v>Boursin</c:v>
                </c:pt>
                <c:pt idx="58">
                  <c:v>All Others</c:v>
                </c:pt>
                <c:pt idx="59">
                  <c:v>All Others</c:v>
                </c:pt>
                <c:pt idx="60">
                  <c:v>All Others</c:v>
                </c:pt>
                <c:pt idx="61">
                  <c:v>Galbani</c:v>
                </c:pt>
                <c:pt idx="62">
                  <c:v>All Others</c:v>
                </c:pt>
                <c:pt idx="63">
                  <c:v>Galbani</c:v>
                </c:pt>
                <c:pt idx="64">
                  <c:v>All Others</c:v>
                </c:pt>
                <c:pt idx="65">
                  <c:v>Salakis</c:v>
                </c:pt>
                <c:pt idx="66">
                  <c:v>Casa Azzurr</c:v>
                </c:pt>
                <c:pt idx="67">
                  <c:v>All Others</c:v>
                </c:pt>
                <c:pt idx="68">
                  <c:v>All Others</c:v>
                </c:pt>
                <c:pt idx="69">
                  <c:v>All Others</c:v>
                </c:pt>
                <c:pt idx="70">
                  <c:v>Boursin</c:v>
                </c:pt>
                <c:pt idx="71">
                  <c:v>All Others</c:v>
                </c:pt>
                <c:pt idx="72">
                  <c:v>All Others</c:v>
                </c:pt>
                <c:pt idx="73">
                  <c:v>All Others</c:v>
                </c:pt>
                <c:pt idx="74">
                  <c:v>Galbani</c:v>
                </c:pt>
                <c:pt idx="75">
                  <c:v>All Others</c:v>
                </c:pt>
                <c:pt idx="76">
                  <c:v>All Others</c:v>
                </c:pt>
                <c:pt idx="77">
                  <c:v>Casa Azzurr</c:v>
                </c:pt>
                <c:pt idx="78">
                  <c:v>Private Lab</c:v>
                </c:pt>
                <c:pt idx="79">
                  <c:v>All Others</c:v>
                </c:pt>
                <c:pt idx="80">
                  <c:v>All Others</c:v>
                </c:pt>
                <c:pt idx="81">
                  <c:v>All Others</c:v>
                </c:pt>
                <c:pt idx="82">
                  <c:v>Private Lab</c:v>
                </c:pt>
                <c:pt idx="83">
                  <c:v>All Others</c:v>
                </c:pt>
                <c:pt idx="84">
                  <c:v>Lactalis: A</c:v>
                </c:pt>
                <c:pt idx="85">
                  <c:v>Casa Azzurr</c:v>
                </c:pt>
                <c:pt idx="86">
                  <c:v>All Others</c:v>
                </c:pt>
                <c:pt idx="87">
                  <c:v>All Others</c:v>
                </c:pt>
                <c:pt idx="88">
                  <c:v>Casa Azzurr</c:v>
                </c:pt>
                <c:pt idx="89">
                  <c:v>Galbani</c:v>
                </c:pt>
                <c:pt idx="90">
                  <c:v>Islos</c:v>
                </c:pt>
                <c:pt idx="91">
                  <c:v>All Others</c:v>
                </c:pt>
                <c:pt idx="92">
                  <c:v>All Others</c:v>
                </c:pt>
                <c:pt idx="93">
                  <c:v>All Others</c:v>
                </c:pt>
                <c:pt idx="94">
                  <c:v>All Others</c:v>
                </c:pt>
                <c:pt idx="95">
                  <c:v>Private Lab</c:v>
                </c:pt>
                <c:pt idx="96">
                  <c:v>All Others</c:v>
                </c:pt>
                <c:pt idx="97">
                  <c:v>Private Lab</c:v>
                </c:pt>
                <c:pt idx="98">
                  <c:v>All Others</c:v>
                </c:pt>
                <c:pt idx="99">
                  <c:v>All Others</c:v>
                </c:pt>
                <c:pt idx="100">
                  <c:v>Private Lab</c:v>
                </c:pt>
                <c:pt idx="101">
                  <c:v>Islos</c:v>
                </c:pt>
                <c:pt idx="102">
                  <c:v>Salakis</c:v>
                </c:pt>
                <c:pt idx="103">
                  <c:v>Private Lab</c:v>
                </c:pt>
                <c:pt idx="104">
                  <c:v>Boursin</c:v>
                </c:pt>
                <c:pt idx="105">
                  <c:v>Lactalis: A</c:v>
                </c:pt>
                <c:pt idx="106">
                  <c:v>Private Lab</c:v>
                </c:pt>
                <c:pt idx="107">
                  <c:v>Private Lab</c:v>
                </c:pt>
                <c:pt idx="108">
                  <c:v>All Others</c:v>
                </c:pt>
                <c:pt idx="109">
                  <c:v>All Others</c:v>
                </c:pt>
                <c:pt idx="110">
                  <c:v>Private Lab</c:v>
                </c:pt>
                <c:pt idx="111">
                  <c:v>All Others</c:v>
                </c:pt>
                <c:pt idx="112">
                  <c:v>All Others</c:v>
                </c:pt>
                <c:pt idx="113">
                  <c:v>All Others</c:v>
                </c:pt>
                <c:pt idx="114">
                  <c:v>All Others</c:v>
                </c:pt>
                <c:pt idx="115">
                  <c:v>All Others</c:v>
                </c:pt>
                <c:pt idx="116">
                  <c:v>Boursin</c:v>
                </c:pt>
                <c:pt idx="117">
                  <c:v>All Others</c:v>
                </c:pt>
                <c:pt idx="118">
                  <c:v>All Others</c:v>
                </c:pt>
                <c:pt idx="119">
                  <c:v>All Others</c:v>
                </c:pt>
                <c:pt idx="120">
                  <c:v>Boursin</c:v>
                </c:pt>
                <c:pt idx="121">
                  <c:v>Salakis</c:v>
                </c:pt>
                <c:pt idx="122">
                  <c:v>All Others</c:v>
                </c:pt>
                <c:pt idx="123">
                  <c:v>All Others</c:v>
                </c:pt>
                <c:pt idx="124">
                  <c:v>All Others</c:v>
                </c:pt>
                <c:pt idx="125">
                  <c:v>All Others</c:v>
                </c:pt>
                <c:pt idx="126">
                  <c:v>All Others</c:v>
                </c:pt>
                <c:pt idx="127">
                  <c:v>All Others</c:v>
                </c:pt>
                <c:pt idx="128">
                  <c:v>All Others</c:v>
                </c:pt>
                <c:pt idx="129">
                  <c:v>Private Lab</c:v>
                </c:pt>
                <c:pt idx="130">
                  <c:v>Lactalis: A</c:v>
                </c:pt>
                <c:pt idx="131">
                  <c:v>All Others</c:v>
                </c:pt>
                <c:pt idx="132">
                  <c:v>All Others</c:v>
                </c:pt>
                <c:pt idx="133">
                  <c:v>All Others</c:v>
                </c:pt>
                <c:pt idx="134">
                  <c:v>All Others</c:v>
                </c:pt>
                <c:pt idx="135">
                  <c:v>All Others</c:v>
                </c:pt>
                <c:pt idx="136">
                  <c:v>All Others</c:v>
                </c:pt>
                <c:pt idx="137">
                  <c:v>All Others</c:v>
                </c:pt>
                <c:pt idx="138">
                  <c:v>All Others</c:v>
                </c:pt>
                <c:pt idx="139">
                  <c:v>All Others</c:v>
                </c:pt>
                <c:pt idx="140">
                  <c:v>All Others</c:v>
                </c:pt>
                <c:pt idx="141">
                  <c:v>All Others</c:v>
                </c:pt>
                <c:pt idx="142">
                  <c:v>All Others</c:v>
                </c:pt>
                <c:pt idx="143">
                  <c:v>All Others</c:v>
                </c:pt>
                <c:pt idx="144">
                  <c:v>Casa Azzurr</c:v>
                </c:pt>
                <c:pt idx="145">
                  <c:v>All Others</c:v>
                </c:pt>
                <c:pt idx="146">
                  <c:v>All Others</c:v>
                </c:pt>
                <c:pt idx="147">
                  <c:v>All Others</c:v>
                </c:pt>
                <c:pt idx="148">
                  <c:v>All Others</c:v>
                </c:pt>
                <c:pt idx="149">
                  <c:v>All Others</c:v>
                </c:pt>
                <c:pt idx="150">
                  <c:v>All Others</c:v>
                </c:pt>
                <c:pt idx="151">
                  <c:v>Salakis</c:v>
                </c:pt>
                <c:pt idx="152">
                  <c:v>All Others</c:v>
                </c:pt>
                <c:pt idx="153">
                  <c:v>Salakis</c:v>
                </c:pt>
                <c:pt idx="154">
                  <c:v>All Others</c:v>
                </c:pt>
                <c:pt idx="155">
                  <c:v>All Others</c:v>
                </c:pt>
                <c:pt idx="156">
                  <c:v>All Others</c:v>
                </c:pt>
                <c:pt idx="157">
                  <c:v>All Others</c:v>
                </c:pt>
                <c:pt idx="158">
                  <c:v>Casa Azzurr</c:v>
                </c:pt>
                <c:pt idx="159">
                  <c:v>All Others</c:v>
                </c:pt>
                <c:pt idx="160">
                  <c:v>All Others</c:v>
                </c:pt>
                <c:pt idx="161">
                  <c:v>All Others</c:v>
                </c:pt>
                <c:pt idx="162">
                  <c:v>All Others</c:v>
                </c:pt>
                <c:pt idx="163">
                  <c:v>All Others</c:v>
                </c:pt>
                <c:pt idx="164">
                  <c:v>Casa Azzurr</c:v>
                </c:pt>
                <c:pt idx="165">
                  <c:v>Private Lab</c:v>
                </c:pt>
                <c:pt idx="166">
                  <c:v>All Others</c:v>
                </c:pt>
                <c:pt idx="167">
                  <c:v>All Others</c:v>
                </c:pt>
                <c:pt idx="168">
                  <c:v>All Others</c:v>
                </c:pt>
                <c:pt idx="169">
                  <c:v>Private Lab</c:v>
                </c:pt>
                <c:pt idx="170">
                  <c:v>All Others</c:v>
                </c:pt>
                <c:pt idx="171">
                  <c:v>All Others</c:v>
                </c:pt>
                <c:pt idx="172">
                  <c:v>All Others</c:v>
                </c:pt>
                <c:pt idx="173">
                  <c:v>All Others</c:v>
                </c:pt>
                <c:pt idx="174">
                  <c:v>All Others</c:v>
                </c:pt>
                <c:pt idx="175">
                  <c:v>All Others</c:v>
                </c:pt>
                <c:pt idx="176">
                  <c:v>All Others</c:v>
                </c:pt>
                <c:pt idx="177">
                  <c:v>All Others</c:v>
                </c:pt>
                <c:pt idx="178">
                  <c:v>All Others</c:v>
                </c:pt>
                <c:pt idx="179">
                  <c:v>All Others</c:v>
                </c:pt>
                <c:pt idx="180">
                  <c:v>Lactalis: A</c:v>
                </c:pt>
                <c:pt idx="181">
                  <c:v>All Others</c:v>
                </c:pt>
                <c:pt idx="182">
                  <c:v>Galbani</c:v>
                </c:pt>
                <c:pt idx="183">
                  <c:v>All Others</c:v>
                </c:pt>
                <c:pt idx="184">
                  <c:v>All Others</c:v>
                </c:pt>
                <c:pt idx="185">
                  <c:v>All Others</c:v>
                </c:pt>
                <c:pt idx="186">
                  <c:v>All Others</c:v>
                </c:pt>
                <c:pt idx="187">
                  <c:v>All Others</c:v>
                </c:pt>
                <c:pt idx="188">
                  <c:v>All Others</c:v>
                </c:pt>
                <c:pt idx="189">
                  <c:v>All Others</c:v>
                </c:pt>
                <c:pt idx="190">
                  <c:v>Savencia: A</c:v>
                </c:pt>
                <c:pt idx="191">
                  <c:v>All Others</c:v>
                </c:pt>
                <c:pt idx="192">
                  <c:v>All Others</c:v>
                </c:pt>
                <c:pt idx="193">
                  <c:v>All Others</c:v>
                </c:pt>
                <c:pt idx="194">
                  <c:v>All Others</c:v>
                </c:pt>
                <c:pt idx="195">
                  <c:v>Salakis</c:v>
                </c:pt>
                <c:pt idx="196">
                  <c:v>All Others</c:v>
                </c:pt>
                <c:pt idx="197">
                  <c:v>Private Lab</c:v>
                </c:pt>
                <c:pt idx="198">
                  <c:v>All Others</c:v>
                </c:pt>
                <c:pt idx="199">
                  <c:v>Savencia: A</c:v>
                </c:pt>
                <c:pt idx="200">
                  <c:v>All Others</c:v>
                </c:pt>
                <c:pt idx="201">
                  <c:v>All Others</c:v>
                </c:pt>
                <c:pt idx="202">
                  <c:v>Islos</c:v>
                </c:pt>
                <c:pt idx="203">
                  <c:v>All Others</c:v>
                </c:pt>
                <c:pt idx="204">
                  <c:v>All Others</c:v>
                </c:pt>
                <c:pt idx="205">
                  <c:v>All Others</c:v>
                </c:pt>
                <c:pt idx="206">
                  <c:v>All Others</c:v>
                </c:pt>
                <c:pt idx="207">
                  <c:v>All Others</c:v>
                </c:pt>
                <c:pt idx="208">
                  <c:v>All Others</c:v>
                </c:pt>
                <c:pt idx="209">
                  <c:v>All Others</c:v>
                </c:pt>
                <c:pt idx="210">
                  <c:v>All Others</c:v>
                </c:pt>
                <c:pt idx="211">
                  <c:v>All Others</c:v>
                </c:pt>
                <c:pt idx="212">
                  <c:v>All Others</c:v>
                </c:pt>
                <c:pt idx="213">
                  <c:v>All Others</c:v>
                </c:pt>
                <c:pt idx="214">
                  <c:v>All Others</c:v>
                </c:pt>
                <c:pt idx="215">
                  <c:v>All Others</c:v>
                </c:pt>
                <c:pt idx="216">
                  <c:v>All Others</c:v>
                </c:pt>
                <c:pt idx="217">
                  <c:v>All Others</c:v>
                </c:pt>
                <c:pt idx="218">
                  <c:v>All Others</c:v>
                </c:pt>
                <c:pt idx="219">
                  <c:v>All Others</c:v>
                </c:pt>
                <c:pt idx="220">
                  <c:v>All Others</c:v>
                </c:pt>
                <c:pt idx="221">
                  <c:v>All Others</c:v>
                </c:pt>
                <c:pt idx="222">
                  <c:v>All Others</c:v>
                </c:pt>
                <c:pt idx="223">
                  <c:v>All Others</c:v>
                </c:pt>
                <c:pt idx="224">
                  <c:v>All Others</c:v>
                </c:pt>
                <c:pt idx="225">
                  <c:v>All Others</c:v>
                </c:pt>
                <c:pt idx="226">
                  <c:v>All Others</c:v>
                </c:pt>
                <c:pt idx="227">
                  <c:v>All Others</c:v>
                </c:pt>
                <c:pt idx="228">
                  <c:v>All Others</c:v>
                </c:pt>
                <c:pt idx="229">
                  <c:v>All Others</c:v>
                </c:pt>
                <c:pt idx="230">
                  <c:v>All Others</c:v>
                </c:pt>
                <c:pt idx="231">
                  <c:v>All Others</c:v>
                </c:pt>
                <c:pt idx="232">
                  <c:v>All Others</c:v>
                </c:pt>
                <c:pt idx="233">
                  <c:v>All Others</c:v>
                </c:pt>
                <c:pt idx="234">
                  <c:v>All Others</c:v>
                </c:pt>
                <c:pt idx="235">
                  <c:v>All Others</c:v>
                </c:pt>
                <c:pt idx="236">
                  <c:v>All Others</c:v>
                </c:pt>
                <c:pt idx="237">
                  <c:v>All Others</c:v>
                </c:pt>
                <c:pt idx="238">
                  <c:v>All Others</c:v>
                </c:pt>
                <c:pt idx="239">
                  <c:v>All Others</c:v>
                </c:pt>
                <c:pt idx="240">
                  <c:v>All Others</c:v>
                </c:pt>
                <c:pt idx="241">
                  <c:v>All Others</c:v>
                </c:pt>
                <c:pt idx="242">
                  <c:v>All Others</c:v>
                </c:pt>
                <c:pt idx="243">
                  <c:v>All Others</c:v>
                </c:pt>
                <c:pt idx="244">
                  <c:v>All Others</c:v>
                </c:pt>
                <c:pt idx="245">
                  <c:v>All Others</c:v>
                </c:pt>
                <c:pt idx="246">
                  <c:v>All Others</c:v>
                </c:pt>
                <c:pt idx="247">
                  <c:v>All Others</c:v>
                </c:pt>
                <c:pt idx="248">
                  <c:v>All Others</c:v>
                </c:pt>
                <c:pt idx="249">
                  <c:v>All Others</c:v>
                </c:pt>
                <c:pt idx="250">
                  <c:v>All Others</c:v>
                </c:pt>
                <c:pt idx="251">
                  <c:v>All Others</c:v>
                </c:pt>
                <c:pt idx="252">
                  <c:v>All Others</c:v>
                </c:pt>
                <c:pt idx="253">
                  <c:v>All Others</c:v>
                </c:pt>
                <c:pt idx="254">
                  <c:v>All Others</c:v>
                </c:pt>
                <c:pt idx="255">
                  <c:v>All Others</c:v>
                </c:pt>
                <c:pt idx="256">
                  <c:v>All Others</c:v>
                </c:pt>
                <c:pt idx="257">
                  <c:v>All Others</c:v>
                </c:pt>
                <c:pt idx="258">
                  <c:v>All Others</c:v>
                </c:pt>
                <c:pt idx="259">
                  <c:v>All Others</c:v>
                </c:pt>
                <c:pt idx="260">
                  <c:v>All Others</c:v>
                </c:pt>
                <c:pt idx="261">
                  <c:v>All Others</c:v>
                </c:pt>
                <c:pt idx="262">
                  <c:v>All Others</c:v>
                </c:pt>
                <c:pt idx="263">
                  <c:v>All Others</c:v>
                </c:pt>
                <c:pt idx="264">
                  <c:v>All Others</c:v>
                </c:pt>
                <c:pt idx="265">
                  <c:v>All Others</c:v>
                </c:pt>
                <c:pt idx="266">
                  <c:v>All Others</c:v>
                </c:pt>
                <c:pt idx="267">
                  <c:v>All Others</c:v>
                </c:pt>
                <c:pt idx="268">
                  <c:v>All Others</c:v>
                </c:pt>
                <c:pt idx="269">
                  <c:v>Private Lab</c:v>
                </c:pt>
                <c:pt idx="270">
                  <c:v>All Others</c:v>
                </c:pt>
                <c:pt idx="271">
                  <c:v>All Others</c:v>
                </c:pt>
                <c:pt idx="272">
                  <c:v>All Others</c:v>
                </c:pt>
                <c:pt idx="273">
                  <c:v>All Others</c:v>
                </c:pt>
                <c:pt idx="274">
                  <c:v>All Others</c:v>
                </c:pt>
                <c:pt idx="275">
                  <c:v>All Others</c:v>
                </c:pt>
                <c:pt idx="276">
                  <c:v>All Others</c:v>
                </c:pt>
                <c:pt idx="277">
                  <c:v>All Others</c:v>
                </c:pt>
                <c:pt idx="278">
                  <c:v>All Others</c:v>
                </c:pt>
                <c:pt idx="279">
                  <c:v>All Others</c:v>
                </c:pt>
                <c:pt idx="280">
                  <c:v>All Others</c:v>
                </c:pt>
                <c:pt idx="281">
                  <c:v>All Others</c:v>
                </c:pt>
                <c:pt idx="282">
                  <c:v>All Others</c:v>
                </c:pt>
                <c:pt idx="283">
                  <c:v>All Others</c:v>
                </c:pt>
                <c:pt idx="284">
                  <c:v>All Others</c:v>
                </c:pt>
                <c:pt idx="285">
                  <c:v>All Others</c:v>
                </c:pt>
                <c:pt idx="286">
                  <c:v>All Others</c:v>
                </c:pt>
                <c:pt idx="287">
                  <c:v>All Others</c:v>
                </c:pt>
                <c:pt idx="288">
                  <c:v>All Others</c:v>
                </c:pt>
                <c:pt idx="289">
                  <c:v>All Others</c:v>
                </c:pt>
                <c:pt idx="290">
                  <c:v>All Others</c:v>
                </c:pt>
                <c:pt idx="291">
                  <c:v>All Others</c:v>
                </c:pt>
                <c:pt idx="292">
                  <c:v>All Others</c:v>
                </c:pt>
                <c:pt idx="293">
                  <c:v>All Others</c:v>
                </c:pt>
                <c:pt idx="294">
                  <c:v>All Others</c:v>
                </c:pt>
                <c:pt idx="295">
                  <c:v>All Others</c:v>
                </c:pt>
                <c:pt idx="296">
                  <c:v>All Others</c:v>
                </c:pt>
                <c:pt idx="297">
                  <c:v>All Others</c:v>
                </c:pt>
                <c:pt idx="298">
                  <c:v>All Others</c:v>
                </c:pt>
                <c:pt idx="299">
                  <c:v>All Others</c:v>
                </c:pt>
                <c:pt idx="300">
                  <c:v>All Others</c:v>
                </c:pt>
                <c:pt idx="301">
                  <c:v>All Others</c:v>
                </c:pt>
                <c:pt idx="302">
                  <c:v>All Others</c:v>
                </c:pt>
                <c:pt idx="303">
                  <c:v>All Others</c:v>
                </c:pt>
                <c:pt idx="304">
                  <c:v>All Others</c:v>
                </c:pt>
                <c:pt idx="305">
                  <c:v>All Others</c:v>
                </c:pt>
                <c:pt idx="306">
                  <c:v>All Others</c:v>
                </c:pt>
                <c:pt idx="307">
                  <c:v>All Others</c:v>
                </c:pt>
                <c:pt idx="308">
                  <c:v>All Others</c:v>
                </c:pt>
                <c:pt idx="309">
                  <c:v>All Others</c:v>
                </c:pt>
                <c:pt idx="310">
                  <c:v>All Others</c:v>
                </c:pt>
                <c:pt idx="311">
                  <c:v>Galbani</c:v>
                </c:pt>
                <c:pt idx="312">
                  <c:v>All Others</c:v>
                </c:pt>
                <c:pt idx="313">
                  <c:v>All Others</c:v>
                </c:pt>
                <c:pt idx="314">
                  <c:v>All Others</c:v>
                </c:pt>
                <c:pt idx="315">
                  <c:v>All Others</c:v>
                </c:pt>
                <c:pt idx="316">
                  <c:v>All Others</c:v>
                </c:pt>
                <c:pt idx="317">
                  <c:v>All Others</c:v>
                </c:pt>
                <c:pt idx="318">
                  <c:v>All Others</c:v>
                </c:pt>
                <c:pt idx="319">
                  <c:v>All Others</c:v>
                </c:pt>
                <c:pt idx="320">
                  <c:v>All Others</c:v>
                </c:pt>
                <c:pt idx="321">
                  <c:v>Salakis</c:v>
                </c:pt>
                <c:pt idx="322">
                  <c:v>Societe</c:v>
                </c:pt>
                <c:pt idx="323">
                  <c:v>All Others</c:v>
                </c:pt>
                <c:pt idx="324">
                  <c:v>All Others</c:v>
                </c:pt>
                <c:pt idx="325">
                  <c:v>All Others</c:v>
                </c:pt>
                <c:pt idx="326">
                  <c:v>All Others</c:v>
                </c:pt>
                <c:pt idx="327">
                  <c:v>All Others</c:v>
                </c:pt>
                <c:pt idx="328">
                  <c:v>All Others</c:v>
                </c:pt>
                <c:pt idx="329">
                  <c:v>All Others</c:v>
                </c:pt>
                <c:pt idx="330">
                  <c:v>All Others</c:v>
                </c:pt>
                <c:pt idx="331">
                  <c:v>All Others</c:v>
                </c:pt>
                <c:pt idx="332">
                  <c:v>All Others</c:v>
                </c:pt>
                <c:pt idx="333">
                  <c:v>All Others</c:v>
                </c:pt>
                <c:pt idx="334">
                  <c:v>All Others</c:v>
                </c:pt>
                <c:pt idx="335">
                  <c:v>All Others</c:v>
                </c:pt>
                <c:pt idx="336">
                  <c:v>All Others</c:v>
                </c:pt>
                <c:pt idx="337">
                  <c:v>All Others</c:v>
                </c:pt>
                <c:pt idx="338">
                  <c:v>All Others</c:v>
                </c:pt>
                <c:pt idx="339">
                  <c:v>All Others</c:v>
                </c:pt>
                <c:pt idx="340">
                  <c:v>All Others</c:v>
                </c:pt>
              </c:strCache>
            </c:strRef>
          </c:cat>
          <c:val>
            <c:numRef>
              <c:f>Sheet1!$C$2:$C$342</c:f>
              <c:numCache>
                <c:formatCode>General</c:formatCode>
                <c:ptCount val="341"/>
                <c:pt idx="0">
                  <c:v>0.27532492288520405</c:v>
                </c:pt>
                <c:pt idx="1">
                  <c:v>0.32522544566331557</c:v>
                </c:pt>
                <c:pt idx="2">
                  <c:v>0.3631387392843541</c:v>
                </c:pt>
                <c:pt idx="3">
                  <c:v>0.3935224271666653</c:v>
                </c:pt>
                <c:pt idx="4">
                  <c:v>0.42317635692583777</c:v>
                </c:pt>
                <c:pt idx="5">
                  <c:v>0.450127685331855</c:v>
                </c:pt>
                <c:pt idx="6">
                  <c:v>0.4940168445789474</c:v>
                </c:pt>
                <c:pt idx="7">
                  <c:v>0.5106281709889717</c:v>
                </c:pt>
                <c:pt idx="8">
                  <c:v>0.5423241839665</c:v>
                </c:pt>
                <c:pt idx="9">
                  <c:v>0.571495654712584</c:v>
                </c:pt>
                <c:pt idx="10">
                  <c:v>0.5854371446545011</c:v>
                </c:pt>
                <c:pt idx="11">
                  <c:v>0.5985632853963732</c:v>
                </c:pt>
                <c:pt idx="12">
                  <c:v>0.6115876668708542</c:v>
                </c:pt>
                <c:pt idx="13">
                  <c:v>0.6350949669029199</c:v>
                </c:pt>
                <c:pt idx="14">
                  <c:v>0.6457327949106425</c:v>
                </c:pt>
                <c:pt idx="15">
                  <c:v>0.6561750473860192</c:v>
                </c:pt>
                <c:pt idx="16">
                  <c:v>0.6665942965082886</c:v>
                </c:pt>
                <c:pt idx="17">
                  <c:v>0.6767961216158539</c:v>
                </c:pt>
                <c:pt idx="18">
                  <c:v>0.686485732805153</c:v>
                </c:pt>
                <c:pt idx="19">
                  <c:v>0.695935528028802</c:v>
                </c:pt>
                <c:pt idx="20">
                  <c:v>0.7051252055996537</c:v>
                </c:pt>
                <c:pt idx="21">
                  <c:v>0.7293351582590457</c:v>
                </c:pt>
                <c:pt idx="22">
                  <c:v>0.7369639417893723</c:v>
                </c:pt>
                <c:pt idx="23">
                  <c:v>0.7445224663277576</c:v>
                </c:pt>
                <c:pt idx="24">
                  <c:v>0.7518930500223225</c:v>
                </c:pt>
                <c:pt idx="25">
                  <c:v>0.7590276951905842</c:v>
                </c:pt>
                <c:pt idx="26">
                  <c:v>0.7654112197396822</c:v>
                </c:pt>
                <c:pt idx="27">
                  <c:v>0.777509358293926</c:v>
                </c:pt>
                <c:pt idx="28">
                  <c:v>0.7834424884766109</c:v>
                </c:pt>
                <c:pt idx="29">
                  <c:v>0.7887511889289848</c:v>
                </c:pt>
                <c:pt idx="30">
                  <c:v>0.7939584384278779</c:v>
                </c:pt>
                <c:pt idx="31">
                  <c:v>0.798806564929138</c:v>
                </c:pt>
                <c:pt idx="32">
                  <c:v>0.8081131405029445</c:v>
                </c:pt>
                <c:pt idx="33">
                  <c:v>0.8126899768914021</c:v>
                </c:pt>
                <c:pt idx="34">
                  <c:v>0.8171485513797764</c:v>
                </c:pt>
                <c:pt idx="35">
                  <c:v>0.8214480672443717</c:v>
                </c:pt>
                <c:pt idx="36">
                  <c:v>0.8257121635888943</c:v>
                </c:pt>
                <c:pt idx="37">
                  <c:v>0.829911352016801</c:v>
                </c:pt>
                <c:pt idx="38">
                  <c:v>0.8340231621922533</c:v>
                </c:pt>
                <c:pt idx="39">
                  <c:v>0.8380818117336395</c:v>
                </c:pt>
                <c:pt idx="40">
                  <c:v>0.8420813642917707</c:v>
                </c:pt>
                <c:pt idx="41">
                  <c:v>0.8458324210638267</c:v>
                </c:pt>
                <c:pt idx="42">
                  <c:v>0.8494599223427285</c:v>
                </c:pt>
                <c:pt idx="43">
                  <c:v>0.8530108468073568</c:v>
                </c:pt>
                <c:pt idx="44">
                  <c:v>0.8565074087362348</c:v>
                </c:pt>
                <c:pt idx="45">
                  <c:v>0.8598974769502171</c:v>
                </c:pt>
                <c:pt idx="46">
                  <c:v>0.862968988961244</c:v>
                </c:pt>
                <c:pt idx="47">
                  <c:v>0.865877272272213</c:v>
                </c:pt>
                <c:pt idx="48">
                  <c:v>0.8686475041105823</c:v>
                </c:pt>
                <c:pt idx="49">
                  <c:v>0.871278655021431</c:v>
                </c:pt>
                <c:pt idx="50">
                  <c:v>0.8738123630596334</c:v>
                </c:pt>
                <c:pt idx="51">
                  <c:v>0.8763272744006241</c:v>
                </c:pt>
                <c:pt idx="52">
                  <c:v>0.8788093476973337</c:v>
                </c:pt>
                <c:pt idx="53">
                  <c:v>0.881188292603864</c:v>
                </c:pt>
                <c:pt idx="54">
                  <c:v>0.8835462303592152</c:v>
                </c:pt>
                <c:pt idx="55">
                  <c:v>0.8859006251174272</c:v>
                </c:pt>
                <c:pt idx="56">
                  <c:v>0.8882549728447038</c:v>
                </c:pt>
                <c:pt idx="57">
                  <c:v>0.8905739533085026</c:v>
                </c:pt>
                <c:pt idx="58">
                  <c:v>0.8927375331101707</c:v>
                </c:pt>
                <c:pt idx="59">
                  <c:v>0.8948646482598666</c:v>
                </c:pt>
                <c:pt idx="60">
                  <c:v>0.8969541020815653</c:v>
                </c:pt>
                <c:pt idx="61">
                  <c:v>0.8990249525554538</c:v>
                </c:pt>
                <c:pt idx="62">
                  <c:v>0.9010701868464864</c:v>
                </c:pt>
                <c:pt idx="63">
                  <c:v>0.9031089517710614</c:v>
                </c:pt>
                <c:pt idx="64">
                  <c:v>0.9050521759630472</c:v>
                </c:pt>
                <c:pt idx="65">
                  <c:v>0.9069264057726901</c:v>
                </c:pt>
                <c:pt idx="66">
                  <c:v>0.9087857215501277</c:v>
                </c:pt>
                <c:pt idx="67">
                  <c:v>0.9106286705620198</c:v>
                </c:pt>
                <c:pt idx="68">
                  <c:v>0.9124687663638263</c:v>
                </c:pt>
                <c:pt idx="69">
                  <c:v>0.9142719794609009</c:v>
                </c:pt>
                <c:pt idx="70">
                  <c:v>0.9160390884765086</c:v>
                </c:pt>
                <c:pt idx="71">
                  <c:v>0.9178041594849123</c:v>
                </c:pt>
                <c:pt idx="72">
                  <c:v>0.9194990237579699</c:v>
                </c:pt>
                <c:pt idx="73">
                  <c:v>0.9211245174012007</c:v>
                </c:pt>
                <c:pt idx="74">
                  <c:v>0.9227256542455147</c:v>
                </c:pt>
                <c:pt idx="75">
                  <c:v>0.9243232062874134</c:v>
                </c:pt>
                <c:pt idx="76">
                  <c:v>0.9259125488182419</c:v>
                </c:pt>
                <c:pt idx="77">
                  <c:v>0.927377630391884</c:v>
                </c:pt>
                <c:pt idx="78">
                  <c:v>0.928819844479566</c:v>
                </c:pt>
                <c:pt idx="79">
                  <c:v>0.9302448975014588</c:v>
                </c:pt>
                <c:pt idx="80">
                  <c:v>0.931631285868731</c:v>
                </c:pt>
                <c:pt idx="81">
                  <c:v>0.9329830699188122</c:v>
                </c:pt>
                <c:pt idx="82">
                  <c:v>0.934291904273485</c:v>
                </c:pt>
                <c:pt idx="83">
                  <c:v>0.9355967932552373</c:v>
                </c:pt>
                <c:pt idx="84">
                  <c:v>0.9368644912183473</c:v>
                </c:pt>
                <c:pt idx="85">
                  <c:v>0.938115373009195</c:v>
                </c:pt>
                <c:pt idx="86">
                  <c:v>0.9393587193990476</c:v>
                </c:pt>
                <c:pt idx="87">
                  <c:v>0.9405744795324139</c:v>
                </c:pt>
                <c:pt idx="88">
                  <c:v>0.9417824691101078</c:v>
                </c:pt>
                <c:pt idx="89">
                  <c:v>0.9441684059490455</c:v>
                </c:pt>
                <c:pt idx="90">
                  <c:v>0.9453163004425204</c:v>
                </c:pt>
                <c:pt idx="91">
                  <c:v>0.9464494638018723</c:v>
                </c:pt>
                <c:pt idx="92">
                  <c:v>0.9486921444113511</c:v>
                </c:pt>
                <c:pt idx="93">
                  <c:v>0.9498068089360826</c:v>
                </c:pt>
                <c:pt idx="94">
                  <c:v>0.9509100188151961</c:v>
                </c:pt>
                <c:pt idx="95">
                  <c:v>0.9520117759609693</c:v>
                </c:pt>
                <c:pt idx="96">
                  <c:v>0.9531122371431872</c:v>
                </c:pt>
                <c:pt idx="97">
                  <c:v>0.9541777752429845</c:v>
                </c:pt>
                <c:pt idx="98">
                  <c:v>0.955241275335578</c:v>
                </c:pt>
                <c:pt idx="99">
                  <c:v>0.9562323164335819</c:v>
                </c:pt>
                <c:pt idx="100">
                  <c:v>0.9571816097378618</c:v>
                </c:pt>
                <c:pt idx="101">
                  <c:v>0.9581059975489776</c:v>
                </c:pt>
                <c:pt idx="102">
                  <c:v>0.9590156437746515</c:v>
                </c:pt>
                <c:pt idx="103">
                  <c:v>0.9599208063844767</c:v>
                </c:pt>
                <c:pt idx="104">
                  <c:v>0.9608163851347838</c:v>
                </c:pt>
                <c:pt idx="105">
                  <c:v>0.9616938099439973</c:v>
                </c:pt>
                <c:pt idx="106">
                  <c:v>0.9625423577588288</c:v>
                </c:pt>
                <c:pt idx="107">
                  <c:v>0.9633876186338364</c:v>
                </c:pt>
                <c:pt idx="108">
                  <c:v>0.9642256419704403</c:v>
                </c:pt>
                <c:pt idx="109">
                  <c:v>0.9650543688587984</c:v>
                </c:pt>
                <c:pt idx="110">
                  <c:v>0.9658627940600095</c:v>
                </c:pt>
                <c:pt idx="111">
                  <c:v>0.9666526368160483</c:v>
                </c:pt>
                <c:pt idx="112">
                  <c:v>0.9674390828934137</c:v>
                </c:pt>
                <c:pt idx="113">
                  <c:v>0.9689009350094865</c:v>
                </c:pt>
                <c:pt idx="114">
                  <c:v>0.9696190451376058</c:v>
                </c:pt>
                <c:pt idx="115">
                  <c:v>0.9703371186861086</c:v>
                </c:pt>
                <c:pt idx="116">
                  <c:v>0.9710129061979592</c:v>
                </c:pt>
                <c:pt idx="117">
                  <c:v>0.9716642951056169</c:v>
                </c:pt>
                <c:pt idx="118">
                  <c:v>0.9723085562137204</c:v>
                </c:pt>
                <c:pt idx="119">
                  <c:v>0.972941639636159</c:v>
                </c:pt>
                <c:pt idx="120">
                  <c:v>0.9735704536947883</c:v>
                </c:pt>
                <c:pt idx="121">
                  <c:v>0.9741985152584501</c:v>
                </c:pt>
                <c:pt idx="122">
                  <c:v>0.9748172281172712</c:v>
                </c:pt>
                <c:pt idx="123">
                  <c:v>0.9754263414395957</c:v>
                </c:pt>
                <c:pt idx="124">
                  <c:v>0.9760330770868489</c:v>
                </c:pt>
                <c:pt idx="125">
                  <c:v>0.9766113537924799</c:v>
                </c:pt>
                <c:pt idx="126">
                  <c:v>0.9771023619845058</c:v>
                </c:pt>
                <c:pt idx="127">
                  <c:v>0.9775861012841711</c:v>
                </c:pt>
                <c:pt idx="128">
                  <c:v>0.9780664543564821</c:v>
                </c:pt>
                <c:pt idx="129">
                  <c:v>0.9785463998273524</c:v>
                </c:pt>
                <c:pt idx="130">
                  <c:v>0.9790186479017831</c:v>
                </c:pt>
                <c:pt idx="131">
                  <c:v>0.9794806380066206</c:v>
                </c:pt>
                <c:pt idx="132">
                  <c:v>0.9799285449591129</c:v>
                </c:pt>
                <c:pt idx="133">
                  <c:v>0.9803617364544607</c:v>
                </c:pt>
                <c:pt idx="134">
                  <c:v>0.9807791360068077</c:v>
                </c:pt>
                <c:pt idx="135">
                  <c:v>0.9811961958912874</c:v>
                </c:pt>
                <c:pt idx="136">
                  <c:v>0.9816118291707243</c:v>
                </c:pt>
                <c:pt idx="137">
                  <c:v>0.9820236059134523</c:v>
                </c:pt>
                <c:pt idx="138">
                  <c:v>0.9824140410627932</c:v>
                </c:pt>
                <c:pt idx="139">
                  <c:v>0.9827954305955443</c:v>
                </c:pt>
                <c:pt idx="140">
                  <c:v>0.9831406637902336</c:v>
                </c:pt>
                <c:pt idx="141">
                  <c:v>0.9834825421115255</c:v>
                </c:pt>
                <c:pt idx="142">
                  <c:v>0.9838105201785547</c:v>
                </c:pt>
                <c:pt idx="143">
                  <c:v>0.9841328022767318</c:v>
                </c:pt>
                <c:pt idx="144">
                  <c:v>0.9844498116844762</c:v>
                </c:pt>
                <c:pt idx="145">
                  <c:v>0.9847601479250425</c:v>
                </c:pt>
                <c:pt idx="146">
                  <c:v>0.9850697996042147</c:v>
                </c:pt>
                <c:pt idx="147">
                  <c:v>0.9853757253881653</c:v>
                </c:pt>
                <c:pt idx="148">
                  <c:v>0.9856774340649016</c:v>
                </c:pt>
                <c:pt idx="149">
                  <c:v>0.9859686966483028</c:v>
                </c:pt>
                <c:pt idx="150">
                  <c:v>0.9862566252609446</c:v>
                </c:pt>
                <c:pt idx="151">
                  <c:v>0.9865432474587121</c:v>
                </c:pt>
                <c:pt idx="152">
                  <c:v>0.9868190629926392</c:v>
                </c:pt>
                <c:pt idx="153">
                  <c:v>0.9870795046363252</c:v>
                </c:pt>
                <c:pt idx="154">
                  <c:v>0.9873313082648623</c:v>
                </c:pt>
                <c:pt idx="155">
                  <c:v>0.9875752995324508</c:v>
                </c:pt>
                <c:pt idx="156">
                  <c:v>0.9878185957873262</c:v>
                </c:pt>
                <c:pt idx="157">
                  <c:v>0.9880587305182058</c:v>
                </c:pt>
                <c:pt idx="158">
                  <c:v>0.9882971878123867</c:v>
                </c:pt>
                <c:pt idx="159">
                  <c:v>0.9885318094724966</c:v>
                </c:pt>
                <c:pt idx="160">
                  <c:v>0.9887656629606604</c:v>
                </c:pt>
                <c:pt idx="161">
                  <c:v>0.9889981159720789</c:v>
                </c:pt>
                <c:pt idx="162">
                  <c:v>0.9892305480808594</c:v>
                </c:pt>
                <c:pt idx="163">
                  <c:v>0.9894555074965588</c:v>
                </c:pt>
                <c:pt idx="164">
                  <c:v>0.9896770388796279</c:v>
                </c:pt>
                <c:pt idx="165">
                  <c:v>0.9898897179955086</c:v>
                </c:pt>
                <c:pt idx="166">
                  <c:v>0.9901006308384792</c:v>
                </c:pt>
                <c:pt idx="167">
                  <c:v>0.9903107389298872</c:v>
                </c:pt>
                <c:pt idx="168">
                  <c:v>0.9905191225536611</c:v>
                </c:pt>
                <c:pt idx="169">
                  <c:v>0.9907254368162741</c:v>
                </c:pt>
                <c:pt idx="170">
                  <c:v>0.9909190840802656</c:v>
                </c:pt>
                <c:pt idx="171">
                  <c:v>0.9911036125684344</c:v>
                </c:pt>
                <c:pt idx="172">
                  <c:v>0.9912867876107934</c:v>
                </c:pt>
                <c:pt idx="173">
                  <c:v>0.9914697588524319</c:v>
                </c:pt>
                <c:pt idx="174">
                  <c:v>0.99165179992668</c:v>
                </c:pt>
                <c:pt idx="175">
                  <c:v>0.991833809646971</c:v>
                </c:pt>
                <c:pt idx="176">
                  <c:v>0.9920133894355958</c:v>
                </c:pt>
                <c:pt idx="177">
                  <c:v>0.992187529312684</c:v>
                </c:pt>
                <c:pt idx="178">
                  <c:v>0.992360681540127</c:v>
                </c:pt>
                <c:pt idx="179">
                  <c:v>0.9925316128622838</c:v>
                </c:pt>
                <c:pt idx="180">
                  <c:v>0.9927000358678818</c:v>
                </c:pt>
                <c:pt idx="181">
                  <c:v>0.9928599880794348</c:v>
                </c:pt>
                <c:pt idx="182">
                  <c:v>0.9930160837542786</c:v>
                </c:pt>
                <c:pt idx="183">
                  <c:v>0.9931709566248001</c:v>
                </c:pt>
                <c:pt idx="184">
                  <c:v>0.9933219102506987</c:v>
                </c:pt>
                <c:pt idx="185">
                  <c:v>0.9934697441578774</c:v>
                </c:pt>
                <c:pt idx="186">
                  <c:v>0.9936096089343227</c:v>
                </c:pt>
                <c:pt idx="187">
                  <c:v>0.9937437725162565</c:v>
                </c:pt>
                <c:pt idx="188">
                  <c:v>0.9938776904921938</c:v>
                </c:pt>
                <c:pt idx="189">
                  <c:v>0.994009978062368</c:v>
                </c:pt>
                <c:pt idx="190">
                  <c:v>0.9941421088627573</c:v>
                </c:pt>
                <c:pt idx="191">
                  <c:v>0.9942721284967098</c:v>
                </c:pt>
                <c:pt idx="192">
                  <c:v>0.9944017039496049</c:v>
                </c:pt>
                <c:pt idx="193">
                  <c:v>0.99452826419697</c:v>
                </c:pt>
                <c:pt idx="194">
                  <c:v>0.9946540771750271</c:v>
                </c:pt>
                <c:pt idx="195">
                  <c:v>0.9947796706753852</c:v>
                </c:pt>
                <c:pt idx="196">
                  <c:v>0.994905081277661</c:v>
                </c:pt>
                <c:pt idx="197">
                  <c:v>0.995028960761704</c:v>
                </c:pt>
                <c:pt idx="198">
                  <c:v>0.9951508388181596</c:v>
                </c:pt>
                <c:pt idx="199">
                  <c:v>0.9952721629547084</c:v>
                </c:pt>
                <c:pt idx="200">
                  <c:v>0.9953926771140352</c:v>
                </c:pt>
                <c:pt idx="201">
                  <c:v>0.9955089010069147</c:v>
                </c:pt>
                <c:pt idx="202">
                  <c:v>0.9956209286952179</c:v>
                </c:pt>
                <c:pt idx="203">
                  <c:v>0.9957308034118082</c:v>
                </c:pt>
                <c:pt idx="204">
                  <c:v>0.9958393299082482</c:v>
                </c:pt>
                <c:pt idx="205">
                  <c:v>0.9959471979715915</c:v>
                </c:pt>
                <c:pt idx="206">
                  <c:v>0.9960390284859376</c:v>
                </c:pt>
                <c:pt idx="207">
                  <c:v>0.99612933833337</c:v>
                </c:pt>
                <c:pt idx="208">
                  <c:v>0.9962191151635337</c:v>
                </c:pt>
                <c:pt idx="209">
                  <c:v>0.9963087299982529</c:v>
                </c:pt>
                <c:pt idx="210">
                  <c:v>0.99639576858284</c:v>
                </c:pt>
                <c:pt idx="211">
                  <c:v>0.9964791544314384</c:v>
                </c:pt>
                <c:pt idx="212">
                  <c:v>0.9965582134339731</c:v>
                </c:pt>
                <c:pt idx="213">
                  <c:v>0.9966328306259351</c:v>
                </c:pt>
                <c:pt idx="214">
                  <c:v>0.9967073485303667</c:v>
                </c:pt>
                <c:pt idx="215">
                  <c:v>0.9967773619163115</c:v>
                </c:pt>
                <c:pt idx="216">
                  <c:v>0.9968453059410954</c:v>
                </c:pt>
                <c:pt idx="217">
                  <c:v>0.996911049963231</c:v>
                </c:pt>
                <c:pt idx="218">
                  <c:v>0.9969760989726534</c:v>
                </c:pt>
                <c:pt idx="219">
                  <c:v>0.997038754630026</c:v>
                </c:pt>
                <c:pt idx="220">
                  <c:v>0.997093111940117</c:v>
                </c:pt>
                <c:pt idx="221">
                  <c:v>0.997147416993613</c:v>
                </c:pt>
                <c:pt idx="222">
                  <c:v>0.9972011106449478</c:v>
                </c:pt>
                <c:pt idx="223">
                  <c:v>0.9972539838677414</c:v>
                </c:pt>
                <c:pt idx="224">
                  <c:v>0.9973064756173918</c:v>
                </c:pt>
                <c:pt idx="225">
                  <c:v>0.9973586799557699</c:v>
                </c:pt>
                <c:pt idx="226">
                  <c:v>0.9974101213478613</c:v>
                </c:pt>
                <c:pt idx="227">
                  <c:v>0.9974609722404296</c:v>
                </c:pt>
                <c:pt idx="228">
                  <c:v>0.9975103076917436</c:v>
                </c:pt>
                <c:pt idx="229">
                  <c:v>0.9975589220020471</c:v>
                </c:pt>
                <c:pt idx="230">
                  <c:v>0.997607510184053</c:v>
                </c:pt>
                <c:pt idx="231">
                  <c:v>0.9977032965226386</c:v>
                </c:pt>
                <c:pt idx="232">
                  <c:v>0.9977460215146885</c:v>
                </c:pt>
                <c:pt idx="233">
                  <c:v>0.99778758641033</c:v>
                </c:pt>
                <c:pt idx="234">
                  <c:v>0.9978279964352227</c:v>
                </c:pt>
                <c:pt idx="235">
                  <c:v>0.9978673874565134</c:v>
                </c:pt>
                <c:pt idx="236">
                  <c:v>0.9979064283586178</c:v>
                </c:pt>
                <c:pt idx="237">
                  <c:v>0.9979446645091595</c:v>
                </c:pt>
                <c:pt idx="238">
                  <c:v>0.9979796868791104</c:v>
                </c:pt>
                <c:pt idx="239">
                  <c:v>0.9980131676795096</c:v>
                </c:pt>
                <c:pt idx="240">
                  <c:v>0.9980466432542494</c:v>
                </c:pt>
                <c:pt idx="241">
                  <c:v>0.9981116243300984</c:v>
                </c:pt>
                <c:pt idx="242">
                  <c:v>0.9981438666491967</c:v>
                </c:pt>
                <c:pt idx="243">
                  <c:v>0.9981760044551051</c:v>
                </c:pt>
                <c:pt idx="244">
                  <c:v>0.9982080116195261</c:v>
                </c:pt>
                <c:pt idx="245">
                  <c:v>0.9982688173934368</c:v>
                </c:pt>
                <c:pt idx="246">
                  <c:v>0.9982984521084459</c:v>
                </c:pt>
                <c:pt idx="247">
                  <c:v>0.9983268013112188</c:v>
                </c:pt>
                <c:pt idx="248">
                  <c:v>0.9983550564521206</c:v>
                </c:pt>
                <c:pt idx="249">
                  <c:v>0.9983828308323488</c:v>
                </c:pt>
                <c:pt idx="250">
                  <c:v>0.9984104118631756</c:v>
                </c:pt>
                <c:pt idx="251">
                  <c:v>0.9984374860050311</c:v>
                </c:pt>
                <c:pt idx="252">
                  <c:v>0.9984642257046789</c:v>
                </c:pt>
                <c:pt idx="253">
                  <c:v>0.9985160694725517</c:v>
                </c:pt>
                <c:pt idx="254">
                  <c:v>0.9985409279347803</c:v>
                </c:pt>
                <c:pt idx="255">
                  <c:v>0.9985657080121165</c:v>
                </c:pt>
                <c:pt idx="256">
                  <c:v>0.9985896937892091</c:v>
                </c:pt>
                <c:pt idx="257">
                  <c:v>0.9986120230322412</c:v>
                </c:pt>
                <c:pt idx="258">
                  <c:v>0.9986342216337857</c:v>
                </c:pt>
                <c:pt idx="259">
                  <c:v>0.9986781223992225</c:v>
                </c:pt>
                <c:pt idx="260">
                  <c:v>0.9986998402400933</c:v>
                </c:pt>
                <c:pt idx="261">
                  <c:v>0.9987429676079245</c:v>
                </c:pt>
                <c:pt idx="262">
                  <c:v>0.9987644032631824</c:v>
                </c:pt>
                <c:pt idx="263">
                  <c:v>0.9987857396309099</c:v>
                </c:pt>
                <c:pt idx="264">
                  <c:v>0.9988061824108634</c:v>
                </c:pt>
                <c:pt idx="265">
                  <c:v>0.9988258517932113</c:v>
                </c:pt>
                <c:pt idx="266">
                  <c:v>0.998844753003613</c:v>
                </c:pt>
                <c:pt idx="267">
                  <c:v>0.9988634556389538</c:v>
                </c:pt>
                <c:pt idx="268">
                  <c:v>0.9988820642124238</c:v>
                </c:pt>
                <c:pt idx="269">
                  <c:v>0.9989005055647897</c:v>
                </c:pt>
                <c:pt idx="270">
                  <c:v>0.9989188894349013</c:v>
                </c:pt>
                <c:pt idx="271">
                  <c:v>0.9989372628536938</c:v>
                </c:pt>
                <c:pt idx="272">
                  <c:v>0.998955087578239</c:v>
                </c:pt>
                <c:pt idx="273">
                  <c:v>0.9989898486652151</c:v>
                </c:pt>
                <c:pt idx="274">
                  <c:v>0.9990237579696931</c:v>
                </c:pt>
                <c:pt idx="275">
                  <c:v>0.9990404591774464</c:v>
                </c:pt>
                <c:pt idx="276">
                  <c:v>0.9990568729739274</c:v>
                </c:pt>
                <c:pt idx="277">
                  <c:v>0.9990891466469828</c:v>
                </c:pt>
                <c:pt idx="278">
                  <c:v>0.9991201766130778</c:v>
                </c:pt>
                <c:pt idx="279">
                  <c:v>0.9991355975342544</c:v>
                </c:pt>
                <c:pt idx="280">
                  <c:v>0.999150851234327</c:v>
                </c:pt>
                <c:pt idx="281">
                  <c:v>0.9991660108725287</c:v>
                </c:pt>
                <c:pt idx="282">
                  <c:v>0.9991955463000074</c:v>
                </c:pt>
                <c:pt idx="283">
                  <c:v>0.9992101467926429</c:v>
                </c:pt>
                <c:pt idx="284">
                  <c:v>0.9992243292325186</c:v>
                </c:pt>
                <c:pt idx="285">
                  <c:v>0.9992383183229928</c:v>
                </c:pt>
                <c:pt idx="286">
                  <c:v>0.999266061349264</c:v>
                </c:pt>
                <c:pt idx="287">
                  <c:v>0.9992794965198315</c:v>
                </c:pt>
                <c:pt idx="288">
                  <c:v>0.9992926076995102</c:v>
                </c:pt>
                <c:pt idx="289">
                  <c:v>0.9993183127185775</c:v>
                </c:pt>
                <c:pt idx="290">
                  <c:v>0.9993310737790699</c:v>
                </c:pt>
                <c:pt idx="291">
                  <c:v>0.999368693301791</c:v>
                </c:pt>
                <c:pt idx="292">
                  <c:v>0.9993809056680362</c:v>
                </c:pt>
                <c:pt idx="293">
                  <c:v>0.9993930553263674</c:v>
                </c:pt>
                <c:pt idx="294">
                  <c:v>0.999427769382408</c:v>
                </c:pt>
                <c:pt idx="295">
                  <c:v>0.9994496074134471</c:v>
                </c:pt>
                <c:pt idx="296">
                  <c:v>0.9994602573075027</c:v>
                </c:pt>
                <c:pt idx="297">
                  <c:v>0.9994707190778163</c:v>
                </c:pt>
                <c:pt idx="298">
                  <c:v>0.9994811808481299</c:v>
                </c:pt>
                <c:pt idx="299">
                  <c:v>0.999518580893152</c:v>
                </c:pt>
                <c:pt idx="300">
                  <c:v>0.9995357158306437</c:v>
                </c:pt>
                <c:pt idx="301">
                  <c:v>0.999552573808182</c:v>
                </c:pt>
                <c:pt idx="302">
                  <c:v>0.9995925448776768</c:v>
                </c:pt>
                <c:pt idx="303">
                  <c:v>0.9995999914424605</c:v>
                </c:pt>
                <c:pt idx="304">
                  <c:v>0.9996070617597603</c:v>
                </c:pt>
                <c:pt idx="305">
                  <c:v>0.9996346584675656</c:v>
                </c:pt>
                <c:pt idx="306">
                  <c:v>0.9996478637091153</c:v>
                </c:pt>
                <c:pt idx="307">
                  <c:v>0.9996543592038705</c:v>
                </c:pt>
                <c:pt idx="308">
                  <c:v>0.9996607815393926</c:v>
                </c:pt>
                <c:pt idx="309">
                  <c:v>0.9996733962814192</c:v>
                </c:pt>
                <c:pt idx="310">
                  <c:v>0.9997163982334225</c:v>
                </c:pt>
                <c:pt idx="311">
                  <c:v>0.9997222509720595</c:v>
                </c:pt>
                <c:pt idx="312">
                  <c:v>0.9997636434209377</c:v>
                </c:pt>
                <c:pt idx="313">
                  <c:v>0.999777590706136</c:v>
                </c:pt>
                <c:pt idx="314">
                  <c:v>0.9997821318042391</c:v>
                </c:pt>
                <c:pt idx="315">
                  <c:v>0.9997907123371338</c:v>
                </c:pt>
                <c:pt idx="316">
                  <c:v>0.9997987284988027</c:v>
                </c:pt>
                <c:pt idx="317">
                  <c:v>0.9998244073895726</c:v>
                </c:pt>
                <c:pt idx="318">
                  <c:v>0.9998278563248408</c:v>
                </c:pt>
                <c:pt idx="319">
                  <c:v>0.9998347228414203</c:v>
                </c:pt>
                <c:pt idx="320">
                  <c:v>0.9998413698803008</c:v>
                </c:pt>
                <c:pt idx="321">
                  <c:v>0.999856419779653</c:v>
                </c:pt>
                <c:pt idx="322">
                  <c:v>0.999859246861441</c:v>
                </c:pt>
                <c:pt idx="323">
                  <c:v>0.9998699908173674</c:v>
                </c:pt>
                <c:pt idx="324">
                  <c:v>0.9999015433494122</c:v>
                </c:pt>
                <c:pt idx="325">
                  <c:v>0.9999147590422809</c:v>
                </c:pt>
                <c:pt idx="326">
                  <c:v>0.999920057861011</c:v>
                </c:pt>
                <c:pt idx="327">
                  <c:v>0.9999217771029856</c:v>
                </c:pt>
                <c:pt idx="328">
                  <c:v>0.9999234806679816</c:v>
                </c:pt>
                <c:pt idx="329">
                  <c:v>0.9999377885236854</c:v>
                </c:pt>
                <c:pt idx="330">
                  <c:v>0.9999408246318534</c:v>
                </c:pt>
                <c:pt idx="331">
                  <c:v>0.9999481980374042</c:v>
                </c:pt>
                <c:pt idx="332">
                  <c:v>0.9999523419853856</c:v>
                </c:pt>
                <c:pt idx="333">
                  <c:v>0.9999559058851627</c:v>
                </c:pt>
                <c:pt idx="334">
                  <c:v>0.9999608127794307</c:v>
                </c:pt>
                <c:pt idx="335">
                  <c:v>0.9999742427243388</c:v>
                </c:pt>
                <c:pt idx="336">
                  <c:v>0.9999764009217111</c:v>
                </c:pt>
                <c:pt idx="337">
                  <c:v>0.9999884042615763</c:v>
                </c:pt>
                <c:pt idx="338">
                  <c:v>0.9999888223143361</c:v>
                </c:pt>
                <c:pt idx="339">
                  <c:v>0.9999971311129365</c:v>
                </c:pt>
                <c:pt idx="340">
                  <c:v>0.9999984479791298</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175</c:f>
              <c:strCache>
                <c:ptCount val="174"/>
                <c:pt idx="0">
                  <c:v>Private Lab</c:v>
                </c:pt>
                <c:pt idx="1">
                  <c:v>Private Lab</c:v>
                </c:pt>
                <c:pt idx="2">
                  <c:v>Private Lab</c:v>
                </c:pt>
                <c:pt idx="3">
                  <c:v>Private Lab</c:v>
                </c:pt>
                <c:pt idx="4">
                  <c:v>Private Lab</c:v>
                </c:pt>
                <c:pt idx="5">
                  <c:v>Galbani</c:v>
                </c:pt>
                <c:pt idx="6">
                  <c:v>Salakis</c:v>
                </c:pt>
                <c:pt idx="7">
                  <c:v>Private Lab</c:v>
                </c:pt>
                <c:pt idx="8">
                  <c:v>Galbani</c:v>
                </c:pt>
                <c:pt idx="9">
                  <c:v>Private Lab</c:v>
                </c:pt>
                <c:pt idx="10">
                  <c:v>Galbani</c:v>
                </c:pt>
                <c:pt idx="11">
                  <c:v>Private Lab</c:v>
                </c:pt>
                <c:pt idx="12">
                  <c:v>Private Lab</c:v>
                </c:pt>
                <c:pt idx="13">
                  <c:v>Galbani</c:v>
                </c:pt>
                <c:pt idx="14">
                  <c:v>Galbani</c:v>
                </c:pt>
                <c:pt idx="15">
                  <c:v>Private Lab</c:v>
                </c:pt>
                <c:pt idx="16">
                  <c:v>Private Lab</c:v>
                </c:pt>
                <c:pt idx="17">
                  <c:v>Islos</c:v>
                </c:pt>
                <c:pt idx="18">
                  <c:v>Salakis</c:v>
                </c:pt>
                <c:pt idx="19">
                  <c:v>Galbani</c:v>
                </c:pt>
                <c:pt idx="20">
                  <c:v>All Others</c:v>
                </c:pt>
                <c:pt idx="21">
                  <c:v>Private Lab</c:v>
                </c:pt>
                <c:pt idx="22">
                  <c:v>Casa Azzurr</c:v>
                </c:pt>
                <c:pt idx="23">
                  <c:v>Casa Azzurr</c:v>
                </c:pt>
                <c:pt idx="24">
                  <c:v>Salakis</c:v>
                </c:pt>
                <c:pt idx="25">
                  <c:v>Private Lab</c:v>
                </c:pt>
                <c:pt idx="26">
                  <c:v>Boursin</c:v>
                </c:pt>
                <c:pt idx="27">
                  <c:v>Private Lab</c:v>
                </c:pt>
                <c:pt idx="28">
                  <c:v>Galbani</c:v>
                </c:pt>
                <c:pt idx="29">
                  <c:v>Private Lab</c:v>
                </c:pt>
                <c:pt idx="30">
                  <c:v>Casa Azzurr</c:v>
                </c:pt>
                <c:pt idx="31">
                  <c:v>Casa Azzurr</c:v>
                </c:pt>
                <c:pt idx="32">
                  <c:v>Salakis</c:v>
                </c:pt>
                <c:pt idx="33">
                  <c:v>Casa Azzurr</c:v>
                </c:pt>
                <c:pt idx="34">
                  <c:v>Galbani</c:v>
                </c:pt>
                <c:pt idx="35">
                  <c:v>Private Lab</c:v>
                </c:pt>
                <c:pt idx="36">
                  <c:v>Private Lab</c:v>
                </c:pt>
                <c:pt idx="37">
                  <c:v>Private Lab</c:v>
                </c:pt>
                <c:pt idx="38">
                  <c:v>Casa Azzurr</c:v>
                </c:pt>
                <c:pt idx="39">
                  <c:v>Salakis</c:v>
                </c:pt>
                <c:pt idx="40">
                  <c:v>Private Lab</c:v>
                </c:pt>
                <c:pt idx="41">
                  <c:v>Galbani</c:v>
                </c:pt>
                <c:pt idx="42">
                  <c:v>Salakis</c:v>
                </c:pt>
                <c:pt idx="43">
                  <c:v>Casa Azzurr</c:v>
                </c:pt>
                <c:pt idx="44">
                  <c:v>Private Lab</c:v>
                </c:pt>
                <c:pt idx="45">
                  <c:v>Galbani</c:v>
                </c:pt>
                <c:pt idx="46">
                  <c:v>All Others</c:v>
                </c:pt>
                <c:pt idx="47">
                  <c:v>Casa Azzurr</c:v>
                </c:pt>
                <c:pt idx="48">
                  <c:v>Casa Azzurr</c:v>
                </c:pt>
                <c:pt idx="49">
                  <c:v>Islos</c:v>
                </c:pt>
                <c:pt idx="50">
                  <c:v>Boursin</c:v>
                </c:pt>
                <c:pt idx="51">
                  <c:v>All Others</c:v>
                </c:pt>
                <c:pt idx="52">
                  <c:v>Galbani</c:v>
                </c:pt>
                <c:pt idx="53">
                  <c:v>Lactalis: A</c:v>
                </c:pt>
                <c:pt idx="54">
                  <c:v>Salakis</c:v>
                </c:pt>
                <c:pt idx="55">
                  <c:v>All Others</c:v>
                </c:pt>
                <c:pt idx="56">
                  <c:v>Galbani</c:v>
                </c:pt>
                <c:pt idx="57">
                  <c:v>All Others</c:v>
                </c:pt>
                <c:pt idx="58">
                  <c:v>Galbani</c:v>
                </c:pt>
                <c:pt idx="59">
                  <c:v>Boursin</c:v>
                </c:pt>
                <c:pt idx="60">
                  <c:v>Islos</c:v>
                </c:pt>
                <c:pt idx="61">
                  <c:v>All Others</c:v>
                </c:pt>
                <c:pt idx="62">
                  <c:v>Galbani</c:v>
                </c:pt>
                <c:pt idx="63">
                  <c:v>All Others</c:v>
                </c:pt>
                <c:pt idx="64">
                  <c:v>Boursin</c:v>
                </c:pt>
                <c:pt idx="65">
                  <c:v>All Others</c:v>
                </c:pt>
                <c:pt idx="66">
                  <c:v>All Others</c:v>
                </c:pt>
                <c:pt idx="67">
                  <c:v>All Others</c:v>
                </c:pt>
                <c:pt idx="68">
                  <c:v>All Others</c:v>
                </c:pt>
                <c:pt idx="69">
                  <c:v>All Others</c:v>
                </c:pt>
                <c:pt idx="70">
                  <c:v>Boursin</c:v>
                </c:pt>
                <c:pt idx="71">
                  <c:v>All Others</c:v>
                </c:pt>
                <c:pt idx="72">
                  <c:v>All Others</c:v>
                </c:pt>
                <c:pt idx="73">
                  <c:v>All Others</c:v>
                </c:pt>
                <c:pt idx="74">
                  <c:v>All Others</c:v>
                </c:pt>
                <c:pt idx="75">
                  <c:v>All Others</c:v>
                </c:pt>
                <c:pt idx="76">
                  <c:v>All Others</c:v>
                </c:pt>
                <c:pt idx="77">
                  <c:v>All Others</c:v>
                </c:pt>
                <c:pt idx="78">
                  <c:v>All Others</c:v>
                </c:pt>
                <c:pt idx="79">
                  <c:v>All Others</c:v>
                </c:pt>
                <c:pt idx="80">
                  <c:v>Boursin</c:v>
                </c:pt>
                <c:pt idx="81">
                  <c:v>All Others</c:v>
                </c:pt>
                <c:pt idx="82">
                  <c:v>All Others</c:v>
                </c:pt>
                <c:pt idx="83">
                  <c:v>All Others</c:v>
                </c:pt>
                <c:pt idx="84">
                  <c:v>Salakis</c:v>
                </c:pt>
                <c:pt idx="85">
                  <c:v>All Others</c:v>
                </c:pt>
                <c:pt idx="86">
                  <c:v>All Others</c:v>
                </c:pt>
                <c:pt idx="87">
                  <c:v>All Others</c:v>
                </c:pt>
                <c:pt idx="88">
                  <c:v>All Others</c:v>
                </c:pt>
                <c:pt idx="89">
                  <c:v>All Others</c:v>
                </c:pt>
                <c:pt idx="90">
                  <c:v>Private Lab</c:v>
                </c:pt>
                <c:pt idx="91">
                  <c:v>All Others</c:v>
                </c:pt>
                <c:pt idx="92">
                  <c:v>All Others</c:v>
                </c:pt>
                <c:pt idx="93">
                  <c:v>All Others</c:v>
                </c:pt>
                <c:pt idx="94">
                  <c:v>Salakis</c:v>
                </c:pt>
                <c:pt idx="95">
                  <c:v>Entremont</c:v>
                </c:pt>
                <c:pt idx="96">
                  <c:v>All Others</c:v>
                </c:pt>
                <c:pt idx="97">
                  <c:v>All Others</c:v>
                </c:pt>
                <c:pt idx="98">
                  <c:v>All Others</c:v>
                </c:pt>
                <c:pt idx="99">
                  <c:v>Entremont</c:v>
                </c:pt>
                <c:pt idx="100">
                  <c:v>All Others</c:v>
                </c:pt>
                <c:pt idx="101">
                  <c:v>All Others</c:v>
                </c:pt>
                <c:pt idx="102">
                  <c:v>All Others</c:v>
                </c:pt>
                <c:pt idx="103">
                  <c:v>All Others</c:v>
                </c:pt>
                <c:pt idx="104">
                  <c:v>All Others</c:v>
                </c:pt>
                <c:pt idx="105">
                  <c:v>All Others</c:v>
                </c:pt>
                <c:pt idx="106">
                  <c:v>All Others</c:v>
                </c:pt>
                <c:pt idx="107">
                  <c:v>All Others</c:v>
                </c:pt>
                <c:pt idx="108">
                  <c:v>Casa Azzurr</c:v>
                </c:pt>
                <c:pt idx="109">
                  <c:v>All Others</c:v>
                </c:pt>
                <c:pt idx="110">
                  <c:v>All Others</c:v>
                </c:pt>
                <c:pt idx="111">
                  <c:v>All Others</c:v>
                </c:pt>
                <c:pt idx="112">
                  <c:v>Entremont</c:v>
                </c:pt>
                <c:pt idx="113">
                  <c:v>All Others</c:v>
                </c:pt>
                <c:pt idx="114">
                  <c:v>All Others</c:v>
                </c:pt>
                <c:pt idx="115">
                  <c:v>All Others</c:v>
                </c:pt>
                <c:pt idx="116">
                  <c:v>All Others</c:v>
                </c:pt>
                <c:pt idx="117">
                  <c:v>All Others</c:v>
                </c:pt>
                <c:pt idx="118">
                  <c:v>All Others</c:v>
                </c:pt>
                <c:pt idx="119">
                  <c:v>All Others</c:v>
                </c:pt>
                <c:pt idx="120">
                  <c:v>All Others</c:v>
                </c:pt>
                <c:pt idx="121">
                  <c:v>All Others</c:v>
                </c:pt>
                <c:pt idx="122">
                  <c:v>All Others</c:v>
                </c:pt>
                <c:pt idx="123">
                  <c:v>All Others</c:v>
                </c:pt>
                <c:pt idx="124">
                  <c:v>All Others</c:v>
                </c:pt>
                <c:pt idx="125">
                  <c:v>All Others</c:v>
                </c:pt>
                <c:pt idx="126">
                  <c:v>All Others</c:v>
                </c:pt>
                <c:pt idx="127">
                  <c:v>All Others</c:v>
                </c:pt>
                <c:pt idx="128">
                  <c:v>All Others</c:v>
                </c:pt>
                <c:pt idx="129">
                  <c:v>All Others</c:v>
                </c:pt>
                <c:pt idx="130">
                  <c:v>All Others</c:v>
                </c:pt>
                <c:pt idx="131">
                  <c:v>All Others</c:v>
                </c:pt>
                <c:pt idx="132">
                  <c:v>All Others</c:v>
                </c:pt>
                <c:pt idx="133">
                  <c:v>All Others</c:v>
                </c:pt>
                <c:pt idx="134">
                  <c:v>All Others</c:v>
                </c:pt>
                <c:pt idx="135">
                  <c:v>All Others</c:v>
                </c:pt>
                <c:pt idx="136">
                  <c:v>All Others</c:v>
                </c:pt>
                <c:pt idx="137">
                  <c:v>All Others</c:v>
                </c:pt>
                <c:pt idx="138">
                  <c:v>All Others</c:v>
                </c:pt>
                <c:pt idx="139">
                  <c:v>All Others</c:v>
                </c:pt>
                <c:pt idx="140">
                  <c:v>All Others</c:v>
                </c:pt>
                <c:pt idx="141">
                  <c:v>All Others</c:v>
                </c:pt>
                <c:pt idx="142">
                  <c:v>Savencia: A</c:v>
                </c:pt>
                <c:pt idx="143">
                  <c:v>All Others</c:v>
                </c:pt>
                <c:pt idx="144">
                  <c:v>All Others</c:v>
                </c:pt>
                <c:pt idx="145">
                  <c:v>All Others</c:v>
                </c:pt>
                <c:pt idx="146">
                  <c:v>All Others</c:v>
                </c:pt>
                <c:pt idx="147">
                  <c:v>All Others</c:v>
                </c:pt>
                <c:pt idx="148">
                  <c:v>All Others</c:v>
                </c:pt>
                <c:pt idx="149">
                  <c:v>All Others</c:v>
                </c:pt>
                <c:pt idx="150">
                  <c:v>All Others</c:v>
                </c:pt>
                <c:pt idx="151">
                  <c:v>All Others</c:v>
                </c:pt>
                <c:pt idx="152">
                  <c:v>All Others</c:v>
                </c:pt>
                <c:pt idx="153">
                  <c:v>Savencia: A</c:v>
                </c:pt>
                <c:pt idx="154">
                  <c:v>All Others</c:v>
                </c:pt>
                <c:pt idx="155">
                  <c:v>All Others</c:v>
                </c:pt>
                <c:pt idx="156">
                  <c:v>All Others</c:v>
                </c:pt>
                <c:pt idx="157">
                  <c:v>All Others</c:v>
                </c:pt>
                <c:pt idx="158">
                  <c:v>All Others</c:v>
                </c:pt>
                <c:pt idx="159">
                  <c:v>All Others</c:v>
                </c:pt>
                <c:pt idx="160">
                  <c:v>All Others</c:v>
                </c:pt>
                <c:pt idx="161">
                  <c:v>All Others</c:v>
                </c:pt>
                <c:pt idx="162">
                  <c:v>All Others</c:v>
                </c:pt>
                <c:pt idx="163">
                  <c:v>All Others</c:v>
                </c:pt>
                <c:pt idx="164">
                  <c:v>All Others</c:v>
                </c:pt>
                <c:pt idx="165">
                  <c:v>All Others</c:v>
                </c:pt>
                <c:pt idx="166">
                  <c:v>All Others</c:v>
                </c:pt>
                <c:pt idx="167">
                  <c:v>All Others</c:v>
                </c:pt>
                <c:pt idx="168">
                  <c:v>All Others</c:v>
                </c:pt>
                <c:pt idx="169">
                  <c:v>All Others</c:v>
                </c:pt>
                <c:pt idx="170">
                  <c:v>All Others</c:v>
                </c:pt>
                <c:pt idx="171">
                  <c:v>All Others</c:v>
                </c:pt>
                <c:pt idx="172">
                  <c:v>All Others</c:v>
                </c:pt>
                <c:pt idx="173">
                  <c:v>All Others</c:v>
                </c:pt>
              </c:strCache>
            </c:strRef>
          </c:cat>
          <c:val>
            <c:numRef>
              <c:f>Sheet1!$B$2:$B$175</c:f>
              <c:numCache>
                <c:formatCode>General</c:formatCode>
                <c:ptCount val="174"/>
                <c:pt idx="0">
                  <c:v>0.999</c:v>
                </c:pt>
                <c:pt idx="1">
                  <c:v>0.99</c:v>
                </c:pt>
                <c:pt idx="2">
                  <c:v>0.977</c:v>
                </c:pt>
                <c:pt idx="3">
                  <c:v>0.984</c:v>
                </c:pt>
                <c:pt idx="4">
                  <c:v>0.989</c:v>
                </c:pt>
                <c:pt idx="5">
                  <c:v>0.995</c:v>
                </c:pt>
                <c:pt idx="6">
                  <c:v>0.984</c:v>
                </c:pt>
                <c:pt idx="7">
                  <c:v>0.984</c:v>
                </c:pt>
                <c:pt idx="8">
                  <c:v>0.953</c:v>
                </c:pt>
                <c:pt idx="9">
                  <c:v>0.981</c:v>
                </c:pt>
                <c:pt idx="10">
                  <c:v>0.932</c:v>
                </c:pt>
                <c:pt idx="11">
                  <c:v>0.985</c:v>
                </c:pt>
                <c:pt idx="12">
                  <c:v>0.988</c:v>
                </c:pt>
                <c:pt idx="13">
                  <c:v>0.966</c:v>
                </c:pt>
                <c:pt idx="14">
                  <c:v>0.927</c:v>
                </c:pt>
                <c:pt idx="15">
                  <c:v>0.998</c:v>
                </c:pt>
                <c:pt idx="16">
                  <c:v>0.973</c:v>
                </c:pt>
                <c:pt idx="17">
                  <c:v>0.925</c:v>
                </c:pt>
                <c:pt idx="18">
                  <c:v>0.995</c:v>
                </c:pt>
                <c:pt idx="19">
                  <c:v>0.927</c:v>
                </c:pt>
                <c:pt idx="20">
                  <c:v>0.497</c:v>
                </c:pt>
                <c:pt idx="21">
                  <c:v>0.724</c:v>
                </c:pt>
                <c:pt idx="22">
                  <c:v>0.935</c:v>
                </c:pt>
                <c:pt idx="23">
                  <c:v>0.865</c:v>
                </c:pt>
                <c:pt idx="24">
                  <c:v>0.857</c:v>
                </c:pt>
                <c:pt idx="25">
                  <c:v>0.868</c:v>
                </c:pt>
                <c:pt idx="26">
                  <c:v>0.968</c:v>
                </c:pt>
                <c:pt idx="27">
                  <c:v>0.939</c:v>
                </c:pt>
                <c:pt idx="28">
                  <c:v>0.839</c:v>
                </c:pt>
                <c:pt idx="29">
                  <c:v>0.959</c:v>
                </c:pt>
                <c:pt idx="30">
                  <c:v>0.757</c:v>
                </c:pt>
                <c:pt idx="31">
                  <c:v>0.804</c:v>
                </c:pt>
                <c:pt idx="32">
                  <c:v>0.947</c:v>
                </c:pt>
                <c:pt idx="33">
                  <c:v>0.836</c:v>
                </c:pt>
                <c:pt idx="34">
                  <c:v>0.861</c:v>
                </c:pt>
                <c:pt idx="35">
                  <c:v>0.756</c:v>
                </c:pt>
                <c:pt idx="36">
                  <c:v>0.572</c:v>
                </c:pt>
                <c:pt idx="37">
                  <c:v>0.864</c:v>
                </c:pt>
                <c:pt idx="38">
                  <c:v>0.672</c:v>
                </c:pt>
                <c:pt idx="39">
                  <c:v>0.576</c:v>
                </c:pt>
                <c:pt idx="40">
                  <c:v>0.771</c:v>
                </c:pt>
                <c:pt idx="41">
                  <c:v>0.453</c:v>
                </c:pt>
                <c:pt idx="42">
                  <c:v>0.924</c:v>
                </c:pt>
                <c:pt idx="43">
                  <c:v>0.341</c:v>
                </c:pt>
                <c:pt idx="44">
                  <c:v>0.451</c:v>
                </c:pt>
                <c:pt idx="45">
                  <c:v>0.36</c:v>
                </c:pt>
                <c:pt idx="46">
                  <c:v>0.252</c:v>
                </c:pt>
                <c:pt idx="47">
                  <c:v>0.339</c:v>
                </c:pt>
                <c:pt idx="48">
                  <c:v>0.776</c:v>
                </c:pt>
                <c:pt idx="49">
                  <c:v>0.669</c:v>
                </c:pt>
                <c:pt idx="50">
                  <c:v>0.823</c:v>
                </c:pt>
                <c:pt idx="51">
                  <c:v>0.36</c:v>
                </c:pt>
                <c:pt idx="52">
                  <c:v>0.551</c:v>
                </c:pt>
                <c:pt idx="53">
                  <c:v>0.322</c:v>
                </c:pt>
                <c:pt idx="54">
                  <c:v>0.438</c:v>
                </c:pt>
                <c:pt idx="55">
                  <c:v>0.136</c:v>
                </c:pt>
                <c:pt idx="56">
                  <c:v>0.397</c:v>
                </c:pt>
                <c:pt idx="57">
                  <c:v>0.207</c:v>
                </c:pt>
                <c:pt idx="58">
                  <c:v>0.301</c:v>
                </c:pt>
                <c:pt idx="59">
                  <c:v>0.845</c:v>
                </c:pt>
                <c:pt idx="60">
                  <c:v>0.544</c:v>
                </c:pt>
                <c:pt idx="61">
                  <c:v>0.254</c:v>
                </c:pt>
                <c:pt idx="62">
                  <c:v>0.567</c:v>
                </c:pt>
                <c:pt idx="63">
                  <c:v>0.147</c:v>
                </c:pt>
                <c:pt idx="64">
                  <c:v>0.66</c:v>
                </c:pt>
                <c:pt idx="65">
                  <c:v>0.214</c:v>
                </c:pt>
                <c:pt idx="66">
                  <c:v>0.193</c:v>
                </c:pt>
                <c:pt idx="67">
                  <c:v>0.307</c:v>
                </c:pt>
                <c:pt idx="68">
                  <c:v>0.046</c:v>
                </c:pt>
                <c:pt idx="69">
                  <c:v>0.142</c:v>
                </c:pt>
                <c:pt idx="70">
                  <c:v>0.803</c:v>
                </c:pt>
                <c:pt idx="71">
                  <c:v>0.061</c:v>
                </c:pt>
                <c:pt idx="72">
                  <c:v>0.06</c:v>
                </c:pt>
                <c:pt idx="73">
                  <c:v>0.213</c:v>
                </c:pt>
                <c:pt idx="74">
                  <c:v>0.12</c:v>
                </c:pt>
                <c:pt idx="75">
                  <c:v>0.072</c:v>
                </c:pt>
                <c:pt idx="76">
                  <c:v>0.258</c:v>
                </c:pt>
                <c:pt idx="77">
                  <c:v>0.09</c:v>
                </c:pt>
                <c:pt idx="78">
                  <c:v>0.117</c:v>
                </c:pt>
                <c:pt idx="79">
                  <c:v>0.049</c:v>
                </c:pt>
                <c:pt idx="80">
                  <c:v>0.414</c:v>
                </c:pt>
                <c:pt idx="81">
                  <c:v>0.021</c:v>
                </c:pt>
                <c:pt idx="82">
                  <c:v>0.087</c:v>
                </c:pt>
                <c:pt idx="83">
                  <c:v>0.037</c:v>
                </c:pt>
                <c:pt idx="84">
                  <c:v>0.25</c:v>
                </c:pt>
                <c:pt idx="85">
                  <c:v>0.015</c:v>
                </c:pt>
                <c:pt idx="86">
                  <c:v>0.427</c:v>
                </c:pt>
                <c:pt idx="87">
                  <c:v>0.022</c:v>
                </c:pt>
                <c:pt idx="88">
                  <c:v>0.035</c:v>
                </c:pt>
                <c:pt idx="89">
                  <c:v>0.155</c:v>
                </c:pt>
                <c:pt idx="90">
                  <c:v>0.199</c:v>
                </c:pt>
                <c:pt idx="91">
                  <c:v>0.104</c:v>
                </c:pt>
                <c:pt idx="92">
                  <c:v>0.118</c:v>
                </c:pt>
                <c:pt idx="93">
                  <c:v>0.07</c:v>
                </c:pt>
                <c:pt idx="94">
                  <c:v>0.235</c:v>
                </c:pt>
                <c:pt idx="95">
                  <c:v>0.389</c:v>
                </c:pt>
                <c:pt idx="96">
                  <c:v>0.046</c:v>
                </c:pt>
                <c:pt idx="97">
                  <c:v>0.074</c:v>
                </c:pt>
                <c:pt idx="98">
                  <c:v>0.014</c:v>
                </c:pt>
                <c:pt idx="99">
                  <c:v>0.4</c:v>
                </c:pt>
                <c:pt idx="100">
                  <c:v>0.019</c:v>
                </c:pt>
                <c:pt idx="101">
                  <c:v>0.14</c:v>
                </c:pt>
                <c:pt idx="102">
                  <c:v>0.022</c:v>
                </c:pt>
                <c:pt idx="103">
                  <c:v>0.098</c:v>
                </c:pt>
                <c:pt idx="104">
                  <c:v>0.077</c:v>
                </c:pt>
                <c:pt idx="105">
                  <c:v>0.357</c:v>
                </c:pt>
                <c:pt idx="106">
                  <c:v>0.089</c:v>
                </c:pt>
                <c:pt idx="107">
                  <c:v>0.04</c:v>
                </c:pt>
                <c:pt idx="108">
                  <c:v>0.082</c:v>
                </c:pt>
                <c:pt idx="109">
                  <c:v>0.09</c:v>
                </c:pt>
                <c:pt idx="110">
                  <c:v>0.125</c:v>
                </c:pt>
                <c:pt idx="111">
                  <c:v>0.136</c:v>
                </c:pt>
                <c:pt idx="112">
                  <c:v>0.334</c:v>
                </c:pt>
                <c:pt idx="113">
                  <c:v>0.072</c:v>
                </c:pt>
                <c:pt idx="114">
                  <c:v>0.111</c:v>
                </c:pt>
                <c:pt idx="115">
                  <c:v>0.12</c:v>
                </c:pt>
                <c:pt idx="116">
                  <c:v>0.014</c:v>
                </c:pt>
                <c:pt idx="117">
                  <c:v>0.016</c:v>
                </c:pt>
                <c:pt idx="118">
                  <c:v>0.017</c:v>
                </c:pt>
                <c:pt idx="119">
                  <c:v>0.012</c:v>
                </c:pt>
                <c:pt idx="120">
                  <c:v>0.022</c:v>
                </c:pt>
                <c:pt idx="121">
                  <c:v>0.014</c:v>
                </c:pt>
                <c:pt idx="122">
                  <c:v>0.035</c:v>
                </c:pt>
                <c:pt idx="123">
                  <c:v>0.067</c:v>
                </c:pt>
                <c:pt idx="124">
                  <c:v>0.009</c:v>
                </c:pt>
                <c:pt idx="125">
                  <c:v>0.009</c:v>
                </c:pt>
                <c:pt idx="126">
                  <c:v>0.013</c:v>
                </c:pt>
                <c:pt idx="127">
                  <c:v>0.023</c:v>
                </c:pt>
                <c:pt idx="128">
                  <c:v>0.103</c:v>
                </c:pt>
                <c:pt idx="129">
                  <c:v>0.019</c:v>
                </c:pt>
                <c:pt idx="130">
                  <c:v>0.019</c:v>
                </c:pt>
                <c:pt idx="131">
                  <c:v>0.078</c:v>
                </c:pt>
                <c:pt idx="132">
                  <c:v>0.038</c:v>
                </c:pt>
                <c:pt idx="133">
                  <c:v>0.01</c:v>
                </c:pt>
                <c:pt idx="134">
                  <c:v>0.01</c:v>
                </c:pt>
                <c:pt idx="135">
                  <c:v>0.009</c:v>
                </c:pt>
                <c:pt idx="136">
                  <c:v>0.043</c:v>
                </c:pt>
                <c:pt idx="137">
                  <c:v>0.001</c:v>
                </c:pt>
                <c:pt idx="138">
                  <c:v>0.015</c:v>
                </c:pt>
                <c:pt idx="139">
                  <c:v>0.01</c:v>
                </c:pt>
                <c:pt idx="140">
                  <c:v>0.009</c:v>
                </c:pt>
                <c:pt idx="141">
                  <c:v>0.061</c:v>
                </c:pt>
                <c:pt idx="142">
                  <c:v>0.018</c:v>
                </c:pt>
                <c:pt idx="143">
                  <c:v>0.014</c:v>
                </c:pt>
                <c:pt idx="144">
                  <c:v>0.01</c:v>
                </c:pt>
                <c:pt idx="145">
                  <c:v>0.014</c:v>
                </c:pt>
                <c:pt idx="146">
                  <c:v>0.013</c:v>
                </c:pt>
                <c:pt idx="147">
                  <c:v>0.001</c:v>
                </c:pt>
                <c:pt idx="148">
                  <c:v>0.011</c:v>
                </c:pt>
                <c:pt idx="149">
                  <c:v>0.018</c:v>
                </c:pt>
                <c:pt idx="150">
                  <c:v>0.009</c:v>
                </c:pt>
                <c:pt idx="151">
                  <c:v>0.01</c:v>
                </c:pt>
                <c:pt idx="152">
                  <c:v>0.024</c:v>
                </c:pt>
                <c:pt idx="153">
                  <c:v>0.015</c:v>
                </c:pt>
                <c:pt idx="154">
                  <c:v>0.008</c:v>
                </c:pt>
                <c:pt idx="155">
                  <c:v>0.004</c:v>
                </c:pt>
                <c:pt idx="156">
                  <c:v>0.035</c:v>
                </c:pt>
                <c:pt idx="157">
                  <c:v>0.015</c:v>
                </c:pt>
                <c:pt idx="158">
                  <c:v>0.003</c:v>
                </c:pt>
                <c:pt idx="159">
                  <c:v>0.013</c:v>
                </c:pt>
                <c:pt idx="160">
                  <c:v>0.025</c:v>
                </c:pt>
                <c:pt idx="161">
                  <c:v>0.003</c:v>
                </c:pt>
                <c:pt idx="162">
                  <c:v>0.011</c:v>
                </c:pt>
                <c:pt idx="163">
                  <c:v>0.013</c:v>
                </c:pt>
                <c:pt idx="164">
                  <c:v>0.005</c:v>
                </c:pt>
                <c:pt idx="165">
                  <c:v>0.001</c:v>
                </c:pt>
                <c:pt idx="166">
                  <c:v>0.002</c:v>
                </c:pt>
                <c:pt idx="167">
                  <c:v>0.008</c:v>
                </c:pt>
                <c:pt idx="168">
                  <c:v>0.013</c:v>
                </c:pt>
                <c:pt idx="169">
                  <c:v>0.01</c:v>
                </c:pt>
                <c:pt idx="170">
                  <c:v>0.008</c:v>
                </c:pt>
                <c:pt idx="171">
                  <c:v>0.003</c:v>
                </c:pt>
                <c:pt idx="172">
                  <c:v>0.001</c:v>
                </c:pt>
                <c:pt idx="173">
                  <c:v>0.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Item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7ECAC4"/>
              </a:solidFill>
            </c:spPr>
            <c:extLst>
              <c:ext xmlns:c16="http://schemas.microsoft.com/office/drawing/2014/chart" uri="{C3380CC4-5D6E-409C-BE32-E72D297353CC}">
                <c16:uniqueId val="{00000069-2993-41DE-A2CB-63102DE87051}"/>
              </c:ext>
            </c:extLst>
          </c:dPt>
          <c:dPt>
            <c:idx val="25"/>
            <c:invertIfNegative val="1"/>
            <c:bubble3D val="0"/>
            <c:spPr>
              <a:solidFill>
                <a:srgbClr val="7ECAC4"/>
              </a:solidFill>
            </c:spPr>
            <c:extLst>
              <c:ext xmlns:c16="http://schemas.microsoft.com/office/drawing/2014/chart" uri="{C3380CC4-5D6E-409C-BE32-E72D297353CC}">
                <c16:uniqueId val="{0000006B-2993-41DE-A2CB-63102DE87051}"/>
              </c:ext>
            </c:extLst>
          </c:dPt>
          <c:dPt>
            <c:idx val="26"/>
            <c:invertIfNegative val="1"/>
            <c:bubble3D val="0"/>
            <c:spPr>
              <a:solidFill>
                <a:srgbClr val="7ECAC4"/>
              </a:solidFill>
            </c:spPr>
            <c:extLst>
              <c:ext xmlns:c16="http://schemas.microsoft.com/office/drawing/2014/chart" uri="{C3380CC4-5D6E-409C-BE32-E72D297353CC}">
                <c16:uniqueId val="{0000006D-2993-41DE-A2CB-63102DE87051}"/>
              </c:ext>
            </c:extLst>
          </c:dPt>
          <c:dPt>
            <c:idx val="27"/>
            <c:invertIfNegative val="1"/>
            <c:bubble3D val="0"/>
            <c:spPr>
              <a:solidFill>
                <a:srgbClr val="7ECAC4"/>
              </a:solidFill>
            </c:spPr>
            <c:extLst>
              <c:ext xmlns:c16="http://schemas.microsoft.com/office/drawing/2014/chart" uri="{C3380CC4-5D6E-409C-BE32-E72D297353CC}">
                <c16:uniqueId val="{0000006F-2993-41DE-A2CB-63102DE87051}"/>
              </c:ext>
            </c:extLst>
          </c:dPt>
          <c:dPt>
            <c:idx val="28"/>
            <c:invertIfNegative val="1"/>
            <c:bubble3D val="0"/>
            <c:spPr>
              <a:solidFill>
                <a:srgbClr val="7ECAC4"/>
              </a:solidFill>
            </c:spPr>
            <c:extLst>
              <c:ext xmlns:c16="http://schemas.microsoft.com/office/drawing/2014/chart" uri="{C3380CC4-5D6E-409C-BE32-E72D297353CC}">
                <c16:uniqueId val="{00000071-2993-41DE-A2CB-63102DE87051}"/>
              </c:ext>
            </c:extLst>
          </c:dPt>
          <c:dPt>
            <c:idx val="29"/>
            <c:invertIfNegative val="1"/>
            <c:bubble3D val="0"/>
            <c:spPr>
              <a:solidFill>
                <a:srgbClr val="7ECAC4"/>
              </a:solidFill>
            </c:spPr>
            <c:extLst>
              <c:ext xmlns:c16="http://schemas.microsoft.com/office/drawing/2014/chart" uri="{C3380CC4-5D6E-409C-BE32-E72D297353CC}">
                <c16:uniqueId val="{00000073-2993-41DE-A2CB-63102DE87051}"/>
              </c:ext>
            </c:extLst>
          </c:dPt>
          <c:dPt>
            <c:idx val="30"/>
            <c:invertIfNegative val="1"/>
            <c:bubble3D val="0"/>
            <c:spPr>
              <a:solidFill>
                <a:srgbClr val="7ECAC4"/>
              </a:solidFill>
            </c:spPr>
            <c:extLst>
              <c:ext xmlns:c16="http://schemas.microsoft.com/office/drawing/2014/chart" uri="{C3380CC4-5D6E-409C-BE32-E72D297353CC}">
                <c16:uniqueId val="{00000075-2993-41DE-A2CB-63102DE87051}"/>
              </c:ext>
            </c:extLst>
          </c:dPt>
          <c:dPt>
            <c:idx val="31"/>
            <c:invertIfNegative val="1"/>
            <c:bubble3D val="0"/>
            <c:spPr>
              <a:solidFill>
                <a:srgbClr val="7ECAC4"/>
              </a:solidFill>
            </c:spPr>
            <c:extLst>
              <c:ext xmlns:c16="http://schemas.microsoft.com/office/drawing/2014/chart" uri="{C3380CC4-5D6E-409C-BE32-E72D297353CC}">
                <c16:uniqueId val="{00000077-2993-41DE-A2CB-63102DE87051}"/>
              </c:ext>
            </c:extLst>
          </c:dPt>
          <c:dPt>
            <c:idx val="32"/>
            <c:invertIfNegative val="1"/>
            <c:bubble3D val="0"/>
            <c:spPr>
              <a:solidFill>
                <a:srgbClr val="7ECAC4"/>
              </a:solidFill>
            </c:spPr>
            <c:extLst>
              <c:ext xmlns:c16="http://schemas.microsoft.com/office/drawing/2014/chart" uri="{C3380CC4-5D6E-409C-BE32-E72D297353CC}">
                <c16:uniqueId val="{00000079-2993-41DE-A2CB-63102DE87051}"/>
              </c:ext>
            </c:extLst>
          </c:dPt>
          <c:dPt>
            <c:idx val="33"/>
            <c:invertIfNegative val="1"/>
            <c:bubble3D val="0"/>
            <c:spPr>
              <a:solidFill>
                <a:srgbClr val="7ECAC4"/>
              </a:solidFill>
            </c:spPr>
            <c:extLst>
              <c:ext xmlns:c16="http://schemas.microsoft.com/office/drawing/2014/chart" uri="{C3380CC4-5D6E-409C-BE32-E72D297353CC}">
                <c16:uniqueId val="{0000007B-2993-41DE-A2CB-63102DE87051}"/>
              </c:ext>
            </c:extLst>
          </c:dPt>
          <c:dPt>
            <c:idx val="34"/>
            <c:invertIfNegative val="1"/>
            <c:bubble3D val="0"/>
            <c:spPr>
              <a:solidFill>
                <a:srgbClr val="7ECAC4"/>
              </a:solidFill>
            </c:spPr>
            <c:extLst>
              <c:ext xmlns:c16="http://schemas.microsoft.com/office/drawing/2014/chart" uri="{C3380CC4-5D6E-409C-BE32-E72D297353CC}">
                <c16:uniqueId val="{0000007D-2993-41DE-A2CB-63102DE87051}"/>
              </c:ext>
            </c:extLst>
          </c:dPt>
          <c:dPt>
            <c:idx val="35"/>
            <c:invertIfNegative val="1"/>
            <c:bubble3D val="0"/>
            <c:spPr>
              <a:solidFill>
                <a:srgbClr val="7ECAC4"/>
              </a:solidFill>
            </c:spPr>
            <c:extLst>
              <c:ext xmlns:c16="http://schemas.microsoft.com/office/drawing/2014/chart" uri="{C3380CC4-5D6E-409C-BE32-E72D297353CC}">
                <c16:uniqueId val="{0000007F-2993-41DE-A2CB-63102DE87051}"/>
              </c:ext>
            </c:extLst>
          </c:dPt>
          <c:dPt>
            <c:idx val="36"/>
            <c:invertIfNegative val="1"/>
            <c:bubble3D val="0"/>
            <c:spPr>
              <a:solidFill>
                <a:srgbClr val="7ECAC4"/>
              </a:solidFill>
            </c:spPr>
            <c:extLst>
              <c:ext xmlns:c16="http://schemas.microsoft.com/office/drawing/2014/chart" uri="{C3380CC4-5D6E-409C-BE32-E72D297353CC}">
                <c16:uniqueId val="{00000081-2993-41DE-A2CB-63102DE87051}"/>
              </c:ext>
            </c:extLst>
          </c:dPt>
          <c:dPt>
            <c:idx val="37"/>
            <c:invertIfNegative val="1"/>
            <c:bubble3D val="0"/>
            <c:spPr>
              <a:solidFill>
                <a:srgbClr val="7ECAC4"/>
              </a:solidFill>
            </c:spPr>
            <c:extLst>
              <c:ext xmlns:c16="http://schemas.microsoft.com/office/drawing/2014/chart" uri="{C3380CC4-5D6E-409C-BE32-E72D297353CC}">
                <c16:uniqueId val="{00000083-2993-41DE-A2CB-63102DE87051}"/>
              </c:ext>
            </c:extLst>
          </c:dPt>
          <c:dPt>
            <c:idx val="38"/>
            <c:invertIfNegative val="1"/>
            <c:bubble3D val="0"/>
            <c:spPr>
              <a:solidFill>
                <a:srgbClr val="7ECAC4"/>
              </a:solidFill>
            </c:spPr>
            <c:extLst>
              <c:ext xmlns:c16="http://schemas.microsoft.com/office/drawing/2014/chart" uri="{C3380CC4-5D6E-409C-BE32-E72D297353CC}">
                <c16:uniqueId val="{00000085-2993-41DE-A2CB-63102DE87051}"/>
              </c:ext>
            </c:extLst>
          </c:dPt>
          <c:dPt>
            <c:idx val="39"/>
            <c:invertIfNegative val="1"/>
            <c:bubble3D val="0"/>
            <c:spPr>
              <a:solidFill>
                <a:srgbClr val="7ECAC4"/>
              </a:solidFill>
            </c:spPr>
            <c:extLst>
              <c:ext xmlns:c16="http://schemas.microsoft.com/office/drawing/2014/chart" uri="{C3380CC4-5D6E-409C-BE32-E72D297353CC}">
                <c16:uniqueId val="{00000087-2993-41DE-A2CB-63102DE87051}"/>
              </c:ext>
            </c:extLst>
          </c:dPt>
          <c:dPt>
            <c:idx val="40"/>
            <c:invertIfNegative val="1"/>
            <c:bubble3D val="0"/>
            <c:spPr>
              <a:solidFill>
                <a:srgbClr val="7ECAC4"/>
              </a:solidFill>
            </c:spPr>
            <c:extLst>
              <c:ext xmlns:c16="http://schemas.microsoft.com/office/drawing/2014/chart" uri="{C3380CC4-5D6E-409C-BE32-E72D297353CC}">
                <c16:uniqueId val="{00000089-2993-41DE-A2CB-63102DE87051}"/>
              </c:ext>
            </c:extLst>
          </c:dPt>
          <c:dPt>
            <c:idx val="41"/>
            <c:invertIfNegative val="1"/>
            <c:bubble3D val="0"/>
            <c:spPr>
              <a:solidFill>
                <a:srgbClr val="7ECAC4"/>
              </a:solidFill>
            </c:spPr>
            <c:extLst>
              <c:ext xmlns:c16="http://schemas.microsoft.com/office/drawing/2014/chart" uri="{C3380CC4-5D6E-409C-BE32-E72D297353CC}">
                <c16:uniqueId val="{0000008B-2993-41DE-A2CB-63102DE87051}"/>
              </c:ext>
            </c:extLst>
          </c:dPt>
          <c:dPt>
            <c:idx val="42"/>
            <c:invertIfNegative val="1"/>
            <c:bubble3D val="0"/>
            <c:spPr>
              <a:solidFill>
                <a:srgbClr val="7ECAC4"/>
              </a:solidFill>
            </c:spPr>
            <c:extLst>
              <c:ext xmlns:c16="http://schemas.microsoft.com/office/drawing/2014/chart" uri="{C3380CC4-5D6E-409C-BE32-E72D297353CC}">
                <c16:uniqueId val="{0000008D-2993-41DE-A2CB-63102DE87051}"/>
              </c:ext>
            </c:extLst>
          </c:dPt>
          <c:dPt>
            <c:idx val="43"/>
            <c:invertIfNegative val="1"/>
            <c:bubble3D val="0"/>
            <c:spPr>
              <a:solidFill>
                <a:srgbClr val="7ECAC4"/>
              </a:solidFill>
            </c:spPr>
            <c:extLst>
              <c:ext xmlns:c16="http://schemas.microsoft.com/office/drawing/2014/chart" uri="{C3380CC4-5D6E-409C-BE32-E72D297353CC}">
                <c16:uniqueId val="{0000008F-2993-41DE-A2CB-63102DE87051}"/>
              </c:ext>
            </c:extLst>
          </c:dPt>
          <c:dPt>
            <c:idx val="44"/>
            <c:invertIfNegative val="1"/>
            <c:bubble3D val="0"/>
            <c:spPr>
              <a:solidFill>
                <a:srgbClr val="7ECAC4"/>
              </a:solidFill>
            </c:spPr>
            <c:extLst>
              <c:ext xmlns:c16="http://schemas.microsoft.com/office/drawing/2014/chart" uri="{C3380CC4-5D6E-409C-BE32-E72D297353CC}">
                <c16:uniqueId val="{00000091-2993-41DE-A2CB-63102DE87051}"/>
              </c:ext>
            </c:extLst>
          </c:dPt>
          <c:dPt>
            <c:idx val="45"/>
            <c:invertIfNegative val="1"/>
            <c:bubble3D val="0"/>
            <c:spPr>
              <a:solidFill>
                <a:srgbClr val="7ECAC4"/>
              </a:solidFill>
            </c:spPr>
            <c:extLst>
              <c:ext xmlns:c16="http://schemas.microsoft.com/office/drawing/2014/chart" uri="{C3380CC4-5D6E-409C-BE32-E72D297353CC}">
                <c16:uniqueId val="{00000093-2993-41DE-A2CB-63102DE87051}"/>
              </c:ext>
            </c:extLst>
          </c:dPt>
          <c:dPt>
            <c:idx val="46"/>
            <c:invertIfNegative val="1"/>
            <c:bubble3D val="0"/>
            <c:spPr>
              <a:solidFill>
                <a:srgbClr val="7ECAC4"/>
              </a:solidFill>
            </c:spPr>
            <c:extLst>
              <c:ext xmlns:c16="http://schemas.microsoft.com/office/drawing/2014/chart" uri="{C3380CC4-5D6E-409C-BE32-E72D297353CC}">
                <c16:uniqueId val="{00000095-2993-41DE-A2CB-63102DE87051}"/>
              </c:ext>
            </c:extLst>
          </c:dPt>
          <c:dPt>
            <c:idx val="47"/>
            <c:invertIfNegative val="1"/>
            <c:bubble3D val="0"/>
            <c:spPr>
              <a:solidFill>
                <a:srgbClr val="AEABAB"/>
              </a:solidFill>
            </c:spPr>
            <c:extLst>
              <c:ext xmlns:c16="http://schemas.microsoft.com/office/drawing/2014/chart" uri="{C3380CC4-5D6E-409C-BE32-E72D297353CC}">
                <c16:uniqueId val="{00000097-2993-41DE-A2CB-63102DE87051}"/>
              </c:ext>
            </c:extLst>
          </c:dPt>
          <c:dPt>
            <c:idx val="48"/>
            <c:invertIfNegative val="1"/>
            <c:bubble3D val="0"/>
            <c:spPr>
              <a:solidFill>
                <a:srgbClr val="AEABAB"/>
              </a:solidFill>
            </c:spPr>
            <c:extLst>
              <c:ext xmlns:c16="http://schemas.microsoft.com/office/drawing/2014/chart" uri="{C3380CC4-5D6E-409C-BE32-E72D297353CC}">
                <c16:uniqueId val="{00000099-2993-41DE-A2CB-63102DE87051}"/>
              </c:ext>
            </c:extLst>
          </c:dPt>
          <c:dPt>
            <c:idx val="49"/>
            <c:invertIfNegative val="1"/>
            <c:bubble3D val="0"/>
            <c:spPr>
              <a:solidFill>
                <a:srgbClr val="AEABAB"/>
              </a:solidFill>
            </c:spPr>
            <c:extLst>
              <c:ext xmlns:c16="http://schemas.microsoft.com/office/drawing/2014/chart" uri="{C3380CC4-5D6E-409C-BE32-E72D297353CC}">
                <c16:uniqueId val="{0000009B-2993-41DE-A2CB-63102DE87051}"/>
              </c:ext>
            </c:extLst>
          </c:dPt>
          <c:dPt>
            <c:idx val="50"/>
            <c:invertIfNegative val="1"/>
            <c:bubble3D val="0"/>
            <c:spPr>
              <a:solidFill>
                <a:srgbClr val="AEABAB"/>
              </a:solidFill>
            </c:spPr>
            <c:extLst>
              <c:ext xmlns:c16="http://schemas.microsoft.com/office/drawing/2014/chart" uri="{C3380CC4-5D6E-409C-BE32-E72D297353CC}">
                <c16:uniqueId val="{0000009D-2993-41DE-A2CB-63102DE87051}"/>
              </c:ext>
            </c:extLst>
          </c:dPt>
          <c:dPt>
            <c:idx val="51"/>
            <c:invertIfNegative val="1"/>
            <c:bubble3D val="0"/>
            <c:spPr>
              <a:solidFill>
                <a:srgbClr val="AEABAB"/>
              </a:solidFill>
            </c:spPr>
            <c:extLst>
              <c:ext xmlns:c16="http://schemas.microsoft.com/office/drawing/2014/chart" uri="{C3380CC4-5D6E-409C-BE32-E72D297353CC}">
                <c16:uniqueId val="{0000009F-2993-41DE-A2CB-63102DE87051}"/>
              </c:ext>
            </c:extLst>
          </c:dPt>
          <c:dPt>
            <c:idx val="52"/>
            <c:invertIfNegative val="1"/>
            <c:bubble3D val="0"/>
            <c:spPr>
              <a:solidFill>
                <a:srgbClr val="AEABAB"/>
              </a:solidFill>
            </c:spPr>
            <c:extLst>
              <c:ext xmlns:c16="http://schemas.microsoft.com/office/drawing/2014/chart" uri="{C3380CC4-5D6E-409C-BE32-E72D297353CC}">
                <c16:uniqueId val="{000000A1-2993-41DE-A2CB-63102DE87051}"/>
              </c:ext>
            </c:extLst>
          </c:dPt>
          <c:dPt>
            <c:idx val="53"/>
            <c:invertIfNegative val="1"/>
            <c:bubble3D val="0"/>
            <c:spPr>
              <a:solidFill>
                <a:srgbClr val="AEABAB"/>
              </a:solidFill>
            </c:spPr>
            <c:extLst>
              <c:ext xmlns:c16="http://schemas.microsoft.com/office/drawing/2014/chart" uri="{C3380CC4-5D6E-409C-BE32-E72D297353CC}">
                <c16:uniqueId val="{000000A3-2993-41DE-A2CB-63102DE87051}"/>
              </c:ext>
            </c:extLst>
          </c:dPt>
          <c:dPt>
            <c:idx val="54"/>
            <c:invertIfNegative val="0"/>
            <c:bubble3D val="0"/>
            <c:spPr>
              <a:solidFill>
                <a:srgbClr val="AEABAB"/>
              </a:solidFill>
            </c:spPr>
            <c:extLst>
              <c:ext xmlns:c16="http://schemas.microsoft.com/office/drawing/2014/chart" uri="{C3380CC4-5D6E-409C-BE32-E72D297353CC}">
                <c16:uniqueId val="{00000072-C76F-4230-900D-40618C09729F}"/>
              </c:ext>
            </c:extLst>
          </c:dPt>
          <c:dPt>
            <c:idx val="55"/>
            <c:invertIfNegative val="0"/>
            <c:bubble3D val="0"/>
            <c:spPr>
              <a:solidFill>
                <a:srgbClr val="AEABAB"/>
              </a:solidFill>
            </c:spPr>
            <c:extLst>
              <c:ext xmlns:c16="http://schemas.microsoft.com/office/drawing/2014/chart" uri="{C3380CC4-5D6E-409C-BE32-E72D297353CC}">
                <c16:uniqueId val="{00000074-C76F-4230-900D-40618C09729F}"/>
              </c:ext>
            </c:extLst>
          </c:dPt>
          <c:dPt>
            <c:idx val="56"/>
            <c:invertIfNegative val="0"/>
            <c:bubble3D val="0"/>
            <c:spPr>
              <a:solidFill>
                <a:srgbClr val="AEABAB"/>
              </a:solidFill>
            </c:spPr>
            <c:extLst>
              <c:ext xmlns:c16="http://schemas.microsoft.com/office/drawing/2014/chart" uri="{C3380CC4-5D6E-409C-BE32-E72D297353CC}">
                <c16:uniqueId val="{00000076-C76F-4230-900D-40618C09729F}"/>
              </c:ext>
            </c:extLst>
          </c:dPt>
          <c:dPt>
            <c:idx val="57"/>
            <c:invertIfNegative val="0"/>
            <c:bubble3D val="0"/>
            <c:spPr>
              <a:solidFill>
                <a:srgbClr val="AEABAB"/>
              </a:solidFill>
            </c:spPr>
            <c:extLst>
              <c:ext xmlns:c16="http://schemas.microsoft.com/office/drawing/2014/chart" uri="{C3380CC4-5D6E-409C-BE32-E72D297353CC}">
                <c16:uniqueId val="{00000078-C76F-4230-900D-40618C09729F}"/>
              </c:ext>
            </c:extLst>
          </c:dPt>
          <c:dPt>
            <c:idx val="58"/>
            <c:invertIfNegative val="0"/>
            <c:bubble3D val="0"/>
            <c:spPr>
              <a:solidFill>
                <a:srgbClr val="AEABAB"/>
              </a:solidFill>
            </c:spPr>
            <c:extLst>
              <c:ext xmlns:c16="http://schemas.microsoft.com/office/drawing/2014/chart" uri="{C3380CC4-5D6E-409C-BE32-E72D297353CC}">
                <c16:uniqueId val="{0000007A-C76F-4230-900D-40618C09729F}"/>
              </c:ext>
            </c:extLst>
          </c:dPt>
          <c:dPt>
            <c:idx val="59"/>
            <c:invertIfNegative val="0"/>
            <c:bubble3D val="0"/>
            <c:spPr>
              <a:solidFill>
                <a:srgbClr val="AEABAB"/>
              </a:solidFill>
            </c:spPr>
            <c:extLst>
              <c:ext xmlns:c16="http://schemas.microsoft.com/office/drawing/2014/chart" uri="{C3380CC4-5D6E-409C-BE32-E72D297353CC}">
                <c16:uniqueId val="{0000007C-C76F-4230-900D-40618C09729F}"/>
              </c:ext>
            </c:extLst>
          </c:dPt>
          <c:dPt>
            <c:idx val="60"/>
            <c:invertIfNegative val="0"/>
            <c:bubble3D val="0"/>
            <c:spPr>
              <a:solidFill>
                <a:srgbClr val="AEABAB"/>
              </a:solidFill>
            </c:spPr>
            <c:extLst>
              <c:ext xmlns:c16="http://schemas.microsoft.com/office/drawing/2014/chart" uri="{C3380CC4-5D6E-409C-BE32-E72D297353CC}">
                <c16:uniqueId val="{0000007E-C76F-4230-900D-40618C09729F}"/>
              </c:ext>
            </c:extLst>
          </c:dPt>
          <c:dPt>
            <c:idx val="61"/>
            <c:invertIfNegative val="0"/>
            <c:bubble3D val="0"/>
            <c:spPr>
              <a:solidFill>
                <a:srgbClr val="AEABAB"/>
              </a:solidFill>
            </c:spPr>
            <c:extLst>
              <c:ext xmlns:c16="http://schemas.microsoft.com/office/drawing/2014/chart" uri="{C3380CC4-5D6E-409C-BE32-E72D297353CC}">
                <c16:uniqueId val="{00000080-C76F-4230-900D-40618C09729F}"/>
              </c:ext>
            </c:extLst>
          </c:dPt>
          <c:dPt>
            <c:idx val="62"/>
            <c:invertIfNegative val="0"/>
            <c:bubble3D val="0"/>
            <c:spPr>
              <a:solidFill>
                <a:srgbClr val="AEABAB"/>
              </a:solidFill>
            </c:spPr>
            <c:extLst>
              <c:ext xmlns:c16="http://schemas.microsoft.com/office/drawing/2014/chart" uri="{C3380CC4-5D6E-409C-BE32-E72D297353CC}">
                <c16:uniqueId val="{00000082-C76F-4230-900D-40618C09729F}"/>
              </c:ext>
            </c:extLst>
          </c:dPt>
          <c:dPt>
            <c:idx val="63"/>
            <c:invertIfNegative val="0"/>
            <c:bubble3D val="0"/>
            <c:spPr>
              <a:solidFill>
                <a:srgbClr val="AEABAB"/>
              </a:solidFill>
            </c:spPr>
            <c:extLst>
              <c:ext xmlns:c16="http://schemas.microsoft.com/office/drawing/2014/chart" uri="{C3380CC4-5D6E-409C-BE32-E72D297353CC}">
                <c16:uniqueId val="{00000084-C76F-4230-900D-40618C09729F}"/>
              </c:ext>
            </c:extLst>
          </c:dPt>
          <c:dPt>
            <c:idx val="64"/>
            <c:invertIfNegative val="0"/>
            <c:bubble3D val="0"/>
            <c:spPr>
              <a:solidFill>
                <a:srgbClr val="AEABAB"/>
              </a:solidFill>
            </c:spPr>
            <c:extLst>
              <c:ext xmlns:c16="http://schemas.microsoft.com/office/drawing/2014/chart" uri="{C3380CC4-5D6E-409C-BE32-E72D297353CC}">
                <c16:uniqueId val="{00000086-C76F-4230-900D-40618C09729F}"/>
              </c:ext>
            </c:extLst>
          </c:dPt>
          <c:dPt>
            <c:idx val="65"/>
            <c:invertIfNegative val="0"/>
            <c:bubble3D val="0"/>
            <c:spPr>
              <a:solidFill>
                <a:srgbClr val="AEABAB"/>
              </a:solidFill>
            </c:spPr>
            <c:extLst>
              <c:ext xmlns:c16="http://schemas.microsoft.com/office/drawing/2014/chart" uri="{C3380CC4-5D6E-409C-BE32-E72D297353CC}">
                <c16:uniqueId val="{00000088-C76F-4230-900D-40618C09729F}"/>
              </c:ext>
            </c:extLst>
          </c:dPt>
          <c:dPt>
            <c:idx val="66"/>
            <c:invertIfNegative val="0"/>
            <c:bubble3D val="0"/>
            <c:spPr>
              <a:solidFill>
                <a:srgbClr val="AEABAB"/>
              </a:solidFill>
            </c:spPr>
            <c:extLst>
              <c:ext xmlns:c16="http://schemas.microsoft.com/office/drawing/2014/chart" uri="{C3380CC4-5D6E-409C-BE32-E72D297353CC}">
                <c16:uniqueId val="{0000008A-C76F-4230-900D-40618C09729F}"/>
              </c:ext>
            </c:extLst>
          </c:dPt>
          <c:dPt>
            <c:idx val="67"/>
            <c:invertIfNegative val="0"/>
            <c:bubble3D val="0"/>
            <c:spPr>
              <a:solidFill>
                <a:srgbClr val="AEABAB"/>
              </a:solidFill>
            </c:spPr>
            <c:extLst>
              <c:ext xmlns:c16="http://schemas.microsoft.com/office/drawing/2014/chart" uri="{C3380CC4-5D6E-409C-BE32-E72D297353CC}">
                <c16:uniqueId val="{0000008C-C76F-4230-900D-40618C09729F}"/>
              </c:ext>
            </c:extLst>
          </c:dPt>
          <c:dPt>
            <c:idx val="68"/>
            <c:invertIfNegative val="0"/>
            <c:bubble3D val="0"/>
            <c:spPr>
              <a:solidFill>
                <a:srgbClr val="AEABAB"/>
              </a:solidFill>
            </c:spPr>
            <c:extLst>
              <c:ext xmlns:c16="http://schemas.microsoft.com/office/drawing/2014/chart" uri="{C3380CC4-5D6E-409C-BE32-E72D297353CC}">
                <c16:uniqueId val="{0000008E-C76F-4230-900D-40618C09729F}"/>
              </c:ext>
            </c:extLst>
          </c:dPt>
          <c:dPt>
            <c:idx val="69"/>
            <c:invertIfNegative val="0"/>
            <c:bubble3D val="0"/>
            <c:spPr>
              <a:solidFill>
                <a:srgbClr val="AEABAB"/>
              </a:solidFill>
            </c:spPr>
            <c:extLst>
              <c:ext xmlns:c16="http://schemas.microsoft.com/office/drawing/2014/chart" uri="{C3380CC4-5D6E-409C-BE32-E72D297353CC}">
                <c16:uniqueId val="{00000090-C76F-4230-900D-40618C09729F}"/>
              </c:ext>
            </c:extLst>
          </c:dPt>
          <c:dPt>
            <c:idx val="70"/>
            <c:invertIfNegative val="0"/>
            <c:bubble3D val="0"/>
            <c:spPr>
              <a:solidFill>
                <a:srgbClr val="AEABAB"/>
              </a:solidFill>
            </c:spPr>
            <c:extLst>
              <c:ext xmlns:c16="http://schemas.microsoft.com/office/drawing/2014/chart" uri="{C3380CC4-5D6E-409C-BE32-E72D297353CC}">
                <c16:uniqueId val="{00000092-C76F-4230-900D-40618C09729F}"/>
              </c:ext>
            </c:extLst>
          </c:dPt>
          <c:dPt>
            <c:idx val="71"/>
            <c:invertIfNegative val="0"/>
            <c:bubble3D val="0"/>
            <c:spPr>
              <a:solidFill>
                <a:srgbClr val="AEABAB"/>
              </a:solidFill>
            </c:spPr>
            <c:extLst>
              <c:ext xmlns:c16="http://schemas.microsoft.com/office/drawing/2014/chart" uri="{C3380CC4-5D6E-409C-BE32-E72D297353CC}">
                <c16:uniqueId val="{00000094-C76F-4230-900D-40618C09729F}"/>
              </c:ext>
            </c:extLst>
          </c:dPt>
          <c:dPt>
            <c:idx val="72"/>
            <c:invertIfNegative val="0"/>
            <c:bubble3D val="0"/>
            <c:spPr>
              <a:solidFill>
                <a:srgbClr val="AEABAB"/>
              </a:solidFill>
            </c:spPr>
            <c:extLst>
              <c:ext xmlns:c16="http://schemas.microsoft.com/office/drawing/2014/chart" uri="{C3380CC4-5D6E-409C-BE32-E72D297353CC}">
                <c16:uniqueId val="{00000096-C76F-4230-900D-40618C09729F}"/>
              </c:ext>
            </c:extLst>
          </c:dPt>
          <c:dPt>
            <c:idx val="73"/>
            <c:invertIfNegative val="0"/>
            <c:bubble3D val="0"/>
            <c:spPr>
              <a:solidFill>
                <a:srgbClr val="AEABAB"/>
              </a:solidFill>
            </c:spPr>
            <c:extLst>
              <c:ext xmlns:c16="http://schemas.microsoft.com/office/drawing/2014/chart" uri="{C3380CC4-5D6E-409C-BE32-E72D297353CC}">
                <c16:uniqueId val="{00000098-C76F-4230-900D-40618C09729F}"/>
              </c:ext>
            </c:extLst>
          </c:dPt>
          <c:dPt>
            <c:idx val="74"/>
            <c:invertIfNegative val="0"/>
            <c:bubble3D val="0"/>
            <c:spPr>
              <a:solidFill>
                <a:srgbClr val="AEABAB"/>
              </a:solidFill>
            </c:spPr>
            <c:extLst>
              <c:ext xmlns:c16="http://schemas.microsoft.com/office/drawing/2014/chart" uri="{C3380CC4-5D6E-409C-BE32-E72D297353CC}">
                <c16:uniqueId val="{0000009A-C76F-4230-900D-40618C09729F}"/>
              </c:ext>
            </c:extLst>
          </c:dPt>
          <c:dPt>
            <c:idx val="75"/>
            <c:invertIfNegative val="0"/>
            <c:bubble3D val="0"/>
            <c:spPr>
              <a:solidFill>
                <a:srgbClr val="AEABAB"/>
              </a:solidFill>
            </c:spPr>
            <c:extLst>
              <c:ext xmlns:c16="http://schemas.microsoft.com/office/drawing/2014/chart" uri="{C3380CC4-5D6E-409C-BE32-E72D297353CC}">
                <c16:uniqueId val="{0000009C-C76F-4230-900D-40618C09729F}"/>
              </c:ext>
            </c:extLst>
          </c:dPt>
          <c:dPt>
            <c:idx val="76"/>
            <c:invertIfNegative val="0"/>
            <c:bubble3D val="0"/>
            <c:spPr>
              <a:solidFill>
                <a:srgbClr val="AEABAB"/>
              </a:solidFill>
            </c:spPr>
            <c:extLst>
              <c:ext xmlns:c16="http://schemas.microsoft.com/office/drawing/2014/chart" uri="{C3380CC4-5D6E-409C-BE32-E72D297353CC}">
                <c16:uniqueId val="{0000009E-C76F-4230-900D-40618C09729F}"/>
              </c:ext>
            </c:extLst>
          </c:dPt>
          <c:dPt>
            <c:idx val="77"/>
            <c:invertIfNegative val="0"/>
            <c:bubble3D val="0"/>
            <c:spPr>
              <a:solidFill>
                <a:srgbClr val="AEABAB"/>
              </a:solidFill>
            </c:spPr>
            <c:extLst>
              <c:ext xmlns:c16="http://schemas.microsoft.com/office/drawing/2014/chart" uri="{C3380CC4-5D6E-409C-BE32-E72D297353CC}">
                <c16:uniqueId val="{000000A0-C76F-4230-900D-40618C09729F}"/>
              </c:ext>
            </c:extLst>
          </c:dPt>
          <c:dPt>
            <c:idx val="78"/>
            <c:invertIfNegative val="0"/>
            <c:bubble3D val="0"/>
            <c:spPr>
              <a:solidFill>
                <a:srgbClr val="AEABAB"/>
              </a:solidFill>
            </c:spPr>
            <c:extLst>
              <c:ext xmlns:c16="http://schemas.microsoft.com/office/drawing/2014/chart" uri="{C3380CC4-5D6E-409C-BE32-E72D297353CC}">
                <c16:uniqueId val="{000000A2-C76F-4230-900D-40618C09729F}"/>
              </c:ext>
            </c:extLst>
          </c:dPt>
          <c:dPt>
            <c:idx val="79"/>
            <c:invertIfNegative val="0"/>
            <c:bubble3D val="0"/>
            <c:spPr>
              <a:solidFill>
                <a:srgbClr val="AEABAB"/>
              </a:solidFill>
            </c:spPr>
            <c:extLst>
              <c:ext xmlns:c16="http://schemas.microsoft.com/office/drawing/2014/chart" uri="{C3380CC4-5D6E-409C-BE32-E72D297353CC}">
                <c16:uniqueId val="{000000A4-C76F-4230-900D-40618C09729F}"/>
              </c:ext>
            </c:extLst>
          </c:dPt>
          <c:dPt>
            <c:idx val="80"/>
            <c:invertIfNegative val="0"/>
            <c:bubble3D val="0"/>
            <c:spPr>
              <a:solidFill>
                <a:srgbClr val="AEABAB"/>
              </a:solidFill>
            </c:spPr>
            <c:extLst>
              <c:ext xmlns:c16="http://schemas.microsoft.com/office/drawing/2014/chart" uri="{C3380CC4-5D6E-409C-BE32-E72D297353CC}">
                <c16:uniqueId val="{000000A6-C76F-4230-900D-40618C09729F}"/>
              </c:ext>
            </c:extLst>
          </c:dPt>
          <c:dPt>
            <c:idx val="81"/>
            <c:invertIfNegative val="1"/>
            <c:bubble3D val="0"/>
            <c:spPr>
              <a:solidFill>
                <a:srgbClr val="AEABAB"/>
              </a:solidFill>
            </c:spPr>
            <c:extLst>
              <c:ext xmlns:c16="http://schemas.microsoft.com/office/drawing/2014/chart" uri="{C3380CC4-5D6E-409C-BE32-E72D297353CC}">
                <c16:uniqueId val="{000000A5-2993-41DE-A2CB-63102DE87051}"/>
              </c:ext>
            </c:extLst>
          </c:dPt>
          <c:dPt>
            <c:idx val="82"/>
            <c:invertIfNegative val="1"/>
            <c:bubble3D val="0"/>
            <c:spPr>
              <a:solidFill>
                <a:srgbClr val="AEABAB"/>
              </a:solidFill>
            </c:spPr>
            <c:extLst>
              <c:ext xmlns:c16="http://schemas.microsoft.com/office/drawing/2014/chart" uri="{C3380CC4-5D6E-409C-BE32-E72D297353CC}">
                <c16:uniqueId val="{000000A7-2993-41DE-A2CB-63102DE87051}"/>
              </c:ext>
            </c:extLst>
          </c:dPt>
          <c:dPt>
            <c:idx val="83"/>
            <c:invertIfNegative val="1"/>
            <c:bubble3D val="0"/>
            <c:spPr>
              <a:solidFill>
                <a:srgbClr val="AEABAB"/>
              </a:solidFill>
            </c:spPr>
            <c:extLst>
              <c:ext xmlns:c16="http://schemas.microsoft.com/office/drawing/2014/chart" uri="{C3380CC4-5D6E-409C-BE32-E72D297353CC}">
                <c16:uniqueId val="{000000A9-2993-41DE-A2CB-63102DE87051}"/>
              </c:ext>
            </c:extLst>
          </c:dPt>
          <c:dPt>
            <c:idx val="84"/>
            <c:invertIfNegative val="1"/>
            <c:bubble3D val="0"/>
            <c:spPr>
              <a:solidFill>
                <a:srgbClr val="AEABAB"/>
              </a:solidFill>
            </c:spPr>
            <c:extLst>
              <c:ext xmlns:c16="http://schemas.microsoft.com/office/drawing/2014/chart" uri="{C3380CC4-5D6E-409C-BE32-E72D297353CC}">
                <c16:uniqueId val="{000000AB-2993-41DE-A2CB-63102DE87051}"/>
              </c:ext>
            </c:extLst>
          </c:dPt>
          <c:dPt>
            <c:idx val="85"/>
            <c:invertIfNegative val="1"/>
            <c:bubble3D val="0"/>
            <c:spPr>
              <a:solidFill>
                <a:srgbClr val="AEABAB"/>
              </a:solidFill>
            </c:spPr>
            <c:extLst>
              <c:ext xmlns:c16="http://schemas.microsoft.com/office/drawing/2014/chart" uri="{C3380CC4-5D6E-409C-BE32-E72D297353CC}">
                <c16:uniqueId val="{000000AD-2993-41DE-A2CB-63102DE87051}"/>
              </c:ext>
            </c:extLst>
          </c:dPt>
          <c:dPt>
            <c:idx val="86"/>
            <c:invertIfNegative val="1"/>
            <c:bubble3D val="0"/>
            <c:spPr>
              <a:solidFill>
                <a:srgbClr val="AEABAB"/>
              </a:solidFill>
            </c:spPr>
            <c:extLst>
              <c:ext xmlns:c16="http://schemas.microsoft.com/office/drawing/2014/chart" uri="{C3380CC4-5D6E-409C-BE32-E72D297353CC}">
                <c16:uniqueId val="{000000AF-2993-41DE-A2CB-63102DE87051}"/>
              </c:ext>
            </c:extLst>
          </c:dPt>
          <c:dPt>
            <c:idx val="87"/>
            <c:invertIfNegative val="1"/>
            <c:bubble3D val="0"/>
            <c:spPr>
              <a:solidFill>
                <a:srgbClr val="AEABAB"/>
              </a:solidFill>
            </c:spPr>
            <c:extLst>
              <c:ext xmlns:c16="http://schemas.microsoft.com/office/drawing/2014/chart" uri="{C3380CC4-5D6E-409C-BE32-E72D297353CC}">
                <c16:uniqueId val="{000000B1-2993-41DE-A2CB-63102DE87051}"/>
              </c:ext>
            </c:extLst>
          </c:dPt>
          <c:dPt>
            <c:idx val="88"/>
            <c:invertIfNegative val="1"/>
            <c:bubble3D val="0"/>
            <c:spPr>
              <a:solidFill>
                <a:srgbClr val="AEABAB"/>
              </a:solidFill>
            </c:spPr>
            <c:extLst>
              <c:ext xmlns:c16="http://schemas.microsoft.com/office/drawing/2014/chart" uri="{C3380CC4-5D6E-409C-BE32-E72D297353CC}">
                <c16:uniqueId val="{000000B3-2993-41DE-A2CB-63102DE87051}"/>
              </c:ext>
            </c:extLst>
          </c:dPt>
          <c:dPt>
            <c:idx val="89"/>
            <c:invertIfNegative val="1"/>
            <c:bubble3D val="0"/>
            <c:spPr>
              <a:solidFill>
                <a:srgbClr val="AEABAB"/>
              </a:solidFill>
            </c:spPr>
            <c:extLst>
              <c:ext xmlns:c16="http://schemas.microsoft.com/office/drawing/2014/chart" uri="{C3380CC4-5D6E-409C-BE32-E72D297353CC}">
                <c16:uniqueId val="{000000B5-2993-41DE-A2CB-63102DE87051}"/>
              </c:ext>
            </c:extLst>
          </c:dPt>
          <c:dPt>
            <c:idx val="90"/>
            <c:invertIfNegative val="1"/>
            <c:bubble3D val="0"/>
            <c:spPr>
              <a:solidFill>
                <a:srgbClr val="AEABAB"/>
              </a:solidFill>
            </c:spPr>
            <c:extLst>
              <c:ext xmlns:c16="http://schemas.microsoft.com/office/drawing/2014/chart" uri="{C3380CC4-5D6E-409C-BE32-E72D297353CC}">
                <c16:uniqueId val="{000000B7-2993-41DE-A2CB-63102DE87051}"/>
              </c:ext>
            </c:extLst>
          </c:dPt>
          <c:dPt>
            <c:idx val="91"/>
            <c:invertIfNegative val="1"/>
            <c:bubble3D val="0"/>
            <c:spPr>
              <a:solidFill>
                <a:srgbClr val="AEABAB"/>
              </a:solidFill>
            </c:spPr>
            <c:extLst>
              <c:ext xmlns:c16="http://schemas.microsoft.com/office/drawing/2014/chart" uri="{C3380CC4-5D6E-409C-BE32-E72D297353CC}">
                <c16:uniqueId val="{000000B9-2993-41DE-A2CB-63102DE87051}"/>
              </c:ext>
            </c:extLst>
          </c:dPt>
          <c:dPt>
            <c:idx val="92"/>
            <c:invertIfNegative val="1"/>
            <c:bubble3D val="0"/>
            <c:spPr>
              <a:solidFill>
                <a:srgbClr val="AEABAB"/>
              </a:solidFill>
            </c:spPr>
            <c:extLst>
              <c:ext xmlns:c16="http://schemas.microsoft.com/office/drawing/2014/chart" uri="{C3380CC4-5D6E-409C-BE32-E72D297353CC}">
                <c16:uniqueId val="{000000BB-2993-41DE-A2CB-63102DE87051}"/>
              </c:ext>
            </c:extLst>
          </c:dPt>
          <c:dPt>
            <c:idx val="93"/>
            <c:invertIfNegative val="1"/>
            <c:bubble3D val="0"/>
            <c:spPr>
              <a:solidFill>
                <a:srgbClr val="AEABAB"/>
              </a:solidFill>
            </c:spPr>
            <c:extLst>
              <c:ext xmlns:c16="http://schemas.microsoft.com/office/drawing/2014/chart" uri="{C3380CC4-5D6E-409C-BE32-E72D297353CC}">
                <c16:uniqueId val="{000000BD-2993-41DE-A2CB-63102DE87051}"/>
              </c:ext>
            </c:extLst>
          </c:dPt>
          <c:dPt>
            <c:idx val="94"/>
            <c:invertIfNegative val="1"/>
            <c:bubble3D val="0"/>
            <c:spPr>
              <a:solidFill>
                <a:srgbClr val="AEABAB"/>
              </a:solidFill>
            </c:spPr>
            <c:extLst>
              <c:ext xmlns:c16="http://schemas.microsoft.com/office/drawing/2014/chart" uri="{C3380CC4-5D6E-409C-BE32-E72D297353CC}">
                <c16:uniqueId val="{000000BF-2993-41DE-A2CB-63102DE87051}"/>
              </c:ext>
            </c:extLst>
          </c:dPt>
          <c:dPt>
            <c:idx val="95"/>
            <c:invertIfNegative val="1"/>
            <c:bubble3D val="0"/>
            <c:spPr>
              <a:solidFill>
                <a:srgbClr val="AEABAB"/>
              </a:solidFill>
            </c:spPr>
            <c:extLst>
              <c:ext xmlns:c16="http://schemas.microsoft.com/office/drawing/2014/chart" uri="{C3380CC4-5D6E-409C-BE32-E72D297353CC}">
                <c16:uniqueId val="{000000C1-2993-41DE-A2CB-63102DE87051}"/>
              </c:ext>
            </c:extLst>
          </c:dPt>
          <c:dPt>
            <c:idx val="96"/>
            <c:invertIfNegative val="1"/>
            <c:bubble3D val="0"/>
            <c:spPr>
              <a:solidFill>
                <a:srgbClr val="AEABAB"/>
              </a:solidFill>
            </c:spPr>
            <c:extLst>
              <c:ext xmlns:c16="http://schemas.microsoft.com/office/drawing/2014/chart" uri="{C3380CC4-5D6E-409C-BE32-E72D297353CC}">
                <c16:uniqueId val="{000000C3-2993-41DE-A2CB-63102DE87051}"/>
              </c:ext>
            </c:extLst>
          </c:dPt>
          <c:dPt>
            <c:idx val="97"/>
            <c:invertIfNegative val="1"/>
            <c:bubble3D val="0"/>
            <c:spPr>
              <a:solidFill>
                <a:srgbClr val="AEABAB"/>
              </a:solidFill>
            </c:spPr>
            <c:extLst>
              <c:ext xmlns:c16="http://schemas.microsoft.com/office/drawing/2014/chart" uri="{C3380CC4-5D6E-409C-BE32-E72D297353CC}">
                <c16:uniqueId val="{000000C5-2993-41DE-A2CB-63102DE87051}"/>
              </c:ext>
            </c:extLst>
          </c:dPt>
          <c:dPt>
            <c:idx val="98"/>
            <c:invertIfNegative val="1"/>
            <c:bubble3D val="0"/>
            <c:spPr>
              <a:solidFill>
                <a:srgbClr val="AEABAB"/>
              </a:solidFill>
            </c:spPr>
            <c:extLst>
              <c:ext xmlns:c16="http://schemas.microsoft.com/office/drawing/2014/chart" uri="{C3380CC4-5D6E-409C-BE32-E72D297353CC}">
                <c16:uniqueId val="{000000C7-2993-41DE-A2CB-63102DE87051}"/>
              </c:ext>
            </c:extLst>
          </c:dPt>
          <c:dPt>
            <c:idx val="99"/>
            <c:invertIfNegative val="1"/>
            <c:bubble3D val="0"/>
            <c:spPr>
              <a:solidFill>
                <a:srgbClr val="AEABAB"/>
              </a:solidFill>
            </c:spPr>
            <c:extLst>
              <c:ext xmlns:c16="http://schemas.microsoft.com/office/drawing/2014/chart" uri="{C3380CC4-5D6E-409C-BE32-E72D297353CC}">
                <c16:uniqueId val="{000000C9-2993-41DE-A2CB-63102DE87051}"/>
              </c:ext>
            </c:extLst>
          </c:dPt>
          <c:dPt>
            <c:idx val="100"/>
            <c:invertIfNegative val="1"/>
            <c:bubble3D val="0"/>
            <c:spPr>
              <a:solidFill>
                <a:srgbClr val="AEABAB"/>
              </a:solidFill>
            </c:spPr>
            <c:extLst>
              <c:ext xmlns:c16="http://schemas.microsoft.com/office/drawing/2014/chart" uri="{C3380CC4-5D6E-409C-BE32-E72D297353CC}">
                <c16:uniqueId val="{000000CB-2993-41DE-A2CB-63102DE87051}"/>
              </c:ext>
            </c:extLst>
          </c:dPt>
          <c:dPt>
            <c:idx val="101"/>
            <c:invertIfNegative val="1"/>
            <c:bubble3D val="0"/>
            <c:spPr>
              <a:solidFill>
                <a:srgbClr val="AEABAB"/>
              </a:solidFill>
            </c:spPr>
            <c:extLst>
              <c:ext xmlns:c16="http://schemas.microsoft.com/office/drawing/2014/chart" uri="{C3380CC4-5D6E-409C-BE32-E72D297353CC}">
                <c16:uniqueId val="{000000CD-2993-41DE-A2CB-63102DE87051}"/>
              </c:ext>
            </c:extLst>
          </c:dPt>
          <c:dPt>
            <c:idx val="102"/>
            <c:invertIfNegative val="1"/>
            <c:bubble3D val="0"/>
            <c:spPr>
              <a:solidFill>
                <a:srgbClr val="AEABAB"/>
              </a:solidFill>
            </c:spPr>
            <c:extLst>
              <c:ext xmlns:c16="http://schemas.microsoft.com/office/drawing/2014/chart" uri="{C3380CC4-5D6E-409C-BE32-E72D297353CC}">
                <c16:uniqueId val="{000000CF-2993-41DE-A2CB-63102DE87051}"/>
              </c:ext>
            </c:extLst>
          </c:dPt>
          <c:dPt>
            <c:idx val="103"/>
            <c:invertIfNegative val="1"/>
            <c:bubble3D val="0"/>
            <c:spPr>
              <a:solidFill>
                <a:srgbClr val="AEABAB"/>
              </a:solidFill>
            </c:spPr>
            <c:extLst>
              <c:ext xmlns:c16="http://schemas.microsoft.com/office/drawing/2014/chart" uri="{C3380CC4-5D6E-409C-BE32-E72D297353CC}">
                <c16:uniqueId val="{000000D1-2993-41DE-A2CB-63102DE87051}"/>
              </c:ext>
            </c:extLst>
          </c:dPt>
          <c:dPt>
            <c:idx val="104"/>
            <c:invertIfNegative val="1"/>
            <c:bubble3D val="0"/>
            <c:spPr>
              <a:solidFill>
                <a:srgbClr val="AEABAB"/>
              </a:solidFill>
            </c:spPr>
            <c:extLst>
              <c:ext xmlns:c16="http://schemas.microsoft.com/office/drawing/2014/chart" uri="{C3380CC4-5D6E-409C-BE32-E72D297353CC}">
                <c16:uniqueId val="{000000D3-2993-41DE-A2CB-63102DE87051}"/>
              </c:ext>
            </c:extLst>
          </c:dPt>
          <c:dPt>
            <c:idx val="105"/>
            <c:invertIfNegative val="1"/>
            <c:bubble3D val="0"/>
            <c:spPr>
              <a:solidFill>
                <a:srgbClr val="AEABAB"/>
              </a:solidFill>
            </c:spPr>
            <c:extLst>
              <c:ext xmlns:c16="http://schemas.microsoft.com/office/drawing/2014/chart" uri="{C3380CC4-5D6E-409C-BE32-E72D297353CC}">
                <c16:uniqueId val="{000000D5-2993-41DE-A2CB-63102DE87051}"/>
              </c:ext>
            </c:extLst>
          </c:dPt>
          <c:dPt>
            <c:idx val="106"/>
            <c:invertIfNegative val="1"/>
            <c:bubble3D val="0"/>
            <c:spPr>
              <a:solidFill>
                <a:srgbClr val="AEABAB"/>
              </a:solidFill>
            </c:spPr>
            <c:extLst>
              <c:ext xmlns:c16="http://schemas.microsoft.com/office/drawing/2014/chart" uri="{C3380CC4-5D6E-409C-BE32-E72D297353CC}">
                <c16:uniqueId val="{000000D7-2993-41DE-A2CB-63102DE87051}"/>
              </c:ext>
            </c:extLst>
          </c:dPt>
          <c:dPt>
            <c:idx val="107"/>
            <c:invertIfNegative val="1"/>
            <c:bubble3D val="0"/>
            <c:spPr>
              <a:solidFill>
                <a:srgbClr val="AEABAB"/>
              </a:solidFill>
            </c:spPr>
            <c:extLst>
              <c:ext xmlns:c16="http://schemas.microsoft.com/office/drawing/2014/chart" uri="{C3380CC4-5D6E-409C-BE32-E72D297353CC}">
                <c16:uniqueId val="{000000D9-2993-41DE-A2CB-63102DE87051}"/>
              </c:ext>
            </c:extLst>
          </c:dPt>
          <c:dPt>
            <c:idx val="108"/>
            <c:invertIfNegative val="1"/>
            <c:bubble3D val="0"/>
            <c:spPr>
              <a:solidFill>
                <a:srgbClr val="AEABAB"/>
              </a:solidFill>
            </c:spPr>
            <c:extLst>
              <c:ext xmlns:c16="http://schemas.microsoft.com/office/drawing/2014/chart" uri="{C3380CC4-5D6E-409C-BE32-E72D297353CC}">
                <c16:uniqueId val="{000000DB-2993-41DE-A2CB-63102DE87051}"/>
              </c:ext>
            </c:extLst>
          </c:dPt>
          <c:dPt>
            <c:idx val="109"/>
            <c:invertIfNegative val="1"/>
            <c:bubble3D val="0"/>
            <c:spPr>
              <a:solidFill>
                <a:srgbClr val="AEABAB"/>
              </a:solidFill>
            </c:spPr>
            <c:extLst>
              <c:ext xmlns:c16="http://schemas.microsoft.com/office/drawing/2014/chart" uri="{C3380CC4-5D6E-409C-BE32-E72D297353CC}">
                <c16:uniqueId val="{000000DD-2993-41DE-A2CB-63102DE87051}"/>
              </c:ext>
            </c:extLst>
          </c:dPt>
          <c:dPt>
            <c:idx val="110"/>
            <c:invertIfNegative val="1"/>
            <c:bubble3D val="0"/>
            <c:spPr>
              <a:solidFill>
                <a:srgbClr val="AEABAB"/>
              </a:solidFill>
            </c:spPr>
            <c:extLst>
              <c:ext xmlns:c16="http://schemas.microsoft.com/office/drawing/2014/chart" uri="{C3380CC4-5D6E-409C-BE32-E72D297353CC}">
                <c16:uniqueId val="{000000DF-2993-41DE-A2CB-63102DE87051}"/>
              </c:ext>
            </c:extLst>
          </c:dPt>
          <c:dPt>
            <c:idx val="111"/>
            <c:invertIfNegative val="1"/>
            <c:bubble3D val="0"/>
            <c:spPr>
              <a:solidFill>
                <a:srgbClr val="AEABAB"/>
              </a:solidFill>
            </c:spPr>
            <c:extLst>
              <c:ext xmlns:c16="http://schemas.microsoft.com/office/drawing/2014/chart" uri="{C3380CC4-5D6E-409C-BE32-E72D297353CC}">
                <c16:uniqueId val="{000000E1-2993-41DE-A2CB-63102DE87051}"/>
              </c:ext>
            </c:extLst>
          </c:dPt>
          <c:dPt>
            <c:idx val="112"/>
            <c:invertIfNegative val="1"/>
            <c:bubble3D val="0"/>
            <c:spPr>
              <a:solidFill>
                <a:srgbClr val="AEABAB"/>
              </a:solidFill>
            </c:spPr>
            <c:extLst>
              <c:ext xmlns:c16="http://schemas.microsoft.com/office/drawing/2014/chart" uri="{C3380CC4-5D6E-409C-BE32-E72D297353CC}">
                <c16:uniqueId val="{000000E3-2993-41DE-A2CB-63102DE87051}"/>
              </c:ext>
            </c:extLst>
          </c:dPt>
          <c:dPt>
            <c:idx val="113"/>
            <c:invertIfNegative val="1"/>
            <c:bubble3D val="0"/>
            <c:spPr>
              <a:solidFill>
                <a:srgbClr val="AEABAB"/>
              </a:solidFill>
            </c:spPr>
            <c:extLst>
              <c:ext xmlns:c16="http://schemas.microsoft.com/office/drawing/2014/chart" uri="{C3380CC4-5D6E-409C-BE32-E72D297353CC}">
                <c16:uniqueId val="{000000E5-2993-41DE-A2CB-63102DE87051}"/>
              </c:ext>
            </c:extLst>
          </c:dPt>
          <c:dPt>
            <c:idx val="114"/>
            <c:invertIfNegative val="1"/>
            <c:bubble3D val="0"/>
            <c:spPr>
              <a:solidFill>
                <a:srgbClr val="AEABAB"/>
              </a:solidFill>
            </c:spPr>
            <c:extLst>
              <c:ext xmlns:c16="http://schemas.microsoft.com/office/drawing/2014/chart" uri="{C3380CC4-5D6E-409C-BE32-E72D297353CC}">
                <c16:uniqueId val="{000000E7-2993-41DE-A2CB-63102DE87051}"/>
              </c:ext>
            </c:extLst>
          </c:dPt>
          <c:dPt>
            <c:idx val="115"/>
            <c:invertIfNegative val="1"/>
            <c:bubble3D val="0"/>
            <c:spPr>
              <a:solidFill>
                <a:srgbClr val="AEABAB"/>
              </a:solidFill>
            </c:spPr>
            <c:extLst>
              <c:ext xmlns:c16="http://schemas.microsoft.com/office/drawing/2014/chart" uri="{C3380CC4-5D6E-409C-BE32-E72D297353CC}">
                <c16:uniqueId val="{000000E9-2993-41DE-A2CB-63102DE87051}"/>
              </c:ext>
            </c:extLst>
          </c:dPt>
          <c:dPt>
            <c:idx val="116"/>
            <c:invertIfNegative val="1"/>
            <c:bubble3D val="0"/>
            <c:spPr>
              <a:solidFill>
                <a:srgbClr val="AEABAB"/>
              </a:solidFill>
            </c:spPr>
            <c:extLst>
              <c:ext xmlns:c16="http://schemas.microsoft.com/office/drawing/2014/chart" uri="{C3380CC4-5D6E-409C-BE32-E72D297353CC}">
                <c16:uniqueId val="{000000EB-2993-41DE-A2CB-63102DE87051}"/>
              </c:ext>
            </c:extLst>
          </c:dPt>
          <c:dPt>
            <c:idx val="117"/>
            <c:invertIfNegative val="1"/>
            <c:bubble3D val="0"/>
            <c:spPr>
              <a:solidFill>
                <a:srgbClr val="AEABAB"/>
              </a:solidFill>
            </c:spPr>
            <c:extLst>
              <c:ext xmlns:c16="http://schemas.microsoft.com/office/drawing/2014/chart" uri="{C3380CC4-5D6E-409C-BE32-E72D297353CC}">
                <c16:uniqueId val="{000000ED-2993-41DE-A2CB-63102DE87051}"/>
              </c:ext>
            </c:extLst>
          </c:dPt>
          <c:dPt>
            <c:idx val="118"/>
            <c:invertIfNegative val="1"/>
            <c:bubble3D val="0"/>
            <c:spPr>
              <a:solidFill>
                <a:srgbClr val="AEABAB"/>
              </a:solidFill>
            </c:spPr>
            <c:extLst>
              <c:ext xmlns:c16="http://schemas.microsoft.com/office/drawing/2014/chart" uri="{C3380CC4-5D6E-409C-BE32-E72D297353CC}">
                <c16:uniqueId val="{000000EF-2993-41DE-A2CB-63102DE87051}"/>
              </c:ext>
            </c:extLst>
          </c:dPt>
          <c:dPt>
            <c:idx val="119"/>
            <c:invertIfNegative val="1"/>
            <c:bubble3D val="0"/>
            <c:spPr>
              <a:solidFill>
                <a:srgbClr val="AEABAB"/>
              </a:solidFill>
            </c:spPr>
            <c:extLst>
              <c:ext xmlns:c16="http://schemas.microsoft.com/office/drawing/2014/chart" uri="{C3380CC4-5D6E-409C-BE32-E72D297353CC}">
                <c16:uniqueId val="{000000F1-2993-41DE-A2CB-63102DE87051}"/>
              </c:ext>
            </c:extLst>
          </c:dPt>
          <c:dPt>
            <c:idx val="120"/>
            <c:invertIfNegative val="1"/>
            <c:bubble3D val="0"/>
            <c:spPr>
              <a:solidFill>
                <a:srgbClr val="AEABAB"/>
              </a:solidFill>
            </c:spPr>
            <c:extLst>
              <c:ext xmlns:c16="http://schemas.microsoft.com/office/drawing/2014/chart" uri="{C3380CC4-5D6E-409C-BE32-E72D297353CC}">
                <c16:uniqueId val="{000000F3-2993-41DE-A2CB-63102DE87051}"/>
              </c:ext>
            </c:extLst>
          </c:dPt>
          <c:dPt>
            <c:idx val="121"/>
            <c:invertIfNegative val="1"/>
            <c:bubble3D val="0"/>
            <c:spPr>
              <a:solidFill>
                <a:srgbClr val="AEABAB"/>
              </a:solidFill>
            </c:spPr>
            <c:extLst>
              <c:ext xmlns:c16="http://schemas.microsoft.com/office/drawing/2014/chart" uri="{C3380CC4-5D6E-409C-BE32-E72D297353CC}">
                <c16:uniqueId val="{000000F5-2993-41DE-A2CB-63102DE87051}"/>
              </c:ext>
            </c:extLst>
          </c:dPt>
          <c:dPt>
            <c:idx val="122"/>
            <c:invertIfNegative val="1"/>
            <c:bubble3D val="0"/>
            <c:spPr>
              <a:solidFill>
                <a:srgbClr val="AEABAB"/>
              </a:solidFill>
            </c:spPr>
            <c:extLst>
              <c:ext xmlns:c16="http://schemas.microsoft.com/office/drawing/2014/chart" uri="{C3380CC4-5D6E-409C-BE32-E72D297353CC}">
                <c16:uniqueId val="{000000F7-2993-41DE-A2CB-63102DE87051}"/>
              </c:ext>
            </c:extLst>
          </c:dPt>
          <c:dPt>
            <c:idx val="123"/>
            <c:invertIfNegative val="1"/>
            <c:bubble3D val="0"/>
            <c:spPr>
              <a:solidFill>
                <a:srgbClr val="AEABAB"/>
              </a:solidFill>
            </c:spPr>
            <c:extLst>
              <c:ext xmlns:c16="http://schemas.microsoft.com/office/drawing/2014/chart" uri="{C3380CC4-5D6E-409C-BE32-E72D297353CC}">
                <c16:uniqueId val="{000000F9-2993-41DE-A2CB-63102DE87051}"/>
              </c:ext>
            </c:extLst>
          </c:dPt>
          <c:dPt>
            <c:idx val="124"/>
            <c:invertIfNegative val="1"/>
            <c:bubble3D val="0"/>
            <c:spPr>
              <a:solidFill>
                <a:srgbClr val="AEABAB"/>
              </a:solidFill>
            </c:spPr>
            <c:extLst>
              <c:ext xmlns:c16="http://schemas.microsoft.com/office/drawing/2014/chart" uri="{C3380CC4-5D6E-409C-BE32-E72D297353CC}">
                <c16:uniqueId val="{000000FB-2993-41DE-A2CB-63102DE87051}"/>
              </c:ext>
            </c:extLst>
          </c:dPt>
          <c:dPt>
            <c:idx val="125"/>
            <c:invertIfNegative val="1"/>
            <c:bubble3D val="0"/>
            <c:spPr>
              <a:solidFill>
                <a:srgbClr val="AEABAB"/>
              </a:solidFill>
            </c:spPr>
            <c:extLst>
              <c:ext xmlns:c16="http://schemas.microsoft.com/office/drawing/2014/chart" uri="{C3380CC4-5D6E-409C-BE32-E72D297353CC}">
                <c16:uniqueId val="{000000FD-2993-41DE-A2CB-63102DE87051}"/>
              </c:ext>
            </c:extLst>
          </c:dPt>
          <c:dPt>
            <c:idx val="126"/>
            <c:invertIfNegative val="1"/>
            <c:bubble3D val="0"/>
            <c:spPr>
              <a:solidFill>
                <a:srgbClr val="AEABAB"/>
              </a:solidFill>
            </c:spPr>
            <c:extLst>
              <c:ext xmlns:c16="http://schemas.microsoft.com/office/drawing/2014/chart" uri="{C3380CC4-5D6E-409C-BE32-E72D297353CC}">
                <c16:uniqueId val="{000000FF-2993-41DE-A2CB-63102DE87051}"/>
              </c:ext>
            </c:extLst>
          </c:dPt>
          <c:dPt>
            <c:idx val="127"/>
            <c:invertIfNegative val="1"/>
            <c:bubble3D val="0"/>
            <c:spPr>
              <a:solidFill>
                <a:srgbClr val="AEABAB"/>
              </a:solidFill>
            </c:spPr>
            <c:extLst>
              <c:ext xmlns:c16="http://schemas.microsoft.com/office/drawing/2014/chart" uri="{C3380CC4-5D6E-409C-BE32-E72D297353CC}">
                <c16:uniqueId val="{00000101-2993-41DE-A2CB-63102DE87051}"/>
              </c:ext>
            </c:extLst>
          </c:dPt>
          <c:dPt>
            <c:idx val="128"/>
            <c:invertIfNegative val="1"/>
            <c:bubble3D val="0"/>
            <c:spPr>
              <a:solidFill>
                <a:srgbClr val="AEABAB"/>
              </a:solidFill>
            </c:spPr>
            <c:extLst>
              <c:ext xmlns:c16="http://schemas.microsoft.com/office/drawing/2014/chart" uri="{C3380CC4-5D6E-409C-BE32-E72D297353CC}">
                <c16:uniqueId val="{00000103-2993-41DE-A2CB-63102DE87051}"/>
              </c:ext>
            </c:extLst>
          </c:dPt>
          <c:dPt>
            <c:idx val="129"/>
            <c:invertIfNegative val="1"/>
            <c:bubble3D val="0"/>
            <c:spPr>
              <a:solidFill>
                <a:srgbClr val="AEABAB"/>
              </a:solidFill>
            </c:spPr>
            <c:extLst>
              <c:ext xmlns:c16="http://schemas.microsoft.com/office/drawing/2014/chart" uri="{C3380CC4-5D6E-409C-BE32-E72D297353CC}">
                <c16:uniqueId val="{00000105-2993-41DE-A2CB-63102DE87051}"/>
              </c:ext>
            </c:extLst>
          </c:dPt>
          <c:dPt>
            <c:idx val="130"/>
            <c:invertIfNegative val="1"/>
            <c:bubble3D val="0"/>
            <c:spPr>
              <a:solidFill>
                <a:srgbClr val="AEABAB"/>
              </a:solidFill>
            </c:spPr>
            <c:extLst>
              <c:ext xmlns:c16="http://schemas.microsoft.com/office/drawing/2014/chart" uri="{C3380CC4-5D6E-409C-BE32-E72D297353CC}">
                <c16:uniqueId val="{00000107-2993-41DE-A2CB-63102DE87051}"/>
              </c:ext>
            </c:extLst>
          </c:dPt>
          <c:dPt>
            <c:idx val="131"/>
            <c:invertIfNegative val="1"/>
            <c:bubble3D val="0"/>
            <c:spPr>
              <a:solidFill>
                <a:srgbClr val="AEABAB"/>
              </a:solidFill>
            </c:spPr>
            <c:extLst>
              <c:ext xmlns:c16="http://schemas.microsoft.com/office/drawing/2014/chart" uri="{C3380CC4-5D6E-409C-BE32-E72D297353CC}">
                <c16:uniqueId val="{00000109-2993-41DE-A2CB-63102DE87051}"/>
              </c:ext>
            </c:extLst>
          </c:dPt>
          <c:dPt>
            <c:idx val="132"/>
            <c:invertIfNegative val="1"/>
            <c:bubble3D val="0"/>
            <c:spPr>
              <a:solidFill>
                <a:srgbClr val="AEABAB"/>
              </a:solidFill>
            </c:spPr>
            <c:extLst>
              <c:ext xmlns:c16="http://schemas.microsoft.com/office/drawing/2014/chart" uri="{C3380CC4-5D6E-409C-BE32-E72D297353CC}">
                <c16:uniqueId val="{0000010B-2993-41DE-A2CB-63102DE87051}"/>
              </c:ext>
            </c:extLst>
          </c:dPt>
          <c:dPt>
            <c:idx val="133"/>
            <c:invertIfNegative val="1"/>
            <c:bubble3D val="0"/>
            <c:spPr>
              <a:solidFill>
                <a:srgbClr val="AEABAB"/>
              </a:solidFill>
            </c:spPr>
            <c:extLst>
              <c:ext xmlns:c16="http://schemas.microsoft.com/office/drawing/2014/chart" uri="{C3380CC4-5D6E-409C-BE32-E72D297353CC}">
                <c16:uniqueId val="{0000010D-2993-41DE-A2CB-63102DE87051}"/>
              </c:ext>
            </c:extLst>
          </c:dPt>
          <c:dPt>
            <c:idx val="134"/>
            <c:invertIfNegative val="1"/>
            <c:bubble3D val="0"/>
            <c:spPr>
              <a:solidFill>
                <a:srgbClr val="AEABAB"/>
              </a:solidFill>
            </c:spPr>
            <c:extLst>
              <c:ext xmlns:c16="http://schemas.microsoft.com/office/drawing/2014/chart" uri="{C3380CC4-5D6E-409C-BE32-E72D297353CC}">
                <c16:uniqueId val="{0000010F-2993-41DE-A2CB-63102DE87051}"/>
              </c:ext>
            </c:extLst>
          </c:dPt>
          <c:dPt>
            <c:idx val="135"/>
            <c:invertIfNegative val="1"/>
            <c:bubble3D val="0"/>
            <c:spPr>
              <a:solidFill>
                <a:srgbClr val="AEABAB"/>
              </a:solidFill>
            </c:spPr>
            <c:extLst>
              <c:ext xmlns:c16="http://schemas.microsoft.com/office/drawing/2014/chart" uri="{C3380CC4-5D6E-409C-BE32-E72D297353CC}">
                <c16:uniqueId val="{00000111-2993-41DE-A2CB-63102DE87051}"/>
              </c:ext>
            </c:extLst>
          </c:dPt>
          <c:dPt>
            <c:idx val="136"/>
            <c:invertIfNegative val="1"/>
            <c:bubble3D val="0"/>
            <c:spPr>
              <a:solidFill>
                <a:srgbClr val="AEABAB"/>
              </a:solidFill>
            </c:spPr>
            <c:extLst>
              <c:ext xmlns:c16="http://schemas.microsoft.com/office/drawing/2014/chart" uri="{C3380CC4-5D6E-409C-BE32-E72D297353CC}">
                <c16:uniqueId val="{00000113-2993-41DE-A2CB-63102DE87051}"/>
              </c:ext>
            </c:extLst>
          </c:dPt>
          <c:dPt>
            <c:idx val="137"/>
            <c:invertIfNegative val="1"/>
            <c:bubble3D val="0"/>
            <c:spPr>
              <a:solidFill>
                <a:srgbClr val="AEABAB"/>
              </a:solidFill>
            </c:spPr>
            <c:extLst>
              <c:ext xmlns:c16="http://schemas.microsoft.com/office/drawing/2014/chart" uri="{C3380CC4-5D6E-409C-BE32-E72D297353CC}">
                <c16:uniqueId val="{00000115-2993-41DE-A2CB-63102DE87051}"/>
              </c:ext>
            </c:extLst>
          </c:dPt>
          <c:dPt>
            <c:idx val="138"/>
            <c:invertIfNegative val="1"/>
            <c:bubble3D val="0"/>
            <c:spPr>
              <a:solidFill>
                <a:srgbClr val="AEABAB"/>
              </a:solidFill>
            </c:spPr>
            <c:extLst>
              <c:ext xmlns:c16="http://schemas.microsoft.com/office/drawing/2014/chart" uri="{C3380CC4-5D6E-409C-BE32-E72D297353CC}">
                <c16:uniqueId val="{00000117-2993-41DE-A2CB-63102DE87051}"/>
              </c:ext>
            </c:extLst>
          </c:dPt>
          <c:dPt>
            <c:idx val="139"/>
            <c:invertIfNegative val="1"/>
            <c:bubble3D val="0"/>
            <c:spPr>
              <a:solidFill>
                <a:srgbClr val="AEABAB"/>
              </a:solidFill>
            </c:spPr>
            <c:extLst>
              <c:ext xmlns:c16="http://schemas.microsoft.com/office/drawing/2014/chart" uri="{C3380CC4-5D6E-409C-BE32-E72D297353CC}">
                <c16:uniqueId val="{00000119-2993-41DE-A2CB-63102DE87051}"/>
              </c:ext>
            </c:extLst>
          </c:dPt>
          <c:dPt>
            <c:idx val="140"/>
            <c:invertIfNegative val="1"/>
            <c:bubble3D val="0"/>
            <c:spPr>
              <a:solidFill>
                <a:srgbClr val="AEABAB"/>
              </a:solidFill>
            </c:spPr>
            <c:extLst>
              <c:ext xmlns:c16="http://schemas.microsoft.com/office/drawing/2014/chart" uri="{C3380CC4-5D6E-409C-BE32-E72D297353CC}">
                <c16:uniqueId val="{0000011B-2993-41DE-A2CB-63102DE87051}"/>
              </c:ext>
            </c:extLst>
          </c:dPt>
          <c:dPt>
            <c:idx val="141"/>
            <c:invertIfNegative val="1"/>
            <c:bubble3D val="0"/>
            <c:spPr>
              <a:solidFill>
                <a:srgbClr val="AEABAB"/>
              </a:solidFill>
            </c:spPr>
            <c:extLst>
              <c:ext xmlns:c16="http://schemas.microsoft.com/office/drawing/2014/chart" uri="{C3380CC4-5D6E-409C-BE32-E72D297353CC}">
                <c16:uniqueId val="{0000011D-2993-41DE-A2CB-63102DE87051}"/>
              </c:ext>
            </c:extLst>
          </c:dPt>
          <c:dPt>
            <c:idx val="142"/>
            <c:invertIfNegative val="1"/>
            <c:bubble3D val="0"/>
            <c:spPr>
              <a:solidFill>
                <a:srgbClr val="AEABAB"/>
              </a:solidFill>
            </c:spPr>
            <c:extLst>
              <c:ext xmlns:c16="http://schemas.microsoft.com/office/drawing/2014/chart" uri="{C3380CC4-5D6E-409C-BE32-E72D297353CC}">
                <c16:uniqueId val="{0000011F-2993-41DE-A2CB-63102DE87051}"/>
              </c:ext>
            </c:extLst>
          </c:dPt>
          <c:dPt>
            <c:idx val="143"/>
            <c:invertIfNegative val="1"/>
            <c:bubble3D val="0"/>
            <c:spPr>
              <a:solidFill>
                <a:srgbClr val="AEABAB"/>
              </a:solidFill>
            </c:spPr>
            <c:extLst>
              <c:ext xmlns:c16="http://schemas.microsoft.com/office/drawing/2014/chart" uri="{C3380CC4-5D6E-409C-BE32-E72D297353CC}">
                <c16:uniqueId val="{00000121-2993-41DE-A2CB-63102DE87051}"/>
              </c:ext>
            </c:extLst>
          </c:dPt>
          <c:dPt>
            <c:idx val="144"/>
            <c:invertIfNegative val="1"/>
            <c:bubble3D val="0"/>
            <c:spPr>
              <a:solidFill>
                <a:srgbClr val="AEABAB"/>
              </a:solidFill>
            </c:spPr>
            <c:extLst>
              <c:ext xmlns:c16="http://schemas.microsoft.com/office/drawing/2014/chart" uri="{C3380CC4-5D6E-409C-BE32-E72D297353CC}">
                <c16:uniqueId val="{00000123-2993-41DE-A2CB-63102DE87051}"/>
              </c:ext>
            </c:extLst>
          </c:dPt>
          <c:dPt>
            <c:idx val="145"/>
            <c:invertIfNegative val="1"/>
            <c:bubble3D val="0"/>
            <c:spPr>
              <a:solidFill>
                <a:srgbClr val="AEABAB"/>
              </a:solidFill>
            </c:spPr>
            <c:extLst>
              <c:ext xmlns:c16="http://schemas.microsoft.com/office/drawing/2014/chart" uri="{C3380CC4-5D6E-409C-BE32-E72D297353CC}">
                <c16:uniqueId val="{00000125-2993-41DE-A2CB-63102DE87051}"/>
              </c:ext>
            </c:extLst>
          </c:dPt>
          <c:dPt>
            <c:idx val="146"/>
            <c:invertIfNegative val="1"/>
            <c:bubble3D val="0"/>
            <c:spPr>
              <a:solidFill>
                <a:srgbClr val="AEABAB"/>
              </a:solidFill>
            </c:spPr>
            <c:extLst>
              <c:ext xmlns:c16="http://schemas.microsoft.com/office/drawing/2014/chart" uri="{C3380CC4-5D6E-409C-BE32-E72D297353CC}">
                <c16:uniqueId val="{00000127-2993-41DE-A2CB-63102DE87051}"/>
              </c:ext>
            </c:extLst>
          </c:dPt>
          <c:dPt>
            <c:idx val="147"/>
            <c:invertIfNegative val="1"/>
            <c:bubble3D val="0"/>
            <c:spPr>
              <a:solidFill>
                <a:srgbClr val="AEABAB"/>
              </a:solidFill>
            </c:spPr>
            <c:extLst>
              <c:ext xmlns:c16="http://schemas.microsoft.com/office/drawing/2014/chart" uri="{C3380CC4-5D6E-409C-BE32-E72D297353CC}">
                <c16:uniqueId val="{00000129-2993-41DE-A2CB-63102DE87051}"/>
              </c:ext>
            </c:extLst>
          </c:dPt>
          <c:dPt>
            <c:idx val="148"/>
            <c:invertIfNegative val="1"/>
            <c:bubble3D val="0"/>
            <c:spPr>
              <a:solidFill>
                <a:srgbClr val="AEABAB"/>
              </a:solidFill>
            </c:spPr>
            <c:extLst>
              <c:ext xmlns:c16="http://schemas.microsoft.com/office/drawing/2014/chart" uri="{C3380CC4-5D6E-409C-BE32-E72D297353CC}">
                <c16:uniqueId val="{0000012B-2993-41DE-A2CB-63102DE87051}"/>
              </c:ext>
            </c:extLst>
          </c:dPt>
          <c:dPt>
            <c:idx val="149"/>
            <c:invertIfNegative val="1"/>
            <c:bubble3D val="0"/>
            <c:spPr>
              <a:solidFill>
                <a:srgbClr val="AEABAB"/>
              </a:solidFill>
            </c:spPr>
            <c:extLst>
              <c:ext xmlns:c16="http://schemas.microsoft.com/office/drawing/2014/chart" uri="{C3380CC4-5D6E-409C-BE32-E72D297353CC}">
                <c16:uniqueId val="{0000012D-2993-41DE-A2CB-63102DE87051}"/>
              </c:ext>
            </c:extLst>
          </c:dPt>
          <c:dPt>
            <c:idx val="150"/>
            <c:invertIfNegative val="1"/>
            <c:bubble3D val="0"/>
            <c:spPr>
              <a:solidFill>
                <a:srgbClr val="AEABAB"/>
              </a:solidFill>
            </c:spPr>
            <c:extLst>
              <c:ext xmlns:c16="http://schemas.microsoft.com/office/drawing/2014/chart" uri="{C3380CC4-5D6E-409C-BE32-E72D297353CC}">
                <c16:uniqueId val="{0000012F-2993-41DE-A2CB-63102DE87051}"/>
              </c:ext>
            </c:extLst>
          </c:dPt>
          <c:dPt>
            <c:idx val="151"/>
            <c:invertIfNegative val="1"/>
            <c:bubble3D val="0"/>
            <c:spPr>
              <a:solidFill>
                <a:srgbClr val="AEABAB"/>
              </a:solidFill>
            </c:spPr>
            <c:extLst>
              <c:ext xmlns:c16="http://schemas.microsoft.com/office/drawing/2014/chart" uri="{C3380CC4-5D6E-409C-BE32-E72D297353CC}">
                <c16:uniqueId val="{00000131-2993-41DE-A2CB-63102DE87051}"/>
              </c:ext>
            </c:extLst>
          </c:dPt>
          <c:dPt>
            <c:idx val="152"/>
            <c:invertIfNegative val="1"/>
            <c:bubble3D val="0"/>
            <c:spPr>
              <a:solidFill>
                <a:srgbClr val="AEABAB"/>
              </a:solidFill>
            </c:spPr>
            <c:extLst>
              <c:ext xmlns:c16="http://schemas.microsoft.com/office/drawing/2014/chart" uri="{C3380CC4-5D6E-409C-BE32-E72D297353CC}">
                <c16:uniqueId val="{00000133-2993-41DE-A2CB-63102DE87051}"/>
              </c:ext>
            </c:extLst>
          </c:dPt>
          <c:dPt>
            <c:idx val="153"/>
            <c:invertIfNegative val="1"/>
            <c:bubble3D val="0"/>
            <c:spPr>
              <a:solidFill>
                <a:srgbClr val="AEABAB"/>
              </a:solidFill>
            </c:spPr>
            <c:extLst>
              <c:ext xmlns:c16="http://schemas.microsoft.com/office/drawing/2014/chart" uri="{C3380CC4-5D6E-409C-BE32-E72D297353CC}">
                <c16:uniqueId val="{00000135-2993-41DE-A2CB-63102DE87051}"/>
              </c:ext>
            </c:extLst>
          </c:dPt>
          <c:dPt>
            <c:idx val="154"/>
            <c:invertIfNegative val="1"/>
            <c:bubble3D val="0"/>
            <c:spPr>
              <a:solidFill>
                <a:srgbClr val="AEABAB"/>
              </a:solidFill>
            </c:spPr>
            <c:extLst>
              <c:ext xmlns:c16="http://schemas.microsoft.com/office/drawing/2014/chart" uri="{C3380CC4-5D6E-409C-BE32-E72D297353CC}">
                <c16:uniqueId val="{00000137-2993-41DE-A2CB-63102DE87051}"/>
              </c:ext>
            </c:extLst>
          </c:dPt>
          <c:dPt>
            <c:idx val="155"/>
            <c:invertIfNegative val="1"/>
            <c:bubble3D val="0"/>
            <c:spPr>
              <a:solidFill>
                <a:srgbClr val="AEABAB"/>
              </a:solidFill>
            </c:spPr>
            <c:extLst>
              <c:ext xmlns:c16="http://schemas.microsoft.com/office/drawing/2014/chart" uri="{C3380CC4-5D6E-409C-BE32-E72D297353CC}">
                <c16:uniqueId val="{00000139-2993-41DE-A2CB-63102DE87051}"/>
              </c:ext>
            </c:extLst>
          </c:dPt>
          <c:dPt>
            <c:idx val="156"/>
            <c:invertIfNegative val="1"/>
            <c:bubble3D val="0"/>
            <c:spPr>
              <a:solidFill>
                <a:srgbClr val="AEABAB"/>
              </a:solidFill>
            </c:spPr>
            <c:extLst>
              <c:ext xmlns:c16="http://schemas.microsoft.com/office/drawing/2014/chart" uri="{C3380CC4-5D6E-409C-BE32-E72D297353CC}">
                <c16:uniqueId val="{0000013B-2993-41DE-A2CB-63102DE87051}"/>
              </c:ext>
            </c:extLst>
          </c:dPt>
          <c:dPt>
            <c:idx val="157"/>
            <c:invertIfNegative val="1"/>
            <c:bubble3D val="0"/>
            <c:spPr>
              <a:solidFill>
                <a:srgbClr val="AEABAB"/>
              </a:solidFill>
            </c:spPr>
            <c:extLst>
              <c:ext xmlns:c16="http://schemas.microsoft.com/office/drawing/2014/chart" uri="{C3380CC4-5D6E-409C-BE32-E72D297353CC}">
                <c16:uniqueId val="{0000013D-2993-41DE-A2CB-63102DE87051}"/>
              </c:ext>
            </c:extLst>
          </c:dPt>
          <c:dPt>
            <c:idx val="158"/>
            <c:invertIfNegative val="1"/>
            <c:bubble3D val="0"/>
            <c:spPr>
              <a:solidFill>
                <a:srgbClr val="AEABAB"/>
              </a:solidFill>
            </c:spPr>
            <c:extLst>
              <c:ext xmlns:c16="http://schemas.microsoft.com/office/drawing/2014/chart" uri="{C3380CC4-5D6E-409C-BE32-E72D297353CC}">
                <c16:uniqueId val="{0000013F-2993-41DE-A2CB-63102DE87051}"/>
              </c:ext>
            </c:extLst>
          </c:dPt>
          <c:dPt>
            <c:idx val="159"/>
            <c:invertIfNegative val="1"/>
            <c:bubble3D val="0"/>
            <c:spPr>
              <a:solidFill>
                <a:srgbClr val="AEABAB"/>
              </a:solidFill>
            </c:spPr>
            <c:extLst>
              <c:ext xmlns:c16="http://schemas.microsoft.com/office/drawing/2014/chart" uri="{C3380CC4-5D6E-409C-BE32-E72D297353CC}">
                <c16:uniqueId val="{00000141-2993-41DE-A2CB-63102DE87051}"/>
              </c:ext>
            </c:extLst>
          </c:dPt>
          <c:dPt>
            <c:idx val="160"/>
            <c:invertIfNegative val="1"/>
            <c:bubble3D val="0"/>
            <c:spPr>
              <a:solidFill>
                <a:srgbClr val="AEABAB"/>
              </a:solidFill>
            </c:spPr>
            <c:extLst>
              <c:ext xmlns:c16="http://schemas.microsoft.com/office/drawing/2014/chart" uri="{C3380CC4-5D6E-409C-BE32-E72D297353CC}">
                <c16:uniqueId val="{00000143-2993-41DE-A2CB-63102DE87051}"/>
              </c:ext>
            </c:extLst>
          </c:dPt>
          <c:dPt>
            <c:idx val="161"/>
            <c:invertIfNegative val="1"/>
            <c:bubble3D val="0"/>
            <c:spPr>
              <a:solidFill>
                <a:srgbClr val="AEABAB"/>
              </a:solidFill>
            </c:spPr>
            <c:extLst>
              <c:ext xmlns:c16="http://schemas.microsoft.com/office/drawing/2014/chart" uri="{C3380CC4-5D6E-409C-BE32-E72D297353CC}">
                <c16:uniqueId val="{00000145-2993-41DE-A2CB-63102DE87051}"/>
              </c:ext>
            </c:extLst>
          </c:dPt>
          <c:dPt>
            <c:idx val="162"/>
            <c:invertIfNegative val="1"/>
            <c:bubble3D val="0"/>
            <c:spPr>
              <a:solidFill>
                <a:srgbClr val="AEABAB"/>
              </a:solidFill>
            </c:spPr>
            <c:extLst>
              <c:ext xmlns:c16="http://schemas.microsoft.com/office/drawing/2014/chart" uri="{C3380CC4-5D6E-409C-BE32-E72D297353CC}">
                <c16:uniqueId val="{00000147-2993-41DE-A2CB-63102DE87051}"/>
              </c:ext>
            </c:extLst>
          </c:dPt>
          <c:dPt>
            <c:idx val="163"/>
            <c:invertIfNegative val="1"/>
            <c:bubble3D val="0"/>
            <c:spPr>
              <a:solidFill>
                <a:srgbClr val="AEABAB"/>
              </a:solidFill>
            </c:spPr>
            <c:extLst>
              <c:ext xmlns:c16="http://schemas.microsoft.com/office/drawing/2014/chart" uri="{C3380CC4-5D6E-409C-BE32-E72D297353CC}">
                <c16:uniqueId val="{00000149-2993-41DE-A2CB-63102DE87051}"/>
              </c:ext>
            </c:extLst>
          </c:dPt>
          <c:dPt>
            <c:idx val="164"/>
            <c:invertIfNegative val="1"/>
            <c:bubble3D val="0"/>
            <c:spPr>
              <a:solidFill>
                <a:srgbClr val="AEABAB"/>
              </a:solidFill>
            </c:spPr>
            <c:extLst>
              <c:ext xmlns:c16="http://schemas.microsoft.com/office/drawing/2014/chart" uri="{C3380CC4-5D6E-409C-BE32-E72D297353CC}">
                <c16:uniqueId val="{0000014B-2993-41DE-A2CB-63102DE87051}"/>
              </c:ext>
            </c:extLst>
          </c:dPt>
          <c:dPt>
            <c:idx val="165"/>
            <c:invertIfNegative val="1"/>
            <c:bubble3D val="0"/>
            <c:spPr>
              <a:solidFill>
                <a:srgbClr val="AEABAB"/>
              </a:solidFill>
            </c:spPr>
            <c:extLst>
              <c:ext xmlns:c16="http://schemas.microsoft.com/office/drawing/2014/chart" uri="{C3380CC4-5D6E-409C-BE32-E72D297353CC}">
                <c16:uniqueId val="{0000014D-2993-41DE-A2CB-63102DE87051}"/>
              </c:ext>
            </c:extLst>
          </c:dPt>
          <c:dPt>
            <c:idx val="166"/>
            <c:invertIfNegative val="1"/>
            <c:bubble3D val="0"/>
            <c:spPr>
              <a:solidFill>
                <a:srgbClr val="AEABAB"/>
              </a:solidFill>
            </c:spPr>
            <c:extLst>
              <c:ext xmlns:c16="http://schemas.microsoft.com/office/drawing/2014/chart" uri="{C3380CC4-5D6E-409C-BE32-E72D297353CC}">
                <c16:uniqueId val="{0000014F-2993-41DE-A2CB-63102DE87051}"/>
              </c:ext>
            </c:extLst>
          </c:dPt>
          <c:dPt>
            <c:idx val="167"/>
            <c:invertIfNegative val="1"/>
            <c:bubble3D val="0"/>
            <c:spPr>
              <a:solidFill>
                <a:srgbClr val="AEABAB"/>
              </a:solidFill>
            </c:spPr>
            <c:extLst>
              <c:ext xmlns:c16="http://schemas.microsoft.com/office/drawing/2014/chart" uri="{C3380CC4-5D6E-409C-BE32-E72D297353CC}">
                <c16:uniqueId val="{00000151-2993-41DE-A2CB-63102DE87051}"/>
              </c:ext>
            </c:extLst>
          </c:dPt>
          <c:dPt>
            <c:idx val="168"/>
            <c:invertIfNegative val="1"/>
            <c:bubble3D val="0"/>
            <c:spPr>
              <a:solidFill>
                <a:srgbClr val="AEABAB"/>
              </a:solidFill>
            </c:spPr>
            <c:extLst>
              <c:ext xmlns:c16="http://schemas.microsoft.com/office/drawing/2014/chart" uri="{C3380CC4-5D6E-409C-BE32-E72D297353CC}">
                <c16:uniqueId val="{00000153-2993-41DE-A2CB-63102DE87051}"/>
              </c:ext>
            </c:extLst>
          </c:dPt>
          <c:dPt>
            <c:idx val="169"/>
            <c:invertIfNegative val="1"/>
            <c:bubble3D val="0"/>
            <c:spPr>
              <a:solidFill>
                <a:srgbClr val="AEABAB"/>
              </a:solidFill>
            </c:spPr>
            <c:extLst>
              <c:ext xmlns:c16="http://schemas.microsoft.com/office/drawing/2014/chart" uri="{C3380CC4-5D6E-409C-BE32-E72D297353CC}">
                <c16:uniqueId val="{00000155-2993-41DE-A2CB-63102DE87051}"/>
              </c:ext>
            </c:extLst>
          </c:dPt>
          <c:dPt>
            <c:idx val="170"/>
            <c:invertIfNegative val="1"/>
            <c:bubble3D val="0"/>
            <c:spPr>
              <a:solidFill>
                <a:srgbClr val="AEABAB"/>
              </a:solidFill>
            </c:spPr>
            <c:extLst>
              <c:ext xmlns:c16="http://schemas.microsoft.com/office/drawing/2014/chart" uri="{C3380CC4-5D6E-409C-BE32-E72D297353CC}">
                <c16:uniqueId val="{00000157-2993-41DE-A2CB-63102DE87051}"/>
              </c:ext>
            </c:extLst>
          </c:dPt>
          <c:dPt>
            <c:idx val="171"/>
            <c:invertIfNegative val="1"/>
            <c:bubble3D val="0"/>
            <c:spPr>
              <a:solidFill>
                <a:srgbClr val="AEABAB"/>
              </a:solidFill>
            </c:spPr>
            <c:extLst>
              <c:ext xmlns:c16="http://schemas.microsoft.com/office/drawing/2014/chart" uri="{C3380CC4-5D6E-409C-BE32-E72D297353CC}">
                <c16:uniqueId val="{00000159-2993-41DE-A2CB-63102DE87051}"/>
              </c:ext>
            </c:extLst>
          </c:dPt>
          <c:dPt>
            <c:idx val="172"/>
            <c:invertIfNegative val="1"/>
            <c:bubble3D val="0"/>
            <c:spPr>
              <a:solidFill>
                <a:srgbClr val="AEABAB"/>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175</c:f>
              <c:strCache>
                <c:ptCount val="174"/>
                <c:pt idx="0">
                  <c:v>Private Lab</c:v>
                </c:pt>
                <c:pt idx="1">
                  <c:v>Private Lab</c:v>
                </c:pt>
                <c:pt idx="2">
                  <c:v>Private Lab</c:v>
                </c:pt>
                <c:pt idx="3">
                  <c:v>Private Lab</c:v>
                </c:pt>
                <c:pt idx="4">
                  <c:v>Private Lab</c:v>
                </c:pt>
                <c:pt idx="5">
                  <c:v>Galbani</c:v>
                </c:pt>
                <c:pt idx="6">
                  <c:v>Salakis</c:v>
                </c:pt>
                <c:pt idx="7">
                  <c:v>Private Lab</c:v>
                </c:pt>
                <c:pt idx="8">
                  <c:v>Galbani</c:v>
                </c:pt>
                <c:pt idx="9">
                  <c:v>Private Lab</c:v>
                </c:pt>
                <c:pt idx="10">
                  <c:v>Galbani</c:v>
                </c:pt>
                <c:pt idx="11">
                  <c:v>Private Lab</c:v>
                </c:pt>
                <c:pt idx="12">
                  <c:v>Private Lab</c:v>
                </c:pt>
                <c:pt idx="13">
                  <c:v>Galbani</c:v>
                </c:pt>
                <c:pt idx="14">
                  <c:v>Galbani</c:v>
                </c:pt>
                <c:pt idx="15">
                  <c:v>Private Lab</c:v>
                </c:pt>
                <c:pt idx="16">
                  <c:v>Private Lab</c:v>
                </c:pt>
                <c:pt idx="17">
                  <c:v>Islos</c:v>
                </c:pt>
                <c:pt idx="18">
                  <c:v>Salakis</c:v>
                </c:pt>
                <c:pt idx="19">
                  <c:v>Galbani</c:v>
                </c:pt>
                <c:pt idx="20">
                  <c:v>All Others</c:v>
                </c:pt>
                <c:pt idx="21">
                  <c:v>Private Lab</c:v>
                </c:pt>
                <c:pt idx="22">
                  <c:v>Casa Azzurr</c:v>
                </c:pt>
                <c:pt idx="23">
                  <c:v>Casa Azzurr</c:v>
                </c:pt>
                <c:pt idx="24">
                  <c:v>Salakis</c:v>
                </c:pt>
                <c:pt idx="25">
                  <c:v>Private Lab</c:v>
                </c:pt>
                <c:pt idx="26">
                  <c:v>Boursin</c:v>
                </c:pt>
                <c:pt idx="27">
                  <c:v>Private Lab</c:v>
                </c:pt>
                <c:pt idx="28">
                  <c:v>Galbani</c:v>
                </c:pt>
                <c:pt idx="29">
                  <c:v>Private Lab</c:v>
                </c:pt>
                <c:pt idx="30">
                  <c:v>Casa Azzurr</c:v>
                </c:pt>
                <c:pt idx="31">
                  <c:v>Casa Azzurr</c:v>
                </c:pt>
                <c:pt idx="32">
                  <c:v>Salakis</c:v>
                </c:pt>
                <c:pt idx="33">
                  <c:v>Casa Azzurr</c:v>
                </c:pt>
                <c:pt idx="34">
                  <c:v>Galbani</c:v>
                </c:pt>
                <c:pt idx="35">
                  <c:v>Private Lab</c:v>
                </c:pt>
                <c:pt idx="36">
                  <c:v>Private Lab</c:v>
                </c:pt>
                <c:pt idx="37">
                  <c:v>Private Lab</c:v>
                </c:pt>
                <c:pt idx="38">
                  <c:v>Casa Azzurr</c:v>
                </c:pt>
                <c:pt idx="39">
                  <c:v>Salakis</c:v>
                </c:pt>
                <c:pt idx="40">
                  <c:v>Private Lab</c:v>
                </c:pt>
                <c:pt idx="41">
                  <c:v>Galbani</c:v>
                </c:pt>
                <c:pt idx="42">
                  <c:v>Salakis</c:v>
                </c:pt>
                <c:pt idx="43">
                  <c:v>Casa Azzurr</c:v>
                </c:pt>
                <c:pt idx="44">
                  <c:v>Private Lab</c:v>
                </c:pt>
                <c:pt idx="45">
                  <c:v>Galbani</c:v>
                </c:pt>
                <c:pt idx="46">
                  <c:v>All Others</c:v>
                </c:pt>
                <c:pt idx="47">
                  <c:v>Casa Azzurr</c:v>
                </c:pt>
                <c:pt idx="48">
                  <c:v>Casa Azzurr</c:v>
                </c:pt>
                <c:pt idx="49">
                  <c:v>Islos</c:v>
                </c:pt>
                <c:pt idx="50">
                  <c:v>Boursin</c:v>
                </c:pt>
                <c:pt idx="51">
                  <c:v>All Others</c:v>
                </c:pt>
                <c:pt idx="52">
                  <c:v>Galbani</c:v>
                </c:pt>
                <c:pt idx="53">
                  <c:v>Lactalis: A</c:v>
                </c:pt>
                <c:pt idx="54">
                  <c:v>Salakis</c:v>
                </c:pt>
                <c:pt idx="55">
                  <c:v>All Others</c:v>
                </c:pt>
                <c:pt idx="56">
                  <c:v>Galbani</c:v>
                </c:pt>
                <c:pt idx="57">
                  <c:v>All Others</c:v>
                </c:pt>
                <c:pt idx="58">
                  <c:v>Galbani</c:v>
                </c:pt>
                <c:pt idx="59">
                  <c:v>Boursin</c:v>
                </c:pt>
                <c:pt idx="60">
                  <c:v>Islos</c:v>
                </c:pt>
                <c:pt idx="61">
                  <c:v>All Others</c:v>
                </c:pt>
                <c:pt idx="62">
                  <c:v>Galbani</c:v>
                </c:pt>
                <c:pt idx="63">
                  <c:v>All Others</c:v>
                </c:pt>
                <c:pt idx="64">
                  <c:v>Boursin</c:v>
                </c:pt>
                <c:pt idx="65">
                  <c:v>All Others</c:v>
                </c:pt>
                <c:pt idx="66">
                  <c:v>All Others</c:v>
                </c:pt>
                <c:pt idx="67">
                  <c:v>All Others</c:v>
                </c:pt>
                <c:pt idx="68">
                  <c:v>All Others</c:v>
                </c:pt>
                <c:pt idx="69">
                  <c:v>All Others</c:v>
                </c:pt>
                <c:pt idx="70">
                  <c:v>Boursin</c:v>
                </c:pt>
                <c:pt idx="71">
                  <c:v>All Others</c:v>
                </c:pt>
                <c:pt idx="72">
                  <c:v>All Others</c:v>
                </c:pt>
                <c:pt idx="73">
                  <c:v>All Others</c:v>
                </c:pt>
                <c:pt idx="74">
                  <c:v>All Others</c:v>
                </c:pt>
                <c:pt idx="75">
                  <c:v>All Others</c:v>
                </c:pt>
                <c:pt idx="76">
                  <c:v>All Others</c:v>
                </c:pt>
                <c:pt idx="77">
                  <c:v>All Others</c:v>
                </c:pt>
                <c:pt idx="78">
                  <c:v>All Others</c:v>
                </c:pt>
                <c:pt idx="79">
                  <c:v>All Others</c:v>
                </c:pt>
                <c:pt idx="80">
                  <c:v>Boursin</c:v>
                </c:pt>
                <c:pt idx="81">
                  <c:v>All Others</c:v>
                </c:pt>
                <c:pt idx="82">
                  <c:v>All Others</c:v>
                </c:pt>
                <c:pt idx="83">
                  <c:v>All Others</c:v>
                </c:pt>
                <c:pt idx="84">
                  <c:v>Salakis</c:v>
                </c:pt>
                <c:pt idx="85">
                  <c:v>All Others</c:v>
                </c:pt>
                <c:pt idx="86">
                  <c:v>All Others</c:v>
                </c:pt>
                <c:pt idx="87">
                  <c:v>All Others</c:v>
                </c:pt>
                <c:pt idx="88">
                  <c:v>All Others</c:v>
                </c:pt>
                <c:pt idx="89">
                  <c:v>All Others</c:v>
                </c:pt>
                <c:pt idx="90">
                  <c:v>Private Lab</c:v>
                </c:pt>
                <c:pt idx="91">
                  <c:v>All Others</c:v>
                </c:pt>
                <c:pt idx="92">
                  <c:v>All Others</c:v>
                </c:pt>
                <c:pt idx="93">
                  <c:v>All Others</c:v>
                </c:pt>
                <c:pt idx="94">
                  <c:v>Salakis</c:v>
                </c:pt>
                <c:pt idx="95">
                  <c:v>Entremont</c:v>
                </c:pt>
                <c:pt idx="96">
                  <c:v>All Others</c:v>
                </c:pt>
                <c:pt idx="97">
                  <c:v>All Others</c:v>
                </c:pt>
                <c:pt idx="98">
                  <c:v>All Others</c:v>
                </c:pt>
                <c:pt idx="99">
                  <c:v>Entremont</c:v>
                </c:pt>
                <c:pt idx="100">
                  <c:v>All Others</c:v>
                </c:pt>
                <c:pt idx="101">
                  <c:v>All Others</c:v>
                </c:pt>
                <c:pt idx="102">
                  <c:v>All Others</c:v>
                </c:pt>
                <c:pt idx="103">
                  <c:v>All Others</c:v>
                </c:pt>
                <c:pt idx="104">
                  <c:v>All Others</c:v>
                </c:pt>
                <c:pt idx="105">
                  <c:v>All Others</c:v>
                </c:pt>
                <c:pt idx="106">
                  <c:v>All Others</c:v>
                </c:pt>
                <c:pt idx="107">
                  <c:v>All Others</c:v>
                </c:pt>
                <c:pt idx="108">
                  <c:v>Casa Azzurr</c:v>
                </c:pt>
                <c:pt idx="109">
                  <c:v>All Others</c:v>
                </c:pt>
                <c:pt idx="110">
                  <c:v>All Others</c:v>
                </c:pt>
                <c:pt idx="111">
                  <c:v>All Others</c:v>
                </c:pt>
                <c:pt idx="112">
                  <c:v>Entremont</c:v>
                </c:pt>
                <c:pt idx="113">
                  <c:v>All Others</c:v>
                </c:pt>
                <c:pt idx="114">
                  <c:v>All Others</c:v>
                </c:pt>
                <c:pt idx="115">
                  <c:v>All Others</c:v>
                </c:pt>
                <c:pt idx="116">
                  <c:v>All Others</c:v>
                </c:pt>
                <c:pt idx="117">
                  <c:v>All Others</c:v>
                </c:pt>
                <c:pt idx="118">
                  <c:v>All Others</c:v>
                </c:pt>
                <c:pt idx="119">
                  <c:v>All Others</c:v>
                </c:pt>
                <c:pt idx="120">
                  <c:v>All Others</c:v>
                </c:pt>
                <c:pt idx="121">
                  <c:v>All Others</c:v>
                </c:pt>
                <c:pt idx="122">
                  <c:v>All Others</c:v>
                </c:pt>
                <c:pt idx="123">
                  <c:v>All Others</c:v>
                </c:pt>
                <c:pt idx="124">
                  <c:v>All Others</c:v>
                </c:pt>
                <c:pt idx="125">
                  <c:v>All Others</c:v>
                </c:pt>
                <c:pt idx="126">
                  <c:v>All Others</c:v>
                </c:pt>
                <c:pt idx="127">
                  <c:v>All Others</c:v>
                </c:pt>
                <c:pt idx="128">
                  <c:v>All Others</c:v>
                </c:pt>
                <c:pt idx="129">
                  <c:v>All Others</c:v>
                </c:pt>
                <c:pt idx="130">
                  <c:v>All Others</c:v>
                </c:pt>
                <c:pt idx="131">
                  <c:v>All Others</c:v>
                </c:pt>
                <c:pt idx="132">
                  <c:v>All Others</c:v>
                </c:pt>
                <c:pt idx="133">
                  <c:v>All Others</c:v>
                </c:pt>
                <c:pt idx="134">
                  <c:v>All Others</c:v>
                </c:pt>
                <c:pt idx="135">
                  <c:v>All Others</c:v>
                </c:pt>
                <c:pt idx="136">
                  <c:v>All Others</c:v>
                </c:pt>
                <c:pt idx="137">
                  <c:v>All Others</c:v>
                </c:pt>
                <c:pt idx="138">
                  <c:v>All Others</c:v>
                </c:pt>
                <c:pt idx="139">
                  <c:v>All Others</c:v>
                </c:pt>
                <c:pt idx="140">
                  <c:v>All Others</c:v>
                </c:pt>
                <c:pt idx="141">
                  <c:v>All Others</c:v>
                </c:pt>
                <c:pt idx="142">
                  <c:v>Savencia: A</c:v>
                </c:pt>
                <c:pt idx="143">
                  <c:v>All Others</c:v>
                </c:pt>
                <c:pt idx="144">
                  <c:v>All Others</c:v>
                </c:pt>
                <c:pt idx="145">
                  <c:v>All Others</c:v>
                </c:pt>
                <c:pt idx="146">
                  <c:v>All Others</c:v>
                </c:pt>
                <c:pt idx="147">
                  <c:v>All Others</c:v>
                </c:pt>
                <c:pt idx="148">
                  <c:v>All Others</c:v>
                </c:pt>
                <c:pt idx="149">
                  <c:v>All Others</c:v>
                </c:pt>
                <c:pt idx="150">
                  <c:v>All Others</c:v>
                </c:pt>
                <c:pt idx="151">
                  <c:v>All Others</c:v>
                </c:pt>
                <c:pt idx="152">
                  <c:v>All Others</c:v>
                </c:pt>
                <c:pt idx="153">
                  <c:v>Savencia: A</c:v>
                </c:pt>
                <c:pt idx="154">
                  <c:v>All Others</c:v>
                </c:pt>
                <c:pt idx="155">
                  <c:v>All Others</c:v>
                </c:pt>
                <c:pt idx="156">
                  <c:v>All Others</c:v>
                </c:pt>
                <c:pt idx="157">
                  <c:v>All Others</c:v>
                </c:pt>
                <c:pt idx="158">
                  <c:v>All Others</c:v>
                </c:pt>
                <c:pt idx="159">
                  <c:v>All Others</c:v>
                </c:pt>
                <c:pt idx="160">
                  <c:v>All Others</c:v>
                </c:pt>
                <c:pt idx="161">
                  <c:v>All Others</c:v>
                </c:pt>
                <c:pt idx="162">
                  <c:v>All Others</c:v>
                </c:pt>
                <c:pt idx="163">
                  <c:v>All Others</c:v>
                </c:pt>
                <c:pt idx="164">
                  <c:v>All Others</c:v>
                </c:pt>
                <c:pt idx="165">
                  <c:v>All Others</c:v>
                </c:pt>
                <c:pt idx="166">
                  <c:v>All Others</c:v>
                </c:pt>
                <c:pt idx="167">
                  <c:v>All Others</c:v>
                </c:pt>
                <c:pt idx="168">
                  <c:v>All Others</c:v>
                </c:pt>
                <c:pt idx="169">
                  <c:v>All Others</c:v>
                </c:pt>
                <c:pt idx="170">
                  <c:v>All Others</c:v>
                </c:pt>
                <c:pt idx="171">
                  <c:v>All Others</c:v>
                </c:pt>
                <c:pt idx="172">
                  <c:v>All Others</c:v>
                </c:pt>
                <c:pt idx="173">
                  <c:v>All Others</c:v>
                </c:pt>
              </c:strCache>
            </c:strRef>
          </c:cat>
          <c:val>
            <c:numRef>
              <c:f>Sheet1!$C$2:$C$175</c:f>
              <c:numCache>
                <c:formatCode>General</c:formatCode>
                <c:ptCount val="174"/>
                <c:pt idx="0">
                  <c:v>0.1016541627134302</c:v>
                </c:pt>
                <c:pt idx="1">
                  <c:v>0.18398182462501578</c:v>
                </c:pt>
                <c:pt idx="2">
                  <c:v>0.26140913044662256</c:v>
                </c:pt>
                <c:pt idx="3">
                  <c:v>0.3106558142597805</c:v>
                </c:pt>
                <c:pt idx="4">
                  <c:v>0.3546905038821192</c:v>
                </c:pt>
                <c:pt idx="5">
                  <c:v>0.3986220098622099</c:v>
                </c:pt>
                <c:pt idx="6">
                  <c:v>0.43669596034684766</c:v>
                </c:pt>
                <c:pt idx="7">
                  <c:v>0.4681801845236107</c:v>
                </c:pt>
                <c:pt idx="8">
                  <c:v>0.49955264627955553</c:v>
                </c:pt>
                <c:pt idx="9">
                  <c:v>0.5295598332252578</c:v>
                </c:pt>
                <c:pt idx="10">
                  <c:v>0.5581689175634107</c:v>
                </c:pt>
                <c:pt idx="11">
                  <c:v>0.5859341508405322</c:v>
                </c:pt>
                <c:pt idx="12">
                  <c:v>0.61155067947131</c:v>
                </c:pt>
                <c:pt idx="13">
                  <c:v>0.6325584811801731</c:v>
                </c:pt>
                <c:pt idx="14">
                  <c:v>0.6535005122533308</c:v>
                </c:pt>
                <c:pt idx="15">
                  <c:v>0.6742995061631047</c:v>
                </c:pt>
                <c:pt idx="16">
                  <c:v>0.6948345218529841</c:v>
                </c:pt>
                <c:pt idx="17">
                  <c:v>0.7149036375549542</c:v>
                </c:pt>
                <c:pt idx="18">
                  <c:v>0.7339311794277341</c:v>
                </c:pt>
                <c:pt idx="19">
                  <c:v>0.7505373281801718</c:v>
                </c:pt>
                <c:pt idx="20">
                  <c:v>0.765952029212286</c:v>
                </c:pt>
                <c:pt idx="21">
                  <c:v>0.7789360187956109</c:v>
                </c:pt>
                <c:pt idx="22">
                  <c:v>0.7904945259915052</c:v>
                </c:pt>
                <c:pt idx="23">
                  <c:v>0.800828486501481</c:v>
                </c:pt>
                <c:pt idx="24">
                  <c:v>0.8101538078034444</c:v>
                </c:pt>
                <c:pt idx="25">
                  <c:v>0.8193745321011732</c:v>
                </c:pt>
                <c:pt idx="26">
                  <c:v>0.8283577376301532</c:v>
                </c:pt>
                <c:pt idx="27">
                  <c:v>0.8372033704476165</c:v>
                </c:pt>
                <c:pt idx="28">
                  <c:v>0.846020251209316</c:v>
                </c:pt>
                <c:pt idx="29">
                  <c:v>0.8542439965354224</c:v>
                </c:pt>
                <c:pt idx="30">
                  <c:v>0.8624540930576924</c:v>
                </c:pt>
                <c:pt idx="31">
                  <c:v>0.8704498926773435</c:v>
                </c:pt>
                <c:pt idx="32">
                  <c:v>0.8777154032281482</c:v>
                </c:pt>
                <c:pt idx="33">
                  <c:v>0.8848190180937121</c:v>
                </c:pt>
                <c:pt idx="34">
                  <c:v>0.891159729740865</c:v>
                </c:pt>
                <c:pt idx="35">
                  <c:v>0.8974028208042872</c:v>
                </c:pt>
                <c:pt idx="36">
                  <c:v>0.9036001172958972</c:v>
                </c:pt>
                <c:pt idx="37">
                  <c:v>0.9093982705018057</c:v>
                </c:pt>
                <c:pt idx="38">
                  <c:v>0.9150013551018907</c:v>
                </c:pt>
                <c:pt idx="39">
                  <c:v>0.9203401492276888</c:v>
                </c:pt>
                <c:pt idx="40">
                  <c:v>0.925106663224418</c:v>
                </c:pt>
                <c:pt idx="41">
                  <c:v>0.9298099292722436</c:v>
                </c:pt>
                <c:pt idx="42">
                  <c:v>0.9340164889711831</c:v>
                </c:pt>
                <c:pt idx="43">
                  <c:v>0.9379593334012952</c:v>
                </c:pt>
                <c:pt idx="44">
                  <c:v>0.9414464918490182</c:v>
                </c:pt>
                <c:pt idx="45">
                  <c:v>0.9446093412413457</c:v>
                </c:pt>
                <c:pt idx="46">
                  <c:v>0.9475668258501212</c:v>
                </c:pt>
                <c:pt idx="47">
                  <c:v>0.9502175780389054</c:v>
                </c:pt>
                <c:pt idx="48">
                  <c:v>0.9527411112144473</c:v>
                </c:pt>
                <c:pt idx="49">
                  <c:v>0.9552041163411877</c:v>
                </c:pt>
                <c:pt idx="50">
                  <c:v>0.9574600885885433</c:v>
                </c:pt>
                <c:pt idx="51">
                  <c:v>0.9594452951915798</c:v>
                </c:pt>
                <c:pt idx="52">
                  <c:v>0.9614201152274585</c:v>
                </c:pt>
                <c:pt idx="53">
                  <c:v>0.9633427066075971</c:v>
                </c:pt>
                <c:pt idx="54">
                  <c:v>0.9652582886983484</c:v>
                </c:pt>
                <c:pt idx="55">
                  <c:v>0.9671208779318202</c:v>
                </c:pt>
                <c:pt idx="56">
                  <c:v>0.9689390366521412</c:v>
                </c:pt>
                <c:pt idx="57">
                  <c:v>0.9705287566327558</c:v>
                </c:pt>
                <c:pt idx="58">
                  <c:v>0.972074136489649</c:v>
                </c:pt>
                <c:pt idx="59">
                  <c:v>0.9736011919440405</c:v>
                </c:pt>
                <c:pt idx="60">
                  <c:v>0.9749334663953384</c:v>
                </c:pt>
                <c:pt idx="61">
                  <c:v>0.9762200859675785</c:v>
                </c:pt>
                <c:pt idx="62">
                  <c:v>0.9773785415461782</c:v>
                </c:pt>
                <c:pt idx="63">
                  <c:v>0.9783375076541357</c:v>
                </c:pt>
                <c:pt idx="64">
                  <c:v>0.9792128799743582</c:v>
                </c:pt>
                <c:pt idx="65">
                  <c:v>0.9800623516144529</c:v>
                </c:pt>
                <c:pt idx="66">
                  <c:v>0.9808964406171112</c:v>
                </c:pt>
                <c:pt idx="67">
                  <c:v>0.9817230437315727</c:v>
                </c:pt>
                <c:pt idx="68">
                  <c:v>0.9825124967905589</c:v>
                </c:pt>
                <c:pt idx="69">
                  <c:v>0.9832846361652083</c:v>
                </c:pt>
                <c:pt idx="70">
                  <c:v>0.9840092800033289</c:v>
                </c:pt>
                <c:pt idx="71">
                  <c:v>0.984604428658031</c:v>
                </c:pt>
                <c:pt idx="72">
                  <c:v>0.9851778591980193</c:v>
                </c:pt>
                <c:pt idx="73">
                  <c:v>0.9857413551179965</c:v>
                </c:pt>
                <c:pt idx="74">
                  <c:v>0.9862982279579665</c:v>
                </c:pt>
                <c:pt idx="75">
                  <c:v>0.9868199064410241</c:v>
                </c:pt>
                <c:pt idx="76">
                  <c:v>0.987272264448968</c:v>
                </c:pt>
                <c:pt idx="77">
                  <c:v>0.9876767242765612</c:v>
                </c:pt>
                <c:pt idx="78">
                  <c:v>0.9880697375155064</c:v>
                </c:pt>
                <c:pt idx="79">
                  <c:v>0.988457269868143</c:v>
                </c:pt>
                <c:pt idx="80">
                  <c:v>0.9888353277651363</c:v>
                </c:pt>
                <c:pt idx="81">
                  <c:v>0.989211125926395</c:v>
                </c:pt>
                <c:pt idx="82">
                  <c:v>0.989585461422342</c:v>
                </c:pt>
                <c:pt idx="83">
                  <c:v>0.9899572577970456</c:v>
                </c:pt>
                <c:pt idx="84">
                  <c:v>0.9903158737495013</c:v>
                </c:pt>
                <c:pt idx="85">
                  <c:v>0.9906698387549543</c:v>
                </c:pt>
                <c:pt idx="86">
                  <c:v>0.991006243559445</c:v>
                </c:pt>
                <c:pt idx="87">
                  <c:v>0.9913409884853235</c:v>
                </c:pt>
                <c:pt idx="88">
                  <c:v>0.9916702360904515</c:v>
                </c:pt>
                <c:pt idx="89">
                  <c:v>0.9919963036311094</c:v>
                </c:pt>
                <c:pt idx="90">
                  <c:v>0.9923213686708232</c:v>
                </c:pt>
                <c:pt idx="91">
                  <c:v>0.9926218970890708</c:v>
                </c:pt>
                <c:pt idx="92">
                  <c:v>0.992920157554363</c:v>
                </c:pt>
                <c:pt idx="93">
                  <c:v>0.9932118113740896</c:v>
                </c:pt>
                <c:pt idx="94">
                  <c:v>0.9934960368261654</c:v>
                </c:pt>
                <c:pt idx="95">
                  <c:v>0.9937614284080466</c:v>
                </c:pt>
                <c:pt idx="96">
                  <c:v>0.9940191451056514</c:v>
                </c:pt>
                <c:pt idx="97">
                  <c:v>0.9942672805237418</c:v>
                </c:pt>
                <c:pt idx="98">
                  <c:v>0.9945119975779575</c:v>
                </c:pt>
                <c:pt idx="99">
                  <c:v>0.9947530661861146</c:v>
                </c:pt>
                <c:pt idx="100">
                  <c:v>0.9949898371877657</c:v>
                </c:pt>
                <c:pt idx="101">
                  <c:v>0.9952044052586727</c:v>
                </c:pt>
                <c:pt idx="102">
                  <c:v>0.9954173134509674</c:v>
                </c:pt>
                <c:pt idx="103">
                  <c:v>0.9956218565124341</c:v>
                </c:pt>
                <c:pt idx="104">
                  <c:v>0.9958244931786628</c:v>
                </c:pt>
                <c:pt idx="105">
                  <c:v>0.9960162995478077</c:v>
                </c:pt>
                <c:pt idx="106">
                  <c:v>0.9962007761559519</c:v>
                </c:pt>
                <c:pt idx="107">
                  <c:v>0.9963844310420109</c:v>
                </c:pt>
                <c:pt idx="108">
                  <c:v>0.9965678887147694</c:v>
                </c:pt>
                <c:pt idx="109">
                  <c:v>0.9967348872941598</c:v>
                </c:pt>
                <c:pt idx="110">
                  <c:v>0.9969000616505209</c:v>
                </c:pt>
                <c:pt idx="111">
                  <c:v>0.9970607658387382</c:v>
                </c:pt>
                <c:pt idx="112">
                  <c:v>0.9972127186867472</c:v>
                </c:pt>
                <c:pt idx="113">
                  <c:v>0.9973611874331146</c:v>
                </c:pt>
                <c:pt idx="114">
                  <c:v>0.9974925479256667</c:v>
                </c:pt>
                <c:pt idx="115">
                  <c:v>0.9976107937337377</c:v>
                </c:pt>
                <c:pt idx="116">
                  <c:v>0.9977234025283038</c:v>
                </c:pt>
                <c:pt idx="117">
                  <c:v>0.9978290102507034</c:v>
                </c:pt>
                <c:pt idx="118">
                  <c:v>0.99793410850541</c:v>
                </c:pt>
                <c:pt idx="119">
                  <c:v>0.9980375057954001</c:v>
                </c:pt>
                <c:pt idx="120">
                  <c:v>0.9981403196627097</c:v>
                </c:pt>
                <c:pt idx="121">
                  <c:v>0.9982345054481239</c:v>
                </c:pt>
                <c:pt idx="122">
                  <c:v>0.9983262835878283</c:v>
                </c:pt>
                <c:pt idx="123">
                  <c:v>0.9984153336102095</c:v>
                </c:pt>
                <c:pt idx="124">
                  <c:v>0.9985028387950704</c:v>
                </c:pt>
                <c:pt idx="125">
                  <c:v>0.9985892428723371</c:v>
                </c:pt>
                <c:pt idx="126">
                  <c:v>0.9986742418048379</c:v>
                </c:pt>
                <c:pt idx="127">
                  <c:v>0.9987526176573314</c:v>
                </c:pt>
                <c:pt idx="128">
                  <c:v>0.998828528343569</c:v>
                </c:pt>
                <c:pt idx="129">
                  <c:v>0.9989024915484647</c:v>
                </c:pt>
                <c:pt idx="130">
                  <c:v>0.9989695687222857</c:v>
                </c:pt>
                <c:pt idx="131">
                  <c:v>0.9990345998081144</c:v>
                </c:pt>
                <c:pt idx="132">
                  <c:v>0.9990925640840097</c:v>
                </c:pt>
                <c:pt idx="133">
                  <c:v>0.9991489260018387</c:v>
                </c:pt>
                <c:pt idx="134">
                  <c:v>0.9991973254326614</c:v>
                </c:pt>
                <c:pt idx="135">
                  <c:v>0.9992412053920151</c:v>
                </c:pt>
                <c:pt idx="136">
                  <c:v>0.9992841568054124</c:v>
                </c:pt>
                <c:pt idx="137">
                  <c:v>0.9993269192227301</c:v>
                </c:pt>
                <c:pt idx="138">
                  <c:v>0.9993678245481351</c:v>
                </c:pt>
                <c:pt idx="139">
                  <c:v>0.9994085080085771</c:v>
                </c:pt>
                <c:pt idx="140">
                  <c:v>0.9994491257312522</c:v>
                </c:pt>
                <c:pt idx="141">
                  <c:v>0.999489538023406</c:v>
                </c:pt>
                <c:pt idx="142">
                  <c:v>0.9995293093723333</c:v>
                </c:pt>
                <c:pt idx="143">
                  <c:v>0.9995690478523772</c:v>
                </c:pt>
                <c:pt idx="144">
                  <c:v>0.9996074962287472</c:v>
                </c:pt>
                <c:pt idx="145">
                  <c:v>0.9996450571452652</c:v>
                </c:pt>
                <c:pt idx="146">
                  <c:v>0.9996780410697681</c:v>
                </c:pt>
                <c:pt idx="147">
                  <c:v>0.9997067191705442</c:v>
                </c:pt>
                <c:pt idx="148">
                  <c:v>0.9997320364279916</c:v>
                </c:pt>
                <c:pt idx="149">
                  <c:v>0.9997538531493556</c:v>
                </c:pt>
                <c:pt idx="150">
                  <c:v>0.9997727198884335</c:v>
                </c:pt>
                <c:pt idx="151">
                  <c:v>0.999791052508156</c:v>
                </c:pt>
                <c:pt idx="152">
                  <c:v>0.9998073965604322</c:v>
                </c:pt>
                <c:pt idx="153">
                  <c:v>0.9998235680510704</c:v>
                </c:pt>
                <c:pt idx="154">
                  <c:v>0.9998392300740158</c:v>
                </c:pt>
                <c:pt idx="155">
                  <c:v>0.9998540375059924</c:v>
                </c:pt>
                <c:pt idx="156">
                  <c:v>0.9998827731273144</c:v>
                </c:pt>
                <c:pt idx="157">
                  <c:v>0.9998963726278257</c:v>
                </c:pt>
                <c:pt idx="158">
                  <c:v>0.99990768774094</c:v>
                </c:pt>
                <c:pt idx="159">
                  <c:v>0.9999189782023916</c:v>
                </c:pt>
                <c:pt idx="160">
                  <c:v>0.9999299317577883</c:v>
                </c:pt>
                <c:pt idx="161">
                  <c:v>0.9999396855989405</c:v>
                </c:pt>
                <c:pt idx="162">
                  <c:v>0.999949036796271</c:v>
                </c:pt>
                <c:pt idx="163">
                  <c:v>0.9999574265787616</c:v>
                </c:pt>
                <c:pt idx="164">
                  <c:v>0.9999716752397203</c:v>
                </c:pt>
                <c:pt idx="165">
                  <c:v>0.999977386208213</c:v>
                </c:pt>
                <c:pt idx="166">
                  <c:v>0.9999799171122357</c:v>
                </c:pt>
                <c:pt idx="167">
                  <c:v>0.9999823494096081</c:v>
                </c:pt>
                <c:pt idx="168">
                  <c:v>0.9999845927109009</c:v>
                </c:pt>
                <c:pt idx="169">
                  <c:v>0.9999923004640608</c:v>
                </c:pt>
                <c:pt idx="170">
                  <c:v>0.999997929260345</c:v>
                </c:pt>
                <c:pt idx="171">
                  <c:v>0.9999986852446635</c:v>
                </c:pt>
                <c:pt idx="172">
                  <c:v>0.9999993426223317</c:v>
                </c:pt>
                <c:pt idx="173">
                  <c:v>0.9999998931761289</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307</c:f>
              <c:strCache>
                <c:ptCount val="306"/>
                <c:pt idx="0">
                  <c:v>Private Lab</c:v>
                </c:pt>
                <c:pt idx="1">
                  <c:v>Private Lab</c:v>
                </c:pt>
                <c:pt idx="2">
                  <c:v>Galbani</c:v>
                </c:pt>
                <c:pt idx="3">
                  <c:v>Private Lab</c:v>
                </c:pt>
                <c:pt idx="4">
                  <c:v>Private Lab</c:v>
                </c:pt>
                <c:pt idx="5">
                  <c:v>Private Lab</c:v>
                </c:pt>
                <c:pt idx="6">
                  <c:v>Salakis</c:v>
                </c:pt>
                <c:pt idx="7">
                  <c:v>Galbani</c:v>
                </c:pt>
                <c:pt idx="8">
                  <c:v>Islos</c:v>
                </c:pt>
                <c:pt idx="9">
                  <c:v>Private Lab</c:v>
                </c:pt>
                <c:pt idx="10">
                  <c:v>Galbani</c:v>
                </c:pt>
                <c:pt idx="11">
                  <c:v>Salakis</c:v>
                </c:pt>
                <c:pt idx="12">
                  <c:v>Casa Azzurr</c:v>
                </c:pt>
                <c:pt idx="13">
                  <c:v>All Others</c:v>
                </c:pt>
                <c:pt idx="14">
                  <c:v>All Others</c:v>
                </c:pt>
                <c:pt idx="15">
                  <c:v>Galbani</c:v>
                </c:pt>
                <c:pt idx="16">
                  <c:v>Private Lab</c:v>
                </c:pt>
                <c:pt idx="17">
                  <c:v>Casa Azzurr</c:v>
                </c:pt>
                <c:pt idx="18">
                  <c:v>Salakis</c:v>
                </c:pt>
                <c:pt idx="19">
                  <c:v>Private Lab</c:v>
                </c:pt>
                <c:pt idx="20">
                  <c:v>All Others</c:v>
                </c:pt>
                <c:pt idx="21">
                  <c:v>Salakis</c:v>
                </c:pt>
                <c:pt idx="22">
                  <c:v>Boursin</c:v>
                </c:pt>
                <c:pt idx="23">
                  <c:v>Private Lab</c:v>
                </c:pt>
                <c:pt idx="24">
                  <c:v>Galbani</c:v>
                </c:pt>
                <c:pt idx="25">
                  <c:v>Casa Azzurr</c:v>
                </c:pt>
                <c:pt idx="26">
                  <c:v>Casa Azzurr</c:v>
                </c:pt>
                <c:pt idx="27">
                  <c:v>Casa Azzurr</c:v>
                </c:pt>
                <c:pt idx="28">
                  <c:v>Salakis</c:v>
                </c:pt>
                <c:pt idx="29">
                  <c:v>Galbani</c:v>
                </c:pt>
                <c:pt idx="30">
                  <c:v>All Others</c:v>
                </c:pt>
                <c:pt idx="31">
                  <c:v>Casa Azzurr</c:v>
                </c:pt>
                <c:pt idx="32">
                  <c:v>All Others</c:v>
                </c:pt>
                <c:pt idx="33">
                  <c:v>All Others</c:v>
                </c:pt>
                <c:pt idx="34">
                  <c:v>Casa Azzurr</c:v>
                </c:pt>
                <c:pt idx="35">
                  <c:v>Salakis</c:v>
                </c:pt>
                <c:pt idx="36">
                  <c:v>Casa Azzurr</c:v>
                </c:pt>
                <c:pt idx="37">
                  <c:v>Galbani</c:v>
                </c:pt>
                <c:pt idx="38">
                  <c:v>Private Lab</c:v>
                </c:pt>
                <c:pt idx="39">
                  <c:v>Casa Azzurr</c:v>
                </c:pt>
                <c:pt idx="40">
                  <c:v>All Others</c:v>
                </c:pt>
                <c:pt idx="41">
                  <c:v>Galbani</c:v>
                </c:pt>
                <c:pt idx="42">
                  <c:v>Galbani</c:v>
                </c:pt>
                <c:pt idx="43">
                  <c:v>All Others</c:v>
                </c:pt>
                <c:pt idx="44">
                  <c:v>Salakis</c:v>
                </c:pt>
                <c:pt idx="45">
                  <c:v>All Others</c:v>
                </c:pt>
                <c:pt idx="46">
                  <c:v>All Others</c:v>
                </c:pt>
                <c:pt idx="47">
                  <c:v>Casa Azzurr</c:v>
                </c:pt>
                <c:pt idx="48">
                  <c:v>Casa Azzurr</c:v>
                </c:pt>
                <c:pt idx="49">
                  <c:v>Boursin</c:v>
                </c:pt>
                <c:pt idx="50">
                  <c:v>All Others</c:v>
                </c:pt>
                <c:pt idx="51">
                  <c:v>All Others</c:v>
                </c:pt>
                <c:pt idx="52">
                  <c:v>All Others</c:v>
                </c:pt>
                <c:pt idx="53">
                  <c:v>Private Lab</c:v>
                </c:pt>
                <c:pt idx="54">
                  <c:v>Lactalis: A</c:v>
                </c:pt>
                <c:pt idx="55">
                  <c:v>All Others</c:v>
                </c:pt>
                <c:pt idx="56">
                  <c:v>Casa Azzurr</c:v>
                </c:pt>
                <c:pt idx="57">
                  <c:v>All Others</c:v>
                </c:pt>
                <c:pt idx="58">
                  <c:v>Private Lab</c:v>
                </c:pt>
                <c:pt idx="59">
                  <c:v>Private Lab</c:v>
                </c:pt>
                <c:pt idx="60">
                  <c:v>All Others</c:v>
                </c:pt>
                <c:pt idx="61">
                  <c:v>Private Lab</c:v>
                </c:pt>
                <c:pt idx="62">
                  <c:v>All Others</c:v>
                </c:pt>
                <c:pt idx="63">
                  <c:v>All Others</c:v>
                </c:pt>
                <c:pt idx="64">
                  <c:v>Galbani</c:v>
                </c:pt>
                <c:pt idx="65">
                  <c:v>Galbani</c:v>
                </c:pt>
                <c:pt idx="66">
                  <c:v>Private Lab</c:v>
                </c:pt>
                <c:pt idx="67">
                  <c:v>Private Lab</c:v>
                </c:pt>
                <c:pt idx="68">
                  <c:v>Private Lab</c:v>
                </c:pt>
                <c:pt idx="69">
                  <c:v>All Others</c:v>
                </c:pt>
                <c:pt idx="70">
                  <c:v>Private Lab</c:v>
                </c:pt>
                <c:pt idx="71">
                  <c:v>All Others</c:v>
                </c:pt>
                <c:pt idx="72">
                  <c:v>Private Lab</c:v>
                </c:pt>
                <c:pt idx="73">
                  <c:v>All Others</c:v>
                </c:pt>
                <c:pt idx="74">
                  <c:v>Private Lab</c:v>
                </c:pt>
                <c:pt idx="75">
                  <c:v>All Others</c:v>
                </c:pt>
                <c:pt idx="76">
                  <c:v>Boursin</c:v>
                </c:pt>
                <c:pt idx="77">
                  <c:v>Islos</c:v>
                </c:pt>
                <c:pt idx="78">
                  <c:v>All Others</c:v>
                </c:pt>
                <c:pt idx="79">
                  <c:v>All Others</c:v>
                </c:pt>
                <c:pt idx="80">
                  <c:v>Casa Azzurr</c:v>
                </c:pt>
                <c:pt idx="81">
                  <c:v>Galbani</c:v>
                </c:pt>
                <c:pt idx="82">
                  <c:v>Casa Azzurr</c:v>
                </c:pt>
                <c:pt idx="83">
                  <c:v>Private Lab</c:v>
                </c:pt>
                <c:pt idx="84">
                  <c:v>All Others</c:v>
                </c:pt>
                <c:pt idx="85">
                  <c:v>All Others</c:v>
                </c:pt>
                <c:pt idx="86">
                  <c:v>Casa Azzurr</c:v>
                </c:pt>
                <c:pt idx="87">
                  <c:v>All Others</c:v>
                </c:pt>
                <c:pt idx="88">
                  <c:v>All Others</c:v>
                </c:pt>
                <c:pt idx="89">
                  <c:v>All Others</c:v>
                </c:pt>
                <c:pt idx="90">
                  <c:v>All Others</c:v>
                </c:pt>
                <c:pt idx="91">
                  <c:v>Galbani</c:v>
                </c:pt>
                <c:pt idx="92">
                  <c:v>All Others</c:v>
                </c:pt>
                <c:pt idx="93">
                  <c:v>All Others</c:v>
                </c:pt>
                <c:pt idx="94">
                  <c:v>All Others</c:v>
                </c:pt>
                <c:pt idx="95">
                  <c:v>Salakis</c:v>
                </c:pt>
                <c:pt idx="96">
                  <c:v>All Others</c:v>
                </c:pt>
                <c:pt idx="97">
                  <c:v>All Others</c:v>
                </c:pt>
                <c:pt idx="98">
                  <c:v>Private Lab</c:v>
                </c:pt>
                <c:pt idx="99">
                  <c:v>All Others</c:v>
                </c:pt>
                <c:pt idx="100">
                  <c:v>All Others</c:v>
                </c:pt>
                <c:pt idx="101">
                  <c:v>All Others</c:v>
                </c:pt>
                <c:pt idx="102">
                  <c:v>All Others</c:v>
                </c:pt>
                <c:pt idx="103">
                  <c:v>All Others</c:v>
                </c:pt>
                <c:pt idx="104">
                  <c:v>All Others</c:v>
                </c:pt>
                <c:pt idx="105">
                  <c:v>Salakis</c:v>
                </c:pt>
                <c:pt idx="106">
                  <c:v>Private Lab</c:v>
                </c:pt>
                <c:pt idx="107">
                  <c:v>Private Lab</c:v>
                </c:pt>
                <c:pt idx="108">
                  <c:v>All Others</c:v>
                </c:pt>
                <c:pt idx="109">
                  <c:v>All Others</c:v>
                </c:pt>
                <c:pt idx="110">
                  <c:v>Private Lab</c:v>
                </c:pt>
                <c:pt idx="111">
                  <c:v>Boursin</c:v>
                </c:pt>
                <c:pt idx="112">
                  <c:v>All Others</c:v>
                </c:pt>
                <c:pt idx="113">
                  <c:v>All Others</c:v>
                </c:pt>
                <c:pt idx="114">
                  <c:v>Islos</c:v>
                </c:pt>
                <c:pt idx="115">
                  <c:v>All Others</c:v>
                </c:pt>
                <c:pt idx="116">
                  <c:v>Boursin</c:v>
                </c:pt>
                <c:pt idx="117">
                  <c:v>All Others</c:v>
                </c:pt>
                <c:pt idx="118">
                  <c:v>All Others</c:v>
                </c:pt>
                <c:pt idx="119">
                  <c:v>Casa Azzurr</c:v>
                </c:pt>
                <c:pt idx="120">
                  <c:v>All Others</c:v>
                </c:pt>
                <c:pt idx="121">
                  <c:v>Boursin</c:v>
                </c:pt>
                <c:pt idx="122">
                  <c:v>All Others</c:v>
                </c:pt>
                <c:pt idx="123">
                  <c:v>All Others</c:v>
                </c:pt>
                <c:pt idx="124">
                  <c:v>All Others</c:v>
                </c:pt>
                <c:pt idx="125">
                  <c:v>Salakis</c:v>
                </c:pt>
                <c:pt idx="126">
                  <c:v>All Others</c:v>
                </c:pt>
                <c:pt idx="127">
                  <c:v>Lactalis: A</c:v>
                </c:pt>
                <c:pt idx="128">
                  <c:v>Casa Azzurr</c:v>
                </c:pt>
                <c:pt idx="129">
                  <c:v>All Others</c:v>
                </c:pt>
                <c:pt idx="130">
                  <c:v>All Others</c:v>
                </c:pt>
                <c:pt idx="131">
                  <c:v>All Others</c:v>
                </c:pt>
                <c:pt idx="132">
                  <c:v>Casa Azzurr</c:v>
                </c:pt>
                <c:pt idx="133">
                  <c:v>All Others</c:v>
                </c:pt>
                <c:pt idx="134">
                  <c:v>All Others</c:v>
                </c:pt>
                <c:pt idx="135">
                  <c:v>All Others</c:v>
                </c:pt>
                <c:pt idx="136">
                  <c:v>All Others</c:v>
                </c:pt>
                <c:pt idx="137">
                  <c:v>All Others</c:v>
                </c:pt>
                <c:pt idx="138">
                  <c:v>All Others</c:v>
                </c:pt>
                <c:pt idx="139">
                  <c:v>All Others</c:v>
                </c:pt>
                <c:pt idx="140">
                  <c:v>All Others</c:v>
                </c:pt>
                <c:pt idx="141">
                  <c:v>All Others</c:v>
                </c:pt>
                <c:pt idx="142">
                  <c:v>All Others</c:v>
                </c:pt>
                <c:pt idx="143">
                  <c:v>All Others</c:v>
                </c:pt>
                <c:pt idx="144">
                  <c:v>All Others</c:v>
                </c:pt>
                <c:pt idx="145">
                  <c:v>All Others</c:v>
                </c:pt>
                <c:pt idx="146">
                  <c:v>All Others</c:v>
                </c:pt>
                <c:pt idx="147">
                  <c:v>All Others</c:v>
                </c:pt>
                <c:pt idx="148">
                  <c:v>Galbani</c:v>
                </c:pt>
                <c:pt idx="149">
                  <c:v>All Others</c:v>
                </c:pt>
                <c:pt idx="150">
                  <c:v>All Others</c:v>
                </c:pt>
                <c:pt idx="151">
                  <c:v>All Others</c:v>
                </c:pt>
                <c:pt idx="152">
                  <c:v>All Others</c:v>
                </c:pt>
                <c:pt idx="153">
                  <c:v>Savencia: A</c:v>
                </c:pt>
                <c:pt idx="154">
                  <c:v>Lactalis: A</c:v>
                </c:pt>
                <c:pt idx="155">
                  <c:v>All Others</c:v>
                </c:pt>
                <c:pt idx="156">
                  <c:v>All Others</c:v>
                </c:pt>
                <c:pt idx="157">
                  <c:v>All Others</c:v>
                </c:pt>
                <c:pt idx="158">
                  <c:v>Salakis</c:v>
                </c:pt>
                <c:pt idx="159">
                  <c:v>All Others</c:v>
                </c:pt>
                <c:pt idx="160">
                  <c:v>Savencia: A</c:v>
                </c:pt>
                <c:pt idx="161">
                  <c:v>Salakis</c:v>
                </c:pt>
                <c:pt idx="162">
                  <c:v>All Others</c:v>
                </c:pt>
                <c:pt idx="163">
                  <c:v>All Others</c:v>
                </c:pt>
                <c:pt idx="164">
                  <c:v>All Others</c:v>
                </c:pt>
                <c:pt idx="165">
                  <c:v>All Others</c:v>
                </c:pt>
                <c:pt idx="166">
                  <c:v>All Others</c:v>
                </c:pt>
                <c:pt idx="167">
                  <c:v>Islos</c:v>
                </c:pt>
                <c:pt idx="168">
                  <c:v>All Others</c:v>
                </c:pt>
                <c:pt idx="169">
                  <c:v>All Others</c:v>
                </c:pt>
                <c:pt idx="170">
                  <c:v>All Others</c:v>
                </c:pt>
                <c:pt idx="171">
                  <c:v>All Others</c:v>
                </c:pt>
                <c:pt idx="172">
                  <c:v>All Others</c:v>
                </c:pt>
                <c:pt idx="173">
                  <c:v>All Others</c:v>
                </c:pt>
                <c:pt idx="174">
                  <c:v>All Others</c:v>
                </c:pt>
                <c:pt idx="175">
                  <c:v>All Others</c:v>
                </c:pt>
                <c:pt idx="176">
                  <c:v>All Others</c:v>
                </c:pt>
                <c:pt idx="177">
                  <c:v>All Others</c:v>
                </c:pt>
                <c:pt idx="178">
                  <c:v>All Others</c:v>
                </c:pt>
                <c:pt idx="179">
                  <c:v>All Others</c:v>
                </c:pt>
                <c:pt idx="180">
                  <c:v>Private Lab</c:v>
                </c:pt>
                <c:pt idx="181">
                  <c:v>Private Lab</c:v>
                </c:pt>
                <c:pt idx="182">
                  <c:v>All Others</c:v>
                </c:pt>
                <c:pt idx="183">
                  <c:v>All Others</c:v>
                </c:pt>
                <c:pt idx="184">
                  <c:v>All Others</c:v>
                </c:pt>
                <c:pt idx="185">
                  <c:v>All Others</c:v>
                </c:pt>
                <c:pt idx="186">
                  <c:v>All Others</c:v>
                </c:pt>
                <c:pt idx="187">
                  <c:v>All Others</c:v>
                </c:pt>
                <c:pt idx="188">
                  <c:v>All Others</c:v>
                </c:pt>
                <c:pt idx="189">
                  <c:v>All Others</c:v>
                </c:pt>
                <c:pt idx="190">
                  <c:v>All Others</c:v>
                </c:pt>
                <c:pt idx="191">
                  <c:v>All Others</c:v>
                </c:pt>
                <c:pt idx="192">
                  <c:v>All Others</c:v>
                </c:pt>
                <c:pt idx="193">
                  <c:v>Lactalis: A</c:v>
                </c:pt>
                <c:pt idx="194">
                  <c:v>All Others</c:v>
                </c:pt>
                <c:pt idx="195">
                  <c:v>All Others</c:v>
                </c:pt>
                <c:pt idx="196">
                  <c:v>All Others</c:v>
                </c:pt>
                <c:pt idx="197">
                  <c:v>All Others</c:v>
                </c:pt>
                <c:pt idx="198">
                  <c:v>All Others</c:v>
                </c:pt>
                <c:pt idx="199">
                  <c:v>All Others</c:v>
                </c:pt>
                <c:pt idx="200">
                  <c:v>All Others</c:v>
                </c:pt>
                <c:pt idx="201">
                  <c:v>All Others</c:v>
                </c:pt>
                <c:pt idx="202">
                  <c:v>Private Lab</c:v>
                </c:pt>
                <c:pt idx="203">
                  <c:v>All Others</c:v>
                </c:pt>
                <c:pt idx="204">
                  <c:v>All Others</c:v>
                </c:pt>
                <c:pt idx="205">
                  <c:v>All Others</c:v>
                </c:pt>
                <c:pt idx="206">
                  <c:v>All Others</c:v>
                </c:pt>
                <c:pt idx="207">
                  <c:v>All Others</c:v>
                </c:pt>
                <c:pt idx="208">
                  <c:v>All Others</c:v>
                </c:pt>
                <c:pt idx="209">
                  <c:v>All Others</c:v>
                </c:pt>
                <c:pt idx="210">
                  <c:v>All Others</c:v>
                </c:pt>
                <c:pt idx="211">
                  <c:v>All Others</c:v>
                </c:pt>
                <c:pt idx="212">
                  <c:v>All Others</c:v>
                </c:pt>
                <c:pt idx="213">
                  <c:v>All Others</c:v>
                </c:pt>
                <c:pt idx="214">
                  <c:v>All Others</c:v>
                </c:pt>
                <c:pt idx="215">
                  <c:v>All Others</c:v>
                </c:pt>
                <c:pt idx="216">
                  <c:v>All Others</c:v>
                </c:pt>
                <c:pt idx="217">
                  <c:v>All Others</c:v>
                </c:pt>
                <c:pt idx="218">
                  <c:v>All Others</c:v>
                </c:pt>
                <c:pt idx="219">
                  <c:v>All Others</c:v>
                </c:pt>
                <c:pt idx="220">
                  <c:v>All Others</c:v>
                </c:pt>
                <c:pt idx="221">
                  <c:v>All Others</c:v>
                </c:pt>
                <c:pt idx="222">
                  <c:v>All Others</c:v>
                </c:pt>
                <c:pt idx="223">
                  <c:v>All Others</c:v>
                </c:pt>
                <c:pt idx="224">
                  <c:v>All Others</c:v>
                </c:pt>
                <c:pt idx="225">
                  <c:v>All Others</c:v>
                </c:pt>
                <c:pt idx="226">
                  <c:v>All Others</c:v>
                </c:pt>
                <c:pt idx="227">
                  <c:v>All Others</c:v>
                </c:pt>
                <c:pt idx="228">
                  <c:v>All Others</c:v>
                </c:pt>
                <c:pt idx="229">
                  <c:v>All Others</c:v>
                </c:pt>
                <c:pt idx="230">
                  <c:v>Private Lab</c:v>
                </c:pt>
                <c:pt idx="231">
                  <c:v>All Others</c:v>
                </c:pt>
                <c:pt idx="232">
                  <c:v>All Others</c:v>
                </c:pt>
                <c:pt idx="233">
                  <c:v>All Others</c:v>
                </c:pt>
                <c:pt idx="234">
                  <c:v>All Others</c:v>
                </c:pt>
                <c:pt idx="235">
                  <c:v>All Others</c:v>
                </c:pt>
                <c:pt idx="236">
                  <c:v>All Others</c:v>
                </c:pt>
                <c:pt idx="237">
                  <c:v>All Others</c:v>
                </c:pt>
                <c:pt idx="238">
                  <c:v>All Others</c:v>
                </c:pt>
                <c:pt idx="239">
                  <c:v>All Others</c:v>
                </c:pt>
                <c:pt idx="240">
                  <c:v>All Others</c:v>
                </c:pt>
                <c:pt idx="241">
                  <c:v>All Others</c:v>
                </c:pt>
                <c:pt idx="242">
                  <c:v>All Others</c:v>
                </c:pt>
                <c:pt idx="243">
                  <c:v>All Others</c:v>
                </c:pt>
                <c:pt idx="244">
                  <c:v>All Others</c:v>
                </c:pt>
                <c:pt idx="245">
                  <c:v>All Others</c:v>
                </c:pt>
                <c:pt idx="246">
                  <c:v>All Others</c:v>
                </c:pt>
                <c:pt idx="247">
                  <c:v>All Others</c:v>
                </c:pt>
                <c:pt idx="248">
                  <c:v>All Others</c:v>
                </c:pt>
                <c:pt idx="249">
                  <c:v>All Others</c:v>
                </c:pt>
                <c:pt idx="250">
                  <c:v>All Others</c:v>
                </c:pt>
                <c:pt idx="251">
                  <c:v>All Others</c:v>
                </c:pt>
                <c:pt idx="252">
                  <c:v>All Others</c:v>
                </c:pt>
                <c:pt idx="253">
                  <c:v>All Others</c:v>
                </c:pt>
                <c:pt idx="254">
                  <c:v>All Others</c:v>
                </c:pt>
                <c:pt idx="255">
                  <c:v>All Others</c:v>
                </c:pt>
                <c:pt idx="256">
                  <c:v>All Others</c:v>
                </c:pt>
                <c:pt idx="257">
                  <c:v>All Others</c:v>
                </c:pt>
                <c:pt idx="258">
                  <c:v>All Others</c:v>
                </c:pt>
                <c:pt idx="259">
                  <c:v>All Others</c:v>
                </c:pt>
                <c:pt idx="260">
                  <c:v>All Others</c:v>
                </c:pt>
                <c:pt idx="261">
                  <c:v>All Others</c:v>
                </c:pt>
                <c:pt idx="262">
                  <c:v>All Others</c:v>
                </c:pt>
                <c:pt idx="263">
                  <c:v>All Others</c:v>
                </c:pt>
                <c:pt idx="264">
                  <c:v>All Others</c:v>
                </c:pt>
                <c:pt idx="265">
                  <c:v>All Others</c:v>
                </c:pt>
                <c:pt idx="266">
                  <c:v>All Others</c:v>
                </c:pt>
                <c:pt idx="267">
                  <c:v>All Others</c:v>
                </c:pt>
                <c:pt idx="268">
                  <c:v>All Others</c:v>
                </c:pt>
                <c:pt idx="269">
                  <c:v>All Others</c:v>
                </c:pt>
                <c:pt idx="270">
                  <c:v>All Others</c:v>
                </c:pt>
                <c:pt idx="271">
                  <c:v>All Others</c:v>
                </c:pt>
                <c:pt idx="272">
                  <c:v>Salakis</c:v>
                </c:pt>
                <c:pt idx="273">
                  <c:v>Societe</c:v>
                </c:pt>
                <c:pt idx="274">
                  <c:v>All Others</c:v>
                </c:pt>
                <c:pt idx="275">
                  <c:v>All Others</c:v>
                </c:pt>
                <c:pt idx="276">
                  <c:v>All Others</c:v>
                </c:pt>
                <c:pt idx="277">
                  <c:v>All Others</c:v>
                </c:pt>
                <c:pt idx="278">
                  <c:v>All Others</c:v>
                </c:pt>
                <c:pt idx="279">
                  <c:v>All Others</c:v>
                </c:pt>
                <c:pt idx="280">
                  <c:v>All Others</c:v>
                </c:pt>
                <c:pt idx="281">
                  <c:v>All Others</c:v>
                </c:pt>
                <c:pt idx="282">
                  <c:v>All Others</c:v>
                </c:pt>
                <c:pt idx="283">
                  <c:v>All Others</c:v>
                </c:pt>
                <c:pt idx="284">
                  <c:v>All Others</c:v>
                </c:pt>
                <c:pt idx="285">
                  <c:v>All Others</c:v>
                </c:pt>
                <c:pt idx="286">
                  <c:v>All Others</c:v>
                </c:pt>
                <c:pt idx="287">
                  <c:v>All Others</c:v>
                </c:pt>
                <c:pt idx="288">
                  <c:v>All Others</c:v>
                </c:pt>
                <c:pt idx="289">
                  <c:v>All Others</c:v>
                </c:pt>
                <c:pt idx="290">
                  <c:v>All Others</c:v>
                </c:pt>
                <c:pt idx="291">
                  <c:v>All Others</c:v>
                </c:pt>
                <c:pt idx="292">
                  <c:v>All Others</c:v>
                </c:pt>
                <c:pt idx="293">
                  <c:v>All Others</c:v>
                </c:pt>
                <c:pt idx="294">
                  <c:v>All Others</c:v>
                </c:pt>
                <c:pt idx="295">
                  <c:v>All Others</c:v>
                </c:pt>
                <c:pt idx="296">
                  <c:v>All Others</c:v>
                </c:pt>
                <c:pt idx="297">
                  <c:v>All Others</c:v>
                </c:pt>
                <c:pt idx="298">
                  <c:v>All Others</c:v>
                </c:pt>
                <c:pt idx="299">
                  <c:v>All Others</c:v>
                </c:pt>
                <c:pt idx="300">
                  <c:v>All Others</c:v>
                </c:pt>
                <c:pt idx="301">
                  <c:v>All Others</c:v>
                </c:pt>
                <c:pt idx="302">
                  <c:v>All Others</c:v>
                </c:pt>
                <c:pt idx="303">
                  <c:v>All Others</c:v>
                </c:pt>
                <c:pt idx="304">
                  <c:v>All Others</c:v>
                </c:pt>
                <c:pt idx="305">
                  <c:v>All Others</c:v>
                </c:pt>
              </c:strCache>
            </c:strRef>
          </c:cat>
          <c:val>
            <c:numRef>
              <c:f>Sheet1!$B$2:$B$307</c:f>
              <c:numCache>
                <c:formatCode>General</c:formatCode>
                <c:ptCount val="306"/>
                <c:pt idx="0">
                  <c:v>0.53</c:v>
                </c:pt>
                <c:pt idx="1">
                  <c:v>1.0</c:v>
                </c:pt>
                <c:pt idx="2">
                  <c:v>1.0</c:v>
                </c:pt>
                <c:pt idx="3">
                  <c:v>1.0</c:v>
                </c:pt>
                <c:pt idx="4">
                  <c:v>1.0</c:v>
                </c:pt>
                <c:pt idx="5">
                  <c:v>1.0</c:v>
                </c:pt>
                <c:pt idx="6">
                  <c:v>1.0</c:v>
                </c:pt>
                <c:pt idx="7">
                  <c:v>0.99</c:v>
                </c:pt>
                <c:pt idx="8">
                  <c:v>1.0</c:v>
                </c:pt>
                <c:pt idx="9">
                  <c:v>1.0</c:v>
                </c:pt>
                <c:pt idx="10">
                  <c:v>1.0</c:v>
                </c:pt>
                <c:pt idx="11">
                  <c:v>0.99</c:v>
                </c:pt>
                <c:pt idx="12">
                  <c:v>1.0</c:v>
                </c:pt>
                <c:pt idx="13">
                  <c:v>0.99</c:v>
                </c:pt>
                <c:pt idx="14">
                  <c:v>0.97</c:v>
                </c:pt>
                <c:pt idx="15">
                  <c:v>0.99</c:v>
                </c:pt>
                <c:pt idx="16">
                  <c:v>1.0</c:v>
                </c:pt>
                <c:pt idx="17">
                  <c:v>0.99</c:v>
                </c:pt>
                <c:pt idx="18">
                  <c:v>1.0</c:v>
                </c:pt>
                <c:pt idx="19">
                  <c:v>1.0</c:v>
                </c:pt>
                <c:pt idx="20">
                  <c:v>0.96</c:v>
                </c:pt>
                <c:pt idx="21">
                  <c:v>0.99</c:v>
                </c:pt>
                <c:pt idx="22">
                  <c:v>1.0</c:v>
                </c:pt>
                <c:pt idx="23">
                  <c:v>1.0</c:v>
                </c:pt>
                <c:pt idx="24">
                  <c:v>0.96</c:v>
                </c:pt>
                <c:pt idx="25">
                  <c:v>0.94</c:v>
                </c:pt>
                <c:pt idx="26">
                  <c:v>0.97</c:v>
                </c:pt>
                <c:pt idx="27">
                  <c:v>0.94</c:v>
                </c:pt>
                <c:pt idx="28">
                  <c:v>0.95</c:v>
                </c:pt>
                <c:pt idx="29">
                  <c:v>0.99</c:v>
                </c:pt>
                <c:pt idx="30">
                  <c:v>0.91</c:v>
                </c:pt>
                <c:pt idx="31">
                  <c:v>0.92</c:v>
                </c:pt>
                <c:pt idx="32">
                  <c:v>0.96</c:v>
                </c:pt>
                <c:pt idx="33">
                  <c:v>0.97</c:v>
                </c:pt>
                <c:pt idx="34">
                  <c:v>0.99</c:v>
                </c:pt>
                <c:pt idx="35">
                  <c:v>0.98</c:v>
                </c:pt>
                <c:pt idx="36">
                  <c:v>0.93</c:v>
                </c:pt>
                <c:pt idx="37">
                  <c:v>0.99</c:v>
                </c:pt>
                <c:pt idx="38">
                  <c:v>0.99</c:v>
                </c:pt>
                <c:pt idx="39">
                  <c:v>0.97</c:v>
                </c:pt>
                <c:pt idx="40">
                  <c:v>0.89</c:v>
                </c:pt>
                <c:pt idx="41">
                  <c:v>0.81</c:v>
                </c:pt>
                <c:pt idx="42">
                  <c:v>0.95</c:v>
                </c:pt>
                <c:pt idx="43">
                  <c:v>0.34</c:v>
                </c:pt>
                <c:pt idx="44">
                  <c:v>0.95</c:v>
                </c:pt>
                <c:pt idx="45">
                  <c:v>0.94</c:v>
                </c:pt>
                <c:pt idx="46">
                  <c:v>0.97</c:v>
                </c:pt>
                <c:pt idx="47">
                  <c:v>0.93</c:v>
                </c:pt>
                <c:pt idx="48">
                  <c:v>0.92</c:v>
                </c:pt>
                <c:pt idx="49">
                  <c:v>1.0</c:v>
                </c:pt>
                <c:pt idx="50">
                  <c:v>0.96</c:v>
                </c:pt>
                <c:pt idx="51">
                  <c:v>0.97</c:v>
                </c:pt>
                <c:pt idx="52">
                  <c:v>0.95</c:v>
                </c:pt>
                <c:pt idx="53">
                  <c:v>0.98</c:v>
                </c:pt>
                <c:pt idx="54">
                  <c:v>0.92</c:v>
                </c:pt>
                <c:pt idx="55">
                  <c:v>0.91</c:v>
                </c:pt>
                <c:pt idx="56">
                  <c:v>0.9</c:v>
                </c:pt>
                <c:pt idx="57">
                  <c:v>0.95</c:v>
                </c:pt>
                <c:pt idx="58">
                  <c:v>0.99</c:v>
                </c:pt>
                <c:pt idx="59">
                  <c:v>1.0</c:v>
                </c:pt>
                <c:pt idx="60">
                  <c:v>0.96</c:v>
                </c:pt>
                <c:pt idx="61">
                  <c:v>0.97</c:v>
                </c:pt>
                <c:pt idx="62">
                  <c:v>0.87</c:v>
                </c:pt>
                <c:pt idx="63">
                  <c:v>0.88</c:v>
                </c:pt>
                <c:pt idx="64">
                  <c:v>0.89</c:v>
                </c:pt>
                <c:pt idx="65">
                  <c:v>0.83</c:v>
                </c:pt>
                <c:pt idx="66">
                  <c:v>0.96</c:v>
                </c:pt>
                <c:pt idx="67">
                  <c:v>0.93</c:v>
                </c:pt>
                <c:pt idx="68">
                  <c:v>1.0</c:v>
                </c:pt>
                <c:pt idx="69">
                  <c:v>0.71</c:v>
                </c:pt>
                <c:pt idx="70">
                  <c:v>1.0</c:v>
                </c:pt>
                <c:pt idx="71">
                  <c:v>0.87</c:v>
                </c:pt>
                <c:pt idx="72">
                  <c:v>0.97</c:v>
                </c:pt>
                <c:pt idx="73">
                  <c:v>0.92</c:v>
                </c:pt>
                <c:pt idx="74">
                  <c:v>0.96</c:v>
                </c:pt>
                <c:pt idx="75">
                  <c:v>0.95</c:v>
                </c:pt>
                <c:pt idx="76">
                  <c:v>1.0</c:v>
                </c:pt>
                <c:pt idx="77">
                  <c:v>0.93</c:v>
                </c:pt>
                <c:pt idx="78">
                  <c:v>0.56</c:v>
                </c:pt>
                <c:pt idx="79">
                  <c:v>0.96</c:v>
                </c:pt>
                <c:pt idx="80">
                  <c:v>0.88</c:v>
                </c:pt>
                <c:pt idx="81">
                  <c:v>0.84</c:v>
                </c:pt>
                <c:pt idx="82">
                  <c:v>0.88</c:v>
                </c:pt>
                <c:pt idx="83">
                  <c:v>0.85</c:v>
                </c:pt>
                <c:pt idx="84">
                  <c:v>0.86</c:v>
                </c:pt>
                <c:pt idx="85">
                  <c:v>0.22</c:v>
                </c:pt>
                <c:pt idx="86">
                  <c:v>0.92</c:v>
                </c:pt>
                <c:pt idx="87">
                  <c:v>0.94</c:v>
                </c:pt>
                <c:pt idx="88">
                  <c:v>0.67</c:v>
                </c:pt>
                <c:pt idx="89">
                  <c:v>0.83</c:v>
                </c:pt>
                <c:pt idx="90">
                  <c:v>0.87</c:v>
                </c:pt>
                <c:pt idx="91">
                  <c:v>0.99</c:v>
                </c:pt>
                <c:pt idx="92">
                  <c:v>0.71</c:v>
                </c:pt>
                <c:pt idx="93">
                  <c:v>0.23</c:v>
                </c:pt>
                <c:pt idx="94">
                  <c:v>0.87</c:v>
                </c:pt>
                <c:pt idx="95">
                  <c:v>0.73</c:v>
                </c:pt>
                <c:pt idx="96">
                  <c:v>0.84</c:v>
                </c:pt>
                <c:pt idx="97">
                  <c:v>0.76</c:v>
                </c:pt>
                <c:pt idx="98">
                  <c:v>0.93</c:v>
                </c:pt>
                <c:pt idx="99">
                  <c:v>0.93</c:v>
                </c:pt>
                <c:pt idx="100">
                  <c:v>0.91</c:v>
                </c:pt>
                <c:pt idx="101">
                  <c:v>0.9</c:v>
                </c:pt>
                <c:pt idx="102">
                  <c:v>0.47</c:v>
                </c:pt>
                <c:pt idx="103">
                  <c:v>0.36</c:v>
                </c:pt>
                <c:pt idx="104">
                  <c:v>0.82</c:v>
                </c:pt>
                <c:pt idx="105">
                  <c:v>0.96</c:v>
                </c:pt>
                <c:pt idx="106">
                  <c:v>0.79</c:v>
                </c:pt>
                <c:pt idx="107">
                  <c:v>0.93</c:v>
                </c:pt>
                <c:pt idx="108">
                  <c:v>0.85</c:v>
                </c:pt>
                <c:pt idx="109">
                  <c:v>0.22</c:v>
                </c:pt>
                <c:pt idx="110">
                  <c:v>0.9</c:v>
                </c:pt>
                <c:pt idx="111">
                  <c:v>0.95</c:v>
                </c:pt>
                <c:pt idx="112">
                  <c:v>0.67</c:v>
                </c:pt>
                <c:pt idx="113">
                  <c:v>0.1</c:v>
                </c:pt>
                <c:pt idx="114">
                  <c:v>0.99</c:v>
                </c:pt>
                <c:pt idx="115">
                  <c:v>0.89</c:v>
                </c:pt>
                <c:pt idx="116">
                  <c:v>0.96</c:v>
                </c:pt>
                <c:pt idx="117">
                  <c:v>0.55</c:v>
                </c:pt>
                <c:pt idx="118">
                  <c:v>0.09</c:v>
                </c:pt>
                <c:pt idx="119">
                  <c:v>0.72</c:v>
                </c:pt>
                <c:pt idx="120">
                  <c:v>0.68</c:v>
                </c:pt>
                <c:pt idx="121">
                  <c:v>0.94</c:v>
                </c:pt>
                <c:pt idx="122">
                  <c:v>0.6</c:v>
                </c:pt>
                <c:pt idx="123">
                  <c:v>0.22</c:v>
                </c:pt>
                <c:pt idx="124">
                  <c:v>0.53</c:v>
                </c:pt>
                <c:pt idx="125">
                  <c:v>0.7</c:v>
                </c:pt>
                <c:pt idx="126">
                  <c:v>0.42</c:v>
                </c:pt>
                <c:pt idx="127">
                  <c:v>0.3</c:v>
                </c:pt>
                <c:pt idx="128">
                  <c:v>0.18</c:v>
                </c:pt>
                <c:pt idx="129">
                  <c:v>0.41</c:v>
                </c:pt>
                <c:pt idx="130">
                  <c:v>0.77</c:v>
                </c:pt>
                <c:pt idx="131">
                  <c:v>0.15</c:v>
                </c:pt>
                <c:pt idx="132">
                  <c:v>0.59</c:v>
                </c:pt>
                <c:pt idx="133">
                  <c:v>0.72</c:v>
                </c:pt>
                <c:pt idx="134">
                  <c:v>0.68</c:v>
                </c:pt>
                <c:pt idx="135">
                  <c:v>0.81</c:v>
                </c:pt>
                <c:pt idx="136">
                  <c:v>0.02</c:v>
                </c:pt>
                <c:pt idx="137">
                  <c:v>0.28</c:v>
                </c:pt>
                <c:pt idx="138">
                  <c:v>0.08</c:v>
                </c:pt>
                <c:pt idx="139">
                  <c:v>0.58</c:v>
                </c:pt>
                <c:pt idx="140">
                  <c:v>0.11</c:v>
                </c:pt>
                <c:pt idx="141">
                  <c:v>0.31</c:v>
                </c:pt>
                <c:pt idx="142">
                  <c:v>0.11</c:v>
                </c:pt>
                <c:pt idx="143">
                  <c:v>0.13</c:v>
                </c:pt>
                <c:pt idx="144">
                  <c:v>0.36</c:v>
                </c:pt>
                <c:pt idx="145">
                  <c:v>0.9</c:v>
                </c:pt>
                <c:pt idx="146">
                  <c:v>0.39</c:v>
                </c:pt>
                <c:pt idx="147">
                  <c:v>0.66</c:v>
                </c:pt>
                <c:pt idx="148">
                  <c:v>0.72</c:v>
                </c:pt>
                <c:pt idx="149">
                  <c:v>0.2</c:v>
                </c:pt>
                <c:pt idx="150">
                  <c:v>0.15</c:v>
                </c:pt>
                <c:pt idx="151">
                  <c:v>0.14</c:v>
                </c:pt>
                <c:pt idx="152">
                  <c:v>0.72</c:v>
                </c:pt>
                <c:pt idx="153">
                  <c:v>0.57</c:v>
                </c:pt>
                <c:pt idx="154">
                  <c:v>0.24</c:v>
                </c:pt>
                <c:pt idx="155">
                  <c:v>0.69</c:v>
                </c:pt>
                <c:pt idx="156">
                  <c:v>0.12</c:v>
                </c:pt>
                <c:pt idx="157">
                  <c:v>0.09</c:v>
                </c:pt>
                <c:pt idx="158">
                  <c:v>0.54</c:v>
                </c:pt>
                <c:pt idx="159">
                  <c:v>0.14</c:v>
                </c:pt>
                <c:pt idx="160">
                  <c:v>0.53</c:v>
                </c:pt>
                <c:pt idx="161">
                  <c:v>0.55</c:v>
                </c:pt>
                <c:pt idx="162">
                  <c:v>0.13</c:v>
                </c:pt>
                <c:pt idx="163">
                  <c:v>0.61</c:v>
                </c:pt>
                <c:pt idx="164">
                  <c:v>0.1</c:v>
                </c:pt>
                <c:pt idx="165">
                  <c:v>0.04</c:v>
                </c:pt>
                <c:pt idx="166">
                  <c:v>0.01</c:v>
                </c:pt>
                <c:pt idx="167">
                  <c:v>0.46</c:v>
                </c:pt>
                <c:pt idx="168">
                  <c:v>0.3</c:v>
                </c:pt>
                <c:pt idx="169">
                  <c:v>0.72</c:v>
                </c:pt>
                <c:pt idx="170">
                  <c:v>0.68</c:v>
                </c:pt>
                <c:pt idx="171">
                  <c:v>0.72</c:v>
                </c:pt>
                <c:pt idx="172">
                  <c:v>0.31</c:v>
                </c:pt>
                <c:pt idx="173">
                  <c:v>0.6</c:v>
                </c:pt>
                <c:pt idx="174">
                  <c:v>0.69</c:v>
                </c:pt>
                <c:pt idx="175">
                  <c:v>0.06</c:v>
                </c:pt>
                <c:pt idx="176">
                  <c:v>0.48</c:v>
                </c:pt>
                <c:pt idx="177">
                  <c:v>0.02</c:v>
                </c:pt>
                <c:pt idx="178">
                  <c:v>0.14</c:v>
                </c:pt>
                <c:pt idx="179">
                  <c:v>0.34</c:v>
                </c:pt>
                <c:pt idx="180">
                  <c:v>0.7</c:v>
                </c:pt>
                <c:pt idx="181">
                  <c:v>0.69</c:v>
                </c:pt>
                <c:pt idx="182">
                  <c:v>0.29</c:v>
                </c:pt>
                <c:pt idx="183">
                  <c:v>0.1</c:v>
                </c:pt>
                <c:pt idx="184">
                  <c:v>0.08</c:v>
                </c:pt>
                <c:pt idx="185">
                  <c:v>0.08</c:v>
                </c:pt>
                <c:pt idx="186">
                  <c:v>0.68</c:v>
                </c:pt>
                <c:pt idx="187">
                  <c:v>0.17</c:v>
                </c:pt>
                <c:pt idx="188">
                  <c:v>0.01</c:v>
                </c:pt>
                <c:pt idx="189">
                  <c:v>0.69</c:v>
                </c:pt>
                <c:pt idx="190">
                  <c:v>0.15</c:v>
                </c:pt>
                <c:pt idx="191">
                  <c:v>0.08</c:v>
                </c:pt>
                <c:pt idx="192">
                  <c:v>0.1</c:v>
                </c:pt>
                <c:pt idx="193">
                  <c:v>0.65</c:v>
                </c:pt>
                <c:pt idx="194">
                  <c:v>0.08</c:v>
                </c:pt>
                <c:pt idx="195">
                  <c:v>0.17</c:v>
                </c:pt>
                <c:pt idx="196">
                  <c:v>0.14</c:v>
                </c:pt>
                <c:pt idx="197">
                  <c:v>0.3</c:v>
                </c:pt>
                <c:pt idx="198">
                  <c:v>0.07</c:v>
                </c:pt>
                <c:pt idx="199">
                  <c:v>0.09</c:v>
                </c:pt>
                <c:pt idx="200">
                  <c:v>0.1</c:v>
                </c:pt>
                <c:pt idx="201">
                  <c:v>0.05</c:v>
                </c:pt>
                <c:pt idx="202">
                  <c:v>0.54</c:v>
                </c:pt>
                <c:pt idx="203">
                  <c:v>0.18</c:v>
                </c:pt>
                <c:pt idx="204">
                  <c:v>0.07</c:v>
                </c:pt>
                <c:pt idx="205">
                  <c:v>0.05</c:v>
                </c:pt>
                <c:pt idx="206">
                  <c:v>0.01</c:v>
                </c:pt>
                <c:pt idx="207">
                  <c:v>0.07</c:v>
                </c:pt>
                <c:pt idx="208">
                  <c:v>0.07</c:v>
                </c:pt>
                <c:pt idx="209">
                  <c:v>0.13</c:v>
                </c:pt>
                <c:pt idx="210">
                  <c:v>0.18</c:v>
                </c:pt>
                <c:pt idx="211">
                  <c:v>0.01</c:v>
                </c:pt>
                <c:pt idx="212">
                  <c:v>0.02</c:v>
                </c:pt>
                <c:pt idx="213">
                  <c:v>0.15</c:v>
                </c:pt>
                <c:pt idx="214">
                  <c:v>0.66</c:v>
                </c:pt>
                <c:pt idx="215">
                  <c:v>0.02</c:v>
                </c:pt>
                <c:pt idx="216">
                  <c:v>0.13</c:v>
                </c:pt>
                <c:pt idx="217">
                  <c:v>0.06</c:v>
                </c:pt>
                <c:pt idx="218">
                  <c:v>0.06</c:v>
                </c:pt>
                <c:pt idx="219">
                  <c:v>0.14</c:v>
                </c:pt>
                <c:pt idx="220">
                  <c:v>0.08</c:v>
                </c:pt>
                <c:pt idx="221">
                  <c:v>0.06</c:v>
                </c:pt>
                <c:pt idx="222">
                  <c:v>0.03</c:v>
                </c:pt>
                <c:pt idx="223">
                  <c:v>0.09</c:v>
                </c:pt>
                <c:pt idx="224">
                  <c:v>0.57</c:v>
                </c:pt>
                <c:pt idx="225">
                  <c:v>0.14</c:v>
                </c:pt>
                <c:pt idx="226">
                  <c:v>0.38</c:v>
                </c:pt>
                <c:pt idx="227">
                  <c:v>0.02</c:v>
                </c:pt>
                <c:pt idx="228">
                  <c:v>0.01</c:v>
                </c:pt>
                <c:pt idx="229">
                  <c:v>0.01</c:v>
                </c:pt>
                <c:pt idx="230">
                  <c:v>0.13</c:v>
                </c:pt>
                <c:pt idx="231">
                  <c:v>0.04</c:v>
                </c:pt>
                <c:pt idx="232">
                  <c:v>0.01</c:v>
                </c:pt>
                <c:pt idx="233">
                  <c:v>0.05</c:v>
                </c:pt>
                <c:pt idx="234">
                  <c:v>0.07</c:v>
                </c:pt>
                <c:pt idx="235">
                  <c:v>0.04</c:v>
                </c:pt>
                <c:pt idx="236">
                  <c:v>0.07</c:v>
                </c:pt>
                <c:pt idx="237">
                  <c:v>0.04</c:v>
                </c:pt>
                <c:pt idx="238">
                  <c:v>0.05</c:v>
                </c:pt>
                <c:pt idx="239">
                  <c:v>0.01</c:v>
                </c:pt>
                <c:pt idx="240">
                  <c:v>0.13</c:v>
                </c:pt>
                <c:pt idx="241">
                  <c:v>0.02</c:v>
                </c:pt>
                <c:pt idx="242">
                  <c:v>0.01</c:v>
                </c:pt>
                <c:pt idx="243">
                  <c:v>0.02</c:v>
                </c:pt>
                <c:pt idx="244">
                  <c:v>0.03</c:v>
                </c:pt>
                <c:pt idx="245">
                  <c:v>0.01</c:v>
                </c:pt>
                <c:pt idx="246">
                  <c:v>0.08</c:v>
                </c:pt>
                <c:pt idx="247">
                  <c:v>0.01</c:v>
                </c:pt>
                <c:pt idx="248">
                  <c:v>0.01</c:v>
                </c:pt>
                <c:pt idx="249">
                  <c:v>0.06</c:v>
                </c:pt>
                <c:pt idx="250">
                  <c:v>0.06</c:v>
                </c:pt>
                <c:pt idx="251">
                  <c:v>0.01</c:v>
                </c:pt>
                <c:pt idx="252">
                  <c:v>0.02</c:v>
                </c:pt>
                <c:pt idx="253">
                  <c:v>0.01</c:v>
                </c:pt>
                <c:pt idx="254">
                  <c:v>0.01</c:v>
                </c:pt>
                <c:pt idx="255">
                  <c:v>0.12</c:v>
                </c:pt>
                <c:pt idx="256">
                  <c:v>0.09</c:v>
                </c:pt>
                <c:pt idx="257">
                  <c:v>0.01</c:v>
                </c:pt>
                <c:pt idx="258">
                  <c:v>0.03</c:v>
                </c:pt>
                <c:pt idx="259">
                  <c:v>0.07</c:v>
                </c:pt>
                <c:pt idx="260">
                  <c:v>0.01</c:v>
                </c:pt>
                <c:pt idx="261">
                  <c:v>0.13</c:v>
                </c:pt>
                <c:pt idx="262">
                  <c:v>0.04</c:v>
                </c:pt>
                <c:pt idx="263">
                  <c:v>0.01</c:v>
                </c:pt>
                <c:pt idx="264">
                  <c:v>0.02</c:v>
                </c:pt>
                <c:pt idx="265">
                  <c:v>0.01</c:v>
                </c:pt>
                <c:pt idx="266">
                  <c:v>0.01</c:v>
                </c:pt>
                <c:pt idx="267">
                  <c:v>0.01</c:v>
                </c:pt>
                <c:pt idx="268">
                  <c:v>0.01</c:v>
                </c:pt>
                <c:pt idx="269">
                  <c:v>0.01</c:v>
                </c:pt>
                <c:pt idx="270">
                  <c:v>0.02</c:v>
                </c:pt>
                <c:pt idx="271">
                  <c:v>0.01</c:v>
                </c:pt>
                <c:pt idx="272">
                  <c:v>0.01</c:v>
                </c:pt>
                <c:pt idx="273">
                  <c:v>0.01</c:v>
                </c:pt>
                <c:pt idx="274">
                  <c:v>0.14</c:v>
                </c:pt>
                <c:pt idx="275">
                  <c:v>0.01</c:v>
                </c:pt>
                <c:pt idx="276">
                  <c:v>0.03</c:v>
                </c:pt>
                <c:pt idx="277">
                  <c:v>0.01</c:v>
                </c:pt>
                <c:pt idx="278">
                  <c:v>0.04</c:v>
                </c:pt>
                <c:pt idx="279">
                  <c:v>0.02</c:v>
                </c:pt>
                <c:pt idx="280">
                  <c:v>0.02</c:v>
                </c:pt>
                <c:pt idx="281">
                  <c:v>0.01</c:v>
                </c:pt>
                <c:pt idx="282">
                  <c:v>0.01</c:v>
                </c:pt>
                <c:pt idx="283">
                  <c:v>0.01</c:v>
                </c:pt>
                <c:pt idx="284">
                  <c:v>0.01</c:v>
                </c:pt>
                <c:pt idx="285">
                  <c:v>0.01</c:v>
                </c:pt>
                <c:pt idx="286">
                  <c:v>0.01</c:v>
                </c:pt>
                <c:pt idx="287">
                  <c:v>0.01</c:v>
                </c:pt>
                <c:pt idx="288">
                  <c:v>0.01</c:v>
                </c:pt>
                <c:pt idx="289">
                  <c:v>0.01</c:v>
                </c:pt>
                <c:pt idx="290">
                  <c:v>0.01</c:v>
                </c:pt>
                <c:pt idx="291">
                  <c:v>0.01</c:v>
                </c:pt>
                <c:pt idx="292">
                  <c:v>0.01</c:v>
                </c:pt>
                <c:pt idx="293">
                  <c:v>0.05</c:v>
                </c:pt>
                <c:pt idx="294">
                  <c:v>0.01</c:v>
                </c:pt>
                <c:pt idx="295">
                  <c:v>0.01</c:v>
                </c:pt>
                <c:pt idx="296">
                  <c:v>0.01</c:v>
                </c:pt>
                <c:pt idx="297">
                  <c:v>0.01</c:v>
                </c:pt>
                <c:pt idx="298">
                  <c:v>0.01</c:v>
                </c:pt>
                <c:pt idx="299">
                  <c:v>0.01</c:v>
                </c:pt>
                <c:pt idx="300">
                  <c:v>0.01</c:v>
                </c:pt>
                <c:pt idx="301">
                  <c:v>0.04</c:v>
                </c:pt>
                <c:pt idx="302">
                  <c:v>0.01</c:v>
                </c:pt>
                <c:pt idx="303">
                  <c:v>0.01</c:v>
                </c:pt>
                <c:pt idx="304">
                  <c:v>0.01</c:v>
                </c:pt>
                <c:pt idx="305">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Item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7ECAC4"/>
              </a:solidFill>
            </c:spPr>
            <c:extLst>
              <c:ext xmlns:c16="http://schemas.microsoft.com/office/drawing/2014/chart" uri="{C3380CC4-5D6E-409C-BE32-E72D297353CC}">
                <c16:uniqueId val="{0000008D-2993-41DE-A2CB-63102DE87051}"/>
              </c:ext>
            </c:extLst>
          </c:dPt>
          <c:dPt>
            <c:idx val="43"/>
            <c:invertIfNegative val="1"/>
            <c:bubble3D val="0"/>
            <c:spPr>
              <a:solidFill>
                <a:srgbClr val="7ECAC4"/>
              </a:solidFill>
            </c:spPr>
            <c:extLst>
              <c:ext xmlns:c16="http://schemas.microsoft.com/office/drawing/2014/chart" uri="{C3380CC4-5D6E-409C-BE32-E72D297353CC}">
                <c16:uniqueId val="{0000008F-2993-41DE-A2CB-63102DE87051}"/>
              </c:ext>
            </c:extLst>
          </c:dPt>
          <c:dPt>
            <c:idx val="44"/>
            <c:invertIfNegative val="1"/>
            <c:bubble3D val="0"/>
            <c:spPr>
              <a:solidFill>
                <a:srgbClr val="7ECAC4"/>
              </a:solidFill>
            </c:spPr>
            <c:extLst>
              <c:ext xmlns:c16="http://schemas.microsoft.com/office/drawing/2014/chart" uri="{C3380CC4-5D6E-409C-BE32-E72D297353CC}">
                <c16:uniqueId val="{00000091-2993-41DE-A2CB-63102DE87051}"/>
              </c:ext>
            </c:extLst>
          </c:dPt>
          <c:dPt>
            <c:idx val="45"/>
            <c:invertIfNegative val="1"/>
            <c:bubble3D val="0"/>
            <c:spPr>
              <a:solidFill>
                <a:srgbClr val="7ECAC4"/>
              </a:solidFill>
            </c:spPr>
            <c:extLst>
              <c:ext xmlns:c16="http://schemas.microsoft.com/office/drawing/2014/chart" uri="{C3380CC4-5D6E-409C-BE32-E72D297353CC}">
                <c16:uniqueId val="{00000093-2993-41DE-A2CB-63102DE87051}"/>
              </c:ext>
            </c:extLst>
          </c:dPt>
          <c:dPt>
            <c:idx val="46"/>
            <c:invertIfNegative val="1"/>
            <c:bubble3D val="0"/>
            <c:spPr>
              <a:solidFill>
                <a:srgbClr val="7ECAC4"/>
              </a:solidFill>
            </c:spPr>
            <c:extLst>
              <c:ext xmlns:c16="http://schemas.microsoft.com/office/drawing/2014/chart" uri="{C3380CC4-5D6E-409C-BE32-E72D297353CC}">
                <c16:uniqueId val="{00000095-2993-41DE-A2CB-63102DE87051}"/>
              </c:ext>
            </c:extLst>
          </c:dPt>
          <c:dPt>
            <c:idx val="47"/>
            <c:invertIfNegative val="1"/>
            <c:bubble3D val="0"/>
            <c:spPr>
              <a:solidFill>
                <a:srgbClr val="7ECAC4"/>
              </a:solidFill>
            </c:spPr>
            <c:extLst>
              <c:ext xmlns:c16="http://schemas.microsoft.com/office/drawing/2014/chart" uri="{C3380CC4-5D6E-409C-BE32-E72D297353CC}">
                <c16:uniqueId val="{00000097-2993-41DE-A2CB-63102DE87051}"/>
              </c:ext>
            </c:extLst>
          </c:dPt>
          <c:dPt>
            <c:idx val="48"/>
            <c:invertIfNegative val="1"/>
            <c:bubble3D val="0"/>
            <c:spPr>
              <a:solidFill>
                <a:srgbClr val="7ECAC4"/>
              </a:solidFill>
            </c:spPr>
            <c:extLst>
              <c:ext xmlns:c16="http://schemas.microsoft.com/office/drawing/2014/chart" uri="{C3380CC4-5D6E-409C-BE32-E72D297353CC}">
                <c16:uniqueId val="{00000099-2993-41DE-A2CB-63102DE87051}"/>
              </c:ext>
            </c:extLst>
          </c:dPt>
          <c:dPt>
            <c:idx val="49"/>
            <c:invertIfNegative val="1"/>
            <c:bubble3D val="0"/>
            <c:spPr>
              <a:solidFill>
                <a:srgbClr val="7ECAC4"/>
              </a:solidFill>
            </c:spPr>
            <c:extLst>
              <c:ext xmlns:c16="http://schemas.microsoft.com/office/drawing/2014/chart" uri="{C3380CC4-5D6E-409C-BE32-E72D297353CC}">
                <c16:uniqueId val="{0000009B-2993-41DE-A2CB-63102DE87051}"/>
              </c:ext>
            </c:extLst>
          </c:dPt>
          <c:dPt>
            <c:idx val="50"/>
            <c:invertIfNegative val="1"/>
            <c:bubble3D val="0"/>
            <c:spPr>
              <a:solidFill>
                <a:srgbClr val="7ECAC4"/>
              </a:solidFill>
            </c:spPr>
            <c:extLst>
              <c:ext xmlns:c16="http://schemas.microsoft.com/office/drawing/2014/chart" uri="{C3380CC4-5D6E-409C-BE32-E72D297353CC}">
                <c16:uniqueId val="{0000009D-2993-41DE-A2CB-63102DE87051}"/>
              </c:ext>
            </c:extLst>
          </c:dPt>
          <c:dPt>
            <c:idx val="51"/>
            <c:invertIfNegative val="1"/>
            <c:bubble3D val="0"/>
            <c:spPr>
              <a:solidFill>
                <a:srgbClr val="7ECAC4"/>
              </a:solidFill>
            </c:spPr>
            <c:extLst>
              <c:ext xmlns:c16="http://schemas.microsoft.com/office/drawing/2014/chart" uri="{C3380CC4-5D6E-409C-BE32-E72D297353CC}">
                <c16:uniqueId val="{0000009F-2993-41DE-A2CB-63102DE87051}"/>
              </c:ext>
            </c:extLst>
          </c:dPt>
          <c:dPt>
            <c:idx val="52"/>
            <c:invertIfNegative val="1"/>
            <c:bubble3D val="0"/>
            <c:spPr>
              <a:solidFill>
                <a:srgbClr val="7ECAC4"/>
              </a:solidFill>
            </c:spPr>
            <c:extLst>
              <c:ext xmlns:c16="http://schemas.microsoft.com/office/drawing/2014/chart" uri="{C3380CC4-5D6E-409C-BE32-E72D297353CC}">
                <c16:uniqueId val="{000000A1-2993-41DE-A2CB-63102DE87051}"/>
              </c:ext>
            </c:extLst>
          </c:dPt>
          <c:dPt>
            <c:idx val="53"/>
            <c:invertIfNegative val="1"/>
            <c:bubble3D val="0"/>
            <c:spPr>
              <a:solidFill>
                <a:srgbClr val="7ECAC4"/>
              </a:solidFill>
            </c:spPr>
            <c:extLst>
              <c:ext xmlns:c16="http://schemas.microsoft.com/office/drawing/2014/chart" uri="{C3380CC4-5D6E-409C-BE32-E72D297353CC}">
                <c16:uniqueId val="{000000A3-2993-41DE-A2CB-63102DE87051}"/>
              </c:ext>
            </c:extLst>
          </c:dPt>
          <c:dPt>
            <c:idx val="54"/>
            <c:invertIfNegative val="0"/>
            <c:bubble3D val="0"/>
            <c:spPr>
              <a:solidFill>
                <a:srgbClr val="7ECAC4"/>
              </a:solidFill>
            </c:spPr>
            <c:extLst>
              <c:ext xmlns:c16="http://schemas.microsoft.com/office/drawing/2014/chart" uri="{C3380CC4-5D6E-409C-BE32-E72D297353CC}">
                <c16:uniqueId val="{00000072-C76F-4230-900D-40618C09729F}"/>
              </c:ext>
            </c:extLst>
          </c:dPt>
          <c:dPt>
            <c:idx val="55"/>
            <c:invertIfNegative val="0"/>
            <c:bubble3D val="0"/>
            <c:spPr>
              <a:solidFill>
                <a:srgbClr val="7ECAC4"/>
              </a:solidFill>
            </c:spPr>
            <c:extLst>
              <c:ext xmlns:c16="http://schemas.microsoft.com/office/drawing/2014/chart" uri="{C3380CC4-5D6E-409C-BE32-E72D297353CC}">
                <c16:uniqueId val="{00000074-C76F-4230-900D-40618C09729F}"/>
              </c:ext>
            </c:extLst>
          </c:dPt>
          <c:dPt>
            <c:idx val="56"/>
            <c:invertIfNegative val="0"/>
            <c:bubble3D val="0"/>
            <c:spPr>
              <a:solidFill>
                <a:srgbClr val="7ECAC4"/>
              </a:solidFill>
            </c:spPr>
            <c:extLst>
              <c:ext xmlns:c16="http://schemas.microsoft.com/office/drawing/2014/chart" uri="{C3380CC4-5D6E-409C-BE32-E72D297353CC}">
                <c16:uniqueId val="{00000076-C76F-4230-900D-40618C09729F}"/>
              </c:ext>
            </c:extLst>
          </c:dPt>
          <c:dPt>
            <c:idx val="57"/>
            <c:invertIfNegative val="0"/>
            <c:bubble3D val="0"/>
            <c:spPr>
              <a:solidFill>
                <a:srgbClr val="7ECAC4"/>
              </a:solidFill>
            </c:spPr>
            <c:extLst>
              <c:ext xmlns:c16="http://schemas.microsoft.com/office/drawing/2014/chart" uri="{C3380CC4-5D6E-409C-BE32-E72D297353CC}">
                <c16:uniqueId val="{00000078-C76F-4230-900D-40618C09729F}"/>
              </c:ext>
            </c:extLst>
          </c:dPt>
          <c:dPt>
            <c:idx val="58"/>
            <c:invertIfNegative val="0"/>
            <c:bubble3D val="0"/>
            <c:spPr>
              <a:solidFill>
                <a:srgbClr val="7ECAC4"/>
              </a:solidFill>
            </c:spPr>
            <c:extLst>
              <c:ext xmlns:c16="http://schemas.microsoft.com/office/drawing/2014/chart" uri="{C3380CC4-5D6E-409C-BE32-E72D297353CC}">
                <c16:uniqueId val="{0000007A-C76F-4230-900D-40618C09729F}"/>
              </c:ext>
            </c:extLst>
          </c:dPt>
          <c:dPt>
            <c:idx val="59"/>
            <c:invertIfNegative val="0"/>
            <c:bubble3D val="0"/>
            <c:spPr>
              <a:solidFill>
                <a:srgbClr val="7ECAC4"/>
              </a:solidFill>
            </c:spPr>
            <c:extLst>
              <c:ext xmlns:c16="http://schemas.microsoft.com/office/drawing/2014/chart" uri="{C3380CC4-5D6E-409C-BE32-E72D297353CC}">
                <c16:uniqueId val="{0000007C-C76F-4230-900D-40618C09729F}"/>
              </c:ext>
            </c:extLst>
          </c:dPt>
          <c:dPt>
            <c:idx val="60"/>
            <c:invertIfNegative val="0"/>
            <c:bubble3D val="0"/>
            <c:spPr>
              <a:solidFill>
                <a:srgbClr val="7ECAC4"/>
              </a:solidFill>
            </c:spPr>
            <c:extLst>
              <c:ext xmlns:c16="http://schemas.microsoft.com/office/drawing/2014/chart" uri="{C3380CC4-5D6E-409C-BE32-E72D297353CC}">
                <c16:uniqueId val="{0000007E-C76F-4230-900D-40618C09729F}"/>
              </c:ext>
            </c:extLst>
          </c:dPt>
          <c:dPt>
            <c:idx val="61"/>
            <c:invertIfNegative val="0"/>
            <c:bubble3D val="0"/>
            <c:spPr>
              <a:solidFill>
                <a:srgbClr val="7ECAC4"/>
              </a:solidFill>
            </c:spPr>
            <c:extLst>
              <c:ext xmlns:c16="http://schemas.microsoft.com/office/drawing/2014/chart" uri="{C3380CC4-5D6E-409C-BE32-E72D297353CC}">
                <c16:uniqueId val="{00000080-C76F-4230-900D-40618C09729F}"/>
              </c:ext>
            </c:extLst>
          </c:dPt>
          <c:dPt>
            <c:idx val="62"/>
            <c:invertIfNegative val="0"/>
            <c:bubble3D val="0"/>
            <c:spPr>
              <a:solidFill>
                <a:srgbClr val="7ECAC4"/>
              </a:solidFill>
            </c:spPr>
            <c:extLst>
              <c:ext xmlns:c16="http://schemas.microsoft.com/office/drawing/2014/chart" uri="{C3380CC4-5D6E-409C-BE32-E72D297353CC}">
                <c16:uniqueId val="{00000082-C76F-4230-900D-40618C09729F}"/>
              </c:ext>
            </c:extLst>
          </c:dPt>
          <c:dPt>
            <c:idx val="63"/>
            <c:invertIfNegative val="0"/>
            <c:bubble3D val="0"/>
            <c:spPr>
              <a:solidFill>
                <a:srgbClr val="7ECAC4"/>
              </a:solidFill>
            </c:spPr>
            <c:extLst>
              <c:ext xmlns:c16="http://schemas.microsoft.com/office/drawing/2014/chart" uri="{C3380CC4-5D6E-409C-BE32-E72D297353CC}">
                <c16:uniqueId val="{00000084-C76F-4230-900D-40618C09729F}"/>
              </c:ext>
            </c:extLst>
          </c:dPt>
          <c:dPt>
            <c:idx val="64"/>
            <c:invertIfNegative val="0"/>
            <c:bubble3D val="0"/>
            <c:spPr>
              <a:solidFill>
                <a:srgbClr val="7ECAC4"/>
              </a:solidFill>
            </c:spPr>
            <c:extLst>
              <c:ext xmlns:c16="http://schemas.microsoft.com/office/drawing/2014/chart" uri="{C3380CC4-5D6E-409C-BE32-E72D297353CC}">
                <c16:uniqueId val="{00000086-C76F-4230-900D-40618C09729F}"/>
              </c:ext>
            </c:extLst>
          </c:dPt>
          <c:dPt>
            <c:idx val="65"/>
            <c:invertIfNegative val="0"/>
            <c:bubble3D val="0"/>
            <c:spPr>
              <a:solidFill>
                <a:srgbClr val="7ECAC4"/>
              </a:solidFill>
            </c:spPr>
            <c:extLst>
              <c:ext xmlns:c16="http://schemas.microsoft.com/office/drawing/2014/chart" uri="{C3380CC4-5D6E-409C-BE32-E72D297353CC}">
                <c16:uniqueId val="{00000088-C76F-4230-900D-40618C09729F}"/>
              </c:ext>
            </c:extLst>
          </c:dPt>
          <c:dPt>
            <c:idx val="66"/>
            <c:invertIfNegative val="0"/>
            <c:bubble3D val="0"/>
            <c:spPr>
              <a:solidFill>
                <a:srgbClr val="7ECAC4"/>
              </a:solidFill>
            </c:spPr>
            <c:extLst>
              <c:ext xmlns:c16="http://schemas.microsoft.com/office/drawing/2014/chart" uri="{C3380CC4-5D6E-409C-BE32-E72D297353CC}">
                <c16:uniqueId val="{0000008A-C76F-4230-900D-40618C09729F}"/>
              </c:ext>
            </c:extLst>
          </c:dPt>
          <c:dPt>
            <c:idx val="67"/>
            <c:invertIfNegative val="0"/>
            <c:bubble3D val="0"/>
            <c:spPr>
              <a:solidFill>
                <a:srgbClr val="7ECAC4"/>
              </a:solidFill>
            </c:spPr>
            <c:extLst>
              <c:ext xmlns:c16="http://schemas.microsoft.com/office/drawing/2014/chart" uri="{C3380CC4-5D6E-409C-BE32-E72D297353CC}">
                <c16:uniqueId val="{0000008C-C76F-4230-900D-40618C09729F}"/>
              </c:ext>
            </c:extLst>
          </c:dPt>
          <c:dPt>
            <c:idx val="68"/>
            <c:invertIfNegative val="0"/>
            <c:bubble3D val="0"/>
            <c:spPr>
              <a:solidFill>
                <a:srgbClr val="7ECAC4"/>
              </a:solidFill>
            </c:spPr>
            <c:extLst>
              <c:ext xmlns:c16="http://schemas.microsoft.com/office/drawing/2014/chart" uri="{C3380CC4-5D6E-409C-BE32-E72D297353CC}">
                <c16:uniqueId val="{0000008E-C76F-4230-900D-40618C09729F}"/>
              </c:ext>
            </c:extLst>
          </c:dPt>
          <c:dPt>
            <c:idx val="69"/>
            <c:invertIfNegative val="0"/>
            <c:bubble3D val="0"/>
            <c:spPr>
              <a:solidFill>
                <a:srgbClr val="7ECAC4"/>
              </a:solidFill>
            </c:spPr>
            <c:extLst>
              <c:ext xmlns:c16="http://schemas.microsoft.com/office/drawing/2014/chart" uri="{C3380CC4-5D6E-409C-BE32-E72D297353CC}">
                <c16:uniqueId val="{00000090-C76F-4230-900D-40618C09729F}"/>
              </c:ext>
            </c:extLst>
          </c:dPt>
          <c:dPt>
            <c:idx val="70"/>
            <c:invertIfNegative val="0"/>
            <c:bubble3D val="0"/>
            <c:spPr>
              <a:solidFill>
                <a:srgbClr val="7ECAC4"/>
              </a:solidFill>
            </c:spPr>
            <c:extLst>
              <c:ext xmlns:c16="http://schemas.microsoft.com/office/drawing/2014/chart" uri="{C3380CC4-5D6E-409C-BE32-E72D297353CC}">
                <c16:uniqueId val="{00000092-C76F-4230-900D-40618C09729F}"/>
              </c:ext>
            </c:extLst>
          </c:dPt>
          <c:dPt>
            <c:idx val="71"/>
            <c:invertIfNegative val="0"/>
            <c:bubble3D val="0"/>
            <c:spPr>
              <a:solidFill>
                <a:srgbClr val="7ECAC4"/>
              </a:solidFill>
            </c:spPr>
            <c:extLst>
              <c:ext xmlns:c16="http://schemas.microsoft.com/office/drawing/2014/chart" uri="{C3380CC4-5D6E-409C-BE32-E72D297353CC}">
                <c16:uniqueId val="{00000094-C76F-4230-900D-40618C09729F}"/>
              </c:ext>
            </c:extLst>
          </c:dPt>
          <c:dPt>
            <c:idx val="72"/>
            <c:invertIfNegative val="0"/>
            <c:bubble3D val="0"/>
            <c:spPr>
              <a:solidFill>
                <a:srgbClr val="7ECAC4"/>
              </a:solidFill>
            </c:spPr>
            <c:extLst>
              <c:ext xmlns:c16="http://schemas.microsoft.com/office/drawing/2014/chart" uri="{C3380CC4-5D6E-409C-BE32-E72D297353CC}">
                <c16:uniqueId val="{00000096-C76F-4230-900D-40618C09729F}"/>
              </c:ext>
            </c:extLst>
          </c:dPt>
          <c:dPt>
            <c:idx val="73"/>
            <c:invertIfNegative val="0"/>
            <c:bubble3D val="0"/>
            <c:spPr>
              <a:solidFill>
                <a:srgbClr val="7ECAC4"/>
              </a:solidFill>
            </c:spPr>
            <c:extLst>
              <c:ext xmlns:c16="http://schemas.microsoft.com/office/drawing/2014/chart" uri="{C3380CC4-5D6E-409C-BE32-E72D297353CC}">
                <c16:uniqueId val="{00000098-C76F-4230-900D-40618C09729F}"/>
              </c:ext>
            </c:extLst>
          </c:dPt>
          <c:dPt>
            <c:idx val="74"/>
            <c:invertIfNegative val="0"/>
            <c:bubble3D val="0"/>
            <c:spPr>
              <a:solidFill>
                <a:srgbClr val="7ECAC4"/>
              </a:solidFill>
            </c:spPr>
            <c:extLst>
              <c:ext xmlns:c16="http://schemas.microsoft.com/office/drawing/2014/chart" uri="{C3380CC4-5D6E-409C-BE32-E72D297353CC}">
                <c16:uniqueId val="{0000009A-C76F-4230-900D-40618C09729F}"/>
              </c:ext>
            </c:extLst>
          </c:dPt>
          <c:dPt>
            <c:idx val="75"/>
            <c:invertIfNegative val="0"/>
            <c:bubble3D val="0"/>
            <c:spPr>
              <a:solidFill>
                <a:srgbClr val="7ECAC4"/>
              </a:solidFill>
            </c:spPr>
            <c:extLst>
              <c:ext xmlns:c16="http://schemas.microsoft.com/office/drawing/2014/chart" uri="{C3380CC4-5D6E-409C-BE32-E72D297353CC}">
                <c16:uniqueId val="{0000009C-C76F-4230-900D-40618C09729F}"/>
              </c:ext>
            </c:extLst>
          </c:dPt>
          <c:dPt>
            <c:idx val="76"/>
            <c:invertIfNegative val="0"/>
            <c:bubble3D val="0"/>
            <c:spPr>
              <a:solidFill>
                <a:srgbClr val="7ECAC4"/>
              </a:solidFill>
            </c:spPr>
            <c:extLst>
              <c:ext xmlns:c16="http://schemas.microsoft.com/office/drawing/2014/chart" uri="{C3380CC4-5D6E-409C-BE32-E72D297353CC}">
                <c16:uniqueId val="{0000009E-C76F-4230-900D-40618C09729F}"/>
              </c:ext>
            </c:extLst>
          </c:dPt>
          <c:dPt>
            <c:idx val="77"/>
            <c:invertIfNegative val="0"/>
            <c:bubble3D val="0"/>
            <c:spPr>
              <a:solidFill>
                <a:srgbClr val="7ECAC4"/>
              </a:solidFill>
            </c:spPr>
            <c:extLst>
              <c:ext xmlns:c16="http://schemas.microsoft.com/office/drawing/2014/chart" uri="{C3380CC4-5D6E-409C-BE32-E72D297353CC}">
                <c16:uniqueId val="{000000A0-C76F-4230-900D-40618C09729F}"/>
              </c:ext>
            </c:extLst>
          </c:dPt>
          <c:dPt>
            <c:idx val="78"/>
            <c:invertIfNegative val="0"/>
            <c:bubble3D val="0"/>
            <c:spPr>
              <a:solidFill>
                <a:srgbClr val="7ECAC4"/>
              </a:solidFill>
            </c:spPr>
            <c:extLst>
              <c:ext xmlns:c16="http://schemas.microsoft.com/office/drawing/2014/chart" uri="{C3380CC4-5D6E-409C-BE32-E72D297353CC}">
                <c16:uniqueId val="{000000A2-C76F-4230-900D-40618C09729F}"/>
              </c:ext>
            </c:extLst>
          </c:dPt>
          <c:dPt>
            <c:idx val="79"/>
            <c:invertIfNegative val="0"/>
            <c:bubble3D val="0"/>
            <c:spPr>
              <a:solidFill>
                <a:srgbClr val="7ECAC4"/>
              </a:solidFill>
            </c:spPr>
            <c:extLst>
              <c:ext xmlns:c16="http://schemas.microsoft.com/office/drawing/2014/chart" uri="{C3380CC4-5D6E-409C-BE32-E72D297353CC}">
                <c16:uniqueId val="{000000A4-C76F-4230-900D-40618C09729F}"/>
              </c:ext>
            </c:extLst>
          </c:dPt>
          <c:dPt>
            <c:idx val="80"/>
            <c:invertIfNegative val="0"/>
            <c:bubble3D val="0"/>
            <c:spPr>
              <a:solidFill>
                <a:srgbClr val="7ECAC4"/>
              </a:solidFill>
            </c:spPr>
            <c:extLst>
              <c:ext xmlns:c16="http://schemas.microsoft.com/office/drawing/2014/chart" uri="{C3380CC4-5D6E-409C-BE32-E72D297353CC}">
                <c16:uniqueId val="{000000A6-C76F-4230-900D-40618C09729F}"/>
              </c:ext>
            </c:extLst>
          </c:dPt>
          <c:dPt>
            <c:idx val="81"/>
            <c:invertIfNegative val="1"/>
            <c:bubble3D val="0"/>
            <c:spPr>
              <a:solidFill>
                <a:srgbClr val="7ECAC4"/>
              </a:solidFill>
            </c:spPr>
            <c:extLst>
              <c:ext xmlns:c16="http://schemas.microsoft.com/office/drawing/2014/chart" uri="{C3380CC4-5D6E-409C-BE32-E72D297353CC}">
                <c16:uniqueId val="{000000A5-2993-41DE-A2CB-63102DE87051}"/>
              </c:ext>
            </c:extLst>
          </c:dPt>
          <c:dPt>
            <c:idx val="82"/>
            <c:invertIfNegative val="1"/>
            <c:bubble3D val="0"/>
            <c:spPr>
              <a:solidFill>
                <a:srgbClr val="7ECAC4"/>
              </a:solidFill>
            </c:spPr>
            <c:extLst>
              <c:ext xmlns:c16="http://schemas.microsoft.com/office/drawing/2014/chart" uri="{C3380CC4-5D6E-409C-BE32-E72D297353CC}">
                <c16:uniqueId val="{000000A7-2993-41DE-A2CB-63102DE87051}"/>
              </c:ext>
            </c:extLst>
          </c:dPt>
          <c:dPt>
            <c:idx val="83"/>
            <c:invertIfNegative val="1"/>
            <c:bubble3D val="0"/>
            <c:spPr>
              <a:solidFill>
                <a:srgbClr val="7ECAC4"/>
              </a:solidFill>
            </c:spPr>
            <c:extLst>
              <c:ext xmlns:c16="http://schemas.microsoft.com/office/drawing/2014/chart" uri="{C3380CC4-5D6E-409C-BE32-E72D297353CC}">
                <c16:uniqueId val="{000000A9-2993-41DE-A2CB-63102DE87051}"/>
              </c:ext>
            </c:extLst>
          </c:dPt>
          <c:dPt>
            <c:idx val="84"/>
            <c:invertIfNegative val="1"/>
            <c:bubble3D val="0"/>
            <c:spPr>
              <a:solidFill>
                <a:srgbClr val="7ECAC4"/>
              </a:solidFill>
            </c:spPr>
            <c:extLst>
              <c:ext xmlns:c16="http://schemas.microsoft.com/office/drawing/2014/chart" uri="{C3380CC4-5D6E-409C-BE32-E72D297353CC}">
                <c16:uniqueId val="{000000AB-2993-41DE-A2CB-63102DE87051}"/>
              </c:ext>
            </c:extLst>
          </c:dPt>
          <c:dPt>
            <c:idx val="85"/>
            <c:invertIfNegative val="1"/>
            <c:bubble3D val="0"/>
            <c:spPr>
              <a:solidFill>
                <a:srgbClr val="7ECAC4"/>
              </a:solidFill>
            </c:spPr>
            <c:extLst>
              <c:ext xmlns:c16="http://schemas.microsoft.com/office/drawing/2014/chart" uri="{C3380CC4-5D6E-409C-BE32-E72D297353CC}">
                <c16:uniqueId val="{000000AD-2993-41DE-A2CB-63102DE87051}"/>
              </c:ext>
            </c:extLst>
          </c:dPt>
          <c:dPt>
            <c:idx val="86"/>
            <c:invertIfNegative val="1"/>
            <c:bubble3D val="0"/>
            <c:spPr>
              <a:solidFill>
                <a:srgbClr val="7ECAC4"/>
              </a:solidFill>
            </c:spPr>
            <c:extLst>
              <c:ext xmlns:c16="http://schemas.microsoft.com/office/drawing/2014/chart" uri="{C3380CC4-5D6E-409C-BE32-E72D297353CC}">
                <c16:uniqueId val="{000000AF-2993-41DE-A2CB-63102DE87051}"/>
              </c:ext>
            </c:extLst>
          </c:dPt>
          <c:dPt>
            <c:idx val="87"/>
            <c:invertIfNegative val="1"/>
            <c:bubble3D val="0"/>
            <c:spPr>
              <a:solidFill>
                <a:srgbClr val="7ECAC4"/>
              </a:solidFill>
            </c:spPr>
            <c:extLst>
              <c:ext xmlns:c16="http://schemas.microsoft.com/office/drawing/2014/chart" uri="{C3380CC4-5D6E-409C-BE32-E72D297353CC}">
                <c16:uniqueId val="{000000B1-2993-41DE-A2CB-63102DE87051}"/>
              </c:ext>
            </c:extLst>
          </c:dPt>
          <c:dPt>
            <c:idx val="88"/>
            <c:invertIfNegative val="1"/>
            <c:bubble3D val="0"/>
            <c:spPr>
              <a:solidFill>
                <a:srgbClr val="7ECAC4"/>
              </a:solidFill>
            </c:spPr>
            <c:extLst>
              <c:ext xmlns:c16="http://schemas.microsoft.com/office/drawing/2014/chart" uri="{C3380CC4-5D6E-409C-BE32-E72D297353CC}">
                <c16:uniqueId val="{000000B3-2993-41DE-A2CB-63102DE87051}"/>
              </c:ext>
            </c:extLst>
          </c:dPt>
          <c:dPt>
            <c:idx val="89"/>
            <c:invertIfNegative val="1"/>
            <c:bubble3D val="0"/>
            <c:spPr>
              <a:solidFill>
                <a:srgbClr val="7ECAC4"/>
              </a:solidFill>
            </c:spPr>
            <c:extLst>
              <c:ext xmlns:c16="http://schemas.microsoft.com/office/drawing/2014/chart" uri="{C3380CC4-5D6E-409C-BE32-E72D297353CC}">
                <c16:uniqueId val="{000000B5-2993-41DE-A2CB-63102DE87051}"/>
              </c:ext>
            </c:extLst>
          </c:dPt>
          <c:dPt>
            <c:idx val="90"/>
            <c:invertIfNegative val="1"/>
            <c:bubble3D val="0"/>
            <c:spPr>
              <a:solidFill>
                <a:srgbClr val="7ECAC4"/>
              </a:solidFill>
            </c:spPr>
            <c:extLst>
              <c:ext xmlns:c16="http://schemas.microsoft.com/office/drawing/2014/chart" uri="{C3380CC4-5D6E-409C-BE32-E72D297353CC}">
                <c16:uniqueId val="{000000B7-2993-41DE-A2CB-63102DE87051}"/>
              </c:ext>
            </c:extLst>
          </c:dPt>
          <c:dPt>
            <c:idx val="91"/>
            <c:invertIfNegative val="1"/>
            <c:bubble3D val="0"/>
            <c:spPr>
              <a:solidFill>
                <a:srgbClr val="7ECAC4"/>
              </a:solidFill>
            </c:spPr>
            <c:extLst>
              <c:ext xmlns:c16="http://schemas.microsoft.com/office/drawing/2014/chart" uri="{C3380CC4-5D6E-409C-BE32-E72D297353CC}">
                <c16:uniqueId val="{000000B9-2993-41DE-A2CB-63102DE87051}"/>
              </c:ext>
            </c:extLst>
          </c:dPt>
          <c:dPt>
            <c:idx val="92"/>
            <c:invertIfNegative val="1"/>
            <c:bubble3D val="0"/>
            <c:spPr>
              <a:solidFill>
                <a:srgbClr val="7ECAC4"/>
              </a:solidFill>
            </c:spPr>
            <c:extLst>
              <c:ext xmlns:c16="http://schemas.microsoft.com/office/drawing/2014/chart" uri="{C3380CC4-5D6E-409C-BE32-E72D297353CC}">
                <c16:uniqueId val="{000000BB-2993-41DE-A2CB-63102DE87051}"/>
              </c:ext>
            </c:extLst>
          </c:dPt>
          <c:dPt>
            <c:idx val="93"/>
            <c:invertIfNegative val="1"/>
            <c:bubble3D val="0"/>
            <c:spPr>
              <a:solidFill>
                <a:srgbClr val="7ECAC4"/>
              </a:solidFill>
            </c:spPr>
            <c:extLst>
              <c:ext xmlns:c16="http://schemas.microsoft.com/office/drawing/2014/chart" uri="{C3380CC4-5D6E-409C-BE32-E72D297353CC}">
                <c16:uniqueId val="{000000BD-2993-41DE-A2CB-63102DE87051}"/>
              </c:ext>
            </c:extLst>
          </c:dPt>
          <c:dPt>
            <c:idx val="94"/>
            <c:invertIfNegative val="1"/>
            <c:bubble3D val="0"/>
            <c:spPr>
              <a:solidFill>
                <a:srgbClr val="7ECAC4"/>
              </a:solidFill>
            </c:spPr>
            <c:extLst>
              <c:ext xmlns:c16="http://schemas.microsoft.com/office/drawing/2014/chart" uri="{C3380CC4-5D6E-409C-BE32-E72D297353CC}">
                <c16:uniqueId val="{000000BF-2993-41DE-A2CB-63102DE87051}"/>
              </c:ext>
            </c:extLst>
          </c:dPt>
          <c:dPt>
            <c:idx val="95"/>
            <c:invertIfNegative val="1"/>
            <c:bubble3D val="0"/>
            <c:spPr>
              <a:solidFill>
                <a:srgbClr val="7ECAC4"/>
              </a:solidFill>
            </c:spPr>
            <c:extLst>
              <c:ext xmlns:c16="http://schemas.microsoft.com/office/drawing/2014/chart" uri="{C3380CC4-5D6E-409C-BE32-E72D297353CC}">
                <c16:uniqueId val="{000000C1-2993-41DE-A2CB-63102DE87051}"/>
              </c:ext>
            </c:extLst>
          </c:dPt>
          <c:dPt>
            <c:idx val="96"/>
            <c:invertIfNegative val="1"/>
            <c:bubble3D val="0"/>
            <c:spPr>
              <a:solidFill>
                <a:srgbClr val="7ECAC4"/>
              </a:solidFill>
            </c:spPr>
            <c:extLst>
              <c:ext xmlns:c16="http://schemas.microsoft.com/office/drawing/2014/chart" uri="{C3380CC4-5D6E-409C-BE32-E72D297353CC}">
                <c16:uniqueId val="{000000C3-2993-41DE-A2CB-63102DE87051}"/>
              </c:ext>
            </c:extLst>
          </c:dPt>
          <c:dPt>
            <c:idx val="97"/>
            <c:invertIfNegative val="1"/>
            <c:bubble3D val="0"/>
            <c:spPr>
              <a:solidFill>
                <a:srgbClr val="7ECAC4"/>
              </a:solidFill>
            </c:spPr>
            <c:extLst>
              <c:ext xmlns:c16="http://schemas.microsoft.com/office/drawing/2014/chart" uri="{C3380CC4-5D6E-409C-BE32-E72D297353CC}">
                <c16:uniqueId val="{000000C5-2993-41DE-A2CB-63102DE87051}"/>
              </c:ext>
            </c:extLst>
          </c:dPt>
          <c:dPt>
            <c:idx val="98"/>
            <c:invertIfNegative val="1"/>
            <c:bubble3D val="0"/>
            <c:spPr>
              <a:solidFill>
                <a:srgbClr val="7ECAC4"/>
              </a:solidFill>
            </c:spPr>
            <c:extLst>
              <c:ext xmlns:c16="http://schemas.microsoft.com/office/drawing/2014/chart" uri="{C3380CC4-5D6E-409C-BE32-E72D297353CC}">
                <c16:uniqueId val="{000000C7-2993-41DE-A2CB-63102DE87051}"/>
              </c:ext>
            </c:extLst>
          </c:dPt>
          <c:dPt>
            <c:idx val="99"/>
            <c:invertIfNegative val="1"/>
            <c:bubble3D val="0"/>
            <c:spPr>
              <a:solidFill>
                <a:srgbClr val="7ECAC4"/>
              </a:solidFill>
            </c:spPr>
            <c:extLst>
              <c:ext xmlns:c16="http://schemas.microsoft.com/office/drawing/2014/chart" uri="{C3380CC4-5D6E-409C-BE32-E72D297353CC}">
                <c16:uniqueId val="{000000C9-2993-41DE-A2CB-63102DE87051}"/>
              </c:ext>
            </c:extLst>
          </c:dPt>
          <c:dPt>
            <c:idx val="100"/>
            <c:invertIfNegative val="1"/>
            <c:bubble3D val="0"/>
            <c:spPr>
              <a:solidFill>
                <a:srgbClr val="7ECAC4"/>
              </a:solidFill>
            </c:spPr>
            <c:extLst>
              <c:ext xmlns:c16="http://schemas.microsoft.com/office/drawing/2014/chart" uri="{C3380CC4-5D6E-409C-BE32-E72D297353CC}">
                <c16:uniqueId val="{000000CB-2993-41DE-A2CB-63102DE87051}"/>
              </c:ext>
            </c:extLst>
          </c:dPt>
          <c:dPt>
            <c:idx val="101"/>
            <c:invertIfNegative val="1"/>
            <c:bubble3D val="0"/>
            <c:spPr>
              <a:solidFill>
                <a:srgbClr val="AEABAB"/>
              </a:solidFill>
            </c:spPr>
            <c:extLst>
              <c:ext xmlns:c16="http://schemas.microsoft.com/office/drawing/2014/chart" uri="{C3380CC4-5D6E-409C-BE32-E72D297353CC}">
                <c16:uniqueId val="{000000CD-2993-41DE-A2CB-63102DE87051}"/>
              </c:ext>
            </c:extLst>
          </c:dPt>
          <c:dPt>
            <c:idx val="102"/>
            <c:invertIfNegative val="1"/>
            <c:bubble3D val="0"/>
            <c:spPr>
              <a:solidFill>
                <a:srgbClr val="AEABAB"/>
              </a:solidFill>
            </c:spPr>
            <c:extLst>
              <c:ext xmlns:c16="http://schemas.microsoft.com/office/drawing/2014/chart" uri="{C3380CC4-5D6E-409C-BE32-E72D297353CC}">
                <c16:uniqueId val="{000000CF-2993-41DE-A2CB-63102DE87051}"/>
              </c:ext>
            </c:extLst>
          </c:dPt>
          <c:dPt>
            <c:idx val="103"/>
            <c:invertIfNegative val="1"/>
            <c:bubble3D val="0"/>
            <c:spPr>
              <a:solidFill>
                <a:srgbClr val="AEABAB"/>
              </a:solidFill>
            </c:spPr>
            <c:extLst>
              <c:ext xmlns:c16="http://schemas.microsoft.com/office/drawing/2014/chart" uri="{C3380CC4-5D6E-409C-BE32-E72D297353CC}">
                <c16:uniqueId val="{000000D1-2993-41DE-A2CB-63102DE87051}"/>
              </c:ext>
            </c:extLst>
          </c:dPt>
          <c:dPt>
            <c:idx val="104"/>
            <c:invertIfNegative val="1"/>
            <c:bubble3D val="0"/>
            <c:spPr>
              <a:solidFill>
                <a:srgbClr val="AEABAB"/>
              </a:solidFill>
            </c:spPr>
            <c:extLst>
              <c:ext xmlns:c16="http://schemas.microsoft.com/office/drawing/2014/chart" uri="{C3380CC4-5D6E-409C-BE32-E72D297353CC}">
                <c16:uniqueId val="{000000D3-2993-41DE-A2CB-63102DE87051}"/>
              </c:ext>
            </c:extLst>
          </c:dPt>
          <c:dPt>
            <c:idx val="105"/>
            <c:invertIfNegative val="1"/>
            <c:bubble3D val="0"/>
            <c:spPr>
              <a:solidFill>
                <a:srgbClr val="AEABAB"/>
              </a:solidFill>
            </c:spPr>
            <c:extLst>
              <c:ext xmlns:c16="http://schemas.microsoft.com/office/drawing/2014/chart" uri="{C3380CC4-5D6E-409C-BE32-E72D297353CC}">
                <c16:uniqueId val="{000000D5-2993-41DE-A2CB-63102DE87051}"/>
              </c:ext>
            </c:extLst>
          </c:dPt>
          <c:dPt>
            <c:idx val="106"/>
            <c:invertIfNegative val="1"/>
            <c:bubble3D val="0"/>
            <c:spPr>
              <a:solidFill>
                <a:srgbClr val="AEABAB"/>
              </a:solidFill>
            </c:spPr>
            <c:extLst>
              <c:ext xmlns:c16="http://schemas.microsoft.com/office/drawing/2014/chart" uri="{C3380CC4-5D6E-409C-BE32-E72D297353CC}">
                <c16:uniqueId val="{000000D7-2993-41DE-A2CB-63102DE87051}"/>
              </c:ext>
            </c:extLst>
          </c:dPt>
          <c:dPt>
            <c:idx val="107"/>
            <c:invertIfNegative val="1"/>
            <c:bubble3D val="0"/>
            <c:spPr>
              <a:solidFill>
                <a:srgbClr val="AEABAB"/>
              </a:solidFill>
            </c:spPr>
            <c:extLst>
              <c:ext xmlns:c16="http://schemas.microsoft.com/office/drawing/2014/chart" uri="{C3380CC4-5D6E-409C-BE32-E72D297353CC}">
                <c16:uniqueId val="{000000D9-2993-41DE-A2CB-63102DE87051}"/>
              </c:ext>
            </c:extLst>
          </c:dPt>
          <c:dPt>
            <c:idx val="108"/>
            <c:invertIfNegative val="1"/>
            <c:bubble3D val="0"/>
            <c:spPr>
              <a:solidFill>
                <a:srgbClr val="AEABAB"/>
              </a:solidFill>
            </c:spPr>
            <c:extLst>
              <c:ext xmlns:c16="http://schemas.microsoft.com/office/drawing/2014/chart" uri="{C3380CC4-5D6E-409C-BE32-E72D297353CC}">
                <c16:uniqueId val="{000000DB-2993-41DE-A2CB-63102DE87051}"/>
              </c:ext>
            </c:extLst>
          </c:dPt>
          <c:dPt>
            <c:idx val="109"/>
            <c:invertIfNegative val="1"/>
            <c:bubble3D val="0"/>
            <c:spPr>
              <a:solidFill>
                <a:srgbClr val="AEABAB"/>
              </a:solidFill>
            </c:spPr>
            <c:extLst>
              <c:ext xmlns:c16="http://schemas.microsoft.com/office/drawing/2014/chart" uri="{C3380CC4-5D6E-409C-BE32-E72D297353CC}">
                <c16:uniqueId val="{000000DD-2993-41DE-A2CB-63102DE87051}"/>
              </c:ext>
            </c:extLst>
          </c:dPt>
          <c:dPt>
            <c:idx val="110"/>
            <c:invertIfNegative val="1"/>
            <c:bubble3D val="0"/>
            <c:spPr>
              <a:solidFill>
                <a:srgbClr val="AEABAB"/>
              </a:solidFill>
            </c:spPr>
            <c:extLst>
              <c:ext xmlns:c16="http://schemas.microsoft.com/office/drawing/2014/chart" uri="{C3380CC4-5D6E-409C-BE32-E72D297353CC}">
                <c16:uniqueId val="{000000DF-2993-41DE-A2CB-63102DE87051}"/>
              </c:ext>
            </c:extLst>
          </c:dPt>
          <c:dPt>
            <c:idx val="111"/>
            <c:invertIfNegative val="1"/>
            <c:bubble3D val="0"/>
            <c:spPr>
              <a:solidFill>
                <a:srgbClr val="AEABAB"/>
              </a:solidFill>
            </c:spPr>
            <c:extLst>
              <c:ext xmlns:c16="http://schemas.microsoft.com/office/drawing/2014/chart" uri="{C3380CC4-5D6E-409C-BE32-E72D297353CC}">
                <c16:uniqueId val="{000000E1-2993-41DE-A2CB-63102DE87051}"/>
              </c:ext>
            </c:extLst>
          </c:dPt>
          <c:dPt>
            <c:idx val="112"/>
            <c:invertIfNegative val="1"/>
            <c:bubble3D val="0"/>
            <c:spPr>
              <a:solidFill>
                <a:srgbClr val="AEABAB"/>
              </a:solidFill>
            </c:spPr>
            <c:extLst>
              <c:ext xmlns:c16="http://schemas.microsoft.com/office/drawing/2014/chart" uri="{C3380CC4-5D6E-409C-BE32-E72D297353CC}">
                <c16:uniqueId val="{000000E3-2993-41DE-A2CB-63102DE87051}"/>
              </c:ext>
            </c:extLst>
          </c:dPt>
          <c:dPt>
            <c:idx val="113"/>
            <c:invertIfNegative val="1"/>
            <c:bubble3D val="0"/>
            <c:spPr>
              <a:solidFill>
                <a:srgbClr val="AEABAB"/>
              </a:solidFill>
            </c:spPr>
            <c:extLst>
              <c:ext xmlns:c16="http://schemas.microsoft.com/office/drawing/2014/chart" uri="{C3380CC4-5D6E-409C-BE32-E72D297353CC}">
                <c16:uniqueId val="{000000E5-2993-41DE-A2CB-63102DE87051}"/>
              </c:ext>
            </c:extLst>
          </c:dPt>
          <c:dPt>
            <c:idx val="114"/>
            <c:invertIfNegative val="1"/>
            <c:bubble3D val="0"/>
            <c:spPr>
              <a:solidFill>
                <a:srgbClr val="AEABAB"/>
              </a:solidFill>
            </c:spPr>
            <c:extLst>
              <c:ext xmlns:c16="http://schemas.microsoft.com/office/drawing/2014/chart" uri="{C3380CC4-5D6E-409C-BE32-E72D297353CC}">
                <c16:uniqueId val="{000000E7-2993-41DE-A2CB-63102DE87051}"/>
              </c:ext>
            </c:extLst>
          </c:dPt>
          <c:dPt>
            <c:idx val="115"/>
            <c:invertIfNegative val="1"/>
            <c:bubble3D val="0"/>
            <c:spPr>
              <a:solidFill>
                <a:srgbClr val="AEABAB"/>
              </a:solidFill>
            </c:spPr>
            <c:extLst>
              <c:ext xmlns:c16="http://schemas.microsoft.com/office/drawing/2014/chart" uri="{C3380CC4-5D6E-409C-BE32-E72D297353CC}">
                <c16:uniqueId val="{000000E9-2993-41DE-A2CB-63102DE87051}"/>
              </c:ext>
            </c:extLst>
          </c:dPt>
          <c:dPt>
            <c:idx val="116"/>
            <c:invertIfNegative val="1"/>
            <c:bubble3D val="0"/>
            <c:spPr>
              <a:solidFill>
                <a:srgbClr val="AEABAB"/>
              </a:solidFill>
            </c:spPr>
            <c:extLst>
              <c:ext xmlns:c16="http://schemas.microsoft.com/office/drawing/2014/chart" uri="{C3380CC4-5D6E-409C-BE32-E72D297353CC}">
                <c16:uniqueId val="{000000EB-2993-41DE-A2CB-63102DE87051}"/>
              </c:ext>
            </c:extLst>
          </c:dPt>
          <c:dPt>
            <c:idx val="117"/>
            <c:invertIfNegative val="1"/>
            <c:bubble3D val="0"/>
            <c:spPr>
              <a:solidFill>
                <a:srgbClr val="AEABAB"/>
              </a:solidFill>
            </c:spPr>
            <c:extLst>
              <c:ext xmlns:c16="http://schemas.microsoft.com/office/drawing/2014/chart" uri="{C3380CC4-5D6E-409C-BE32-E72D297353CC}">
                <c16:uniqueId val="{000000ED-2993-41DE-A2CB-63102DE87051}"/>
              </c:ext>
            </c:extLst>
          </c:dPt>
          <c:dPt>
            <c:idx val="118"/>
            <c:invertIfNegative val="1"/>
            <c:bubble3D val="0"/>
            <c:spPr>
              <a:solidFill>
                <a:srgbClr val="AEABAB"/>
              </a:solidFill>
            </c:spPr>
            <c:extLst>
              <c:ext xmlns:c16="http://schemas.microsoft.com/office/drawing/2014/chart" uri="{C3380CC4-5D6E-409C-BE32-E72D297353CC}">
                <c16:uniqueId val="{000000EF-2993-41DE-A2CB-63102DE87051}"/>
              </c:ext>
            </c:extLst>
          </c:dPt>
          <c:dPt>
            <c:idx val="119"/>
            <c:invertIfNegative val="1"/>
            <c:bubble3D val="0"/>
            <c:spPr>
              <a:solidFill>
                <a:srgbClr val="AEABAB"/>
              </a:solidFill>
            </c:spPr>
            <c:extLst>
              <c:ext xmlns:c16="http://schemas.microsoft.com/office/drawing/2014/chart" uri="{C3380CC4-5D6E-409C-BE32-E72D297353CC}">
                <c16:uniqueId val="{000000F1-2993-41DE-A2CB-63102DE87051}"/>
              </c:ext>
            </c:extLst>
          </c:dPt>
          <c:dPt>
            <c:idx val="120"/>
            <c:invertIfNegative val="1"/>
            <c:bubble3D val="0"/>
            <c:spPr>
              <a:solidFill>
                <a:srgbClr val="AEABAB"/>
              </a:solidFill>
            </c:spPr>
            <c:extLst>
              <c:ext xmlns:c16="http://schemas.microsoft.com/office/drawing/2014/chart" uri="{C3380CC4-5D6E-409C-BE32-E72D297353CC}">
                <c16:uniqueId val="{000000F3-2993-41DE-A2CB-63102DE87051}"/>
              </c:ext>
            </c:extLst>
          </c:dPt>
          <c:dPt>
            <c:idx val="121"/>
            <c:invertIfNegative val="1"/>
            <c:bubble3D val="0"/>
            <c:spPr>
              <a:solidFill>
                <a:srgbClr val="AEABAB"/>
              </a:solidFill>
            </c:spPr>
            <c:extLst>
              <c:ext xmlns:c16="http://schemas.microsoft.com/office/drawing/2014/chart" uri="{C3380CC4-5D6E-409C-BE32-E72D297353CC}">
                <c16:uniqueId val="{000000F5-2993-41DE-A2CB-63102DE87051}"/>
              </c:ext>
            </c:extLst>
          </c:dPt>
          <c:dPt>
            <c:idx val="122"/>
            <c:invertIfNegative val="1"/>
            <c:bubble3D val="0"/>
            <c:spPr>
              <a:solidFill>
                <a:srgbClr val="AEABAB"/>
              </a:solidFill>
            </c:spPr>
            <c:extLst>
              <c:ext xmlns:c16="http://schemas.microsoft.com/office/drawing/2014/chart" uri="{C3380CC4-5D6E-409C-BE32-E72D297353CC}">
                <c16:uniqueId val="{000000F7-2993-41DE-A2CB-63102DE87051}"/>
              </c:ext>
            </c:extLst>
          </c:dPt>
          <c:dPt>
            <c:idx val="123"/>
            <c:invertIfNegative val="1"/>
            <c:bubble3D val="0"/>
            <c:spPr>
              <a:solidFill>
                <a:srgbClr val="AEABAB"/>
              </a:solidFill>
            </c:spPr>
            <c:extLst>
              <c:ext xmlns:c16="http://schemas.microsoft.com/office/drawing/2014/chart" uri="{C3380CC4-5D6E-409C-BE32-E72D297353CC}">
                <c16:uniqueId val="{000000F9-2993-41DE-A2CB-63102DE87051}"/>
              </c:ext>
            </c:extLst>
          </c:dPt>
          <c:dPt>
            <c:idx val="124"/>
            <c:invertIfNegative val="1"/>
            <c:bubble3D val="0"/>
            <c:spPr>
              <a:solidFill>
                <a:srgbClr val="AEABAB"/>
              </a:solidFill>
            </c:spPr>
            <c:extLst>
              <c:ext xmlns:c16="http://schemas.microsoft.com/office/drawing/2014/chart" uri="{C3380CC4-5D6E-409C-BE32-E72D297353CC}">
                <c16:uniqueId val="{000000FB-2993-41DE-A2CB-63102DE87051}"/>
              </c:ext>
            </c:extLst>
          </c:dPt>
          <c:dPt>
            <c:idx val="125"/>
            <c:invertIfNegative val="1"/>
            <c:bubble3D val="0"/>
            <c:spPr>
              <a:solidFill>
                <a:srgbClr val="AEABAB"/>
              </a:solidFill>
            </c:spPr>
            <c:extLst>
              <c:ext xmlns:c16="http://schemas.microsoft.com/office/drawing/2014/chart" uri="{C3380CC4-5D6E-409C-BE32-E72D297353CC}">
                <c16:uniqueId val="{000000FD-2993-41DE-A2CB-63102DE87051}"/>
              </c:ext>
            </c:extLst>
          </c:dPt>
          <c:dPt>
            <c:idx val="126"/>
            <c:invertIfNegative val="1"/>
            <c:bubble3D val="0"/>
            <c:spPr>
              <a:solidFill>
                <a:srgbClr val="AEABAB"/>
              </a:solidFill>
            </c:spPr>
            <c:extLst>
              <c:ext xmlns:c16="http://schemas.microsoft.com/office/drawing/2014/chart" uri="{C3380CC4-5D6E-409C-BE32-E72D297353CC}">
                <c16:uniqueId val="{000000FF-2993-41DE-A2CB-63102DE87051}"/>
              </c:ext>
            </c:extLst>
          </c:dPt>
          <c:dPt>
            <c:idx val="127"/>
            <c:invertIfNegative val="1"/>
            <c:bubble3D val="0"/>
            <c:spPr>
              <a:solidFill>
                <a:srgbClr val="AEABAB"/>
              </a:solidFill>
            </c:spPr>
            <c:extLst>
              <c:ext xmlns:c16="http://schemas.microsoft.com/office/drawing/2014/chart" uri="{C3380CC4-5D6E-409C-BE32-E72D297353CC}">
                <c16:uniqueId val="{00000101-2993-41DE-A2CB-63102DE87051}"/>
              </c:ext>
            </c:extLst>
          </c:dPt>
          <c:dPt>
            <c:idx val="128"/>
            <c:invertIfNegative val="1"/>
            <c:bubble3D val="0"/>
            <c:spPr>
              <a:solidFill>
                <a:srgbClr val="AEABAB"/>
              </a:solidFill>
            </c:spPr>
            <c:extLst>
              <c:ext xmlns:c16="http://schemas.microsoft.com/office/drawing/2014/chart" uri="{C3380CC4-5D6E-409C-BE32-E72D297353CC}">
                <c16:uniqueId val="{00000103-2993-41DE-A2CB-63102DE87051}"/>
              </c:ext>
            </c:extLst>
          </c:dPt>
          <c:dPt>
            <c:idx val="129"/>
            <c:invertIfNegative val="1"/>
            <c:bubble3D val="0"/>
            <c:spPr>
              <a:solidFill>
                <a:srgbClr val="AEABAB"/>
              </a:solidFill>
            </c:spPr>
            <c:extLst>
              <c:ext xmlns:c16="http://schemas.microsoft.com/office/drawing/2014/chart" uri="{C3380CC4-5D6E-409C-BE32-E72D297353CC}">
                <c16:uniqueId val="{00000105-2993-41DE-A2CB-63102DE87051}"/>
              </c:ext>
            </c:extLst>
          </c:dPt>
          <c:dPt>
            <c:idx val="130"/>
            <c:invertIfNegative val="1"/>
            <c:bubble3D val="0"/>
            <c:spPr>
              <a:solidFill>
                <a:srgbClr val="AEABAB"/>
              </a:solidFill>
            </c:spPr>
            <c:extLst>
              <c:ext xmlns:c16="http://schemas.microsoft.com/office/drawing/2014/chart" uri="{C3380CC4-5D6E-409C-BE32-E72D297353CC}">
                <c16:uniqueId val="{00000107-2993-41DE-A2CB-63102DE87051}"/>
              </c:ext>
            </c:extLst>
          </c:dPt>
          <c:dPt>
            <c:idx val="131"/>
            <c:invertIfNegative val="1"/>
            <c:bubble3D val="0"/>
            <c:spPr>
              <a:solidFill>
                <a:srgbClr val="AEABAB"/>
              </a:solidFill>
            </c:spPr>
            <c:extLst>
              <c:ext xmlns:c16="http://schemas.microsoft.com/office/drawing/2014/chart" uri="{C3380CC4-5D6E-409C-BE32-E72D297353CC}">
                <c16:uniqueId val="{00000109-2993-41DE-A2CB-63102DE87051}"/>
              </c:ext>
            </c:extLst>
          </c:dPt>
          <c:dPt>
            <c:idx val="132"/>
            <c:invertIfNegative val="1"/>
            <c:bubble3D val="0"/>
            <c:spPr>
              <a:solidFill>
                <a:srgbClr val="AEABAB"/>
              </a:solidFill>
            </c:spPr>
            <c:extLst>
              <c:ext xmlns:c16="http://schemas.microsoft.com/office/drawing/2014/chart" uri="{C3380CC4-5D6E-409C-BE32-E72D297353CC}">
                <c16:uniqueId val="{0000010B-2993-41DE-A2CB-63102DE87051}"/>
              </c:ext>
            </c:extLst>
          </c:dPt>
          <c:dPt>
            <c:idx val="133"/>
            <c:invertIfNegative val="1"/>
            <c:bubble3D val="0"/>
            <c:spPr>
              <a:solidFill>
                <a:srgbClr val="AEABAB"/>
              </a:solidFill>
            </c:spPr>
            <c:extLst>
              <c:ext xmlns:c16="http://schemas.microsoft.com/office/drawing/2014/chart" uri="{C3380CC4-5D6E-409C-BE32-E72D297353CC}">
                <c16:uniqueId val="{0000010D-2993-41DE-A2CB-63102DE87051}"/>
              </c:ext>
            </c:extLst>
          </c:dPt>
          <c:dPt>
            <c:idx val="134"/>
            <c:invertIfNegative val="1"/>
            <c:bubble3D val="0"/>
            <c:spPr>
              <a:solidFill>
                <a:srgbClr val="AEABAB"/>
              </a:solidFill>
            </c:spPr>
            <c:extLst>
              <c:ext xmlns:c16="http://schemas.microsoft.com/office/drawing/2014/chart" uri="{C3380CC4-5D6E-409C-BE32-E72D297353CC}">
                <c16:uniqueId val="{0000010F-2993-41DE-A2CB-63102DE87051}"/>
              </c:ext>
            </c:extLst>
          </c:dPt>
          <c:dPt>
            <c:idx val="135"/>
            <c:invertIfNegative val="1"/>
            <c:bubble3D val="0"/>
            <c:spPr>
              <a:solidFill>
                <a:srgbClr val="AEABAB"/>
              </a:solidFill>
            </c:spPr>
            <c:extLst>
              <c:ext xmlns:c16="http://schemas.microsoft.com/office/drawing/2014/chart" uri="{C3380CC4-5D6E-409C-BE32-E72D297353CC}">
                <c16:uniqueId val="{00000111-2993-41DE-A2CB-63102DE87051}"/>
              </c:ext>
            </c:extLst>
          </c:dPt>
          <c:dPt>
            <c:idx val="136"/>
            <c:invertIfNegative val="1"/>
            <c:bubble3D val="0"/>
            <c:spPr>
              <a:solidFill>
                <a:srgbClr val="AEABAB"/>
              </a:solidFill>
            </c:spPr>
            <c:extLst>
              <c:ext xmlns:c16="http://schemas.microsoft.com/office/drawing/2014/chart" uri="{C3380CC4-5D6E-409C-BE32-E72D297353CC}">
                <c16:uniqueId val="{00000113-2993-41DE-A2CB-63102DE87051}"/>
              </c:ext>
            </c:extLst>
          </c:dPt>
          <c:dPt>
            <c:idx val="137"/>
            <c:invertIfNegative val="1"/>
            <c:bubble3D val="0"/>
            <c:spPr>
              <a:solidFill>
                <a:srgbClr val="AEABAB"/>
              </a:solidFill>
            </c:spPr>
            <c:extLst>
              <c:ext xmlns:c16="http://schemas.microsoft.com/office/drawing/2014/chart" uri="{C3380CC4-5D6E-409C-BE32-E72D297353CC}">
                <c16:uniqueId val="{00000115-2993-41DE-A2CB-63102DE87051}"/>
              </c:ext>
            </c:extLst>
          </c:dPt>
          <c:dPt>
            <c:idx val="138"/>
            <c:invertIfNegative val="1"/>
            <c:bubble3D val="0"/>
            <c:spPr>
              <a:solidFill>
                <a:srgbClr val="AEABAB"/>
              </a:solidFill>
            </c:spPr>
            <c:extLst>
              <c:ext xmlns:c16="http://schemas.microsoft.com/office/drawing/2014/chart" uri="{C3380CC4-5D6E-409C-BE32-E72D297353CC}">
                <c16:uniqueId val="{00000117-2993-41DE-A2CB-63102DE87051}"/>
              </c:ext>
            </c:extLst>
          </c:dPt>
          <c:dPt>
            <c:idx val="139"/>
            <c:invertIfNegative val="1"/>
            <c:bubble3D val="0"/>
            <c:spPr>
              <a:solidFill>
                <a:srgbClr val="AEABAB"/>
              </a:solidFill>
            </c:spPr>
            <c:extLst>
              <c:ext xmlns:c16="http://schemas.microsoft.com/office/drawing/2014/chart" uri="{C3380CC4-5D6E-409C-BE32-E72D297353CC}">
                <c16:uniqueId val="{00000119-2993-41DE-A2CB-63102DE87051}"/>
              </c:ext>
            </c:extLst>
          </c:dPt>
          <c:dPt>
            <c:idx val="140"/>
            <c:invertIfNegative val="1"/>
            <c:bubble3D val="0"/>
            <c:spPr>
              <a:solidFill>
                <a:srgbClr val="AEABAB"/>
              </a:solidFill>
            </c:spPr>
            <c:extLst>
              <c:ext xmlns:c16="http://schemas.microsoft.com/office/drawing/2014/chart" uri="{C3380CC4-5D6E-409C-BE32-E72D297353CC}">
                <c16:uniqueId val="{0000011B-2993-41DE-A2CB-63102DE87051}"/>
              </c:ext>
            </c:extLst>
          </c:dPt>
          <c:dPt>
            <c:idx val="141"/>
            <c:invertIfNegative val="1"/>
            <c:bubble3D val="0"/>
            <c:spPr>
              <a:solidFill>
                <a:srgbClr val="AEABAB"/>
              </a:solidFill>
            </c:spPr>
            <c:extLst>
              <c:ext xmlns:c16="http://schemas.microsoft.com/office/drawing/2014/chart" uri="{C3380CC4-5D6E-409C-BE32-E72D297353CC}">
                <c16:uniqueId val="{0000011D-2993-41DE-A2CB-63102DE87051}"/>
              </c:ext>
            </c:extLst>
          </c:dPt>
          <c:dPt>
            <c:idx val="142"/>
            <c:invertIfNegative val="1"/>
            <c:bubble3D val="0"/>
            <c:spPr>
              <a:solidFill>
                <a:srgbClr val="AEABAB"/>
              </a:solidFill>
            </c:spPr>
            <c:extLst>
              <c:ext xmlns:c16="http://schemas.microsoft.com/office/drawing/2014/chart" uri="{C3380CC4-5D6E-409C-BE32-E72D297353CC}">
                <c16:uniqueId val="{0000011F-2993-41DE-A2CB-63102DE87051}"/>
              </c:ext>
            </c:extLst>
          </c:dPt>
          <c:dPt>
            <c:idx val="143"/>
            <c:invertIfNegative val="1"/>
            <c:bubble3D val="0"/>
            <c:spPr>
              <a:solidFill>
                <a:srgbClr val="AEABAB"/>
              </a:solidFill>
            </c:spPr>
            <c:extLst>
              <c:ext xmlns:c16="http://schemas.microsoft.com/office/drawing/2014/chart" uri="{C3380CC4-5D6E-409C-BE32-E72D297353CC}">
                <c16:uniqueId val="{00000121-2993-41DE-A2CB-63102DE87051}"/>
              </c:ext>
            </c:extLst>
          </c:dPt>
          <c:dPt>
            <c:idx val="144"/>
            <c:invertIfNegative val="1"/>
            <c:bubble3D val="0"/>
            <c:spPr>
              <a:solidFill>
                <a:srgbClr val="AEABAB"/>
              </a:solidFill>
            </c:spPr>
            <c:extLst>
              <c:ext xmlns:c16="http://schemas.microsoft.com/office/drawing/2014/chart" uri="{C3380CC4-5D6E-409C-BE32-E72D297353CC}">
                <c16:uniqueId val="{00000123-2993-41DE-A2CB-63102DE87051}"/>
              </c:ext>
            </c:extLst>
          </c:dPt>
          <c:dPt>
            <c:idx val="145"/>
            <c:invertIfNegative val="1"/>
            <c:bubble3D val="0"/>
            <c:spPr>
              <a:solidFill>
                <a:srgbClr val="AEABAB"/>
              </a:solidFill>
            </c:spPr>
            <c:extLst>
              <c:ext xmlns:c16="http://schemas.microsoft.com/office/drawing/2014/chart" uri="{C3380CC4-5D6E-409C-BE32-E72D297353CC}">
                <c16:uniqueId val="{00000125-2993-41DE-A2CB-63102DE87051}"/>
              </c:ext>
            </c:extLst>
          </c:dPt>
          <c:dPt>
            <c:idx val="146"/>
            <c:invertIfNegative val="1"/>
            <c:bubble3D val="0"/>
            <c:spPr>
              <a:solidFill>
                <a:srgbClr val="AEABAB"/>
              </a:solidFill>
            </c:spPr>
            <c:extLst>
              <c:ext xmlns:c16="http://schemas.microsoft.com/office/drawing/2014/chart" uri="{C3380CC4-5D6E-409C-BE32-E72D297353CC}">
                <c16:uniqueId val="{00000127-2993-41DE-A2CB-63102DE87051}"/>
              </c:ext>
            </c:extLst>
          </c:dPt>
          <c:dPt>
            <c:idx val="147"/>
            <c:invertIfNegative val="1"/>
            <c:bubble3D val="0"/>
            <c:spPr>
              <a:solidFill>
                <a:srgbClr val="AEABAB"/>
              </a:solidFill>
            </c:spPr>
            <c:extLst>
              <c:ext xmlns:c16="http://schemas.microsoft.com/office/drawing/2014/chart" uri="{C3380CC4-5D6E-409C-BE32-E72D297353CC}">
                <c16:uniqueId val="{00000129-2993-41DE-A2CB-63102DE87051}"/>
              </c:ext>
            </c:extLst>
          </c:dPt>
          <c:dPt>
            <c:idx val="148"/>
            <c:invertIfNegative val="1"/>
            <c:bubble3D val="0"/>
            <c:spPr>
              <a:solidFill>
                <a:srgbClr val="AEABAB"/>
              </a:solidFill>
            </c:spPr>
            <c:extLst>
              <c:ext xmlns:c16="http://schemas.microsoft.com/office/drawing/2014/chart" uri="{C3380CC4-5D6E-409C-BE32-E72D297353CC}">
                <c16:uniqueId val="{0000012B-2993-41DE-A2CB-63102DE87051}"/>
              </c:ext>
            </c:extLst>
          </c:dPt>
          <c:dPt>
            <c:idx val="149"/>
            <c:invertIfNegative val="1"/>
            <c:bubble3D val="0"/>
            <c:spPr>
              <a:solidFill>
                <a:srgbClr val="AEABAB"/>
              </a:solidFill>
            </c:spPr>
            <c:extLst>
              <c:ext xmlns:c16="http://schemas.microsoft.com/office/drawing/2014/chart" uri="{C3380CC4-5D6E-409C-BE32-E72D297353CC}">
                <c16:uniqueId val="{0000012D-2993-41DE-A2CB-63102DE87051}"/>
              </c:ext>
            </c:extLst>
          </c:dPt>
          <c:dPt>
            <c:idx val="150"/>
            <c:invertIfNegative val="1"/>
            <c:bubble3D val="0"/>
            <c:spPr>
              <a:solidFill>
                <a:srgbClr val="AEABAB"/>
              </a:solidFill>
            </c:spPr>
            <c:extLst>
              <c:ext xmlns:c16="http://schemas.microsoft.com/office/drawing/2014/chart" uri="{C3380CC4-5D6E-409C-BE32-E72D297353CC}">
                <c16:uniqueId val="{0000012F-2993-41DE-A2CB-63102DE87051}"/>
              </c:ext>
            </c:extLst>
          </c:dPt>
          <c:dPt>
            <c:idx val="151"/>
            <c:invertIfNegative val="1"/>
            <c:bubble3D val="0"/>
            <c:spPr>
              <a:solidFill>
                <a:srgbClr val="AEABAB"/>
              </a:solidFill>
            </c:spPr>
            <c:extLst>
              <c:ext xmlns:c16="http://schemas.microsoft.com/office/drawing/2014/chart" uri="{C3380CC4-5D6E-409C-BE32-E72D297353CC}">
                <c16:uniqueId val="{00000131-2993-41DE-A2CB-63102DE87051}"/>
              </c:ext>
            </c:extLst>
          </c:dPt>
          <c:dPt>
            <c:idx val="152"/>
            <c:invertIfNegative val="1"/>
            <c:bubble3D val="0"/>
            <c:spPr>
              <a:solidFill>
                <a:srgbClr val="AEABAB"/>
              </a:solidFill>
            </c:spPr>
            <c:extLst>
              <c:ext xmlns:c16="http://schemas.microsoft.com/office/drawing/2014/chart" uri="{C3380CC4-5D6E-409C-BE32-E72D297353CC}">
                <c16:uniqueId val="{00000133-2993-41DE-A2CB-63102DE87051}"/>
              </c:ext>
            </c:extLst>
          </c:dPt>
          <c:dPt>
            <c:idx val="153"/>
            <c:invertIfNegative val="1"/>
            <c:bubble3D val="0"/>
            <c:spPr>
              <a:solidFill>
                <a:srgbClr val="AEABAB"/>
              </a:solidFill>
            </c:spPr>
            <c:extLst>
              <c:ext xmlns:c16="http://schemas.microsoft.com/office/drawing/2014/chart" uri="{C3380CC4-5D6E-409C-BE32-E72D297353CC}">
                <c16:uniqueId val="{00000135-2993-41DE-A2CB-63102DE87051}"/>
              </c:ext>
            </c:extLst>
          </c:dPt>
          <c:dPt>
            <c:idx val="154"/>
            <c:invertIfNegative val="1"/>
            <c:bubble3D val="0"/>
            <c:spPr>
              <a:solidFill>
                <a:srgbClr val="AEABAB"/>
              </a:solidFill>
            </c:spPr>
            <c:extLst>
              <c:ext xmlns:c16="http://schemas.microsoft.com/office/drawing/2014/chart" uri="{C3380CC4-5D6E-409C-BE32-E72D297353CC}">
                <c16:uniqueId val="{00000137-2993-41DE-A2CB-63102DE87051}"/>
              </c:ext>
            </c:extLst>
          </c:dPt>
          <c:dPt>
            <c:idx val="155"/>
            <c:invertIfNegative val="1"/>
            <c:bubble3D val="0"/>
            <c:spPr>
              <a:solidFill>
                <a:srgbClr val="AEABAB"/>
              </a:solidFill>
            </c:spPr>
            <c:extLst>
              <c:ext xmlns:c16="http://schemas.microsoft.com/office/drawing/2014/chart" uri="{C3380CC4-5D6E-409C-BE32-E72D297353CC}">
                <c16:uniqueId val="{00000139-2993-41DE-A2CB-63102DE87051}"/>
              </c:ext>
            </c:extLst>
          </c:dPt>
          <c:dPt>
            <c:idx val="156"/>
            <c:invertIfNegative val="1"/>
            <c:bubble3D val="0"/>
            <c:spPr>
              <a:solidFill>
                <a:srgbClr val="AEABAB"/>
              </a:solidFill>
            </c:spPr>
            <c:extLst>
              <c:ext xmlns:c16="http://schemas.microsoft.com/office/drawing/2014/chart" uri="{C3380CC4-5D6E-409C-BE32-E72D297353CC}">
                <c16:uniqueId val="{0000013B-2993-41DE-A2CB-63102DE87051}"/>
              </c:ext>
            </c:extLst>
          </c:dPt>
          <c:dPt>
            <c:idx val="157"/>
            <c:invertIfNegative val="1"/>
            <c:bubble3D val="0"/>
            <c:spPr>
              <a:solidFill>
                <a:srgbClr val="AEABAB"/>
              </a:solidFill>
            </c:spPr>
            <c:extLst>
              <c:ext xmlns:c16="http://schemas.microsoft.com/office/drawing/2014/chart" uri="{C3380CC4-5D6E-409C-BE32-E72D297353CC}">
                <c16:uniqueId val="{0000013D-2993-41DE-A2CB-63102DE87051}"/>
              </c:ext>
            </c:extLst>
          </c:dPt>
          <c:dPt>
            <c:idx val="158"/>
            <c:invertIfNegative val="1"/>
            <c:bubble3D val="0"/>
            <c:spPr>
              <a:solidFill>
                <a:srgbClr val="AEABAB"/>
              </a:solidFill>
            </c:spPr>
            <c:extLst>
              <c:ext xmlns:c16="http://schemas.microsoft.com/office/drawing/2014/chart" uri="{C3380CC4-5D6E-409C-BE32-E72D297353CC}">
                <c16:uniqueId val="{0000013F-2993-41DE-A2CB-63102DE87051}"/>
              </c:ext>
            </c:extLst>
          </c:dPt>
          <c:dPt>
            <c:idx val="159"/>
            <c:invertIfNegative val="1"/>
            <c:bubble3D val="0"/>
            <c:spPr>
              <a:solidFill>
                <a:srgbClr val="AEABAB"/>
              </a:solidFill>
            </c:spPr>
            <c:extLst>
              <c:ext xmlns:c16="http://schemas.microsoft.com/office/drawing/2014/chart" uri="{C3380CC4-5D6E-409C-BE32-E72D297353CC}">
                <c16:uniqueId val="{00000141-2993-41DE-A2CB-63102DE87051}"/>
              </c:ext>
            </c:extLst>
          </c:dPt>
          <c:dPt>
            <c:idx val="160"/>
            <c:invertIfNegative val="1"/>
            <c:bubble3D val="0"/>
            <c:spPr>
              <a:solidFill>
                <a:srgbClr val="AEABAB"/>
              </a:solidFill>
            </c:spPr>
            <c:extLst>
              <c:ext xmlns:c16="http://schemas.microsoft.com/office/drawing/2014/chart" uri="{C3380CC4-5D6E-409C-BE32-E72D297353CC}">
                <c16:uniqueId val="{00000143-2993-41DE-A2CB-63102DE87051}"/>
              </c:ext>
            </c:extLst>
          </c:dPt>
          <c:dPt>
            <c:idx val="161"/>
            <c:invertIfNegative val="1"/>
            <c:bubble3D val="0"/>
            <c:spPr>
              <a:solidFill>
                <a:srgbClr val="AEABAB"/>
              </a:solidFill>
            </c:spPr>
            <c:extLst>
              <c:ext xmlns:c16="http://schemas.microsoft.com/office/drawing/2014/chart" uri="{C3380CC4-5D6E-409C-BE32-E72D297353CC}">
                <c16:uniqueId val="{00000145-2993-41DE-A2CB-63102DE87051}"/>
              </c:ext>
            </c:extLst>
          </c:dPt>
          <c:dPt>
            <c:idx val="162"/>
            <c:invertIfNegative val="1"/>
            <c:bubble3D val="0"/>
            <c:spPr>
              <a:solidFill>
                <a:srgbClr val="AEABAB"/>
              </a:solidFill>
            </c:spPr>
            <c:extLst>
              <c:ext xmlns:c16="http://schemas.microsoft.com/office/drawing/2014/chart" uri="{C3380CC4-5D6E-409C-BE32-E72D297353CC}">
                <c16:uniqueId val="{00000147-2993-41DE-A2CB-63102DE87051}"/>
              </c:ext>
            </c:extLst>
          </c:dPt>
          <c:dPt>
            <c:idx val="163"/>
            <c:invertIfNegative val="1"/>
            <c:bubble3D val="0"/>
            <c:spPr>
              <a:solidFill>
                <a:srgbClr val="AEABAB"/>
              </a:solidFill>
            </c:spPr>
            <c:extLst>
              <c:ext xmlns:c16="http://schemas.microsoft.com/office/drawing/2014/chart" uri="{C3380CC4-5D6E-409C-BE32-E72D297353CC}">
                <c16:uniqueId val="{00000149-2993-41DE-A2CB-63102DE87051}"/>
              </c:ext>
            </c:extLst>
          </c:dPt>
          <c:dPt>
            <c:idx val="164"/>
            <c:invertIfNegative val="1"/>
            <c:bubble3D val="0"/>
            <c:spPr>
              <a:solidFill>
                <a:srgbClr val="AEABAB"/>
              </a:solidFill>
            </c:spPr>
            <c:extLst>
              <c:ext xmlns:c16="http://schemas.microsoft.com/office/drawing/2014/chart" uri="{C3380CC4-5D6E-409C-BE32-E72D297353CC}">
                <c16:uniqueId val="{0000014B-2993-41DE-A2CB-63102DE87051}"/>
              </c:ext>
            </c:extLst>
          </c:dPt>
          <c:dPt>
            <c:idx val="165"/>
            <c:invertIfNegative val="1"/>
            <c:bubble3D val="0"/>
            <c:spPr>
              <a:solidFill>
                <a:srgbClr val="AEABAB"/>
              </a:solidFill>
            </c:spPr>
            <c:extLst>
              <c:ext xmlns:c16="http://schemas.microsoft.com/office/drawing/2014/chart" uri="{C3380CC4-5D6E-409C-BE32-E72D297353CC}">
                <c16:uniqueId val="{0000014D-2993-41DE-A2CB-63102DE87051}"/>
              </c:ext>
            </c:extLst>
          </c:dPt>
          <c:dPt>
            <c:idx val="166"/>
            <c:invertIfNegative val="1"/>
            <c:bubble3D val="0"/>
            <c:spPr>
              <a:solidFill>
                <a:srgbClr val="AEABAB"/>
              </a:solidFill>
            </c:spPr>
            <c:extLst>
              <c:ext xmlns:c16="http://schemas.microsoft.com/office/drawing/2014/chart" uri="{C3380CC4-5D6E-409C-BE32-E72D297353CC}">
                <c16:uniqueId val="{0000014F-2993-41DE-A2CB-63102DE87051}"/>
              </c:ext>
            </c:extLst>
          </c:dPt>
          <c:dPt>
            <c:idx val="167"/>
            <c:invertIfNegative val="1"/>
            <c:bubble3D val="0"/>
            <c:spPr>
              <a:solidFill>
                <a:srgbClr val="AEABAB"/>
              </a:solidFill>
            </c:spPr>
            <c:extLst>
              <c:ext xmlns:c16="http://schemas.microsoft.com/office/drawing/2014/chart" uri="{C3380CC4-5D6E-409C-BE32-E72D297353CC}">
                <c16:uniqueId val="{00000151-2993-41DE-A2CB-63102DE87051}"/>
              </c:ext>
            </c:extLst>
          </c:dPt>
          <c:dPt>
            <c:idx val="168"/>
            <c:invertIfNegative val="1"/>
            <c:bubble3D val="0"/>
            <c:spPr>
              <a:solidFill>
                <a:srgbClr val="AEABAB"/>
              </a:solidFill>
            </c:spPr>
            <c:extLst>
              <c:ext xmlns:c16="http://schemas.microsoft.com/office/drawing/2014/chart" uri="{C3380CC4-5D6E-409C-BE32-E72D297353CC}">
                <c16:uniqueId val="{00000153-2993-41DE-A2CB-63102DE87051}"/>
              </c:ext>
            </c:extLst>
          </c:dPt>
          <c:dPt>
            <c:idx val="169"/>
            <c:invertIfNegative val="1"/>
            <c:bubble3D val="0"/>
            <c:spPr>
              <a:solidFill>
                <a:srgbClr val="AEABAB"/>
              </a:solidFill>
            </c:spPr>
            <c:extLst>
              <c:ext xmlns:c16="http://schemas.microsoft.com/office/drawing/2014/chart" uri="{C3380CC4-5D6E-409C-BE32-E72D297353CC}">
                <c16:uniqueId val="{00000155-2993-41DE-A2CB-63102DE87051}"/>
              </c:ext>
            </c:extLst>
          </c:dPt>
          <c:dPt>
            <c:idx val="170"/>
            <c:invertIfNegative val="1"/>
            <c:bubble3D val="0"/>
            <c:spPr>
              <a:solidFill>
                <a:srgbClr val="AEABAB"/>
              </a:solidFill>
            </c:spPr>
            <c:extLst>
              <c:ext xmlns:c16="http://schemas.microsoft.com/office/drawing/2014/chart" uri="{C3380CC4-5D6E-409C-BE32-E72D297353CC}">
                <c16:uniqueId val="{00000157-2993-41DE-A2CB-63102DE87051}"/>
              </c:ext>
            </c:extLst>
          </c:dPt>
          <c:dPt>
            <c:idx val="171"/>
            <c:invertIfNegative val="1"/>
            <c:bubble3D val="0"/>
            <c:spPr>
              <a:solidFill>
                <a:srgbClr val="AEABAB"/>
              </a:solidFill>
            </c:spPr>
            <c:extLst>
              <c:ext xmlns:c16="http://schemas.microsoft.com/office/drawing/2014/chart" uri="{C3380CC4-5D6E-409C-BE32-E72D297353CC}">
                <c16:uniqueId val="{00000159-2993-41DE-A2CB-63102DE87051}"/>
              </c:ext>
            </c:extLst>
          </c:dPt>
          <c:dPt>
            <c:idx val="172"/>
            <c:invertIfNegative val="1"/>
            <c:bubble3D val="0"/>
            <c:spPr>
              <a:solidFill>
                <a:srgbClr val="AEABAB"/>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dPt>
            <c:idx val="210"/>
            <c:spPr>
              <a:solidFill>
                <a:srgbClr val="AEABAB"/>
              </a:solidFill>
            </c:spPr>
          </c:dPt>
          <c:dPt>
            <c:idx val="211"/>
            <c:spPr>
              <a:solidFill>
                <a:srgbClr val="AEABAB"/>
              </a:solidFill>
            </c:spPr>
          </c:dPt>
          <c:dPt>
            <c:idx val="212"/>
            <c:spPr>
              <a:solidFill>
                <a:srgbClr val="AEABAB"/>
              </a:solidFill>
            </c:spPr>
          </c:dPt>
          <c:dPt>
            <c:idx val="213"/>
            <c:spPr>
              <a:solidFill>
                <a:srgbClr val="AEABAB"/>
              </a:solidFill>
            </c:spPr>
          </c:dPt>
          <c:dPt>
            <c:idx val="214"/>
            <c:spPr>
              <a:solidFill>
                <a:srgbClr val="AEABAB"/>
              </a:solidFill>
            </c:spPr>
          </c:dPt>
          <c:dPt>
            <c:idx val="215"/>
            <c:spPr>
              <a:solidFill>
                <a:srgbClr val="AEABAB"/>
              </a:solidFill>
            </c:spPr>
          </c:dPt>
          <c:dPt>
            <c:idx val="216"/>
            <c:spPr>
              <a:solidFill>
                <a:srgbClr val="AEABAB"/>
              </a:solidFill>
            </c:spPr>
          </c:dPt>
          <c:dPt>
            <c:idx val="217"/>
            <c:spPr>
              <a:solidFill>
                <a:srgbClr val="AEABAB"/>
              </a:solidFill>
            </c:spPr>
          </c:dPt>
          <c:dPt>
            <c:idx val="218"/>
            <c:spPr>
              <a:solidFill>
                <a:srgbClr val="AEABAB"/>
              </a:solidFill>
            </c:spPr>
          </c:dPt>
          <c:dPt>
            <c:idx val="219"/>
            <c:spPr>
              <a:solidFill>
                <a:srgbClr val="AEABAB"/>
              </a:solidFill>
            </c:spPr>
          </c:dPt>
          <c:dPt>
            <c:idx val="220"/>
            <c:spPr>
              <a:solidFill>
                <a:srgbClr val="AEABAB"/>
              </a:solidFill>
            </c:spPr>
          </c:dPt>
          <c:dPt>
            <c:idx val="221"/>
            <c:spPr>
              <a:solidFill>
                <a:srgbClr val="AEABAB"/>
              </a:solidFill>
            </c:spPr>
          </c:dPt>
          <c:dPt>
            <c:idx val="222"/>
            <c:spPr>
              <a:solidFill>
                <a:srgbClr val="AEABAB"/>
              </a:solidFill>
            </c:spPr>
          </c:dPt>
          <c:dPt>
            <c:idx val="223"/>
            <c:spPr>
              <a:solidFill>
                <a:srgbClr val="AEABAB"/>
              </a:solidFill>
            </c:spPr>
          </c:dPt>
          <c:dPt>
            <c:idx val="224"/>
            <c:spPr>
              <a:solidFill>
                <a:srgbClr val="AEABAB"/>
              </a:solidFill>
            </c:spPr>
          </c:dPt>
          <c:dPt>
            <c:idx val="225"/>
            <c:spPr>
              <a:solidFill>
                <a:srgbClr val="AEABAB"/>
              </a:solidFill>
            </c:spPr>
          </c:dPt>
          <c:dPt>
            <c:idx val="226"/>
            <c:spPr>
              <a:solidFill>
                <a:srgbClr val="AEABAB"/>
              </a:solidFill>
            </c:spPr>
          </c:dPt>
          <c:dPt>
            <c:idx val="227"/>
            <c:spPr>
              <a:solidFill>
                <a:srgbClr val="AEABAB"/>
              </a:solidFill>
            </c:spPr>
          </c:dPt>
          <c:dPt>
            <c:idx val="228"/>
            <c:spPr>
              <a:solidFill>
                <a:srgbClr val="AEABAB"/>
              </a:solidFill>
            </c:spPr>
          </c:dPt>
          <c:dPt>
            <c:idx val="229"/>
            <c:spPr>
              <a:solidFill>
                <a:srgbClr val="AEABAB"/>
              </a:solidFill>
            </c:spPr>
          </c:dPt>
          <c:dPt>
            <c:idx val="230"/>
            <c:spPr>
              <a:solidFill>
                <a:srgbClr val="AEABAB"/>
              </a:solidFill>
            </c:spPr>
          </c:dPt>
          <c:dPt>
            <c:idx val="231"/>
            <c:spPr>
              <a:solidFill>
                <a:srgbClr val="AEABAB"/>
              </a:solidFill>
            </c:spPr>
          </c:dPt>
          <c:dPt>
            <c:idx val="232"/>
            <c:spPr>
              <a:solidFill>
                <a:srgbClr val="AEABAB"/>
              </a:solidFill>
            </c:spPr>
          </c:dPt>
          <c:dPt>
            <c:idx val="233"/>
            <c:spPr>
              <a:solidFill>
                <a:srgbClr val="AEABAB"/>
              </a:solidFill>
            </c:spPr>
          </c:dPt>
          <c:dPt>
            <c:idx val="234"/>
            <c:spPr>
              <a:solidFill>
                <a:srgbClr val="AEABAB"/>
              </a:solidFill>
            </c:spPr>
          </c:dPt>
          <c:dPt>
            <c:idx val="235"/>
            <c:spPr>
              <a:solidFill>
                <a:srgbClr val="AEABAB"/>
              </a:solidFill>
            </c:spPr>
          </c:dPt>
          <c:dPt>
            <c:idx val="236"/>
            <c:spPr>
              <a:solidFill>
                <a:srgbClr val="AEABAB"/>
              </a:solidFill>
            </c:spPr>
          </c:dPt>
          <c:dPt>
            <c:idx val="237"/>
            <c:spPr>
              <a:solidFill>
                <a:srgbClr val="AEABAB"/>
              </a:solidFill>
            </c:spPr>
          </c:dPt>
          <c:dPt>
            <c:idx val="238"/>
            <c:spPr>
              <a:solidFill>
                <a:srgbClr val="AEABAB"/>
              </a:solidFill>
            </c:spPr>
          </c:dPt>
          <c:dPt>
            <c:idx val="239"/>
            <c:spPr>
              <a:solidFill>
                <a:srgbClr val="AEABAB"/>
              </a:solidFill>
            </c:spPr>
          </c:dPt>
          <c:dPt>
            <c:idx val="240"/>
            <c:spPr>
              <a:solidFill>
                <a:srgbClr val="AEABAB"/>
              </a:solidFill>
            </c:spPr>
          </c:dPt>
          <c:dPt>
            <c:idx val="241"/>
            <c:spPr>
              <a:solidFill>
                <a:srgbClr val="AEABAB"/>
              </a:solidFill>
            </c:spPr>
          </c:dPt>
          <c:dPt>
            <c:idx val="242"/>
            <c:spPr>
              <a:solidFill>
                <a:srgbClr val="AEABAB"/>
              </a:solidFill>
            </c:spPr>
          </c:dPt>
          <c:dPt>
            <c:idx val="243"/>
            <c:spPr>
              <a:solidFill>
                <a:srgbClr val="AEABAB"/>
              </a:solidFill>
            </c:spPr>
          </c:dPt>
          <c:dPt>
            <c:idx val="244"/>
            <c:spPr>
              <a:solidFill>
                <a:srgbClr val="AEABAB"/>
              </a:solidFill>
            </c:spPr>
          </c:dPt>
          <c:dPt>
            <c:idx val="245"/>
            <c:spPr>
              <a:solidFill>
                <a:srgbClr val="AEABAB"/>
              </a:solidFill>
            </c:spPr>
          </c:dPt>
          <c:dPt>
            <c:idx val="246"/>
            <c:spPr>
              <a:solidFill>
                <a:srgbClr val="AEABAB"/>
              </a:solidFill>
            </c:spPr>
          </c:dPt>
          <c:dPt>
            <c:idx val="247"/>
            <c:spPr>
              <a:solidFill>
                <a:srgbClr val="AEABAB"/>
              </a:solidFill>
            </c:spPr>
          </c:dPt>
          <c:dPt>
            <c:idx val="248"/>
            <c:spPr>
              <a:solidFill>
                <a:srgbClr val="AEABAB"/>
              </a:solidFill>
            </c:spPr>
          </c:dPt>
          <c:dPt>
            <c:idx val="249"/>
            <c:spPr>
              <a:solidFill>
                <a:srgbClr val="AEABAB"/>
              </a:solidFill>
            </c:spPr>
          </c:dPt>
          <c:dPt>
            <c:idx val="250"/>
            <c:spPr>
              <a:solidFill>
                <a:srgbClr val="AEABAB"/>
              </a:solidFill>
            </c:spPr>
          </c:dPt>
          <c:dPt>
            <c:idx val="251"/>
            <c:spPr>
              <a:solidFill>
                <a:srgbClr val="AEABAB"/>
              </a:solidFill>
            </c:spPr>
          </c:dPt>
          <c:dPt>
            <c:idx val="252"/>
            <c:spPr>
              <a:solidFill>
                <a:srgbClr val="AEABAB"/>
              </a:solidFill>
            </c:spPr>
          </c:dPt>
          <c:dPt>
            <c:idx val="253"/>
            <c:spPr>
              <a:solidFill>
                <a:srgbClr val="AEABAB"/>
              </a:solidFill>
            </c:spPr>
          </c:dPt>
          <c:dPt>
            <c:idx val="254"/>
            <c:spPr>
              <a:solidFill>
                <a:srgbClr val="AEABAB"/>
              </a:solidFill>
            </c:spPr>
          </c:dPt>
          <c:dPt>
            <c:idx val="255"/>
            <c:spPr>
              <a:solidFill>
                <a:srgbClr val="AEABAB"/>
              </a:solidFill>
            </c:spPr>
          </c:dPt>
          <c:dPt>
            <c:idx val="256"/>
            <c:spPr>
              <a:solidFill>
                <a:srgbClr val="AEABAB"/>
              </a:solidFill>
            </c:spPr>
          </c:dPt>
          <c:dPt>
            <c:idx val="257"/>
            <c:spPr>
              <a:solidFill>
                <a:srgbClr val="AEABAB"/>
              </a:solidFill>
            </c:spPr>
          </c:dPt>
          <c:dPt>
            <c:idx val="258"/>
            <c:spPr>
              <a:solidFill>
                <a:srgbClr val="AEABAB"/>
              </a:solidFill>
            </c:spPr>
          </c:dPt>
          <c:dPt>
            <c:idx val="259"/>
            <c:spPr>
              <a:solidFill>
                <a:srgbClr val="AEABAB"/>
              </a:solidFill>
            </c:spPr>
          </c:dPt>
          <c:dPt>
            <c:idx val="260"/>
            <c:spPr>
              <a:solidFill>
                <a:srgbClr val="AEABAB"/>
              </a:solidFill>
            </c:spPr>
          </c:dPt>
          <c:dPt>
            <c:idx val="261"/>
            <c:spPr>
              <a:solidFill>
                <a:srgbClr val="AEABAB"/>
              </a:solidFill>
            </c:spPr>
          </c:dPt>
          <c:dPt>
            <c:idx val="262"/>
            <c:spPr>
              <a:solidFill>
                <a:srgbClr val="AEABAB"/>
              </a:solidFill>
            </c:spPr>
          </c:dPt>
          <c:dPt>
            <c:idx val="263"/>
            <c:spPr>
              <a:solidFill>
                <a:srgbClr val="AEABAB"/>
              </a:solidFill>
            </c:spPr>
          </c:dPt>
          <c:dPt>
            <c:idx val="264"/>
            <c:spPr>
              <a:solidFill>
                <a:srgbClr val="AEABAB"/>
              </a:solidFill>
            </c:spPr>
          </c:dPt>
          <c:dPt>
            <c:idx val="265"/>
            <c:spPr>
              <a:solidFill>
                <a:srgbClr val="AEABAB"/>
              </a:solidFill>
            </c:spPr>
          </c:dPt>
          <c:dPt>
            <c:idx val="266"/>
            <c:spPr>
              <a:solidFill>
                <a:srgbClr val="AEABAB"/>
              </a:solidFill>
            </c:spPr>
          </c:dPt>
          <c:dPt>
            <c:idx val="267"/>
            <c:spPr>
              <a:solidFill>
                <a:srgbClr val="AEABAB"/>
              </a:solidFill>
            </c:spPr>
          </c:dPt>
          <c:dPt>
            <c:idx val="268"/>
            <c:spPr>
              <a:solidFill>
                <a:srgbClr val="AEABAB"/>
              </a:solidFill>
            </c:spPr>
          </c:dPt>
          <c:dPt>
            <c:idx val="269"/>
            <c:spPr>
              <a:solidFill>
                <a:srgbClr val="AEABAB"/>
              </a:solidFill>
            </c:spPr>
          </c:dPt>
          <c:dPt>
            <c:idx val="270"/>
            <c:spPr>
              <a:solidFill>
                <a:srgbClr val="AEABAB"/>
              </a:solidFill>
            </c:spPr>
          </c:dPt>
          <c:dPt>
            <c:idx val="271"/>
            <c:spPr>
              <a:solidFill>
                <a:srgbClr val="AEABAB"/>
              </a:solidFill>
            </c:spPr>
          </c:dPt>
          <c:dPt>
            <c:idx val="272"/>
            <c:spPr>
              <a:solidFill>
                <a:srgbClr val="AEABAB"/>
              </a:solidFill>
            </c:spPr>
          </c:dPt>
          <c:dPt>
            <c:idx val="273"/>
            <c:spPr>
              <a:solidFill>
                <a:srgbClr val="AEABAB"/>
              </a:solidFill>
            </c:spPr>
          </c:dPt>
          <c:dPt>
            <c:idx val="274"/>
            <c:spPr>
              <a:solidFill>
                <a:srgbClr val="AEABAB"/>
              </a:solidFill>
            </c:spPr>
          </c:dPt>
          <c:dPt>
            <c:idx val="275"/>
            <c:spPr>
              <a:solidFill>
                <a:srgbClr val="AEABAB"/>
              </a:solidFill>
            </c:spPr>
          </c:dPt>
          <c:dPt>
            <c:idx val="276"/>
            <c:spPr>
              <a:solidFill>
                <a:srgbClr val="AEABAB"/>
              </a:solidFill>
            </c:spPr>
          </c:dPt>
          <c:dPt>
            <c:idx val="277"/>
            <c:spPr>
              <a:solidFill>
                <a:srgbClr val="AEABAB"/>
              </a:solidFill>
            </c:spPr>
          </c:dPt>
          <c:dPt>
            <c:idx val="278"/>
            <c:spPr>
              <a:solidFill>
                <a:srgbClr val="AEABAB"/>
              </a:solidFill>
            </c:spPr>
          </c:dPt>
          <c:dPt>
            <c:idx val="279"/>
            <c:spPr>
              <a:solidFill>
                <a:srgbClr val="AEABAB"/>
              </a:solidFill>
            </c:spPr>
          </c:dPt>
          <c:dPt>
            <c:idx val="280"/>
            <c:spPr>
              <a:solidFill>
                <a:srgbClr val="AEABAB"/>
              </a:solidFill>
            </c:spPr>
          </c:dPt>
          <c:dPt>
            <c:idx val="281"/>
            <c:spPr>
              <a:solidFill>
                <a:srgbClr val="AEABAB"/>
              </a:solidFill>
            </c:spPr>
          </c:dPt>
          <c:dPt>
            <c:idx val="282"/>
            <c:spPr>
              <a:solidFill>
                <a:srgbClr val="AEABAB"/>
              </a:solidFill>
            </c:spPr>
          </c:dPt>
          <c:dPt>
            <c:idx val="283"/>
            <c:spPr>
              <a:solidFill>
                <a:srgbClr val="AEABAB"/>
              </a:solidFill>
            </c:spPr>
          </c:dPt>
          <c:dPt>
            <c:idx val="284"/>
            <c:spPr>
              <a:solidFill>
                <a:srgbClr val="AEABAB"/>
              </a:solidFill>
            </c:spPr>
          </c:dPt>
          <c:dPt>
            <c:idx val="285"/>
            <c:spPr>
              <a:solidFill>
                <a:srgbClr val="AEABAB"/>
              </a:solidFill>
            </c:spPr>
          </c:dPt>
          <c:dPt>
            <c:idx val="286"/>
            <c:spPr>
              <a:solidFill>
                <a:srgbClr val="AEABAB"/>
              </a:solidFill>
            </c:spPr>
          </c:dPt>
          <c:dPt>
            <c:idx val="287"/>
            <c:spPr>
              <a:solidFill>
                <a:srgbClr val="AEABAB"/>
              </a:solidFill>
            </c:spPr>
          </c:dPt>
          <c:dPt>
            <c:idx val="288"/>
            <c:spPr>
              <a:solidFill>
                <a:srgbClr val="AEABAB"/>
              </a:solidFill>
            </c:spPr>
          </c:dPt>
          <c:dPt>
            <c:idx val="289"/>
            <c:spPr>
              <a:solidFill>
                <a:srgbClr val="AEABAB"/>
              </a:solidFill>
            </c:spPr>
          </c:dPt>
          <c:dPt>
            <c:idx val="290"/>
            <c:spPr>
              <a:solidFill>
                <a:srgbClr val="AEABAB"/>
              </a:solidFill>
            </c:spPr>
          </c:dPt>
          <c:dPt>
            <c:idx val="291"/>
            <c:spPr>
              <a:solidFill>
                <a:srgbClr val="AEABAB"/>
              </a:solidFill>
            </c:spPr>
          </c:dPt>
          <c:dPt>
            <c:idx val="292"/>
            <c:spPr>
              <a:solidFill>
                <a:srgbClr val="AEABAB"/>
              </a:solidFill>
            </c:spPr>
          </c:dPt>
          <c:dPt>
            <c:idx val="293"/>
            <c:spPr>
              <a:solidFill>
                <a:srgbClr val="AEABAB"/>
              </a:solidFill>
            </c:spPr>
          </c:dPt>
          <c:dPt>
            <c:idx val="294"/>
            <c:spPr>
              <a:solidFill>
                <a:srgbClr val="AEABAB"/>
              </a:solidFill>
            </c:spPr>
          </c:dPt>
          <c:dPt>
            <c:idx val="295"/>
            <c:spPr>
              <a:solidFill>
                <a:srgbClr val="AEABAB"/>
              </a:solidFill>
            </c:spPr>
          </c:dPt>
          <c:dPt>
            <c:idx val="296"/>
            <c:spPr>
              <a:solidFill>
                <a:srgbClr val="AEABAB"/>
              </a:solidFill>
            </c:spPr>
          </c:dPt>
          <c:dPt>
            <c:idx val="297"/>
            <c:spPr>
              <a:solidFill>
                <a:srgbClr val="AEABAB"/>
              </a:solidFill>
            </c:spPr>
          </c:dPt>
          <c:dPt>
            <c:idx val="298"/>
            <c:spPr>
              <a:solidFill>
                <a:srgbClr val="AEABAB"/>
              </a:solidFill>
            </c:spPr>
          </c:dPt>
          <c:dPt>
            <c:idx val="299"/>
            <c:spPr>
              <a:solidFill>
                <a:srgbClr val="AEABAB"/>
              </a:solidFill>
            </c:spPr>
          </c:dPt>
          <c:dPt>
            <c:idx val="300"/>
            <c:spPr>
              <a:solidFill>
                <a:srgbClr val="AEABAB"/>
              </a:solidFill>
            </c:spPr>
          </c:dPt>
          <c:dPt>
            <c:idx val="301"/>
            <c:spPr>
              <a:solidFill>
                <a:srgbClr val="AEABAB"/>
              </a:solidFill>
            </c:spPr>
          </c:dPt>
          <c:dPt>
            <c:idx val="302"/>
            <c:spPr>
              <a:solidFill>
                <a:srgbClr val="AEABAB"/>
              </a:solidFill>
            </c:spPr>
          </c:dPt>
          <c:dPt>
            <c:idx val="303"/>
            <c:spPr>
              <a:solidFill>
                <a:srgbClr val="AEABAB"/>
              </a:solidFill>
            </c:spPr>
          </c:dPt>
          <c:dPt>
            <c:idx val="304"/>
            <c:spPr>
              <a:solidFill>
                <a:srgbClr val="AEABAB"/>
              </a:solidFill>
            </c:spPr>
          </c:dPt>
          <c:dPt>
            <c:idx val="305"/>
            <c:spPr>
              <a:solidFill>
                <a:srgbClr val="AEABAB"/>
              </a:solidFill>
            </c:spPr>
          </c:dPt>
          <c:cat>
            <c:strRef>
              <c:f>Sheet1!$A$2:$A$307</c:f>
              <c:strCache>
                <c:ptCount val="306"/>
                <c:pt idx="0">
                  <c:v>Private Lab</c:v>
                </c:pt>
                <c:pt idx="1">
                  <c:v>Private Lab</c:v>
                </c:pt>
                <c:pt idx="2">
                  <c:v>Galbani</c:v>
                </c:pt>
                <c:pt idx="3">
                  <c:v>Private Lab</c:v>
                </c:pt>
                <c:pt idx="4">
                  <c:v>Private Lab</c:v>
                </c:pt>
                <c:pt idx="5">
                  <c:v>Private Lab</c:v>
                </c:pt>
                <c:pt idx="6">
                  <c:v>Salakis</c:v>
                </c:pt>
                <c:pt idx="7">
                  <c:v>Galbani</c:v>
                </c:pt>
                <c:pt idx="8">
                  <c:v>Islos</c:v>
                </c:pt>
                <c:pt idx="9">
                  <c:v>Private Lab</c:v>
                </c:pt>
                <c:pt idx="10">
                  <c:v>Galbani</c:v>
                </c:pt>
                <c:pt idx="11">
                  <c:v>Salakis</c:v>
                </c:pt>
                <c:pt idx="12">
                  <c:v>Casa Azzurr</c:v>
                </c:pt>
                <c:pt idx="13">
                  <c:v>All Others</c:v>
                </c:pt>
                <c:pt idx="14">
                  <c:v>All Others</c:v>
                </c:pt>
                <c:pt idx="15">
                  <c:v>Galbani</c:v>
                </c:pt>
                <c:pt idx="16">
                  <c:v>Private Lab</c:v>
                </c:pt>
                <c:pt idx="17">
                  <c:v>Casa Azzurr</c:v>
                </c:pt>
                <c:pt idx="18">
                  <c:v>Salakis</c:v>
                </c:pt>
                <c:pt idx="19">
                  <c:v>Private Lab</c:v>
                </c:pt>
                <c:pt idx="20">
                  <c:v>All Others</c:v>
                </c:pt>
                <c:pt idx="21">
                  <c:v>Salakis</c:v>
                </c:pt>
                <c:pt idx="22">
                  <c:v>Boursin</c:v>
                </c:pt>
                <c:pt idx="23">
                  <c:v>Private Lab</c:v>
                </c:pt>
                <c:pt idx="24">
                  <c:v>Galbani</c:v>
                </c:pt>
                <c:pt idx="25">
                  <c:v>Casa Azzurr</c:v>
                </c:pt>
                <c:pt idx="26">
                  <c:v>Casa Azzurr</c:v>
                </c:pt>
                <c:pt idx="27">
                  <c:v>Casa Azzurr</c:v>
                </c:pt>
                <c:pt idx="28">
                  <c:v>Salakis</c:v>
                </c:pt>
                <c:pt idx="29">
                  <c:v>Galbani</c:v>
                </c:pt>
                <c:pt idx="30">
                  <c:v>All Others</c:v>
                </c:pt>
                <c:pt idx="31">
                  <c:v>Casa Azzurr</c:v>
                </c:pt>
                <c:pt idx="32">
                  <c:v>All Others</c:v>
                </c:pt>
                <c:pt idx="33">
                  <c:v>All Others</c:v>
                </c:pt>
                <c:pt idx="34">
                  <c:v>Casa Azzurr</c:v>
                </c:pt>
                <c:pt idx="35">
                  <c:v>Salakis</c:v>
                </c:pt>
                <c:pt idx="36">
                  <c:v>Casa Azzurr</c:v>
                </c:pt>
                <c:pt idx="37">
                  <c:v>Galbani</c:v>
                </c:pt>
                <c:pt idx="38">
                  <c:v>Private Lab</c:v>
                </c:pt>
                <c:pt idx="39">
                  <c:v>Casa Azzurr</c:v>
                </c:pt>
                <c:pt idx="40">
                  <c:v>All Others</c:v>
                </c:pt>
                <c:pt idx="41">
                  <c:v>Galbani</c:v>
                </c:pt>
                <c:pt idx="42">
                  <c:v>Galbani</c:v>
                </c:pt>
                <c:pt idx="43">
                  <c:v>All Others</c:v>
                </c:pt>
                <c:pt idx="44">
                  <c:v>Salakis</c:v>
                </c:pt>
                <c:pt idx="45">
                  <c:v>All Others</c:v>
                </c:pt>
                <c:pt idx="46">
                  <c:v>All Others</c:v>
                </c:pt>
                <c:pt idx="47">
                  <c:v>Casa Azzurr</c:v>
                </c:pt>
                <c:pt idx="48">
                  <c:v>Casa Azzurr</c:v>
                </c:pt>
                <c:pt idx="49">
                  <c:v>Boursin</c:v>
                </c:pt>
                <c:pt idx="50">
                  <c:v>All Others</c:v>
                </c:pt>
                <c:pt idx="51">
                  <c:v>All Others</c:v>
                </c:pt>
                <c:pt idx="52">
                  <c:v>All Others</c:v>
                </c:pt>
                <c:pt idx="53">
                  <c:v>Private Lab</c:v>
                </c:pt>
                <c:pt idx="54">
                  <c:v>Lactalis: A</c:v>
                </c:pt>
                <c:pt idx="55">
                  <c:v>All Others</c:v>
                </c:pt>
                <c:pt idx="56">
                  <c:v>Casa Azzurr</c:v>
                </c:pt>
                <c:pt idx="57">
                  <c:v>All Others</c:v>
                </c:pt>
                <c:pt idx="58">
                  <c:v>Private Lab</c:v>
                </c:pt>
                <c:pt idx="59">
                  <c:v>Private Lab</c:v>
                </c:pt>
                <c:pt idx="60">
                  <c:v>All Others</c:v>
                </c:pt>
                <c:pt idx="61">
                  <c:v>Private Lab</c:v>
                </c:pt>
                <c:pt idx="62">
                  <c:v>All Others</c:v>
                </c:pt>
                <c:pt idx="63">
                  <c:v>All Others</c:v>
                </c:pt>
                <c:pt idx="64">
                  <c:v>Galbani</c:v>
                </c:pt>
                <c:pt idx="65">
                  <c:v>Galbani</c:v>
                </c:pt>
                <c:pt idx="66">
                  <c:v>Private Lab</c:v>
                </c:pt>
                <c:pt idx="67">
                  <c:v>Private Lab</c:v>
                </c:pt>
                <c:pt idx="68">
                  <c:v>Private Lab</c:v>
                </c:pt>
                <c:pt idx="69">
                  <c:v>All Others</c:v>
                </c:pt>
                <c:pt idx="70">
                  <c:v>Private Lab</c:v>
                </c:pt>
                <c:pt idx="71">
                  <c:v>All Others</c:v>
                </c:pt>
                <c:pt idx="72">
                  <c:v>Private Lab</c:v>
                </c:pt>
                <c:pt idx="73">
                  <c:v>All Others</c:v>
                </c:pt>
                <c:pt idx="74">
                  <c:v>Private Lab</c:v>
                </c:pt>
                <c:pt idx="75">
                  <c:v>All Others</c:v>
                </c:pt>
                <c:pt idx="76">
                  <c:v>Boursin</c:v>
                </c:pt>
                <c:pt idx="77">
                  <c:v>Islos</c:v>
                </c:pt>
                <c:pt idx="78">
                  <c:v>All Others</c:v>
                </c:pt>
                <c:pt idx="79">
                  <c:v>All Others</c:v>
                </c:pt>
                <c:pt idx="80">
                  <c:v>Casa Azzurr</c:v>
                </c:pt>
                <c:pt idx="81">
                  <c:v>Galbani</c:v>
                </c:pt>
                <c:pt idx="82">
                  <c:v>Casa Azzurr</c:v>
                </c:pt>
                <c:pt idx="83">
                  <c:v>Private Lab</c:v>
                </c:pt>
                <c:pt idx="84">
                  <c:v>All Others</c:v>
                </c:pt>
                <c:pt idx="85">
                  <c:v>All Others</c:v>
                </c:pt>
                <c:pt idx="86">
                  <c:v>Casa Azzurr</c:v>
                </c:pt>
                <c:pt idx="87">
                  <c:v>All Others</c:v>
                </c:pt>
                <c:pt idx="88">
                  <c:v>All Others</c:v>
                </c:pt>
                <c:pt idx="89">
                  <c:v>All Others</c:v>
                </c:pt>
                <c:pt idx="90">
                  <c:v>All Others</c:v>
                </c:pt>
                <c:pt idx="91">
                  <c:v>Galbani</c:v>
                </c:pt>
                <c:pt idx="92">
                  <c:v>All Others</c:v>
                </c:pt>
                <c:pt idx="93">
                  <c:v>All Others</c:v>
                </c:pt>
                <c:pt idx="94">
                  <c:v>All Others</c:v>
                </c:pt>
                <c:pt idx="95">
                  <c:v>Salakis</c:v>
                </c:pt>
                <c:pt idx="96">
                  <c:v>All Others</c:v>
                </c:pt>
                <c:pt idx="97">
                  <c:v>All Others</c:v>
                </c:pt>
                <c:pt idx="98">
                  <c:v>Private Lab</c:v>
                </c:pt>
                <c:pt idx="99">
                  <c:v>All Others</c:v>
                </c:pt>
                <c:pt idx="100">
                  <c:v>All Others</c:v>
                </c:pt>
                <c:pt idx="101">
                  <c:v>All Others</c:v>
                </c:pt>
                <c:pt idx="102">
                  <c:v>All Others</c:v>
                </c:pt>
                <c:pt idx="103">
                  <c:v>All Others</c:v>
                </c:pt>
                <c:pt idx="104">
                  <c:v>All Others</c:v>
                </c:pt>
                <c:pt idx="105">
                  <c:v>Salakis</c:v>
                </c:pt>
                <c:pt idx="106">
                  <c:v>Private Lab</c:v>
                </c:pt>
                <c:pt idx="107">
                  <c:v>Private Lab</c:v>
                </c:pt>
                <c:pt idx="108">
                  <c:v>All Others</c:v>
                </c:pt>
                <c:pt idx="109">
                  <c:v>All Others</c:v>
                </c:pt>
                <c:pt idx="110">
                  <c:v>Private Lab</c:v>
                </c:pt>
                <c:pt idx="111">
                  <c:v>Boursin</c:v>
                </c:pt>
                <c:pt idx="112">
                  <c:v>All Others</c:v>
                </c:pt>
                <c:pt idx="113">
                  <c:v>All Others</c:v>
                </c:pt>
                <c:pt idx="114">
                  <c:v>Islos</c:v>
                </c:pt>
                <c:pt idx="115">
                  <c:v>All Others</c:v>
                </c:pt>
                <c:pt idx="116">
                  <c:v>Boursin</c:v>
                </c:pt>
                <c:pt idx="117">
                  <c:v>All Others</c:v>
                </c:pt>
                <c:pt idx="118">
                  <c:v>All Others</c:v>
                </c:pt>
                <c:pt idx="119">
                  <c:v>Casa Azzurr</c:v>
                </c:pt>
                <c:pt idx="120">
                  <c:v>All Others</c:v>
                </c:pt>
                <c:pt idx="121">
                  <c:v>Boursin</c:v>
                </c:pt>
                <c:pt idx="122">
                  <c:v>All Others</c:v>
                </c:pt>
                <c:pt idx="123">
                  <c:v>All Others</c:v>
                </c:pt>
                <c:pt idx="124">
                  <c:v>All Others</c:v>
                </c:pt>
                <c:pt idx="125">
                  <c:v>Salakis</c:v>
                </c:pt>
                <c:pt idx="126">
                  <c:v>All Others</c:v>
                </c:pt>
                <c:pt idx="127">
                  <c:v>Lactalis: A</c:v>
                </c:pt>
                <c:pt idx="128">
                  <c:v>Casa Azzurr</c:v>
                </c:pt>
                <c:pt idx="129">
                  <c:v>All Others</c:v>
                </c:pt>
                <c:pt idx="130">
                  <c:v>All Others</c:v>
                </c:pt>
                <c:pt idx="131">
                  <c:v>All Others</c:v>
                </c:pt>
                <c:pt idx="132">
                  <c:v>Casa Azzurr</c:v>
                </c:pt>
                <c:pt idx="133">
                  <c:v>All Others</c:v>
                </c:pt>
                <c:pt idx="134">
                  <c:v>All Others</c:v>
                </c:pt>
                <c:pt idx="135">
                  <c:v>All Others</c:v>
                </c:pt>
                <c:pt idx="136">
                  <c:v>All Others</c:v>
                </c:pt>
                <c:pt idx="137">
                  <c:v>All Others</c:v>
                </c:pt>
                <c:pt idx="138">
                  <c:v>All Others</c:v>
                </c:pt>
                <c:pt idx="139">
                  <c:v>All Others</c:v>
                </c:pt>
                <c:pt idx="140">
                  <c:v>All Others</c:v>
                </c:pt>
                <c:pt idx="141">
                  <c:v>All Others</c:v>
                </c:pt>
                <c:pt idx="142">
                  <c:v>All Others</c:v>
                </c:pt>
                <c:pt idx="143">
                  <c:v>All Others</c:v>
                </c:pt>
                <c:pt idx="144">
                  <c:v>All Others</c:v>
                </c:pt>
                <c:pt idx="145">
                  <c:v>All Others</c:v>
                </c:pt>
                <c:pt idx="146">
                  <c:v>All Others</c:v>
                </c:pt>
                <c:pt idx="147">
                  <c:v>All Others</c:v>
                </c:pt>
                <c:pt idx="148">
                  <c:v>Galbani</c:v>
                </c:pt>
                <c:pt idx="149">
                  <c:v>All Others</c:v>
                </c:pt>
                <c:pt idx="150">
                  <c:v>All Others</c:v>
                </c:pt>
                <c:pt idx="151">
                  <c:v>All Others</c:v>
                </c:pt>
                <c:pt idx="152">
                  <c:v>All Others</c:v>
                </c:pt>
                <c:pt idx="153">
                  <c:v>Savencia: A</c:v>
                </c:pt>
                <c:pt idx="154">
                  <c:v>Lactalis: A</c:v>
                </c:pt>
                <c:pt idx="155">
                  <c:v>All Others</c:v>
                </c:pt>
                <c:pt idx="156">
                  <c:v>All Others</c:v>
                </c:pt>
                <c:pt idx="157">
                  <c:v>All Others</c:v>
                </c:pt>
                <c:pt idx="158">
                  <c:v>Salakis</c:v>
                </c:pt>
                <c:pt idx="159">
                  <c:v>All Others</c:v>
                </c:pt>
                <c:pt idx="160">
                  <c:v>Savencia: A</c:v>
                </c:pt>
                <c:pt idx="161">
                  <c:v>Salakis</c:v>
                </c:pt>
                <c:pt idx="162">
                  <c:v>All Others</c:v>
                </c:pt>
                <c:pt idx="163">
                  <c:v>All Others</c:v>
                </c:pt>
                <c:pt idx="164">
                  <c:v>All Others</c:v>
                </c:pt>
                <c:pt idx="165">
                  <c:v>All Others</c:v>
                </c:pt>
                <c:pt idx="166">
                  <c:v>All Others</c:v>
                </c:pt>
                <c:pt idx="167">
                  <c:v>Islos</c:v>
                </c:pt>
                <c:pt idx="168">
                  <c:v>All Others</c:v>
                </c:pt>
                <c:pt idx="169">
                  <c:v>All Others</c:v>
                </c:pt>
                <c:pt idx="170">
                  <c:v>All Others</c:v>
                </c:pt>
                <c:pt idx="171">
                  <c:v>All Others</c:v>
                </c:pt>
                <c:pt idx="172">
                  <c:v>All Others</c:v>
                </c:pt>
                <c:pt idx="173">
                  <c:v>All Others</c:v>
                </c:pt>
                <c:pt idx="174">
                  <c:v>All Others</c:v>
                </c:pt>
                <c:pt idx="175">
                  <c:v>All Others</c:v>
                </c:pt>
                <c:pt idx="176">
                  <c:v>All Others</c:v>
                </c:pt>
                <c:pt idx="177">
                  <c:v>All Others</c:v>
                </c:pt>
                <c:pt idx="178">
                  <c:v>All Others</c:v>
                </c:pt>
                <c:pt idx="179">
                  <c:v>All Others</c:v>
                </c:pt>
                <c:pt idx="180">
                  <c:v>Private Lab</c:v>
                </c:pt>
                <c:pt idx="181">
                  <c:v>Private Lab</c:v>
                </c:pt>
                <c:pt idx="182">
                  <c:v>All Others</c:v>
                </c:pt>
                <c:pt idx="183">
                  <c:v>All Others</c:v>
                </c:pt>
                <c:pt idx="184">
                  <c:v>All Others</c:v>
                </c:pt>
                <c:pt idx="185">
                  <c:v>All Others</c:v>
                </c:pt>
                <c:pt idx="186">
                  <c:v>All Others</c:v>
                </c:pt>
                <c:pt idx="187">
                  <c:v>All Others</c:v>
                </c:pt>
                <c:pt idx="188">
                  <c:v>All Others</c:v>
                </c:pt>
                <c:pt idx="189">
                  <c:v>All Others</c:v>
                </c:pt>
                <c:pt idx="190">
                  <c:v>All Others</c:v>
                </c:pt>
                <c:pt idx="191">
                  <c:v>All Others</c:v>
                </c:pt>
                <c:pt idx="192">
                  <c:v>All Others</c:v>
                </c:pt>
                <c:pt idx="193">
                  <c:v>Lactalis: A</c:v>
                </c:pt>
                <c:pt idx="194">
                  <c:v>All Others</c:v>
                </c:pt>
                <c:pt idx="195">
                  <c:v>All Others</c:v>
                </c:pt>
                <c:pt idx="196">
                  <c:v>All Others</c:v>
                </c:pt>
                <c:pt idx="197">
                  <c:v>All Others</c:v>
                </c:pt>
                <c:pt idx="198">
                  <c:v>All Others</c:v>
                </c:pt>
                <c:pt idx="199">
                  <c:v>All Others</c:v>
                </c:pt>
                <c:pt idx="200">
                  <c:v>All Others</c:v>
                </c:pt>
                <c:pt idx="201">
                  <c:v>All Others</c:v>
                </c:pt>
                <c:pt idx="202">
                  <c:v>Private Lab</c:v>
                </c:pt>
                <c:pt idx="203">
                  <c:v>All Others</c:v>
                </c:pt>
                <c:pt idx="204">
                  <c:v>All Others</c:v>
                </c:pt>
                <c:pt idx="205">
                  <c:v>All Others</c:v>
                </c:pt>
                <c:pt idx="206">
                  <c:v>All Others</c:v>
                </c:pt>
                <c:pt idx="207">
                  <c:v>All Others</c:v>
                </c:pt>
                <c:pt idx="208">
                  <c:v>All Others</c:v>
                </c:pt>
                <c:pt idx="209">
                  <c:v>All Others</c:v>
                </c:pt>
                <c:pt idx="210">
                  <c:v>All Others</c:v>
                </c:pt>
                <c:pt idx="211">
                  <c:v>All Others</c:v>
                </c:pt>
                <c:pt idx="212">
                  <c:v>All Others</c:v>
                </c:pt>
                <c:pt idx="213">
                  <c:v>All Others</c:v>
                </c:pt>
                <c:pt idx="214">
                  <c:v>All Others</c:v>
                </c:pt>
                <c:pt idx="215">
                  <c:v>All Others</c:v>
                </c:pt>
                <c:pt idx="216">
                  <c:v>All Others</c:v>
                </c:pt>
                <c:pt idx="217">
                  <c:v>All Others</c:v>
                </c:pt>
                <c:pt idx="218">
                  <c:v>All Others</c:v>
                </c:pt>
                <c:pt idx="219">
                  <c:v>All Others</c:v>
                </c:pt>
                <c:pt idx="220">
                  <c:v>All Others</c:v>
                </c:pt>
                <c:pt idx="221">
                  <c:v>All Others</c:v>
                </c:pt>
                <c:pt idx="222">
                  <c:v>All Others</c:v>
                </c:pt>
                <c:pt idx="223">
                  <c:v>All Others</c:v>
                </c:pt>
                <c:pt idx="224">
                  <c:v>All Others</c:v>
                </c:pt>
                <c:pt idx="225">
                  <c:v>All Others</c:v>
                </c:pt>
                <c:pt idx="226">
                  <c:v>All Others</c:v>
                </c:pt>
                <c:pt idx="227">
                  <c:v>All Others</c:v>
                </c:pt>
                <c:pt idx="228">
                  <c:v>All Others</c:v>
                </c:pt>
                <c:pt idx="229">
                  <c:v>All Others</c:v>
                </c:pt>
                <c:pt idx="230">
                  <c:v>Private Lab</c:v>
                </c:pt>
                <c:pt idx="231">
                  <c:v>All Others</c:v>
                </c:pt>
                <c:pt idx="232">
                  <c:v>All Others</c:v>
                </c:pt>
                <c:pt idx="233">
                  <c:v>All Others</c:v>
                </c:pt>
                <c:pt idx="234">
                  <c:v>All Others</c:v>
                </c:pt>
                <c:pt idx="235">
                  <c:v>All Others</c:v>
                </c:pt>
                <c:pt idx="236">
                  <c:v>All Others</c:v>
                </c:pt>
                <c:pt idx="237">
                  <c:v>All Others</c:v>
                </c:pt>
                <c:pt idx="238">
                  <c:v>All Others</c:v>
                </c:pt>
                <c:pt idx="239">
                  <c:v>All Others</c:v>
                </c:pt>
                <c:pt idx="240">
                  <c:v>All Others</c:v>
                </c:pt>
                <c:pt idx="241">
                  <c:v>All Others</c:v>
                </c:pt>
                <c:pt idx="242">
                  <c:v>All Others</c:v>
                </c:pt>
                <c:pt idx="243">
                  <c:v>All Others</c:v>
                </c:pt>
                <c:pt idx="244">
                  <c:v>All Others</c:v>
                </c:pt>
                <c:pt idx="245">
                  <c:v>All Others</c:v>
                </c:pt>
                <c:pt idx="246">
                  <c:v>All Others</c:v>
                </c:pt>
                <c:pt idx="247">
                  <c:v>All Others</c:v>
                </c:pt>
                <c:pt idx="248">
                  <c:v>All Others</c:v>
                </c:pt>
                <c:pt idx="249">
                  <c:v>All Others</c:v>
                </c:pt>
                <c:pt idx="250">
                  <c:v>All Others</c:v>
                </c:pt>
                <c:pt idx="251">
                  <c:v>All Others</c:v>
                </c:pt>
                <c:pt idx="252">
                  <c:v>All Others</c:v>
                </c:pt>
                <c:pt idx="253">
                  <c:v>All Others</c:v>
                </c:pt>
                <c:pt idx="254">
                  <c:v>All Others</c:v>
                </c:pt>
                <c:pt idx="255">
                  <c:v>All Others</c:v>
                </c:pt>
                <c:pt idx="256">
                  <c:v>All Others</c:v>
                </c:pt>
                <c:pt idx="257">
                  <c:v>All Others</c:v>
                </c:pt>
                <c:pt idx="258">
                  <c:v>All Others</c:v>
                </c:pt>
                <c:pt idx="259">
                  <c:v>All Others</c:v>
                </c:pt>
                <c:pt idx="260">
                  <c:v>All Others</c:v>
                </c:pt>
                <c:pt idx="261">
                  <c:v>All Others</c:v>
                </c:pt>
                <c:pt idx="262">
                  <c:v>All Others</c:v>
                </c:pt>
                <c:pt idx="263">
                  <c:v>All Others</c:v>
                </c:pt>
                <c:pt idx="264">
                  <c:v>All Others</c:v>
                </c:pt>
                <c:pt idx="265">
                  <c:v>All Others</c:v>
                </c:pt>
                <c:pt idx="266">
                  <c:v>All Others</c:v>
                </c:pt>
                <c:pt idx="267">
                  <c:v>All Others</c:v>
                </c:pt>
                <c:pt idx="268">
                  <c:v>All Others</c:v>
                </c:pt>
                <c:pt idx="269">
                  <c:v>All Others</c:v>
                </c:pt>
                <c:pt idx="270">
                  <c:v>All Others</c:v>
                </c:pt>
                <c:pt idx="271">
                  <c:v>All Others</c:v>
                </c:pt>
                <c:pt idx="272">
                  <c:v>Salakis</c:v>
                </c:pt>
                <c:pt idx="273">
                  <c:v>Societe</c:v>
                </c:pt>
                <c:pt idx="274">
                  <c:v>All Others</c:v>
                </c:pt>
                <c:pt idx="275">
                  <c:v>All Others</c:v>
                </c:pt>
                <c:pt idx="276">
                  <c:v>All Others</c:v>
                </c:pt>
                <c:pt idx="277">
                  <c:v>All Others</c:v>
                </c:pt>
                <c:pt idx="278">
                  <c:v>All Others</c:v>
                </c:pt>
                <c:pt idx="279">
                  <c:v>All Others</c:v>
                </c:pt>
                <c:pt idx="280">
                  <c:v>All Others</c:v>
                </c:pt>
                <c:pt idx="281">
                  <c:v>All Others</c:v>
                </c:pt>
                <c:pt idx="282">
                  <c:v>All Others</c:v>
                </c:pt>
                <c:pt idx="283">
                  <c:v>All Others</c:v>
                </c:pt>
                <c:pt idx="284">
                  <c:v>All Others</c:v>
                </c:pt>
                <c:pt idx="285">
                  <c:v>All Others</c:v>
                </c:pt>
                <c:pt idx="286">
                  <c:v>All Others</c:v>
                </c:pt>
                <c:pt idx="287">
                  <c:v>All Others</c:v>
                </c:pt>
                <c:pt idx="288">
                  <c:v>All Others</c:v>
                </c:pt>
                <c:pt idx="289">
                  <c:v>All Others</c:v>
                </c:pt>
                <c:pt idx="290">
                  <c:v>All Others</c:v>
                </c:pt>
                <c:pt idx="291">
                  <c:v>All Others</c:v>
                </c:pt>
                <c:pt idx="292">
                  <c:v>All Others</c:v>
                </c:pt>
                <c:pt idx="293">
                  <c:v>All Others</c:v>
                </c:pt>
                <c:pt idx="294">
                  <c:v>All Others</c:v>
                </c:pt>
                <c:pt idx="295">
                  <c:v>All Others</c:v>
                </c:pt>
                <c:pt idx="296">
                  <c:v>All Others</c:v>
                </c:pt>
                <c:pt idx="297">
                  <c:v>All Others</c:v>
                </c:pt>
                <c:pt idx="298">
                  <c:v>All Others</c:v>
                </c:pt>
                <c:pt idx="299">
                  <c:v>All Others</c:v>
                </c:pt>
                <c:pt idx="300">
                  <c:v>All Others</c:v>
                </c:pt>
                <c:pt idx="301">
                  <c:v>All Others</c:v>
                </c:pt>
                <c:pt idx="302">
                  <c:v>All Others</c:v>
                </c:pt>
                <c:pt idx="303">
                  <c:v>All Others</c:v>
                </c:pt>
                <c:pt idx="304">
                  <c:v>All Others</c:v>
                </c:pt>
                <c:pt idx="305">
                  <c:v>All Others</c:v>
                </c:pt>
              </c:strCache>
            </c:strRef>
          </c:cat>
          <c:val>
            <c:numRef>
              <c:f>Sheet1!$C$2:$C$307</c:f>
              <c:numCache>
                <c:formatCode>General</c:formatCode>
                <c:ptCount val="306"/>
                <c:pt idx="0">
                  <c:v>0.2265225589969281</c:v>
                </c:pt>
                <c:pt idx="1">
                  <c:v>0.3028102321849676</c:v>
                </c:pt>
                <c:pt idx="2">
                  <c:v>0.33075272223793273</c:v>
                </c:pt>
                <c:pt idx="3">
                  <c:v>0.35405182281068087</c:v>
                </c:pt>
                <c:pt idx="4">
                  <c:v>0.37569434954625186</c:v>
                </c:pt>
                <c:pt idx="5">
                  <c:v>0.3961280669778894</c:v>
                </c:pt>
                <c:pt idx="6">
                  <c:v>0.41628534171375015</c:v>
                </c:pt>
                <c:pt idx="7">
                  <c:v>0.43508990275174086</c:v>
                </c:pt>
                <c:pt idx="8">
                  <c:v>0.45102164372903764</c:v>
                </c:pt>
                <c:pt idx="9">
                  <c:v>0.48211593748599774</c:v>
                </c:pt>
                <c:pt idx="10">
                  <c:v>0.49722783244843294</c:v>
                </c:pt>
                <c:pt idx="11">
                  <c:v>0.5122666472810964</c:v>
                </c:pt>
                <c:pt idx="12">
                  <c:v>0.5412223928375524</c:v>
                </c:pt>
                <c:pt idx="13">
                  <c:v>0.5549454306729427</c:v>
                </c:pt>
                <c:pt idx="14">
                  <c:v>0.5808185978518582</c:v>
                </c:pt>
                <c:pt idx="15">
                  <c:v>0.6159496887432245</c:v>
                </c:pt>
                <c:pt idx="16">
                  <c:v>0.6374431424257485</c:v>
                </c:pt>
                <c:pt idx="17">
                  <c:v>0.6475485650990447</c:v>
                </c:pt>
                <c:pt idx="18">
                  <c:v>0.6575937239339843</c:v>
                </c:pt>
                <c:pt idx="19">
                  <c:v>0.6662538432605984</c:v>
                </c:pt>
                <c:pt idx="20">
                  <c:v>0.6744806132830945</c:v>
                </c:pt>
                <c:pt idx="21">
                  <c:v>0.6825908715654524</c:v>
                </c:pt>
                <c:pt idx="22">
                  <c:v>0.6907007208172332</c:v>
                </c:pt>
                <c:pt idx="23">
                  <c:v>0.6984395917304678</c:v>
                </c:pt>
                <c:pt idx="24">
                  <c:v>0.7058153798347803</c:v>
                </c:pt>
                <c:pt idx="25">
                  <c:v>0.7130011174591419</c:v>
                </c:pt>
                <c:pt idx="26">
                  <c:v>0.7201469312202071</c:v>
                </c:pt>
                <c:pt idx="27">
                  <c:v>0.7271676559938816</c:v>
                </c:pt>
                <c:pt idx="28">
                  <c:v>0.7340996211323294</c:v>
                </c:pt>
                <c:pt idx="29">
                  <c:v>0.7406852861103815</c:v>
                </c:pt>
                <c:pt idx="30">
                  <c:v>0.7469219984267198</c:v>
                </c:pt>
                <c:pt idx="31">
                  <c:v>0.7529664043975003</c:v>
                </c:pt>
                <c:pt idx="32">
                  <c:v>0.7589602021305165</c:v>
                </c:pt>
                <c:pt idx="33">
                  <c:v>0.7649256775947864</c:v>
                </c:pt>
                <c:pt idx="34">
                  <c:v>0.7708156807201518</c:v>
                </c:pt>
                <c:pt idx="35">
                  <c:v>0.7766311411215608</c:v>
                </c:pt>
                <c:pt idx="36">
                  <c:v>0.7817168785785917</c:v>
                </c:pt>
                <c:pt idx="37">
                  <c:v>0.7863632924061059</c:v>
                </c:pt>
                <c:pt idx="38">
                  <c:v>0.7908171891753407</c:v>
                </c:pt>
                <c:pt idx="39">
                  <c:v>0.795152516656686</c:v>
                </c:pt>
                <c:pt idx="40">
                  <c:v>0.7994876706099077</c:v>
                </c:pt>
                <c:pt idx="41">
                  <c:v>0.803626279173409</c:v>
                </c:pt>
                <c:pt idx="42">
                  <c:v>0.8077064583387177</c:v>
                </c:pt>
                <c:pt idx="43">
                  <c:v>0.8117021293078283</c:v>
                </c:pt>
                <c:pt idx="44">
                  <c:v>0.8195290161643309</c:v>
                </c:pt>
                <c:pt idx="45">
                  <c:v>0.8233734821634473</c:v>
                </c:pt>
                <c:pt idx="46">
                  <c:v>0.8271658773306146</c:v>
                </c:pt>
                <c:pt idx="47">
                  <c:v>0.8308543415466056</c:v>
                </c:pt>
                <c:pt idx="48">
                  <c:v>0.8342606242438747</c:v>
                </c:pt>
                <c:pt idx="49">
                  <c:v>0.8376591601499113</c:v>
                </c:pt>
                <c:pt idx="50">
                  <c:v>0.8409032188413369</c:v>
                </c:pt>
                <c:pt idx="51">
                  <c:v>0.844142170847982</c:v>
                </c:pt>
                <c:pt idx="52">
                  <c:v>0.8473484995673884</c:v>
                </c:pt>
                <c:pt idx="53">
                  <c:v>0.8505177304529402</c:v>
                </c:pt>
                <c:pt idx="54">
                  <c:v>0.8535246133839889</c:v>
                </c:pt>
                <c:pt idx="55">
                  <c:v>0.8565068677163509</c:v>
                </c:pt>
                <c:pt idx="56">
                  <c:v>0.8594738639687012</c:v>
                </c:pt>
                <c:pt idx="57">
                  <c:v>0.8623574799576569</c:v>
                </c:pt>
                <c:pt idx="58">
                  <c:v>0.8680220700504528</c:v>
                </c:pt>
                <c:pt idx="59">
                  <c:v>0.8707887528738273</c:v>
                </c:pt>
                <c:pt idx="60">
                  <c:v>0.8735544936873879</c:v>
                </c:pt>
                <c:pt idx="61">
                  <c:v>0.876167777649491</c:v>
                </c:pt>
                <c:pt idx="62">
                  <c:v>0.8787545365984138</c:v>
                </c:pt>
                <c:pt idx="63">
                  <c:v>0.8812854442812662</c:v>
                </c:pt>
                <c:pt idx="64">
                  <c:v>0.8836920190635519</c:v>
                </c:pt>
                <c:pt idx="65">
                  <c:v>0.8859660679388635</c:v>
                </c:pt>
                <c:pt idx="66">
                  <c:v>0.8880961876305065</c:v>
                </c:pt>
                <c:pt idx="67">
                  <c:v>0.8901087048338058</c:v>
                </c:pt>
                <c:pt idx="68">
                  <c:v>0.892108356166226</c:v>
                </c:pt>
                <c:pt idx="69">
                  <c:v>0.894095178812365</c:v>
                </c:pt>
                <c:pt idx="70">
                  <c:v>0.8960812205819478</c:v>
                </c:pt>
                <c:pt idx="71">
                  <c:v>0.8980556731518466</c:v>
                </c:pt>
                <c:pt idx="72">
                  <c:v>0.9000217220026163</c:v>
                </c:pt>
                <c:pt idx="73">
                  <c:v>0.901980656200318</c:v>
                </c:pt>
                <c:pt idx="74">
                  <c:v>0.9039363801277329</c:v>
                </c:pt>
                <c:pt idx="75">
                  <c:v>0.9058867370781819</c:v>
                </c:pt>
                <c:pt idx="76">
                  <c:v>0.9078238563117726</c:v>
                </c:pt>
                <c:pt idx="77">
                  <c:v>0.9097345868757086</c:v>
                </c:pt>
                <c:pt idx="78">
                  <c:v>0.9116210730818032</c:v>
                </c:pt>
                <c:pt idx="79">
                  <c:v>0.9134444694200995</c:v>
                </c:pt>
                <c:pt idx="80">
                  <c:v>0.9152648909905625</c:v>
                </c:pt>
                <c:pt idx="81">
                  <c:v>0.917072211187693</c:v>
                </c:pt>
                <c:pt idx="82">
                  <c:v>0.9188664300114908</c:v>
                </c:pt>
                <c:pt idx="83">
                  <c:v>0.9206570791138887</c:v>
                </c:pt>
                <c:pt idx="84">
                  <c:v>0.9224244878425888</c:v>
                </c:pt>
                <c:pt idx="85">
                  <c:v>0.9241893432288987</c:v>
                </c:pt>
                <c:pt idx="86">
                  <c:v>0.9276554311544833</c:v>
                </c:pt>
                <c:pt idx="87">
                  <c:v>0.9293550399663159</c:v>
                </c:pt>
                <c:pt idx="88">
                  <c:v>0.931051649220583</c:v>
                </c:pt>
                <c:pt idx="89">
                  <c:v>0.9327046037568963</c:v>
                </c:pt>
                <c:pt idx="90">
                  <c:v>0.9343538274385521</c:v>
                </c:pt>
                <c:pt idx="91">
                  <c:v>0.9359523065389178</c:v>
                </c:pt>
                <c:pt idx="92">
                  <c:v>0.9374804447748917</c:v>
                </c:pt>
                <c:pt idx="93">
                  <c:v>0.9389990637537989</c:v>
                </c:pt>
                <c:pt idx="94">
                  <c:v>0.9405114233253902</c:v>
                </c:pt>
                <c:pt idx="95">
                  <c:v>0.9420011374768503</c:v>
                </c:pt>
                <c:pt idx="96">
                  <c:v>0.9434744780103613</c:v>
                </c:pt>
                <c:pt idx="97">
                  <c:v>0.9449229792324642</c:v>
                </c:pt>
                <c:pt idx="98">
                  <c:v>0.9463455503949533</c:v>
                </c:pt>
                <c:pt idx="99">
                  <c:v>0.9477621596269098</c:v>
                </c:pt>
                <c:pt idx="100">
                  <c:v>0.949165097321699</c:v>
                </c:pt>
                <c:pt idx="101">
                  <c:v>0.9505417702954931</c:v>
                </c:pt>
                <c:pt idx="102">
                  <c:v>0.9531256660303764</c:v>
                </c:pt>
                <c:pt idx="103">
                  <c:v>0.9543091650179948</c:v>
                </c:pt>
                <c:pt idx="104">
                  <c:v>0.9554737990196035</c:v>
                </c:pt>
                <c:pt idx="105">
                  <c:v>0.9566176840155749</c:v>
                </c:pt>
                <c:pt idx="106">
                  <c:v>0.9577560780859206</c:v>
                </c:pt>
                <c:pt idx="107">
                  <c:v>0.9588343818460333</c:v>
                </c:pt>
                <c:pt idx="108">
                  <c:v>0.9598618790505262</c:v>
                </c:pt>
                <c:pt idx="109">
                  <c:v>0.9608775143682838</c:v>
                </c:pt>
                <c:pt idx="110">
                  <c:v>0.9618839403006241</c:v>
                </c:pt>
                <c:pt idx="111">
                  <c:v>0.962878504346229</c:v>
                </c:pt>
                <c:pt idx="112">
                  <c:v>0.963867738599466</c:v>
                </c:pt>
                <c:pt idx="113">
                  <c:v>0.9648528329674682</c:v>
                </c:pt>
                <c:pt idx="114">
                  <c:v>0.9657520061245515</c:v>
                </c:pt>
                <c:pt idx="115">
                  <c:v>0.9666237866278363</c:v>
                </c:pt>
                <c:pt idx="116">
                  <c:v>0.9674665631447463</c:v>
                </c:pt>
                <c:pt idx="117">
                  <c:v>0.9682550625435643</c:v>
                </c:pt>
                <c:pt idx="118">
                  <c:v>0.9690194911126644</c:v>
                </c:pt>
                <c:pt idx="119">
                  <c:v>0.9697714132619986</c:v>
                </c:pt>
                <c:pt idx="120">
                  <c:v>0.970466728058438</c:v>
                </c:pt>
                <c:pt idx="121">
                  <c:v>0.9711586342667351</c:v>
                </c:pt>
                <c:pt idx="122">
                  <c:v>0.9718492142243732</c:v>
                </c:pt>
                <c:pt idx="123">
                  <c:v>0.9725022873175796</c:v>
                </c:pt>
                <c:pt idx="124">
                  <c:v>0.9731474524862957</c:v>
                </c:pt>
                <c:pt idx="125">
                  <c:v>0.9737643573605954</c:v>
                </c:pt>
                <c:pt idx="126">
                  <c:v>0.9743720156648799</c:v>
                </c:pt>
                <c:pt idx="127">
                  <c:v>0.9749387957011881</c:v>
                </c:pt>
                <c:pt idx="128">
                  <c:v>0.9754969365159138</c:v>
                </c:pt>
                <c:pt idx="129">
                  <c:v>0.9760509250505389</c:v>
                </c:pt>
                <c:pt idx="130">
                  <c:v>0.9766022362941139</c:v>
                </c:pt>
                <c:pt idx="131">
                  <c:v>0.9771358228793487</c:v>
                </c:pt>
                <c:pt idx="132">
                  <c:v>0.9776612784325059</c:v>
                </c:pt>
                <c:pt idx="133">
                  <c:v>0.9781716742235069</c:v>
                </c:pt>
                <c:pt idx="134">
                  <c:v>0.9786736291107809</c:v>
                </c:pt>
                <c:pt idx="135">
                  <c:v>0.9791683453963271</c:v>
                </c:pt>
                <c:pt idx="136">
                  <c:v>0.9796585127660616</c:v>
                </c:pt>
                <c:pt idx="137">
                  <c:v>0.9801252786288407</c:v>
                </c:pt>
                <c:pt idx="138">
                  <c:v>0.9805909785331461</c:v>
                </c:pt>
                <c:pt idx="139">
                  <c:v>0.9810322729463524</c:v>
                </c:pt>
                <c:pt idx="140">
                  <c:v>0.9814726005600128</c:v>
                </c:pt>
                <c:pt idx="141">
                  <c:v>0.9819091353446858</c:v>
                </c:pt>
                <c:pt idx="142">
                  <c:v>0.9823431291818345</c:v>
                </c:pt>
                <c:pt idx="143">
                  <c:v>0.9827749167328402</c:v>
                </c:pt>
                <c:pt idx="144">
                  <c:v>0.9831961562529036</c:v>
                </c:pt>
                <c:pt idx="145">
                  <c:v>0.9836046538507476</c:v>
                </c:pt>
                <c:pt idx="146">
                  <c:v>0.9840100899166965</c:v>
                </c:pt>
                <c:pt idx="147">
                  <c:v>0.9843908354096288</c:v>
                </c:pt>
                <c:pt idx="148">
                  <c:v>0.9847595702774341</c:v>
                </c:pt>
                <c:pt idx="149">
                  <c:v>0.9851261112539624</c:v>
                </c:pt>
                <c:pt idx="150">
                  <c:v>0.9854762166382116</c:v>
                </c:pt>
                <c:pt idx="151">
                  <c:v>0.9858201617740726</c:v>
                </c:pt>
                <c:pt idx="152">
                  <c:v>0.986160847060183</c:v>
                </c:pt>
                <c:pt idx="153">
                  <c:v>0.9864742512462887</c:v>
                </c:pt>
                <c:pt idx="154">
                  <c:v>0.9867862796022715</c:v>
                </c:pt>
                <c:pt idx="155">
                  <c:v>0.9870958785645237</c:v>
                </c:pt>
                <c:pt idx="156">
                  <c:v>0.9874042752247767</c:v>
                </c:pt>
                <c:pt idx="157">
                  <c:v>0.9877057431549512</c:v>
                </c:pt>
                <c:pt idx="158">
                  <c:v>0.9880036413637258</c:v>
                </c:pt>
                <c:pt idx="159">
                  <c:v>0.9882989242557801</c:v>
                </c:pt>
                <c:pt idx="160">
                  <c:v>0.9885866958590555</c:v>
                </c:pt>
                <c:pt idx="161">
                  <c:v>0.9888683939780044</c:v>
                </c:pt>
                <c:pt idx="162">
                  <c:v>0.9891465595601513</c:v>
                </c:pt>
                <c:pt idx="163">
                  <c:v>0.9894193829550642</c:v>
                </c:pt>
                <c:pt idx="164">
                  <c:v>0.9896900992227617</c:v>
                </c:pt>
                <c:pt idx="165">
                  <c:v>0.9899594272654705</c:v>
                </c:pt>
                <c:pt idx="166">
                  <c:v>0.9902194591587001</c:v>
                </c:pt>
                <c:pt idx="167">
                  <c:v>0.990478945677827</c:v>
                </c:pt>
                <c:pt idx="168">
                  <c:v>0.9907300656624227</c:v>
                </c:pt>
                <c:pt idx="169">
                  <c:v>0.9909793883914524</c:v>
                </c:pt>
                <c:pt idx="170">
                  <c:v>0.9912276327671425</c:v>
                </c:pt>
                <c:pt idx="171">
                  <c:v>0.991472146288175</c:v>
                </c:pt>
                <c:pt idx="172">
                  <c:v>0.9917160276710429</c:v>
                </c:pt>
                <c:pt idx="173">
                  <c:v>0.9919556204302845</c:v>
                </c:pt>
                <c:pt idx="174">
                  <c:v>0.9921917798116517</c:v>
                </c:pt>
                <c:pt idx="175">
                  <c:v>0.9924130653538524</c:v>
                </c:pt>
                <c:pt idx="176">
                  <c:v>0.9926308803335809</c:v>
                </c:pt>
                <c:pt idx="177">
                  <c:v>0.9928450884073116</c:v>
                </c:pt>
                <c:pt idx="178">
                  <c:v>0.993058032204713</c:v>
                </c:pt>
                <c:pt idx="179">
                  <c:v>0.9932705917612693</c:v>
                </c:pt>
                <c:pt idx="180">
                  <c:v>0.9934743013835216</c:v>
                </c:pt>
                <c:pt idx="181">
                  <c:v>0.9936734373002301</c:v>
                </c:pt>
                <c:pt idx="182">
                  <c:v>0.9938659171739115</c:v>
                </c:pt>
                <c:pt idx="183">
                  <c:v>0.9940505510974326</c:v>
                </c:pt>
                <c:pt idx="184">
                  <c:v>0.9942289751931016</c:v>
                </c:pt>
                <c:pt idx="185">
                  <c:v>0.9944057259818644</c:v>
                </c:pt>
                <c:pt idx="186">
                  <c:v>0.9945819313965244</c:v>
                </c:pt>
                <c:pt idx="187">
                  <c:v>0.9947501173329004</c:v>
                </c:pt>
                <c:pt idx="188">
                  <c:v>0.9949026485535536</c:v>
                </c:pt>
                <c:pt idx="189">
                  <c:v>0.9950547211641658</c:v>
                </c:pt>
                <c:pt idx="190">
                  <c:v>0.9952045503040371</c:v>
                </c:pt>
                <c:pt idx="191">
                  <c:v>0.9953542183106507</c:v>
                </c:pt>
                <c:pt idx="192">
                  <c:v>0.9954927805173533</c:v>
                </c:pt>
                <c:pt idx="193">
                  <c:v>0.9956274755258726</c:v>
                </c:pt>
                <c:pt idx="194">
                  <c:v>0.9957601377763725</c:v>
                </c:pt>
                <c:pt idx="195">
                  <c:v>0.9958890691722148</c:v>
                </c:pt>
                <c:pt idx="196">
                  <c:v>0.9960164264200786</c:v>
                </c:pt>
                <c:pt idx="197">
                  <c:v>0.9961407345309132</c:v>
                </c:pt>
                <c:pt idx="198">
                  <c:v>0.996264559241975</c:v>
                </c:pt>
                <c:pt idx="199">
                  <c:v>0.9963818270689374</c:v>
                </c:pt>
                <c:pt idx="200">
                  <c:v>0.9964988469985804</c:v>
                </c:pt>
                <c:pt idx="201">
                  <c:v>0.9966126318682047</c:v>
                </c:pt>
                <c:pt idx="202">
                  <c:v>0.9967175915932568</c:v>
                </c:pt>
                <c:pt idx="203">
                  <c:v>0.9968222786312575</c:v>
                </c:pt>
                <c:pt idx="204">
                  <c:v>0.9969191569036958</c:v>
                </c:pt>
                <c:pt idx="205">
                  <c:v>0.9970150064022584</c:v>
                </c:pt>
                <c:pt idx="206">
                  <c:v>0.9971092817528425</c:v>
                </c:pt>
                <c:pt idx="207">
                  <c:v>0.9972027142525406</c:v>
                </c:pt>
                <c:pt idx="208">
                  <c:v>0.9972942875223428</c:v>
                </c:pt>
                <c:pt idx="209">
                  <c:v>0.997384980756661</c:v>
                </c:pt>
                <c:pt idx="210">
                  <c:v>0.997470889572714</c:v>
                </c:pt>
                <c:pt idx="211">
                  <c:v>0.997550526586585</c:v>
                </c:pt>
                <c:pt idx="212">
                  <c:v>0.9976291348265804</c:v>
                </c:pt>
                <c:pt idx="213">
                  <c:v>0.997705908626412</c:v>
                </c:pt>
                <c:pt idx="214">
                  <c:v>0.9977821866316046</c:v>
                </c:pt>
                <c:pt idx="215">
                  <c:v>0.9978579440524263</c:v>
                </c:pt>
                <c:pt idx="216">
                  <c:v>0.9979333420221349</c:v>
                </c:pt>
                <c:pt idx="217">
                  <c:v>0.998002678902383</c:v>
                </c:pt>
                <c:pt idx="218">
                  <c:v>0.9980712720906729</c:v>
                </c:pt>
                <c:pt idx="219">
                  <c:v>0.9981388241102211</c:v>
                </c:pt>
                <c:pt idx="220">
                  <c:v>0.9982058431505325</c:v>
                </c:pt>
                <c:pt idx="221">
                  <c:v>0.9982717218631745</c:v>
                </c:pt>
                <c:pt idx="222">
                  <c:v>0.998332853342149</c:v>
                </c:pt>
                <c:pt idx="223">
                  <c:v>0.9983908613148987</c:v>
                </c:pt>
                <c:pt idx="224">
                  <c:v>0.9984479644624324</c:v>
                </c:pt>
                <c:pt idx="225">
                  <c:v>0.9985048445023786</c:v>
                </c:pt>
                <c:pt idx="226">
                  <c:v>0.9985606090043874</c:v>
                </c:pt>
                <c:pt idx="227">
                  <c:v>0.9986114775343371</c:v>
                </c:pt>
                <c:pt idx="228">
                  <c:v>0.9986571278257125</c:v>
                </c:pt>
                <c:pt idx="229">
                  <c:v>0.9987012659434393</c:v>
                </c:pt>
                <c:pt idx="230">
                  <c:v>0.998745007425455</c:v>
                </c:pt>
                <c:pt idx="231">
                  <c:v>0.998788612563945</c:v>
                </c:pt>
                <c:pt idx="232">
                  <c:v>0.9988298254933025</c:v>
                </c:pt>
                <c:pt idx="233">
                  <c:v>0.9988699476744543</c:v>
                </c:pt>
                <c:pt idx="234">
                  <c:v>0.9989449861930497</c:v>
                </c:pt>
                <c:pt idx="235">
                  <c:v>0.9989816749963273</c:v>
                </c:pt>
                <c:pt idx="236">
                  <c:v>0.9990176325025125</c:v>
                </c:pt>
                <c:pt idx="237">
                  <c:v>0.9990528215270075</c:v>
                </c:pt>
                <c:pt idx="238">
                  <c:v>0.9990874899671316</c:v>
                </c:pt>
                <c:pt idx="239">
                  <c:v>0.9991199769108445</c:v>
                </c:pt>
                <c:pt idx="240">
                  <c:v>0.9991518812958569</c:v>
                </c:pt>
                <c:pt idx="241">
                  <c:v>0.9991814926306644</c:v>
                </c:pt>
                <c:pt idx="242">
                  <c:v>0.9992097901096788</c:v>
                </c:pt>
                <c:pt idx="243">
                  <c:v>0.9992376537683841</c:v>
                </c:pt>
                <c:pt idx="244">
                  <c:v>0.9992634722742041</c:v>
                </c:pt>
                <c:pt idx="245">
                  <c:v>0.9992887949853851</c:v>
                </c:pt>
                <c:pt idx="246">
                  <c:v>0.9993136095070614</c:v>
                </c:pt>
                <c:pt idx="247">
                  <c:v>0.9993376307573154</c:v>
                </c:pt>
                <c:pt idx="248">
                  <c:v>0.9993611438180646</c:v>
                </c:pt>
                <c:pt idx="249">
                  <c:v>0.9994038937108025</c:v>
                </c:pt>
                <c:pt idx="250">
                  <c:v>0.9994228826454719</c:v>
                </c:pt>
                <c:pt idx="251">
                  <c:v>0.9994405329346162</c:v>
                </c:pt>
                <c:pt idx="252">
                  <c:v>0.9994579725110391</c:v>
                </c:pt>
                <c:pt idx="253">
                  <c:v>0.9994747055801014</c:v>
                </c:pt>
                <c:pt idx="254">
                  <c:v>0.999491364279968</c:v>
                </c:pt>
                <c:pt idx="255">
                  <c:v>0.9995075767646595</c:v>
                </c:pt>
                <c:pt idx="256">
                  <c:v>0.9995383780066003</c:v>
                </c:pt>
                <c:pt idx="257">
                  <c:v>0.99955361129688</c:v>
                </c:pt>
                <c:pt idx="258">
                  <c:v>0.9995678034184181</c:v>
                </c:pt>
                <c:pt idx="259">
                  <c:v>0.999581636088843</c:v>
                </c:pt>
                <c:pt idx="260">
                  <c:v>0.9996207047063872</c:v>
                </c:pt>
                <c:pt idx="261">
                  <c:v>0.9996442549517343</c:v>
                </c:pt>
                <c:pt idx="262">
                  <c:v>0.9996659459671855</c:v>
                </c:pt>
                <c:pt idx="263">
                  <c:v>0.9996754280396541</c:v>
                </c:pt>
                <c:pt idx="264">
                  <c:v>0.9996940823129422</c:v>
                </c:pt>
                <c:pt idx="265">
                  <c:v>0.9997376998462982</c:v>
                </c:pt>
                <c:pt idx="266">
                  <c:v>0.9997540982539794</c:v>
                </c:pt>
                <c:pt idx="267">
                  <c:v>0.999762278865521</c:v>
                </c:pt>
                <c:pt idx="268">
                  <c:v>0.999778293032357</c:v>
                </c:pt>
                <c:pt idx="269">
                  <c:v>0.9997860026389916</c:v>
                </c:pt>
                <c:pt idx="270">
                  <c:v>0.999793389979111</c:v>
                </c:pt>
                <c:pt idx="271">
                  <c:v>0.9998079291568964</c:v>
                </c:pt>
                <c:pt idx="272">
                  <c:v>0.9998146471742533</c:v>
                </c:pt>
                <c:pt idx="273">
                  <c:v>0.9998213527967442</c:v>
                </c:pt>
                <c:pt idx="274">
                  <c:v>0.9998279592603074</c:v>
                </c:pt>
                <c:pt idx="275">
                  <c:v>0.9998342682470872</c:v>
                </c:pt>
                <c:pt idx="276">
                  <c:v>0.9998405648390011</c:v>
                </c:pt>
                <c:pt idx="277">
                  <c:v>0.9998560956060643</c:v>
                </c:pt>
                <c:pt idx="278">
                  <c:v>0.9998662222115635</c:v>
                </c:pt>
                <c:pt idx="279">
                  <c:v>0.9998751713047954</c:v>
                </c:pt>
                <c:pt idx="280">
                  <c:v>0.9998792492157003</c:v>
                </c:pt>
                <c:pt idx="281">
                  <c:v>0.9998906400975286</c:v>
                </c:pt>
                <c:pt idx="282">
                  <c:v>0.9998979654633182</c:v>
                </c:pt>
                <c:pt idx="283">
                  <c:v>0.9999015599744502</c:v>
                </c:pt>
                <c:pt idx="284">
                  <c:v>0.9999086622326522</c:v>
                </c:pt>
                <c:pt idx="285">
                  <c:v>0.9999121204002585</c:v>
                </c:pt>
                <c:pt idx="286">
                  <c:v>0.9999154918038029</c:v>
                </c:pt>
                <c:pt idx="287">
                  <c:v>0.9999186772843578</c:v>
                </c:pt>
                <c:pt idx="288">
                  <c:v>0.9999304895916292</c:v>
                </c:pt>
                <c:pt idx="289">
                  <c:v>0.9999333404108028</c:v>
                </c:pt>
                <c:pt idx="290">
                  <c:v>0.9999361912299765</c:v>
                </c:pt>
                <c:pt idx="291">
                  <c:v>0.9999440495750028</c:v>
                </c:pt>
                <c:pt idx="292">
                  <c:v>0.9999561097795936</c:v>
                </c:pt>
                <c:pt idx="293">
                  <c:v>0.9999628154020844</c:v>
                </c:pt>
                <c:pt idx="294">
                  <c:v>0.9999748632118093</c:v>
                </c:pt>
                <c:pt idx="295">
                  <c:v>0.9999782841948176</c:v>
                </c:pt>
                <c:pt idx="296">
                  <c:v>0.9999901832661509</c:v>
                </c:pt>
                <c:pt idx="297">
                  <c:v>0.9999911748554287</c:v>
                </c:pt>
                <c:pt idx="298">
                  <c:v>0.9999919805217169</c:v>
                </c:pt>
                <c:pt idx="299">
                  <c:v>0.9999933811415718</c:v>
                </c:pt>
                <c:pt idx="300">
                  <c:v>0.9999955502431169</c:v>
                </c:pt>
                <c:pt idx="301">
                  <c:v>0.9999974466576107</c:v>
                </c:pt>
                <c:pt idx="302">
                  <c:v>0.9999985002212184</c:v>
                </c:pt>
                <c:pt idx="303">
                  <c:v>0.999999095174785</c:v>
                </c:pt>
                <c:pt idx="304">
                  <c:v>0.9999993554669704</c:v>
                </c:pt>
                <c:pt idx="305">
                  <c:v>0.9999998264718772</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07</c:f>
              <c:strCache>
                <c:ptCount val="206"/>
                <c:pt idx="0">
                  <c:v>Private Lab</c:v>
                </c:pt>
                <c:pt idx="1">
                  <c:v>Private Lab</c:v>
                </c:pt>
                <c:pt idx="2">
                  <c:v>Galbani</c:v>
                </c:pt>
                <c:pt idx="3">
                  <c:v>Salakis</c:v>
                </c:pt>
                <c:pt idx="4">
                  <c:v>Private Lab</c:v>
                </c:pt>
                <c:pt idx="5">
                  <c:v>Private Lab</c:v>
                </c:pt>
                <c:pt idx="6">
                  <c:v>Islos</c:v>
                </c:pt>
                <c:pt idx="7">
                  <c:v>Private Lab</c:v>
                </c:pt>
                <c:pt idx="8">
                  <c:v>Casa Azzurr</c:v>
                </c:pt>
                <c:pt idx="9">
                  <c:v>Casa Azzurr</c:v>
                </c:pt>
                <c:pt idx="10">
                  <c:v>Galbani</c:v>
                </c:pt>
                <c:pt idx="11">
                  <c:v>Private Lab</c:v>
                </c:pt>
                <c:pt idx="12">
                  <c:v>Salakis</c:v>
                </c:pt>
                <c:pt idx="13">
                  <c:v>Galbani</c:v>
                </c:pt>
                <c:pt idx="14">
                  <c:v>Casa Azzurr</c:v>
                </c:pt>
                <c:pt idx="15">
                  <c:v>Galbani</c:v>
                </c:pt>
                <c:pt idx="16">
                  <c:v>Casa Azzurr</c:v>
                </c:pt>
                <c:pt idx="17">
                  <c:v>Private Lab</c:v>
                </c:pt>
                <c:pt idx="18">
                  <c:v>Boursin</c:v>
                </c:pt>
                <c:pt idx="19">
                  <c:v>Salakis</c:v>
                </c:pt>
                <c:pt idx="20">
                  <c:v>Private Lab</c:v>
                </c:pt>
                <c:pt idx="21">
                  <c:v>Private Lab</c:v>
                </c:pt>
                <c:pt idx="22">
                  <c:v>Casa Azzurr</c:v>
                </c:pt>
                <c:pt idx="23">
                  <c:v>Casa Azzurr</c:v>
                </c:pt>
                <c:pt idx="24">
                  <c:v>Galbani</c:v>
                </c:pt>
                <c:pt idx="25">
                  <c:v>All Others</c:v>
                </c:pt>
                <c:pt idx="26">
                  <c:v>Casa Azzurr</c:v>
                </c:pt>
                <c:pt idx="27">
                  <c:v>All Others</c:v>
                </c:pt>
                <c:pt idx="28">
                  <c:v>Galbani</c:v>
                </c:pt>
                <c:pt idx="29">
                  <c:v>All Others</c:v>
                </c:pt>
                <c:pt idx="30">
                  <c:v>All Others</c:v>
                </c:pt>
                <c:pt idx="31">
                  <c:v>All Others</c:v>
                </c:pt>
                <c:pt idx="32">
                  <c:v>Private Lab</c:v>
                </c:pt>
                <c:pt idx="33">
                  <c:v>Casa Azzurr</c:v>
                </c:pt>
                <c:pt idx="34">
                  <c:v>Salakis</c:v>
                </c:pt>
                <c:pt idx="35">
                  <c:v>Casa Azzurr</c:v>
                </c:pt>
                <c:pt idx="36">
                  <c:v>Private Lab</c:v>
                </c:pt>
                <c:pt idx="37">
                  <c:v>All Others</c:v>
                </c:pt>
                <c:pt idx="38">
                  <c:v>Salakis</c:v>
                </c:pt>
                <c:pt idx="39">
                  <c:v>Salakis</c:v>
                </c:pt>
                <c:pt idx="40">
                  <c:v>All Others</c:v>
                </c:pt>
                <c:pt idx="41">
                  <c:v>Galbani</c:v>
                </c:pt>
                <c:pt idx="42">
                  <c:v>All Others</c:v>
                </c:pt>
                <c:pt idx="43">
                  <c:v>All Others</c:v>
                </c:pt>
                <c:pt idx="44">
                  <c:v>Galbani</c:v>
                </c:pt>
                <c:pt idx="45">
                  <c:v>Casa Azzurr</c:v>
                </c:pt>
                <c:pt idx="46">
                  <c:v>All Others</c:v>
                </c:pt>
                <c:pt idx="47">
                  <c:v>Private Lab</c:v>
                </c:pt>
                <c:pt idx="48">
                  <c:v>All Others</c:v>
                </c:pt>
                <c:pt idx="49">
                  <c:v>Private Lab</c:v>
                </c:pt>
                <c:pt idx="50">
                  <c:v>Private Lab</c:v>
                </c:pt>
                <c:pt idx="51">
                  <c:v>Casa Azzurr</c:v>
                </c:pt>
                <c:pt idx="52">
                  <c:v>All Others</c:v>
                </c:pt>
                <c:pt idx="53">
                  <c:v>All Others</c:v>
                </c:pt>
                <c:pt idx="54">
                  <c:v>Private Lab</c:v>
                </c:pt>
                <c:pt idx="55">
                  <c:v>All Others</c:v>
                </c:pt>
                <c:pt idx="56">
                  <c:v>Galbani</c:v>
                </c:pt>
                <c:pt idx="57">
                  <c:v>Boursin</c:v>
                </c:pt>
                <c:pt idx="58">
                  <c:v>Galbani</c:v>
                </c:pt>
                <c:pt idx="59">
                  <c:v>All Others</c:v>
                </c:pt>
                <c:pt idx="60">
                  <c:v>Boursin</c:v>
                </c:pt>
                <c:pt idx="61">
                  <c:v>All Others</c:v>
                </c:pt>
                <c:pt idx="62">
                  <c:v>All Others</c:v>
                </c:pt>
                <c:pt idx="63">
                  <c:v>All Others</c:v>
                </c:pt>
                <c:pt idx="64">
                  <c:v>All Others</c:v>
                </c:pt>
                <c:pt idx="65">
                  <c:v>Islos</c:v>
                </c:pt>
                <c:pt idx="66">
                  <c:v>Casa Azzurr</c:v>
                </c:pt>
                <c:pt idx="67">
                  <c:v>All Others</c:v>
                </c:pt>
                <c:pt idx="68">
                  <c:v>Casa Azzurr</c:v>
                </c:pt>
                <c:pt idx="69">
                  <c:v>Private Lab</c:v>
                </c:pt>
                <c:pt idx="70">
                  <c:v>All Others</c:v>
                </c:pt>
                <c:pt idx="71">
                  <c:v>All Others</c:v>
                </c:pt>
                <c:pt idx="72">
                  <c:v>All Others</c:v>
                </c:pt>
                <c:pt idx="73">
                  <c:v>All Others</c:v>
                </c:pt>
                <c:pt idx="74">
                  <c:v>All Others</c:v>
                </c:pt>
                <c:pt idx="75">
                  <c:v>All Others</c:v>
                </c:pt>
                <c:pt idx="76">
                  <c:v>All Others</c:v>
                </c:pt>
                <c:pt idx="77">
                  <c:v>All Others</c:v>
                </c:pt>
                <c:pt idx="78">
                  <c:v>Lactalis: A</c:v>
                </c:pt>
                <c:pt idx="79">
                  <c:v>Private Lab</c:v>
                </c:pt>
                <c:pt idx="80">
                  <c:v>Galbani</c:v>
                </c:pt>
                <c:pt idx="81">
                  <c:v>All Others</c:v>
                </c:pt>
                <c:pt idx="82">
                  <c:v>All Others</c:v>
                </c:pt>
                <c:pt idx="83">
                  <c:v>All Others</c:v>
                </c:pt>
                <c:pt idx="84">
                  <c:v>Private Lab</c:v>
                </c:pt>
                <c:pt idx="85">
                  <c:v>All Others</c:v>
                </c:pt>
                <c:pt idx="86">
                  <c:v>Boursin</c:v>
                </c:pt>
                <c:pt idx="87">
                  <c:v>Private Lab</c:v>
                </c:pt>
                <c:pt idx="88">
                  <c:v>All Others</c:v>
                </c:pt>
                <c:pt idx="89">
                  <c:v>All Others</c:v>
                </c:pt>
                <c:pt idx="90">
                  <c:v>Casa Azzurr</c:v>
                </c:pt>
                <c:pt idx="91">
                  <c:v>All Others</c:v>
                </c:pt>
                <c:pt idx="92">
                  <c:v>Salakis</c:v>
                </c:pt>
                <c:pt idx="93">
                  <c:v>All Others</c:v>
                </c:pt>
                <c:pt idx="94">
                  <c:v>All Others</c:v>
                </c:pt>
                <c:pt idx="95">
                  <c:v>Galbani</c:v>
                </c:pt>
                <c:pt idx="96">
                  <c:v>Private Lab</c:v>
                </c:pt>
                <c:pt idx="97">
                  <c:v>Boursin</c:v>
                </c:pt>
                <c:pt idx="98">
                  <c:v>All Others</c:v>
                </c:pt>
                <c:pt idx="99">
                  <c:v>Boursin</c:v>
                </c:pt>
                <c:pt idx="100">
                  <c:v>All Others</c:v>
                </c:pt>
                <c:pt idx="101">
                  <c:v>All Others</c:v>
                </c:pt>
                <c:pt idx="102">
                  <c:v>All Others</c:v>
                </c:pt>
                <c:pt idx="103">
                  <c:v>All Others</c:v>
                </c:pt>
                <c:pt idx="104">
                  <c:v>Galbani</c:v>
                </c:pt>
                <c:pt idx="105">
                  <c:v>All Others</c:v>
                </c:pt>
                <c:pt idx="106">
                  <c:v>Lactalis: A</c:v>
                </c:pt>
                <c:pt idx="107">
                  <c:v>All Others</c:v>
                </c:pt>
                <c:pt idx="108">
                  <c:v>All Others</c:v>
                </c:pt>
                <c:pt idx="109">
                  <c:v>All Others</c:v>
                </c:pt>
                <c:pt idx="110">
                  <c:v>All Others</c:v>
                </c:pt>
                <c:pt idx="111">
                  <c:v>Salakis</c:v>
                </c:pt>
                <c:pt idx="112">
                  <c:v>All Others</c:v>
                </c:pt>
                <c:pt idx="113">
                  <c:v>All Others</c:v>
                </c:pt>
                <c:pt idx="114">
                  <c:v>All Others</c:v>
                </c:pt>
                <c:pt idx="115">
                  <c:v>All Others</c:v>
                </c:pt>
                <c:pt idx="116">
                  <c:v>All Others</c:v>
                </c:pt>
                <c:pt idx="117">
                  <c:v>Salakis</c:v>
                </c:pt>
                <c:pt idx="118">
                  <c:v>All Others</c:v>
                </c:pt>
                <c:pt idx="119">
                  <c:v>All Others</c:v>
                </c:pt>
                <c:pt idx="120">
                  <c:v>All Others</c:v>
                </c:pt>
                <c:pt idx="121">
                  <c:v>Private Lab</c:v>
                </c:pt>
                <c:pt idx="122">
                  <c:v>All Others</c:v>
                </c:pt>
                <c:pt idx="123">
                  <c:v>Private Lab</c:v>
                </c:pt>
                <c:pt idx="124">
                  <c:v>All Others</c:v>
                </c:pt>
                <c:pt idx="125">
                  <c:v>All Others</c:v>
                </c:pt>
                <c:pt idx="126">
                  <c:v>Islos</c:v>
                </c:pt>
                <c:pt idx="127">
                  <c:v>All Others</c:v>
                </c:pt>
                <c:pt idx="128">
                  <c:v>All Others</c:v>
                </c:pt>
                <c:pt idx="129">
                  <c:v>All Others</c:v>
                </c:pt>
                <c:pt idx="130">
                  <c:v>Lactalis: A</c:v>
                </c:pt>
                <c:pt idx="131">
                  <c:v>All Others</c:v>
                </c:pt>
                <c:pt idx="132">
                  <c:v>All Others</c:v>
                </c:pt>
                <c:pt idx="133">
                  <c:v>All Others</c:v>
                </c:pt>
                <c:pt idx="134">
                  <c:v>All Others</c:v>
                </c:pt>
                <c:pt idx="135">
                  <c:v>All Others</c:v>
                </c:pt>
                <c:pt idx="136">
                  <c:v>All Others</c:v>
                </c:pt>
                <c:pt idx="137">
                  <c:v>All Others</c:v>
                </c:pt>
                <c:pt idx="138">
                  <c:v>Private Lab</c:v>
                </c:pt>
                <c:pt idx="139">
                  <c:v>All Others</c:v>
                </c:pt>
                <c:pt idx="140">
                  <c:v>All Others</c:v>
                </c:pt>
                <c:pt idx="141">
                  <c:v>All Others</c:v>
                </c:pt>
                <c:pt idx="142">
                  <c:v>All Others</c:v>
                </c:pt>
                <c:pt idx="143">
                  <c:v>All Others</c:v>
                </c:pt>
                <c:pt idx="144">
                  <c:v>All Others</c:v>
                </c:pt>
                <c:pt idx="145">
                  <c:v>All Others</c:v>
                </c:pt>
                <c:pt idx="146">
                  <c:v>All Others</c:v>
                </c:pt>
                <c:pt idx="147">
                  <c:v>All Others</c:v>
                </c:pt>
                <c:pt idx="148">
                  <c:v>All Others</c:v>
                </c:pt>
                <c:pt idx="149">
                  <c:v>All Others</c:v>
                </c:pt>
                <c:pt idx="150">
                  <c:v>All Others</c:v>
                </c:pt>
                <c:pt idx="151">
                  <c:v>All Others</c:v>
                </c:pt>
                <c:pt idx="152">
                  <c:v>All Others</c:v>
                </c:pt>
                <c:pt idx="153">
                  <c:v>All Others</c:v>
                </c:pt>
                <c:pt idx="154">
                  <c:v>All Others</c:v>
                </c:pt>
                <c:pt idx="155">
                  <c:v>All Others</c:v>
                </c:pt>
                <c:pt idx="156">
                  <c:v>All Others</c:v>
                </c:pt>
                <c:pt idx="157">
                  <c:v>All Others</c:v>
                </c:pt>
                <c:pt idx="158">
                  <c:v>All Others</c:v>
                </c:pt>
                <c:pt idx="159">
                  <c:v>All Others</c:v>
                </c:pt>
                <c:pt idx="160">
                  <c:v>All Others</c:v>
                </c:pt>
                <c:pt idx="161">
                  <c:v>All Others</c:v>
                </c:pt>
                <c:pt idx="162">
                  <c:v>All Others</c:v>
                </c:pt>
                <c:pt idx="163">
                  <c:v>All Others</c:v>
                </c:pt>
                <c:pt idx="164">
                  <c:v>All Others</c:v>
                </c:pt>
                <c:pt idx="165">
                  <c:v>All Others</c:v>
                </c:pt>
                <c:pt idx="166">
                  <c:v>All Others</c:v>
                </c:pt>
                <c:pt idx="167">
                  <c:v>All Others</c:v>
                </c:pt>
                <c:pt idx="168">
                  <c:v>All Others</c:v>
                </c:pt>
                <c:pt idx="169">
                  <c:v>All Others</c:v>
                </c:pt>
                <c:pt idx="170">
                  <c:v>All Others</c:v>
                </c:pt>
                <c:pt idx="171">
                  <c:v>All Others</c:v>
                </c:pt>
                <c:pt idx="172">
                  <c:v>All Others</c:v>
                </c:pt>
                <c:pt idx="173">
                  <c:v>All Others</c:v>
                </c:pt>
                <c:pt idx="174">
                  <c:v>All Others</c:v>
                </c:pt>
                <c:pt idx="175">
                  <c:v>All Others</c:v>
                </c:pt>
                <c:pt idx="176">
                  <c:v>All Others</c:v>
                </c:pt>
                <c:pt idx="177">
                  <c:v>All Others</c:v>
                </c:pt>
                <c:pt idx="178">
                  <c:v>All Others</c:v>
                </c:pt>
                <c:pt idx="179">
                  <c:v>All Others</c:v>
                </c:pt>
                <c:pt idx="180">
                  <c:v>All Others</c:v>
                </c:pt>
                <c:pt idx="181">
                  <c:v>All Others</c:v>
                </c:pt>
                <c:pt idx="182">
                  <c:v>All Others</c:v>
                </c:pt>
                <c:pt idx="183">
                  <c:v>Private Lab</c:v>
                </c:pt>
                <c:pt idx="184">
                  <c:v>All Others</c:v>
                </c:pt>
                <c:pt idx="185">
                  <c:v>All Others</c:v>
                </c:pt>
                <c:pt idx="186">
                  <c:v>All Others</c:v>
                </c:pt>
                <c:pt idx="187">
                  <c:v>All Others</c:v>
                </c:pt>
                <c:pt idx="188">
                  <c:v>All Others</c:v>
                </c:pt>
                <c:pt idx="189">
                  <c:v>All Others</c:v>
                </c:pt>
                <c:pt idx="190">
                  <c:v>All Others</c:v>
                </c:pt>
                <c:pt idx="191">
                  <c:v>All Others</c:v>
                </c:pt>
                <c:pt idx="192">
                  <c:v>All Others</c:v>
                </c:pt>
                <c:pt idx="193">
                  <c:v>All Others</c:v>
                </c:pt>
                <c:pt idx="194">
                  <c:v>All Others</c:v>
                </c:pt>
                <c:pt idx="195">
                  <c:v>Galbani</c:v>
                </c:pt>
                <c:pt idx="196">
                  <c:v>All Others</c:v>
                </c:pt>
                <c:pt idx="197">
                  <c:v>All Others</c:v>
                </c:pt>
                <c:pt idx="198">
                  <c:v>All Others</c:v>
                </c:pt>
                <c:pt idx="199">
                  <c:v>All Others</c:v>
                </c:pt>
                <c:pt idx="200">
                  <c:v>All Others</c:v>
                </c:pt>
                <c:pt idx="201">
                  <c:v>Islos</c:v>
                </c:pt>
                <c:pt idx="202">
                  <c:v>All Others</c:v>
                </c:pt>
                <c:pt idx="203">
                  <c:v>All Others</c:v>
                </c:pt>
                <c:pt idx="204">
                  <c:v>All Others</c:v>
                </c:pt>
                <c:pt idx="205">
                  <c:v>All Others</c:v>
                </c:pt>
              </c:strCache>
            </c:strRef>
          </c:cat>
          <c:val>
            <c:numRef>
              <c:f>Sheet1!$B$2:$B$207</c:f>
              <c:numCache>
                <c:formatCode>General</c:formatCode>
                <c:ptCount val="206"/>
                <c:pt idx="0">
                  <c:v>0.35</c:v>
                </c:pt>
                <c:pt idx="1">
                  <c:v>1.0</c:v>
                </c:pt>
                <c:pt idx="2">
                  <c:v>0.99</c:v>
                </c:pt>
                <c:pt idx="3">
                  <c:v>0.99</c:v>
                </c:pt>
                <c:pt idx="4">
                  <c:v>1.0</c:v>
                </c:pt>
                <c:pt idx="5">
                  <c:v>1.0</c:v>
                </c:pt>
                <c:pt idx="6">
                  <c:v>0.95</c:v>
                </c:pt>
                <c:pt idx="7">
                  <c:v>1.0</c:v>
                </c:pt>
                <c:pt idx="8">
                  <c:v>0.93</c:v>
                </c:pt>
                <c:pt idx="9">
                  <c:v>0.95</c:v>
                </c:pt>
                <c:pt idx="10">
                  <c:v>0.95</c:v>
                </c:pt>
                <c:pt idx="11">
                  <c:v>0.98</c:v>
                </c:pt>
                <c:pt idx="12">
                  <c:v>0.96</c:v>
                </c:pt>
                <c:pt idx="13">
                  <c:v>0.94</c:v>
                </c:pt>
                <c:pt idx="14">
                  <c:v>0.94</c:v>
                </c:pt>
                <c:pt idx="15">
                  <c:v>0.98</c:v>
                </c:pt>
                <c:pt idx="16">
                  <c:v>0.92</c:v>
                </c:pt>
                <c:pt idx="17">
                  <c:v>1.0</c:v>
                </c:pt>
                <c:pt idx="18">
                  <c:v>0.99</c:v>
                </c:pt>
                <c:pt idx="19">
                  <c:v>0.91</c:v>
                </c:pt>
                <c:pt idx="20">
                  <c:v>0.95</c:v>
                </c:pt>
                <c:pt idx="21">
                  <c:v>0.96</c:v>
                </c:pt>
                <c:pt idx="22">
                  <c:v>0.86</c:v>
                </c:pt>
                <c:pt idx="23">
                  <c:v>0.83</c:v>
                </c:pt>
                <c:pt idx="24">
                  <c:v>0.92</c:v>
                </c:pt>
                <c:pt idx="25">
                  <c:v>0.72</c:v>
                </c:pt>
                <c:pt idx="26">
                  <c:v>0.69</c:v>
                </c:pt>
                <c:pt idx="27">
                  <c:v>0.77</c:v>
                </c:pt>
                <c:pt idx="28">
                  <c:v>0.84</c:v>
                </c:pt>
                <c:pt idx="29">
                  <c:v>0.71</c:v>
                </c:pt>
                <c:pt idx="30">
                  <c:v>0.87</c:v>
                </c:pt>
                <c:pt idx="31">
                  <c:v>0.75</c:v>
                </c:pt>
                <c:pt idx="32">
                  <c:v>0.74</c:v>
                </c:pt>
                <c:pt idx="33">
                  <c:v>0.58</c:v>
                </c:pt>
                <c:pt idx="34">
                  <c:v>0.55</c:v>
                </c:pt>
                <c:pt idx="35">
                  <c:v>0.6</c:v>
                </c:pt>
                <c:pt idx="36">
                  <c:v>0.99</c:v>
                </c:pt>
                <c:pt idx="37">
                  <c:v>0.8</c:v>
                </c:pt>
                <c:pt idx="38">
                  <c:v>0.8</c:v>
                </c:pt>
                <c:pt idx="39">
                  <c:v>0.59</c:v>
                </c:pt>
                <c:pt idx="40">
                  <c:v>0.64</c:v>
                </c:pt>
                <c:pt idx="41">
                  <c:v>0.67</c:v>
                </c:pt>
                <c:pt idx="42">
                  <c:v>0.41</c:v>
                </c:pt>
                <c:pt idx="43">
                  <c:v>0.61</c:v>
                </c:pt>
                <c:pt idx="44">
                  <c:v>0.79</c:v>
                </c:pt>
                <c:pt idx="45">
                  <c:v>0.81</c:v>
                </c:pt>
                <c:pt idx="46">
                  <c:v>0.73</c:v>
                </c:pt>
                <c:pt idx="47">
                  <c:v>0.9</c:v>
                </c:pt>
                <c:pt idx="48">
                  <c:v>0.67</c:v>
                </c:pt>
                <c:pt idx="49">
                  <c:v>0.85</c:v>
                </c:pt>
                <c:pt idx="50">
                  <c:v>0.9</c:v>
                </c:pt>
                <c:pt idx="51">
                  <c:v>0.82</c:v>
                </c:pt>
                <c:pt idx="52">
                  <c:v>0.74</c:v>
                </c:pt>
                <c:pt idx="53">
                  <c:v>0.78</c:v>
                </c:pt>
                <c:pt idx="54">
                  <c:v>0.64</c:v>
                </c:pt>
                <c:pt idx="55">
                  <c:v>0.67</c:v>
                </c:pt>
                <c:pt idx="56">
                  <c:v>0.45</c:v>
                </c:pt>
                <c:pt idx="57">
                  <c:v>0.91</c:v>
                </c:pt>
                <c:pt idx="58">
                  <c:v>0.93</c:v>
                </c:pt>
                <c:pt idx="59">
                  <c:v>0.56</c:v>
                </c:pt>
                <c:pt idx="60">
                  <c:v>0.95</c:v>
                </c:pt>
                <c:pt idx="61">
                  <c:v>0.52</c:v>
                </c:pt>
                <c:pt idx="62">
                  <c:v>0.63</c:v>
                </c:pt>
                <c:pt idx="63">
                  <c:v>0.72</c:v>
                </c:pt>
                <c:pt idx="64">
                  <c:v>0.74</c:v>
                </c:pt>
                <c:pt idx="65">
                  <c:v>0.86</c:v>
                </c:pt>
                <c:pt idx="66">
                  <c:v>0.51</c:v>
                </c:pt>
                <c:pt idx="67">
                  <c:v>0.46</c:v>
                </c:pt>
                <c:pt idx="68">
                  <c:v>0.49</c:v>
                </c:pt>
                <c:pt idx="69">
                  <c:v>0.55</c:v>
                </c:pt>
                <c:pt idx="70">
                  <c:v>0.56</c:v>
                </c:pt>
                <c:pt idx="71">
                  <c:v>0.08</c:v>
                </c:pt>
                <c:pt idx="72">
                  <c:v>0.66</c:v>
                </c:pt>
                <c:pt idx="73">
                  <c:v>0.07</c:v>
                </c:pt>
                <c:pt idx="74">
                  <c:v>0.56</c:v>
                </c:pt>
                <c:pt idx="75">
                  <c:v>0.48</c:v>
                </c:pt>
                <c:pt idx="76">
                  <c:v>0.61</c:v>
                </c:pt>
                <c:pt idx="77">
                  <c:v>0.21</c:v>
                </c:pt>
                <c:pt idx="78">
                  <c:v>0.24</c:v>
                </c:pt>
                <c:pt idx="79">
                  <c:v>0.63</c:v>
                </c:pt>
                <c:pt idx="80">
                  <c:v>0.64</c:v>
                </c:pt>
                <c:pt idx="81">
                  <c:v>0.64</c:v>
                </c:pt>
                <c:pt idx="82">
                  <c:v>0.11</c:v>
                </c:pt>
                <c:pt idx="83">
                  <c:v>0.55</c:v>
                </c:pt>
                <c:pt idx="84">
                  <c:v>0.5</c:v>
                </c:pt>
                <c:pt idx="85">
                  <c:v>0.42</c:v>
                </c:pt>
                <c:pt idx="86">
                  <c:v>0.72</c:v>
                </c:pt>
                <c:pt idx="87">
                  <c:v>0.51</c:v>
                </c:pt>
                <c:pt idx="88">
                  <c:v>0.4</c:v>
                </c:pt>
                <c:pt idx="89">
                  <c:v>0.49</c:v>
                </c:pt>
                <c:pt idx="90">
                  <c:v>0.53</c:v>
                </c:pt>
                <c:pt idx="91">
                  <c:v>0.5</c:v>
                </c:pt>
                <c:pt idx="92">
                  <c:v>0.76</c:v>
                </c:pt>
                <c:pt idx="93">
                  <c:v>0.3</c:v>
                </c:pt>
                <c:pt idx="94">
                  <c:v>0.35</c:v>
                </c:pt>
                <c:pt idx="95">
                  <c:v>0.5</c:v>
                </c:pt>
                <c:pt idx="96">
                  <c:v>0.72</c:v>
                </c:pt>
                <c:pt idx="97">
                  <c:v>0.71</c:v>
                </c:pt>
                <c:pt idx="98">
                  <c:v>0.3</c:v>
                </c:pt>
                <c:pt idx="99">
                  <c:v>0.79</c:v>
                </c:pt>
                <c:pt idx="100">
                  <c:v>0.29</c:v>
                </c:pt>
                <c:pt idx="101">
                  <c:v>0.5</c:v>
                </c:pt>
                <c:pt idx="102">
                  <c:v>0.07</c:v>
                </c:pt>
                <c:pt idx="103">
                  <c:v>0.05</c:v>
                </c:pt>
                <c:pt idx="104">
                  <c:v>0.42</c:v>
                </c:pt>
                <c:pt idx="105">
                  <c:v>0.07</c:v>
                </c:pt>
                <c:pt idx="106">
                  <c:v>0.15</c:v>
                </c:pt>
                <c:pt idx="107">
                  <c:v>0.64</c:v>
                </c:pt>
                <c:pt idx="108">
                  <c:v>0.51</c:v>
                </c:pt>
                <c:pt idx="109">
                  <c:v>0.09</c:v>
                </c:pt>
                <c:pt idx="110">
                  <c:v>0.41</c:v>
                </c:pt>
                <c:pt idx="111">
                  <c:v>0.37</c:v>
                </c:pt>
                <c:pt idx="112">
                  <c:v>0.16</c:v>
                </c:pt>
                <c:pt idx="113">
                  <c:v>0.52</c:v>
                </c:pt>
                <c:pt idx="114">
                  <c:v>0.07</c:v>
                </c:pt>
                <c:pt idx="115">
                  <c:v>0.09</c:v>
                </c:pt>
                <c:pt idx="116">
                  <c:v>0.56</c:v>
                </c:pt>
                <c:pt idx="117">
                  <c:v>0.53</c:v>
                </c:pt>
                <c:pt idx="118">
                  <c:v>0.5</c:v>
                </c:pt>
                <c:pt idx="119">
                  <c:v>0.17</c:v>
                </c:pt>
                <c:pt idx="120">
                  <c:v>0.3</c:v>
                </c:pt>
                <c:pt idx="121">
                  <c:v>0.48</c:v>
                </c:pt>
                <c:pt idx="122">
                  <c:v>0.09</c:v>
                </c:pt>
                <c:pt idx="123">
                  <c:v>0.48</c:v>
                </c:pt>
                <c:pt idx="124">
                  <c:v>0.05</c:v>
                </c:pt>
                <c:pt idx="125">
                  <c:v>0.22</c:v>
                </c:pt>
                <c:pt idx="126">
                  <c:v>0.32</c:v>
                </c:pt>
                <c:pt idx="127">
                  <c:v>0.09</c:v>
                </c:pt>
                <c:pt idx="128">
                  <c:v>0.13</c:v>
                </c:pt>
                <c:pt idx="129">
                  <c:v>0.56</c:v>
                </c:pt>
                <c:pt idx="130">
                  <c:v>0.42</c:v>
                </c:pt>
                <c:pt idx="131">
                  <c:v>0.42</c:v>
                </c:pt>
                <c:pt idx="132">
                  <c:v>0.06</c:v>
                </c:pt>
                <c:pt idx="133">
                  <c:v>0.03</c:v>
                </c:pt>
                <c:pt idx="134">
                  <c:v>0.6</c:v>
                </c:pt>
                <c:pt idx="135">
                  <c:v>0.14</c:v>
                </c:pt>
                <c:pt idx="136">
                  <c:v>0.13</c:v>
                </c:pt>
                <c:pt idx="137">
                  <c:v>0.03</c:v>
                </c:pt>
                <c:pt idx="138">
                  <c:v>0.52</c:v>
                </c:pt>
                <c:pt idx="139">
                  <c:v>0.52</c:v>
                </c:pt>
                <c:pt idx="140">
                  <c:v>0.04</c:v>
                </c:pt>
                <c:pt idx="141">
                  <c:v>0.04</c:v>
                </c:pt>
                <c:pt idx="142">
                  <c:v>0.02</c:v>
                </c:pt>
                <c:pt idx="143">
                  <c:v>0.37</c:v>
                </c:pt>
                <c:pt idx="144">
                  <c:v>0.03</c:v>
                </c:pt>
                <c:pt idx="145">
                  <c:v>0.06</c:v>
                </c:pt>
                <c:pt idx="146">
                  <c:v>0.35</c:v>
                </c:pt>
                <c:pt idx="147">
                  <c:v>0.11</c:v>
                </c:pt>
                <c:pt idx="148">
                  <c:v>0.01</c:v>
                </c:pt>
                <c:pt idx="149">
                  <c:v>0.02</c:v>
                </c:pt>
                <c:pt idx="150">
                  <c:v>0.01</c:v>
                </c:pt>
                <c:pt idx="151">
                  <c:v>0.01</c:v>
                </c:pt>
                <c:pt idx="152">
                  <c:v>0.03</c:v>
                </c:pt>
                <c:pt idx="153">
                  <c:v>0.02</c:v>
                </c:pt>
                <c:pt idx="154">
                  <c:v>0.01</c:v>
                </c:pt>
                <c:pt idx="155">
                  <c:v>0.01</c:v>
                </c:pt>
                <c:pt idx="156">
                  <c:v>0.04</c:v>
                </c:pt>
                <c:pt idx="157">
                  <c:v>0.01</c:v>
                </c:pt>
                <c:pt idx="158">
                  <c:v>0.01</c:v>
                </c:pt>
                <c:pt idx="159">
                  <c:v>0.02</c:v>
                </c:pt>
                <c:pt idx="160">
                  <c:v>0.03</c:v>
                </c:pt>
                <c:pt idx="161">
                  <c:v>0.02</c:v>
                </c:pt>
                <c:pt idx="162">
                  <c:v>0.01</c:v>
                </c:pt>
                <c:pt idx="163">
                  <c:v>0.01</c:v>
                </c:pt>
                <c:pt idx="164">
                  <c:v>0.01</c:v>
                </c:pt>
                <c:pt idx="165">
                  <c:v>0.01</c:v>
                </c:pt>
                <c:pt idx="166">
                  <c:v>0.01</c:v>
                </c:pt>
                <c:pt idx="167">
                  <c:v>0.01</c:v>
                </c:pt>
                <c:pt idx="168">
                  <c:v>0.02</c:v>
                </c:pt>
                <c:pt idx="169">
                  <c:v>0.01</c:v>
                </c:pt>
                <c:pt idx="170">
                  <c:v>0.04</c:v>
                </c:pt>
                <c:pt idx="171">
                  <c:v>0.07</c:v>
                </c:pt>
                <c:pt idx="172">
                  <c:v>0.01</c:v>
                </c:pt>
                <c:pt idx="173">
                  <c:v>0.01</c:v>
                </c:pt>
                <c:pt idx="174">
                  <c:v>0.01</c:v>
                </c:pt>
                <c:pt idx="175">
                  <c:v>0.03</c:v>
                </c:pt>
                <c:pt idx="176">
                  <c:v>0.03</c:v>
                </c:pt>
                <c:pt idx="177">
                  <c:v>0.01</c:v>
                </c:pt>
                <c:pt idx="178">
                  <c:v>0.03</c:v>
                </c:pt>
                <c:pt idx="179">
                  <c:v>0.03</c:v>
                </c:pt>
                <c:pt idx="180">
                  <c:v>0.03</c:v>
                </c:pt>
                <c:pt idx="181">
                  <c:v>0.01</c:v>
                </c:pt>
                <c:pt idx="182">
                  <c:v>0.01</c:v>
                </c:pt>
                <c:pt idx="183">
                  <c:v>0.04</c:v>
                </c:pt>
                <c:pt idx="184">
                  <c:v>0.02</c:v>
                </c:pt>
                <c:pt idx="185">
                  <c:v>0.03</c:v>
                </c:pt>
                <c:pt idx="186">
                  <c:v>0.03</c:v>
                </c:pt>
                <c:pt idx="187">
                  <c:v>0.01</c:v>
                </c:pt>
                <c:pt idx="188">
                  <c:v>0.01</c:v>
                </c:pt>
                <c:pt idx="189">
                  <c:v>0.01</c:v>
                </c:pt>
                <c:pt idx="190">
                  <c:v>0.01</c:v>
                </c:pt>
                <c:pt idx="191">
                  <c:v>0.03</c:v>
                </c:pt>
                <c:pt idx="192">
                  <c:v>0.02</c:v>
                </c:pt>
                <c:pt idx="193">
                  <c:v>0.01</c:v>
                </c:pt>
                <c:pt idx="194">
                  <c:v>0.01</c:v>
                </c:pt>
                <c:pt idx="195">
                  <c:v>0.01</c:v>
                </c:pt>
                <c:pt idx="196">
                  <c:v>0.01</c:v>
                </c:pt>
                <c:pt idx="197">
                  <c:v>0.01</c:v>
                </c:pt>
                <c:pt idx="198">
                  <c:v>0.05</c:v>
                </c:pt>
                <c:pt idx="199">
                  <c:v>0.01</c:v>
                </c:pt>
                <c:pt idx="200">
                  <c:v>0.01</c:v>
                </c:pt>
                <c:pt idx="201">
                  <c:v>0.02</c:v>
                </c:pt>
                <c:pt idx="202">
                  <c:v>0.01</c:v>
                </c:pt>
                <c:pt idx="203">
                  <c:v>0.01</c:v>
                </c:pt>
                <c:pt idx="204">
                  <c:v>0.01</c:v>
                </c:pt>
                <c:pt idx="205">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Item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7ECAC4"/>
              </a:solidFill>
            </c:spPr>
            <c:extLst>
              <c:ext xmlns:c16="http://schemas.microsoft.com/office/drawing/2014/chart" uri="{C3380CC4-5D6E-409C-BE32-E72D297353CC}">
                <c16:uniqueId val="{0000007B-2993-41DE-A2CB-63102DE87051}"/>
              </c:ext>
            </c:extLst>
          </c:dPt>
          <c:dPt>
            <c:idx val="34"/>
            <c:invertIfNegative val="1"/>
            <c:bubble3D val="0"/>
            <c:spPr>
              <a:solidFill>
                <a:srgbClr val="7ECAC4"/>
              </a:solidFill>
            </c:spPr>
            <c:extLst>
              <c:ext xmlns:c16="http://schemas.microsoft.com/office/drawing/2014/chart" uri="{C3380CC4-5D6E-409C-BE32-E72D297353CC}">
                <c16:uniqueId val="{0000007D-2993-41DE-A2CB-63102DE87051}"/>
              </c:ext>
            </c:extLst>
          </c:dPt>
          <c:dPt>
            <c:idx val="35"/>
            <c:invertIfNegative val="1"/>
            <c:bubble3D val="0"/>
            <c:spPr>
              <a:solidFill>
                <a:srgbClr val="7ECAC4"/>
              </a:solidFill>
            </c:spPr>
            <c:extLst>
              <c:ext xmlns:c16="http://schemas.microsoft.com/office/drawing/2014/chart" uri="{C3380CC4-5D6E-409C-BE32-E72D297353CC}">
                <c16:uniqueId val="{0000007F-2993-41DE-A2CB-63102DE87051}"/>
              </c:ext>
            </c:extLst>
          </c:dPt>
          <c:dPt>
            <c:idx val="36"/>
            <c:invertIfNegative val="1"/>
            <c:bubble3D val="0"/>
            <c:spPr>
              <a:solidFill>
                <a:srgbClr val="7ECAC4"/>
              </a:solidFill>
            </c:spPr>
            <c:extLst>
              <c:ext xmlns:c16="http://schemas.microsoft.com/office/drawing/2014/chart" uri="{C3380CC4-5D6E-409C-BE32-E72D297353CC}">
                <c16:uniqueId val="{00000081-2993-41DE-A2CB-63102DE87051}"/>
              </c:ext>
            </c:extLst>
          </c:dPt>
          <c:dPt>
            <c:idx val="37"/>
            <c:invertIfNegative val="1"/>
            <c:bubble3D val="0"/>
            <c:spPr>
              <a:solidFill>
                <a:srgbClr val="7ECAC4"/>
              </a:solidFill>
            </c:spPr>
            <c:extLst>
              <c:ext xmlns:c16="http://schemas.microsoft.com/office/drawing/2014/chart" uri="{C3380CC4-5D6E-409C-BE32-E72D297353CC}">
                <c16:uniqueId val="{00000083-2993-41DE-A2CB-63102DE87051}"/>
              </c:ext>
            </c:extLst>
          </c:dPt>
          <c:dPt>
            <c:idx val="38"/>
            <c:invertIfNegative val="1"/>
            <c:bubble3D val="0"/>
            <c:spPr>
              <a:solidFill>
                <a:srgbClr val="7ECAC4"/>
              </a:solidFill>
            </c:spPr>
            <c:extLst>
              <c:ext xmlns:c16="http://schemas.microsoft.com/office/drawing/2014/chart" uri="{C3380CC4-5D6E-409C-BE32-E72D297353CC}">
                <c16:uniqueId val="{00000085-2993-41DE-A2CB-63102DE87051}"/>
              </c:ext>
            </c:extLst>
          </c:dPt>
          <c:dPt>
            <c:idx val="39"/>
            <c:invertIfNegative val="1"/>
            <c:bubble3D val="0"/>
            <c:spPr>
              <a:solidFill>
                <a:srgbClr val="7ECAC4"/>
              </a:solidFill>
            </c:spPr>
            <c:extLst>
              <c:ext xmlns:c16="http://schemas.microsoft.com/office/drawing/2014/chart" uri="{C3380CC4-5D6E-409C-BE32-E72D297353CC}">
                <c16:uniqueId val="{00000087-2993-41DE-A2CB-63102DE87051}"/>
              </c:ext>
            </c:extLst>
          </c:dPt>
          <c:dPt>
            <c:idx val="40"/>
            <c:invertIfNegative val="1"/>
            <c:bubble3D val="0"/>
            <c:spPr>
              <a:solidFill>
                <a:srgbClr val="7ECAC4"/>
              </a:solidFill>
            </c:spPr>
            <c:extLst>
              <c:ext xmlns:c16="http://schemas.microsoft.com/office/drawing/2014/chart" uri="{C3380CC4-5D6E-409C-BE32-E72D297353CC}">
                <c16:uniqueId val="{00000089-2993-41DE-A2CB-63102DE87051}"/>
              </c:ext>
            </c:extLst>
          </c:dPt>
          <c:dPt>
            <c:idx val="41"/>
            <c:invertIfNegative val="1"/>
            <c:bubble3D val="0"/>
            <c:spPr>
              <a:solidFill>
                <a:srgbClr val="7ECAC4"/>
              </a:solidFill>
            </c:spPr>
            <c:extLst>
              <c:ext xmlns:c16="http://schemas.microsoft.com/office/drawing/2014/chart" uri="{C3380CC4-5D6E-409C-BE32-E72D297353CC}">
                <c16:uniqueId val="{0000008B-2993-41DE-A2CB-63102DE87051}"/>
              </c:ext>
            </c:extLst>
          </c:dPt>
          <c:dPt>
            <c:idx val="42"/>
            <c:invertIfNegative val="1"/>
            <c:bubble3D val="0"/>
            <c:spPr>
              <a:solidFill>
                <a:srgbClr val="7ECAC4"/>
              </a:solidFill>
            </c:spPr>
            <c:extLst>
              <c:ext xmlns:c16="http://schemas.microsoft.com/office/drawing/2014/chart" uri="{C3380CC4-5D6E-409C-BE32-E72D297353CC}">
                <c16:uniqueId val="{0000008D-2993-41DE-A2CB-63102DE87051}"/>
              </c:ext>
            </c:extLst>
          </c:dPt>
          <c:dPt>
            <c:idx val="43"/>
            <c:invertIfNegative val="1"/>
            <c:bubble3D val="0"/>
            <c:spPr>
              <a:solidFill>
                <a:srgbClr val="7ECAC4"/>
              </a:solidFill>
            </c:spPr>
            <c:extLst>
              <c:ext xmlns:c16="http://schemas.microsoft.com/office/drawing/2014/chart" uri="{C3380CC4-5D6E-409C-BE32-E72D297353CC}">
                <c16:uniqueId val="{0000008F-2993-41DE-A2CB-63102DE87051}"/>
              </c:ext>
            </c:extLst>
          </c:dPt>
          <c:dPt>
            <c:idx val="44"/>
            <c:invertIfNegative val="1"/>
            <c:bubble3D val="0"/>
            <c:spPr>
              <a:solidFill>
                <a:srgbClr val="7ECAC4"/>
              </a:solidFill>
            </c:spPr>
            <c:extLst>
              <c:ext xmlns:c16="http://schemas.microsoft.com/office/drawing/2014/chart" uri="{C3380CC4-5D6E-409C-BE32-E72D297353CC}">
                <c16:uniqueId val="{00000091-2993-41DE-A2CB-63102DE87051}"/>
              </c:ext>
            </c:extLst>
          </c:dPt>
          <c:dPt>
            <c:idx val="45"/>
            <c:invertIfNegative val="1"/>
            <c:bubble3D val="0"/>
            <c:spPr>
              <a:solidFill>
                <a:srgbClr val="7ECAC4"/>
              </a:solidFill>
            </c:spPr>
            <c:extLst>
              <c:ext xmlns:c16="http://schemas.microsoft.com/office/drawing/2014/chart" uri="{C3380CC4-5D6E-409C-BE32-E72D297353CC}">
                <c16:uniqueId val="{00000093-2993-41DE-A2CB-63102DE87051}"/>
              </c:ext>
            </c:extLst>
          </c:dPt>
          <c:dPt>
            <c:idx val="46"/>
            <c:invertIfNegative val="1"/>
            <c:bubble3D val="0"/>
            <c:spPr>
              <a:solidFill>
                <a:srgbClr val="7ECAC4"/>
              </a:solidFill>
            </c:spPr>
            <c:extLst>
              <c:ext xmlns:c16="http://schemas.microsoft.com/office/drawing/2014/chart" uri="{C3380CC4-5D6E-409C-BE32-E72D297353CC}">
                <c16:uniqueId val="{00000095-2993-41DE-A2CB-63102DE87051}"/>
              </c:ext>
            </c:extLst>
          </c:dPt>
          <c:dPt>
            <c:idx val="47"/>
            <c:invertIfNegative val="1"/>
            <c:bubble3D val="0"/>
            <c:spPr>
              <a:solidFill>
                <a:srgbClr val="7ECAC4"/>
              </a:solidFill>
            </c:spPr>
            <c:extLst>
              <c:ext xmlns:c16="http://schemas.microsoft.com/office/drawing/2014/chart" uri="{C3380CC4-5D6E-409C-BE32-E72D297353CC}">
                <c16:uniqueId val="{00000097-2993-41DE-A2CB-63102DE87051}"/>
              </c:ext>
            </c:extLst>
          </c:dPt>
          <c:dPt>
            <c:idx val="48"/>
            <c:invertIfNegative val="1"/>
            <c:bubble3D val="0"/>
            <c:spPr>
              <a:solidFill>
                <a:srgbClr val="7ECAC4"/>
              </a:solidFill>
            </c:spPr>
            <c:extLst>
              <c:ext xmlns:c16="http://schemas.microsoft.com/office/drawing/2014/chart" uri="{C3380CC4-5D6E-409C-BE32-E72D297353CC}">
                <c16:uniqueId val="{00000099-2993-41DE-A2CB-63102DE87051}"/>
              </c:ext>
            </c:extLst>
          </c:dPt>
          <c:dPt>
            <c:idx val="49"/>
            <c:invertIfNegative val="1"/>
            <c:bubble3D val="0"/>
            <c:spPr>
              <a:solidFill>
                <a:srgbClr val="7ECAC4"/>
              </a:solidFill>
            </c:spPr>
            <c:extLst>
              <c:ext xmlns:c16="http://schemas.microsoft.com/office/drawing/2014/chart" uri="{C3380CC4-5D6E-409C-BE32-E72D297353CC}">
                <c16:uniqueId val="{0000009B-2993-41DE-A2CB-63102DE87051}"/>
              </c:ext>
            </c:extLst>
          </c:dPt>
          <c:dPt>
            <c:idx val="50"/>
            <c:invertIfNegative val="1"/>
            <c:bubble3D val="0"/>
            <c:spPr>
              <a:solidFill>
                <a:srgbClr val="7ECAC4"/>
              </a:solidFill>
            </c:spPr>
            <c:extLst>
              <c:ext xmlns:c16="http://schemas.microsoft.com/office/drawing/2014/chart" uri="{C3380CC4-5D6E-409C-BE32-E72D297353CC}">
                <c16:uniqueId val="{0000009D-2993-41DE-A2CB-63102DE87051}"/>
              </c:ext>
            </c:extLst>
          </c:dPt>
          <c:dPt>
            <c:idx val="51"/>
            <c:invertIfNegative val="1"/>
            <c:bubble3D val="0"/>
            <c:spPr>
              <a:solidFill>
                <a:srgbClr val="7ECAC4"/>
              </a:solidFill>
            </c:spPr>
            <c:extLst>
              <c:ext xmlns:c16="http://schemas.microsoft.com/office/drawing/2014/chart" uri="{C3380CC4-5D6E-409C-BE32-E72D297353CC}">
                <c16:uniqueId val="{0000009F-2993-41DE-A2CB-63102DE87051}"/>
              </c:ext>
            </c:extLst>
          </c:dPt>
          <c:dPt>
            <c:idx val="52"/>
            <c:invertIfNegative val="1"/>
            <c:bubble3D val="0"/>
            <c:spPr>
              <a:solidFill>
                <a:srgbClr val="7ECAC4"/>
              </a:solidFill>
            </c:spPr>
            <c:extLst>
              <c:ext xmlns:c16="http://schemas.microsoft.com/office/drawing/2014/chart" uri="{C3380CC4-5D6E-409C-BE32-E72D297353CC}">
                <c16:uniqueId val="{000000A1-2993-41DE-A2CB-63102DE87051}"/>
              </c:ext>
            </c:extLst>
          </c:dPt>
          <c:dPt>
            <c:idx val="53"/>
            <c:invertIfNegative val="1"/>
            <c:bubble3D val="0"/>
            <c:spPr>
              <a:solidFill>
                <a:srgbClr val="7ECAC4"/>
              </a:solidFill>
            </c:spPr>
            <c:extLst>
              <c:ext xmlns:c16="http://schemas.microsoft.com/office/drawing/2014/chart" uri="{C3380CC4-5D6E-409C-BE32-E72D297353CC}">
                <c16:uniqueId val="{000000A3-2993-41DE-A2CB-63102DE87051}"/>
              </c:ext>
            </c:extLst>
          </c:dPt>
          <c:dPt>
            <c:idx val="54"/>
            <c:invertIfNegative val="0"/>
            <c:bubble3D val="0"/>
            <c:spPr>
              <a:solidFill>
                <a:srgbClr val="7ECAC4"/>
              </a:solidFill>
            </c:spPr>
            <c:extLst>
              <c:ext xmlns:c16="http://schemas.microsoft.com/office/drawing/2014/chart" uri="{C3380CC4-5D6E-409C-BE32-E72D297353CC}">
                <c16:uniqueId val="{00000072-C76F-4230-900D-40618C09729F}"/>
              </c:ext>
            </c:extLst>
          </c:dPt>
          <c:dPt>
            <c:idx val="55"/>
            <c:invertIfNegative val="0"/>
            <c:bubble3D val="0"/>
            <c:spPr>
              <a:solidFill>
                <a:srgbClr val="7ECAC4"/>
              </a:solidFill>
            </c:spPr>
            <c:extLst>
              <c:ext xmlns:c16="http://schemas.microsoft.com/office/drawing/2014/chart" uri="{C3380CC4-5D6E-409C-BE32-E72D297353CC}">
                <c16:uniqueId val="{00000074-C76F-4230-900D-40618C09729F}"/>
              </c:ext>
            </c:extLst>
          </c:dPt>
          <c:dPt>
            <c:idx val="56"/>
            <c:invertIfNegative val="0"/>
            <c:bubble3D val="0"/>
            <c:spPr>
              <a:solidFill>
                <a:srgbClr val="7ECAC4"/>
              </a:solidFill>
            </c:spPr>
            <c:extLst>
              <c:ext xmlns:c16="http://schemas.microsoft.com/office/drawing/2014/chart" uri="{C3380CC4-5D6E-409C-BE32-E72D297353CC}">
                <c16:uniqueId val="{00000076-C76F-4230-900D-40618C09729F}"/>
              </c:ext>
            </c:extLst>
          </c:dPt>
          <c:dPt>
            <c:idx val="57"/>
            <c:invertIfNegative val="0"/>
            <c:bubble3D val="0"/>
            <c:spPr>
              <a:solidFill>
                <a:srgbClr val="7ECAC4"/>
              </a:solidFill>
            </c:spPr>
            <c:extLst>
              <c:ext xmlns:c16="http://schemas.microsoft.com/office/drawing/2014/chart" uri="{C3380CC4-5D6E-409C-BE32-E72D297353CC}">
                <c16:uniqueId val="{00000078-C76F-4230-900D-40618C09729F}"/>
              </c:ext>
            </c:extLst>
          </c:dPt>
          <c:dPt>
            <c:idx val="58"/>
            <c:invertIfNegative val="0"/>
            <c:bubble3D val="0"/>
            <c:spPr>
              <a:solidFill>
                <a:srgbClr val="7ECAC4"/>
              </a:solidFill>
            </c:spPr>
            <c:extLst>
              <c:ext xmlns:c16="http://schemas.microsoft.com/office/drawing/2014/chart" uri="{C3380CC4-5D6E-409C-BE32-E72D297353CC}">
                <c16:uniqueId val="{0000007A-C76F-4230-900D-40618C09729F}"/>
              </c:ext>
            </c:extLst>
          </c:dPt>
          <c:dPt>
            <c:idx val="59"/>
            <c:invertIfNegative val="0"/>
            <c:bubble3D val="0"/>
            <c:spPr>
              <a:solidFill>
                <a:srgbClr val="7ECAC4"/>
              </a:solidFill>
            </c:spPr>
            <c:extLst>
              <c:ext xmlns:c16="http://schemas.microsoft.com/office/drawing/2014/chart" uri="{C3380CC4-5D6E-409C-BE32-E72D297353CC}">
                <c16:uniqueId val="{0000007C-C76F-4230-900D-40618C09729F}"/>
              </c:ext>
            </c:extLst>
          </c:dPt>
          <c:dPt>
            <c:idx val="60"/>
            <c:invertIfNegative val="0"/>
            <c:bubble3D val="0"/>
            <c:spPr>
              <a:solidFill>
                <a:srgbClr val="7ECAC4"/>
              </a:solidFill>
            </c:spPr>
            <c:extLst>
              <c:ext xmlns:c16="http://schemas.microsoft.com/office/drawing/2014/chart" uri="{C3380CC4-5D6E-409C-BE32-E72D297353CC}">
                <c16:uniqueId val="{0000007E-C76F-4230-900D-40618C09729F}"/>
              </c:ext>
            </c:extLst>
          </c:dPt>
          <c:dPt>
            <c:idx val="61"/>
            <c:invertIfNegative val="0"/>
            <c:bubble3D val="0"/>
            <c:spPr>
              <a:solidFill>
                <a:srgbClr val="7ECAC4"/>
              </a:solidFill>
            </c:spPr>
            <c:extLst>
              <c:ext xmlns:c16="http://schemas.microsoft.com/office/drawing/2014/chart" uri="{C3380CC4-5D6E-409C-BE32-E72D297353CC}">
                <c16:uniqueId val="{00000080-C76F-4230-900D-40618C09729F}"/>
              </c:ext>
            </c:extLst>
          </c:dPt>
          <c:dPt>
            <c:idx val="62"/>
            <c:invertIfNegative val="0"/>
            <c:bubble3D val="0"/>
            <c:spPr>
              <a:solidFill>
                <a:srgbClr val="7ECAC4"/>
              </a:solidFill>
            </c:spPr>
            <c:extLst>
              <c:ext xmlns:c16="http://schemas.microsoft.com/office/drawing/2014/chart" uri="{C3380CC4-5D6E-409C-BE32-E72D297353CC}">
                <c16:uniqueId val="{00000082-C76F-4230-900D-40618C09729F}"/>
              </c:ext>
            </c:extLst>
          </c:dPt>
          <c:dPt>
            <c:idx val="63"/>
            <c:invertIfNegative val="0"/>
            <c:bubble3D val="0"/>
            <c:spPr>
              <a:solidFill>
                <a:srgbClr val="7ECAC4"/>
              </a:solidFill>
            </c:spPr>
            <c:extLst>
              <c:ext xmlns:c16="http://schemas.microsoft.com/office/drawing/2014/chart" uri="{C3380CC4-5D6E-409C-BE32-E72D297353CC}">
                <c16:uniqueId val="{00000084-C76F-4230-900D-40618C09729F}"/>
              </c:ext>
            </c:extLst>
          </c:dPt>
          <c:dPt>
            <c:idx val="64"/>
            <c:invertIfNegative val="0"/>
            <c:bubble3D val="0"/>
            <c:spPr>
              <a:solidFill>
                <a:srgbClr val="7ECAC4"/>
              </a:solidFill>
            </c:spPr>
            <c:extLst>
              <c:ext xmlns:c16="http://schemas.microsoft.com/office/drawing/2014/chart" uri="{C3380CC4-5D6E-409C-BE32-E72D297353CC}">
                <c16:uniqueId val="{00000086-C76F-4230-900D-40618C09729F}"/>
              </c:ext>
            </c:extLst>
          </c:dPt>
          <c:dPt>
            <c:idx val="65"/>
            <c:invertIfNegative val="0"/>
            <c:bubble3D val="0"/>
            <c:spPr>
              <a:solidFill>
                <a:srgbClr val="7ECAC4"/>
              </a:solidFill>
            </c:spPr>
            <c:extLst>
              <c:ext xmlns:c16="http://schemas.microsoft.com/office/drawing/2014/chart" uri="{C3380CC4-5D6E-409C-BE32-E72D297353CC}">
                <c16:uniqueId val="{00000088-C76F-4230-900D-40618C09729F}"/>
              </c:ext>
            </c:extLst>
          </c:dPt>
          <c:dPt>
            <c:idx val="66"/>
            <c:invertIfNegative val="0"/>
            <c:bubble3D val="0"/>
            <c:spPr>
              <a:solidFill>
                <a:srgbClr val="7ECAC4"/>
              </a:solidFill>
            </c:spPr>
            <c:extLst>
              <c:ext xmlns:c16="http://schemas.microsoft.com/office/drawing/2014/chart" uri="{C3380CC4-5D6E-409C-BE32-E72D297353CC}">
                <c16:uniqueId val="{0000008A-C76F-4230-900D-40618C09729F}"/>
              </c:ext>
            </c:extLst>
          </c:dPt>
          <c:dPt>
            <c:idx val="67"/>
            <c:invertIfNegative val="0"/>
            <c:bubble3D val="0"/>
            <c:spPr>
              <a:solidFill>
                <a:srgbClr val="7ECAC4"/>
              </a:solidFill>
            </c:spPr>
            <c:extLst>
              <c:ext xmlns:c16="http://schemas.microsoft.com/office/drawing/2014/chart" uri="{C3380CC4-5D6E-409C-BE32-E72D297353CC}">
                <c16:uniqueId val="{0000008C-C76F-4230-900D-40618C09729F}"/>
              </c:ext>
            </c:extLst>
          </c:dPt>
          <c:dPt>
            <c:idx val="68"/>
            <c:invertIfNegative val="0"/>
            <c:bubble3D val="0"/>
            <c:spPr>
              <a:solidFill>
                <a:srgbClr val="7ECAC4"/>
              </a:solidFill>
            </c:spPr>
            <c:extLst>
              <c:ext xmlns:c16="http://schemas.microsoft.com/office/drawing/2014/chart" uri="{C3380CC4-5D6E-409C-BE32-E72D297353CC}">
                <c16:uniqueId val="{0000008E-C76F-4230-900D-40618C09729F}"/>
              </c:ext>
            </c:extLst>
          </c:dPt>
          <c:dPt>
            <c:idx val="69"/>
            <c:invertIfNegative val="0"/>
            <c:bubble3D val="0"/>
            <c:spPr>
              <a:solidFill>
                <a:srgbClr val="7ECAC4"/>
              </a:solidFill>
            </c:spPr>
            <c:extLst>
              <c:ext xmlns:c16="http://schemas.microsoft.com/office/drawing/2014/chart" uri="{C3380CC4-5D6E-409C-BE32-E72D297353CC}">
                <c16:uniqueId val="{00000090-C76F-4230-900D-40618C09729F}"/>
              </c:ext>
            </c:extLst>
          </c:dPt>
          <c:dPt>
            <c:idx val="70"/>
            <c:invertIfNegative val="0"/>
            <c:bubble3D val="0"/>
            <c:spPr>
              <a:solidFill>
                <a:srgbClr val="7ECAC4"/>
              </a:solidFill>
            </c:spPr>
            <c:extLst>
              <c:ext xmlns:c16="http://schemas.microsoft.com/office/drawing/2014/chart" uri="{C3380CC4-5D6E-409C-BE32-E72D297353CC}">
                <c16:uniqueId val="{00000092-C76F-4230-900D-40618C09729F}"/>
              </c:ext>
            </c:extLst>
          </c:dPt>
          <c:dPt>
            <c:idx val="71"/>
            <c:invertIfNegative val="0"/>
            <c:bubble3D val="0"/>
            <c:spPr>
              <a:solidFill>
                <a:srgbClr val="7ECAC4"/>
              </a:solidFill>
            </c:spPr>
            <c:extLst>
              <c:ext xmlns:c16="http://schemas.microsoft.com/office/drawing/2014/chart" uri="{C3380CC4-5D6E-409C-BE32-E72D297353CC}">
                <c16:uniqueId val="{00000094-C76F-4230-900D-40618C09729F}"/>
              </c:ext>
            </c:extLst>
          </c:dPt>
          <c:dPt>
            <c:idx val="72"/>
            <c:invertIfNegative val="0"/>
            <c:bubble3D val="0"/>
            <c:spPr>
              <a:solidFill>
                <a:srgbClr val="7ECAC4"/>
              </a:solidFill>
            </c:spPr>
            <c:extLst>
              <c:ext xmlns:c16="http://schemas.microsoft.com/office/drawing/2014/chart" uri="{C3380CC4-5D6E-409C-BE32-E72D297353CC}">
                <c16:uniqueId val="{00000096-C76F-4230-900D-40618C09729F}"/>
              </c:ext>
            </c:extLst>
          </c:dPt>
          <c:dPt>
            <c:idx val="73"/>
            <c:invertIfNegative val="0"/>
            <c:bubble3D val="0"/>
            <c:spPr>
              <a:solidFill>
                <a:srgbClr val="7ECAC4"/>
              </a:solidFill>
            </c:spPr>
            <c:extLst>
              <c:ext xmlns:c16="http://schemas.microsoft.com/office/drawing/2014/chart" uri="{C3380CC4-5D6E-409C-BE32-E72D297353CC}">
                <c16:uniqueId val="{00000098-C76F-4230-900D-40618C09729F}"/>
              </c:ext>
            </c:extLst>
          </c:dPt>
          <c:dPt>
            <c:idx val="74"/>
            <c:invertIfNegative val="0"/>
            <c:bubble3D val="0"/>
            <c:spPr>
              <a:solidFill>
                <a:srgbClr val="7ECAC4"/>
              </a:solidFill>
            </c:spPr>
            <c:extLst>
              <c:ext xmlns:c16="http://schemas.microsoft.com/office/drawing/2014/chart" uri="{C3380CC4-5D6E-409C-BE32-E72D297353CC}">
                <c16:uniqueId val="{0000009A-C76F-4230-900D-40618C09729F}"/>
              </c:ext>
            </c:extLst>
          </c:dPt>
          <c:dPt>
            <c:idx val="75"/>
            <c:invertIfNegative val="0"/>
            <c:bubble3D val="0"/>
            <c:spPr>
              <a:solidFill>
                <a:srgbClr val="7ECAC4"/>
              </a:solidFill>
            </c:spPr>
            <c:extLst>
              <c:ext xmlns:c16="http://schemas.microsoft.com/office/drawing/2014/chart" uri="{C3380CC4-5D6E-409C-BE32-E72D297353CC}">
                <c16:uniqueId val="{0000009C-C76F-4230-900D-40618C09729F}"/>
              </c:ext>
            </c:extLst>
          </c:dPt>
          <c:dPt>
            <c:idx val="76"/>
            <c:invertIfNegative val="0"/>
            <c:bubble3D val="0"/>
            <c:spPr>
              <a:solidFill>
                <a:srgbClr val="7ECAC4"/>
              </a:solidFill>
            </c:spPr>
            <c:extLst>
              <c:ext xmlns:c16="http://schemas.microsoft.com/office/drawing/2014/chart" uri="{C3380CC4-5D6E-409C-BE32-E72D297353CC}">
                <c16:uniqueId val="{0000009E-C76F-4230-900D-40618C09729F}"/>
              </c:ext>
            </c:extLst>
          </c:dPt>
          <c:dPt>
            <c:idx val="77"/>
            <c:invertIfNegative val="0"/>
            <c:bubble3D val="0"/>
            <c:spPr>
              <a:solidFill>
                <a:srgbClr val="7ECAC4"/>
              </a:solidFill>
            </c:spPr>
            <c:extLst>
              <c:ext xmlns:c16="http://schemas.microsoft.com/office/drawing/2014/chart" uri="{C3380CC4-5D6E-409C-BE32-E72D297353CC}">
                <c16:uniqueId val="{000000A0-C76F-4230-900D-40618C09729F}"/>
              </c:ext>
            </c:extLst>
          </c:dPt>
          <c:dPt>
            <c:idx val="78"/>
            <c:invertIfNegative val="0"/>
            <c:bubble3D val="0"/>
            <c:spPr>
              <a:solidFill>
                <a:srgbClr val="AEABAB"/>
              </a:solidFill>
            </c:spPr>
            <c:extLst>
              <c:ext xmlns:c16="http://schemas.microsoft.com/office/drawing/2014/chart" uri="{C3380CC4-5D6E-409C-BE32-E72D297353CC}">
                <c16:uniqueId val="{000000A2-C76F-4230-900D-40618C09729F}"/>
              </c:ext>
            </c:extLst>
          </c:dPt>
          <c:dPt>
            <c:idx val="79"/>
            <c:invertIfNegative val="0"/>
            <c:bubble3D val="0"/>
            <c:spPr>
              <a:solidFill>
                <a:srgbClr val="AEABAB"/>
              </a:solidFill>
            </c:spPr>
            <c:extLst>
              <c:ext xmlns:c16="http://schemas.microsoft.com/office/drawing/2014/chart" uri="{C3380CC4-5D6E-409C-BE32-E72D297353CC}">
                <c16:uniqueId val="{000000A4-C76F-4230-900D-40618C09729F}"/>
              </c:ext>
            </c:extLst>
          </c:dPt>
          <c:dPt>
            <c:idx val="80"/>
            <c:invertIfNegative val="0"/>
            <c:bubble3D val="0"/>
            <c:spPr>
              <a:solidFill>
                <a:srgbClr val="AEABAB"/>
              </a:solidFill>
            </c:spPr>
            <c:extLst>
              <c:ext xmlns:c16="http://schemas.microsoft.com/office/drawing/2014/chart" uri="{C3380CC4-5D6E-409C-BE32-E72D297353CC}">
                <c16:uniqueId val="{000000A6-C76F-4230-900D-40618C09729F}"/>
              </c:ext>
            </c:extLst>
          </c:dPt>
          <c:dPt>
            <c:idx val="81"/>
            <c:invertIfNegative val="1"/>
            <c:bubble3D val="0"/>
            <c:spPr>
              <a:solidFill>
                <a:srgbClr val="AEABAB"/>
              </a:solidFill>
            </c:spPr>
            <c:extLst>
              <c:ext xmlns:c16="http://schemas.microsoft.com/office/drawing/2014/chart" uri="{C3380CC4-5D6E-409C-BE32-E72D297353CC}">
                <c16:uniqueId val="{000000A5-2993-41DE-A2CB-63102DE87051}"/>
              </c:ext>
            </c:extLst>
          </c:dPt>
          <c:dPt>
            <c:idx val="82"/>
            <c:invertIfNegative val="1"/>
            <c:bubble3D val="0"/>
            <c:spPr>
              <a:solidFill>
                <a:srgbClr val="AEABAB"/>
              </a:solidFill>
            </c:spPr>
            <c:extLst>
              <c:ext xmlns:c16="http://schemas.microsoft.com/office/drawing/2014/chart" uri="{C3380CC4-5D6E-409C-BE32-E72D297353CC}">
                <c16:uniqueId val="{000000A7-2993-41DE-A2CB-63102DE87051}"/>
              </c:ext>
            </c:extLst>
          </c:dPt>
          <c:dPt>
            <c:idx val="83"/>
            <c:invertIfNegative val="1"/>
            <c:bubble3D val="0"/>
            <c:spPr>
              <a:solidFill>
                <a:srgbClr val="AEABAB"/>
              </a:solidFill>
            </c:spPr>
            <c:extLst>
              <c:ext xmlns:c16="http://schemas.microsoft.com/office/drawing/2014/chart" uri="{C3380CC4-5D6E-409C-BE32-E72D297353CC}">
                <c16:uniqueId val="{000000A9-2993-41DE-A2CB-63102DE87051}"/>
              </c:ext>
            </c:extLst>
          </c:dPt>
          <c:dPt>
            <c:idx val="84"/>
            <c:invertIfNegative val="1"/>
            <c:bubble3D val="0"/>
            <c:spPr>
              <a:solidFill>
                <a:srgbClr val="AEABAB"/>
              </a:solidFill>
            </c:spPr>
            <c:extLst>
              <c:ext xmlns:c16="http://schemas.microsoft.com/office/drawing/2014/chart" uri="{C3380CC4-5D6E-409C-BE32-E72D297353CC}">
                <c16:uniqueId val="{000000AB-2993-41DE-A2CB-63102DE87051}"/>
              </c:ext>
            </c:extLst>
          </c:dPt>
          <c:dPt>
            <c:idx val="85"/>
            <c:invertIfNegative val="1"/>
            <c:bubble3D val="0"/>
            <c:spPr>
              <a:solidFill>
                <a:srgbClr val="AEABAB"/>
              </a:solidFill>
            </c:spPr>
            <c:extLst>
              <c:ext xmlns:c16="http://schemas.microsoft.com/office/drawing/2014/chart" uri="{C3380CC4-5D6E-409C-BE32-E72D297353CC}">
                <c16:uniqueId val="{000000AD-2993-41DE-A2CB-63102DE87051}"/>
              </c:ext>
            </c:extLst>
          </c:dPt>
          <c:dPt>
            <c:idx val="86"/>
            <c:invertIfNegative val="1"/>
            <c:bubble3D val="0"/>
            <c:spPr>
              <a:solidFill>
                <a:srgbClr val="AEABAB"/>
              </a:solidFill>
            </c:spPr>
            <c:extLst>
              <c:ext xmlns:c16="http://schemas.microsoft.com/office/drawing/2014/chart" uri="{C3380CC4-5D6E-409C-BE32-E72D297353CC}">
                <c16:uniqueId val="{000000AF-2993-41DE-A2CB-63102DE87051}"/>
              </c:ext>
            </c:extLst>
          </c:dPt>
          <c:dPt>
            <c:idx val="87"/>
            <c:invertIfNegative val="1"/>
            <c:bubble3D val="0"/>
            <c:spPr>
              <a:solidFill>
                <a:srgbClr val="AEABAB"/>
              </a:solidFill>
            </c:spPr>
            <c:extLst>
              <c:ext xmlns:c16="http://schemas.microsoft.com/office/drawing/2014/chart" uri="{C3380CC4-5D6E-409C-BE32-E72D297353CC}">
                <c16:uniqueId val="{000000B1-2993-41DE-A2CB-63102DE87051}"/>
              </c:ext>
            </c:extLst>
          </c:dPt>
          <c:dPt>
            <c:idx val="88"/>
            <c:invertIfNegative val="1"/>
            <c:bubble3D val="0"/>
            <c:spPr>
              <a:solidFill>
                <a:srgbClr val="AEABAB"/>
              </a:solidFill>
            </c:spPr>
            <c:extLst>
              <c:ext xmlns:c16="http://schemas.microsoft.com/office/drawing/2014/chart" uri="{C3380CC4-5D6E-409C-BE32-E72D297353CC}">
                <c16:uniqueId val="{000000B3-2993-41DE-A2CB-63102DE87051}"/>
              </c:ext>
            </c:extLst>
          </c:dPt>
          <c:dPt>
            <c:idx val="89"/>
            <c:invertIfNegative val="1"/>
            <c:bubble3D val="0"/>
            <c:spPr>
              <a:solidFill>
                <a:srgbClr val="AEABAB"/>
              </a:solidFill>
            </c:spPr>
            <c:extLst>
              <c:ext xmlns:c16="http://schemas.microsoft.com/office/drawing/2014/chart" uri="{C3380CC4-5D6E-409C-BE32-E72D297353CC}">
                <c16:uniqueId val="{000000B5-2993-41DE-A2CB-63102DE87051}"/>
              </c:ext>
            </c:extLst>
          </c:dPt>
          <c:dPt>
            <c:idx val="90"/>
            <c:invertIfNegative val="1"/>
            <c:bubble3D val="0"/>
            <c:spPr>
              <a:solidFill>
                <a:srgbClr val="AEABAB"/>
              </a:solidFill>
            </c:spPr>
            <c:extLst>
              <c:ext xmlns:c16="http://schemas.microsoft.com/office/drawing/2014/chart" uri="{C3380CC4-5D6E-409C-BE32-E72D297353CC}">
                <c16:uniqueId val="{000000B7-2993-41DE-A2CB-63102DE87051}"/>
              </c:ext>
            </c:extLst>
          </c:dPt>
          <c:dPt>
            <c:idx val="91"/>
            <c:invertIfNegative val="1"/>
            <c:bubble3D val="0"/>
            <c:spPr>
              <a:solidFill>
                <a:srgbClr val="AEABAB"/>
              </a:solidFill>
            </c:spPr>
            <c:extLst>
              <c:ext xmlns:c16="http://schemas.microsoft.com/office/drawing/2014/chart" uri="{C3380CC4-5D6E-409C-BE32-E72D297353CC}">
                <c16:uniqueId val="{000000B9-2993-41DE-A2CB-63102DE87051}"/>
              </c:ext>
            </c:extLst>
          </c:dPt>
          <c:dPt>
            <c:idx val="92"/>
            <c:invertIfNegative val="1"/>
            <c:bubble3D val="0"/>
            <c:spPr>
              <a:solidFill>
                <a:srgbClr val="AEABAB"/>
              </a:solidFill>
            </c:spPr>
            <c:extLst>
              <c:ext xmlns:c16="http://schemas.microsoft.com/office/drawing/2014/chart" uri="{C3380CC4-5D6E-409C-BE32-E72D297353CC}">
                <c16:uniqueId val="{000000BB-2993-41DE-A2CB-63102DE87051}"/>
              </c:ext>
            </c:extLst>
          </c:dPt>
          <c:dPt>
            <c:idx val="93"/>
            <c:invertIfNegative val="1"/>
            <c:bubble3D val="0"/>
            <c:spPr>
              <a:solidFill>
                <a:srgbClr val="AEABAB"/>
              </a:solidFill>
            </c:spPr>
            <c:extLst>
              <c:ext xmlns:c16="http://schemas.microsoft.com/office/drawing/2014/chart" uri="{C3380CC4-5D6E-409C-BE32-E72D297353CC}">
                <c16:uniqueId val="{000000BD-2993-41DE-A2CB-63102DE87051}"/>
              </c:ext>
            </c:extLst>
          </c:dPt>
          <c:dPt>
            <c:idx val="94"/>
            <c:invertIfNegative val="1"/>
            <c:bubble3D val="0"/>
            <c:spPr>
              <a:solidFill>
                <a:srgbClr val="AEABAB"/>
              </a:solidFill>
            </c:spPr>
            <c:extLst>
              <c:ext xmlns:c16="http://schemas.microsoft.com/office/drawing/2014/chart" uri="{C3380CC4-5D6E-409C-BE32-E72D297353CC}">
                <c16:uniqueId val="{000000BF-2993-41DE-A2CB-63102DE87051}"/>
              </c:ext>
            </c:extLst>
          </c:dPt>
          <c:dPt>
            <c:idx val="95"/>
            <c:invertIfNegative val="1"/>
            <c:bubble3D val="0"/>
            <c:spPr>
              <a:solidFill>
                <a:srgbClr val="AEABAB"/>
              </a:solidFill>
            </c:spPr>
            <c:extLst>
              <c:ext xmlns:c16="http://schemas.microsoft.com/office/drawing/2014/chart" uri="{C3380CC4-5D6E-409C-BE32-E72D297353CC}">
                <c16:uniqueId val="{000000C1-2993-41DE-A2CB-63102DE87051}"/>
              </c:ext>
            </c:extLst>
          </c:dPt>
          <c:dPt>
            <c:idx val="96"/>
            <c:invertIfNegative val="1"/>
            <c:bubble3D val="0"/>
            <c:spPr>
              <a:solidFill>
                <a:srgbClr val="AEABAB"/>
              </a:solidFill>
            </c:spPr>
            <c:extLst>
              <c:ext xmlns:c16="http://schemas.microsoft.com/office/drawing/2014/chart" uri="{C3380CC4-5D6E-409C-BE32-E72D297353CC}">
                <c16:uniqueId val="{000000C3-2993-41DE-A2CB-63102DE87051}"/>
              </c:ext>
            </c:extLst>
          </c:dPt>
          <c:dPt>
            <c:idx val="97"/>
            <c:invertIfNegative val="1"/>
            <c:bubble3D val="0"/>
            <c:spPr>
              <a:solidFill>
                <a:srgbClr val="AEABAB"/>
              </a:solidFill>
            </c:spPr>
            <c:extLst>
              <c:ext xmlns:c16="http://schemas.microsoft.com/office/drawing/2014/chart" uri="{C3380CC4-5D6E-409C-BE32-E72D297353CC}">
                <c16:uniqueId val="{000000C5-2993-41DE-A2CB-63102DE87051}"/>
              </c:ext>
            </c:extLst>
          </c:dPt>
          <c:dPt>
            <c:idx val="98"/>
            <c:invertIfNegative val="1"/>
            <c:bubble3D val="0"/>
            <c:spPr>
              <a:solidFill>
                <a:srgbClr val="AEABAB"/>
              </a:solidFill>
            </c:spPr>
            <c:extLst>
              <c:ext xmlns:c16="http://schemas.microsoft.com/office/drawing/2014/chart" uri="{C3380CC4-5D6E-409C-BE32-E72D297353CC}">
                <c16:uniqueId val="{000000C7-2993-41DE-A2CB-63102DE87051}"/>
              </c:ext>
            </c:extLst>
          </c:dPt>
          <c:dPt>
            <c:idx val="99"/>
            <c:invertIfNegative val="1"/>
            <c:bubble3D val="0"/>
            <c:spPr>
              <a:solidFill>
                <a:srgbClr val="AEABAB"/>
              </a:solidFill>
            </c:spPr>
            <c:extLst>
              <c:ext xmlns:c16="http://schemas.microsoft.com/office/drawing/2014/chart" uri="{C3380CC4-5D6E-409C-BE32-E72D297353CC}">
                <c16:uniqueId val="{000000C9-2993-41DE-A2CB-63102DE87051}"/>
              </c:ext>
            </c:extLst>
          </c:dPt>
          <c:dPt>
            <c:idx val="100"/>
            <c:invertIfNegative val="1"/>
            <c:bubble3D val="0"/>
            <c:spPr>
              <a:solidFill>
                <a:srgbClr val="AEABAB"/>
              </a:solidFill>
            </c:spPr>
            <c:extLst>
              <c:ext xmlns:c16="http://schemas.microsoft.com/office/drawing/2014/chart" uri="{C3380CC4-5D6E-409C-BE32-E72D297353CC}">
                <c16:uniqueId val="{000000CB-2993-41DE-A2CB-63102DE87051}"/>
              </c:ext>
            </c:extLst>
          </c:dPt>
          <c:dPt>
            <c:idx val="101"/>
            <c:invertIfNegative val="1"/>
            <c:bubble3D val="0"/>
            <c:spPr>
              <a:solidFill>
                <a:srgbClr val="AEABAB"/>
              </a:solidFill>
            </c:spPr>
            <c:extLst>
              <c:ext xmlns:c16="http://schemas.microsoft.com/office/drawing/2014/chart" uri="{C3380CC4-5D6E-409C-BE32-E72D297353CC}">
                <c16:uniqueId val="{000000CD-2993-41DE-A2CB-63102DE87051}"/>
              </c:ext>
            </c:extLst>
          </c:dPt>
          <c:dPt>
            <c:idx val="102"/>
            <c:invertIfNegative val="1"/>
            <c:bubble3D val="0"/>
            <c:spPr>
              <a:solidFill>
                <a:srgbClr val="AEABAB"/>
              </a:solidFill>
            </c:spPr>
            <c:extLst>
              <c:ext xmlns:c16="http://schemas.microsoft.com/office/drawing/2014/chart" uri="{C3380CC4-5D6E-409C-BE32-E72D297353CC}">
                <c16:uniqueId val="{000000CF-2993-41DE-A2CB-63102DE87051}"/>
              </c:ext>
            </c:extLst>
          </c:dPt>
          <c:dPt>
            <c:idx val="103"/>
            <c:invertIfNegative val="1"/>
            <c:bubble3D val="0"/>
            <c:spPr>
              <a:solidFill>
                <a:srgbClr val="AEABAB"/>
              </a:solidFill>
            </c:spPr>
            <c:extLst>
              <c:ext xmlns:c16="http://schemas.microsoft.com/office/drawing/2014/chart" uri="{C3380CC4-5D6E-409C-BE32-E72D297353CC}">
                <c16:uniqueId val="{000000D1-2993-41DE-A2CB-63102DE87051}"/>
              </c:ext>
            </c:extLst>
          </c:dPt>
          <c:dPt>
            <c:idx val="104"/>
            <c:invertIfNegative val="1"/>
            <c:bubble3D val="0"/>
            <c:spPr>
              <a:solidFill>
                <a:srgbClr val="AEABAB"/>
              </a:solidFill>
            </c:spPr>
            <c:extLst>
              <c:ext xmlns:c16="http://schemas.microsoft.com/office/drawing/2014/chart" uri="{C3380CC4-5D6E-409C-BE32-E72D297353CC}">
                <c16:uniqueId val="{000000D3-2993-41DE-A2CB-63102DE87051}"/>
              </c:ext>
            </c:extLst>
          </c:dPt>
          <c:dPt>
            <c:idx val="105"/>
            <c:invertIfNegative val="1"/>
            <c:bubble3D val="0"/>
            <c:spPr>
              <a:solidFill>
                <a:srgbClr val="AEABAB"/>
              </a:solidFill>
            </c:spPr>
            <c:extLst>
              <c:ext xmlns:c16="http://schemas.microsoft.com/office/drawing/2014/chart" uri="{C3380CC4-5D6E-409C-BE32-E72D297353CC}">
                <c16:uniqueId val="{000000D5-2993-41DE-A2CB-63102DE87051}"/>
              </c:ext>
            </c:extLst>
          </c:dPt>
          <c:dPt>
            <c:idx val="106"/>
            <c:invertIfNegative val="1"/>
            <c:bubble3D val="0"/>
            <c:spPr>
              <a:solidFill>
                <a:srgbClr val="AEABAB"/>
              </a:solidFill>
            </c:spPr>
            <c:extLst>
              <c:ext xmlns:c16="http://schemas.microsoft.com/office/drawing/2014/chart" uri="{C3380CC4-5D6E-409C-BE32-E72D297353CC}">
                <c16:uniqueId val="{000000D7-2993-41DE-A2CB-63102DE87051}"/>
              </c:ext>
            </c:extLst>
          </c:dPt>
          <c:dPt>
            <c:idx val="107"/>
            <c:invertIfNegative val="1"/>
            <c:bubble3D val="0"/>
            <c:spPr>
              <a:solidFill>
                <a:srgbClr val="AEABAB"/>
              </a:solidFill>
            </c:spPr>
            <c:extLst>
              <c:ext xmlns:c16="http://schemas.microsoft.com/office/drawing/2014/chart" uri="{C3380CC4-5D6E-409C-BE32-E72D297353CC}">
                <c16:uniqueId val="{000000D9-2993-41DE-A2CB-63102DE87051}"/>
              </c:ext>
            </c:extLst>
          </c:dPt>
          <c:dPt>
            <c:idx val="108"/>
            <c:invertIfNegative val="1"/>
            <c:bubble3D val="0"/>
            <c:spPr>
              <a:solidFill>
                <a:srgbClr val="AEABAB"/>
              </a:solidFill>
            </c:spPr>
            <c:extLst>
              <c:ext xmlns:c16="http://schemas.microsoft.com/office/drawing/2014/chart" uri="{C3380CC4-5D6E-409C-BE32-E72D297353CC}">
                <c16:uniqueId val="{000000DB-2993-41DE-A2CB-63102DE87051}"/>
              </c:ext>
            </c:extLst>
          </c:dPt>
          <c:dPt>
            <c:idx val="109"/>
            <c:invertIfNegative val="1"/>
            <c:bubble3D val="0"/>
            <c:spPr>
              <a:solidFill>
                <a:srgbClr val="AEABAB"/>
              </a:solidFill>
            </c:spPr>
            <c:extLst>
              <c:ext xmlns:c16="http://schemas.microsoft.com/office/drawing/2014/chart" uri="{C3380CC4-5D6E-409C-BE32-E72D297353CC}">
                <c16:uniqueId val="{000000DD-2993-41DE-A2CB-63102DE87051}"/>
              </c:ext>
            </c:extLst>
          </c:dPt>
          <c:dPt>
            <c:idx val="110"/>
            <c:invertIfNegative val="1"/>
            <c:bubble3D val="0"/>
            <c:spPr>
              <a:solidFill>
                <a:srgbClr val="AEABAB"/>
              </a:solidFill>
            </c:spPr>
            <c:extLst>
              <c:ext xmlns:c16="http://schemas.microsoft.com/office/drawing/2014/chart" uri="{C3380CC4-5D6E-409C-BE32-E72D297353CC}">
                <c16:uniqueId val="{000000DF-2993-41DE-A2CB-63102DE87051}"/>
              </c:ext>
            </c:extLst>
          </c:dPt>
          <c:dPt>
            <c:idx val="111"/>
            <c:invertIfNegative val="1"/>
            <c:bubble3D val="0"/>
            <c:spPr>
              <a:solidFill>
                <a:srgbClr val="AEABAB"/>
              </a:solidFill>
            </c:spPr>
            <c:extLst>
              <c:ext xmlns:c16="http://schemas.microsoft.com/office/drawing/2014/chart" uri="{C3380CC4-5D6E-409C-BE32-E72D297353CC}">
                <c16:uniqueId val="{000000E1-2993-41DE-A2CB-63102DE87051}"/>
              </c:ext>
            </c:extLst>
          </c:dPt>
          <c:dPt>
            <c:idx val="112"/>
            <c:invertIfNegative val="1"/>
            <c:bubble3D val="0"/>
            <c:spPr>
              <a:solidFill>
                <a:srgbClr val="AEABAB"/>
              </a:solidFill>
            </c:spPr>
            <c:extLst>
              <c:ext xmlns:c16="http://schemas.microsoft.com/office/drawing/2014/chart" uri="{C3380CC4-5D6E-409C-BE32-E72D297353CC}">
                <c16:uniqueId val="{000000E3-2993-41DE-A2CB-63102DE87051}"/>
              </c:ext>
            </c:extLst>
          </c:dPt>
          <c:dPt>
            <c:idx val="113"/>
            <c:invertIfNegative val="1"/>
            <c:bubble3D val="0"/>
            <c:spPr>
              <a:solidFill>
                <a:srgbClr val="AEABAB"/>
              </a:solidFill>
            </c:spPr>
            <c:extLst>
              <c:ext xmlns:c16="http://schemas.microsoft.com/office/drawing/2014/chart" uri="{C3380CC4-5D6E-409C-BE32-E72D297353CC}">
                <c16:uniqueId val="{000000E5-2993-41DE-A2CB-63102DE87051}"/>
              </c:ext>
            </c:extLst>
          </c:dPt>
          <c:dPt>
            <c:idx val="114"/>
            <c:invertIfNegative val="1"/>
            <c:bubble3D val="0"/>
            <c:spPr>
              <a:solidFill>
                <a:srgbClr val="AEABAB"/>
              </a:solidFill>
            </c:spPr>
            <c:extLst>
              <c:ext xmlns:c16="http://schemas.microsoft.com/office/drawing/2014/chart" uri="{C3380CC4-5D6E-409C-BE32-E72D297353CC}">
                <c16:uniqueId val="{000000E7-2993-41DE-A2CB-63102DE87051}"/>
              </c:ext>
            </c:extLst>
          </c:dPt>
          <c:dPt>
            <c:idx val="115"/>
            <c:invertIfNegative val="1"/>
            <c:bubble3D val="0"/>
            <c:spPr>
              <a:solidFill>
                <a:srgbClr val="AEABAB"/>
              </a:solidFill>
            </c:spPr>
            <c:extLst>
              <c:ext xmlns:c16="http://schemas.microsoft.com/office/drawing/2014/chart" uri="{C3380CC4-5D6E-409C-BE32-E72D297353CC}">
                <c16:uniqueId val="{000000E9-2993-41DE-A2CB-63102DE87051}"/>
              </c:ext>
            </c:extLst>
          </c:dPt>
          <c:dPt>
            <c:idx val="116"/>
            <c:invertIfNegative val="1"/>
            <c:bubble3D val="0"/>
            <c:spPr>
              <a:solidFill>
                <a:srgbClr val="AEABAB"/>
              </a:solidFill>
            </c:spPr>
            <c:extLst>
              <c:ext xmlns:c16="http://schemas.microsoft.com/office/drawing/2014/chart" uri="{C3380CC4-5D6E-409C-BE32-E72D297353CC}">
                <c16:uniqueId val="{000000EB-2993-41DE-A2CB-63102DE87051}"/>
              </c:ext>
            </c:extLst>
          </c:dPt>
          <c:dPt>
            <c:idx val="117"/>
            <c:invertIfNegative val="1"/>
            <c:bubble3D val="0"/>
            <c:spPr>
              <a:solidFill>
                <a:srgbClr val="AEABAB"/>
              </a:solidFill>
            </c:spPr>
            <c:extLst>
              <c:ext xmlns:c16="http://schemas.microsoft.com/office/drawing/2014/chart" uri="{C3380CC4-5D6E-409C-BE32-E72D297353CC}">
                <c16:uniqueId val="{000000ED-2993-41DE-A2CB-63102DE87051}"/>
              </c:ext>
            </c:extLst>
          </c:dPt>
          <c:dPt>
            <c:idx val="118"/>
            <c:invertIfNegative val="1"/>
            <c:bubble3D val="0"/>
            <c:spPr>
              <a:solidFill>
                <a:srgbClr val="AEABAB"/>
              </a:solidFill>
            </c:spPr>
            <c:extLst>
              <c:ext xmlns:c16="http://schemas.microsoft.com/office/drawing/2014/chart" uri="{C3380CC4-5D6E-409C-BE32-E72D297353CC}">
                <c16:uniqueId val="{000000EF-2993-41DE-A2CB-63102DE87051}"/>
              </c:ext>
            </c:extLst>
          </c:dPt>
          <c:dPt>
            <c:idx val="119"/>
            <c:invertIfNegative val="1"/>
            <c:bubble3D val="0"/>
            <c:spPr>
              <a:solidFill>
                <a:srgbClr val="AEABAB"/>
              </a:solidFill>
            </c:spPr>
            <c:extLst>
              <c:ext xmlns:c16="http://schemas.microsoft.com/office/drawing/2014/chart" uri="{C3380CC4-5D6E-409C-BE32-E72D297353CC}">
                <c16:uniqueId val="{000000F1-2993-41DE-A2CB-63102DE87051}"/>
              </c:ext>
            </c:extLst>
          </c:dPt>
          <c:dPt>
            <c:idx val="120"/>
            <c:invertIfNegative val="1"/>
            <c:bubble3D val="0"/>
            <c:spPr>
              <a:solidFill>
                <a:srgbClr val="AEABAB"/>
              </a:solidFill>
            </c:spPr>
            <c:extLst>
              <c:ext xmlns:c16="http://schemas.microsoft.com/office/drawing/2014/chart" uri="{C3380CC4-5D6E-409C-BE32-E72D297353CC}">
                <c16:uniqueId val="{000000F3-2993-41DE-A2CB-63102DE87051}"/>
              </c:ext>
            </c:extLst>
          </c:dPt>
          <c:dPt>
            <c:idx val="121"/>
            <c:invertIfNegative val="1"/>
            <c:bubble3D val="0"/>
            <c:spPr>
              <a:solidFill>
                <a:srgbClr val="AEABAB"/>
              </a:solidFill>
            </c:spPr>
            <c:extLst>
              <c:ext xmlns:c16="http://schemas.microsoft.com/office/drawing/2014/chart" uri="{C3380CC4-5D6E-409C-BE32-E72D297353CC}">
                <c16:uniqueId val="{000000F5-2993-41DE-A2CB-63102DE87051}"/>
              </c:ext>
            </c:extLst>
          </c:dPt>
          <c:dPt>
            <c:idx val="122"/>
            <c:invertIfNegative val="1"/>
            <c:bubble3D val="0"/>
            <c:spPr>
              <a:solidFill>
                <a:srgbClr val="AEABAB"/>
              </a:solidFill>
            </c:spPr>
            <c:extLst>
              <c:ext xmlns:c16="http://schemas.microsoft.com/office/drawing/2014/chart" uri="{C3380CC4-5D6E-409C-BE32-E72D297353CC}">
                <c16:uniqueId val="{000000F7-2993-41DE-A2CB-63102DE87051}"/>
              </c:ext>
            </c:extLst>
          </c:dPt>
          <c:dPt>
            <c:idx val="123"/>
            <c:invertIfNegative val="1"/>
            <c:bubble3D val="0"/>
            <c:spPr>
              <a:solidFill>
                <a:srgbClr val="AEABAB"/>
              </a:solidFill>
            </c:spPr>
            <c:extLst>
              <c:ext xmlns:c16="http://schemas.microsoft.com/office/drawing/2014/chart" uri="{C3380CC4-5D6E-409C-BE32-E72D297353CC}">
                <c16:uniqueId val="{000000F9-2993-41DE-A2CB-63102DE87051}"/>
              </c:ext>
            </c:extLst>
          </c:dPt>
          <c:dPt>
            <c:idx val="124"/>
            <c:invertIfNegative val="1"/>
            <c:bubble3D val="0"/>
            <c:spPr>
              <a:solidFill>
                <a:srgbClr val="AEABAB"/>
              </a:solidFill>
            </c:spPr>
            <c:extLst>
              <c:ext xmlns:c16="http://schemas.microsoft.com/office/drawing/2014/chart" uri="{C3380CC4-5D6E-409C-BE32-E72D297353CC}">
                <c16:uniqueId val="{000000FB-2993-41DE-A2CB-63102DE87051}"/>
              </c:ext>
            </c:extLst>
          </c:dPt>
          <c:dPt>
            <c:idx val="125"/>
            <c:invertIfNegative val="1"/>
            <c:bubble3D val="0"/>
            <c:spPr>
              <a:solidFill>
                <a:srgbClr val="AEABAB"/>
              </a:solidFill>
            </c:spPr>
            <c:extLst>
              <c:ext xmlns:c16="http://schemas.microsoft.com/office/drawing/2014/chart" uri="{C3380CC4-5D6E-409C-BE32-E72D297353CC}">
                <c16:uniqueId val="{000000FD-2993-41DE-A2CB-63102DE87051}"/>
              </c:ext>
            </c:extLst>
          </c:dPt>
          <c:dPt>
            <c:idx val="126"/>
            <c:invertIfNegative val="1"/>
            <c:bubble3D val="0"/>
            <c:spPr>
              <a:solidFill>
                <a:srgbClr val="AEABAB"/>
              </a:solidFill>
            </c:spPr>
            <c:extLst>
              <c:ext xmlns:c16="http://schemas.microsoft.com/office/drawing/2014/chart" uri="{C3380CC4-5D6E-409C-BE32-E72D297353CC}">
                <c16:uniqueId val="{000000FF-2993-41DE-A2CB-63102DE87051}"/>
              </c:ext>
            </c:extLst>
          </c:dPt>
          <c:dPt>
            <c:idx val="127"/>
            <c:invertIfNegative val="1"/>
            <c:bubble3D val="0"/>
            <c:spPr>
              <a:solidFill>
                <a:srgbClr val="AEABAB"/>
              </a:solidFill>
            </c:spPr>
            <c:extLst>
              <c:ext xmlns:c16="http://schemas.microsoft.com/office/drawing/2014/chart" uri="{C3380CC4-5D6E-409C-BE32-E72D297353CC}">
                <c16:uniqueId val="{00000101-2993-41DE-A2CB-63102DE87051}"/>
              </c:ext>
            </c:extLst>
          </c:dPt>
          <c:dPt>
            <c:idx val="128"/>
            <c:invertIfNegative val="1"/>
            <c:bubble3D val="0"/>
            <c:spPr>
              <a:solidFill>
                <a:srgbClr val="AEABAB"/>
              </a:solidFill>
            </c:spPr>
            <c:extLst>
              <c:ext xmlns:c16="http://schemas.microsoft.com/office/drawing/2014/chart" uri="{C3380CC4-5D6E-409C-BE32-E72D297353CC}">
                <c16:uniqueId val="{00000103-2993-41DE-A2CB-63102DE87051}"/>
              </c:ext>
            </c:extLst>
          </c:dPt>
          <c:dPt>
            <c:idx val="129"/>
            <c:invertIfNegative val="1"/>
            <c:bubble3D val="0"/>
            <c:spPr>
              <a:solidFill>
                <a:srgbClr val="AEABAB"/>
              </a:solidFill>
            </c:spPr>
            <c:extLst>
              <c:ext xmlns:c16="http://schemas.microsoft.com/office/drawing/2014/chart" uri="{C3380CC4-5D6E-409C-BE32-E72D297353CC}">
                <c16:uniqueId val="{00000105-2993-41DE-A2CB-63102DE87051}"/>
              </c:ext>
            </c:extLst>
          </c:dPt>
          <c:dPt>
            <c:idx val="130"/>
            <c:invertIfNegative val="1"/>
            <c:bubble3D val="0"/>
            <c:spPr>
              <a:solidFill>
                <a:srgbClr val="AEABAB"/>
              </a:solidFill>
            </c:spPr>
            <c:extLst>
              <c:ext xmlns:c16="http://schemas.microsoft.com/office/drawing/2014/chart" uri="{C3380CC4-5D6E-409C-BE32-E72D297353CC}">
                <c16:uniqueId val="{00000107-2993-41DE-A2CB-63102DE87051}"/>
              </c:ext>
            </c:extLst>
          </c:dPt>
          <c:dPt>
            <c:idx val="131"/>
            <c:invertIfNegative val="1"/>
            <c:bubble3D val="0"/>
            <c:spPr>
              <a:solidFill>
                <a:srgbClr val="AEABAB"/>
              </a:solidFill>
            </c:spPr>
            <c:extLst>
              <c:ext xmlns:c16="http://schemas.microsoft.com/office/drawing/2014/chart" uri="{C3380CC4-5D6E-409C-BE32-E72D297353CC}">
                <c16:uniqueId val="{00000109-2993-41DE-A2CB-63102DE87051}"/>
              </c:ext>
            </c:extLst>
          </c:dPt>
          <c:dPt>
            <c:idx val="132"/>
            <c:invertIfNegative val="1"/>
            <c:bubble3D val="0"/>
            <c:spPr>
              <a:solidFill>
                <a:srgbClr val="AEABAB"/>
              </a:solidFill>
            </c:spPr>
            <c:extLst>
              <c:ext xmlns:c16="http://schemas.microsoft.com/office/drawing/2014/chart" uri="{C3380CC4-5D6E-409C-BE32-E72D297353CC}">
                <c16:uniqueId val="{0000010B-2993-41DE-A2CB-63102DE87051}"/>
              </c:ext>
            </c:extLst>
          </c:dPt>
          <c:dPt>
            <c:idx val="133"/>
            <c:invertIfNegative val="1"/>
            <c:bubble3D val="0"/>
            <c:spPr>
              <a:solidFill>
                <a:srgbClr val="AEABAB"/>
              </a:solidFill>
            </c:spPr>
            <c:extLst>
              <c:ext xmlns:c16="http://schemas.microsoft.com/office/drawing/2014/chart" uri="{C3380CC4-5D6E-409C-BE32-E72D297353CC}">
                <c16:uniqueId val="{0000010D-2993-41DE-A2CB-63102DE87051}"/>
              </c:ext>
            </c:extLst>
          </c:dPt>
          <c:dPt>
            <c:idx val="134"/>
            <c:invertIfNegative val="1"/>
            <c:bubble3D val="0"/>
            <c:spPr>
              <a:solidFill>
                <a:srgbClr val="AEABAB"/>
              </a:solidFill>
            </c:spPr>
            <c:extLst>
              <c:ext xmlns:c16="http://schemas.microsoft.com/office/drawing/2014/chart" uri="{C3380CC4-5D6E-409C-BE32-E72D297353CC}">
                <c16:uniqueId val="{0000010F-2993-41DE-A2CB-63102DE87051}"/>
              </c:ext>
            </c:extLst>
          </c:dPt>
          <c:dPt>
            <c:idx val="135"/>
            <c:invertIfNegative val="1"/>
            <c:bubble3D val="0"/>
            <c:spPr>
              <a:solidFill>
                <a:srgbClr val="AEABAB"/>
              </a:solidFill>
            </c:spPr>
            <c:extLst>
              <c:ext xmlns:c16="http://schemas.microsoft.com/office/drawing/2014/chart" uri="{C3380CC4-5D6E-409C-BE32-E72D297353CC}">
                <c16:uniqueId val="{00000111-2993-41DE-A2CB-63102DE87051}"/>
              </c:ext>
            </c:extLst>
          </c:dPt>
          <c:dPt>
            <c:idx val="136"/>
            <c:invertIfNegative val="1"/>
            <c:bubble3D val="0"/>
            <c:spPr>
              <a:solidFill>
                <a:srgbClr val="AEABAB"/>
              </a:solidFill>
            </c:spPr>
            <c:extLst>
              <c:ext xmlns:c16="http://schemas.microsoft.com/office/drawing/2014/chart" uri="{C3380CC4-5D6E-409C-BE32-E72D297353CC}">
                <c16:uniqueId val="{00000113-2993-41DE-A2CB-63102DE87051}"/>
              </c:ext>
            </c:extLst>
          </c:dPt>
          <c:dPt>
            <c:idx val="137"/>
            <c:invertIfNegative val="1"/>
            <c:bubble3D val="0"/>
            <c:spPr>
              <a:solidFill>
                <a:srgbClr val="AEABAB"/>
              </a:solidFill>
            </c:spPr>
            <c:extLst>
              <c:ext xmlns:c16="http://schemas.microsoft.com/office/drawing/2014/chart" uri="{C3380CC4-5D6E-409C-BE32-E72D297353CC}">
                <c16:uniqueId val="{00000115-2993-41DE-A2CB-63102DE87051}"/>
              </c:ext>
            </c:extLst>
          </c:dPt>
          <c:dPt>
            <c:idx val="138"/>
            <c:invertIfNegative val="1"/>
            <c:bubble3D val="0"/>
            <c:spPr>
              <a:solidFill>
                <a:srgbClr val="AEABAB"/>
              </a:solidFill>
            </c:spPr>
            <c:extLst>
              <c:ext xmlns:c16="http://schemas.microsoft.com/office/drawing/2014/chart" uri="{C3380CC4-5D6E-409C-BE32-E72D297353CC}">
                <c16:uniqueId val="{00000117-2993-41DE-A2CB-63102DE87051}"/>
              </c:ext>
            </c:extLst>
          </c:dPt>
          <c:dPt>
            <c:idx val="139"/>
            <c:invertIfNegative val="1"/>
            <c:bubble3D val="0"/>
            <c:spPr>
              <a:solidFill>
                <a:srgbClr val="AEABAB"/>
              </a:solidFill>
            </c:spPr>
            <c:extLst>
              <c:ext xmlns:c16="http://schemas.microsoft.com/office/drawing/2014/chart" uri="{C3380CC4-5D6E-409C-BE32-E72D297353CC}">
                <c16:uniqueId val="{00000119-2993-41DE-A2CB-63102DE87051}"/>
              </c:ext>
            </c:extLst>
          </c:dPt>
          <c:dPt>
            <c:idx val="140"/>
            <c:invertIfNegative val="1"/>
            <c:bubble3D val="0"/>
            <c:spPr>
              <a:solidFill>
                <a:srgbClr val="AEABAB"/>
              </a:solidFill>
            </c:spPr>
            <c:extLst>
              <c:ext xmlns:c16="http://schemas.microsoft.com/office/drawing/2014/chart" uri="{C3380CC4-5D6E-409C-BE32-E72D297353CC}">
                <c16:uniqueId val="{0000011B-2993-41DE-A2CB-63102DE87051}"/>
              </c:ext>
            </c:extLst>
          </c:dPt>
          <c:dPt>
            <c:idx val="141"/>
            <c:invertIfNegative val="1"/>
            <c:bubble3D val="0"/>
            <c:spPr>
              <a:solidFill>
                <a:srgbClr val="AEABAB"/>
              </a:solidFill>
            </c:spPr>
            <c:extLst>
              <c:ext xmlns:c16="http://schemas.microsoft.com/office/drawing/2014/chart" uri="{C3380CC4-5D6E-409C-BE32-E72D297353CC}">
                <c16:uniqueId val="{0000011D-2993-41DE-A2CB-63102DE87051}"/>
              </c:ext>
            </c:extLst>
          </c:dPt>
          <c:dPt>
            <c:idx val="142"/>
            <c:invertIfNegative val="1"/>
            <c:bubble3D val="0"/>
            <c:spPr>
              <a:solidFill>
                <a:srgbClr val="AEABAB"/>
              </a:solidFill>
            </c:spPr>
            <c:extLst>
              <c:ext xmlns:c16="http://schemas.microsoft.com/office/drawing/2014/chart" uri="{C3380CC4-5D6E-409C-BE32-E72D297353CC}">
                <c16:uniqueId val="{0000011F-2993-41DE-A2CB-63102DE87051}"/>
              </c:ext>
            </c:extLst>
          </c:dPt>
          <c:dPt>
            <c:idx val="143"/>
            <c:invertIfNegative val="1"/>
            <c:bubble3D val="0"/>
            <c:spPr>
              <a:solidFill>
                <a:srgbClr val="AEABAB"/>
              </a:solidFill>
            </c:spPr>
            <c:extLst>
              <c:ext xmlns:c16="http://schemas.microsoft.com/office/drawing/2014/chart" uri="{C3380CC4-5D6E-409C-BE32-E72D297353CC}">
                <c16:uniqueId val="{00000121-2993-41DE-A2CB-63102DE87051}"/>
              </c:ext>
            </c:extLst>
          </c:dPt>
          <c:dPt>
            <c:idx val="144"/>
            <c:invertIfNegative val="1"/>
            <c:bubble3D val="0"/>
            <c:spPr>
              <a:solidFill>
                <a:srgbClr val="AEABAB"/>
              </a:solidFill>
            </c:spPr>
            <c:extLst>
              <c:ext xmlns:c16="http://schemas.microsoft.com/office/drawing/2014/chart" uri="{C3380CC4-5D6E-409C-BE32-E72D297353CC}">
                <c16:uniqueId val="{00000123-2993-41DE-A2CB-63102DE87051}"/>
              </c:ext>
            </c:extLst>
          </c:dPt>
          <c:dPt>
            <c:idx val="145"/>
            <c:invertIfNegative val="1"/>
            <c:bubble3D val="0"/>
            <c:spPr>
              <a:solidFill>
                <a:srgbClr val="AEABAB"/>
              </a:solidFill>
            </c:spPr>
            <c:extLst>
              <c:ext xmlns:c16="http://schemas.microsoft.com/office/drawing/2014/chart" uri="{C3380CC4-5D6E-409C-BE32-E72D297353CC}">
                <c16:uniqueId val="{00000125-2993-41DE-A2CB-63102DE87051}"/>
              </c:ext>
            </c:extLst>
          </c:dPt>
          <c:dPt>
            <c:idx val="146"/>
            <c:invertIfNegative val="1"/>
            <c:bubble3D val="0"/>
            <c:spPr>
              <a:solidFill>
                <a:srgbClr val="AEABAB"/>
              </a:solidFill>
            </c:spPr>
            <c:extLst>
              <c:ext xmlns:c16="http://schemas.microsoft.com/office/drawing/2014/chart" uri="{C3380CC4-5D6E-409C-BE32-E72D297353CC}">
                <c16:uniqueId val="{00000127-2993-41DE-A2CB-63102DE87051}"/>
              </c:ext>
            </c:extLst>
          </c:dPt>
          <c:dPt>
            <c:idx val="147"/>
            <c:invertIfNegative val="1"/>
            <c:bubble3D val="0"/>
            <c:spPr>
              <a:solidFill>
                <a:srgbClr val="AEABAB"/>
              </a:solidFill>
            </c:spPr>
            <c:extLst>
              <c:ext xmlns:c16="http://schemas.microsoft.com/office/drawing/2014/chart" uri="{C3380CC4-5D6E-409C-BE32-E72D297353CC}">
                <c16:uniqueId val="{00000129-2993-41DE-A2CB-63102DE87051}"/>
              </c:ext>
            </c:extLst>
          </c:dPt>
          <c:dPt>
            <c:idx val="148"/>
            <c:invertIfNegative val="1"/>
            <c:bubble3D val="0"/>
            <c:spPr>
              <a:solidFill>
                <a:srgbClr val="AEABAB"/>
              </a:solidFill>
            </c:spPr>
            <c:extLst>
              <c:ext xmlns:c16="http://schemas.microsoft.com/office/drawing/2014/chart" uri="{C3380CC4-5D6E-409C-BE32-E72D297353CC}">
                <c16:uniqueId val="{0000012B-2993-41DE-A2CB-63102DE87051}"/>
              </c:ext>
            </c:extLst>
          </c:dPt>
          <c:dPt>
            <c:idx val="149"/>
            <c:invertIfNegative val="1"/>
            <c:bubble3D val="0"/>
            <c:spPr>
              <a:solidFill>
                <a:srgbClr val="AEABAB"/>
              </a:solidFill>
            </c:spPr>
            <c:extLst>
              <c:ext xmlns:c16="http://schemas.microsoft.com/office/drawing/2014/chart" uri="{C3380CC4-5D6E-409C-BE32-E72D297353CC}">
                <c16:uniqueId val="{0000012D-2993-41DE-A2CB-63102DE87051}"/>
              </c:ext>
            </c:extLst>
          </c:dPt>
          <c:dPt>
            <c:idx val="150"/>
            <c:invertIfNegative val="1"/>
            <c:bubble3D val="0"/>
            <c:spPr>
              <a:solidFill>
                <a:srgbClr val="AEABAB"/>
              </a:solidFill>
            </c:spPr>
            <c:extLst>
              <c:ext xmlns:c16="http://schemas.microsoft.com/office/drawing/2014/chart" uri="{C3380CC4-5D6E-409C-BE32-E72D297353CC}">
                <c16:uniqueId val="{0000012F-2993-41DE-A2CB-63102DE87051}"/>
              </c:ext>
            </c:extLst>
          </c:dPt>
          <c:dPt>
            <c:idx val="151"/>
            <c:invertIfNegative val="1"/>
            <c:bubble3D val="0"/>
            <c:spPr>
              <a:solidFill>
                <a:srgbClr val="AEABAB"/>
              </a:solidFill>
            </c:spPr>
            <c:extLst>
              <c:ext xmlns:c16="http://schemas.microsoft.com/office/drawing/2014/chart" uri="{C3380CC4-5D6E-409C-BE32-E72D297353CC}">
                <c16:uniqueId val="{00000131-2993-41DE-A2CB-63102DE87051}"/>
              </c:ext>
            </c:extLst>
          </c:dPt>
          <c:dPt>
            <c:idx val="152"/>
            <c:invertIfNegative val="1"/>
            <c:bubble3D val="0"/>
            <c:spPr>
              <a:solidFill>
                <a:srgbClr val="AEABAB"/>
              </a:solidFill>
            </c:spPr>
            <c:extLst>
              <c:ext xmlns:c16="http://schemas.microsoft.com/office/drawing/2014/chart" uri="{C3380CC4-5D6E-409C-BE32-E72D297353CC}">
                <c16:uniqueId val="{00000133-2993-41DE-A2CB-63102DE87051}"/>
              </c:ext>
            </c:extLst>
          </c:dPt>
          <c:dPt>
            <c:idx val="153"/>
            <c:invertIfNegative val="1"/>
            <c:bubble3D val="0"/>
            <c:spPr>
              <a:solidFill>
                <a:srgbClr val="AEABAB"/>
              </a:solidFill>
            </c:spPr>
            <c:extLst>
              <c:ext xmlns:c16="http://schemas.microsoft.com/office/drawing/2014/chart" uri="{C3380CC4-5D6E-409C-BE32-E72D297353CC}">
                <c16:uniqueId val="{00000135-2993-41DE-A2CB-63102DE87051}"/>
              </c:ext>
            </c:extLst>
          </c:dPt>
          <c:dPt>
            <c:idx val="154"/>
            <c:invertIfNegative val="1"/>
            <c:bubble3D val="0"/>
            <c:spPr>
              <a:solidFill>
                <a:srgbClr val="AEABAB"/>
              </a:solidFill>
            </c:spPr>
            <c:extLst>
              <c:ext xmlns:c16="http://schemas.microsoft.com/office/drawing/2014/chart" uri="{C3380CC4-5D6E-409C-BE32-E72D297353CC}">
                <c16:uniqueId val="{00000137-2993-41DE-A2CB-63102DE87051}"/>
              </c:ext>
            </c:extLst>
          </c:dPt>
          <c:dPt>
            <c:idx val="155"/>
            <c:invertIfNegative val="1"/>
            <c:bubble3D val="0"/>
            <c:spPr>
              <a:solidFill>
                <a:srgbClr val="AEABAB"/>
              </a:solidFill>
            </c:spPr>
            <c:extLst>
              <c:ext xmlns:c16="http://schemas.microsoft.com/office/drawing/2014/chart" uri="{C3380CC4-5D6E-409C-BE32-E72D297353CC}">
                <c16:uniqueId val="{00000139-2993-41DE-A2CB-63102DE87051}"/>
              </c:ext>
            </c:extLst>
          </c:dPt>
          <c:dPt>
            <c:idx val="156"/>
            <c:invertIfNegative val="1"/>
            <c:bubble3D val="0"/>
            <c:spPr>
              <a:solidFill>
                <a:srgbClr val="AEABAB"/>
              </a:solidFill>
            </c:spPr>
            <c:extLst>
              <c:ext xmlns:c16="http://schemas.microsoft.com/office/drawing/2014/chart" uri="{C3380CC4-5D6E-409C-BE32-E72D297353CC}">
                <c16:uniqueId val="{0000013B-2993-41DE-A2CB-63102DE87051}"/>
              </c:ext>
            </c:extLst>
          </c:dPt>
          <c:dPt>
            <c:idx val="157"/>
            <c:invertIfNegative val="1"/>
            <c:bubble3D val="0"/>
            <c:spPr>
              <a:solidFill>
                <a:srgbClr val="AEABAB"/>
              </a:solidFill>
            </c:spPr>
            <c:extLst>
              <c:ext xmlns:c16="http://schemas.microsoft.com/office/drawing/2014/chart" uri="{C3380CC4-5D6E-409C-BE32-E72D297353CC}">
                <c16:uniqueId val="{0000013D-2993-41DE-A2CB-63102DE87051}"/>
              </c:ext>
            </c:extLst>
          </c:dPt>
          <c:dPt>
            <c:idx val="158"/>
            <c:invertIfNegative val="1"/>
            <c:bubble3D val="0"/>
            <c:spPr>
              <a:solidFill>
                <a:srgbClr val="AEABAB"/>
              </a:solidFill>
            </c:spPr>
            <c:extLst>
              <c:ext xmlns:c16="http://schemas.microsoft.com/office/drawing/2014/chart" uri="{C3380CC4-5D6E-409C-BE32-E72D297353CC}">
                <c16:uniqueId val="{0000013F-2993-41DE-A2CB-63102DE87051}"/>
              </c:ext>
            </c:extLst>
          </c:dPt>
          <c:dPt>
            <c:idx val="159"/>
            <c:invertIfNegative val="1"/>
            <c:bubble3D val="0"/>
            <c:spPr>
              <a:solidFill>
                <a:srgbClr val="AEABAB"/>
              </a:solidFill>
            </c:spPr>
            <c:extLst>
              <c:ext xmlns:c16="http://schemas.microsoft.com/office/drawing/2014/chart" uri="{C3380CC4-5D6E-409C-BE32-E72D297353CC}">
                <c16:uniqueId val="{00000141-2993-41DE-A2CB-63102DE87051}"/>
              </c:ext>
            </c:extLst>
          </c:dPt>
          <c:dPt>
            <c:idx val="160"/>
            <c:invertIfNegative val="1"/>
            <c:bubble3D val="0"/>
            <c:spPr>
              <a:solidFill>
                <a:srgbClr val="AEABAB"/>
              </a:solidFill>
            </c:spPr>
            <c:extLst>
              <c:ext xmlns:c16="http://schemas.microsoft.com/office/drawing/2014/chart" uri="{C3380CC4-5D6E-409C-BE32-E72D297353CC}">
                <c16:uniqueId val="{00000143-2993-41DE-A2CB-63102DE87051}"/>
              </c:ext>
            </c:extLst>
          </c:dPt>
          <c:dPt>
            <c:idx val="161"/>
            <c:invertIfNegative val="1"/>
            <c:bubble3D val="0"/>
            <c:spPr>
              <a:solidFill>
                <a:srgbClr val="AEABAB"/>
              </a:solidFill>
            </c:spPr>
            <c:extLst>
              <c:ext xmlns:c16="http://schemas.microsoft.com/office/drawing/2014/chart" uri="{C3380CC4-5D6E-409C-BE32-E72D297353CC}">
                <c16:uniqueId val="{00000145-2993-41DE-A2CB-63102DE87051}"/>
              </c:ext>
            </c:extLst>
          </c:dPt>
          <c:dPt>
            <c:idx val="162"/>
            <c:invertIfNegative val="1"/>
            <c:bubble3D val="0"/>
            <c:spPr>
              <a:solidFill>
                <a:srgbClr val="AEABAB"/>
              </a:solidFill>
            </c:spPr>
            <c:extLst>
              <c:ext xmlns:c16="http://schemas.microsoft.com/office/drawing/2014/chart" uri="{C3380CC4-5D6E-409C-BE32-E72D297353CC}">
                <c16:uniqueId val="{00000147-2993-41DE-A2CB-63102DE87051}"/>
              </c:ext>
            </c:extLst>
          </c:dPt>
          <c:dPt>
            <c:idx val="163"/>
            <c:invertIfNegative val="1"/>
            <c:bubble3D val="0"/>
            <c:spPr>
              <a:solidFill>
                <a:srgbClr val="AEABAB"/>
              </a:solidFill>
            </c:spPr>
            <c:extLst>
              <c:ext xmlns:c16="http://schemas.microsoft.com/office/drawing/2014/chart" uri="{C3380CC4-5D6E-409C-BE32-E72D297353CC}">
                <c16:uniqueId val="{00000149-2993-41DE-A2CB-63102DE87051}"/>
              </c:ext>
            </c:extLst>
          </c:dPt>
          <c:dPt>
            <c:idx val="164"/>
            <c:invertIfNegative val="1"/>
            <c:bubble3D val="0"/>
            <c:spPr>
              <a:solidFill>
                <a:srgbClr val="AEABAB"/>
              </a:solidFill>
            </c:spPr>
            <c:extLst>
              <c:ext xmlns:c16="http://schemas.microsoft.com/office/drawing/2014/chart" uri="{C3380CC4-5D6E-409C-BE32-E72D297353CC}">
                <c16:uniqueId val="{0000014B-2993-41DE-A2CB-63102DE87051}"/>
              </c:ext>
            </c:extLst>
          </c:dPt>
          <c:dPt>
            <c:idx val="165"/>
            <c:invertIfNegative val="1"/>
            <c:bubble3D val="0"/>
            <c:spPr>
              <a:solidFill>
                <a:srgbClr val="AEABAB"/>
              </a:solidFill>
            </c:spPr>
            <c:extLst>
              <c:ext xmlns:c16="http://schemas.microsoft.com/office/drawing/2014/chart" uri="{C3380CC4-5D6E-409C-BE32-E72D297353CC}">
                <c16:uniqueId val="{0000014D-2993-41DE-A2CB-63102DE87051}"/>
              </c:ext>
            </c:extLst>
          </c:dPt>
          <c:dPt>
            <c:idx val="166"/>
            <c:invertIfNegative val="1"/>
            <c:bubble3D val="0"/>
            <c:spPr>
              <a:solidFill>
                <a:srgbClr val="AEABAB"/>
              </a:solidFill>
            </c:spPr>
            <c:extLst>
              <c:ext xmlns:c16="http://schemas.microsoft.com/office/drawing/2014/chart" uri="{C3380CC4-5D6E-409C-BE32-E72D297353CC}">
                <c16:uniqueId val="{0000014F-2993-41DE-A2CB-63102DE87051}"/>
              </c:ext>
            </c:extLst>
          </c:dPt>
          <c:dPt>
            <c:idx val="167"/>
            <c:invertIfNegative val="1"/>
            <c:bubble3D val="0"/>
            <c:spPr>
              <a:solidFill>
                <a:srgbClr val="AEABAB"/>
              </a:solidFill>
            </c:spPr>
            <c:extLst>
              <c:ext xmlns:c16="http://schemas.microsoft.com/office/drawing/2014/chart" uri="{C3380CC4-5D6E-409C-BE32-E72D297353CC}">
                <c16:uniqueId val="{00000151-2993-41DE-A2CB-63102DE87051}"/>
              </c:ext>
            </c:extLst>
          </c:dPt>
          <c:dPt>
            <c:idx val="168"/>
            <c:invertIfNegative val="1"/>
            <c:bubble3D val="0"/>
            <c:spPr>
              <a:solidFill>
                <a:srgbClr val="AEABAB"/>
              </a:solidFill>
            </c:spPr>
            <c:extLst>
              <c:ext xmlns:c16="http://schemas.microsoft.com/office/drawing/2014/chart" uri="{C3380CC4-5D6E-409C-BE32-E72D297353CC}">
                <c16:uniqueId val="{00000153-2993-41DE-A2CB-63102DE87051}"/>
              </c:ext>
            </c:extLst>
          </c:dPt>
          <c:dPt>
            <c:idx val="169"/>
            <c:invertIfNegative val="1"/>
            <c:bubble3D val="0"/>
            <c:spPr>
              <a:solidFill>
                <a:srgbClr val="AEABAB"/>
              </a:solidFill>
            </c:spPr>
            <c:extLst>
              <c:ext xmlns:c16="http://schemas.microsoft.com/office/drawing/2014/chart" uri="{C3380CC4-5D6E-409C-BE32-E72D297353CC}">
                <c16:uniqueId val="{00000155-2993-41DE-A2CB-63102DE87051}"/>
              </c:ext>
            </c:extLst>
          </c:dPt>
          <c:dPt>
            <c:idx val="170"/>
            <c:invertIfNegative val="1"/>
            <c:bubble3D val="0"/>
            <c:spPr>
              <a:solidFill>
                <a:srgbClr val="AEABAB"/>
              </a:solidFill>
            </c:spPr>
            <c:extLst>
              <c:ext xmlns:c16="http://schemas.microsoft.com/office/drawing/2014/chart" uri="{C3380CC4-5D6E-409C-BE32-E72D297353CC}">
                <c16:uniqueId val="{00000157-2993-41DE-A2CB-63102DE87051}"/>
              </c:ext>
            </c:extLst>
          </c:dPt>
          <c:dPt>
            <c:idx val="171"/>
            <c:invertIfNegative val="1"/>
            <c:bubble3D val="0"/>
            <c:spPr>
              <a:solidFill>
                <a:srgbClr val="AEABAB"/>
              </a:solidFill>
            </c:spPr>
            <c:extLst>
              <c:ext xmlns:c16="http://schemas.microsoft.com/office/drawing/2014/chart" uri="{C3380CC4-5D6E-409C-BE32-E72D297353CC}">
                <c16:uniqueId val="{00000159-2993-41DE-A2CB-63102DE87051}"/>
              </c:ext>
            </c:extLst>
          </c:dPt>
          <c:dPt>
            <c:idx val="172"/>
            <c:invertIfNegative val="1"/>
            <c:bubble3D val="0"/>
            <c:spPr>
              <a:solidFill>
                <a:srgbClr val="AEABAB"/>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07</c:f>
              <c:strCache>
                <c:ptCount val="206"/>
                <c:pt idx="0">
                  <c:v>Private Lab</c:v>
                </c:pt>
                <c:pt idx="1">
                  <c:v>Private Lab</c:v>
                </c:pt>
                <c:pt idx="2">
                  <c:v>Galbani</c:v>
                </c:pt>
                <c:pt idx="3">
                  <c:v>Salakis</c:v>
                </c:pt>
                <c:pt idx="4">
                  <c:v>Private Lab</c:v>
                </c:pt>
                <c:pt idx="5">
                  <c:v>Private Lab</c:v>
                </c:pt>
                <c:pt idx="6">
                  <c:v>Islos</c:v>
                </c:pt>
                <c:pt idx="7">
                  <c:v>Private Lab</c:v>
                </c:pt>
                <c:pt idx="8">
                  <c:v>Casa Azzurr</c:v>
                </c:pt>
                <c:pt idx="9">
                  <c:v>Casa Azzurr</c:v>
                </c:pt>
                <c:pt idx="10">
                  <c:v>Galbani</c:v>
                </c:pt>
                <c:pt idx="11">
                  <c:v>Private Lab</c:v>
                </c:pt>
                <c:pt idx="12">
                  <c:v>Salakis</c:v>
                </c:pt>
                <c:pt idx="13">
                  <c:v>Galbani</c:v>
                </c:pt>
                <c:pt idx="14">
                  <c:v>Casa Azzurr</c:v>
                </c:pt>
                <c:pt idx="15">
                  <c:v>Galbani</c:v>
                </c:pt>
                <c:pt idx="16">
                  <c:v>Casa Azzurr</c:v>
                </c:pt>
                <c:pt idx="17">
                  <c:v>Private Lab</c:v>
                </c:pt>
                <c:pt idx="18">
                  <c:v>Boursin</c:v>
                </c:pt>
                <c:pt idx="19">
                  <c:v>Salakis</c:v>
                </c:pt>
                <c:pt idx="20">
                  <c:v>Private Lab</c:v>
                </c:pt>
                <c:pt idx="21">
                  <c:v>Private Lab</c:v>
                </c:pt>
                <c:pt idx="22">
                  <c:v>Casa Azzurr</c:v>
                </c:pt>
                <c:pt idx="23">
                  <c:v>Casa Azzurr</c:v>
                </c:pt>
                <c:pt idx="24">
                  <c:v>Galbani</c:v>
                </c:pt>
                <c:pt idx="25">
                  <c:v>All Others</c:v>
                </c:pt>
                <c:pt idx="26">
                  <c:v>Casa Azzurr</c:v>
                </c:pt>
                <c:pt idx="27">
                  <c:v>All Others</c:v>
                </c:pt>
                <c:pt idx="28">
                  <c:v>Galbani</c:v>
                </c:pt>
                <c:pt idx="29">
                  <c:v>All Others</c:v>
                </c:pt>
                <c:pt idx="30">
                  <c:v>All Others</c:v>
                </c:pt>
                <c:pt idx="31">
                  <c:v>All Others</c:v>
                </c:pt>
                <c:pt idx="32">
                  <c:v>Private Lab</c:v>
                </c:pt>
                <c:pt idx="33">
                  <c:v>Casa Azzurr</c:v>
                </c:pt>
                <c:pt idx="34">
                  <c:v>Salakis</c:v>
                </c:pt>
                <c:pt idx="35">
                  <c:v>Casa Azzurr</c:v>
                </c:pt>
                <c:pt idx="36">
                  <c:v>Private Lab</c:v>
                </c:pt>
                <c:pt idx="37">
                  <c:v>All Others</c:v>
                </c:pt>
                <c:pt idx="38">
                  <c:v>Salakis</c:v>
                </c:pt>
                <c:pt idx="39">
                  <c:v>Salakis</c:v>
                </c:pt>
                <c:pt idx="40">
                  <c:v>All Others</c:v>
                </c:pt>
                <c:pt idx="41">
                  <c:v>Galbani</c:v>
                </c:pt>
                <c:pt idx="42">
                  <c:v>All Others</c:v>
                </c:pt>
                <c:pt idx="43">
                  <c:v>All Others</c:v>
                </c:pt>
                <c:pt idx="44">
                  <c:v>Galbani</c:v>
                </c:pt>
                <c:pt idx="45">
                  <c:v>Casa Azzurr</c:v>
                </c:pt>
                <c:pt idx="46">
                  <c:v>All Others</c:v>
                </c:pt>
                <c:pt idx="47">
                  <c:v>Private Lab</c:v>
                </c:pt>
                <c:pt idx="48">
                  <c:v>All Others</c:v>
                </c:pt>
                <c:pt idx="49">
                  <c:v>Private Lab</c:v>
                </c:pt>
                <c:pt idx="50">
                  <c:v>Private Lab</c:v>
                </c:pt>
                <c:pt idx="51">
                  <c:v>Casa Azzurr</c:v>
                </c:pt>
                <c:pt idx="52">
                  <c:v>All Others</c:v>
                </c:pt>
                <c:pt idx="53">
                  <c:v>All Others</c:v>
                </c:pt>
                <c:pt idx="54">
                  <c:v>Private Lab</c:v>
                </c:pt>
                <c:pt idx="55">
                  <c:v>All Others</c:v>
                </c:pt>
                <c:pt idx="56">
                  <c:v>Galbani</c:v>
                </c:pt>
                <c:pt idx="57">
                  <c:v>Boursin</c:v>
                </c:pt>
                <c:pt idx="58">
                  <c:v>Galbani</c:v>
                </c:pt>
                <c:pt idx="59">
                  <c:v>All Others</c:v>
                </c:pt>
                <c:pt idx="60">
                  <c:v>Boursin</c:v>
                </c:pt>
                <c:pt idx="61">
                  <c:v>All Others</c:v>
                </c:pt>
                <c:pt idx="62">
                  <c:v>All Others</c:v>
                </c:pt>
                <c:pt idx="63">
                  <c:v>All Others</c:v>
                </c:pt>
                <c:pt idx="64">
                  <c:v>All Others</c:v>
                </c:pt>
                <c:pt idx="65">
                  <c:v>Islos</c:v>
                </c:pt>
                <c:pt idx="66">
                  <c:v>Casa Azzurr</c:v>
                </c:pt>
                <c:pt idx="67">
                  <c:v>All Others</c:v>
                </c:pt>
                <c:pt idx="68">
                  <c:v>Casa Azzurr</c:v>
                </c:pt>
                <c:pt idx="69">
                  <c:v>Private Lab</c:v>
                </c:pt>
                <c:pt idx="70">
                  <c:v>All Others</c:v>
                </c:pt>
                <c:pt idx="71">
                  <c:v>All Others</c:v>
                </c:pt>
                <c:pt idx="72">
                  <c:v>All Others</c:v>
                </c:pt>
                <c:pt idx="73">
                  <c:v>All Others</c:v>
                </c:pt>
                <c:pt idx="74">
                  <c:v>All Others</c:v>
                </c:pt>
                <c:pt idx="75">
                  <c:v>All Others</c:v>
                </c:pt>
                <c:pt idx="76">
                  <c:v>All Others</c:v>
                </c:pt>
                <c:pt idx="77">
                  <c:v>All Others</c:v>
                </c:pt>
                <c:pt idx="78">
                  <c:v>Lactalis: A</c:v>
                </c:pt>
                <c:pt idx="79">
                  <c:v>Private Lab</c:v>
                </c:pt>
                <c:pt idx="80">
                  <c:v>Galbani</c:v>
                </c:pt>
                <c:pt idx="81">
                  <c:v>All Others</c:v>
                </c:pt>
                <c:pt idx="82">
                  <c:v>All Others</c:v>
                </c:pt>
                <c:pt idx="83">
                  <c:v>All Others</c:v>
                </c:pt>
                <c:pt idx="84">
                  <c:v>Private Lab</c:v>
                </c:pt>
                <c:pt idx="85">
                  <c:v>All Others</c:v>
                </c:pt>
                <c:pt idx="86">
                  <c:v>Boursin</c:v>
                </c:pt>
                <c:pt idx="87">
                  <c:v>Private Lab</c:v>
                </c:pt>
                <c:pt idx="88">
                  <c:v>All Others</c:v>
                </c:pt>
                <c:pt idx="89">
                  <c:v>All Others</c:v>
                </c:pt>
                <c:pt idx="90">
                  <c:v>Casa Azzurr</c:v>
                </c:pt>
                <c:pt idx="91">
                  <c:v>All Others</c:v>
                </c:pt>
                <c:pt idx="92">
                  <c:v>Salakis</c:v>
                </c:pt>
                <c:pt idx="93">
                  <c:v>All Others</c:v>
                </c:pt>
                <c:pt idx="94">
                  <c:v>All Others</c:v>
                </c:pt>
                <c:pt idx="95">
                  <c:v>Galbani</c:v>
                </c:pt>
                <c:pt idx="96">
                  <c:v>Private Lab</c:v>
                </c:pt>
                <c:pt idx="97">
                  <c:v>Boursin</c:v>
                </c:pt>
                <c:pt idx="98">
                  <c:v>All Others</c:v>
                </c:pt>
                <c:pt idx="99">
                  <c:v>Boursin</c:v>
                </c:pt>
                <c:pt idx="100">
                  <c:v>All Others</c:v>
                </c:pt>
                <c:pt idx="101">
                  <c:v>All Others</c:v>
                </c:pt>
                <c:pt idx="102">
                  <c:v>All Others</c:v>
                </c:pt>
                <c:pt idx="103">
                  <c:v>All Others</c:v>
                </c:pt>
                <c:pt idx="104">
                  <c:v>Galbani</c:v>
                </c:pt>
                <c:pt idx="105">
                  <c:v>All Others</c:v>
                </c:pt>
                <c:pt idx="106">
                  <c:v>Lactalis: A</c:v>
                </c:pt>
                <c:pt idx="107">
                  <c:v>All Others</c:v>
                </c:pt>
                <c:pt idx="108">
                  <c:v>All Others</c:v>
                </c:pt>
                <c:pt idx="109">
                  <c:v>All Others</c:v>
                </c:pt>
                <c:pt idx="110">
                  <c:v>All Others</c:v>
                </c:pt>
                <c:pt idx="111">
                  <c:v>Salakis</c:v>
                </c:pt>
                <c:pt idx="112">
                  <c:v>All Others</c:v>
                </c:pt>
                <c:pt idx="113">
                  <c:v>All Others</c:v>
                </c:pt>
                <c:pt idx="114">
                  <c:v>All Others</c:v>
                </c:pt>
                <c:pt idx="115">
                  <c:v>All Others</c:v>
                </c:pt>
                <c:pt idx="116">
                  <c:v>All Others</c:v>
                </c:pt>
                <c:pt idx="117">
                  <c:v>Salakis</c:v>
                </c:pt>
                <c:pt idx="118">
                  <c:v>All Others</c:v>
                </c:pt>
                <c:pt idx="119">
                  <c:v>All Others</c:v>
                </c:pt>
                <c:pt idx="120">
                  <c:v>All Others</c:v>
                </c:pt>
                <c:pt idx="121">
                  <c:v>Private Lab</c:v>
                </c:pt>
                <c:pt idx="122">
                  <c:v>All Others</c:v>
                </c:pt>
                <c:pt idx="123">
                  <c:v>Private Lab</c:v>
                </c:pt>
                <c:pt idx="124">
                  <c:v>All Others</c:v>
                </c:pt>
                <c:pt idx="125">
                  <c:v>All Others</c:v>
                </c:pt>
                <c:pt idx="126">
                  <c:v>Islos</c:v>
                </c:pt>
                <c:pt idx="127">
                  <c:v>All Others</c:v>
                </c:pt>
                <c:pt idx="128">
                  <c:v>All Others</c:v>
                </c:pt>
                <c:pt idx="129">
                  <c:v>All Others</c:v>
                </c:pt>
                <c:pt idx="130">
                  <c:v>Lactalis: A</c:v>
                </c:pt>
                <c:pt idx="131">
                  <c:v>All Others</c:v>
                </c:pt>
                <c:pt idx="132">
                  <c:v>All Others</c:v>
                </c:pt>
                <c:pt idx="133">
                  <c:v>All Others</c:v>
                </c:pt>
                <c:pt idx="134">
                  <c:v>All Others</c:v>
                </c:pt>
                <c:pt idx="135">
                  <c:v>All Others</c:v>
                </c:pt>
                <c:pt idx="136">
                  <c:v>All Others</c:v>
                </c:pt>
                <c:pt idx="137">
                  <c:v>All Others</c:v>
                </c:pt>
                <c:pt idx="138">
                  <c:v>Private Lab</c:v>
                </c:pt>
                <c:pt idx="139">
                  <c:v>All Others</c:v>
                </c:pt>
                <c:pt idx="140">
                  <c:v>All Others</c:v>
                </c:pt>
                <c:pt idx="141">
                  <c:v>All Others</c:v>
                </c:pt>
                <c:pt idx="142">
                  <c:v>All Others</c:v>
                </c:pt>
                <c:pt idx="143">
                  <c:v>All Others</c:v>
                </c:pt>
                <c:pt idx="144">
                  <c:v>All Others</c:v>
                </c:pt>
                <c:pt idx="145">
                  <c:v>All Others</c:v>
                </c:pt>
                <c:pt idx="146">
                  <c:v>All Others</c:v>
                </c:pt>
                <c:pt idx="147">
                  <c:v>All Others</c:v>
                </c:pt>
                <c:pt idx="148">
                  <c:v>All Others</c:v>
                </c:pt>
                <c:pt idx="149">
                  <c:v>All Others</c:v>
                </c:pt>
                <c:pt idx="150">
                  <c:v>All Others</c:v>
                </c:pt>
                <c:pt idx="151">
                  <c:v>All Others</c:v>
                </c:pt>
                <c:pt idx="152">
                  <c:v>All Others</c:v>
                </c:pt>
                <c:pt idx="153">
                  <c:v>All Others</c:v>
                </c:pt>
                <c:pt idx="154">
                  <c:v>All Others</c:v>
                </c:pt>
                <c:pt idx="155">
                  <c:v>All Others</c:v>
                </c:pt>
                <c:pt idx="156">
                  <c:v>All Others</c:v>
                </c:pt>
                <c:pt idx="157">
                  <c:v>All Others</c:v>
                </c:pt>
                <c:pt idx="158">
                  <c:v>All Others</c:v>
                </c:pt>
                <c:pt idx="159">
                  <c:v>All Others</c:v>
                </c:pt>
                <c:pt idx="160">
                  <c:v>All Others</c:v>
                </c:pt>
                <c:pt idx="161">
                  <c:v>All Others</c:v>
                </c:pt>
                <c:pt idx="162">
                  <c:v>All Others</c:v>
                </c:pt>
                <c:pt idx="163">
                  <c:v>All Others</c:v>
                </c:pt>
                <c:pt idx="164">
                  <c:v>All Others</c:v>
                </c:pt>
                <c:pt idx="165">
                  <c:v>All Others</c:v>
                </c:pt>
                <c:pt idx="166">
                  <c:v>All Others</c:v>
                </c:pt>
                <c:pt idx="167">
                  <c:v>All Others</c:v>
                </c:pt>
                <c:pt idx="168">
                  <c:v>All Others</c:v>
                </c:pt>
                <c:pt idx="169">
                  <c:v>All Others</c:v>
                </c:pt>
                <c:pt idx="170">
                  <c:v>All Others</c:v>
                </c:pt>
                <c:pt idx="171">
                  <c:v>All Others</c:v>
                </c:pt>
                <c:pt idx="172">
                  <c:v>All Others</c:v>
                </c:pt>
                <c:pt idx="173">
                  <c:v>All Others</c:v>
                </c:pt>
                <c:pt idx="174">
                  <c:v>All Others</c:v>
                </c:pt>
                <c:pt idx="175">
                  <c:v>All Others</c:v>
                </c:pt>
                <c:pt idx="176">
                  <c:v>All Others</c:v>
                </c:pt>
                <c:pt idx="177">
                  <c:v>All Others</c:v>
                </c:pt>
                <c:pt idx="178">
                  <c:v>All Others</c:v>
                </c:pt>
                <c:pt idx="179">
                  <c:v>All Others</c:v>
                </c:pt>
                <c:pt idx="180">
                  <c:v>All Others</c:v>
                </c:pt>
                <c:pt idx="181">
                  <c:v>All Others</c:v>
                </c:pt>
                <c:pt idx="182">
                  <c:v>All Others</c:v>
                </c:pt>
                <c:pt idx="183">
                  <c:v>Private Lab</c:v>
                </c:pt>
                <c:pt idx="184">
                  <c:v>All Others</c:v>
                </c:pt>
                <c:pt idx="185">
                  <c:v>All Others</c:v>
                </c:pt>
                <c:pt idx="186">
                  <c:v>All Others</c:v>
                </c:pt>
                <c:pt idx="187">
                  <c:v>All Others</c:v>
                </c:pt>
                <c:pt idx="188">
                  <c:v>All Others</c:v>
                </c:pt>
                <c:pt idx="189">
                  <c:v>All Others</c:v>
                </c:pt>
                <c:pt idx="190">
                  <c:v>All Others</c:v>
                </c:pt>
                <c:pt idx="191">
                  <c:v>All Others</c:v>
                </c:pt>
                <c:pt idx="192">
                  <c:v>All Others</c:v>
                </c:pt>
                <c:pt idx="193">
                  <c:v>All Others</c:v>
                </c:pt>
                <c:pt idx="194">
                  <c:v>All Others</c:v>
                </c:pt>
                <c:pt idx="195">
                  <c:v>Galbani</c:v>
                </c:pt>
                <c:pt idx="196">
                  <c:v>All Others</c:v>
                </c:pt>
                <c:pt idx="197">
                  <c:v>All Others</c:v>
                </c:pt>
                <c:pt idx="198">
                  <c:v>All Others</c:v>
                </c:pt>
                <c:pt idx="199">
                  <c:v>All Others</c:v>
                </c:pt>
                <c:pt idx="200">
                  <c:v>All Others</c:v>
                </c:pt>
                <c:pt idx="201">
                  <c:v>Islos</c:v>
                </c:pt>
                <c:pt idx="202">
                  <c:v>All Others</c:v>
                </c:pt>
                <c:pt idx="203">
                  <c:v>All Others</c:v>
                </c:pt>
                <c:pt idx="204">
                  <c:v>All Others</c:v>
                </c:pt>
                <c:pt idx="205">
                  <c:v>All Others</c:v>
                </c:pt>
              </c:strCache>
            </c:strRef>
          </c:cat>
          <c:val>
            <c:numRef>
              <c:f>Sheet1!$C$2:$C$207</c:f>
              <c:numCache>
                <c:formatCode>General</c:formatCode>
                <c:ptCount val="206"/>
                <c:pt idx="0">
                  <c:v>0.2488384769611663</c:v>
                </c:pt>
                <c:pt idx="1">
                  <c:v>0.2932253849770849</c:v>
                </c:pt>
                <c:pt idx="2">
                  <c:v>0.3315103238227907</c:v>
                </c:pt>
                <c:pt idx="3">
                  <c:v>0.3612400215047752</c:v>
                </c:pt>
                <c:pt idx="4">
                  <c:v>0.39083761760379</c:v>
                </c:pt>
                <c:pt idx="5">
                  <c:v>0.4184890761074575</c:v>
                </c:pt>
                <c:pt idx="6">
                  <c:v>0.46870978319946993</c:v>
                </c:pt>
                <c:pt idx="7">
                  <c:v>0.4858416524440554</c:v>
                </c:pt>
                <c:pt idx="8">
                  <c:v>0.5027818874371194</c:v>
                </c:pt>
                <c:pt idx="9">
                  <c:v>0.5190813629186646</c:v>
                </c:pt>
                <c:pt idx="10">
                  <c:v>0.5352064085437285</c:v>
                </c:pt>
                <c:pt idx="11">
                  <c:v>0.5512787630140576</c:v>
                </c:pt>
                <c:pt idx="12">
                  <c:v>0.5960606247236355</c:v>
                </c:pt>
                <c:pt idx="13">
                  <c:v>0.6212203923967498</c:v>
                </c:pt>
                <c:pt idx="14">
                  <c:v>0.6331786255298131</c:v>
                </c:pt>
                <c:pt idx="15">
                  <c:v>0.645057491353426</c:v>
                </c:pt>
                <c:pt idx="16">
                  <c:v>0.6565371347237081</c:v>
                </c:pt>
                <c:pt idx="17">
                  <c:v>0.667977784339818</c:v>
                </c:pt>
                <c:pt idx="18">
                  <c:v>0.6788152165328344</c:v>
                </c:pt>
                <c:pt idx="19">
                  <c:v>0.6894186143361767</c:v>
                </c:pt>
                <c:pt idx="20">
                  <c:v>0.6995442416336444</c:v>
                </c:pt>
                <c:pt idx="21">
                  <c:v>0.7095811448454117</c:v>
                </c:pt>
                <c:pt idx="22">
                  <c:v>0.7195176387808624</c:v>
                </c:pt>
                <c:pt idx="23">
                  <c:v>0.7290049212187467</c:v>
                </c:pt>
                <c:pt idx="24">
                  <c:v>0.7467343449527198</c:v>
                </c:pt>
                <c:pt idx="25">
                  <c:v>0.7549331231244676</c:v>
                </c:pt>
                <c:pt idx="26">
                  <c:v>0.7621974453701169</c:v>
                </c:pt>
                <c:pt idx="27">
                  <c:v>0.7694104993809221</c:v>
                </c:pt>
                <c:pt idx="28">
                  <c:v>0.7757649865264579</c:v>
                </c:pt>
                <c:pt idx="29">
                  <c:v>0.7877352641733422</c:v>
                </c:pt>
                <c:pt idx="30">
                  <c:v>0.7935665192411469</c:v>
                </c:pt>
                <c:pt idx="31">
                  <c:v>0.7993831139222004</c:v>
                </c:pt>
                <c:pt idx="32">
                  <c:v>0.8049475643240639</c:v>
                </c:pt>
                <c:pt idx="33">
                  <c:v>0.8102357814190954</c:v>
                </c:pt>
                <c:pt idx="34">
                  <c:v>0.8153129176907679</c:v>
                </c:pt>
                <c:pt idx="35">
                  <c:v>0.8203592384044067</c:v>
                </c:pt>
                <c:pt idx="36">
                  <c:v>0.8253549376649699</c:v>
                </c:pt>
                <c:pt idx="37">
                  <c:v>0.8303403171630945</c:v>
                </c:pt>
                <c:pt idx="38">
                  <c:v>0.8353175615838652</c:v>
                </c:pt>
                <c:pt idx="39">
                  <c:v>0.8400077211370224</c:v>
                </c:pt>
                <c:pt idx="40">
                  <c:v>0.8446437091238416</c:v>
                </c:pt>
                <c:pt idx="41">
                  <c:v>0.8492431755001367</c:v>
                </c:pt>
                <c:pt idx="42">
                  <c:v>0.8577764548295879</c:v>
                </c:pt>
                <c:pt idx="43">
                  <c:v>0.861717109296561</c:v>
                </c:pt>
                <c:pt idx="44">
                  <c:v>0.8656301246226299</c:v>
                </c:pt>
                <c:pt idx="45">
                  <c:v>0.8694779156005847</c:v>
                </c:pt>
                <c:pt idx="46">
                  <c:v>0.8733196699487009</c:v>
                </c:pt>
                <c:pt idx="47">
                  <c:v>0.8771480862194593</c:v>
                </c:pt>
                <c:pt idx="48">
                  <c:v>0.8809117524487338</c:v>
                </c:pt>
                <c:pt idx="49">
                  <c:v>0.8842055964014213</c:v>
                </c:pt>
                <c:pt idx="50">
                  <c:v>0.8874670581469027</c:v>
                </c:pt>
                <c:pt idx="51">
                  <c:v>0.8905985023840017</c:v>
                </c:pt>
                <c:pt idx="52">
                  <c:v>0.8937160479995436</c:v>
                </c:pt>
                <c:pt idx="53">
                  <c:v>0.8968288649217119</c:v>
                </c:pt>
                <c:pt idx="54">
                  <c:v>0.8997097602746496</c:v>
                </c:pt>
                <c:pt idx="55">
                  <c:v>0.9025371883347304</c:v>
                </c:pt>
                <c:pt idx="56">
                  <c:v>0.9053540810384499</c:v>
                </c:pt>
                <c:pt idx="57">
                  <c:v>0.9079681717254464</c:v>
                </c:pt>
                <c:pt idx="58">
                  <c:v>0.9105181016610148</c:v>
                </c:pt>
                <c:pt idx="59">
                  <c:v>0.9130673848148146</c:v>
                </c:pt>
                <c:pt idx="60">
                  <c:v>0.915504444145328</c:v>
                </c:pt>
                <c:pt idx="61">
                  <c:v>0.917901963550398</c:v>
                </c:pt>
                <c:pt idx="62">
                  <c:v>0.9202413732068067</c:v>
                </c:pt>
                <c:pt idx="63">
                  <c:v>0.9225366004819675</c:v>
                </c:pt>
                <c:pt idx="64">
                  <c:v>0.924825359939444</c:v>
                </c:pt>
                <c:pt idx="65">
                  <c:v>0.9269396320487265</c:v>
                </c:pt>
                <c:pt idx="66">
                  <c:v>0.9290413709646298</c:v>
                </c:pt>
                <c:pt idx="67">
                  <c:v>0.9311271271843887</c:v>
                </c:pt>
                <c:pt idx="68">
                  <c:v>0.9330711663322206</c:v>
                </c:pt>
                <c:pt idx="69">
                  <c:v>0.9349614938474166</c:v>
                </c:pt>
                <c:pt idx="70">
                  <c:v>0.9368417171940968</c:v>
                </c:pt>
                <c:pt idx="71">
                  <c:v>0.9387185197838686</c:v>
                </c:pt>
                <c:pt idx="72">
                  <c:v>0.9404881290752193</c:v>
                </c:pt>
                <c:pt idx="73">
                  <c:v>0.9422147633112898</c:v>
                </c:pt>
                <c:pt idx="74">
                  <c:v>0.9438953035666637</c:v>
                </c:pt>
                <c:pt idx="75">
                  <c:v>0.9455496850927367</c:v>
                </c:pt>
                <c:pt idx="76">
                  <c:v>0.9471861723232164</c:v>
                </c:pt>
                <c:pt idx="77">
                  <c:v>0.9487160986641154</c:v>
                </c:pt>
                <c:pt idx="78">
                  <c:v>0.9516854306441896</c:v>
                </c:pt>
                <c:pt idx="79">
                  <c:v>0.953129378128672</c:v>
                </c:pt>
                <c:pt idx="80">
                  <c:v>0.9545363440689285</c:v>
                </c:pt>
                <c:pt idx="81">
                  <c:v>0.9559336514014432</c:v>
                </c:pt>
                <c:pt idx="82">
                  <c:v>0.9573299670019129</c:v>
                </c:pt>
                <c:pt idx="83">
                  <c:v>0.9586636022625576</c:v>
                </c:pt>
                <c:pt idx="84">
                  <c:v>0.9599836838519218</c:v>
                </c:pt>
                <c:pt idx="85">
                  <c:v>0.961300014107029</c:v>
                </c:pt>
                <c:pt idx="86">
                  <c:v>0.9626094022378218</c:v>
                </c:pt>
                <c:pt idx="87">
                  <c:v>0.9638905188188701</c:v>
                </c:pt>
                <c:pt idx="88">
                  <c:v>0.9651596196319538</c:v>
                </c:pt>
                <c:pt idx="89">
                  <c:v>0.9664007507267851</c:v>
                </c:pt>
                <c:pt idx="90">
                  <c:v>0.9676121586061249</c:v>
                </c:pt>
                <c:pt idx="91">
                  <c:v>0.968801863363902</c:v>
                </c:pt>
                <c:pt idx="92">
                  <c:v>0.9699773676686299</c:v>
                </c:pt>
                <c:pt idx="93">
                  <c:v>0.9711379959926839</c:v>
                </c:pt>
                <c:pt idx="94">
                  <c:v>0.9722905611040249</c:v>
                </c:pt>
                <c:pt idx="95">
                  <c:v>0.973439374881109</c:v>
                </c:pt>
                <c:pt idx="96">
                  <c:v>0.9744125227298877</c:v>
                </c:pt>
                <c:pt idx="97">
                  <c:v>0.9753397203272515</c:v>
                </c:pt>
                <c:pt idx="98">
                  <c:v>0.9762520994356542</c:v>
                </c:pt>
                <c:pt idx="99">
                  <c:v>0.9771335480025978</c:v>
                </c:pt>
                <c:pt idx="100">
                  <c:v>0.9779495853733609</c:v>
                </c:pt>
                <c:pt idx="101">
                  <c:v>0.9787351090175823</c:v>
                </c:pt>
                <c:pt idx="102">
                  <c:v>0.9795149122363852</c:v>
                </c:pt>
                <c:pt idx="103">
                  <c:v>0.9802823691098752</c:v>
                </c:pt>
                <c:pt idx="104">
                  <c:v>0.9810109759584749</c:v>
                </c:pt>
                <c:pt idx="105">
                  <c:v>0.9817235426192175</c:v>
                </c:pt>
                <c:pt idx="106">
                  <c:v>0.9824203565506668</c:v>
                </c:pt>
                <c:pt idx="107">
                  <c:v>0.9831164374627787</c:v>
                </c:pt>
                <c:pt idx="108">
                  <c:v>0.9837994965019528</c:v>
                </c:pt>
                <c:pt idx="109">
                  <c:v>0.9844756852814532</c:v>
                </c:pt>
                <c:pt idx="110">
                  <c:v>0.9851357763813839</c:v>
                </c:pt>
                <c:pt idx="111">
                  <c:v>0.9857707867216278</c:v>
                </c:pt>
                <c:pt idx="112">
                  <c:v>0.9863981794099324</c:v>
                </c:pt>
                <c:pt idx="113">
                  <c:v>0.9870143612142508</c:v>
                </c:pt>
                <c:pt idx="114">
                  <c:v>0.9875938920516916</c:v>
                </c:pt>
                <c:pt idx="115">
                  <c:v>0.9881719999692419</c:v>
                </c:pt>
                <c:pt idx="116">
                  <c:v>0.988712723900577</c:v>
                </c:pt>
                <c:pt idx="117">
                  <c:v>0.98917441109981</c:v>
                </c:pt>
                <c:pt idx="118">
                  <c:v>0.9896201587216832</c:v>
                </c:pt>
                <c:pt idx="119">
                  <c:v>0.9899993740589773</c:v>
                </c:pt>
                <c:pt idx="120">
                  <c:v>0.9903668610868707</c:v>
                </c:pt>
                <c:pt idx="121">
                  <c:v>0.9907156058164077</c:v>
                </c:pt>
                <c:pt idx="122">
                  <c:v>0.9910542607503573</c:v>
                </c:pt>
                <c:pt idx="123">
                  <c:v>0.9913908028638633</c:v>
                </c:pt>
                <c:pt idx="124">
                  <c:v>0.9917255914801305</c:v>
                </c:pt>
                <c:pt idx="125">
                  <c:v>0.9920603226046849</c:v>
                </c:pt>
                <c:pt idx="126">
                  <c:v>0.9923871486187363</c:v>
                </c:pt>
                <c:pt idx="127">
                  <c:v>0.9927073343399652</c:v>
                </c:pt>
                <c:pt idx="128">
                  <c:v>0.9930265858208619</c:v>
                </c:pt>
                <c:pt idx="129">
                  <c:v>0.9933440119398788</c:v>
                </c:pt>
                <c:pt idx="130">
                  <c:v>0.9936503277854069</c:v>
                </c:pt>
                <c:pt idx="131">
                  <c:v>0.9939302118159985</c:v>
                </c:pt>
                <c:pt idx="132">
                  <c:v>0.994209477810678</c:v>
                </c:pt>
                <c:pt idx="133">
                  <c:v>0.994480723711429</c:v>
                </c:pt>
                <c:pt idx="134">
                  <c:v>0.9947424834795765</c:v>
                </c:pt>
                <c:pt idx="135">
                  <c:v>0.9949995001814221</c:v>
                </c:pt>
                <c:pt idx="136">
                  <c:v>0.9952413103252455</c:v>
                </c:pt>
                <c:pt idx="137">
                  <c:v>0.9954689056430918</c:v>
                </c:pt>
                <c:pt idx="138">
                  <c:v>0.9956879203228101</c:v>
                </c:pt>
                <c:pt idx="139">
                  <c:v>0.995859101897521</c:v>
                </c:pt>
                <c:pt idx="140">
                  <c:v>0.9960244911821725</c:v>
                </c:pt>
                <c:pt idx="141">
                  <c:v>0.9962862509503199</c:v>
                </c:pt>
                <c:pt idx="142">
                  <c:v>0.9964009325443265</c:v>
                </c:pt>
                <c:pt idx="143">
                  <c:v>0.9965153697985539</c:v>
                </c:pt>
                <c:pt idx="144">
                  <c:v>0.9966296920693558</c:v>
                </c:pt>
                <c:pt idx="145">
                  <c:v>0.9967370722158433</c:v>
                </c:pt>
                <c:pt idx="146">
                  <c:v>0.9968424401523845</c:v>
                </c:pt>
                <c:pt idx="147">
                  <c:v>0.9969421882740045</c:v>
                </c:pt>
                <c:pt idx="148">
                  <c:v>0.9970342612519725</c:v>
                </c:pt>
                <c:pt idx="149">
                  <c:v>0.9971259892796639</c:v>
                </c:pt>
                <c:pt idx="150">
                  <c:v>0.9972029850559634</c:v>
                </c:pt>
                <c:pt idx="151">
                  <c:v>0.9972761720062933</c:v>
                </c:pt>
                <c:pt idx="152">
                  <c:v>0.9973485540726446</c:v>
                </c:pt>
                <c:pt idx="153">
                  <c:v>0.9974175585008719</c:v>
                </c:pt>
                <c:pt idx="154">
                  <c:v>0.9975522615838435</c:v>
                </c:pt>
                <c:pt idx="155">
                  <c:v>0.9976170834899682</c:v>
                </c:pt>
                <c:pt idx="156">
                  <c:v>0.997728861752481</c:v>
                </c:pt>
                <c:pt idx="157">
                  <c:v>0.9978334248050437</c:v>
                </c:pt>
                <c:pt idx="158">
                  <c:v>0.9978840175122631</c:v>
                </c:pt>
                <c:pt idx="159">
                  <c:v>0.9979342940150623</c:v>
                </c:pt>
                <c:pt idx="160">
                  <c:v>0.9980262663825329</c:v>
                </c:pt>
                <c:pt idx="161">
                  <c:v>0.9981076315290013</c:v>
                </c:pt>
                <c:pt idx="162">
                  <c:v>0.9981466971478145</c:v>
                </c:pt>
                <c:pt idx="163">
                  <c:v>0.9981851878495</c:v>
                </c:pt>
                <c:pt idx="164">
                  <c:v>0.9982617955567384</c:v>
                </c:pt>
                <c:pt idx="165">
                  <c:v>0.9982990214407436</c:v>
                </c:pt>
                <c:pt idx="166">
                  <c:v>0.9983729270374827</c:v>
                </c:pt>
                <c:pt idx="167">
                  <c:v>0.9984087587474537</c:v>
                </c:pt>
                <c:pt idx="168">
                  <c:v>0.9984434549960979</c:v>
                </c:pt>
                <c:pt idx="169">
                  <c:v>0.998478065007173</c:v>
                </c:pt>
                <c:pt idx="170">
                  <c:v>0.9985124163055407</c:v>
                </c:pt>
                <c:pt idx="171">
                  <c:v>0.9985465232641292</c:v>
                </c:pt>
                <c:pt idx="172">
                  <c:v>0.9985805152392921</c:v>
                </c:pt>
                <c:pt idx="173">
                  <c:v>0.9987071694824787</c:v>
                </c:pt>
                <c:pt idx="174">
                  <c:v>0.9987356422532178</c:v>
                </c:pt>
                <c:pt idx="175">
                  <c:v>0.998763051427271</c:v>
                </c:pt>
                <c:pt idx="176">
                  <c:v>0.9987901875156886</c:v>
                </c:pt>
                <c:pt idx="177">
                  <c:v>0.9988158144466466</c:v>
                </c:pt>
                <c:pt idx="178">
                  <c:v>0.9988662634245841</c:v>
                </c:pt>
                <c:pt idx="179">
                  <c:v>0.9988912866925582</c:v>
                </c:pt>
                <c:pt idx="180">
                  <c:v>0.9989160799936814</c:v>
                </c:pt>
                <c:pt idx="181">
                  <c:v>0.998940456479887</c:v>
                </c:pt>
                <c:pt idx="182">
                  <c:v>0.9989876715489824</c:v>
                </c:pt>
                <c:pt idx="183">
                  <c:v>0.9990095327727553</c:v>
                </c:pt>
                <c:pt idx="184">
                  <c:v>0.9990716381954527</c:v>
                </c:pt>
                <c:pt idx="185">
                  <c:v>0.9991690004109937</c:v>
                </c:pt>
                <c:pt idx="186">
                  <c:v>0.9992067724662699</c:v>
                </c:pt>
                <c:pt idx="187">
                  <c:v>0.9992798444331742</c:v>
                </c:pt>
                <c:pt idx="188">
                  <c:v>0.9992974368972755</c:v>
                </c:pt>
                <c:pt idx="189">
                  <c:v>0.9993979036653049</c:v>
                </c:pt>
                <c:pt idx="190">
                  <c:v>0.9994130239857579</c:v>
                </c:pt>
                <c:pt idx="191">
                  <c:v>0.999427986204001</c:v>
                </c:pt>
                <c:pt idx="192">
                  <c:v>0.9994558553117562</c:v>
                </c:pt>
                <c:pt idx="193">
                  <c:v>0.9994696389498878</c:v>
                </c:pt>
                <c:pt idx="194">
                  <c:v>0.999483235739953</c:v>
                </c:pt>
                <c:pt idx="195">
                  <c:v>0.9994967031736646</c:v>
                </c:pt>
                <c:pt idx="196">
                  <c:v>0.999535179502422</c:v>
                </c:pt>
                <c:pt idx="197">
                  <c:v>0.999628100483153</c:v>
                </c:pt>
                <c:pt idx="198">
                  <c:v>0.9996481075991898</c:v>
                </c:pt>
                <c:pt idx="199">
                  <c:v>0.999701618010831</c:v>
                </c:pt>
                <c:pt idx="200">
                  <c:v>0.9997561057815891</c:v>
                </c:pt>
                <c:pt idx="201">
                  <c:v>0.9997705793202738</c:v>
                </c:pt>
                <c:pt idx="202">
                  <c:v>0.9998185705274912</c:v>
                </c:pt>
                <c:pt idx="203">
                  <c:v>0.999873805690515</c:v>
                </c:pt>
                <c:pt idx="204">
                  <c:v>0.9999244271435905</c:v>
                </c:pt>
                <c:pt idx="205">
                  <c:v>0.9999564931463766</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96</c:f>
              <c:strCache>
                <c:ptCount val="95"/>
                <c:pt idx="0">
                  <c:v>Private Lab</c:v>
                </c:pt>
                <c:pt idx="1">
                  <c:v>Galbani</c:v>
                </c:pt>
                <c:pt idx="2">
                  <c:v>Private Lab</c:v>
                </c:pt>
                <c:pt idx="3">
                  <c:v>Private Lab</c:v>
                </c:pt>
                <c:pt idx="4">
                  <c:v>Salakis</c:v>
                </c:pt>
                <c:pt idx="5">
                  <c:v>Private Lab</c:v>
                </c:pt>
                <c:pt idx="6">
                  <c:v>Private Lab</c:v>
                </c:pt>
                <c:pt idx="7">
                  <c:v>Boursin</c:v>
                </c:pt>
                <c:pt idx="8">
                  <c:v>Salakis</c:v>
                </c:pt>
                <c:pt idx="9">
                  <c:v>Casa Azzurr</c:v>
                </c:pt>
                <c:pt idx="10">
                  <c:v>Private Lab</c:v>
                </c:pt>
                <c:pt idx="11">
                  <c:v>Private Lab</c:v>
                </c:pt>
                <c:pt idx="12">
                  <c:v>Galbani</c:v>
                </c:pt>
                <c:pt idx="13">
                  <c:v>Private Lab</c:v>
                </c:pt>
                <c:pt idx="14">
                  <c:v>All Others</c:v>
                </c:pt>
                <c:pt idx="15">
                  <c:v>Islos</c:v>
                </c:pt>
                <c:pt idx="16">
                  <c:v>Casa Azzurr</c:v>
                </c:pt>
                <c:pt idx="17">
                  <c:v>Private Lab</c:v>
                </c:pt>
                <c:pt idx="18">
                  <c:v>Private Lab</c:v>
                </c:pt>
                <c:pt idx="19">
                  <c:v>All Others</c:v>
                </c:pt>
                <c:pt idx="20">
                  <c:v>Galbani</c:v>
                </c:pt>
                <c:pt idx="21">
                  <c:v>All Others</c:v>
                </c:pt>
                <c:pt idx="22">
                  <c:v>All Others</c:v>
                </c:pt>
                <c:pt idx="23">
                  <c:v>All Others</c:v>
                </c:pt>
                <c:pt idx="24">
                  <c:v>All Others</c:v>
                </c:pt>
                <c:pt idx="25">
                  <c:v>All Others</c:v>
                </c:pt>
                <c:pt idx="26">
                  <c:v>All Others</c:v>
                </c:pt>
                <c:pt idx="27">
                  <c:v>All Others</c:v>
                </c:pt>
                <c:pt idx="28">
                  <c:v>All Others</c:v>
                </c:pt>
                <c:pt idx="29">
                  <c:v>All Others</c:v>
                </c:pt>
                <c:pt idx="30">
                  <c:v>All Others</c:v>
                </c:pt>
                <c:pt idx="31">
                  <c:v>Salakis</c:v>
                </c:pt>
                <c:pt idx="32">
                  <c:v>All Others</c:v>
                </c:pt>
                <c:pt idx="33">
                  <c:v>All Others</c:v>
                </c:pt>
                <c:pt idx="34">
                  <c:v>Private Lab</c:v>
                </c:pt>
                <c:pt idx="35">
                  <c:v>All Others</c:v>
                </c:pt>
                <c:pt idx="36">
                  <c:v>All Others</c:v>
                </c:pt>
                <c:pt idx="37">
                  <c:v>All Others</c:v>
                </c:pt>
                <c:pt idx="38">
                  <c:v>Galbani</c:v>
                </c:pt>
                <c:pt idx="39">
                  <c:v>All Others</c:v>
                </c:pt>
                <c:pt idx="40">
                  <c:v>Galbani</c:v>
                </c:pt>
                <c:pt idx="41">
                  <c:v>Casa Azzurr</c:v>
                </c:pt>
                <c:pt idx="42">
                  <c:v>Casa Azzurr</c:v>
                </c:pt>
                <c:pt idx="43">
                  <c:v>Casa Azzurr</c:v>
                </c:pt>
                <c:pt idx="44">
                  <c:v>All Others</c:v>
                </c:pt>
                <c:pt idx="45">
                  <c:v>All Others</c:v>
                </c:pt>
                <c:pt idx="46">
                  <c:v>All Others</c:v>
                </c:pt>
                <c:pt idx="47">
                  <c:v>All Others</c:v>
                </c:pt>
                <c:pt idx="48">
                  <c:v>All Others</c:v>
                </c:pt>
                <c:pt idx="49">
                  <c:v>All Others</c:v>
                </c:pt>
                <c:pt idx="50">
                  <c:v>All Others</c:v>
                </c:pt>
                <c:pt idx="51">
                  <c:v>All Others</c:v>
                </c:pt>
                <c:pt idx="52">
                  <c:v>All Others</c:v>
                </c:pt>
                <c:pt idx="53">
                  <c:v>All Others</c:v>
                </c:pt>
                <c:pt idx="54">
                  <c:v>All Others</c:v>
                </c:pt>
                <c:pt idx="55">
                  <c:v>All Others</c:v>
                </c:pt>
                <c:pt idx="56">
                  <c:v>All Others</c:v>
                </c:pt>
                <c:pt idx="57">
                  <c:v>All Others</c:v>
                </c:pt>
                <c:pt idx="58">
                  <c:v>Lactalis: A</c:v>
                </c:pt>
                <c:pt idx="59">
                  <c:v>All Others</c:v>
                </c:pt>
                <c:pt idx="60">
                  <c:v>All Others</c:v>
                </c:pt>
                <c:pt idx="61">
                  <c:v>All Others</c:v>
                </c:pt>
                <c:pt idx="62">
                  <c:v>All Others</c:v>
                </c:pt>
                <c:pt idx="63">
                  <c:v>Lactalis: A</c:v>
                </c:pt>
                <c:pt idx="64">
                  <c:v>Galbani</c:v>
                </c:pt>
                <c:pt idx="65">
                  <c:v>All Others</c:v>
                </c:pt>
                <c:pt idx="66">
                  <c:v>All Others</c:v>
                </c:pt>
                <c:pt idx="67">
                  <c:v>All Others</c:v>
                </c:pt>
                <c:pt idx="68">
                  <c:v>All Others</c:v>
                </c:pt>
                <c:pt idx="69">
                  <c:v>All Others</c:v>
                </c:pt>
                <c:pt idx="70">
                  <c:v>All Others</c:v>
                </c:pt>
                <c:pt idx="71">
                  <c:v>All Others</c:v>
                </c:pt>
                <c:pt idx="72">
                  <c:v>All Others</c:v>
                </c:pt>
                <c:pt idx="73">
                  <c:v>All Others</c:v>
                </c:pt>
                <c:pt idx="74">
                  <c:v>All Others</c:v>
                </c:pt>
                <c:pt idx="75">
                  <c:v>All Others</c:v>
                </c:pt>
                <c:pt idx="76">
                  <c:v>All Others</c:v>
                </c:pt>
                <c:pt idx="77">
                  <c:v>All Others</c:v>
                </c:pt>
                <c:pt idx="78">
                  <c:v>Private Lab</c:v>
                </c:pt>
                <c:pt idx="79">
                  <c:v>All Others</c:v>
                </c:pt>
                <c:pt idx="80">
                  <c:v>All Others</c:v>
                </c:pt>
                <c:pt idx="81">
                  <c:v>All Others</c:v>
                </c:pt>
                <c:pt idx="82">
                  <c:v>All Others</c:v>
                </c:pt>
                <c:pt idx="83">
                  <c:v>All Others</c:v>
                </c:pt>
                <c:pt idx="84">
                  <c:v>All Others</c:v>
                </c:pt>
                <c:pt idx="85">
                  <c:v>All Others</c:v>
                </c:pt>
                <c:pt idx="86">
                  <c:v>All Others</c:v>
                </c:pt>
                <c:pt idx="87">
                  <c:v>All Others</c:v>
                </c:pt>
                <c:pt idx="88">
                  <c:v>All Others</c:v>
                </c:pt>
                <c:pt idx="89">
                  <c:v>All Others</c:v>
                </c:pt>
                <c:pt idx="90">
                  <c:v>All Others</c:v>
                </c:pt>
                <c:pt idx="91">
                  <c:v>All Others</c:v>
                </c:pt>
                <c:pt idx="92">
                  <c:v>All Others</c:v>
                </c:pt>
                <c:pt idx="93">
                  <c:v>All Others</c:v>
                </c:pt>
                <c:pt idx="94">
                  <c:v>All Others</c:v>
                </c:pt>
              </c:strCache>
            </c:strRef>
          </c:cat>
          <c:val>
            <c:numRef>
              <c:f>Sheet1!$B$2:$B$96</c:f>
              <c:numCache>
                <c:formatCode>General</c:formatCode>
                <c:ptCount val="95"/>
                <c:pt idx="0">
                  <c:v>1.0</c:v>
                </c:pt>
                <c:pt idx="1">
                  <c:v>0.74</c:v>
                </c:pt>
                <c:pt idx="2">
                  <c:v>0.84</c:v>
                </c:pt>
                <c:pt idx="3">
                  <c:v>0.95</c:v>
                </c:pt>
                <c:pt idx="4">
                  <c:v>0.66</c:v>
                </c:pt>
                <c:pt idx="5">
                  <c:v>0.88</c:v>
                </c:pt>
                <c:pt idx="6">
                  <c:v>0.68</c:v>
                </c:pt>
                <c:pt idx="7">
                  <c:v>0.79</c:v>
                </c:pt>
                <c:pt idx="8">
                  <c:v>0.68</c:v>
                </c:pt>
                <c:pt idx="9">
                  <c:v>0.35</c:v>
                </c:pt>
                <c:pt idx="10">
                  <c:v>0.57</c:v>
                </c:pt>
                <c:pt idx="11">
                  <c:v>0.66</c:v>
                </c:pt>
                <c:pt idx="12">
                  <c:v>0.28</c:v>
                </c:pt>
                <c:pt idx="13">
                  <c:v>0.82</c:v>
                </c:pt>
                <c:pt idx="14">
                  <c:v>0.27</c:v>
                </c:pt>
                <c:pt idx="15">
                  <c:v>0.14</c:v>
                </c:pt>
                <c:pt idx="16">
                  <c:v>0.25</c:v>
                </c:pt>
                <c:pt idx="17">
                  <c:v>0.92</c:v>
                </c:pt>
                <c:pt idx="18">
                  <c:v>0.6</c:v>
                </c:pt>
                <c:pt idx="19">
                  <c:v>0.22</c:v>
                </c:pt>
                <c:pt idx="20">
                  <c:v>0.16</c:v>
                </c:pt>
                <c:pt idx="21">
                  <c:v>0.16</c:v>
                </c:pt>
                <c:pt idx="22">
                  <c:v>0.29</c:v>
                </c:pt>
                <c:pt idx="23">
                  <c:v>0.18</c:v>
                </c:pt>
                <c:pt idx="24">
                  <c:v>0.19</c:v>
                </c:pt>
                <c:pt idx="25">
                  <c:v>0.08</c:v>
                </c:pt>
                <c:pt idx="26">
                  <c:v>0.08</c:v>
                </c:pt>
                <c:pt idx="27">
                  <c:v>0.08</c:v>
                </c:pt>
                <c:pt idx="28">
                  <c:v>0.24</c:v>
                </c:pt>
                <c:pt idx="29">
                  <c:v>0.1</c:v>
                </c:pt>
                <c:pt idx="30">
                  <c:v>0.07</c:v>
                </c:pt>
                <c:pt idx="31">
                  <c:v>0.11</c:v>
                </c:pt>
                <c:pt idx="32">
                  <c:v>0.1</c:v>
                </c:pt>
                <c:pt idx="33">
                  <c:v>0.07</c:v>
                </c:pt>
                <c:pt idx="34">
                  <c:v>0.11</c:v>
                </c:pt>
                <c:pt idx="35">
                  <c:v>0.05</c:v>
                </c:pt>
                <c:pt idx="36">
                  <c:v>0.06</c:v>
                </c:pt>
                <c:pt idx="37">
                  <c:v>0.18</c:v>
                </c:pt>
                <c:pt idx="38">
                  <c:v>0.08</c:v>
                </c:pt>
                <c:pt idx="39">
                  <c:v>0.05</c:v>
                </c:pt>
                <c:pt idx="40">
                  <c:v>0.07</c:v>
                </c:pt>
                <c:pt idx="41">
                  <c:v>0.09</c:v>
                </c:pt>
                <c:pt idx="42">
                  <c:v>0.08</c:v>
                </c:pt>
                <c:pt idx="43">
                  <c:v>0.06</c:v>
                </c:pt>
                <c:pt idx="44">
                  <c:v>0.05</c:v>
                </c:pt>
                <c:pt idx="45">
                  <c:v>0.04</c:v>
                </c:pt>
                <c:pt idx="46">
                  <c:v>0.04</c:v>
                </c:pt>
                <c:pt idx="47">
                  <c:v>0.08</c:v>
                </c:pt>
                <c:pt idx="48">
                  <c:v>0.08</c:v>
                </c:pt>
                <c:pt idx="49">
                  <c:v>0.01</c:v>
                </c:pt>
                <c:pt idx="50">
                  <c:v>0.03</c:v>
                </c:pt>
                <c:pt idx="51">
                  <c:v>0.03</c:v>
                </c:pt>
                <c:pt idx="52">
                  <c:v>0.03</c:v>
                </c:pt>
                <c:pt idx="53">
                  <c:v>0.02</c:v>
                </c:pt>
                <c:pt idx="54">
                  <c:v>0.02</c:v>
                </c:pt>
                <c:pt idx="55">
                  <c:v>0.03</c:v>
                </c:pt>
                <c:pt idx="56">
                  <c:v>0.02</c:v>
                </c:pt>
                <c:pt idx="57">
                  <c:v>0.03</c:v>
                </c:pt>
                <c:pt idx="58">
                  <c:v>0.02</c:v>
                </c:pt>
                <c:pt idx="59">
                  <c:v>0.02</c:v>
                </c:pt>
                <c:pt idx="60">
                  <c:v>0.01</c:v>
                </c:pt>
                <c:pt idx="61">
                  <c:v>0.01</c:v>
                </c:pt>
                <c:pt idx="62">
                  <c:v>0.02</c:v>
                </c:pt>
                <c:pt idx="63">
                  <c:v>0.02</c:v>
                </c:pt>
                <c:pt idx="64">
                  <c:v>0.04</c:v>
                </c:pt>
                <c:pt idx="65">
                  <c:v>0.01</c:v>
                </c:pt>
                <c:pt idx="66">
                  <c:v>0.01</c:v>
                </c:pt>
                <c:pt idx="67">
                  <c:v>0.01</c:v>
                </c:pt>
                <c:pt idx="68">
                  <c:v>0.01</c:v>
                </c:pt>
                <c:pt idx="69">
                  <c:v>0.04</c:v>
                </c:pt>
                <c:pt idx="70">
                  <c:v>0.01</c:v>
                </c:pt>
                <c:pt idx="71">
                  <c:v>0.01</c:v>
                </c:pt>
                <c:pt idx="72">
                  <c:v>0.01</c:v>
                </c:pt>
                <c:pt idx="73">
                  <c:v>0.01</c:v>
                </c:pt>
                <c:pt idx="74">
                  <c:v>0.01</c:v>
                </c:pt>
                <c:pt idx="75">
                  <c:v>0.03</c:v>
                </c:pt>
                <c:pt idx="76">
                  <c:v>0.01</c:v>
                </c:pt>
                <c:pt idx="77">
                  <c:v>0.01</c:v>
                </c:pt>
                <c:pt idx="78">
                  <c:v>0.02</c:v>
                </c:pt>
                <c:pt idx="79">
                  <c:v>0.02</c:v>
                </c:pt>
                <c:pt idx="80">
                  <c:v>0.03</c:v>
                </c:pt>
                <c:pt idx="81">
                  <c:v>0.01</c:v>
                </c:pt>
                <c:pt idx="82">
                  <c:v>0.01</c:v>
                </c:pt>
                <c:pt idx="83">
                  <c:v>0.01</c:v>
                </c:pt>
                <c:pt idx="84">
                  <c:v>0.01</c:v>
                </c:pt>
                <c:pt idx="85">
                  <c:v>0.01</c:v>
                </c:pt>
                <c:pt idx="86">
                  <c:v>0.01</c:v>
                </c:pt>
                <c:pt idx="87">
                  <c:v>0.01</c:v>
                </c:pt>
                <c:pt idx="88">
                  <c:v>0.01</c:v>
                </c:pt>
                <c:pt idx="89">
                  <c:v>0.01</c:v>
                </c:pt>
                <c:pt idx="90">
                  <c:v>0.01</c:v>
                </c:pt>
                <c:pt idx="91">
                  <c:v>0.01</c:v>
                </c:pt>
                <c:pt idx="92">
                  <c:v>0.01</c:v>
                </c:pt>
                <c:pt idx="93">
                  <c:v>0.01</c:v>
                </c:pt>
                <c:pt idx="94">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Item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7ECAC4"/>
              </a:solidFill>
            </c:spPr>
            <c:extLst>
              <c:ext xmlns:c16="http://schemas.microsoft.com/office/drawing/2014/chart" uri="{C3380CC4-5D6E-409C-BE32-E72D297353CC}">
                <c16:uniqueId val="{0000004D-2993-41DE-A2CB-63102DE87051}"/>
              </c:ext>
            </c:extLst>
          </c:dPt>
          <c:dPt>
            <c:idx val="11"/>
            <c:invertIfNegative val="1"/>
            <c:bubble3D val="0"/>
            <c:spPr>
              <a:solidFill>
                <a:srgbClr val="7ECAC4"/>
              </a:solidFill>
            </c:spPr>
            <c:extLst>
              <c:ext xmlns:c16="http://schemas.microsoft.com/office/drawing/2014/chart" uri="{C3380CC4-5D6E-409C-BE32-E72D297353CC}">
                <c16:uniqueId val="{0000004F-2993-41DE-A2CB-63102DE87051}"/>
              </c:ext>
            </c:extLst>
          </c:dPt>
          <c:dPt>
            <c:idx val="12"/>
            <c:invertIfNegative val="1"/>
            <c:bubble3D val="0"/>
            <c:spPr>
              <a:solidFill>
                <a:srgbClr val="7ECAC4"/>
              </a:solidFill>
            </c:spPr>
            <c:extLst>
              <c:ext xmlns:c16="http://schemas.microsoft.com/office/drawing/2014/chart" uri="{C3380CC4-5D6E-409C-BE32-E72D297353CC}">
                <c16:uniqueId val="{00000051-2993-41DE-A2CB-63102DE87051}"/>
              </c:ext>
            </c:extLst>
          </c:dPt>
          <c:dPt>
            <c:idx val="13"/>
            <c:invertIfNegative val="1"/>
            <c:bubble3D val="0"/>
            <c:spPr>
              <a:solidFill>
                <a:srgbClr val="7ECAC4"/>
              </a:solidFill>
            </c:spPr>
            <c:extLst>
              <c:ext xmlns:c16="http://schemas.microsoft.com/office/drawing/2014/chart" uri="{C3380CC4-5D6E-409C-BE32-E72D297353CC}">
                <c16:uniqueId val="{00000053-2993-41DE-A2CB-63102DE87051}"/>
              </c:ext>
            </c:extLst>
          </c:dPt>
          <c:dPt>
            <c:idx val="14"/>
            <c:invertIfNegative val="1"/>
            <c:bubble3D val="0"/>
            <c:spPr>
              <a:solidFill>
                <a:srgbClr val="7ECAC4"/>
              </a:solidFill>
            </c:spPr>
            <c:extLst>
              <c:ext xmlns:c16="http://schemas.microsoft.com/office/drawing/2014/chart" uri="{C3380CC4-5D6E-409C-BE32-E72D297353CC}">
                <c16:uniqueId val="{00000055-2993-41DE-A2CB-63102DE87051}"/>
              </c:ext>
            </c:extLst>
          </c:dPt>
          <c:dPt>
            <c:idx val="15"/>
            <c:invertIfNegative val="1"/>
            <c:bubble3D val="0"/>
            <c:spPr>
              <a:solidFill>
                <a:srgbClr val="7ECAC4"/>
              </a:solidFill>
            </c:spPr>
            <c:extLst>
              <c:ext xmlns:c16="http://schemas.microsoft.com/office/drawing/2014/chart" uri="{C3380CC4-5D6E-409C-BE32-E72D297353CC}">
                <c16:uniqueId val="{00000057-2993-41DE-A2CB-63102DE87051}"/>
              </c:ext>
            </c:extLst>
          </c:dPt>
          <c:dPt>
            <c:idx val="16"/>
            <c:invertIfNegative val="1"/>
            <c:bubble3D val="0"/>
            <c:spPr>
              <a:solidFill>
                <a:srgbClr val="7ECAC4"/>
              </a:solidFill>
            </c:spPr>
            <c:extLst>
              <c:ext xmlns:c16="http://schemas.microsoft.com/office/drawing/2014/chart" uri="{C3380CC4-5D6E-409C-BE32-E72D297353CC}">
                <c16:uniqueId val="{00000059-2993-41DE-A2CB-63102DE87051}"/>
              </c:ext>
            </c:extLst>
          </c:dPt>
          <c:dPt>
            <c:idx val="17"/>
            <c:invertIfNegative val="1"/>
            <c:bubble3D val="0"/>
            <c:spPr>
              <a:solidFill>
                <a:srgbClr val="7ECAC4"/>
              </a:solidFill>
            </c:spPr>
            <c:extLst>
              <c:ext xmlns:c16="http://schemas.microsoft.com/office/drawing/2014/chart" uri="{C3380CC4-5D6E-409C-BE32-E72D297353CC}">
                <c16:uniqueId val="{0000005B-2993-41DE-A2CB-63102DE87051}"/>
              </c:ext>
            </c:extLst>
          </c:dPt>
          <c:dPt>
            <c:idx val="18"/>
            <c:invertIfNegative val="1"/>
            <c:bubble3D val="0"/>
            <c:spPr>
              <a:solidFill>
                <a:srgbClr val="7ECAC4"/>
              </a:solidFill>
            </c:spPr>
            <c:extLst>
              <c:ext xmlns:c16="http://schemas.microsoft.com/office/drawing/2014/chart" uri="{C3380CC4-5D6E-409C-BE32-E72D297353CC}">
                <c16:uniqueId val="{0000005D-2993-41DE-A2CB-63102DE87051}"/>
              </c:ext>
            </c:extLst>
          </c:dPt>
          <c:dPt>
            <c:idx val="19"/>
            <c:invertIfNegative val="1"/>
            <c:bubble3D val="0"/>
            <c:spPr>
              <a:solidFill>
                <a:srgbClr val="7ECAC4"/>
              </a:solidFill>
            </c:spPr>
            <c:extLst>
              <c:ext xmlns:c16="http://schemas.microsoft.com/office/drawing/2014/chart" uri="{C3380CC4-5D6E-409C-BE32-E72D297353CC}">
                <c16:uniqueId val="{0000005F-2993-41DE-A2CB-63102DE87051}"/>
              </c:ext>
            </c:extLst>
          </c:dPt>
          <c:dPt>
            <c:idx val="20"/>
            <c:invertIfNegative val="1"/>
            <c:bubble3D val="0"/>
            <c:spPr>
              <a:solidFill>
                <a:srgbClr val="7ECAC4"/>
              </a:solidFill>
            </c:spPr>
            <c:extLst>
              <c:ext xmlns:c16="http://schemas.microsoft.com/office/drawing/2014/chart" uri="{C3380CC4-5D6E-409C-BE32-E72D297353CC}">
                <c16:uniqueId val="{00000061-2993-41DE-A2CB-63102DE87051}"/>
              </c:ext>
            </c:extLst>
          </c:dPt>
          <c:dPt>
            <c:idx val="21"/>
            <c:invertIfNegative val="1"/>
            <c:bubble3D val="0"/>
            <c:spPr>
              <a:solidFill>
                <a:srgbClr val="7ECAC4"/>
              </a:solidFill>
            </c:spPr>
            <c:extLst>
              <c:ext xmlns:c16="http://schemas.microsoft.com/office/drawing/2014/chart" uri="{C3380CC4-5D6E-409C-BE32-E72D297353CC}">
                <c16:uniqueId val="{00000063-2993-41DE-A2CB-63102DE87051}"/>
              </c:ext>
            </c:extLst>
          </c:dPt>
          <c:dPt>
            <c:idx val="22"/>
            <c:invertIfNegative val="1"/>
            <c:bubble3D val="0"/>
            <c:spPr>
              <a:solidFill>
                <a:srgbClr val="7ECAC4"/>
              </a:solidFill>
            </c:spPr>
            <c:extLst>
              <c:ext xmlns:c16="http://schemas.microsoft.com/office/drawing/2014/chart" uri="{C3380CC4-5D6E-409C-BE32-E72D297353CC}">
                <c16:uniqueId val="{00000065-2993-41DE-A2CB-63102DE87051}"/>
              </c:ext>
            </c:extLst>
          </c:dPt>
          <c:dPt>
            <c:idx val="23"/>
            <c:invertIfNegative val="1"/>
            <c:bubble3D val="0"/>
            <c:spPr>
              <a:solidFill>
                <a:srgbClr val="7ECAC4"/>
              </a:solidFill>
            </c:spPr>
            <c:extLst>
              <c:ext xmlns:c16="http://schemas.microsoft.com/office/drawing/2014/chart" uri="{C3380CC4-5D6E-409C-BE32-E72D297353CC}">
                <c16:uniqueId val="{00000067-2993-41DE-A2CB-63102DE87051}"/>
              </c:ext>
            </c:extLst>
          </c:dPt>
          <c:dPt>
            <c:idx val="24"/>
            <c:invertIfNegative val="1"/>
            <c:bubble3D val="0"/>
            <c:spPr>
              <a:solidFill>
                <a:srgbClr val="7ECAC4"/>
              </a:solidFill>
            </c:spPr>
            <c:extLst>
              <c:ext xmlns:c16="http://schemas.microsoft.com/office/drawing/2014/chart" uri="{C3380CC4-5D6E-409C-BE32-E72D297353CC}">
                <c16:uniqueId val="{00000069-2993-41DE-A2CB-63102DE87051}"/>
              </c:ext>
            </c:extLst>
          </c:dPt>
          <c:dPt>
            <c:idx val="25"/>
            <c:invertIfNegative val="1"/>
            <c:bubble3D val="0"/>
            <c:spPr>
              <a:solidFill>
                <a:srgbClr val="7ECAC4"/>
              </a:solidFill>
            </c:spPr>
            <c:extLst>
              <c:ext xmlns:c16="http://schemas.microsoft.com/office/drawing/2014/chart" uri="{C3380CC4-5D6E-409C-BE32-E72D297353CC}">
                <c16:uniqueId val="{0000006B-2993-41DE-A2CB-63102DE87051}"/>
              </c:ext>
            </c:extLst>
          </c:dPt>
          <c:dPt>
            <c:idx val="26"/>
            <c:invertIfNegative val="1"/>
            <c:bubble3D val="0"/>
            <c:spPr>
              <a:solidFill>
                <a:srgbClr val="7ECAC4"/>
              </a:solidFill>
            </c:spPr>
            <c:extLst>
              <c:ext xmlns:c16="http://schemas.microsoft.com/office/drawing/2014/chart" uri="{C3380CC4-5D6E-409C-BE32-E72D297353CC}">
                <c16:uniqueId val="{0000006D-2993-41DE-A2CB-63102DE87051}"/>
              </c:ext>
            </c:extLst>
          </c:dPt>
          <c:dPt>
            <c:idx val="27"/>
            <c:invertIfNegative val="1"/>
            <c:bubble3D val="0"/>
            <c:spPr>
              <a:solidFill>
                <a:srgbClr val="AEABAB"/>
              </a:solidFill>
            </c:spPr>
            <c:extLst>
              <c:ext xmlns:c16="http://schemas.microsoft.com/office/drawing/2014/chart" uri="{C3380CC4-5D6E-409C-BE32-E72D297353CC}">
                <c16:uniqueId val="{0000006F-2993-41DE-A2CB-63102DE87051}"/>
              </c:ext>
            </c:extLst>
          </c:dPt>
          <c:dPt>
            <c:idx val="28"/>
            <c:invertIfNegative val="1"/>
            <c:bubble3D val="0"/>
            <c:spPr>
              <a:solidFill>
                <a:srgbClr val="AEABAB"/>
              </a:solidFill>
            </c:spPr>
            <c:extLst>
              <c:ext xmlns:c16="http://schemas.microsoft.com/office/drawing/2014/chart" uri="{C3380CC4-5D6E-409C-BE32-E72D297353CC}">
                <c16:uniqueId val="{00000071-2993-41DE-A2CB-63102DE87051}"/>
              </c:ext>
            </c:extLst>
          </c:dPt>
          <c:dPt>
            <c:idx val="29"/>
            <c:invertIfNegative val="1"/>
            <c:bubble3D val="0"/>
            <c:spPr>
              <a:solidFill>
                <a:srgbClr val="AEABAB"/>
              </a:solidFill>
            </c:spPr>
            <c:extLst>
              <c:ext xmlns:c16="http://schemas.microsoft.com/office/drawing/2014/chart" uri="{C3380CC4-5D6E-409C-BE32-E72D297353CC}">
                <c16:uniqueId val="{00000073-2993-41DE-A2CB-63102DE87051}"/>
              </c:ext>
            </c:extLst>
          </c:dPt>
          <c:dPt>
            <c:idx val="30"/>
            <c:invertIfNegative val="1"/>
            <c:bubble3D val="0"/>
            <c:spPr>
              <a:solidFill>
                <a:srgbClr val="AEABAB"/>
              </a:solidFill>
            </c:spPr>
            <c:extLst>
              <c:ext xmlns:c16="http://schemas.microsoft.com/office/drawing/2014/chart" uri="{C3380CC4-5D6E-409C-BE32-E72D297353CC}">
                <c16:uniqueId val="{00000075-2993-41DE-A2CB-63102DE87051}"/>
              </c:ext>
            </c:extLst>
          </c:dPt>
          <c:dPt>
            <c:idx val="31"/>
            <c:invertIfNegative val="1"/>
            <c:bubble3D val="0"/>
            <c:spPr>
              <a:solidFill>
                <a:srgbClr val="AEABAB"/>
              </a:solidFill>
            </c:spPr>
            <c:extLst>
              <c:ext xmlns:c16="http://schemas.microsoft.com/office/drawing/2014/chart" uri="{C3380CC4-5D6E-409C-BE32-E72D297353CC}">
                <c16:uniqueId val="{00000077-2993-41DE-A2CB-63102DE87051}"/>
              </c:ext>
            </c:extLst>
          </c:dPt>
          <c:dPt>
            <c:idx val="32"/>
            <c:invertIfNegative val="1"/>
            <c:bubble3D val="0"/>
            <c:spPr>
              <a:solidFill>
                <a:srgbClr val="AEABAB"/>
              </a:solidFill>
            </c:spPr>
            <c:extLst>
              <c:ext xmlns:c16="http://schemas.microsoft.com/office/drawing/2014/chart" uri="{C3380CC4-5D6E-409C-BE32-E72D297353CC}">
                <c16:uniqueId val="{00000079-2993-41DE-A2CB-63102DE87051}"/>
              </c:ext>
            </c:extLst>
          </c:dPt>
          <c:dPt>
            <c:idx val="33"/>
            <c:invertIfNegative val="1"/>
            <c:bubble3D val="0"/>
            <c:spPr>
              <a:solidFill>
                <a:srgbClr val="AEABAB"/>
              </a:solidFill>
            </c:spPr>
            <c:extLst>
              <c:ext xmlns:c16="http://schemas.microsoft.com/office/drawing/2014/chart" uri="{C3380CC4-5D6E-409C-BE32-E72D297353CC}">
                <c16:uniqueId val="{0000007B-2993-41DE-A2CB-63102DE87051}"/>
              </c:ext>
            </c:extLst>
          </c:dPt>
          <c:dPt>
            <c:idx val="34"/>
            <c:invertIfNegative val="1"/>
            <c:bubble3D val="0"/>
            <c:spPr>
              <a:solidFill>
                <a:srgbClr val="AEABAB"/>
              </a:solidFill>
            </c:spPr>
            <c:extLst>
              <c:ext xmlns:c16="http://schemas.microsoft.com/office/drawing/2014/chart" uri="{C3380CC4-5D6E-409C-BE32-E72D297353CC}">
                <c16:uniqueId val="{0000007D-2993-41DE-A2CB-63102DE87051}"/>
              </c:ext>
            </c:extLst>
          </c:dPt>
          <c:dPt>
            <c:idx val="35"/>
            <c:invertIfNegative val="1"/>
            <c:bubble3D val="0"/>
            <c:spPr>
              <a:solidFill>
                <a:srgbClr val="AEABAB"/>
              </a:solidFill>
            </c:spPr>
            <c:extLst>
              <c:ext xmlns:c16="http://schemas.microsoft.com/office/drawing/2014/chart" uri="{C3380CC4-5D6E-409C-BE32-E72D297353CC}">
                <c16:uniqueId val="{0000007F-2993-41DE-A2CB-63102DE87051}"/>
              </c:ext>
            </c:extLst>
          </c:dPt>
          <c:dPt>
            <c:idx val="36"/>
            <c:invertIfNegative val="1"/>
            <c:bubble3D val="0"/>
            <c:spPr>
              <a:solidFill>
                <a:srgbClr val="AEABAB"/>
              </a:solidFill>
            </c:spPr>
            <c:extLst>
              <c:ext xmlns:c16="http://schemas.microsoft.com/office/drawing/2014/chart" uri="{C3380CC4-5D6E-409C-BE32-E72D297353CC}">
                <c16:uniqueId val="{00000081-2993-41DE-A2CB-63102DE87051}"/>
              </c:ext>
            </c:extLst>
          </c:dPt>
          <c:dPt>
            <c:idx val="37"/>
            <c:invertIfNegative val="1"/>
            <c:bubble3D val="0"/>
            <c:spPr>
              <a:solidFill>
                <a:srgbClr val="AEABAB"/>
              </a:solidFill>
            </c:spPr>
            <c:extLst>
              <c:ext xmlns:c16="http://schemas.microsoft.com/office/drawing/2014/chart" uri="{C3380CC4-5D6E-409C-BE32-E72D297353CC}">
                <c16:uniqueId val="{00000083-2993-41DE-A2CB-63102DE87051}"/>
              </c:ext>
            </c:extLst>
          </c:dPt>
          <c:dPt>
            <c:idx val="38"/>
            <c:invertIfNegative val="1"/>
            <c:bubble3D val="0"/>
            <c:spPr>
              <a:solidFill>
                <a:srgbClr val="AEABAB"/>
              </a:solidFill>
            </c:spPr>
            <c:extLst>
              <c:ext xmlns:c16="http://schemas.microsoft.com/office/drawing/2014/chart" uri="{C3380CC4-5D6E-409C-BE32-E72D297353CC}">
                <c16:uniqueId val="{00000085-2993-41DE-A2CB-63102DE87051}"/>
              </c:ext>
            </c:extLst>
          </c:dPt>
          <c:dPt>
            <c:idx val="39"/>
            <c:invertIfNegative val="1"/>
            <c:bubble3D val="0"/>
            <c:spPr>
              <a:solidFill>
                <a:srgbClr val="AEABAB"/>
              </a:solidFill>
            </c:spPr>
            <c:extLst>
              <c:ext xmlns:c16="http://schemas.microsoft.com/office/drawing/2014/chart" uri="{C3380CC4-5D6E-409C-BE32-E72D297353CC}">
                <c16:uniqueId val="{00000087-2993-41DE-A2CB-63102DE87051}"/>
              </c:ext>
            </c:extLst>
          </c:dPt>
          <c:dPt>
            <c:idx val="40"/>
            <c:invertIfNegative val="1"/>
            <c:bubble3D val="0"/>
            <c:spPr>
              <a:solidFill>
                <a:srgbClr val="AEABAB"/>
              </a:solidFill>
            </c:spPr>
            <c:extLst>
              <c:ext xmlns:c16="http://schemas.microsoft.com/office/drawing/2014/chart" uri="{C3380CC4-5D6E-409C-BE32-E72D297353CC}">
                <c16:uniqueId val="{00000089-2993-41DE-A2CB-63102DE87051}"/>
              </c:ext>
            </c:extLst>
          </c:dPt>
          <c:dPt>
            <c:idx val="41"/>
            <c:invertIfNegative val="1"/>
            <c:bubble3D val="0"/>
            <c:spPr>
              <a:solidFill>
                <a:srgbClr val="AEABAB"/>
              </a:solidFill>
            </c:spPr>
            <c:extLst>
              <c:ext xmlns:c16="http://schemas.microsoft.com/office/drawing/2014/chart" uri="{C3380CC4-5D6E-409C-BE32-E72D297353CC}">
                <c16:uniqueId val="{0000008B-2993-41DE-A2CB-63102DE87051}"/>
              </c:ext>
            </c:extLst>
          </c:dPt>
          <c:dPt>
            <c:idx val="42"/>
            <c:invertIfNegative val="1"/>
            <c:bubble3D val="0"/>
            <c:spPr>
              <a:solidFill>
                <a:srgbClr val="AEABAB"/>
              </a:solidFill>
            </c:spPr>
            <c:extLst>
              <c:ext xmlns:c16="http://schemas.microsoft.com/office/drawing/2014/chart" uri="{C3380CC4-5D6E-409C-BE32-E72D297353CC}">
                <c16:uniqueId val="{0000008D-2993-41DE-A2CB-63102DE87051}"/>
              </c:ext>
            </c:extLst>
          </c:dPt>
          <c:dPt>
            <c:idx val="43"/>
            <c:invertIfNegative val="1"/>
            <c:bubble3D val="0"/>
            <c:spPr>
              <a:solidFill>
                <a:srgbClr val="AEABAB"/>
              </a:solidFill>
            </c:spPr>
            <c:extLst>
              <c:ext xmlns:c16="http://schemas.microsoft.com/office/drawing/2014/chart" uri="{C3380CC4-5D6E-409C-BE32-E72D297353CC}">
                <c16:uniqueId val="{0000008F-2993-41DE-A2CB-63102DE87051}"/>
              </c:ext>
            </c:extLst>
          </c:dPt>
          <c:dPt>
            <c:idx val="44"/>
            <c:invertIfNegative val="1"/>
            <c:bubble3D val="0"/>
            <c:spPr>
              <a:solidFill>
                <a:srgbClr val="AEABAB"/>
              </a:solidFill>
            </c:spPr>
            <c:extLst>
              <c:ext xmlns:c16="http://schemas.microsoft.com/office/drawing/2014/chart" uri="{C3380CC4-5D6E-409C-BE32-E72D297353CC}">
                <c16:uniqueId val="{00000091-2993-41DE-A2CB-63102DE87051}"/>
              </c:ext>
            </c:extLst>
          </c:dPt>
          <c:dPt>
            <c:idx val="45"/>
            <c:invertIfNegative val="1"/>
            <c:bubble3D val="0"/>
            <c:spPr>
              <a:solidFill>
                <a:srgbClr val="AEABAB"/>
              </a:solidFill>
            </c:spPr>
            <c:extLst>
              <c:ext xmlns:c16="http://schemas.microsoft.com/office/drawing/2014/chart" uri="{C3380CC4-5D6E-409C-BE32-E72D297353CC}">
                <c16:uniqueId val="{00000093-2993-41DE-A2CB-63102DE87051}"/>
              </c:ext>
            </c:extLst>
          </c:dPt>
          <c:dPt>
            <c:idx val="46"/>
            <c:invertIfNegative val="1"/>
            <c:bubble3D val="0"/>
            <c:spPr>
              <a:solidFill>
                <a:srgbClr val="AEABAB"/>
              </a:solidFill>
            </c:spPr>
            <c:extLst>
              <c:ext xmlns:c16="http://schemas.microsoft.com/office/drawing/2014/chart" uri="{C3380CC4-5D6E-409C-BE32-E72D297353CC}">
                <c16:uniqueId val="{00000095-2993-41DE-A2CB-63102DE87051}"/>
              </c:ext>
            </c:extLst>
          </c:dPt>
          <c:dPt>
            <c:idx val="47"/>
            <c:invertIfNegative val="1"/>
            <c:bubble3D val="0"/>
            <c:spPr>
              <a:solidFill>
                <a:srgbClr val="AEABAB"/>
              </a:solidFill>
            </c:spPr>
            <c:extLst>
              <c:ext xmlns:c16="http://schemas.microsoft.com/office/drawing/2014/chart" uri="{C3380CC4-5D6E-409C-BE32-E72D297353CC}">
                <c16:uniqueId val="{00000097-2993-41DE-A2CB-63102DE87051}"/>
              </c:ext>
            </c:extLst>
          </c:dPt>
          <c:dPt>
            <c:idx val="48"/>
            <c:invertIfNegative val="1"/>
            <c:bubble3D val="0"/>
            <c:spPr>
              <a:solidFill>
                <a:srgbClr val="AEABAB"/>
              </a:solidFill>
            </c:spPr>
            <c:extLst>
              <c:ext xmlns:c16="http://schemas.microsoft.com/office/drawing/2014/chart" uri="{C3380CC4-5D6E-409C-BE32-E72D297353CC}">
                <c16:uniqueId val="{00000099-2993-41DE-A2CB-63102DE87051}"/>
              </c:ext>
            </c:extLst>
          </c:dPt>
          <c:dPt>
            <c:idx val="49"/>
            <c:invertIfNegative val="1"/>
            <c:bubble3D val="0"/>
            <c:spPr>
              <a:solidFill>
                <a:srgbClr val="AEABAB"/>
              </a:solidFill>
            </c:spPr>
            <c:extLst>
              <c:ext xmlns:c16="http://schemas.microsoft.com/office/drawing/2014/chart" uri="{C3380CC4-5D6E-409C-BE32-E72D297353CC}">
                <c16:uniqueId val="{0000009B-2993-41DE-A2CB-63102DE87051}"/>
              </c:ext>
            </c:extLst>
          </c:dPt>
          <c:dPt>
            <c:idx val="50"/>
            <c:invertIfNegative val="1"/>
            <c:bubble3D val="0"/>
            <c:spPr>
              <a:solidFill>
                <a:srgbClr val="AEABAB"/>
              </a:solidFill>
            </c:spPr>
            <c:extLst>
              <c:ext xmlns:c16="http://schemas.microsoft.com/office/drawing/2014/chart" uri="{C3380CC4-5D6E-409C-BE32-E72D297353CC}">
                <c16:uniqueId val="{0000009D-2993-41DE-A2CB-63102DE87051}"/>
              </c:ext>
            </c:extLst>
          </c:dPt>
          <c:dPt>
            <c:idx val="51"/>
            <c:invertIfNegative val="1"/>
            <c:bubble3D val="0"/>
            <c:spPr>
              <a:solidFill>
                <a:srgbClr val="AEABAB"/>
              </a:solidFill>
            </c:spPr>
            <c:extLst>
              <c:ext xmlns:c16="http://schemas.microsoft.com/office/drawing/2014/chart" uri="{C3380CC4-5D6E-409C-BE32-E72D297353CC}">
                <c16:uniqueId val="{0000009F-2993-41DE-A2CB-63102DE87051}"/>
              </c:ext>
            </c:extLst>
          </c:dPt>
          <c:dPt>
            <c:idx val="52"/>
            <c:invertIfNegative val="1"/>
            <c:bubble3D val="0"/>
            <c:spPr>
              <a:solidFill>
                <a:srgbClr val="AEABAB"/>
              </a:solidFill>
            </c:spPr>
            <c:extLst>
              <c:ext xmlns:c16="http://schemas.microsoft.com/office/drawing/2014/chart" uri="{C3380CC4-5D6E-409C-BE32-E72D297353CC}">
                <c16:uniqueId val="{000000A1-2993-41DE-A2CB-63102DE87051}"/>
              </c:ext>
            </c:extLst>
          </c:dPt>
          <c:dPt>
            <c:idx val="53"/>
            <c:invertIfNegative val="1"/>
            <c:bubble3D val="0"/>
            <c:spPr>
              <a:solidFill>
                <a:srgbClr val="AEABAB"/>
              </a:solidFill>
            </c:spPr>
            <c:extLst>
              <c:ext xmlns:c16="http://schemas.microsoft.com/office/drawing/2014/chart" uri="{C3380CC4-5D6E-409C-BE32-E72D297353CC}">
                <c16:uniqueId val="{000000A3-2993-41DE-A2CB-63102DE87051}"/>
              </c:ext>
            </c:extLst>
          </c:dPt>
          <c:dPt>
            <c:idx val="54"/>
            <c:invertIfNegative val="0"/>
            <c:bubble3D val="0"/>
            <c:spPr>
              <a:solidFill>
                <a:srgbClr val="AEABAB"/>
              </a:solidFill>
            </c:spPr>
            <c:extLst>
              <c:ext xmlns:c16="http://schemas.microsoft.com/office/drawing/2014/chart" uri="{C3380CC4-5D6E-409C-BE32-E72D297353CC}">
                <c16:uniqueId val="{00000072-C76F-4230-900D-40618C09729F}"/>
              </c:ext>
            </c:extLst>
          </c:dPt>
          <c:dPt>
            <c:idx val="55"/>
            <c:invertIfNegative val="0"/>
            <c:bubble3D val="0"/>
            <c:spPr>
              <a:solidFill>
                <a:srgbClr val="AEABAB"/>
              </a:solidFill>
            </c:spPr>
            <c:extLst>
              <c:ext xmlns:c16="http://schemas.microsoft.com/office/drawing/2014/chart" uri="{C3380CC4-5D6E-409C-BE32-E72D297353CC}">
                <c16:uniqueId val="{00000074-C76F-4230-900D-40618C09729F}"/>
              </c:ext>
            </c:extLst>
          </c:dPt>
          <c:dPt>
            <c:idx val="56"/>
            <c:invertIfNegative val="0"/>
            <c:bubble3D val="0"/>
            <c:spPr>
              <a:solidFill>
                <a:srgbClr val="AEABAB"/>
              </a:solidFill>
            </c:spPr>
            <c:extLst>
              <c:ext xmlns:c16="http://schemas.microsoft.com/office/drawing/2014/chart" uri="{C3380CC4-5D6E-409C-BE32-E72D297353CC}">
                <c16:uniqueId val="{00000076-C76F-4230-900D-40618C09729F}"/>
              </c:ext>
            </c:extLst>
          </c:dPt>
          <c:dPt>
            <c:idx val="57"/>
            <c:invertIfNegative val="0"/>
            <c:bubble3D val="0"/>
            <c:spPr>
              <a:solidFill>
                <a:srgbClr val="AEABAB"/>
              </a:solidFill>
            </c:spPr>
            <c:extLst>
              <c:ext xmlns:c16="http://schemas.microsoft.com/office/drawing/2014/chart" uri="{C3380CC4-5D6E-409C-BE32-E72D297353CC}">
                <c16:uniqueId val="{00000078-C76F-4230-900D-40618C09729F}"/>
              </c:ext>
            </c:extLst>
          </c:dPt>
          <c:dPt>
            <c:idx val="58"/>
            <c:invertIfNegative val="0"/>
            <c:bubble3D val="0"/>
            <c:spPr>
              <a:solidFill>
                <a:srgbClr val="AEABAB"/>
              </a:solidFill>
            </c:spPr>
            <c:extLst>
              <c:ext xmlns:c16="http://schemas.microsoft.com/office/drawing/2014/chart" uri="{C3380CC4-5D6E-409C-BE32-E72D297353CC}">
                <c16:uniqueId val="{0000007A-C76F-4230-900D-40618C09729F}"/>
              </c:ext>
            </c:extLst>
          </c:dPt>
          <c:dPt>
            <c:idx val="59"/>
            <c:invertIfNegative val="0"/>
            <c:bubble3D val="0"/>
            <c:spPr>
              <a:solidFill>
                <a:srgbClr val="AEABAB"/>
              </a:solidFill>
            </c:spPr>
            <c:extLst>
              <c:ext xmlns:c16="http://schemas.microsoft.com/office/drawing/2014/chart" uri="{C3380CC4-5D6E-409C-BE32-E72D297353CC}">
                <c16:uniqueId val="{0000007C-C76F-4230-900D-40618C09729F}"/>
              </c:ext>
            </c:extLst>
          </c:dPt>
          <c:dPt>
            <c:idx val="60"/>
            <c:invertIfNegative val="0"/>
            <c:bubble3D val="0"/>
            <c:spPr>
              <a:solidFill>
                <a:srgbClr val="AEABAB"/>
              </a:solidFill>
            </c:spPr>
            <c:extLst>
              <c:ext xmlns:c16="http://schemas.microsoft.com/office/drawing/2014/chart" uri="{C3380CC4-5D6E-409C-BE32-E72D297353CC}">
                <c16:uniqueId val="{0000007E-C76F-4230-900D-40618C09729F}"/>
              </c:ext>
            </c:extLst>
          </c:dPt>
          <c:dPt>
            <c:idx val="61"/>
            <c:invertIfNegative val="0"/>
            <c:bubble3D val="0"/>
            <c:spPr>
              <a:solidFill>
                <a:srgbClr val="AEABAB"/>
              </a:solidFill>
            </c:spPr>
            <c:extLst>
              <c:ext xmlns:c16="http://schemas.microsoft.com/office/drawing/2014/chart" uri="{C3380CC4-5D6E-409C-BE32-E72D297353CC}">
                <c16:uniqueId val="{00000080-C76F-4230-900D-40618C09729F}"/>
              </c:ext>
            </c:extLst>
          </c:dPt>
          <c:dPt>
            <c:idx val="62"/>
            <c:invertIfNegative val="0"/>
            <c:bubble3D val="0"/>
            <c:spPr>
              <a:solidFill>
                <a:srgbClr val="AEABAB"/>
              </a:solidFill>
            </c:spPr>
            <c:extLst>
              <c:ext xmlns:c16="http://schemas.microsoft.com/office/drawing/2014/chart" uri="{C3380CC4-5D6E-409C-BE32-E72D297353CC}">
                <c16:uniqueId val="{00000082-C76F-4230-900D-40618C09729F}"/>
              </c:ext>
            </c:extLst>
          </c:dPt>
          <c:dPt>
            <c:idx val="63"/>
            <c:invertIfNegative val="0"/>
            <c:bubble3D val="0"/>
            <c:spPr>
              <a:solidFill>
                <a:srgbClr val="AEABAB"/>
              </a:solidFill>
            </c:spPr>
            <c:extLst>
              <c:ext xmlns:c16="http://schemas.microsoft.com/office/drawing/2014/chart" uri="{C3380CC4-5D6E-409C-BE32-E72D297353CC}">
                <c16:uniqueId val="{00000084-C76F-4230-900D-40618C09729F}"/>
              </c:ext>
            </c:extLst>
          </c:dPt>
          <c:dPt>
            <c:idx val="64"/>
            <c:invertIfNegative val="0"/>
            <c:bubble3D val="0"/>
            <c:spPr>
              <a:solidFill>
                <a:srgbClr val="AEABAB"/>
              </a:solidFill>
            </c:spPr>
            <c:extLst>
              <c:ext xmlns:c16="http://schemas.microsoft.com/office/drawing/2014/chart" uri="{C3380CC4-5D6E-409C-BE32-E72D297353CC}">
                <c16:uniqueId val="{00000086-C76F-4230-900D-40618C09729F}"/>
              </c:ext>
            </c:extLst>
          </c:dPt>
          <c:dPt>
            <c:idx val="65"/>
            <c:invertIfNegative val="0"/>
            <c:bubble3D val="0"/>
            <c:spPr>
              <a:solidFill>
                <a:srgbClr val="AEABAB"/>
              </a:solidFill>
            </c:spPr>
            <c:extLst>
              <c:ext xmlns:c16="http://schemas.microsoft.com/office/drawing/2014/chart" uri="{C3380CC4-5D6E-409C-BE32-E72D297353CC}">
                <c16:uniqueId val="{00000088-C76F-4230-900D-40618C09729F}"/>
              </c:ext>
            </c:extLst>
          </c:dPt>
          <c:dPt>
            <c:idx val="66"/>
            <c:invertIfNegative val="0"/>
            <c:bubble3D val="0"/>
            <c:spPr>
              <a:solidFill>
                <a:srgbClr val="AEABAB"/>
              </a:solidFill>
            </c:spPr>
            <c:extLst>
              <c:ext xmlns:c16="http://schemas.microsoft.com/office/drawing/2014/chart" uri="{C3380CC4-5D6E-409C-BE32-E72D297353CC}">
                <c16:uniqueId val="{0000008A-C76F-4230-900D-40618C09729F}"/>
              </c:ext>
            </c:extLst>
          </c:dPt>
          <c:dPt>
            <c:idx val="67"/>
            <c:invertIfNegative val="0"/>
            <c:bubble3D val="0"/>
            <c:spPr>
              <a:solidFill>
                <a:srgbClr val="AEABAB"/>
              </a:solidFill>
            </c:spPr>
            <c:extLst>
              <c:ext xmlns:c16="http://schemas.microsoft.com/office/drawing/2014/chart" uri="{C3380CC4-5D6E-409C-BE32-E72D297353CC}">
                <c16:uniqueId val="{0000008C-C76F-4230-900D-40618C09729F}"/>
              </c:ext>
            </c:extLst>
          </c:dPt>
          <c:dPt>
            <c:idx val="68"/>
            <c:invertIfNegative val="0"/>
            <c:bubble3D val="0"/>
            <c:spPr>
              <a:solidFill>
                <a:srgbClr val="AEABAB"/>
              </a:solidFill>
            </c:spPr>
            <c:extLst>
              <c:ext xmlns:c16="http://schemas.microsoft.com/office/drawing/2014/chart" uri="{C3380CC4-5D6E-409C-BE32-E72D297353CC}">
                <c16:uniqueId val="{0000008E-C76F-4230-900D-40618C09729F}"/>
              </c:ext>
            </c:extLst>
          </c:dPt>
          <c:dPt>
            <c:idx val="69"/>
            <c:invertIfNegative val="0"/>
            <c:bubble3D val="0"/>
            <c:spPr>
              <a:solidFill>
                <a:srgbClr val="AEABAB"/>
              </a:solidFill>
            </c:spPr>
            <c:extLst>
              <c:ext xmlns:c16="http://schemas.microsoft.com/office/drawing/2014/chart" uri="{C3380CC4-5D6E-409C-BE32-E72D297353CC}">
                <c16:uniqueId val="{00000090-C76F-4230-900D-40618C09729F}"/>
              </c:ext>
            </c:extLst>
          </c:dPt>
          <c:dPt>
            <c:idx val="70"/>
            <c:invertIfNegative val="0"/>
            <c:bubble3D val="0"/>
            <c:spPr>
              <a:solidFill>
                <a:srgbClr val="AEABAB"/>
              </a:solidFill>
            </c:spPr>
            <c:extLst>
              <c:ext xmlns:c16="http://schemas.microsoft.com/office/drawing/2014/chart" uri="{C3380CC4-5D6E-409C-BE32-E72D297353CC}">
                <c16:uniqueId val="{00000092-C76F-4230-900D-40618C09729F}"/>
              </c:ext>
            </c:extLst>
          </c:dPt>
          <c:dPt>
            <c:idx val="71"/>
            <c:invertIfNegative val="0"/>
            <c:bubble3D val="0"/>
            <c:spPr>
              <a:solidFill>
                <a:srgbClr val="AEABAB"/>
              </a:solidFill>
            </c:spPr>
            <c:extLst>
              <c:ext xmlns:c16="http://schemas.microsoft.com/office/drawing/2014/chart" uri="{C3380CC4-5D6E-409C-BE32-E72D297353CC}">
                <c16:uniqueId val="{00000094-C76F-4230-900D-40618C09729F}"/>
              </c:ext>
            </c:extLst>
          </c:dPt>
          <c:dPt>
            <c:idx val="72"/>
            <c:invertIfNegative val="0"/>
            <c:bubble3D val="0"/>
            <c:spPr>
              <a:solidFill>
                <a:srgbClr val="AEABAB"/>
              </a:solidFill>
            </c:spPr>
            <c:extLst>
              <c:ext xmlns:c16="http://schemas.microsoft.com/office/drawing/2014/chart" uri="{C3380CC4-5D6E-409C-BE32-E72D297353CC}">
                <c16:uniqueId val="{00000096-C76F-4230-900D-40618C09729F}"/>
              </c:ext>
            </c:extLst>
          </c:dPt>
          <c:dPt>
            <c:idx val="73"/>
            <c:invertIfNegative val="0"/>
            <c:bubble3D val="0"/>
            <c:spPr>
              <a:solidFill>
                <a:srgbClr val="AEABAB"/>
              </a:solidFill>
            </c:spPr>
            <c:extLst>
              <c:ext xmlns:c16="http://schemas.microsoft.com/office/drawing/2014/chart" uri="{C3380CC4-5D6E-409C-BE32-E72D297353CC}">
                <c16:uniqueId val="{00000098-C76F-4230-900D-40618C09729F}"/>
              </c:ext>
            </c:extLst>
          </c:dPt>
          <c:dPt>
            <c:idx val="74"/>
            <c:invertIfNegative val="0"/>
            <c:bubble3D val="0"/>
            <c:spPr>
              <a:solidFill>
                <a:srgbClr val="AEABAB"/>
              </a:solidFill>
            </c:spPr>
            <c:extLst>
              <c:ext xmlns:c16="http://schemas.microsoft.com/office/drawing/2014/chart" uri="{C3380CC4-5D6E-409C-BE32-E72D297353CC}">
                <c16:uniqueId val="{0000009A-C76F-4230-900D-40618C09729F}"/>
              </c:ext>
            </c:extLst>
          </c:dPt>
          <c:dPt>
            <c:idx val="75"/>
            <c:invertIfNegative val="0"/>
            <c:bubble3D val="0"/>
            <c:spPr>
              <a:solidFill>
                <a:srgbClr val="AEABAB"/>
              </a:solidFill>
            </c:spPr>
            <c:extLst>
              <c:ext xmlns:c16="http://schemas.microsoft.com/office/drawing/2014/chart" uri="{C3380CC4-5D6E-409C-BE32-E72D297353CC}">
                <c16:uniqueId val="{0000009C-C76F-4230-900D-40618C09729F}"/>
              </c:ext>
            </c:extLst>
          </c:dPt>
          <c:dPt>
            <c:idx val="76"/>
            <c:invertIfNegative val="0"/>
            <c:bubble3D val="0"/>
            <c:spPr>
              <a:solidFill>
                <a:srgbClr val="AEABAB"/>
              </a:solidFill>
            </c:spPr>
            <c:extLst>
              <c:ext xmlns:c16="http://schemas.microsoft.com/office/drawing/2014/chart" uri="{C3380CC4-5D6E-409C-BE32-E72D297353CC}">
                <c16:uniqueId val="{0000009E-C76F-4230-900D-40618C09729F}"/>
              </c:ext>
            </c:extLst>
          </c:dPt>
          <c:dPt>
            <c:idx val="77"/>
            <c:invertIfNegative val="0"/>
            <c:bubble3D val="0"/>
            <c:spPr>
              <a:solidFill>
                <a:srgbClr val="AEABAB"/>
              </a:solidFill>
            </c:spPr>
            <c:extLst>
              <c:ext xmlns:c16="http://schemas.microsoft.com/office/drawing/2014/chart" uri="{C3380CC4-5D6E-409C-BE32-E72D297353CC}">
                <c16:uniqueId val="{000000A0-C76F-4230-900D-40618C09729F}"/>
              </c:ext>
            </c:extLst>
          </c:dPt>
          <c:dPt>
            <c:idx val="78"/>
            <c:invertIfNegative val="0"/>
            <c:bubble3D val="0"/>
            <c:spPr>
              <a:solidFill>
                <a:srgbClr val="AEABAB"/>
              </a:solidFill>
            </c:spPr>
            <c:extLst>
              <c:ext xmlns:c16="http://schemas.microsoft.com/office/drawing/2014/chart" uri="{C3380CC4-5D6E-409C-BE32-E72D297353CC}">
                <c16:uniqueId val="{000000A2-C76F-4230-900D-40618C09729F}"/>
              </c:ext>
            </c:extLst>
          </c:dPt>
          <c:dPt>
            <c:idx val="79"/>
            <c:invertIfNegative val="0"/>
            <c:bubble3D val="0"/>
            <c:spPr>
              <a:solidFill>
                <a:srgbClr val="AEABAB"/>
              </a:solidFill>
            </c:spPr>
            <c:extLst>
              <c:ext xmlns:c16="http://schemas.microsoft.com/office/drawing/2014/chart" uri="{C3380CC4-5D6E-409C-BE32-E72D297353CC}">
                <c16:uniqueId val="{000000A4-C76F-4230-900D-40618C09729F}"/>
              </c:ext>
            </c:extLst>
          </c:dPt>
          <c:dPt>
            <c:idx val="80"/>
            <c:invertIfNegative val="0"/>
            <c:bubble3D val="0"/>
            <c:spPr>
              <a:solidFill>
                <a:srgbClr val="AEABAB"/>
              </a:solidFill>
            </c:spPr>
            <c:extLst>
              <c:ext xmlns:c16="http://schemas.microsoft.com/office/drawing/2014/chart" uri="{C3380CC4-5D6E-409C-BE32-E72D297353CC}">
                <c16:uniqueId val="{000000A6-C76F-4230-900D-40618C09729F}"/>
              </c:ext>
            </c:extLst>
          </c:dPt>
          <c:dPt>
            <c:idx val="81"/>
            <c:invertIfNegative val="1"/>
            <c:bubble3D val="0"/>
            <c:spPr>
              <a:solidFill>
                <a:srgbClr val="AEABAB"/>
              </a:solidFill>
            </c:spPr>
            <c:extLst>
              <c:ext xmlns:c16="http://schemas.microsoft.com/office/drawing/2014/chart" uri="{C3380CC4-5D6E-409C-BE32-E72D297353CC}">
                <c16:uniqueId val="{000000A5-2993-41DE-A2CB-63102DE87051}"/>
              </c:ext>
            </c:extLst>
          </c:dPt>
          <c:dPt>
            <c:idx val="82"/>
            <c:invertIfNegative val="1"/>
            <c:bubble3D val="0"/>
            <c:spPr>
              <a:solidFill>
                <a:srgbClr val="AEABAB"/>
              </a:solidFill>
            </c:spPr>
            <c:extLst>
              <c:ext xmlns:c16="http://schemas.microsoft.com/office/drawing/2014/chart" uri="{C3380CC4-5D6E-409C-BE32-E72D297353CC}">
                <c16:uniqueId val="{000000A7-2993-41DE-A2CB-63102DE87051}"/>
              </c:ext>
            </c:extLst>
          </c:dPt>
          <c:dPt>
            <c:idx val="83"/>
            <c:invertIfNegative val="1"/>
            <c:bubble3D val="0"/>
            <c:spPr>
              <a:solidFill>
                <a:srgbClr val="AEABAB"/>
              </a:solidFill>
            </c:spPr>
            <c:extLst>
              <c:ext xmlns:c16="http://schemas.microsoft.com/office/drawing/2014/chart" uri="{C3380CC4-5D6E-409C-BE32-E72D297353CC}">
                <c16:uniqueId val="{000000A9-2993-41DE-A2CB-63102DE87051}"/>
              </c:ext>
            </c:extLst>
          </c:dPt>
          <c:dPt>
            <c:idx val="84"/>
            <c:invertIfNegative val="1"/>
            <c:bubble3D val="0"/>
            <c:spPr>
              <a:solidFill>
                <a:srgbClr val="AEABAB"/>
              </a:solidFill>
            </c:spPr>
            <c:extLst>
              <c:ext xmlns:c16="http://schemas.microsoft.com/office/drawing/2014/chart" uri="{C3380CC4-5D6E-409C-BE32-E72D297353CC}">
                <c16:uniqueId val="{000000AB-2993-41DE-A2CB-63102DE87051}"/>
              </c:ext>
            </c:extLst>
          </c:dPt>
          <c:dPt>
            <c:idx val="85"/>
            <c:invertIfNegative val="1"/>
            <c:bubble3D val="0"/>
            <c:spPr>
              <a:solidFill>
                <a:srgbClr val="AEABAB"/>
              </a:solidFill>
            </c:spPr>
            <c:extLst>
              <c:ext xmlns:c16="http://schemas.microsoft.com/office/drawing/2014/chart" uri="{C3380CC4-5D6E-409C-BE32-E72D297353CC}">
                <c16:uniqueId val="{000000AD-2993-41DE-A2CB-63102DE87051}"/>
              </c:ext>
            </c:extLst>
          </c:dPt>
          <c:dPt>
            <c:idx val="86"/>
            <c:invertIfNegative val="1"/>
            <c:bubble3D val="0"/>
            <c:spPr>
              <a:solidFill>
                <a:srgbClr val="AEABAB"/>
              </a:solidFill>
            </c:spPr>
            <c:extLst>
              <c:ext xmlns:c16="http://schemas.microsoft.com/office/drawing/2014/chart" uri="{C3380CC4-5D6E-409C-BE32-E72D297353CC}">
                <c16:uniqueId val="{000000AF-2993-41DE-A2CB-63102DE87051}"/>
              </c:ext>
            </c:extLst>
          </c:dPt>
          <c:dPt>
            <c:idx val="87"/>
            <c:invertIfNegative val="1"/>
            <c:bubble3D val="0"/>
            <c:spPr>
              <a:solidFill>
                <a:srgbClr val="AEABAB"/>
              </a:solidFill>
            </c:spPr>
            <c:extLst>
              <c:ext xmlns:c16="http://schemas.microsoft.com/office/drawing/2014/chart" uri="{C3380CC4-5D6E-409C-BE32-E72D297353CC}">
                <c16:uniqueId val="{000000B1-2993-41DE-A2CB-63102DE87051}"/>
              </c:ext>
            </c:extLst>
          </c:dPt>
          <c:dPt>
            <c:idx val="88"/>
            <c:invertIfNegative val="1"/>
            <c:bubble3D val="0"/>
            <c:spPr>
              <a:solidFill>
                <a:srgbClr val="AEABAB"/>
              </a:solidFill>
            </c:spPr>
            <c:extLst>
              <c:ext xmlns:c16="http://schemas.microsoft.com/office/drawing/2014/chart" uri="{C3380CC4-5D6E-409C-BE32-E72D297353CC}">
                <c16:uniqueId val="{000000B3-2993-41DE-A2CB-63102DE87051}"/>
              </c:ext>
            </c:extLst>
          </c:dPt>
          <c:dPt>
            <c:idx val="89"/>
            <c:invertIfNegative val="1"/>
            <c:bubble3D val="0"/>
            <c:spPr>
              <a:solidFill>
                <a:srgbClr val="AEABAB"/>
              </a:solidFill>
            </c:spPr>
            <c:extLst>
              <c:ext xmlns:c16="http://schemas.microsoft.com/office/drawing/2014/chart" uri="{C3380CC4-5D6E-409C-BE32-E72D297353CC}">
                <c16:uniqueId val="{000000B5-2993-41DE-A2CB-63102DE87051}"/>
              </c:ext>
            </c:extLst>
          </c:dPt>
          <c:dPt>
            <c:idx val="90"/>
            <c:invertIfNegative val="1"/>
            <c:bubble3D val="0"/>
            <c:spPr>
              <a:solidFill>
                <a:srgbClr val="AEABAB"/>
              </a:solidFill>
            </c:spPr>
            <c:extLst>
              <c:ext xmlns:c16="http://schemas.microsoft.com/office/drawing/2014/chart" uri="{C3380CC4-5D6E-409C-BE32-E72D297353CC}">
                <c16:uniqueId val="{000000B7-2993-41DE-A2CB-63102DE87051}"/>
              </c:ext>
            </c:extLst>
          </c:dPt>
          <c:dPt>
            <c:idx val="91"/>
            <c:invertIfNegative val="1"/>
            <c:bubble3D val="0"/>
            <c:spPr>
              <a:solidFill>
                <a:srgbClr val="AEABAB"/>
              </a:solidFill>
            </c:spPr>
            <c:extLst>
              <c:ext xmlns:c16="http://schemas.microsoft.com/office/drawing/2014/chart" uri="{C3380CC4-5D6E-409C-BE32-E72D297353CC}">
                <c16:uniqueId val="{000000B9-2993-41DE-A2CB-63102DE87051}"/>
              </c:ext>
            </c:extLst>
          </c:dPt>
          <c:dPt>
            <c:idx val="92"/>
            <c:invertIfNegative val="1"/>
            <c:bubble3D val="0"/>
            <c:spPr>
              <a:solidFill>
                <a:srgbClr val="AEABAB"/>
              </a:solidFill>
            </c:spPr>
            <c:extLst>
              <c:ext xmlns:c16="http://schemas.microsoft.com/office/drawing/2014/chart" uri="{C3380CC4-5D6E-409C-BE32-E72D297353CC}">
                <c16:uniqueId val="{000000BB-2993-41DE-A2CB-63102DE87051}"/>
              </c:ext>
            </c:extLst>
          </c:dPt>
          <c:dPt>
            <c:idx val="93"/>
            <c:invertIfNegative val="1"/>
            <c:bubble3D val="0"/>
            <c:spPr>
              <a:solidFill>
                <a:srgbClr val="AEABAB"/>
              </a:solidFill>
            </c:spPr>
            <c:extLst>
              <c:ext xmlns:c16="http://schemas.microsoft.com/office/drawing/2014/chart" uri="{C3380CC4-5D6E-409C-BE32-E72D297353CC}">
                <c16:uniqueId val="{000000BD-2993-41DE-A2CB-63102DE87051}"/>
              </c:ext>
            </c:extLst>
          </c:dPt>
          <c:dPt>
            <c:idx val="94"/>
            <c:invertIfNegative val="1"/>
            <c:bubble3D val="0"/>
            <c:spPr>
              <a:solidFill>
                <a:srgbClr val="AEABAB"/>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96</c:f>
              <c:strCache>
                <c:ptCount val="95"/>
                <c:pt idx="0">
                  <c:v>Private Lab</c:v>
                </c:pt>
                <c:pt idx="1">
                  <c:v>Galbani</c:v>
                </c:pt>
                <c:pt idx="2">
                  <c:v>Private Lab</c:v>
                </c:pt>
                <c:pt idx="3">
                  <c:v>Private Lab</c:v>
                </c:pt>
                <c:pt idx="4">
                  <c:v>Salakis</c:v>
                </c:pt>
                <c:pt idx="5">
                  <c:v>Private Lab</c:v>
                </c:pt>
                <c:pt idx="6">
                  <c:v>Private Lab</c:v>
                </c:pt>
                <c:pt idx="7">
                  <c:v>Boursin</c:v>
                </c:pt>
                <c:pt idx="8">
                  <c:v>Salakis</c:v>
                </c:pt>
                <c:pt idx="9">
                  <c:v>Casa Azzurr</c:v>
                </c:pt>
                <c:pt idx="10">
                  <c:v>Private Lab</c:v>
                </c:pt>
                <c:pt idx="11">
                  <c:v>Private Lab</c:v>
                </c:pt>
                <c:pt idx="12">
                  <c:v>Galbani</c:v>
                </c:pt>
                <c:pt idx="13">
                  <c:v>Private Lab</c:v>
                </c:pt>
                <c:pt idx="14">
                  <c:v>All Others</c:v>
                </c:pt>
                <c:pt idx="15">
                  <c:v>Islos</c:v>
                </c:pt>
                <c:pt idx="16">
                  <c:v>Casa Azzurr</c:v>
                </c:pt>
                <c:pt idx="17">
                  <c:v>Private Lab</c:v>
                </c:pt>
                <c:pt idx="18">
                  <c:v>Private Lab</c:v>
                </c:pt>
                <c:pt idx="19">
                  <c:v>All Others</c:v>
                </c:pt>
                <c:pt idx="20">
                  <c:v>Galbani</c:v>
                </c:pt>
                <c:pt idx="21">
                  <c:v>All Others</c:v>
                </c:pt>
                <c:pt idx="22">
                  <c:v>All Others</c:v>
                </c:pt>
                <c:pt idx="23">
                  <c:v>All Others</c:v>
                </c:pt>
                <c:pt idx="24">
                  <c:v>All Others</c:v>
                </c:pt>
                <c:pt idx="25">
                  <c:v>All Others</c:v>
                </c:pt>
                <c:pt idx="26">
                  <c:v>All Others</c:v>
                </c:pt>
                <c:pt idx="27">
                  <c:v>All Others</c:v>
                </c:pt>
                <c:pt idx="28">
                  <c:v>All Others</c:v>
                </c:pt>
                <c:pt idx="29">
                  <c:v>All Others</c:v>
                </c:pt>
                <c:pt idx="30">
                  <c:v>All Others</c:v>
                </c:pt>
                <c:pt idx="31">
                  <c:v>Salakis</c:v>
                </c:pt>
                <c:pt idx="32">
                  <c:v>All Others</c:v>
                </c:pt>
                <c:pt idx="33">
                  <c:v>All Others</c:v>
                </c:pt>
                <c:pt idx="34">
                  <c:v>Private Lab</c:v>
                </c:pt>
                <c:pt idx="35">
                  <c:v>All Others</c:v>
                </c:pt>
                <c:pt idx="36">
                  <c:v>All Others</c:v>
                </c:pt>
                <c:pt idx="37">
                  <c:v>All Others</c:v>
                </c:pt>
                <c:pt idx="38">
                  <c:v>Galbani</c:v>
                </c:pt>
                <c:pt idx="39">
                  <c:v>All Others</c:v>
                </c:pt>
                <c:pt idx="40">
                  <c:v>Galbani</c:v>
                </c:pt>
                <c:pt idx="41">
                  <c:v>Casa Azzurr</c:v>
                </c:pt>
                <c:pt idx="42">
                  <c:v>Casa Azzurr</c:v>
                </c:pt>
                <c:pt idx="43">
                  <c:v>Casa Azzurr</c:v>
                </c:pt>
                <c:pt idx="44">
                  <c:v>All Others</c:v>
                </c:pt>
                <c:pt idx="45">
                  <c:v>All Others</c:v>
                </c:pt>
                <c:pt idx="46">
                  <c:v>All Others</c:v>
                </c:pt>
                <c:pt idx="47">
                  <c:v>All Others</c:v>
                </c:pt>
                <c:pt idx="48">
                  <c:v>All Others</c:v>
                </c:pt>
                <c:pt idx="49">
                  <c:v>All Others</c:v>
                </c:pt>
                <c:pt idx="50">
                  <c:v>All Others</c:v>
                </c:pt>
                <c:pt idx="51">
                  <c:v>All Others</c:v>
                </c:pt>
                <c:pt idx="52">
                  <c:v>All Others</c:v>
                </c:pt>
                <c:pt idx="53">
                  <c:v>All Others</c:v>
                </c:pt>
                <c:pt idx="54">
                  <c:v>All Others</c:v>
                </c:pt>
                <c:pt idx="55">
                  <c:v>All Others</c:v>
                </c:pt>
                <c:pt idx="56">
                  <c:v>All Others</c:v>
                </c:pt>
                <c:pt idx="57">
                  <c:v>All Others</c:v>
                </c:pt>
                <c:pt idx="58">
                  <c:v>Lactalis: A</c:v>
                </c:pt>
                <c:pt idx="59">
                  <c:v>All Others</c:v>
                </c:pt>
                <c:pt idx="60">
                  <c:v>All Others</c:v>
                </c:pt>
                <c:pt idx="61">
                  <c:v>All Others</c:v>
                </c:pt>
                <c:pt idx="62">
                  <c:v>All Others</c:v>
                </c:pt>
                <c:pt idx="63">
                  <c:v>Lactalis: A</c:v>
                </c:pt>
                <c:pt idx="64">
                  <c:v>Galbani</c:v>
                </c:pt>
                <c:pt idx="65">
                  <c:v>All Others</c:v>
                </c:pt>
                <c:pt idx="66">
                  <c:v>All Others</c:v>
                </c:pt>
                <c:pt idx="67">
                  <c:v>All Others</c:v>
                </c:pt>
                <c:pt idx="68">
                  <c:v>All Others</c:v>
                </c:pt>
                <c:pt idx="69">
                  <c:v>All Others</c:v>
                </c:pt>
                <c:pt idx="70">
                  <c:v>All Others</c:v>
                </c:pt>
                <c:pt idx="71">
                  <c:v>All Others</c:v>
                </c:pt>
                <c:pt idx="72">
                  <c:v>All Others</c:v>
                </c:pt>
                <c:pt idx="73">
                  <c:v>All Others</c:v>
                </c:pt>
                <c:pt idx="74">
                  <c:v>All Others</c:v>
                </c:pt>
                <c:pt idx="75">
                  <c:v>All Others</c:v>
                </c:pt>
                <c:pt idx="76">
                  <c:v>All Others</c:v>
                </c:pt>
                <c:pt idx="77">
                  <c:v>All Others</c:v>
                </c:pt>
                <c:pt idx="78">
                  <c:v>Private Lab</c:v>
                </c:pt>
                <c:pt idx="79">
                  <c:v>All Others</c:v>
                </c:pt>
                <c:pt idx="80">
                  <c:v>All Others</c:v>
                </c:pt>
                <c:pt idx="81">
                  <c:v>All Others</c:v>
                </c:pt>
                <c:pt idx="82">
                  <c:v>All Others</c:v>
                </c:pt>
                <c:pt idx="83">
                  <c:v>All Others</c:v>
                </c:pt>
                <c:pt idx="84">
                  <c:v>All Others</c:v>
                </c:pt>
                <c:pt idx="85">
                  <c:v>All Others</c:v>
                </c:pt>
                <c:pt idx="86">
                  <c:v>All Others</c:v>
                </c:pt>
                <c:pt idx="87">
                  <c:v>All Others</c:v>
                </c:pt>
                <c:pt idx="88">
                  <c:v>All Others</c:v>
                </c:pt>
                <c:pt idx="89">
                  <c:v>All Others</c:v>
                </c:pt>
                <c:pt idx="90">
                  <c:v>All Others</c:v>
                </c:pt>
                <c:pt idx="91">
                  <c:v>All Others</c:v>
                </c:pt>
                <c:pt idx="92">
                  <c:v>All Others</c:v>
                </c:pt>
                <c:pt idx="93">
                  <c:v>All Others</c:v>
                </c:pt>
                <c:pt idx="94">
                  <c:v>All Others</c:v>
                </c:pt>
              </c:strCache>
            </c:strRef>
          </c:cat>
          <c:val>
            <c:numRef>
              <c:f>Sheet1!$C$2:$C$96</c:f>
              <c:numCache>
                <c:formatCode>General</c:formatCode>
                <c:ptCount val="95"/>
                <c:pt idx="0">
                  <c:v>0.4224917462093279</c:v>
                </c:pt>
                <c:pt idx="1">
                  <c:v>0.5567268041262191</c:v>
                </c:pt>
                <c:pt idx="2">
                  <c:v>0.61126166260549</c:v>
                </c:pt>
                <c:pt idx="3">
                  <c:v>0.6534824375311302</c:v>
                </c:pt>
                <c:pt idx="4">
                  <c:v>0.6890650543002175</c:v>
                </c:pt>
                <c:pt idx="5">
                  <c:v>0.7540165074840434</c:v>
                </c:pt>
                <c:pt idx="6">
                  <c:v>0.7713698281053406</c:v>
                </c:pt>
                <c:pt idx="7">
                  <c:v>0.7856135827751749</c:v>
                </c:pt>
                <c:pt idx="8">
                  <c:v>0.7989023779265552</c:v>
                </c:pt>
                <c:pt idx="9">
                  <c:v>0.8121124080129613</c:v>
                </c:pt>
                <c:pt idx="10">
                  <c:v>0.8250426250844207</c:v>
                </c:pt>
                <c:pt idx="11">
                  <c:v>0.8487974924394781</c:v>
                </c:pt>
                <c:pt idx="12">
                  <c:v>0.8592023137371625</c:v>
                </c:pt>
                <c:pt idx="13">
                  <c:v>0.8694852900038229</c:v>
                </c:pt>
                <c:pt idx="14">
                  <c:v>0.8786237646314986</c:v>
                </c:pt>
                <c:pt idx="15">
                  <c:v>0.8876370130224582</c:v>
                </c:pt>
                <c:pt idx="16">
                  <c:v>0.896503410055404</c:v>
                </c:pt>
                <c:pt idx="17">
                  <c:v>0.9047174533167389</c:v>
                </c:pt>
                <c:pt idx="18">
                  <c:v>0.9125329764855874</c:v>
                </c:pt>
                <c:pt idx="19">
                  <c:v>0.919745380129739</c:v>
                </c:pt>
                <c:pt idx="20">
                  <c:v>0.9256410352463692</c:v>
                </c:pt>
                <c:pt idx="21">
                  <c:v>0.9305787145171652</c:v>
                </c:pt>
                <c:pt idx="22">
                  <c:v>0.934779242296616</c:v>
                </c:pt>
                <c:pt idx="23">
                  <c:v>0.9386319680689637</c:v>
                </c:pt>
                <c:pt idx="24">
                  <c:v>0.9421110097992691</c:v>
                </c:pt>
                <c:pt idx="25">
                  <c:v>0.9447452366109361</c:v>
                </c:pt>
                <c:pt idx="26">
                  <c:v>0.9473544327703924</c:v>
                </c:pt>
                <c:pt idx="27">
                  <c:v>0.9522769574286255</c:v>
                </c:pt>
                <c:pt idx="28">
                  <c:v>0.9545421463154246</c:v>
                </c:pt>
                <c:pt idx="29">
                  <c:v>0.9567483708669867</c:v>
                </c:pt>
                <c:pt idx="30">
                  <c:v>0.9588487807080369</c:v>
                </c:pt>
                <c:pt idx="31">
                  <c:v>0.9605425215076303</c:v>
                </c:pt>
                <c:pt idx="32">
                  <c:v>0.9622206698406862</c:v>
                </c:pt>
                <c:pt idx="33">
                  <c:v>0.963693051130933</c:v>
                </c:pt>
                <c:pt idx="34">
                  <c:v>0.9651446100321686</c:v>
                </c:pt>
                <c:pt idx="35">
                  <c:v>0.9665592675734395</c:v>
                </c:pt>
                <c:pt idx="36">
                  <c:v>0.9679545622389477</c:v>
                </c:pt>
                <c:pt idx="37">
                  <c:v>0.9693163124249626</c:v>
                </c:pt>
                <c:pt idx="38">
                  <c:v>0.9706616674121534</c:v>
                </c:pt>
                <c:pt idx="39">
                  <c:v>0.9719195489053211</c:v>
                </c:pt>
                <c:pt idx="40">
                  <c:v>0.9730424497482288</c:v>
                </c:pt>
                <c:pt idx="41">
                  <c:v>0.9752503040895851</c:v>
                </c:pt>
                <c:pt idx="42">
                  <c:v>0.9763510203311166</c:v>
                </c:pt>
                <c:pt idx="43">
                  <c:v>0.9773869098591966</c:v>
                </c:pt>
                <c:pt idx="44">
                  <c:v>0.9783783328836408</c:v>
                </c:pt>
                <c:pt idx="45">
                  <c:v>0.9793169458537123</c:v>
                </c:pt>
                <c:pt idx="46">
                  <c:v>0.9811416536421323</c:v>
                </c:pt>
                <c:pt idx="47">
                  <c:v>0.9820305215356528</c:v>
                </c:pt>
                <c:pt idx="48">
                  <c:v>0.9828282914772499</c:v>
                </c:pt>
                <c:pt idx="49">
                  <c:v>0.9836039254679123</c:v>
                </c:pt>
                <c:pt idx="50">
                  <c:v>0.9843512692267758</c:v>
                </c:pt>
                <c:pt idx="51">
                  <c:v>0.9849792977775794</c:v>
                </c:pt>
                <c:pt idx="52">
                  <c:v>0.985582320001393</c:v>
                </c:pt>
                <c:pt idx="53">
                  <c:v>0.9861795284974337</c:v>
                </c:pt>
                <c:pt idx="54">
                  <c:v>0.9867633094715887</c:v>
                </c:pt>
                <c:pt idx="55">
                  <c:v>0.9873216705900001</c:v>
                </c:pt>
                <c:pt idx="56">
                  <c:v>0.9878790586995791</c:v>
                </c:pt>
                <c:pt idx="57">
                  <c:v>0.9884306574066061</c:v>
                </c:pt>
                <c:pt idx="58">
                  <c:v>0.98889147438958</c:v>
                </c:pt>
                <c:pt idx="59">
                  <c:v>0.9893336582534156</c:v>
                </c:pt>
                <c:pt idx="60">
                  <c:v>0.9902079553396725</c:v>
                </c:pt>
                <c:pt idx="61">
                  <c:v>0.9906419659293169</c:v>
                </c:pt>
                <c:pt idx="62">
                  <c:v>0.9910672924151329</c:v>
                </c:pt>
                <c:pt idx="63">
                  <c:v>0.9914739128061482</c:v>
                </c:pt>
                <c:pt idx="64">
                  <c:v>0.9918730653543756</c:v>
                </c:pt>
                <c:pt idx="65">
                  <c:v>0.9922042775608881</c:v>
                </c:pt>
                <c:pt idx="66">
                  <c:v>0.9925301868692648</c:v>
                </c:pt>
                <c:pt idx="67">
                  <c:v>0.9928318439324965</c:v>
                </c:pt>
                <c:pt idx="68">
                  <c:v>0.9931314333519595</c:v>
                </c:pt>
                <c:pt idx="69">
                  <c:v>0.9933848291771095</c:v>
                </c:pt>
                <c:pt idx="70">
                  <c:v>0.9936333842833187</c:v>
                </c:pt>
                <c:pt idx="71">
                  <c:v>0.9938795068674472</c:v>
                </c:pt>
                <c:pt idx="72">
                  <c:v>0.9941227347502997</c:v>
                </c:pt>
                <c:pt idx="73">
                  <c:v>0.994362192223927</c:v>
                </c:pt>
                <c:pt idx="74">
                  <c:v>0.9945971252064841</c:v>
                </c:pt>
                <c:pt idx="75">
                  <c:v>0.9948262687864892</c:v>
                </c:pt>
                <c:pt idx="76">
                  <c:v>0.9950525663156597</c:v>
                </c:pt>
                <c:pt idx="77">
                  <c:v>0.995259719896055</c:v>
                </c:pt>
                <c:pt idx="78">
                  <c:v>0.9954368318287531</c:v>
                </c:pt>
                <c:pt idx="79">
                  <c:v>0.9956115842150329</c:v>
                </c:pt>
                <c:pt idx="80">
                  <c:v>0.9957820553624507</c:v>
                </c:pt>
                <c:pt idx="81">
                  <c:v>0.9959523562333228</c:v>
                </c:pt>
                <c:pt idx="82">
                  <c:v>0.9961043402129269</c:v>
                </c:pt>
                <c:pt idx="83">
                  <c:v>0.9962440399560234</c:v>
                </c:pt>
                <c:pt idx="84">
                  <c:v>0.9963791179071665</c:v>
                </c:pt>
                <c:pt idx="85">
                  <c:v>0.996513636378231</c:v>
                </c:pt>
                <c:pt idx="86">
                  <c:v>0.9966474494178921</c:v>
                </c:pt>
                <c:pt idx="87">
                  <c:v>0.9969803643898612</c:v>
                </c:pt>
                <c:pt idx="88">
                  <c:v>0.9970755246536595</c:v>
                </c:pt>
                <c:pt idx="89">
                  <c:v>0.997260299030912</c:v>
                </c:pt>
                <c:pt idx="90">
                  <c:v>0.997348283354572</c:v>
                </c:pt>
                <c:pt idx="91">
                  <c:v>0.997605960418584</c:v>
                </c:pt>
                <c:pt idx="92">
                  <c:v>0.9978367337883831</c:v>
                </c:pt>
                <c:pt idx="93">
                  <c:v>0.9979763362305965</c:v>
                </c:pt>
                <c:pt idx="94">
                  <c:v>0.9985068692964043</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President</c:v>
                </c:pt>
                <c:pt idx="2">
                  <c:v>La Vache Qui Rit</c:v>
                </c:pt>
                <c:pt idx="3">
                  <c:v>Caprice Des Dieux</c:v>
                </c:pt>
                <c:pt idx="4">
                  <c:v>Soignon</c:v>
                </c:pt>
                <c:pt idx="5">
                  <c:v>St Moret</c:v>
                </c:pt>
                <c:pt idx="6">
                  <c:v>Kiri</c:v>
                </c:pt>
                <c:pt idx="7">
                  <c:v>Mini Babybel</c:v>
                </c:pt>
                <c:pt idx="8">
                  <c:v>Boursin</c:v>
                </c:pt>
                <c:pt idx="9">
                  <c:v>Others</c:v>
                </c:pt>
              </c:strCache>
            </c:strRef>
          </c:cat>
          <c:val>
            <c:numRef>
              <c:f>Sheet1!$B$2:$B$11</c:f>
              <c:numCache>
                <c:formatCode>General</c:formatCode>
                <c:ptCount val="10"/>
                <c:pt idx="0">
                  <c:v>0.31491576024754253</c:v>
                </c:pt>
                <c:pt idx="1">
                  <c:v>0.0547082572795719</c:v>
                </c:pt>
                <c:pt idx="2">
                  <c:v>0.048945842641343856</c:v>
                </c:pt>
                <c:pt idx="3">
                  <c:v>0.04867558910245332</c:v>
                </c:pt>
                <c:pt idx="4">
                  <c:v>0.04243471408296344</c:v>
                </c:pt>
                <c:pt idx="5">
                  <c:v>0.04103201435023553</c:v>
                </c:pt>
                <c:pt idx="6">
                  <c:v>0.03627120106447326</c:v>
                </c:pt>
                <c:pt idx="7">
                  <c:v>0.03396774381710293</c:v>
                </c:pt>
                <c:pt idx="8">
                  <c:v>0.020759860075392805</c:v>
                </c:pt>
                <c:pt idx="9">
                  <c:v>0.3582890173389205</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President</c:v>
                </c:pt>
                <c:pt idx="2">
                  <c:v>La Vache Qui Rit</c:v>
                </c:pt>
                <c:pt idx="3">
                  <c:v>Caprice Des Dieux</c:v>
                </c:pt>
                <c:pt idx="4">
                  <c:v>Soignon</c:v>
                </c:pt>
                <c:pt idx="5">
                  <c:v>St Moret</c:v>
                </c:pt>
                <c:pt idx="6">
                  <c:v>Kiri</c:v>
                </c:pt>
                <c:pt idx="7">
                  <c:v>Mini Babybel</c:v>
                </c:pt>
                <c:pt idx="8">
                  <c:v>Boursin</c:v>
                </c:pt>
                <c:pt idx="9">
                  <c:v>Others</c:v>
                </c:pt>
              </c:strCache>
            </c:strRef>
          </c:cat>
          <c:val>
            <c:numRef>
              <c:f>Sheet1!$C$2:$C$11</c:f>
              <c:numCache>
                <c:formatCode>General</c:formatCode>
                <c:ptCount val="10"/>
                <c:pt idx="0">
                  <c:v>0.1674977946603777</c:v>
                </c:pt>
                <c:pt idx="1">
                  <c:v>0.03373719552811133</c:v>
                </c:pt>
                <c:pt idx="2">
                  <c:v>0.018974922138009255</c:v>
                </c:pt>
                <c:pt idx="3">
                  <c:v>0.024897834266477042</c:v>
                </c:pt>
                <c:pt idx="4">
                  <c:v>0.028804435883126006</c:v>
                </c:pt>
                <c:pt idx="5">
                  <c:v>0.030784740850090923</c:v>
                </c:pt>
                <c:pt idx="6">
                  <c:v>0.021171260374097615</c:v>
                </c:pt>
                <c:pt idx="7">
                  <c:v>0.023223576430770335</c:v>
                </c:pt>
                <c:pt idx="8">
                  <c:v>0.034745350784020745</c:v>
                </c:pt>
                <c:pt idx="9">
                  <c:v>0.616162889084919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President</c:v>
                </c:pt>
                <c:pt idx="2">
                  <c:v>La Vache Qui Rit</c:v>
                </c:pt>
                <c:pt idx="3">
                  <c:v>Caprice Des Dieux</c:v>
                </c:pt>
                <c:pt idx="4">
                  <c:v>Soignon</c:v>
                </c:pt>
                <c:pt idx="5">
                  <c:v>St Moret</c:v>
                </c:pt>
                <c:pt idx="6">
                  <c:v>Kiri</c:v>
                </c:pt>
                <c:pt idx="7">
                  <c:v>Mini Babybel</c:v>
                </c:pt>
                <c:pt idx="8">
                  <c:v>Boursin</c:v>
                </c:pt>
                <c:pt idx="9">
                  <c:v>Others</c:v>
                </c:pt>
              </c:strCache>
            </c:strRef>
          </c:cat>
          <c:val>
            <c:numRef>
              <c:f>Sheet1!$D$2:$D$11</c:f>
              <c:numCache>
                <c:formatCode>General</c:formatCode>
                <c:ptCount val="10"/>
                <c:pt idx="0">
                  <c:v>53.18812704982262</c:v>
                </c:pt>
                <c:pt idx="1">
                  <c:v>61.66746521591142</c:v>
                </c:pt>
                <c:pt idx="2">
                  <c:v>38.76717840379237</c:v>
                </c:pt>
                <c:pt idx="3">
                  <c:v>51.15055559794376</c:v>
                </c:pt>
                <c:pt idx="4">
                  <c:v>67.87941548707246</c:v>
                </c:pt>
                <c:pt idx="5">
                  <c:v>75.02615052559372</c:v>
                </c:pt>
                <c:pt idx="6">
                  <c:v>58.36933918031828</c:v>
                </c:pt>
                <c:pt idx="7">
                  <c:v>68.36949947519668</c:v>
                </c:pt>
                <c:pt idx="8">
                  <c:v>167.3679430296609</c:v>
                </c:pt>
                <c:pt idx="9">
                  <c:v>171.97370258828366</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164</c:f>
              <c:strCache>
                <c:ptCount val="163"/>
                <c:pt idx="0">
                  <c:v>Private Lab</c:v>
                </c:pt>
                <c:pt idx="1">
                  <c:v>Private Lab</c:v>
                </c:pt>
                <c:pt idx="2">
                  <c:v>Private Lab</c:v>
                </c:pt>
                <c:pt idx="3">
                  <c:v>Private Lab</c:v>
                </c:pt>
                <c:pt idx="4">
                  <c:v>Private Lab</c:v>
                </c:pt>
                <c:pt idx="5">
                  <c:v>Galbani</c:v>
                </c:pt>
                <c:pt idx="6">
                  <c:v>Salakis</c:v>
                </c:pt>
                <c:pt idx="7">
                  <c:v>Private Lab</c:v>
                </c:pt>
                <c:pt idx="8">
                  <c:v>Galbani</c:v>
                </c:pt>
                <c:pt idx="9">
                  <c:v>Private Lab</c:v>
                </c:pt>
                <c:pt idx="10">
                  <c:v>Galbani</c:v>
                </c:pt>
                <c:pt idx="11">
                  <c:v>Private Lab</c:v>
                </c:pt>
                <c:pt idx="12">
                  <c:v>Private Lab</c:v>
                </c:pt>
                <c:pt idx="13">
                  <c:v>Private Lab</c:v>
                </c:pt>
                <c:pt idx="14">
                  <c:v>Galbani</c:v>
                </c:pt>
                <c:pt idx="15">
                  <c:v>Galbani</c:v>
                </c:pt>
                <c:pt idx="16">
                  <c:v>Islos</c:v>
                </c:pt>
                <c:pt idx="17">
                  <c:v>Private Lab</c:v>
                </c:pt>
                <c:pt idx="18">
                  <c:v>Salakis</c:v>
                </c:pt>
                <c:pt idx="19">
                  <c:v>Galbani</c:v>
                </c:pt>
                <c:pt idx="20">
                  <c:v>All Others</c:v>
                </c:pt>
                <c:pt idx="21">
                  <c:v>Private Lab</c:v>
                </c:pt>
                <c:pt idx="22">
                  <c:v>Casa Azzurr</c:v>
                </c:pt>
                <c:pt idx="23">
                  <c:v>Casa Azzurr</c:v>
                </c:pt>
                <c:pt idx="24">
                  <c:v>Boursin</c:v>
                </c:pt>
                <c:pt idx="25">
                  <c:v>Galbani</c:v>
                </c:pt>
                <c:pt idx="26">
                  <c:v>Salakis</c:v>
                </c:pt>
                <c:pt idx="27">
                  <c:v>Casa Azzurr</c:v>
                </c:pt>
                <c:pt idx="28">
                  <c:v>Private Lab</c:v>
                </c:pt>
                <c:pt idx="29">
                  <c:v>Private Lab</c:v>
                </c:pt>
                <c:pt idx="30">
                  <c:v>Private Lab</c:v>
                </c:pt>
                <c:pt idx="31">
                  <c:v>Casa Azzurr</c:v>
                </c:pt>
                <c:pt idx="32">
                  <c:v>Salakis</c:v>
                </c:pt>
                <c:pt idx="33">
                  <c:v>Casa Azzurr</c:v>
                </c:pt>
                <c:pt idx="34">
                  <c:v>Galbani</c:v>
                </c:pt>
                <c:pt idx="35">
                  <c:v>Private Lab</c:v>
                </c:pt>
                <c:pt idx="36">
                  <c:v>Private Lab</c:v>
                </c:pt>
                <c:pt idx="37">
                  <c:v>Private Lab</c:v>
                </c:pt>
                <c:pt idx="38">
                  <c:v>Casa Azzurr</c:v>
                </c:pt>
                <c:pt idx="39">
                  <c:v>Salakis</c:v>
                </c:pt>
                <c:pt idx="40">
                  <c:v>Galbani</c:v>
                </c:pt>
                <c:pt idx="41">
                  <c:v>Salakis</c:v>
                </c:pt>
                <c:pt idx="42">
                  <c:v>Private Lab</c:v>
                </c:pt>
                <c:pt idx="43">
                  <c:v>Casa Azzurr</c:v>
                </c:pt>
                <c:pt idx="44">
                  <c:v>Private Lab</c:v>
                </c:pt>
                <c:pt idx="45">
                  <c:v>Galbani</c:v>
                </c:pt>
                <c:pt idx="46">
                  <c:v>Casa Azzurr</c:v>
                </c:pt>
                <c:pt idx="47">
                  <c:v>Islos</c:v>
                </c:pt>
                <c:pt idx="48">
                  <c:v>Boursin</c:v>
                </c:pt>
                <c:pt idx="49">
                  <c:v>Casa Azzurr</c:v>
                </c:pt>
                <c:pt idx="50">
                  <c:v>All Others</c:v>
                </c:pt>
                <c:pt idx="51">
                  <c:v>All Others</c:v>
                </c:pt>
                <c:pt idx="52">
                  <c:v>Galbani</c:v>
                </c:pt>
                <c:pt idx="53">
                  <c:v>Salakis</c:v>
                </c:pt>
                <c:pt idx="54">
                  <c:v>Lactalis: A</c:v>
                </c:pt>
                <c:pt idx="55">
                  <c:v>Galbani</c:v>
                </c:pt>
                <c:pt idx="56">
                  <c:v>All Others</c:v>
                </c:pt>
                <c:pt idx="57">
                  <c:v>Boursin</c:v>
                </c:pt>
                <c:pt idx="58">
                  <c:v>All Others</c:v>
                </c:pt>
                <c:pt idx="59">
                  <c:v>Galbani</c:v>
                </c:pt>
                <c:pt idx="60">
                  <c:v>Islos</c:v>
                </c:pt>
                <c:pt idx="61">
                  <c:v>All Others</c:v>
                </c:pt>
                <c:pt idx="62">
                  <c:v>All Others</c:v>
                </c:pt>
                <c:pt idx="63">
                  <c:v>Galbani</c:v>
                </c:pt>
                <c:pt idx="64">
                  <c:v>Boursin</c:v>
                </c:pt>
                <c:pt idx="65">
                  <c:v>All Others</c:v>
                </c:pt>
                <c:pt idx="66">
                  <c:v>All Others</c:v>
                </c:pt>
                <c:pt idx="67">
                  <c:v>All Others</c:v>
                </c:pt>
                <c:pt idx="68">
                  <c:v>Boursin</c:v>
                </c:pt>
                <c:pt idx="69">
                  <c:v>All Others</c:v>
                </c:pt>
                <c:pt idx="70">
                  <c:v>All Others</c:v>
                </c:pt>
                <c:pt idx="71">
                  <c:v>All Others</c:v>
                </c:pt>
                <c:pt idx="72">
                  <c:v>All Others</c:v>
                </c:pt>
                <c:pt idx="73">
                  <c:v>All Others</c:v>
                </c:pt>
                <c:pt idx="74">
                  <c:v>All Others</c:v>
                </c:pt>
                <c:pt idx="75">
                  <c:v>All Others</c:v>
                </c:pt>
                <c:pt idx="76">
                  <c:v>Boursin</c:v>
                </c:pt>
                <c:pt idx="77">
                  <c:v>All Others</c:v>
                </c:pt>
                <c:pt idx="78">
                  <c:v>All Others</c:v>
                </c:pt>
                <c:pt idx="79">
                  <c:v>Salakis</c:v>
                </c:pt>
                <c:pt idx="80">
                  <c:v>All Others</c:v>
                </c:pt>
                <c:pt idx="81">
                  <c:v>All Others</c:v>
                </c:pt>
                <c:pt idx="82">
                  <c:v>All Others</c:v>
                </c:pt>
                <c:pt idx="83">
                  <c:v>All Others</c:v>
                </c:pt>
                <c:pt idx="84">
                  <c:v>All Others</c:v>
                </c:pt>
                <c:pt idx="85">
                  <c:v>All Others</c:v>
                </c:pt>
                <c:pt idx="86">
                  <c:v>All Others</c:v>
                </c:pt>
                <c:pt idx="87">
                  <c:v>All Others</c:v>
                </c:pt>
                <c:pt idx="88">
                  <c:v>Salakis</c:v>
                </c:pt>
                <c:pt idx="89">
                  <c:v>All Others</c:v>
                </c:pt>
                <c:pt idx="90">
                  <c:v>All Others</c:v>
                </c:pt>
                <c:pt idx="91">
                  <c:v>All Others</c:v>
                </c:pt>
                <c:pt idx="92">
                  <c:v>Entremont</c:v>
                </c:pt>
                <c:pt idx="93">
                  <c:v>Private Lab</c:v>
                </c:pt>
                <c:pt idx="94">
                  <c:v>Entremont</c:v>
                </c:pt>
                <c:pt idx="95">
                  <c:v>All Others</c:v>
                </c:pt>
                <c:pt idx="96">
                  <c:v>All Others</c:v>
                </c:pt>
                <c:pt idx="97">
                  <c:v>All Others</c:v>
                </c:pt>
                <c:pt idx="98">
                  <c:v>All Others</c:v>
                </c:pt>
                <c:pt idx="99">
                  <c:v>All Others</c:v>
                </c:pt>
                <c:pt idx="100">
                  <c:v>All Others</c:v>
                </c:pt>
                <c:pt idx="101">
                  <c:v>All Others</c:v>
                </c:pt>
                <c:pt idx="102">
                  <c:v>All Others</c:v>
                </c:pt>
                <c:pt idx="103">
                  <c:v>All Others</c:v>
                </c:pt>
                <c:pt idx="104">
                  <c:v>All Others</c:v>
                </c:pt>
                <c:pt idx="105">
                  <c:v>All Others</c:v>
                </c:pt>
                <c:pt idx="106">
                  <c:v>All Others</c:v>
                </c:pt>
                <c:pt idx="107">
                  <c:v>Entremont</c:v>
                </c:pt>
                <c:pt idx="108">
                  <c:v>All Others</c:v>
                </c:pt>
                <c:pt idx="109">
                  <c:v>All Others</c:v>
                </c:pt>
                <c:pt idx="110">
                  <c:v>All Others</c:v>
                </c:pt>
                <c:pt idx="111">
                  <c:v>All Others</c:v>
                </c:pt>
                <c:pt idx="112">
                  <c:v>All Others</c:v>
                </c:pt>
                <c:pt idx="113">
                  <c:v>All Others</c:v>
                </c:pt>
                <c:pt idx="114">
                  <c:v>Casa Azzurr</c:v>
                </c:pt>
                <c:pt idx="115">
                  <c:v>All Others</c:v>
                </c:pt>
                <c:pt idx="116">
                  <c:v>All Others</c:v>
                </c:pt>
                <c:pt idx="117">
                  <c:v>All Others</c:v>
                </c:pt>
                <c:pt idx="118">
                  <c:v>All Others</c:v>
                </c:pt>
                <c:pt idx="119">
                  <c:v>All Others</c:v>
                </c:pt>
                <c:pt idx="120">
                  <c:v>All Others</c:v>
                </c:pt>
                <c:pt idx="121">
                  <c:v>All Others</c:v>
                </c:pt>
                <c:pt idx="122">
                  <c:v>All Others</c:v>
                </c:pt>
                <c:pt idx="123">
                  <c:v>All Others</c:v>
                </c:pt>
                <c:pt idx="124">
                  <c:v>All Others</c:v>
                </c:pt>
                <c:pt idx="125">
                  <c:v>All Others</c:v>
                </c:pt>
                <c:pt idx="126">
                  <c:v>All Others</c:v>
                </c:pt>
                <c:pt idx="127">
                  <c:v>All Others</c:v>
                </c:pt>
                <c:pt idx="128">
                  <c:v>All Others</c:v>
                </c:pt>
                <c:pt idx="129">
                  <c:v>All Others</c:v>
                </c:pt>
                <c:pt idx="130">
                  <c:v>All Others</c:v>
                </c:pt>
                <c:pt idx="131">
                  <c:v>All Others</c:v>
                </c:pt>
                <c:pt idx="132">
                  <c:v>All Others</c:v>
                </c:pt>
                <c:pt idx="133">
                  <c:v>All Others</c:v>
                </c:pt>
                <c:pt idx="134">
                  <c:v>All Others</c:v>
                </c:pt>
                <c:pt idx="135">
                  <c:v>All Others</c:v>
                </c:pt>
                <c:pt idx="136">
                  <c:v>All Others</c:v>
                </c:pt>
                <c:pt idx="137">
                  <c:v>Savencia: A</c:v>
                </c:pt>
                <c:pt idx="138">
                  <c:v>All Others</c:v>
                </c:pt>
                <c:pt idx="139">
                  <c:v>All Others</c:v>
                </c:pt>
                <c:pt idx="140">
                  <c:v>All Others</c:v>
                </c:pt>
                <c:pt idx="141">
                  <c:v>All Others</c:v>
                </c:pt>
                <c:pt idx="142">
                  <c:v>All Others</c:v>
                </c:pt>
                <c:pt idx="143">
                  <c:v>All Others</c:v>
                </c:pt>
                <c:pt idx="144">
                  <c:v>All Others</c:v>
                </c:pt>
                <c:pt idx="145">
                  <c:v>All Others</c:v>
                </c:pt>
                <c:pt idx="146">
                  <c:v>All Others</c:v>
                </c:pt>
                <c:pt idx="147">
                  <c:v>All Others</c:v>
                </c:pt>
                <c:pt idx="148">
                  <c:v>All Others</c:v>
                </c:pt>
                <c:pt idx="149">
                  <c:v>All Others</c:v>
                </c:pt>
                <c:pt idx="150">
                  <c:v>All Others</c:v>
                </c:pt>
                <c:pt idx="151">
                  <c:v>All Others</c:v>
                </c:pt>
                <c:pt idx="152">
                  <c:v>All Others</c:v>
                </c:pt>
                <c:pt idx="153">
                  <c:v>All Others</c:v>
                </c:pt>
                <c:pt idx="154">
                  <c:v>Savencia: A</c:v>
                </c:pt>
                <c:pt idx="155">
                  <c:v>All Others</c:v>
                </c:pt>
                <c:pt idx="156">
                  <c:v>All Others</c:v>
                </c:pt>
                <c:pt idx="157">
                  <c:v>All Others</c:v>
                </c:pt>
                <c:pt idx="158">
                  <c:v>All Others</c:v>
                </c:pt>
                <c:pt idx="159">
                  <c:v>All Others</c:v>
                </c:pt>
                <c:pt idx="160">
                  <c:v>All Others</c:v>
                </c:pt>
                <c:pt idx="161">
                  <c:v>All Others</c:v>
                </c:pt>
                <c:pt idx="162">
                  <c:v>All Others</c:v>
                </c:pt>
              </c:strCache>
            </c:strRef>
          </c:cat>
          <c:val>
            <c:numRef>
              <c:f>Sheet1!$B$2:$B$164</c:f>
              <c:numCache>
                <c:formatCode>General</c:formatCode>
                <c:ptCount val="163"/>
                <c:pt idx="0">
                  <c:v>1.0</c:v>
                </c:pt>
                <c:pt idx="1">
                  <c:v>0.99</c:v>
                </c:pt>
                <c:pt idx="2">
                  <c:v>0.98</c:v>
                </c:pt>
                <c:pt idx="3">
                  <c:v>0.99</c:v>
                </c:pt>
                <c:pt idx="4">
                  <c:v>0.99</c:v>
                </c:pt>
                <c:pt idx="5">
                  <c:v>1.0</c:v>
                </c:pt>
                <c:pt idx="6">
                  <c:v>0.99</c:v>
                </c:pt>
                <c:pt idx="7">
                  <c:v>0.99</c:v>
                </c:pt>
                <c:pt idx="8">
                  <c:v>0.98</c:v>
                </c:pt>
                <c:pt idx="9">
                  <c:v>0.99</c:v>
                </c:pt>
                <c:pt idx="10">
                  <c:v>0.97</c:v>
                </c:pt>
                <c:pt idx="11">
                  <c:v>0.99</c:v>
                </c:pt>
                <c:pt idx="12">
                  <c:v>0.99</c:v>
                </c:pt>
                <c:pt idx="13">
                  <c:v>1.0</c:v>
                </c:pt>
                <c:pt idx="14">
                  <c:v>0.95</c:v>
                </c:pt>
                <c:pt idx="15">
                  <c:v>0.98</c:v>
                </c:pt>
                <c:pt idx="16">
                  <c:v>0.96</c:v>
                </c:pt>
                <c:pt idx="17">
                  <c:v>0.98</c:v>
                </c:pt>
                <c:pt idx="18">
                  <c:v>1.0</c:v>
                </c:pt>
                <c:pt idx="19">
                  <c:v>0.96</c:v>
                </c:pt>
                <c:pt idx="20">
                  <c:v>0.49</c:v>
                </c:pt>
                <c:pt idx="21">
                  <c:v>0.75</c:v>
                </c:pt>
                <c:pt idx="22">
                  <c:v>0.97</c:v>
                </c:pt>
                <c:pt idx="23">
                  <c:v>0.9</c:v>
                </c:pt>
                <c:pt idx="24">
                  <c:v>0.98</c:v>
                </c:pt>
                <c:pt idx="25">
                  <c:v>0.87</c:v>
                </c:pt>
                <c:pt idx="26">
                  <c:v>0.9</c:v>
                </c:pt>
                <c:pt idx="27">
                  <c:v>0.8</c:v>
                </c:pt>
                <c:pt idx="28">
                  <c:v>0.97</c:v>
                </c:pt>
                <c:pt idx="29">
                  <c:v>0.87</c:v>
                </c:pt>
                <c:pt idx="30">
                  <c:v>0.94</c:v>
                </c:pt>
                <c:pt idx="31">
                  <c:v>0.83</c:v>
                </c:pt>
                <c:pt idx="32">
                  <c:v>0.97</c:v>
                </c:pt>
                <c:pt idx="33">
                  <c:v>0.89</c:v>
                </c:pt>
                <c:pt idx="34">
                  <c:v>0.9</c:v>
                </c:pt>
                <c:pt idx="35">
                  <c:v>0.77</c:v>
                </c:pt>
                <c:pt idx="36">
                  <c:v>0.89</c:v>
                </c:pt>
                <c:pt idx="37">
                  <c:v>0.57</c:v>
                </c:pt>
                <c:pt idx="38">
                  <c:v>0.68</c:v>
                </c:pt>
                <c:pt idx="39">
                  <c:v>0.58</c:v>
                </c:pt>
                <c:pt idx="40">
                  <c:v>0.44</c:v>
                </c:pt>
                <c:pt idx="41">
                  <c:v>0.95</c:v>
                </c:pt>
                <c:pt idx="42">
                  <c:v>0.76</c:v>
                </c:pt>
                <c:pt idx="43">
                  <c:v>0.34</c:v>
                </c:pt>
                <c:pt idx="44">
                  <c:v>0.45</c:v>
                </c:pt>
                <c:pt idx="45">
                  <c:v>0.33</c:v>
                </c:pt>
                <c:pt idx="46">
                  <c:v>0.81</c:v>
                </c:pt>
                <c:pt idx="47">
                  <c:v>0.71</c:v>
                </c:pt>
                <c:pt idx="48">
                  <c:v>0.86</c:v>
                </c:pt>
                <c:pt idx="49">
                  <c:v>0.3</c:v>
                </c:pt>
                <c:pt idx="50">
                  <c:v>0.21</c:v>
                </c:pt>
                <c:pt idx="51">
                  <c:v>0.39</c:v>
                </c:pt>
                <c:pt idx="52">
                  <c:v>0.54</c:v>
                </c:pt>
                <c:pt idx="53">
                  <c:v>0.42</c:v>
                </c:pt>
                <c:pt idx="54">
                  <c:v>0.29</c:v>
                </c:pt>
                <c:pt idx="55">
                  <c:v>0.36</c:v>
                </c:pt>
                <c:pt idx="56">
                  <c:v>0.21</c:v>
                </c:pt>
                <c:pt idx="57">
                  <c:v>0.88</c:v>
                </c:pt>
                <c:pt idx="58">
                  <c:v>0.11</c:v>
                </c:pt>
                <c:pt idx="59">
                  <c:v>0.28</c:v>
                </c:pt>
                <c:pt idx="60">
                  <c:v>0.56</c:v>
                </c:pt>
                <c:pt idx="61">
                  <c:v>0.27</c:v>
                </c:pt>
                <c:pt idx="62">
                  <c:v>0.15</c:v>
                </c:pt>
                <c:pt idx="63">
                  <c:v>0.56</c:v>
                </c:pt>
                <c:pt idx="64">
                  <c:v>0.67</c:v>
                </c:pt>
                <c:pt idx="65">
                  <c:v>0.23</c:v>
                </c:pt>
                <c:pt idx="66">
                  <c:v>0.21</c:v>
                </c:pt>
                <c:pt idx="67">
                  <c:v>0.31</c:v>
                </c:pt>
                <c:pt idx="68">
                  <c:v>0.83</c:v>
                </c:pt>
                <c:pt idx="69">
                  <c:v>0.15</c:v>
                </c:pt>
                <c:pt idx="70">
                  <c:v>0.04</c:v>
                </c:pt>
                <c:pt idx="71">
                  <c:v>0.13</c:v>
                </c:pt>
                <c:pt idx="72">
                  <c:v>0.06</c:v>
                </c:pt>
                <c:pt idx="73">
                  <c:v>0.28</c:v>
                </c:pt>
                <c:pt idx="74">
                  <c:v>0.05</c:v>
                </c:pt>
                <c:pt idx="75">
                  <c:v>0.04</c:v>
                </c:pt>
                <c:pt idx="76">
                  <c:v>0.4</c:v>
                </c:pt>
                <c:pt idx="77">
                  <c:v>0.05</c:v>
                </c:pt>
                <c:pt idx="78">
                  <c:v>0.05</c:v>
                </c:pt>
                <c:pt idx="79">
                  <c:v>0.24</c:v>
                </c:pt>
                <c:pt idx="80">
                  <c:v>0.07</c:v>
                </c:pt>
                <c:pt idx="81">
                  <c:v>0.12</c:v>
                </c:pt>
                <c:pt idx="82">
                  <c:v>0.16</c:v>
                </c:pt>
                <c:pt idx="83">
                  <c:v>0.03</c:v>
                </c:pt>
                <c:pt idx="84">
                  <c:v>0.01</c:v>
                </c:pt>
                <c:pt idx="85">
                  <c:v>0.44</c:v>
                </c:pt>
                <c:pt idx="86">
                  <c:v>0.1</c:v>
                </c:pt>
                <c:pt idx="87">
                  <c:v>0.04</c:v>
                </c:pt>
                <c:pt idx="88">
                  <c:v>0.23</c:v>
                </c:pt>
                <c:pt idx="89">
                  <c:v>0.02</c:v>
                </c:pt>
                <c:pt idx="90">
                  <c:v>0.02</c:v>
                </c:pt>
                <c:pt idx="91">
                  <c:v>0.1</c:v>
                </c:pt>
                <c:pt idx="92">
                  <c:v>0.39</c:v>
                </c:pt>
                <c:pt idx="93">
                  <c:v>0.16</c:v>
                </c:pt>
                <c:pt idx="94">
                  <c:v>0.4</c:v>
                </c:pt>
                <c:pt idx="95">
                  <c:v>0.01</c:v>
                </c:pt>
                <c:pt idx="96">
                  <c:v>0.07</c:v>
                </c:pt>
                <c:pt idx="97">
                  <c:v>0.07</c:v>
                </c:pt>
                <c:pt idx="98">
                  <c:v>0.15</c:v>
                </c:pt>
                <c:pt idx="99">
                  <c:v>0.07</c:v>
                </c:pt>
                <c:pt idx="100">
                  <c:v>0.02</c:v>
                </c:pt>
                <c:pt idx="101">
                  <c:v>0.08</c:v>
                </c:pt>
                <c:pt idx="102">
                  <c:v>0.07</c:v>
                </c:pt>
                <c:pt idx="103">
                  <c:v>0.14</c:v>
                </c:pt>
                <c:pt idx="104">
                  <c:v>0.04</c:v>
                </c:pt>
                <c:pt idx="105">
                  <c:v>0.36</c:v>
                </c:pt>
                <c:pt idx="106">
                  <c:v>0.14</c:v>
                </c:pt>
                <c:pt idx="107">
                  <c:v>0.34</c:v>
                </c:pt>
                <c:pt idx="108">
                  <c:v>0.07</c:v>
                </c:pt>
                <c:pt idx="109">
                  <c:v>0.12</c:v>
                </c:pt>
                <c:pt idx="110">
                  <c:v>0.13</c:v>
                </c:pt>
                <c:pt idx="111">
                  <c:v>0.05</c:v>
                </c:pt>
                <c:pt idx="112">
                  <c:v>0.07</c:v>
                </c:pt>
                <c:pt idx="113">
                  <c:v>0.07</c:v>
                </c:pt>
                <c:pt idx="114">
                  <c:v>0.06</c:v>
                </c:pt>
                <c:pt idx="115">
                  <c:v>0.01</c:v>
                </c:pt>
                <c:pt idx="116">
                  <c:v>0.01</c:v>
                </c:pt>
                <c:pt idx="117">
                  <c:v>0.04</c:v>
                </c:pt>
                <c:pt idx="118">
                  <c:v>0.01</c:v>
                </c:pt>
                <c:pt idx="119">
                  <c:v>0.01</c:v>
                </c:pt>
                <c:pt idx="120">
                  <c:v>0.01</c:v>
                </c:pt>
                <c:pt idx="121">
                  <c:v>0.02</c:v>
                </c:pt>
                <c:pt idx="122">
                  <c:v>0.06</c:v>
                </c:pt>
                <c:pt idx="123">
                  <c:v>0.11</c:v>
                </c:pt>
                <c:pt idx="124">
                  <c:v>0.01</c:v>
                </c:pt>
                <c:pt idx="125">
                  <c:v>0.09</c:v>
                </c:pt>
                <c:pt idx="126">
                  <c:v>0.01</c:v>
                </c:pt>
                <c:pt idx="127">
                  <c:v>0.02</c:v>
                </c:pt>
                <c:pt idx="128">
                  <c:v>0.02</c:v>
                </c:pt>
                <c:pt idx="129">
                  <c:v>0.01</c:v>
                </c:pt>
                <c:pt idx="130">
                  <c:v>0.01</c:v>
                </c:pt>
                <c:pt idx="131">
                  <c:v>0.04</c:v>
                </c:pt>
                <c:pt idx="132">
                  <c:v>0.02</c:v>
                </c:pt>
                <c:pt idx="133">
                  <c:v>0.01</c:v>
                </c:pt>
                <c:pt idx="134">
                  <c:v>0.01</c:v>
                </c:pt>
                <c:pt idx="135">
                  <c:v>0.06</c:v>
                </c:pt>
                <c:pt idx="136">
                  <c:v>0.01</c:v>
                </c:pt>
                <c:pt idx="137">
                  <c:v>0.01</c:v>
                </c:pt>
                <c:pt idx="138">
                  <c:v>0.01</c:v>
                </c:pt>
                <c:pt idx="139">
                  <c:v>0.01</c:v>
                </c:pt>
                <c:pt idx="140">
                  <c:v>0.01</c:v>
                </c:pt>
                <c:pt idx="141">
                  <c:v>0.01</c:v>
                </c:pt>
                <c:pt idx="142">
                  <c:v>0.02</c:v>
                </c:pt>
                <c:pt idx="143">
                  <c:v>0.01</c:v>
                </c:pt>
                <c:pt idx="144">
                  <c:v>0.01</c:v>
                </c:pt>
                <c:pt idx="145">
                  <c:v>0.01</c:v>
                </c:pt>
                <c:pt idx="146">
                  <c:v>0.01</c:v>
                </c:pt>
                <c:pt idx="147">
                  <c:v>0.01</c:v>
                </c:pt>
                <c:pt idx="148">
                  <c:v>0.02</c:v>
                </c:pt>
                <c:pt idx="149">
                  <c:v>0.04</c:v>
                </c:pt>
                <c:pt idx="150">
                  <c:v>0.01</c:v>
                </c:pt>
                <c:pt idx="151">
                  <c:v>0.01</c:v>
                </c:pt>
                <c:pt idx="152">
                  <c:v>0.01</c:v>
                </c:pt>
                <c:pt idx="153">
                  <c:v>0.01</c:v>
                </c:pt>
                <c:pt idx="154">
                  <c:v>0.01</c:v>
                </c:pt>
                <c:pt idx="155">
                  <c:v>0.02</c:v>
                </c:pt>
                <c:pt idx="156">
                  <c:v>0.01</c:v>
                </c:pt>
                <c:pt idx="157">
                  <c:v>0.01</c:v>
                </c:pt>
                <c:pt idx="158">
                  <c:v>0.01</c:v>
                </c:pt>
                <c:pt idx="159">
                  <c:v>0.01</c:v>
                </c:pt>
                <c:pt idx="160">
                  <c:v>0.01</c:v>
                </c:pt>
                <c:pt idx="161">
                  <c:v>0.01</c:v>
                </c:pt>
                <c:pt idx="162">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Item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7ECAC4"/>
              </a:solidFill>
            </c:spPr>
            <c:extLst>
              <c:ext xmlns:c16="http://schemas.microsoft.com/office/drawing/2014/chart" uri="{C3380CC4-5D6E-409C-BE32-E72D297353CC}">
                <c16:uniqueId val="{00000069-2993-41DE-A2CB-63102DE87051}"/>
              </c:ext>
            </c:extLst>
          </c:dPt>
          <c:dPt>
            <c:idx val="25"/>
            <c:invertIfNegative val="1"/>
            <c:bubble3D val="0"/>
            <c:spPr>
              <a:solidFill>
                <a:srgbClr val="7ECAC4"/>
              </a:solidFill>
            </c:spPr>
            <c:extLst>
              <c:ext xmlns:c16="http://schemas.microsoft.com/office/drawing/2014/chart" uri="{C3380CC4-5D6E-409C-BE32-E72D297353CC}">
                <c16:uniqueId val="{0000006B-2993-41DE-A2CB-63102DE87051}"/>
              </c:ext>
            </c:extLst>
          </c:dPt>
          <c:dPt>
            <c:idx val="26"/>
            <c:invertIfNegative val="1"/>
            <c:bubble3D val="0"/>
            <c:spPr>
              <a:solidFill>
                <a:srgbClr val="7ECAC4"/>
              </a:solidFill>
            </c:spPr>
            <c:extLst>
              <c:ext xmlns:c16="http://schemas.microsoft.com/office/drawing/2014/chart" uri="{C3380CC4-5D6E-409C-BE32-E72D297353CC}">
                <c16:uniqueId val="{0000006D-2993-41DE-A2CB-63102DE87051}"/>
              </c:ext>
            </c:extLst>
          </c:dPt>
          <c:dPt>
            <c:idx val="27"/>
            <c:invertIfNegative val="1"/>
            <c:bubble3D val="0"/>
            <c:spPr>
              <a:solidFill>
                <a:srgbClr val="7ECAC4"/>
              </a:solidFill>
            </c:spPr>
            <c:extLst>
              <c:ext xmlns:c16="http://schemas.microsoft.com/office/drawing/2014/chart" uri="{C3380CC4-5D6E-409C-BE32-E72D297353CC}">
                <c16:uniqueId val="{0000006F-2993-41DE-A2CB-63102DE87051}"/>
              </c:ext>
            </c:extLst>
          </c:dPt>
          <c:dPt>
            <c:idx val="28"/>
            <c:invertIfNegative val="1"/>
            <c:bubble3D val="0"/>
            <c:spPr>
              <a:solidFill>
                <a:srgbClr val="7ECAC4"/>
              </a:solidFill>
            </c:spPr>
            <c:extLst>
              <c:ext xmlns:c16="http://schemas.microsoft.com/office/drawing/2014/chart" uri="{C3380CC4-5D6E-409C-BE32-E72D297353CC}">
                <c16:uniqueId val="{00000071-2993-41DE-A2CB-63102DE87051}"/>
              </c:ext>
            </c:extLst>
          </c:dPt>
          <c:dPt>
            <c:idx val="29"/>
            <c:invertIfNegative val="1"/>
            <c:bubble3D val="0"/>
            <c:spPr>
              <a:solidFill>
                <a:srgbClr val="7ECAC4"/>
              </a:solidFill>
            </c:spPr>
            <c:extLst>
              <c:ext xmlns:c16="http://schemas.microsoft.com/office/drawing/2014/chart" uri="{C3380CC4-5D6E-409C-BE32-E72D297353CC}">
                <c16:uniqueId val="{00000073-2993-41DE-A2CB-63102DE87051}"/>
              </c:ext>
            </c:extLst>
          </c:dPt>
          <c:dPt>
            <c:idx val="30"/>
            <c:invertIfNegative val="1"/>
            <c:bubble3D val="0"/>
            <c:spPr>
              <a:solidFill>
                <a:srgbClr val="7ECAC4"/>
              </a:solidFill>
            </c:spPr>
            <c:extLst>
              <c:ext xmlns:c16="http://schemas.microsoft.com/office/drawing/2014/chart" uri="{C3380CC4-5D6E-409C-BE32-E72D297353CC}">
                <c16:uniqueId val="{00000075-2993-41DE-A2CB-63102DE87051}"/>
              </c:ext>
            </c:extLst>
          </c:dPt>
          <c:dPt>
            <c:idx val="31"/>
            <c:invertIfNegative val="1"/>
            <c:bubble3D val="0"/>
            <c:spPr>
              <a:solidFill>
                <a:srgbClr val="7ECAC4"/>
              </a:solidFill>
            </c:spPr>
            <c:extLst>
              <c:ext xmlns:c16="http://schemas.microsoft.com/office/drawing/2014/chart" uri="{C3380CC4-5D6E-409C-BE32-E72D297353CC}">
                <c16:uniqueId val="{00000077-2993-41DE-A2CB-63102DE87051}"/>
              </c:ext>
            </c:extLst>
          </c:dPt>
          <c:dPt>
            <c:idx val="32"/>
            <c:invertIfNegative val="1"/>
            <c:bubble3D val="0"/>
            <c:spPr>
              <a:solidFill>
                <a:srgbClr val="7ECAC4"/>
              </a:solidFill>
            </c:spPr>
            <c:extLst>
              <c:ext xmlns:c16="http://schemas.microsoft.com/office/drawing/2014/chart" uri="{C3380CC4-5D6E-409C-BE32-E72D297353CC}">
                <c16:uniqueId val="{00000079-2993-41DE-A2CB-63102DE87051}"/>
              </c:ext>
            </c:extLst>
          </c:dPt>
          <c:dPt>
            <c:idx val="33"/>
            <c:invertIfNegative val="1"/>
            <c:bubble3D val="0"/>
            <c:spPr>
              <a:solidFill>
                <a:srgbClr val="7ECAC4"/>
              </a:solidFill>
            </c:spPr>
            <c:extLst>
              <c:ext xmlns:c16="http://schemas.microsoft.com/office/drawing/2014/chart" uri="{C3380CC4-5D6E-409C-BE32-E72D297353CC}">
                <c16:uniqueId val="{0000007B-2993-41DE-A2CB-63102DE87051}"/>
              </c:ext>
            </c:extLst>
          </c:dPt>
          <c:dPt>
            <c:idx val="34"/>
            <c:invertIfNegative val="1"/>
            <c:bubble3D val="0"/>
            <c:spPr>
              <a:solidFill>
                <a:srgbClr val="7ECAC4"/>
              </a:solidFill>
            </c:spPr>
            <c:extLst>
              <c:ext xmlns:c16="http://schemas.microsoft.com/office/drawing/2014/chart" uri="{C3380CC4-5D6E-409C-BE32-E72D297353CC}">
                <c16:uniqueId val="{0000007D-2993-41DE-A2CB-63102DE87051}"/>
              </c:ext>
            </c:extLst>
          </c:dPt>
          <c:dPt>
            <c:idx val="35"/>
            <c:invertIfNegative val="1"/>
            <c:bubble3D val="0"/>
            <c:spPr>
              <a:solidFill>
                <a:srgbClr val="7ECAC4"/>
              </a:solidFill>
            </c:spPr>
            <c:extLst>
              <c:ext xmlns:c16="http://schemas.microsoft.com/office/drawing/2014/chart" uri="{C3380CC4-5D6E-409C-BE32-E72D297353CC}">
                <c16:uniqueId val="{0000007F-2993-41DE-A2CB-63102DE87051}"/>
              </c:ext>
            </c:extLst>
          </c:dPt>
          <c:dPt>
            <c:idx val="36"/>
            <c:invertIfNegative val="1"/>
            <c:bubble3D val="0"/>
            <c:spPr>
              <a:solidFill>
                <a:srgbClr val="7ECAC4"/>
              </a:solidFill>
            </c:spPr>
            <c:extLst>
              <c:ext xmlns:c16="http://schemas.microsoft.com/office/drawing/2014/chart" uri="{C3380CC4-5D6E-409C-BE32-E72D297353CC}">
                <c16:uniqueId val="{00000081-2993-41DE-A2CB-63102DE87051}"/>
              </c:ext>
            </c:extLst>
          </c:dPt>
          <c:dPt>
            <c:idx val="37"/>
            <c:invertIfNegative val="1"/>
            <c:bubble3D val="0"/>
            <c:spPr>
              <a:solidFill>
                <a:srgbClr val="7ECAC4"/>
              </a:solidFill>
            </c:spPr>
            <c:extLst>
              <c:ext xmlns:c16="http://schemas.microsoft.com/office/drawing/2014/chart" uri="{C3380CC4-5D6E-409C-BE32-E72D297353CC}">
                <c16:uniqueId val="{00000083-2993-41DE-A2CB-63102DE87051}"/>
              </c:ext>
            </c:extLst>
          </c:dPt>
          <c:dPt>
            <c:idx val="38"/>
            <c:invertIfNegative val="1"/>
            <c:bubble3D val="0"/>
            <c:spPr>
              <a:solidFill>
                <a:srgbClr val="7ECAC4"/>
              </a:solidFill>
            </c:spPr>
            <c:extLst>
              <c:ext xmlns:c16="http://schemas.microsoft.com/office/drawing/2014/chart" uri="{C3380CC4-5D6E-409C-BE32-E72D297353CC}">
                <c16:uniqueId val="{00000085-2993-41DE-A2CB-63102DE87051}"/>
              </c:ext>
            </c:extLst>
          </c:dPt>
          <c:dPt>
            <c:idx val="39"/>
            <c:invertIfNegative val="1"/>
            <c:bubble3D val="0"/>
            <c:spPr>
              <a:solidFill>
                <a:srgbClr val="7ECAC4"/>
              </a:solidFill>
            </c:spPr>
            <c:extLst>
              <c:ext xmlns:c16="http://schemas.microsoft.com/office/drawing/2014/chart" uri="{C3380CC4-5D6E-409C-BE32-E72D297353CC}">
                <c16:uniqueId val="{00000087-2993-41DE-A2CB-63102DE87051}"/>
              </c:ext>
            </c:extLst>
          </c:dPt>
          <c:dPt>
            <c:idx val="40"/>
            <c:invertIfNegative val="1"/>
            <c:bubble3D val="0"/>
            <c:spPr>
              <a:solidFill>
                <a:srgbClr val="7ECAC4"/>
              </a:solidFill>
            </c:spPr>
            <c:extLst>
              <c:ext xmlns:c16="http://schemas.microsoft.com/office/drawing/2014/chart" uri="{C3380CC4-5D6E-409C-BE32-E72D297353CC}">
                <c16:uniqueId val="{00000089-2993-41DE-A2CB-63102DE87051}"/>
              </c:ext>
            </c:extLst>
          </c:dPt>
          <c:dPt>
            <c:idx val="41"/>
            <c:invertIfNegative val="1"/>
            <c:bubble3D val="0"/>
            <c:spPr>
              <a:solidFill>
                <a:srgbClr val="7ECAC4"/>
              </a:solidFill>
            </c:spPr>
            <c:extLst>
              <c:ext xmlns:c16="http://schemas.microsoft.com/office/drawing/2014/chart" uri="{C3380CC4-5D6E-409C-BE32-E72D297353CC}">
                <c16:uniqueId val="{0000008B-2993-41DE-A2CB-63102DE87051}"/>
              </c:ext>
            </c:extLst>
          </c:dPt>
          <c:dPt>
            <c:idx val="42"/>
            <c:invertIfNegative val="1"/>
            <c:bubble3D val="0"/>
            <c:spPr>
              <a:solidFill>
                <a:srgbClr val="7ECAC4"/>
              </a:solidFill>
            </c:spPr>
            <c:extLst>
              <c:ext xmlns:c16="http://schemas.microsoft.com/office/drawing/2014/chart" uri="{C3380CC4-5D6E-409C-BE32-E72D297353CC}">
                <c16:uniqueId val="{0000008D-2993-41DE-A2CB-63102DE87051}"/>
              </c:ext>
            </c:extLst>
          </c:dPt>
          <c:dPt>
            <c:idx val="43"/>
            <c:invertIfNegative val="1"/>
            <c:bubble3D val="0"/>
            <c:spPr>
              <a:solidFill>
                <a:srgbClr val="7ECAC4"/>
              </a:solidFill>
            </c:spPr>
            <c:extLst>
              <c:ext xmlns:c16="http://schemas.microsoft.com/office/drawing/2014/chart" uri="{C3380CC4-5D6E-409C-BE32-E72D297353CC}">
                <c16:uniqueId val="{0000008F-2993-41DE-A2CB-63102DE87051}"/>
              </c:ext>
            </c:extLst>
          </c:dPt>
          <c:dPt>
            <c:idx val="44"/>
            <c:invertIfNegative val="1"/>
            <c:bubble3D val="0"/>
            <c:spPr>
              <a:solidFill>
                <a:srgbClr val="7ECAC4"/>
              </a:solidFill>
            </c:spPr>
            <c:extLst>
              <c:ext xmlns:c16="http://schemas.microsoft.com/office/drawing/2014/chart" uri="{C3380CC4-5D6E-409C-BE32-E72D297353CC}">
                <c16:uniqueId val="{00000091-2993-41DE-A2CB-63102DE87051}"/>
              </c:ext>
            </c:extLst>
          </c:dPt>
          <c:dPt>
            <c:idx val="45"/>
            <c:invertIfNegative val="1"/>
            <c:bubble3D val="0"/>
            <c:spPr>
              <a:solidFill>
                <a:srgbClr val="7ECAC4"/>
              </a:solidFill>
            </c:spPr>
            <c:extLst>
              <c:ext xmlns:c16="http://schemas.microsoft.com/office/drawing/2014/chart" uri="{C3380CC4-5D6E-409C-BE32-E72D297353CC}">
                <c16:uniqueId val="{00000093-2993-41DE-A2CB-63102DE87051}"/>
              </c:ext>
            </c:extLst>
          </c:dPt>
          <c:dPt>
            <c:idx val="46"/>
            <c:invertIfNegative val="1"/>
            <c:bubble3D val="0"/>
            <c:spPr>
              <a:solidFill>
                <a:srgbClr val="7ECAC4"/>
              </a:solidFill>
            </c:spPr>
            <c:extLst>
              <c:ext xmlns:c16="http://schemas.microsoft.com/office/drawing/2014/chart" uri="{C3380CC4-5D6E-409C-BE32-E72D297353CC}">
                <c16:uniqueId val="{00000095-2993-41DE-A2CB-63102DE87051}"/>
              </c:ext>
            </c:extLst>
          </c:dPt>
          <c:dPt>
            <c:idx val="47"/>
            <c:invertIfNegative val="1"/>
            <c:bubble3D val="0"/>
            <c:spPr>
              <a:solidFill>
                <a:srgbClr val="AEABAB"/>
              </a:solidFill>
            </c:spPr>
            <c:extLst>
              <c:ext xmlns:c16="http://schemas.microsoft.com/office/drawing/2014/chart" uri="{C3380CC4-5D6E-409C-BE32-E72D297353CC}">
                <c16:uniqueId val="{00000097-2993-41DE-A2CB-63102DE87051}"/>
              </c:ext>
            </c:extLst>
          </c:dPt>
          <c:dPt>
            <c:idx val="48"/>
            <c:invertIfNegative val="1"/>
            <c:bubble3D val="0"/>
            <c:spPr>
              <a:solidFill>
                <a:srgbClr val="AEABAB"/>
              </a:solidFill>
            </c:spPr>
            <c:extLst>
              <c:ext xmlns:c16="http://schemas.microsoft.com/office/drawing/2014/chart" uri="{C3380CC4-5D6E-409C-BE32-E72D297353CC}">
                <c16:uniqueId val="{00000099-2993-41DE-A2CB-63102DE87051}"/>
              </c:ext>
            </c:extLst>
          </c:dPt>
          <c:dPt>
            <c:idx val="49"/>
            <c:invertIfNegative val="1"/>
            <c:bubble3D val="0"/>
            <c:spPr>
              <a:solidFill>
                <a:srgbClr val="AEABAB"/>
              </a:solidFill>
            </c:spPr>
            <c:extLst>
              <c:ext xmlns:c16="http://schemas.microsoft.com/office/drawing/2014/chart" uri="{C3380CC4-5D6E-409C-BE32-E72D297353CC}">
                <c16:uniqueId val="{0000009B-2993-41DE-A2CB-63102DE87051}"/>
              </c:ext>
            </c:extLst>
          </c:dPt>
          <c:dPt>
            <c:idx val="50"/>
            <c:invertIfNegative val="1"/>
            <c:bubble3D val="0"/>
            <c:spPr>
              <a:solidFill>
                <a:srgbClr val="AEABAB"/>
              </a:solidFill>
            </c:spPr>
            <c:extLst>
              <c:ext xmlns:c16="http://schemas.microsoft.com/office/drawing/2014/chart" uri="{C3380CC4-5D6E-409C-BE32-E72D297353CC}">
                <c16:uniqueId val="{0000009D-2993-41DE-A2CB-63102DE87051}"/>
              </c:ext>
            </c:extLst>
          </c:dPt>
          <c:dPt>
            <c:idx val="51"/>
            <c:invertIfNegative val="1"/>
            <c:bubble3D val="0"/>
            <c:spPr>
              <a:solidFill>
                <a:srgbClr val="AEABAB"/>
              </a:solidFill>
            </c:spPr>
            <c:extLst>
              <c:ext xmlns:c16="http://schemas.microsoft.com/office/drawing/2014/chart" uri="{C3380CC4-5D6E-409C-BE32-E72D297353CC}">
                <c16:uniqueId val="{0000009F-2993-41DE-A2CB-63102DE87051}"/>
              </c:ext>
            </c:extLst>
          </c:dPt>
          <c:dPt>
            <c:idx val="52"/>
            <c:invertIfNegative val="1"/>
            <c:bubble3D val="0"/>
            <c:spPr>
              <a:solidFill>
                <a:srgbClr val="AEABAB"/>
              </a:solidFill>
            </c:spPr>
            <c:extLst>
              <c:ext xmlns:c16="http://schemas.microsoft.com/office/drawing/2014/chart" uri="{C3380CC4-5D6E-409C-BE32-E72D297353CC}">
                <c16:uniqueId val="{000000A1-2993-41DE-A2CB-63102DE87051}"/>
              </c:ext>
            </c:extLst>
          </c:dPt>
          <c:dPt>
            <c:idx val="53"/>
            <c:invertIfNegative val="1"/>
            <c:bubble3D val="0"/>
            <c:spPr>
              <a:solidFill>
                <a:srgbClr val="AEABAB"/>
              </a:solidFill>
            </c:spPr>
            <c:extLst>
              <c:ext xmlns:c16="http://schemas.microsoft.com/office/drawing/2014/chart" uri="{C3380CC4-5D6E-409C-BE32-E72D297353CC}">
                <c16:uniqueId val="{000000A3-2993-41DE-A2CB-63102DE87051}"/>
              </c:ext>
            </c:extLst>
          </c:dPt>
          <c:dPt>
            <c:idx val="54"/>
            <c:invertIfNegative val="0"/>
            <c:bubble3D val="0"/>
            <c:spPr>
              <a:solidFill>
                <a:srgbClr val="AEABAB"/>
              </a:solidFill>
            </c:spPr>
            <c:extLst>
              <c:ext xmlns:c16="http://schemas.microsoft.com/office/drawing/2014/chart" uri="{C3380CC4-5D6E-409C-BE32-E72D297353CC}">
                <c16:uniqueId val="{00000072-C76F-4230-900D-40618C09729F}"/>
              </c:ext>
            </c:extLst>
          </c:dPt>
          <c:dPt>
            <c:idx val="55"/>
            <c:invertIfNegative val="0"/>
            <c:bubble3D val="0"/>
            <c:spPr>
              <a:solidFill>
                <a:srgbClr val="AEABAB"/>
              </a:solidFill>
            </c:spPr>
            <c:extLst>
              <c:ext xmlns:c16="http://schemas.microsoft.com/office/drawing/2014/chart" uri="{C3380CC4-5D6E-409C-BE32-E72D297353CC}">
                <c16:uniqueId val="{00000074-C76F-4230-900D-40618C09729F}"/>
              </c:ext>
            </c:extLst>
          </c:dPt>
          <c:dPt>
            <c:idx val="56"/>
            <c:invertIfNegative val="0"/>
            <c:bubble3D val="0"/>
            <c:spPr>
              <a:solidFill>
                <a:srgbClr val="AEABAB"/>
              </a:solidFill>
            </c:spPr>
            <c:extLst>
              <c:ext xmlns:c16="http://schemas.microsoft.com/office/drawing/2014/chart" uri="{C3380CC4-5D6E-409C-BE32-E72D297353CC}">
                <c16:uniqueId val="{00000076-C76F-4230-900D-40618C09729F}"/>
              </c:ext>
            </c:extLst>
          </c:dPt>
          <c:dPt>
            <c:idx val="57"/>
            <c:invertIfNegative val="0"/>
            <c:bubble3D val="0"/>
            <c:spPr>
              <a:solidFill>
                <a:srgbClr val="AEABAB"/>
              </a:solidFill>
            </c:spPr>
            <c:extLst>
              <c:ext xmlns:c16="http://schemas.microsoft.com/office/drawing/2014/chart" uri="{C3380CC4-5D6E-409C-BE32-E72D297353CC}">
                <c16:uniqueId val="{00000078-C76F-4230-900D-40618C09729F}"/>
              </c:ext>
            </c:extLst>
          </c:dPt>
          <c:dPt>
            <c:idx val="58"/>
            <c:invertIfNegative val="0"/>
            <c:bubble3D val="0"/>
            <c:spPr>
              <a:solidFill>
                <a:srgbClr val="AEABAB"/>
              </a:solidFill>
            </c:spPr>
            <c:extLst>
              <c:ext xmlns:c16="http://schemas.microsoft.com/office/drawing/2014/chart" uri="{C3380CC4-5D6E-409C-BE32-E72D297353CC}">
                <c16:uniqueId val="{0000007A-C76F-4230-900D-40618C09729F}"/>
              </c:ext>
            </c:extLst>
          </c:dPt>
          <c:dPt>
            <c:idx val="59"/>
            <c:invertIfNegative val="0"/>
            <c:bubble3D val="0"/>
            <c:spPr>
              <a:solidFill>
                <a:srgbClr val="AEABAB"/>
              </a:solidFill>
            </c:spPr>
            <c:extLst>
              <c:ext xmlns:c16="http://schemas.microsoft.com/office/drawing/2014/chart" uri="{C3380CC4-5D6E-409C-BE32-E72D297353CC}">
                <c16:uniqueId val="{0000007C-C76F-4230-900D-40618C09729F}"/>
              </c:ext>
            </c:extLst>
          </c:dPt>
          <c:dPt>
            <c:idx val="60"/>
            <c:invertIfNegative val="0"/>
            <c:bubble3D val="0"/>
            <c:spPr>
              <a:solidFill>
                <a:srgbClr val="AEABAB"/>
              </a:solidFill>
            </c:spPr>
            <c:extLst>
              <c:ext xmlns:c16="http://schemas.microsoft.com/office/drawing/2014/chart" uri="{C3380CC4-5D6E-409C-BE32-E72D297353CC}">
                <c16:uniqueId val="{0000007E-C76F-4230-900D-40618C09729F}"/>
              </c:ext>
            </c:extLst>
          </c:dPt>
          <c:dPt>
            <c:idx val="61"/>
            <c:invertIfNegative val="0"/>
            <c:bubble3D val="0"/>
            <c:spPr>
              <a:solidFill>
                <a:srgbClr val="AEABAB"/>
              </a:solidFill>
            </c:spPr>
            <c:extLst>
              <c:ext xmlns:c16="http://schemas.microsoft.com/office/drawing/2014/chart" uri="{C3380CC4-5D6E-409C-BE32-E72D297353CC}">
                <c16:uniqueId val="{00000080-C76F-4230-900D-40618C09729F}"/>
              </c:ext>
            </c:extLst>
          </c:dPt>
          <c:dPt>
            <c:idx val="62"/>
            <c:invertIfNegative val="0"/>
            <c:bubble3D val="0"/>
            <c:spPr>
              <a:solidFill>
                <a:srgbClr val="AEABAB"/>
              </a:solidFill>
            </c:spPr>
            <c:extLst>
              <c:ext xmlns:c16="http://schemas.microsoft.com/office/drawing/2014/chart" uri="{C3380CC4-5D6E-409C-BE32-E72D297353CC}">
                <c16:uniqueId val="{00000082-C76F-4230-900D-40618C09729F}"/>
              </c:ext>
            </c:extLst>
          </c:dPt>
          <c:dPt>
            <c:idx val="63"/>
            <c:invertIfNegative val="0"/>
            <c:bubble3D val="0"/>
            <c:spPr>
              <a:solidFill>
                <a:srgbClr val="AEABAB"/>
              </a:solidFill>
            </c:spPr>
            <c:extLst>
              <c:ext xmlns:c16="http://schemas.microsoft.com/office/drawing/2014/chart" uri="{C3380CC4-5D6E-409C-BE32-E72D297353CC}">
                <c16:uniqueId val="{00000084-C76F-4230-900D-40618C09729F}"/>
              </c:ext>
            </c:extLst>
          </c:dPt>
          <c:dPt>
            <c:idx val="64"/>
            <c:invertIfNegative val="0"/>
            <c:bubble3D val="0"/>
            <c:spPr>
              <a:solidFill>
                <a:srgbClr val="AEABAB"/>
              </a:solidFill>
            </c:spPr>
            <c:extLst>
              <c:ext xmlns:c16="http://schemas.microsoft.com/office/drawing/2014/chart" uri="{C3380CC4-5D6E-409C-BE32-E72D297353CC}">
                <c16:uniqueId val="{00000086-C76F-4230-900D-40618C09729F}"/>
              </c:ext>
            </c:extLst>
          </c:dPt>
          <c:dPt>
            <c:idx val="65"/>
            <c:invertIfNegative val="0"/>
            <c:bubble3D val="0"/>
            <c:spPr>
              <a:solidFill>
                <a:srgbClr val="AEABAB"/>
              </a:solidFill>
            </c:spPr>
            <c:extLst>
              <c:ext xmlns:c16="http://schemas.microsoft.com/office/drawing/2014/chart" uri="{C3380CC4-5D6E-409C-BE32-E72D297353CC}">
                <c16:uniqueId val="{00000088-C76F-4230-900D-40618C09729F}"/>
              </c:ext>
            </c:extLst>
          </c:dPt>
          <c:dPt>
            <c:idx val="66"/>
            <c:invertIfNegative val="0"/>
            <c:bubble3D val="0"/>
            <c:spPr>
              <a:solidFill>
                <a:srgbClr val="AEABAB"/>
              </a:solidFill>
            </c:spPr>
            <c:extLst>
              <c:ext xmlns:c16="http://schemas.microsoft.com/office/drawing/2014/chart" uri="{C3380CC4-5D6E-409C-BE32-E72D297353CC}">
                <c16:uniqueId val="{0000008A-C76F-4230-900D-40618C09729F}"/>
              </c:ext>
            </c:extLst>
          </c:dPt>
          <c:dPt>
            <c:idx val="67"/>
            <c:invertIfNegative val="0"/>
            <c:bubble3D val="0"/>
            <c:spPr>
              <a:solidFill>
                <a:srgbClr val="AEABAB"/>
              </a:solidFill>
            </c:spPr>
            <c:extLst>
              <c:ext xmlns:c16="http://schemas.microsoft.com/office/drawing/2014/chart" uri="{C3380CC4-5D6E-409C-BE32-E72D297353CC}">
                <c16:uniqueId val="{0000008C-C76F-4230-900D-40618C09729F}"/>
              </c:ext>
            </c:extLst>
          </c:dPt>
          <c:dPt>
            <c:idx val="68"/>
            <c:invertIfNegative val="0"/>
            <c:bubble3D val="0"/>
            <c:spPr>
              <a:solidFill>
                <a:srgbClr val="AEABAB"/>
              </a:solidFill>
            </c:spPr>
            <c:extLst>
              <c:ext xmlns:c16="http://schemas.microsoft.com/office/drawing/2014/chart" uri="{C3380CC4-5D6E-409C-BE32-E72D297353CC}">
                <c16:uniqueId val="{0000008E-C76F-4230-900D-40618C09729F}"/>
              </c:ext>
            </c:extLst>
          </c:dPt>
          <c:dPt>
            <c:idx val="69"/>
            <c:invertIfNegative val="0"/>
            <c:bubble3D val="0"/>
            <c:spPr>
              <a:solidFill>
                <a:srgbClr val="AEABAB"/>
              </a:solidFill>
            </c:spPr>
            <c:extLst>
              <c:ext xmlns:c16="http://schemas.microsoft.com/office/drawing/2014/chart" uri="{C3380CC4-5D6E-409C-BE32-E72D297353CC}">
                <c16:uniqueId val="{00000090-C76F-4230-900D-40618C09729F}"/>
              </c:ext>
            </c:extLst>
          </c:dPt>
          <c:dPt>
            <c:idx val="70"/>
            <c:invertIfNegative val="0"/>
            <c:bubble3D val="0"/>
            <c:spPr>
              <a:solidFill>
                <a:srgbClr val="AEABAB"/>
              </a:solidFill>
            </c:spPr>
            <c:extLst>
              <c:ext xmlns:c16="http://schemas.microsoft.com/office/drawing/2014/chart" uri="{C3380CC4-5D6E-409C-BE32-E72D297353CC}">
                <c16:uniqueId val="{00000092-C76F-4230-900D-40618C09729F}"/>
              </c:ext>
            </c:extLst>
          </c:dPt>
          <c:dPt>
            <c:idx val="71"/>
            <c:invertIfNegative val="0"/>
            <c:bubble3D val="0"/>
            <c:spPr>
              <a:solidFill>
                <a:srgbClr val="AEABAB"/>
              </a:solidFill>
            </c:spPr>
            <c:extLst>
              <c:ext xmlns:c16="http://schemas.microsoft.com/office/drawing/2014/chart" uri="{C3380CC4-5D6E-409C-BE32-E72D297353CC}">
                <c16:uniqueId val="{00000094-C76F-4230-900D-40618C09729F}"/>
              </c:ext>
            </c:extLst>
          </c:dPt>
          <c:dPt>
            <c:idx val="72"/>
            <c:invertIfNegative val="0"/>
            <c:bubble3D val="0"/>
            <c:spPr>
              <a:solidFill>
                <a:srgbClr val="AEABAB"/>
              </a:solidFill>
            </c:spPr>
            <c:extLst>
              <c:ext xmlns:c16="http://schemas.microsoft.com/office/drawing/2014/chart" uri="{C3380CC4-5D6E-409C-BE32-E72D297353CC}">
                <c16:uniqueId val="{00000096-C76F-4230-900D-40618C09729F}"/>
              </c:ext>
            </c:extLst>
          </c:dPt>
          <c:dPt>
            <c:idx val="73"/>
            <c:invertIfNegative val="0"/>
            <c:bubble3D val="0"/>
            <c:spPr>
              <a:solidFill>
                <a:srgbClr val="AEABAB"/>
              </a:solidFill>
            </c:spPr>
            <c:extLst>
              <c:ext xmlns:c16="http://schemas.microsoft.com/office/drawing/2014/chart" uri="{C3380CC4-5D6E-409C-BE32-E72D297353CC}">
                <c16:uniqueId val="{00000098-C76F-4230-900D-40618C09729F}"/>
              </c:ext>
            </c:extLst>
          </c:dPt>
          <c:dPt>
            <c:idx val="74"/>
            <c:invertIfNegative val="0"/>
            <c:bubble3D val="0"/>
            <c:spPr>
              <a:solidFill>
                <a:srgbClr val="AEABAB"/>
              </a:solidFill>
            </c:spPr>
            <c:extLst>
              <c:ext xmlns:c16="http://schemas.microsoft.com/office/drawing/2014/chart" uri="{C3380CC4-5D6E-409C-BE32-E72D297353CC}">
                <c16:uniqueId val="{0000009A-C76F-4230-900D-40618C09729F}"/>
              </c:ext>
            </c:extLst>
          </c:dPt>
          <c:dPt>
            <c:idx val="75"/>
            <c:invertIfNegative val="0"/>
            <c:bubble3D val="0"/>
            <c:spPr>
              <a:solidFill>
                <a:srgbClr val="AEABAB"/>
              </a:solidFill>
            </c:spPr>
            <c:extLst>
              <c:ext xmlns:c16="http://schemas.microsoft.com/office/drawing/2014/chart" uri="{C3380CC4-5D6E-409C-BE32-E72D297353CC}">
                <c16:uniqueId val="{0000009C-C76F-4230-900D-40618C09729F}"/>
              </c:ext>
            </c:extLst>
          </c:dPt>
          <c:dPt>
            <c:idx val="76"/>
            <c:invertIfNegative val="0"/>
            <c:bubble3D val="0"/>
            <c:spPr>
              <a:solidFill>
                <a:srgbClr val="AEABAB"/>
              </a:solidFill>
            </c:spPr>
            <c:extLst>
              <c:ext xmlns:c16="http://schemas.microsoft.com/office/drawing/2014/chart" uri="{C3380CC4-5D6E-409C-BE32-E72D297353CC}">
                <c16:uniqueId val="{0000009E-C76F-4230-900D-40618C09729F}"/>
              </c:ext>
            </c:extLst>
          </c:dPt>
          <c:dPt>
            <c:idx val="77"/>
            <c:invertIfNegative val="0"/>
            <c:bubble3D val="0"/>
            <c:spPr>
              <a:solidFill>
                <a:srgbClr val="AEABAB"/>
              </a:solidFill>
            </c:spPr>
            <c:extLst>
              <c:ext xmlns:c16="http://schemas.microsoft.com/office/drawing/2014/chart" uri="{C3380CC4-5D6E-409C-BE32-E72D297353CC}">
                <c16:uniqueId val="{000000A0-C76F-4230-900D-40618C09729F}"/>
              </c:ext>
            </c:extLst>
          </c:dPt>
          <c:dPt>
            <c:idx val="78"/>
            <c:invertIfNegative val="0"/>
            <c:bubble3D val="0"/>
            <c:spPr>
              <a:solidFill>
                <a:srgbClr val="AEABAB"/>
              </a:solidFill>
            </c:spPr>
            <c:extLst>
              <c:ext xmlns:c16="http://schemas.microsoft.com/office/drawing/2014/chart" uri="{C3380CC4-5D6E-409C-BE32-E72D297353CC}">
                <c16:uniqueId val="{000000A2-C76F-4230-900D-40618C09729F}"/>
              </c:ext>
            </c:extLst>
          </c:dPt>
          <c:dPt>
            <c:idx val="79"/>
            <c:invertIfNegative val="0"/>
            <c:bubble3D val="0"/>
            <c:spPr>
              <a:solidFill>
                <a:srgbClr val="AEABAB"/>
              </a:solidFill>
            </c:spPr>
            <c:extLst>
              <c:ext xmlns:c16="http://schemas.microsoft.com/office/drawing/2014/chart" uri="{C3380CC4-5D6E-409C-BE32-E72D297353CC}">
                <c16:uniqueId val="{000000A4-C76F-4230-900D-40618C09729F}"/>
              </c:ext>
            </c:extLst>
          </c:dPt>
          <c:dPt>
            <c:idx val="80"/>
            <c:invertIfNegative val="0"/>
            <c:bubble3D val="0"/>
            <c:spPr>
              <a:solidFill>
                <a:srgbClr val="AEABAB"/>
              </a:solidFill>
            </c:spPr>
            <c:extLst>
              <c:ext xmlns:c16="http://schemas.microsoft.com/office/drawing/2014/chart" uri="{C3380CC4-5D6E-409C-BE32-E72D297353CC}">
                <c16:uniqueId val="{000000A6-C76F-4230-900D-40618C09729F}"/>
              </c:ext>
            </c:extLst>
          </c:dPt>
          <c:dPt>
            <c:idx val="81"/>
            <c:invertIfNegative val="1"/>
            <c:bubble3D val="0"/>
            <c:spPr>
              <a:solidFill>
                <a:srgbClr val="AEABAB"/>
              </a:solidFill>
            </c:spPr>
            <c:extLst>
              <c:ext xmlns:c16="http://schemas.microsoft.com/office/drawing/2014/chart" uri="{C3380CC4-5D6E-409C-BE32-E72D297353CC}">
                <c16:uniqueId val="{000000A5-2993-41DE-A2CB-63102DE87051}"/>
              </c:ext>
            </c:extLst>
          </c:dPt>
          <c:dPt>
            <c:idx val="82"/>
            <c:invertIfNegative val="1"/>
            <c:bubble3D val="0"/>
            <c:spPr>
              <a:solidFill>
                <a:srgbClr val="AEABAB"/>
              </a:solidFill>
            </c:spPr>
            <c:extLst>
              <c:ext xmlns:c16="http://schemas.microsoft.com/office/drawing/2014/chart" uri="{C3380CC4-5D6E-409C-BE32-E72D297353CC}">
                <c16:uniqueId val="{000000A7-2993-41DE-A2CB-63102DE87051}"/>
              </c:ext>
            </c:extLst>
          </c:dPt>
          <c:dPt>
            <c:idx val="83"/>
            <c:invertIfNegative val="1"/>
            <c:bubble3D val="0"/>
            <c:spPr>
              <a:solidFill>
                <a:srgbClr val="AEABAB"/>
              </a:solidFill>
            </c:spPr>
            <c:extLst>
              <c:ext xmlns:c16="http://schemas.microsoft.com/office/drawing/2014/chart" uri="{C3380CC4-5D6E-409C-BE32-E72D297353CC}">
                <c16:uniqueId val="{000000A9-2993-41DE-A2CB-63102DE87051}"/>
              </c:ext>
            </c:extLst>
          </c:dPt>
          <c:dPt>
            <c:idx val="84"/>
            <c:invertIfNegative val="1"/>
            <c:bubble3D val="0"/>
            <c:spPr>
              <a:solidFill>
                <a:srgbClr val="AEABAB"/>
              </a:solidFill>
            </c:spPr>
            <c:extLst>
              <c:ext xmlns:c16="http://schemas.microsoft.com/office/drawing/2014/chart" uri="{C3380CC4-5D6E-409C-BE32-E72D297353CC}">
                <c16:uniqueId val="{000000AB-2993-41DE-A2CB-63102DE87051}"/>
              </c:ext>
            </c:extLst>
          </c:dPt>
          <c:dPt>
            <c:idx val="85"/>
            <c:invertIfNegative val="1"/>
            <c:bubble3D val="0"/>
            <c:spPr>
              <a:solidFill>
                <a:srgbClr val="AEABAB"/>
              </a:solidFill>
            </c:spPr>
            <c:extLst>
              <c:ext xmlns:c16="http://schemas.microsoft.com/office/drawing/2014/chart" uri="{C3380CC4-5D6E-409C-BE32-E72D297353CC}">
                <c16:uniqueId val="{000000AD-2993-41DE-A2CB-63102DE87051}"/>
              </c:ext>
            </c:extLst>
          </c:dPt>
          <c:dPt>
            <c:idx val="86"/>
            <c:invertIfNegative val="1"/>
            <c:bubble3D val="0"/>
            <c:spPr>
              <a:solidFill>
                <a:srgbClr val="AEABAB"/>
              </a:solidFill>
            </c:spPr>
            <c:extLst>
              <c:ext xmlns:c16="http://schemas.microsoft.com/office/drawing/2014/chart" uri="{C3380CC4-5D6E-409C-BE32-E72D297353CC}">
                <c16:uniqueId val="{000000AF-2993-41DE-A2CB-63102DE87051}"/>
              </c:ext>
            </c:extLst>
          </c:dPt>
          <c:dPt>
            <c:idx val="87"/>
            <c:invertIfNegative val="1"/>
            <c:bubble3D val="0"/>
            <c:spPr>
              <a:solidFill>
                <a:srgbClr val="AEABAB"/>
              </a:solidFill>
            </c:spPr>
            <c:extLst>
              <c:ext xmlns:c16="http://schemas.microsoft.com/office/drawing/2014/chart" uri="{C3380CC4-5D6E-409C-BE32-E72D297353CC}">
                <c16:uniqueId val="{000000B1-2993-41DE-A2CB-63102DE87051}"/>
              </c:ext>
            </c:extLst>
          </c:dPt>
          <c:dPt>
            <c:idx val="88"/>
            <c:invertIfNegative val="1"/>
            <c:bubble3D val="0"/>
            <c:spPr>
              <a:solidFill>
                <a:srgbClr val="AEABAB"/>
              </a:solidFill>
            </c:spPr>
            <c:extLst>
              <c:ext xmlns:c16="http://schemas.microsoft.com/office/drawing/2014/chart" uri="{C3380CC4-5D6E-409C-BE32-E72D297353CC}">
                <c16:uniqueId val="{000000B3-2993-41DE-A2CB-63102DE87051}"/>
              </c:ext>
            </c:extLst>
          </c:dPt>
          <c:dPt>
            <c:idx val="89"/>
            <c:invertIfNegative val="1"/>
            <c:bubble3D val="0"/>
            <c:spPr>
              <a:solidFill>
                <a:srgbClr val="AEABAB"/>
              </a:solidFill>
            </c:spPr>
            <c:extLst>
              <c:ext xmlns:c16="http://schemas.microsoft.com/office/drawing/2014/chart" uri="{C3380CC4-5D6E-409C-BE32-E72D297353CC}">
                <c16:uniqueId val="{000000B5-2993-41DE-A2CB-63102DE87051}"/>
              </c:ext>
            </c:extLst>
          </c:dPt>
          <c:dPt>
            <c:idx val="90"/>
            <c:invertIfNegative val="1"/>
            <c:bubble3D val="0"/>
            <c:spPr>
              <a:solidFill>
                <a:srgbClr val="AEABAB"/>
              </a:solidFill>
            </c:spPr>
            <c:extLst>
              <c:ext xmlns:c16="http://schemas.microsoft.com/office/drawing/2014/chart" uri="{C3380CC4-5D6E-409C-BE32-E72D297353CC}">
                <c16:uniqueId val="{000000B7-2993-41DE-A2CB-63102DE87051}"/>
              </c:ext>
            </c:extLst>
          </c:dPt>
          <c:dPt>
            <c:idx val="91"/>
            <c:invertIfNegative val="1"/>
            <c:bubble3D val="0"/>
            <c:spPr>
              <a:solidFill>
                <a:srgbClr val="AEABAB"/>
              </a:solidFill>
            </c:spPr>
            <c:extLst>
              <c:ext xmlns:c16="http://schemas.microsoft.com/office/drawing/2014/chart" uri="{C3380CC4-5D6E-409C-BE32-E72D297353CC}">
                <c16:uniqueId val="{000000B9-2993-41DE-A2CB-63102DE87051}"/>
              </c:ext>
            </c:extLst>
          </c:dPt>
          <c:dPt>
            <c:idx val="92"/>
            <c:invertIfNegative val="1"/>
            <c:bubble3D val="0"/>
            <c:spPr>
              <a:solidFill>
                <a:srgbClr val="AEABAB"/>
              </a:solidFill>
            </c:spPr>
            <c:extLst>
              <c:ext xmlns:c16="http://schemas.microsoft.com/office/drawing/2014/chart" uri="{C3380CC4-5D6E-409C-BE32-E72D297353CC}">
                <c16:uniqueId val="{000000BB-2993-41DE-A2CB-63102DE87051}"/>
              </c:ext>
            </c:extLst>
          </c:dPt>
          <c:dPt>
            <c:idx val="93"/>
            <c:invertIfNegative val="1"/>
            <c:bubble3D val="0"/>
            <c:spPr>
              <a:solidFill>
                <a:srgbClr val="AEABAB"/>
              </a:solidFill>
            </c:spPr>
            <c:extLst>
              <c:ext xmlns:c16="http://schemas.microsoft.com/office/drawing/2014/chart" uri="{C3380CC4-5D6E-409C-BE32-E72D297353CC}">
                <c16:uniqueId val="{000000BD-2993-41DE-A2CB-63102DE87051}"/>
              </c:ext>
            </c:extLst>
          </c:dPt>
          <c:dPt>
            <c:idx val="94"/>
            <c:invertIfNegative val="1"/>
            <c:bubble3D val="0"/>
            <c:spPr>
              <a:solidFill>
                <a:srgbClr val="AEABAB"/>
              </a:solidFill>
            </c:spPr>
            <c:extLst>
              <c:ext xmlns:c16="http://schemas.microsoft.com/office/drawing/2014/chart" uri="{C3380CC4-5D6E-409C-BE32-E72D297353CC}">
                <c16:uniqueId val="{000000BF-2993-41DE-A2CB-63102DE87051}"/>
              </c:ext>
            </c:extLst>
          </c:dPt>
          <c:dPt>
            <c:idx val="95"/>
            <c:invertIfNegative val="1"/>
            <c:bubble3D val="0"/>
            <c:spPr>
              <a:solidFill>
                <a:srgbClr val="AEABAB"/>
              </a:solidFill>
            </c:spPr>
            <c:extLst>
              <c:ext xmlns:c16="http://schemas.microsoft.com/office/drawing/2014/chart" uri="{C3380CC4-5D6E-409C-BE32-E72D297353CC}">
                <c16:uniqueId val="{000000C1-2993-41DE-A2CB-63102DE87051}"/>
              </c:ext>
            </c:extLst>
          </c:dPt>
          <c:dPt>
            <c:idx val="96"/>
            <c:invertIfNegative val="1"/>
            <c:bubble3D val="0"/>
            <c:spPr>
              <a:solidFill>
                <a:srgbClr val="AEABAB"/>
              </a:solidFill>
            </c:spPr>
            <c:extLst>
              <c:ext xmlns:c16="http://schemas.microsoft.com/office/drawing/2014/chart" uri="{C3380CC4-5D6E-409C-BE32-E72D297353CC}">
                <c16:uniqueId val="{000000C3-2993-41DE-A2CB-63102DE87051}"/>
              </c:ext>
            </c:extLst>
          </c:dPt>
          <c:dPt>
            <c:idx val="97"/>
            <c:invertIfNegative val="1"/>
            <c:bubble3D val="0"/>
            <c:spPr>
              <a:solidFill>
                <a:srgbClr val="AEABAB"/>
              </a:solidFill>
            </c:spPr>
            <c:extLst>
              <c:ext xmlns:c16="http://schemas.microsoft.com/office/drawing/2014/chart" uri="{C3380CC4-5D6E-409C-BE32-E72D297353CC}">
                <c16:uniqueId val="{000000C5-2993-41DE-A2CB-63102DE87051}"/>
              </c:ext>
            </c:extLst>
          </c:dPt>
          <c:dPt>
            <c:idx val="98"/>
            <c:invertIfNegative val="1"/>
            <c:bubble3D val="0"/>
            <c:spPr>
              <a:solidFill>
                <a:srgbClr val="AEABAB"/>
              </a:solidFill>
            </c:spPr>
            <c:extLst>
              <c:ext xmlns:c16="http://schemas.microsoft.com/office/drawing/2014/chart" uri="{C3380CC4-5D6E-409C-BE32-E72D297353CC}">
                <c16:uniqueId val="{000000C7-2993-41DE-A2CB-63102DE87051}"/>
              </c:ext>
            </c:extLst>
          </c:dPt>
          <c:dPt>
            <c:idx val="99"/>
            <c:invertIfNegative val="1"/>
            <c:bubble3D val="0"/>
            <c:spPr>
              <a:solidFill>
                <a:srgbClr val="AEABAB"/>
              </a:solidFill>
            </c:spPr>
            <c:extLst>
              <c:ext xmlns:c16="http://schemas.microsoft.com/office/drawing/2014/chart" uri="{C3380CC4-5D6E-409C-BE32-E72D297353CC}">
                <c16:uniqueId val="{000000C9-2993-41DE-A2CB-63102DE87051}"/>
              </c:ext>
            </c:extLst>
          </c:dPt>
          <c:dPt>
            <c:idx val="100"/>
            <c:invertIfNegative val="1"/>
            <c:bubble3D val="0"/>
            <c:spPr>
              <a:solidFill>
                <a:srgbClr val="AEABAB"/>
              </a:solidFill>
            </c:spPr>
            <c:extLst>
              <c:ext xmlns:c16="http://schemas.microsoft.com/office/drawing/2014/chart" uri="{C3380CC4-5D6E-409C-BE32-E72D297353CC}">
                <c16:uniqueId val="{000000CB-2993-41DE-A2CB-63102DE87051}"/>
              </c:ext>
            </c:extLst>
          </c:dPt>
          <c:dPt>
            <c:idx val="101"/>
            <c:invertIfNegative val="1"/>
            <c:bubble3D val="0"/>
            <c:spPr>
              <a:solidFill>
                <a:srgbClr val="AEABAB"/>
              </a:solidFill>
            </c:spPr>
            <c:extLst>
              <c:ext xmlns:c16="http://schemas.microsoft.com/office/drawing/2014/chart" uri="{C3380CC4-5D6E-409C-BE32-E72D297353CC}">
                <c16:uniqueId val="{000000CD-2993-41DE-A2CB-63102DE87051}"/>
              </c:ext>
            </c:extLst>
          </c:dPt>
          <c:dPt>
            <c:idx val="102"/>
            <c:invertIfNegative val="1"/>
            <c:bubble3D val="0"/>
            <c:spPr>
              <a:solidFill>
                <a:srgbClr val="AEABAB"/>
              </a:solidFill>
            </c:spPr>
            <c:extLst>
              <c:ext xmlns:c16="http://schemas.microsoft.com/office/drawing/2014/chart" uri="{C3380CC4-5D6E-409C-BE32-E72D297353CC}">
                <c16:uniqueId val="{000000CF-2993-41DE-A2CB-63102DE87051}"/>
              </c:ext>
            </c:extLst>
          </c:dPt>
          <c:dPt>
            <c:idx val="103"/>
            <c:invertIfNegative val="1"/>
            <c:bubble3D val="0"/>
            <c:spPr>
              <a:solidFill>
                <a:srgbClr val="AEABAB"/>
              </a:solidFill>
            </c:spPr>
            <c:extLst>
              <c:ext xmlns:c16="http://schemas.microsoft.com/office/drawing/2014/chart" uri="{C3380CC4-5D6E-409C-BE32-E72D297353CC}">
                <c16:uniqueId val="{000000D1-2993-41DE-A2CB-63102DE87051}"/>
              </c:ext>
            </c:extLst>
          </c:dPt>
          <c:dPt>
            <c:idx val="104"/>
            <c:invertIfNegative val="1"/>
            <c:bubble3D val="0"/>
            <c:spPr>
              <a:solidFill>
                <a:srgbClr val="AEABAB"/>
              </a:solidFill>
            </c:spPr>
            <c:extLst>
              <c:ext xmlns:c16="http://schemas.microsoft.com/office/drawing/2014/chart" uri="{C3380CC4-5D6E-409C-BE32-E72D297353CC}">
                <c16:uniqueId val="{000000D3-2993-41DE-A2CB-63102DE87051}"/>
              </c:ext>
            </c:extLst>
          </c:dPt>
          <c:dPt>
            <c:idx val="105"/>
            <c:invertIfNegative val="1"/>
            <c:bubble3D val="0"/>
            <c:spPr>
              <a:solidFill>
                <a:srgbClr val="AEABAB"/>
              </a:solidFill>
            </c:spPr>
            <c:extLst>
              <c:ext xmlns:c16="http://schemas.microsoft.com/office/drawing/2014/chart" uri="{C3380CC4-5D6E-409C-BE32-E72D297353CC}">
                <c16:uniqueId val="{000000D5-2993-41DE-A2CB-63102DE87051}"/>
              </c:ext>
            </c:extLst>
          </c:dPt>
          <c:dPt>
            <c:idx val="106"/>
            <c:invertIfNegative val="1"/>
            <c:bubble3D val="0"/>
            <c:spPr>
              <a:solidFill>
                <a:srgbClr val="AEABAB"/>
              </a:solidFill>
            </c:spPr>
            <c:extLst>
              <c:ext xmlns:c16="http://schemas.microsoft.com/office/drawing/2014/chart" uri="{C3380CC4-5D6E-409C-BE32-E72D297353CC}">
                <c16:uniqueId val="{000000D7-2993-41DE-A2CB-63102DE87051}"/>
              </c:ext>
            </c:extLst>
          </c:dPt>
          <c:dPt>
            <c:idx val="107"/>
            <c:invertIfNegative val="1"/>
            <c:bubble3D val="0"/>
            <c:spPr>
              <a:solidFill>
                <a:srgbClr val="AEABAB"/>
              </a:solidFill>
            </c:spPr>
            <c:extLst>
              <c:ext xmlns:c16="http://schemas.microsoft.com/office/drawing/2014/chart" uri="{C3380CC4-5D6E-409C-BE32-E72D297353CC}">
                <c16:uniqueId val="{000000D9-2993-41DE-A2CB-63102DE87051}"/>
              </c:ext>
            </c:extLst>
          </c:dPt>
          <c:dPt>
            <c:idx val="108"/>
            <c:invertIfNegative val="1"/>
            <c:bubble3D val="0"/>
            <c:spPr>
              <a:solidFill>
                <a:srgbClr val="AEABAB"/>
              </a:solidFill>
            </c:spPr>
            <c:extLst>
              <c:ext xmlns:c16="http://schemas.microsoft.com/office/drawing/2014/chart" uri="{C3380CC4-5D6E-409C-BE32-E72D297353CC}">
                <c16:uniqueId val="{000000DB-2993-41DE-A2CB-63102DE87051}"/>
              </c:ext>
            </c:extLst>
          </c:dPt>
          <c:dPt>
            <c:idx val="109"/>
            <c:invertIfNegative val="1"/>
            <c:bubble3D val="0"/>
            <c:spPr>
              <a:solidFill>
                <a:srgbClr val="AEABAB"/>
              </a:solidFill>
            </c:spPr>
            <c:extLst>
              <c:ext xmlns:c16="http://schemas.microsoft.com/office/drawing/2014/chart" uri="{C3380CC4-5D6E-409C-BE32-E72D297353CC}">
                <c16:uniqueId val="{000000DD-2993-41DE-A2CB-63102DE87051}"/>
              </c:ext>
            </c:extLst>
          </c:dPt>
          <c:dPt>
            <c:idx val="110"/>
            <c:invertIfNegative val="1"/>
            <c:bubble3D val="0"/>
            <c:spPr>
              <a:solidFill>
                <a:srgbClr val="AEABAB"/>
              </a:solidFill>
            </c:spPr>
            <c:extLst>
              <c:ext xmlns:c16="http://schemas.microsoft.com/office/drawing/2014/chart" uri="{C3380CC4-5D6E-409C-BE32-E72D297353CC}">
                <c16:uniqueId val="{000000DF-2993-41DE-A2CB-63102DE87051}"/>
              </c:ext>
            </c:extLst>
          </c:dPt>
          <c:dPt>
            <c:idx val="111"/>
            <c:invertIfNegative val="1"/>
            <c:bubble3D val="0"/>
            <c:spPr>
              <a:solidFill>
                <a:srgbClr val="AEABAB"/>
              </a:solidFill>
            </c:spPr>
            <c:extLst>
              <c:ext xmlns:c16="http://schemas.microsoft.com/office/drawing/2014/chart" uri="{C3380CC4-5D6E-409C-BE32-E72D297353CC}">
                <c16:uniqueId val="{000000E1-2993-41DE-A2CB-63102DE87051}"/>
              </c:ext>
            </c:extLst>
          </c:dPt>
          <c:dPt>
            <c:idx val="112"/>
            <c:invertIfNegative val="1"/>
            <c:bubble3D val="0"/>
            <c:spPr>
              <a:solidFill>
                <a:srgbClr val="AEABAB"/>
              </a:solidFill>
            </c:spPr>
            <c:extLst>
              <c:ext xmlns:c16="http://schemas.microsoft.com/office/drawing/2014/chart" uri="{C3380CC4-5D6E-409C-BE32-E72D297353CC}">
                <c16:uniqueId val="{000000E3-2993-41DE-A2CB-63102DE87051}"/>
              </c:ext>
            </c:extLst>
          </c:dPt>
          <c:dPt>
            <c:idx val="113"/>
            <c:invertIfNegative val="1"/>
            <c:bubble3D val="0"/>
            <c:spPr>
              <a:solidFill>
                <a:srgbClr val="AEABAB"/>
              </a:solidFill>
            </c:spPr>
            <c:extLst>
              <c:ext xmlns:c16="http://schemas.microsoft.com/office/drawing/2014/chart" uri="{C3380CC4-5D6E-409C-BE32-E72D297353CC}">
                <c16:uniqueId val="{000000E5-2993-41DE-A2CB-63102DE87051}"/>
              </c:ext>
            </c:extLst>
          </c:dPt>
          <c:dPt>
            <c:idx val="114"/>
            <c:invertIfNegative val="1"/>
            <c:bubble3D val="0"/>
            <c:spPr>
              <a:solidFill>
                <a:srgbClr val="AEABAB"/>
              </a:solidFill>
            </c:spPr>
            <c:extLst>
              <c:ext xmlns:c16="http://schemas.microsoft.com/office/drawing/2014/chart" uri="{C3380CC4-5D6E-409C-BE32-E72D297353CC}">
                <c16:uniqueId val="{000000E7-2993-41DE-A2CB-63102DE87051}"/>
              </c:ext>
            </c:extLst>
          </c:dPt>
          <c:dPt>
            <c:idx val="115"/>
            <c:invertIfNegative val="1"/>
            <c:bubble3D val="0"/>
            <c:spPr>
              <a:solidFill>
                <a:srgbClr val="AEABAB"/>
              </a:solidFill>
            </c:spPr>
            <c:extLst>
              <c:ext xmlns:c16="http://schemas.microsoft.com/office/drawing/2014/chart" uri="{C3380CC4-5D6E-409C-BE32-E72D297353CC}">
                <c16:uniqueId val="{000000E9-2993-41DE-A2CB-63102DE87051}"/>
              </c:ext>
            </c:extLst>
          </c:dPt>
          <c:dPt>
            <c:idx val="116"/>
            <c:invertIfNegative val="1"/>
            <c:bubble3D val="0"/>
            <c:spPr>
              <a:solidFill>
                <a:srgbClr val="AEABAB"/>
              </a:solidFill>
            </c:spPr>
            <c:extLst>
              <c:ext xmlns:c16="http://schemas.microsoft.com/office/drawing/2014/chart" uri="{C3380CC4-5D6E-409C-BE32-E72D297353CC}">
                <c16:uniqueId val="{000000EB-2993-41DE-A2CB-63102DE87051}"/>
              </c:ext>
            </c:extLst>
          </c:dPt>
          <c:dPt>
            <c:idx val="117"/>
            <c:invertIfNegative val="1"/>
            <c:bubble3D val="0"/>
            <c:spPr>
              <a:solidFill>
                <a:srgbClr val="AEABAB"/>
              </a:solidFill>
            </c:spPr>
            <c:extLst>
              <c:ext xmlns:c16="http://schemas.microsoft.com/office/drawing/2014/chart" uri="{C3380CC4-5D6E-409C-BE32-E72D297353CC}">
                <c16:uniqueId val="{000000ED-2993-41DE-A2CB-63102DE87051}"/>
              </c:ext>
            </c:extLst>
          </c:dPt>
          <c:dPt>
            <c:idx val="118"/>
            <c:invertIfNegative val="1"/>
            <c:bubble3D val="0"/>
            <c:spPr>
              <a:solidFill>
                <a:srgbClr val="AEABAB"/>
              </a:solidFill>
            </c:spPr>
            <c:extLst>
              <c:ext xmlns:c16="http://schemas.microsoft.com/office/drawing/2014/chart" uri="{C3380CC4-5D6E-409C-BE32-E72D297353CC}">
                <c16:uniqueId val="{000000EF-2993-41DE-A2CB-63102DE87051}"/>
              </c:ext>
            </c:extLst>
          </c:dPt>
          <c:dPt>
            <c:idx val="119"/>
            <c:invertIfNegative val="1"/>
            <c:bubble3D val="0"/>
            <c:spPr>
              <a:solidFill>
                <a:srgbClr val="AEABAB"/>
              </a:solidFill>
            </c:spPr>
            <c:extLst>
              <c:ext xmlns:c16="http://schemas.microsoft.com/office/drawing/2014/chart" uri="{C3380CC4-5D6E-409C-BE32-E72D297353CC}">
                <c16:uniqueId val="{000000F1-2993-41DE-A2CB-63102DE87051}"/>
              </c:ext>
            </c:extLst>
          </c:dPt>
          <c:dPt>
            <c:idx val="120"/>
            <c:invertIfNegative val="1"/>
            <c:bubble3D val="0"/>
            <c:spPr>
              <a:solidFill>
                <a:srgbClr val="AEABAB"/>
              </a:solidFill>
            </c:spPr>
            <c:extLst>
              <c:ext xmlns:c16="http://schemas.microsoft.com/office/drawing/2014/chart" uri="{C3380CC4-5D6E-409C-BE32-E72D297353CC}">
                <c16:uniqueId val="{000000F3-2993-41DE-A2CB-63102DE87051}"/>
              </c:ext>
            </c:extLst>
          </c:dPt>
          <c:dPt>
            <c:idx val="121"/>
            <c:invertIfNegative val="1"/>
            <c:bubble3D val="0"/>
            <c:spPr>
              <a:solidFill>
                <a:srgbClr val="AEABAB"/>
              </a:solidFill>
            </c:spPr>
            <c:extLst>
              <c:ext xmlns:c16="http://schemas.microsoft.com/office/drawing/2014/chart" uri="{C3380CC4-5D6E-409C-BE32-E72D297353CC}">
                <c16:uniqueId val="{000000F5-2993-41DE-A2CB-63102DE87051}"/>
              </c:ext>
            </c:extLst>
          </c:dPt>
          <c:dPt>
            <c:idx val="122"/>
            <c:invertIfNegative val="1"/>
            <c:bubble3D val="0"/>
            <c:spPr>
              <a:solidFill>
                <a:srgbClr val="AEABAB"/>
              </a:solidFill>
            </c:spPr>
            <c:extLst>
              <c:ext xmlns:c16="http://schemas.microsoft.com/office/drawing/2014/chart" uri="{C3380CC4-5D6E-409C-BE32-E72D297353CC}">
                <c16:uniqueId val="{000000F7-2993-41DE-A2CB-63102DE87051}"/>
              </c:ext>
            </c:extLst>
          </c:dPt>
          <c:dPt>
            <c:idx val="123"/>
            <c:invertIfNegative val="1"/>
            <c:bubble3D val="0"/>
            <c:spPr>
              <a:solidFill>
                <a:srgbClr val="AEABAB"/>
              </a:solidFill>
            </c:spPr>
            <c:extLst>
              <c:ext xmlns:c16="http://schemas.microsoft.com/office/drawing/2014/chart" uri="{C3380CC4-5D6E-409C-BE32-E72D297353CC}">
                <c16:uniqueId val="{000000F9-2993-41DE-A2CB-63102DE87051}"/>
              </c:ext>
            </c:extLst>
          </c:dPt>
          <c:dPt>
            <c:idx val="124"/>
            <c:invertIfNegative val="1"/>
            <c:bubble3D val="0"/>
            <c:spPr>
              <a:solidFill>
                <a:srgbClr val="AEABAB"/>
              </a:solidFill>
            </c:spPr>
            <c:extLst>
              <c:ext xmlns:c16="http://schemas.microsoft.com/office/drawing/2014/chart" uri="{C3380CC4-5D6E-409C-BE32-E72D297353CC}">
                <c16:uniqueId val="{000000FB-2993-41DE-A2CB-63102DE87051}"/>
              </c:ext>
            </c:extLst>
          </c:dPt>
          <c:dPt>
            <c:idx val="125"/>
            <c:invertIfNegative val="1"/>
            <c:bubble3D val="0"/>
            <c:spPr>
              <a:solidFill>
                <a:srgbClr val="AEABAB"/>
              </a:solidFill>
            </c:spPr>
            <c:extLst>
              <c:ext xmlns:c16="http://schemas.microsoft.com/office/drawing/2014/chart" uri="{C3380CC4-5D6E-409C-BE32-E72D297353CC}">
                <c16:uniqueId val="{000000FD-2993-41DE-A2CB-63102DE87051}"/>
              </c:ext>
            </c:extLst>
          </c:dPt>
          <c:dPt>
            <c:idx val="126"/>
            <c:invertIfNegative val="1"/>
            <c:bubble3D val="0"/>
            <c:spPr>
              <a:solidFill>
                <a:srgbClr val="AEABAB"/>
              </a:solidFill>
            </c:spPr>
            <c:extLst>
              <c:ext xmlns:c16="http://schemas.microsoft.com/office/drawing/2014/chart" uri="{C3380CC4-5D6E-409C-BE32-E72D297353CC}">
                <c16:uniqueId val="{000000FF-2993-41DE-A2CB-63102DE87051}"/>
              </c:ext>
            </c:extLst>
          </c:dPt>
          <c:dPt>
            <c:idx val="127"/>
            <c:invertIfNegative val="1"/>
            <c:bubble3D val="0"/>
            <c:spPr>
              <a:solidFill>
                <a:srgbClr val="AEABAB"/>
              </a:solidFill>
            </c:spPr>
            <c:extLst>
              <c:ext xmlns:c16="http://schemas.microsoft.com/office/drawing/2014/chart" uri="{C3380CC4-5D6E-409C-BE32-E72D297353CC}">
                <c16:uniqueId val="{00000101-2993-41DE-A2CB-63102DE87051}"/>
              </c:ext>
            </c:extLst>
          </c:dPt>
          <c:dPt>
            <c:idx val="128"/>
            <c:invertIfNegative val="1"/>
            <c:bubble3D val="0"/>
            <c:spPr>
              <a:solidFill>
                <a:srgbClr val="AEABAB"/>
              </a:solidFill>
            </c:spPr>
            <c:extLst>
              <c:ext xmlns:c16="http://schemas.microsoft.com/office/drawing/2014/chart" uri="{C3380CC4-5D6E-409C-BE32-E72D297353CC}">
                <c16:uniqueId val="{00000103-2993-41DE-A2CB-63102DE87051}"/>
              </c:ext>
            </c:extLst>
          </c:dPt>
          <c:dPt>
            <c:idx val="129"/>
            <c:invertIfNegative val="1"/>
            <c:bubble3D val="0"/>
            <c:spPr>
              <a:solidFill>
                <a:srgbClr val="AEABAB"/>
              </a:solidFill>
            </c:spPr>
            <c:extLst>
              <c:ext xmlns:c16="http://schemas.microsoft.com/office/drawing/2014/chart" uri="{C3380CC4-5D6E-409C-BE32-E72D297353CC}">
                <c16:uniqueId val="{00000105-2993-41DE-A2CB-63102DE87051}"/>
              </c:ext>
            </c:extLst>
          </c:dPt>
          <c:dPt>
            <c:idx val="130"/>
            <c:invertIfNegative val="1"/>
            <c:bubble3D val="0"/>
            <c:spPr>
              <a:solidFill>
                <a:srgbClr val="AEABAB"/>
              </a:solidFill>
            </c:spPr>
            <c:extLst>
              <c:ext xmlns:c16="http://schemas.microsoft.com/office/drawing/2014/chart" uri="{C3380CC4-5D6E-409C-BE32-E72D297353CC}">
                <c16:uniqueId val="{00000107-2993-41DE-A2CB-63102DE87051}"/>
              </c:ext>
            </c:extLst>
          </c:dPt>
          <c:dPt>
            <c:idx val="131"/>
            <c:invertIfNegative val="1"/>
            <c:bubble3D val="0"/>
            <c:spPr>
              <a:solidFill>
                <a:srgbClr val="AEABAB"/>
              </a:solidFill>
            </c:spPr>
            <c:extLst>
              <c:ext xmlns:c16="http://schemas.microsoft.com/office/drawing/2014/chart" uri="{C3380CC4-5D6E-409C-BE32-E72D297353CC}">
                <c16:uniqueId val="{00000109-2993-41DE-A2CB-63102DE87051}"/>
              </c:ext>
            </c:extLst>
          </c:dPt>
          <c:dPt>
            <c:idx val="132"/>
            <c:invertIfNegative val="1"/>
            <c:bubble3D val="0"/>
            <c:spPr>
              <a:solidFill>
                <a:srgbClr val="AEABAB"/>
              </a:solidFill>
            </c:spPr>
            <c:extLst>
              <c:ext xmlns:c16="http://schemas.microsoft.com/office/drawing/2014/chart" uri="{C3380CC4-5D6E-409C-BE32-E72D297353CC}">
                <c16:uniqueId val="{0000010B-2993-41DE-A2CB-63102DE87051}"/>
              </c:ext>
            </c:extLst>
          </c:dPt>
          <c:dPt>
            <c:idx val="133"/>
            <c:invertIfNegative val="1"/>
            <c:bubble3D val="0"/>
            <c:spPr>
              <a:solidFill>
                <a:srgbClr val="AEABAB"/>
              </a:solidFill>
            </c:spPr>
            <c:extLst>
              <c:ext xmlns:c16="http://schemas.microsoft.com/office/drawing/2014/chart" uri="{C3380CC4-5D6E-409C-BE32-E72D297353CC}">
                <c16:uniqueId val="{0000010D-2993-41DE-A2CB-63102DE87051}"/>
              </c:ext>
            </c:extLst>
          </c:dPt>
          <c:dPt>
            <c:idx val="134"/>
            <c:invertIfNegative val="1"/>
            <c:bubble3D val="0"/>
            <c:spPr>
              <a:solidFill>
                <a:srgbClr val="AEABAB"/>
              </a:solidFill>
            </c:spPr>
            <c:extLst>
              <c:ext xmlns:c16="http://schemas.microsoft.com/office/drawing/2014/chart" uri="{C3380CC4-5D6E-409C-BE32-E72D297353CC}">
                <c16:uniqueId val="{0000010F-2993-41DE-A2CB-63102DE87051}"/>
              </c:ext>
            </c:extLst>
          </c:dPt>
          <c:dPt>
            <c:idx val="135"/>
            <c:invertIfNegative val="1"/>
            <c:bubble3D val="0"/>
            <c:spPr>
              <a:solidFill>
                <a:srgbClr val="AEABAB"/>
              </a:solidFill>
            </c:spPr>
            <c:extLst>
              <c:ext xmlns:c16="http://schemas.microsoft.com/office/drawing/2014/chart" uri="{C3380CC4-5D6E-409C-BE32-E72D297353CC}">
                <c16:uniqueId val="{00000111-2993-41DE-A2CB-63102DE87051}"/>
              </c:ext>
            </c:extLst>
          </c:dPt>
          <c:dPt>
            <c:idx val="136"/>
            <c:invertIfNegative val="1"/>
            <c:bubble3D val="0"/>
            <c:spPr>
              <a:solidFill>
                <a:srgbClr val="AEABAB"/>
              </a:solidFill>
            </c:spPr>
            <c:extLst>
              <c:ext xmlns:c16="http://schemas.microsoft.com/office/drawing/2014/chart" uri="{C3380CC4-5D6E-409C-BE32-E72D297353CC}">
                <c16:uniqueId val="{00000113-2993-41DE-A2CB-63102DE87051}"/>
              </c:ext>
            </c:extLst>
          </c:dPt>
          <c:dPt>
            <c:idx val="137"/>
            <c:invertIfNegative val="1"/>
            <c:bubble3D val="0"/>
            <c:spPr>
              <a:solidFill>
                <a:srgbClr val="AEABAB"/>
              </a:solidFill>
            </c:spPr>
            <c:extLst>
              <c:ext xmlns:c16="http://schemas.microsoft.com/office/drawing/2014/chart" uri="{C3380CC4-5D6E-409C-BE32-E72D297353CC}">
                <c16:uniqueId val="{00000115-2993-41DE-A2CB-63102DE87051}"/>
              </c:ext>
            </c:extLst>
          </c:dPt>
          <c:dPt>
            <c:idx val="138"/>
            <c:invertIfNegative val="1"/>
            <c:bubble3D val="0"/>
            <c:spPr>
              <a:solidFill>
                <a:srgbClr val="AEABAB"/>
              </a:solidFill>
            </c:spPr>
            <c:extLst>
              <c:ext xmlns:c16="http://schemas.microsoft.com/office/drawing/2014/chart" uri="{C3380CC4-5D6E-409C-BE32-E72D297353CC}">
                <c16:uniqueId val="{00000117-2993-41DE-A2CB-63102DE87051}"/>
              </c:ext>
            </c:extLst>
          </c:dPt>
          <c:dPt>
            <c:idx val="139"/>
            <c:invertIfNegative val="1"/>
            <c:bubble3D val="0"/>
            <c:spPr>
              <a:solidFill>
                <a:srgbClr val="AEABAB"/>
              </a:solidFill>
            </c:spPr>
            <c:extLst>
              <c:ext xmlns:c16="http://schemas.microsoft.com/office/drawing/2014/chart" uri="{C3380CC4-5D6E-409C-BE32-E72D297353CC}">
                <c16:uniqueId val="{00000119-2993-41DE-A2CB-63102DE87051}"/>
              </c:ext>
            </c:extLst>
          </c:dPt>
          <c:dPt>
            <c:idx val="140"/>
            <c:invertIfNegative val="1"/>
            <c:bubble3D val="0"/>
            <c:spPr>
              <a:solidFill>
                <a:srgbClr val="AEABAB"/>
              </a:solidFill>
            </c:spPr>
            <c:extLst>
              <c:ext xmlns:c16="http://schemas.microsoft.com/office/drawing/2014/chart" uri="{C3380CC4-5D6E-409C-BE32-E72D297353CC}">
                <c16:uniqueId val="{0000011B-2993-41DE-A2CB-63102DE87051}"/>
              </c:ext>
            </c:extLst>
          </c:dPt>
          <c:dPt>
            <c:idx val="141"/>
            <c:invertIfNegative val="1"/>
            <c:bubble3D val="0"/>
            <c:spPr>
              <a:solidFill>
                <a:srgbClr val="AEABAB"/>
              </a:solidFill>
            </c:spPr>
            <c:extLst>
              <c:ext xmlns:c16="http://schemas.microsoft.com/office/drawing/2014/chart" uri="{C3380CC4-5D6E-409C-BE32-E72D297353CC}">
                <c16:uniqueId val="{0000011D-2993-41DE-A2CB-63102DE87051}"/>
              </c:ext>
            </c:extLst>
          </c:dPt>
          <c:dPt>
            <c:idx val="142"/>
            <c:invertIfNegative val="1"/>
            <c:bubble3D val="0"/>
            <c:spPr>
              <a:solidFill>
                <a:srgbClr val="AEABAB"/>
              </a:solidFill>
            </c:spPr>
            <c:extLst>
              <c:ext xmlns:c16="http://schemas.microsoft.com/office/drawing/2014/chart" uri="{C3380CC4-5D6E-409C-BE32-E72D297353CC}">
                <c16:uniqueId val="{0000011F-2993-41DE-A2CB-63102DE87051}"/>
              </c:ext>
            </c:extLst>
          </c:dPt>
          <c:dPt>
            <c:idx val="143"/>
            <c:invertIfNegative val="1"/>
            <c:bubble3D val="0"/>
            <c:spPr>
              <a:solidFill>
                <a:srgbClr val="AEABAB"/>
              </a:solidFill>
            </c:spPr>
            <c:extLst>
              <c:ext xmlns:c16="http://schemas.microsoft.com/office/drawing/2014/chart" uri="{C3380CC4-5D6E-409C-BE32-E72D297353CC}">
                <c16:uniqueId val="{00000121-2993-41DE-A2CB-63102DE87051}"/>
              </c:ext>
            </c:extLst>
          </c:dPt>
          <c:dPt>
            <c:idx val="144"/>
            <c:invertIfNegative val="1"/>
            <c:bubble3D val="0"/>
            <c:spPr>
              <a:solidFill>
                <a:srgbClr val="AEABAB"/>
              </a:solidFill>
            </c:spPr>
            <c:extLst>
              <c:ext xmlns:c16="http://schemas.microsoft.com/office/drawing/2014/chart" uri="{C3380CC4-5D6E-409C-BE32-E72D297353CC}">
                <c16:uniqueId val="{00000123-2993-41DE-A2CB-63102DE87051}"/>
              </c:ext>
            </c:extLst>
          </c:dPt>
          <c:dPt>
            <c:idx val="145"/>
            <c:invertIfNegative val="1"/>
            <c:bubble3D val="0"/>
            <c:spPr>
              <a:solidFill>
                <a:srgbClr val="AEABAB"/>
              </a:solidFill>
            </c:spPr>
            <c:extLst>
              <c:ext xmlns:c16="http://schemas.microsoft.com/office/drawing/2014/chart" uri="{C3380CC4-5D6E-409C-BE32-E72D297353CC}">
                <c16:uniqueId val="{00000125-2993-41DE-A2CB-63102DE87051}"/>
              </c:ext>
            </c:extLst>
          </c:dPt>
          <c:dPt>
            <c:idx val="146"/>
            <c:invertIfNegative val="1"/>
            <c:bubble3D val="0"/>
            <c:spPr>
              <a:solidFill>
                <a:srgbClr val="AEABAB"/>
              </a:solidFill>
            </c:spPr>
            <c:extLst>
              <c:ext xmlns:c16="http://schemas.microsoft.com/office/drawing/2014/chart" uri="{C3380CC4-5D6E-409C-BE32-E72D297353CC}">
                <c16:uniqueId val="{00000127-2993-41DE-A2CB-63102DE87051}"/>
              </c:ext>
            </c:extLst>
          </c:dPt>
          <c:dPt>
            <c:idx val="147"/>
            <c:invertIfNegative val="1"/>
            <c:bubble3D val="0"/>
            <c:spPr>
              <a:solidFill>
                <a:srgbClr val="AEABAB"/>
              </a:solidFill>
            </c:spPr>
            <c:extLst>
              <c:ext xmlns:c16="http://schemas.microsoft.com/office/drawing/2014/chart" uri="{C3380CC4-5D6E-409C-BE32-E72D297353CC}">
                <c16:uniqueId val="{00000129-2993-41DE-A2CB-63102DE87051}"/>
              </c:ext>
            </c:extLst>
          </c:dPt>
          <c:dPt>
            <c:idx val="148"/>
            <c:invertIfNegative val="1"/>
            <c:bubble3D val="0"/>
            <c:spPr>
              <a:solidFill>
                <a:srgbClr val="AEABAB"/>
              </a:solidFill>
            </c:spPr>
            <c:extLst>
              <c:ext xmlns:c16="http://schemas.microsoft.com/office/drawing/2014/chart" uri="{C3380CC4-5D6E-409C-BE32-E72D297353CC}">
                <c16:uniqueId val="{0000012B-2993-41DE-A2CB-63102DE87051}"/>
              </c:ext>
            </c:extLst>
          </c:dPt>
          <c:dPt>
            <c:idx val="149"/>
            <c:invertIfNegative val="1"/>
            <c:bubble3D val="0"/>
            <c:spPr>
              <a:solidFill>
                <a:srgbClr val="AEABAB"/>
              </a:solidFill>
            </c:spPr>
            <c:extLst>
              <c:ext xmlns:c16="http://schemas.microsoft.com/office/drawing/2014/chart" uri="{C3380CC4-5D6E-409C-BE32-E72D297353CC}">
                <c16:uniqueId val="{0000012D-2993-41DE-A2CB-63102DE87051}"/>
              </c:ext>
            </c:extLst>
          </c:dPt>
          <c:dPt>
            <c:idx val="150"/>
            <c:invertIfNegative val="1"/>
            <c:bubble3D val="0"/>
            <c:spPr>
              <a:solidFill>
                <a:srgbClr val="AEABAB"/>
              </a:solidFill>
            </c:spPr>
            <c:extLst>
              <c:ext xmlns:c16="http://schemas.microsoft.com/office/drawing/2014/chart" uri="{C3380CC4-5D6E-409C-BE32-E72D297353CC}">
                <c16:uniqueId val="{0000012F-2993-41DE-A2CB-63102DE87051}"/>
              </c:ext>
            </c:extLst>
          </c:dPt>
          <c:dPt>
            <c:idx val="151"/>
            <c:invertIfNegative val="1"/>
            <c:bubble3D val="0"/>
            <c:spPr>
              <a:solidFill>
                <a:srgbClr val="AEABAB"/>
              </a:solidFill>
            </c:spPr>
            <c:extLst>
              <c:ext xmlns:c16="http://schemas.microsoft.com/office/drawing/2014/chart" uri="{C3380CC4-5D6E-409C-BE32-E72D297353CC}">
                <c16:uniqueId val="{00000131-2993-41DE-A2CB-63102DE87051}"/>
              </c:ext>
            </c:extLst>
          </c:dPt>
          <c:dPt>
            <c:idx val="152"/>
            <c:invertIfNegative val="1"/>
            <c:bubble3D val="0"/>
            <c:spPr>
              <a:solidFill>
                <a:srgbClr val="AEABAB"/>
              </a:solidFill>
            </c:spPr>
            <c:extLst>
              <c:ext xmlns:c16="http://schemas.microsoft.com/office/drawing/2014/chart" uri="{C3380CC4-5D6E-409C-BE32-E72D297353CC}">
                <c16:uniqueId val="{00000133-2993-41DE-A2CB-63102DE87051}"/>
              </c:ext>
            </c:extLst>
          </c:dPt>
          <c:dPt>
            <c:idx val="153"/>
            <c:invertIfNegative val="1"/>
            <c:bubble3D val="0"/>
            <c:spPr>
              <a:solidFill>
                <a:srgbClr val="AEABAB"/>
              </a:solidFill>
            </c:spPr>
            <c:extLst>
              <c:ext xmlns:c16="http://schemas.microsoft.com/office/drawing/2014/chart" uri="{C3380CC4-5D6E-409C-BE32-E72D297353CC}">
                <c16:uniqueId val="{00000135-2993-41DE-A2CB-63102DE87051}"/>
              </c:ext>
            </c:extLst>
          </c:dPt>
          <c:dPt>
            <c:idx val="154"/>
            <c:invertIfNegative val="1"/>
            <c:bubble3D val="0"/>
            <c:spPr>
              <a:solidFill>
                <a:srgbClr val="AEABAB"/>
              </a:solidFill>
            </c:spPr>
            <c:extLst>
              <c:ext xmlns:c16="http://schemas.microsoft.com/office/drawing/2014/chart" uri="{C3380CC4-5D6E-409C-BE32-E72D297353CC}">
                <c16:uniqueId val="{00000137-2993-41DE-A2CB-63102DE87051}"/>
              </c:ext>
            </c:extLst>
          </c:dPt>
          <c:dPt>
            <c:idx val="155"/>
            <c:invertIfNegative val="1"/>
            <c:bubble3D val="0"/>
            <c:spPr>
              <a:solidFill>
                <a:srgbClr val="AEABAB"/>
              </a:solidFill>
            </c:spPr>
            <c:extLst>
              <c:ext xmlns:c16="http://schemas.microsoft.com/office/drawing/2014/chart" uri="{C3380CC4-5D6E-409C-BE32-E72D297353CC}">
                <c16:uniqueId val="{00000139-2993-41DE-A2CB-63102DE87051}"/>
              </c:ext>
            </c:extLst>
          </c:dPt>
          <c:dPt>
            <c:idx val="156"/>
            <c:invertIfNegative val="1"/>
            <c:bubble3D val="0"/>
            <c:spPr>
              <a:solidFill>
                <a:srgbClr val="AEABAB"/>
              </a:solidFill>
            </c:spPr>
            <c:extLst>
              <c:ext xmlns:c16="http://schemas.microsoft.com/office/drawing/2014/chart" uri="{C3380CC4-5D6E-409C-BE32-E72D297353CC}">
                <c16:uniqueId val="{0000013B-2993-41DE-A2CB-63102DE87051}"/>
              </c:ext>
            </c:extLst>
          </c:dPt>
          <c:dPt>
            <c:idx val="157"/>
            <c:invertIfNegative val="1"/>
            <c:bubble3D val="0"/>
            <c:spPr>
              <a:solidFill>
                <a:srgbClr val="AEABAB"/>
              </a:solidFill>
            </c:spPr>
            <c:extLst>
              <c:ext xmlns:c16="http://schemas.microsoft.com/office/drawing/2014/chart" uri="{C3380CC4-5D6E-409C-BE32-E72D297353CC}">
                <c16:uniqueId val="{0000013D-2993-41DE-A2CB-63102DE87051}"/>
              </c:ext>
            </c:extLst>
          </c:dPt>
          <c:dPt>
            <c:idx val="158"/>
            <c:invertIfNegative val="1"/>
            <c:bubble3D val="0"/>
            <c:spPr>
              <a:solidFill>
                <a:srgbClr val="AEABAB"/>
              </a:solidFill>
            </c:spPr>
            <c:extLst>
              <c:ext xmlns:c16="http://schemas.microsoft.com/office/drawing/2014/chart" uri="{C3380CC4-5D6E-409C-BE32-E72D297353CC}">
                <c16:uniqueId val="{0000013F-2993-41DE-A2CB-63102DE87051}"/>
              </c:ext>
            </c:extLst>
          </c:dPt>
          <c:dPt>
            <c:idx val="159"/>
            <c:invertIfNegative val="1"/>
            <c:bubble3D val="0"/>
            <c:spPr>
              <a:solidFill>
                <a:srgbClr val="AEABAB"/>
              </a:solidFill>
            </c:spPr>
            <c:extLst>
              <c:ext xmlns:c16="http://schemas.microsoft.com/office/drawing/2014/chart" uri="{C3380CC4-5D6E-409C-BE32-E72D297353CC}">
                <c16:uniqueId val="{00000141-2993-41DE-A2CB-63102DE87051}"/>
              </c:ext>
            </c:extLst>
          </c:dPt>
          <c:dPt>
            <c:idx val="160"/>
            <c:invertIfNegative val="1"/>
            <c:bubble3D val="0"/>
            <c:spPr>
              <a:solidFill>
                <a:srgbClr val="AEABAB"/>
              </a:solidFill>
            </c:spPr>
            <c:extLst>
              <c:ext xmlns:c16="http://schemas.microsoft.com/office/drawing/2014/chart" uri="{C3380CC4-5D6E-409C-BE32-E72D297353CC}">
                <c16:uniqueId val="{00000143-2993-41DE-A2CB-63102DE87051}"/>
              </c:ext>
            </c:extLst>
          </c:dPt>
          <c:dPt>
            <c:idx val="161"/>
            <c:invertIfNegative val="1"/>
            <c:bubble3D val="0"/>
            <c:spPr>
              <a:solidFill>
                <a:srgbClr val="AEABAB"/>
              </a:solidFill>
            </c:spPr>
            <c:extLst>
              <c:ext xmlns:c16="http://schemas.microsoft.com/office/drawing/2014/chart" uri="{C3380CC4-5D6E-409C-BE32-E72D297353CC}">
                <c16:uniqueId val="{00000145-2993-41DE-A2CB-63102DE87051}"/>
              </c:ext>
            </c:extLst>
          </c:dPt>
          <c:dPt>
            <c:idx val="162"/>
            <c:invertIfNegative val="1"/>
            <c:bubble3D val="0"/>
            <c:spPr>
              <a:solidFill>
                <a:srgbClr val="AEABAB"/>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164</c:f>
              <c:strCache>
                <c:ptCount val="163"/>
                <c:pt idx="0">
                  <c:v>Private Lab</c:v>
                </c:pt>
                <c:pt idx="1">
                  <c:v>Private Lab</c:v>
                </c:pt>
                <c:pt idx="2">
                  <c:v>Private Lab</c:v>
                </c:pt>
                <c:pt idx="3">
                  <c:v>Private Lab</c:v>
                </c:pt>
                <c:pt idx="4">
                  <c:v>Private Lab</c:v>
                </c:pt>
                <c:pt idx="5">
                  <c:v>Galbani</c:v>
                </c:pt>
                <c:pt idx="6">
                  <c:v>Salakis</c:v>
                </c:pt>
                <c:pt idx="7">
                  <c:v>Private Lab</c:v>
                </c:pt>
                <c:pt idx="8">
                  <c:v>Galbani</c:v>
                </c:pt>
                <c:pt idx="9">
                  <c:v>Private Lab</c:v>
                </c:pt>
                <c:pt idx="10">
                  <c:v>Galbani</c:v>
                </c:pt>
                <c:pt idx="11">
                  <c:v>Private Lab</c:v>
                </c:pt>
                <c:pt idx="12">
                  <c:v>Private Lab</c:v>
                </c:pt>
                <c:pt idx="13">
                  <c:v>Private Lab</c:v>
                </c:pt>
                <c:pt idx="14">
                  <c:v>Galbani</c:v>
                </c:pt>
                <c:pt idx="15">
                  <c:v>Galbani</c:v>
                </c:pt>
                <c:pt idx="16">
                  <c:v>Islos</c:v>
                </c:pt>
                <c:pt idx="17">
                  <c:v>Private Lab</c:v>
                </c:pt>
                <c:pt idx="18">
                  <c:v>Salakis</c:v>
                </c:pt>
                <c:pt idx="19">
                  <c:v>Galbani</c:v>
                </c:pt>
                <c:pt idx="20">
                  <c:v>All Others</c:v>
                </c:pt>
                <c:pt idx="21">
                  <c:v>Private Lab</c:v>
                </c:pt>
                <c:pt idx="22">
                  <c:v>Casa Azzurr</c:v>
                </c:pt>
                <c:pt idx="23">
                  <c:v>Casa Azzurr</c:v>
                </c:pt>
                <c:pt idx="24">
                  <c:v>Boursin</c:v>
                </c:pt>
                <c:pt idx="25">
                  <c:v>Galbani</c:v>
                </c:pt>
                <c:pt idx="26">
                  <c:v>Salakis</c:v>
                </c:pt>
                <c:pt idx="27">
                  <c:v>Casa Azzurr</c:v>
                </c:pt>
                <c:pt idx="28">
                  <c:v>Private Lab</c:v>
                </c:pt>
                <c:pt idx="29">
                  <c:v>Private Lab</c:v>
                </c:pt>
                <c:pt idx="30">
                  <c:v>Private Lab</c:v>
                </c:pt>
                <c:pt idx="31">
                  <c:v>Casa Azzurr</c:v>
                </c:pt>
                <c:pt idx="32">
                  <c:v>Salakis</c:v>
                </c:pt>
                <c:pt idx="33">
                  <c:v>Casa Azzurr</c:v>
                </c:pt>
                <c:pt idx="34">
                  <c:v>Galbani</c:v>
                </c:pt>
                <c:pt idx="35">
                  <c:v>Private Lab</c:v>
                </c:pt>
                <c:pt idx="36">
                  <c:v>Private Lab</c:v>
                </c:pt>
                <c:pt idx="37">
                  <c:v>Private Lab</c:v>
                </c:pt>
                <c:pt idx="38">
                  <c:v>Casa Azzurr</c:v>
                </c:pt>
                <c:pt idx="39">
                  <c:v>Salakis</c:v>
                </c:pt>
                <c:pt idx="40">
                  <c:v>Galbani</c:v>
                </c:pt>
                <c:pt idx="41">
                  <c:v>Salakis</c:v>
                </c:pt>
                <c:pt idx="42">
                  <c:v>Private Lab</c:v>
                </c:pt>
                <c:pt idx="43">
                  <c:v>Casa Azzurr</c:v>
                </c:pt>
                <c:pt idx="44">
                  <c:v>Private Lab</c:v>
                </c:pt>
                <c:pt idx="45">
                  <c:v>Galbani</c:v>
                </c:pt>
                <c:pt idx="46">
                  <c:v>Casa Azzurr</c:v>
                </c:pt>
                <c:pt idx="47">
                  <c:v>Islos</c:v>
                </c:pt>
                <c:pt idx="48">
                  <c:v>Boursin</c:v>
                </c:pt>
                <c:pt idx="49">
                  <c:v>Casa Azzurr</c:v>
                </c:pt>
                <c:pt idx="50">
                  <c:v>All Others</c:v>
                </c:pt>
                <c:pt idx="51">
                  <c:v>All Others</c:v>
                </c:pt>
                <c:pt idx="52">
                  <c:v>Galbani</c:v>
                </c:pt>
                <c:pt idx="53">
                  <c:v>Salakis</c:v>
                </c:pt>
                <c:pt idx="54">
                  <c:v>Lactalis: A</c:v>
                </c:pt>
                <c:pt idx="55">
                  <c:v>Galbani</c:v>
                </c:pt>
                <c:pt idx="56">
                  <c:v>All Others</c:v>
                </c:pt>
                <c:pt idx="57">
                  <c:v>Boursin</c:v>
                </c:pt>
                <c:pt idx="58">
                  <c:v>All Others</c:v>
                </c:pt>
                <c:pt idx="59">
                  <c:v>Galbani</c:v>
                </c:pt>
                <c:pt idx="60">
                  <c:v>Islos</c:v>
                </c:pt>
                <c:pt idx="61">
                  <c:v>All Others</c:v>
                </c:pt>
                <c:pt idx="62">
                  <c:v>All Others</c:v>
                </c:pt>
                <c:pt idx="63">
                  <c:v>Galbani</c:v>
                </c:pt>
                <c:pt idx="64">
                  <c:v>Boursin</c:v>
                </c:pt>
                <c:pt idx="65">
                  <c:v>All Others</c:v>
                </c:pt>
                <c:pt idx="66">
                  <c:v>All Others</c:v>
                </c:pt>
                <c:pt idx="67">
                  <c:v>All Others</c:v>
                </c:pt>
                <c:pt idx="68">
                  <c:v>Boursin</c:v>
                </c:pt>
                <c:pt idx="69">
                  <c:v>All Others</c:v>
                </c:pt>
                <c:pt idx="70">
                  <c:v>All Others</c:v>
                </c:pt>
                <c:pt idx="71">
                  <c:v>All Others</c:v>
                </c:pt>
                <c:pt idx="72">
                  <c:v>All Others</c:v>
                </c:pt>
                <c:pt idx="73">
                  <c:v>All Others</c:v>
                </c:pt>
                <c:pt idx="74">
                  <c:v>All Others</c:v>
                </c:pt>
                <c:pt idx="75">
                  <c:v>All Others</c:v>
                </c:pt>
                <c:pt idx="76">
                  <c:v>Boursin</c:v>
                </c:pt>
                <c:pt idx="77">
                  <c:v>All Others</c:v>
                </c:pt>
                <c:pt idx="78">
                  <c:v>All Others</c:v>
                </c:pt>
                <c:pt idx="79">
                  <c:v>Salakis</c:v>
                </c:pt>
                <c:pt idx="80">
                  <c:v>All Others</c:v>
                </c:pt>
                <c:pt idx="81">
                  <c:v>All Others</c:v>
                </c:pt>
                <c:pt idx="82">
                  <c:v>All Others</c:v>
                </c:pt>
                <c:pt idx="83">
                  <c:v>All Others</c:v>
                </c:pt>
                <c:pt idx="84">
                  <c:v>All Others</c:v>
                </c:pt>
                <c:pt idx="85">
                  <c:v>All Others</c:v>
                </c:pt>
                <c:pt idx="86">
                  <c:v>All Others</c:v>
                </c:pt>
                <c:pt idx="87">
                  <c:v>All Others</c:v>
                </c:pt>
                <c:pt idx="88">
                  <c:v>Salakis</c:v>
                </c:pt>
                <c:pt idx="89">
                  <c:v>All Others</c:v>
                </c:pt>
                <c:pt idx="90">
                  <c:v>All Others</c:v>
                </c:pt>
                <c:pt idx="91">
                  <c:v>All Others</c:v>
                </c:pt>
                <c:pt idx="92">
                  <c:v>Entremont</c:v>
                </c:pt>
                <c:pt idx="93">
                  <c:v>Private Lab</c:v>
                </c:pt>
                <c:pt idx="94">
                  <c:v>Entremont</c:v>
                </c:pt>
                <c:pt idx="95">
                  <c:v>All Others</c:v>
                </c:pt>
                <c:pt idx="96">
                  <c:v>All Others</c:v>
                </c:pt>
                <c:pt idx="97">
                  <c:v>All Others</c:v>
                </c:pt>
                <c:pt idx="98">
                  <c:v>All Others</c:v>
                </c:pt>
                <c:pt idx="99">
                  <c:v>All Others</c:v>
                </c:pt>
                <c:pt idx="100">
                  <c:v>All Others</c:v>
                </c:pt>
                <c:pt idx="101">
                  <c:v>All Others</c:v>
                </c:pt>
                <c:pt idx="102">
                  <c:v>All Others</c:v>
                </c:pt>
                <c:pt idx="103">
                  <c:v>All Others</c:v>
                </c:pt>
                <c:pt idx="104">
                  <c:v>All Others</c:v>
                </c:pt>
                <c:pt idx="105">
                  <c:v>All Others</c:v>
                </c:pt>
                <c:pt idx="106">
                  <c:v>All Others</c:v>
                </c:pt>
                <c:pt idx="107">
                  <c:v>Entremont</c:v>
                </c:pt>
                <c:pt idx="108">
                  <c:v>All Others</c:v>
                </c:pt>
                <c:pt idx="109">
                  <c:v>All Others</c:v>
                </c:pt>
                <c:pt idx="110">
                  <c:v>All Others</c:v>
                </c:pt>
                <c:pt idx="111">
                  <c:v>All Others</c:v>
                </c:pt>
                <c:pt idx="112">
                  <c:v>All Others</c:v>
                </c:pt>
                <c:pt idx="113">
                  <c:v>All Others</c:v>
                </c:pt>
                <c:pt idx="114">
                  <c:v>Casa Azzurr</c:v>
                </c:pt>
                <c:pt idx="115">
                  <c:v>All Others</c:v>
                </c:pt>
                <c:pt idx="116">
                  <c:v>All Others</c:v>
                </c:pt>
                <c:pt idx="117">
                  <c:v>All Others</c:v>
                </c:pt>
                <c:pt idx="118">
                  <c:v>All Others</c:v>
                </c:pt>
                <c:pt idx="119">
                  <c:v>All Others</c:v>
                </c:pt>
                <c:pt idx="120">
                  <c:v>All Others</c:v>
                </c:pt>
                <c:pt idx="121">
                  <c:v>All Others</c:v>
                </c:pt>
                <c:pt idx="122">
                  <c:v>All Others</c:v>
                </c:pt>
                <c:pt idx="123">
                  <c:v>All Others</c:v>
                </c:pt>
                <c:pt idx="124">
                  <c:v>All Others</c:v>
                </c:pt>
                <c:pt idx="125">
                  <c:v>All Others</c:v>
                </c:pt>
                <c:pt idx="126">
                  <c:v>All Others</c:v>
                </c:pt>
                <c:pt idx="127">
                  <c:v>All Others</c:v>
                </c:pt>
                <c:pt idx="128">
                  <c:v>All Others</c:v>
                </c:pt>
                <c:pt idx="129">
                  <c:v>All Others</c:v>
                </c:pt>
                <c:pt idx="130">
                  <c:v>All Others</c:v>
                </c:pt>
                <c:pt idx="131">
                  <c:v>All Others</c:v>
                </c:pt>
                <c:pt idx="132">
                  <c:v>All Others</c:v>
                </c:pt>
                <c:pt idx="133">
                  <c:v>All Others</c:v>
                </c:pt>
                <c:pt idx="134">
                  <c:v>All Others</c:v>
                </c:pt>
                <c:pt idx="135">
                  <c:v>All Others</c:v>
                </c:pt>
                <c:pt idx="136">
                  <c:v>All Others</c:v>
                </c:pt>
                <c:pt idx="137">
                  <c:v>Savencia: A</c:v>
                </c:pt>
                <c:pt idx="138">
                  <c:v>All Others</c:v>
                </c:pt>
                <c:pt idx="139">
                  <c:v>All Others</c:v>
                </c:pt>
                <c:pt idx="140">
                  <c:v>All Others</c:v>
                </c:pt>
                <c:pt idx="141">
                  <c:v>All Others</c:v>
                </c:pt>
                <c:pt idx="142">
                  <c:v>All Others</c:v>
                </c:pt>
                <c:pt idx="143">
                  <c:v>All Others</c:v>
                </c:pt>
                <c:pt idx="144">
                  <c:v>All Others</c:v>
                </c:pt>
                <c:pt idx="145">
                  <c:v>All Others</c:v>
                </c:pt>
                <c:pt idx="146">
                  <c:v>All Others</c:v>
                </c:pt>
                <c:pt idx="147">
                  <c:v>All Others</c:v>
                </c:pt>
                <c:pt idx="148">
                  <c:v>All Others</c:v>
                </c:pt>
                <c:pt idx="149">
                  <c:v>All Others</c:v>
                </c:pt>
                <c:pt idx="150">
                  <c:v>All Others</c:v>
                </c:pt>
                <c:pt idx="151">
                  <c:v>All Others</c:v>
                </c:pt>
                <c:pt idx="152">
                  <c:v>All Others</c:v>
                </c:pt>
                <c:pt idx="153">
                  <c:v>All Others</c:v>
                </c:pt>
                <c:pt idx="154">
                  <c:v>Savencia: A</c:v>
                </c:pt>
                <c:pt idx="155">
                  <c:v>All Others</c:v>
                </c:pt>
                <c:pt idx="156">
                  <c:v>All Others</c:v>
                </c:pt>
                <c:pt idx="157">
                  <c:v>All Others</c:v>
                </c:pt>
                <c:pt idx="158">
                  <c:v>All Others</c:v>
                </c:pt>
                <c:pt idx="159">
                  <c:v>All Others</c:v>
                </c:pt>
                <c:pt idx="160">
                  <c:v>All Others</c:v>
                </c:pt>
                <c:pt idx="161">
                  <c:v>All Others</c:v>
                </c:pt>
                <c:pt idx="162">
                  <c:v>All Others</c:v>
                </c:pt>
              </c:strCache>
            </c:strRef>
          </c:cat>
          <c:val>
            <c:numRef>
              <c:f>Sheet1!$C$2:$C$164</c:f>
              <c:numCache>
                <c:formatCode>General</c:formatCode>
                <c:ptCount val="163"/>
                <c:pt idx="0">
                  <c:v>0.10054411475208117</c:v>
                </c:pt>
                <c:pt idx="1">
                  <c:v>0.18050815249797691</c:v>
                </c:pt>
                <c:pt idx="2">
                  <c:v>0.2580116352892391</c:v>
                </c:pt>
                <c:pt idx="3">
                  <c:v>0.3062174510074148</c:v>
                </c:pt>
                <c:pt idx="4">
                  <c:v>0.351307346022245</c:v>
                </c:pt>
                <c:pt idx="5">
                  <c:v>0.3945050892477933</c:v>
                </c:pt>
                <c:pt idx="6">
                  <c:v>0.43233561905063506</c:v>
                </c:pt>
                <c:pt idx="7">
                  <c:v>0.4646533162668885</c:v>
                </c:pt>
                <c:pt idx="8">
                  <c:v>0.49630218761670764</c:v>
                </c:pt>
                <c:pt idx="9">
                  <c:v>0.5270708013437355</c:v>
                </c:pt>
                <c:pt idx="10">
                  <c:v>0.5569238317381693</c:v>
                </c:pt>
                <c:pt idx="11">
                  <c:v>0.5853008267590503</c:v>
                </c:pt>
                <c:pt idx="12">
                  <c:v>0.6107325208473087</c:v>
                </c:pt>
                <c:pt idx="13">
                  <c:v>0.6321360276543742</c:v>
                </c:pt>
                <c:pt idx="14">
                  <c:v>0.6531740667080935</c:v>
                </c:pt>
                <c:pt idx="15">
                  <c:v>0.6741121146931974</c:v>
                </c:pt>
                <c:pt idx="16">
                  <c:v>0.6945724477660254</c:v>
                </c:pt>
                <c:pt idx="17">
                  <c:v>0.7144554269791852</c:v>
                </c:pt>
                <c:pt idx="18">
                  <c:v>0.7341287691183509</c:v>
                </c:pt>
                <c:pt idx="19">
                  <c:v>0.751022295941009</c:v>
                </c:pt>
                <c:pt idx="20">
                  <c:v>0.7657989267640448</c:v>
                </c:pt>
                <c:pt idx="21">
                  <c:v>0.7793631019871531</c:v>
                </c:pt>
                <c:pt idx="22">
                  <c:v>0.7907917415033122</c:v>
                </c:pt>
                <c:pt idx="23">
                  <c:v>0.8015089484850401</c:v>
                </c:pt>
                <c:pt idx="24">
                  <c:v>0.8108234635363651</c:v>
                </c:pt>
                <c:pt idx="25">
                  <c:v>0.8200720069727273</c:v>
                </c:pt>
                <c:pt idx="26">
                  <c:v>0.8289025711585027</c:v>
                </c:pt>
                <c:pt idx="27">
                  <c:v>0.8376125281459866</c:v>
                </c:pt>
                <c:pt idx="28">
                  <c:v>0.8461878498800001</c:v>
                </c:pt>
                <c:pt idx="29">
                  <c:v>0.8543967724432385</c:v>
                </c:pt>
                <c:pt idx="30">
                  <c:v>0.8623781792613482</c:v>
                </c:pt>
                <c:pt idx="31">
                  <c:v>0.8703248510246099</c:v>
                </c:pt>
                <c:pt idx="32">
                  <c:v>0.8780565925367817</c:v>
                </c:pt>
                <c:pt idx="33">
                  <c:v>0.8857708415752892</c:v>
                </c:pt>
                <c:pt idx="34">
                  <c:v>0.892410893708313</c:v>
                </c:pt>
                <c:pt idx="35">
                  <c:v>0.8986587055162847</c:v>
                </c:pt>
                <c:pt idx="36">
                  <c:v>0.9046904057632569</c:v>
                </c:pt>
                <c:pt idx="37">
                  <c:v>0.910639357522797</c:v>
                </c:pt>
                <c:pt idx="38">
                  <c:v>0.9162987066144487</c:v>
                </c:pt>
                <c:pt idx="39">
                  <c:v>0.9213472276127378</c:v>
                </c:pt>
                <c:pt idx="40">
                  <c:v>0.9262462220374434</c:v>
                </c:pt>
                <c:pt idx="41">
                  <c:v>0.9307683445246737</c:v>
                </c:pt>
                <c:pt idx="42">
                  <c:v>0.9351675539875386</c:v>
                </c:pt>
                <c:pt idx="43">
                  <c:v>0.9394556294488887</c:v>
                </c:pt>
                <c:pt idx="44">
                  <c:v>0.9429900519052812</c:v>
                </c:pt>
                <c:pt idx="45">
                  <c:v>0.9461767148982255</c:v>
                </c:pt>
                <c:pt idx="46">
                  <c:v>0.9487550714401147</c:v>
                </c:pt>
                <c:pt idx="47">
                  <c:v>0.9512945697012208</c:v>
                </c:pt>
                <c:pt idx="48">
                  <c:v>0.9536944462179873</c:v>
                </c:pt>
                <c:pt idx="49">
                  <c:v>0.9560781933109852</c:v>
                </c:pt>
                <c:pt idx="50">
                  <c:v>0.9584423352029801</c:v>
                </c:pt>
                <c:pt idx="51">
                  <c:v>0.9605357185918976</c:v>
                </c:pt>
                <c:pt idx="52">
                  <c:v>0.9625170365618715</c:v>
                </c:pt>
                <c:pt idx="53">
                  <c:v>0.964342841897469</c:v>
                </c:pt>
                <c:pt idx="54">
                  <c:v>0.9660871595667881</c:v>
                </c:pt>
                <c:pt idx="55">
                  <c:v>0.9677623478888854</c:v>
                </c:pt>
                <c:pt idx="56">
                  <c:v>0.9694006770700468</c:v>
                </c:pt>
                <c:pt idx="57">
                  <c:v>0.9710135740119001</c:v>
                </c:pt>
                <c:pt idx="58">
                  <c:v>0.9726180086856495</c:v>
                </c:pt>
                <c:pt idx="59">
                  <c:v>0.9741500540511759</c:v>
                </c:pt>
                <c:pt idx="60">
                  <c:v>0.975609164888521</c:v>
                </c:pt>
                <c:pt idx="61">
                  <c:v>0.9769916950392131</c:v>
                </c:pt>
                <c:pt idx="62">
                  <c:v>0.9781162339208532</c:v>
                </c:pt>
                <c:pt idx="63">
                  <c:v>0.979230822538253</c:v>
                </c:pt>
                <c:pt idx="64">
                  <c:v>0.9801472918532794</c:v>
                </c:pt>
                <c:pt idx="65">
                  <c:v>0.9810562871113765</c:v>
                </c:pt>
                <c:pt idx="66">
                  <c:v>0.9819198928079391</c:v>
                </c:pt>
                <c:pt idx="67">
                  <c:v>0.982778898211103</c:v>
                </c:pt>
                <c:pt idx="68">
                  <c:v>0.9835649236510889</c:v>
                </c:pt>
                <c:pt idx="69">
                  <c:v>0.9843310939975909</c:v>
                </c:pt>
                <c:pt idx="70">
                  <c:v>0.9850806464941116</c:v>
                </c:pt>
                <c:pt idx="71">
                  <c:v>0.98579054559741</c:v>
                </c:pt>
                <c:pt idx="72">
                  <c:v>0.9864585990689032</c:v>
                </c:pt>
                <c:pt idx="73">
                  <c:v>0.986971730560975</c:v>
                </c:pt>
                <c:pt idx="74">
                  <c:v>0.9873750683839296</c:v>
                </c:pt>
                <c:pt idx="75">
                  <c:v>0.987775986793319</c:v>
                </c:pt>
                <c:pt idx="76">
                  <c:v>0.9881760192202761</c:v>
                </c:pt>
                <c:pt idx="77">
                  <c:v>0.988572439565009</c:v>
                </c:pt>
                <c:pt idx="78">
                  <c:v>0.988960670251617</c:v>
                </c:pt>
                <c:pt idx="79">
                  <c:v>0.9893421765587386</c:v>
                </c:pt>
                <c:pt idx="80">
                  <c:v>0.9896791679280088</c:v>
                </c:pt>
                <c:pt idx="81">
                  <c:v>0.9900147962473832</c:v>
                </c:pt>
                <c:pt idx="82">
                  <c:v>0.9903334659543024</c:v>
                </c:pt>
                <c:pt idx="83">
                  <c:v>0.9906506022300886</c:v>
                </c:pt>
                <c:pt idx="84">
                  <c:v>0.9909663413797315</c:v>
                </c:pt>
                <c:pt idx="85">
                  <c:v>0.9912782412721676</c:v>
                </c:pt>
                <c:pt idx="86">
                  <c:v>0.99158350765511</c:v>
                </c:pt>
                <c:pt idx="87">
                  <c:v>0.9918834354259602</c:v>
                </c:pt>
                <c:pt idx="88">
                  <c:v>0.9921816707431896</c:v>
                </c:pt>
                <c:pt idx="89">
                  <c:v>0.9924749195695497</c:v>
                </c:pt>
                <c:pt idx="90">
                  <c:v>0.9927642382687099</c:v>
                </c:pt>
                <c:pt idx="91">
                  <c:v>0.9930496949931649</c:v>
                </c:pt>
                <c:pt idx="92">
                  <c:v>0.9933335501339922</c:v>
                </c:pt>
                <c:pt idx="93">
                  <c:v>0.9936081819705237</c:v>
                </c:pt>
                <c:pt idx="94">
                  <c:v>0.9938627201798393</c:v>
                </c:pt>
                <c:pt idx="95">
                  <c:v>0.9941149979980776</c:v>
                </c:pt>
                <c:pt idx="96">
                  <c:v>0.9943646405865171</c:v>
                </c:pt>
                <c:pt idx="97">
                  <c:v>0.9946136470850051</c:v>
                </c:pt>
                <c:pt idx="98">
                  <c:v>0.9948536688129291</c:v>
                </c:pt>
                <c:pt idx="99">
                  <c:v>0.9950797533556673</c:v>
                </c:pt>
                <c:pt idx="100">
                  <c:v>0.9953028619061327</c:v>
                </c:pt>
                <c:pt idx="101">
                  <c:v>0.9955164518248248</c:v>
                </c:pt>
                <c:pt idx="102">
                  <c:v>0.9957261456925645</c:v>
                </c:pt>
                <c:pt idx="103">
                  <c:v>0.9959266503322557</c:v>
                </c:pt>
                <c:pt idx="104">
                  <c:v>0.9961053802498594</c:v>
                </c:pt>
                <c:pt idx="105">
                  <c:v>0.9962783285641545</c:v>
                </c:pt>
                <c:pt idx="106">
                  <c:v>0.9964466084325562</c:v>
                </c:pt>
                <c:pt idx="107">
                  <c:v>0.9966105151825417</c:v>
                </c:pt>
                <c:pt idx="108">
                  <c:v>0.996764130905813</c:v>
                </c:pt>
                <c:pt idx="109">
                  <c:v>0.9969144071568392</c:v>
                </c:pt>
                <c:pt idx="110">
                  <c:v>0.9970537562911997</c:v>
                </c:pt>
                <c:pt idx="111">
                  <c:v>0.9971927078693407</c:v>
                </c:pt>
                <c:pt idx="112">
                  <c:v>0.9973314890662446</c:v>
                </c:pt>
                <c:pt idx="113">
                  <c:v>0.9974676350333497</c:v>
                </c:pt>
                <c:pt idx="114">
                  <c:v>0.9976009640306699</c:v>
                </c:pt>
                <c:pt idx="115">
                  <c:v>0.9977268644060573</c:v>
                </c:pt>
                <c:pt idx="116">
                  <c:v>0.9978367148689201</c:v>
                </c:pt>
                <c:pt idx="117">
                  <c:v>0.9979451568468904</c:v>
                </c:pt>
                <c:pt idx="118">
                  <c:v>0.9980486350514898</c:v>
                </c:pt>
                <c:pt idx="119">
                  <c:v>0.9981466837740036</c:v>
                </c:pt>
                <c:pt idx="120">
                  <c:v>0.9982438237965868</c:v>
                </c:pt>
                <c:pt idx="121">
                  <c:v>0.9983405662629504</c:v>
                </c:pt>
                <c:pt idx="122">
                  <c:v>0.998436195571899</c:v>
                </c:pt>
                <c:pt idx="123">
                  <c:v>0.9985273949686858</c:v>
                </c:pt>
                <c:pt idx="124">
                  <c:v>0.9986150958707397</c:v>
                </c:pt>
                <c:pt idx="125">
                  <c:v>0.9986971628332239</c:v>
                </c:pt>
                <c:pt idx="126">
                  <c:v>0.99877880952199</c:v>
                </c:pt>
                <c:pt idx="127">
                  <c:v>0.9988512442652095</c:v>
                </c:pt>
                <c:pt idx="128">
                  <c:v>0.9989229293309863</c:v>
                </c:pt>
                <c:pt idx="129">
                  <c:v>0.9989874129498129</c:v>
                </c:pt>
                <c:pt idx="130">
                  <c:v>0.9990514422186741</c:v>
                </c:pt>
                <c:pt idx="131">
                  <c:v>0.99911423338388</c:v>
                </c:pt>
                <c:pt idx="132">
                  <c:v>0.9991762862303921</c:v>
                </c:pt>
                <c:pt idx="133">
                  <c:v>0.9992379642381829</c:v>
                </c:pt>
                <c:pt idx="134">
                  <c:v>0.9992935198801911</c:v>
                </c:pt>
                <c:pt idx="135">
                  <c:v>0.9993440208788353</c:v>
                </c:pt>
                <c:pt idx="136">
                  <c:v>0.999391829853935</c:v>
                </c:pt>
                <c:pt idx="137">
                  <c:v>0.9994729653989902</c:v>
                </c:pt>
                <c:pt idx="138">
                  <c:v>0.999506916700148</c:v>
                </c:pt>
                <c:pt idx="139">
                  <c:v>0.9995403909338422</c:v>
                </c:pt>
                <c:pt idx="140">
                  <c:v>0.9995727520101214</c:v>
                </c:pt>
                <c:pt idx="141">
                  <c:v>0.9996047041714319</c:v>
                </c:pt>
                <c:pt idx="142">
                  <c:v>0.9996631562944689</c:v>
                </c:pt>
                <c:pt idx="143">
                  <c:v>0.9996891223949863</c:v>
                </c:pt>
                <c:pt idx="144">
                  <c:v>0.999714338818061</c:v>
                </c:pt>
                <c:pt idx="145">
                  <c:v>0.9997389077924351</c:v>
                </c:pt>
                <c:pt idx="146">
                  <c:v>0.9997633063855723</c:v>
                </c:pt>
                <c:pt idx="147">
                  <c:v>0.999783649905269</c:v>
                </c:pt>
                <c:pt idx="148">
                  <c:v>0.999821122418658</c:v>
                </c:pt>
                <c:pt idx="149">
                  <c:v>0.9998377061923918</c:v>
                </c:pt>
                <c:pt idx="150">
                  <c:v>0.9998522567500308</c:v>
                </c:pt>
                <c:pt idx="151">
                  <c:v>0.9998662961639588</c:v>
                </c:pt>
                <c:pt idx="152">
                  <c:v>0.9999024851386958</c:v>
                </c:pt>
                <c:pt idx="153">
                  <c:v>0.9999129124703997</c:v>
                </c:pt>
                <c:pt idx="154">
                  <c:v>0.99992260148341</c:v>
                </c:pt>
                <c:pt idx="155">
                  <c:v>0.9999322677789219</c:v>
                </c:pt>
                <c:pt idx="156">
                  <c:v>0.9999594947005931</c:v>
                </c:pt>
                <c:pt idx="157">
                  <c:v>0.999965480761386</c:v>
                </c:pt>
                <c:pt idx="158">
                  <c:v>0.9999714441046808</c:v>
                </c:pt>
                <c:pt idx="159">
                  <c:v>0.999974806294424</c:v>
                </c:pt>
                <c:pt idx="160">
                  <c:v>0.9999834048675175</c:v>
                </c:pt>
                <c:pt idx="161">
                  <c:v>0.9999936731767335</c:v>
                </c:pt>
                <c:pt idx="162">
                  <c:v>0.9999976146626826</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167</c:f>
              <c:strCache>
                <c:ptCount val="166"/>
                <c:pt idx="0">
                  <c:v>Private Lab</c:v>
                </c:pt>
                <c:pt idx="1">
                  <c:v>Private Lab</c:v>
                </c:pt>
                <c:pt idx="2">
                  <c:v>Private Lab</c:v>
                </c:pt>
                <c:pt idx="3">
                  <c:v>Private Lab</c:v>
                </c:pt>
                <c:pt idx="4">
                  <c:v>Galbani</c:v>
                </c:pt>
                <c:pt idx="5">
                  <c:v>Private Lab</c:v>
                </c:pt>
                <c:pt idx="6">
                  <c:v>Galbani</c:v>
                </c:pt>
                <c:pt idx="7">
                  <c:v>Private Lab</c:v>
                </c:pt>
                <c:pt idx="8">
                  <c:v>Galbani</c:v>
                </c:pt>
                <c:pt idx="9">
                  <c:v>Salakis</c:v>
                </c:pt>
                <c:pt idx="10">
                  <c:v>Private Lab</c:v>
                </c:pt>
                <c:pt idx="11">
                  <c:v>Private Lab</c:v>
                </c:pt>
                <c:pt idx="12">
                  <c:v>Private Lab</c:v>
                </c:pt>
                <c:pt idx="13">
                  <c:v>Galbani</c:v>
                </c:pt>
                <c:pt idx="14">
                  <c:v>Islos</c:v>
                </c:pt>
                <c:pt idx="15">
                  <c:v>Salakis</c:v>
                </c:pt>
                <c:pt idx="16">
                  <c:v>Galbani</c:v>
                </c:pt>
                <c:pt idx="17">
                  <c:v>All Others</c:v>
                </c:pt>
                <c:pt idx="18">
                  <c:v>Private Lab</c:v>
                </c:pt>
                <c:pt idx="19">
                  <c:v>Private Lab</c:v>
                </c:pt>
                <c:pt idx="20">
                  <c:v>Galbani</c:v>
                </c:pt>
                <c:pt idx="21">
                  <c:v>Salakis</c:v>
                </c:pt>
                <c:pt idx="22">
                  <c:v>Casa Azzurr</c:v>
                </c:pt>
                <c:pt idx="23">
                  <c:v>Private Lab</c:v>
                </c:pt>
                <c:pt idx="24">
                  <c:v>Casa Azzurr</c:v>
                </c:pt>
                <c:pt idx="25">
                  <c:v>Casa Azzurr</c:v>
                </c:pt>
                <c:pt idx="26">
                  <c:v>Casa Azzurr</c:v>
                </c:pt>
                <c:pt idx="27">
                  <c:v>Galbani</c:v>
                </c:pt>
                <c:pt idx="28">
                  <c:v>Casa Azzurr</c:v>
                </c:pt>
                <c:pt idx="29">
                  <c:v>Salakis</c:v>
                </c:pt>
                <c:pt idx="30">
                  <c:v>Boursin</c:v>
                </c:pt>
                <c:pt idx="31">
                  <c:v>Salakis</c:v>
                </c:pt>
                <c:pt idx="32">
                  <c:v>Casa Azzurr</c:v>
                </c:pt>
                <c:pt idx="33">
                  <c:v>Private Lab</c:v>
                </c:pt>
                <c:pt idx="34">
                  <c:v>Private Lab</c:v>
                </c:pt>
                <c:pt idx="35">
                  <c:v>Private Lab</c:v>
                </c:pt>
                <c:pt idx="36">
                  <c:v>Private Lab</c:v>
                </c:pt>
                <c:pt idx="37">
                  <c:v>Galbani</c:v>
                </c:pt>
                <c:pt idx="38">
                  <c:v>Galbani</c:v>
                </c:pt>
                <c:pt idx="39">
                  <c:v>Private Lab</c:v>
                </c:pt>
                <c:pt idx="40">
                  <c:v>Private Lab</c:v>
                </c:pt>
                <c:pt idx="41">
                  <c:v>All Others</c:v>
                </c:pt>
                <c:pt idx="42">
                  <c:v>Galbani</c:v>
                </c:pt>
                <c:pt idx="43">
                  <c:v>Salakis</c:v>
                </c:pt>
                <c:pt idx="44">
                  <c:v>Casa Azzurr</c:v>
                </c:pt>
                <c:pt idx="45">
                  <c:v>Private Lab</c:v>
                </c:pt>
                <c:pt idx="46">
                  <c:v>Casa Azzurr</c:v>
                </c:pt>
                <c:pt idx="47">
                  <c:v>Lactalis: A</c:v>
                </c:pt>
                <c:pt idx="48">
                  <c:v>Casa Azzurr</c:v>
                </c:pt>
                <c:pt idx="49">
                  <c:v>Islos</c:v>
                </c:pt>
                <c:pt idx="50">
                  <c:v>Private Lab</c:v>
                </c:pt>
                <c:pt idx="51">
                  <c:v>All Others</c:v>
                </c:pt>
                <c:pt idx="52">
                  <c:v>Boursin</c:v>
                </c:pt>
                <c:pt idx="53">
                  <c:v>Galbani</c:v>
                </c:pt>
                <c:pt idx="54">
                  <c:v>Salakis</c:v>
                </c:pt>
                <c:pt idx="55">
                  <c:v>Galbani</c:v>
                </c:pt>
                <c:pt idx="56">
                  <c:v>All Others</c:v>
                </c:pt>
                <c:pt idx="57">
                  <c:v>Boursin</c:v>
                </c:pt>
                <c:pt idx="58">
                  <c:v>All Others</c:v>
                </c:pt>
                <c:pt idx="59">
                  <c:v>All Others</c:v>
                </c:pt>
                <c:pt idx="60">
                  <c:v>Galbani</c:v>
                </c:pt>
                <c:pt idx="61">
                  <c:v>All Others</c:v>
                </c:pt>
                <c:pt idx="62">
                  <c:v>Islos</c:v>
                </c:pt>
                <c:pt idx="63">
                  <c:v>Galbani</c:v>
                </c:pt>
                <c:pt idx="64">
                  <c:v>All Others</c:v>
                </c:pt>
                <c:pt idx="65">
                  <c:v>Boursin</c:v>
                </c:pt>
                <c:pt idx="66">
                  <c:v>All Others</c:v>
                </c:pt>
                <c:pt idx="67">
                  <c:v>All Others</c:v>
                </c:pt>
                <c:pt idx="68">
                  <c:v>All Others</c:v>
                </c:pt>
                <c:pt idx="69">
                  <c:v>All Others</c:v>
                </c:pt>
                <c:pt idx="70">
                  <c:v>All Others</c:v>
                </c:pt>
                <c:pt idx="71">
                  <c:v>All Others</c:v>
                </c:pt>
                <c:pt idx="72">
                  <c:v>Boursin</c:v>
                </c:pt>
                <c:pt idx="73">
                  <c:v>All Others</c:v>
                </c:pt>
                <c:pt idx="74">
                  <c:v>All Others</c:v>
                </c:pt>
                <c:pt idx="75">
                  <c:v>All Others</c:v>
                </c:pt>
                <c:pt idx="76">
                  <c:v>All Others</c:v>
                </c:pt>
                <c:pt idx="77">
                  <c:v>All Others</c:v>
                </c:pt>
                <c:pt idx="78">
                  <c:v>All Others</c:v>
                </c:pt>
                <c:pt idx="79">
                  <c:v>All Others</c:v>
                </c:pt>
                <c:pt idx="80">
                  <c:v>Private Lab</c:v>
                </c:pt>
                <c:pt idx="81">
                  <c:v>All Others</c:v>
                </c:pt>
                <c:pt idx="82">
                  <c:v>Boursin</c:v>
                </c:pt>
                <c:pt idx="83">
                  <c:v>All Others</c:v>
                </c:pt>
                <c:pt idx="84">
                  <c:v>All Others</c:v>
                </c:pt>
                <c:pt idx="85">
                  <c:v>Salakis</c:v>
                </c:pt>
                <c:pt idx="86">
                  <c:v>All Others</c:v>
                </c:pt>
                <c:pt idx="87">
                  <c:v>Entremont</c:v>
                </c:pt>
                <c:pt idx="88">
                  <c:v>Salakis</c:v>
                </c:pt>
                <c:pt idx="89">
                  <c:v>All Others</c:v>
                </c:pt>
                <c:pt idx="90">
                  <c:v>All Others</c:v>
                </c:pt>
                <c:pt idx="91">
                  <c:v>Entremont</c:v>
                </c:pt>
                <c:pt idx="92">
                  <c:v>All Others</c:v>
                </c:pt>
                <c:pt idx="93">
                  <c:v>All Others</c:v>
                </c:pt>
                <c:pt idx="94">
                  <c:v>All Others</c:v>
                </c:pt>
                <c:pt idx="95">
                  <c:v>All Others</c:v>
                </c:pt>
                <c:pt idx="96">
                  <c:v>All Others</c:v>
                </c:pt>
                <c:pt idx="97">
                  <c:v>All Others</c:v>
                </c:pt>
                <c:pt idx="98">
                  <c:v>Casa Azzurr</c:v>
                </c:pt>
                <c:pt idx="99">
                  <c:v>All Others</c:v>
                </c:pt>
                <c:pt idx="100">
                  <c:v>All Others</c:v>
                </c:pt>
                <c:pt idx="101">
                  <c:v>All Others</c:v>
                </c:pt>
                <c:pt idx="102">
                  <c:v>All Others</c:v>
                </c:pt>
                <c:pt idx="103">
                  <c:v>All Others</c:v>
                </c:pt>
                <c:pt idx="104">
                  <c:v>All Others</c:v>
                </c:pt>
                <c:pt idx="105">
                  <c:v>All Others</c:v>
                </c:pt>
                <c:pt idx="106">
                  <c:v>All Others</c:v>
                </c:pt>
                <c:pt idx="107">
                  <c:v>Entremont</c:v>
                </c:pt>
                <c:pt idx="108">
                  <c:v>All Others</c:v>
                </c:pt>
                <c:pt idx="109">
                  <c:v>All Others</c:v>
                </c:pt>
                <c:pt idx="110">
                  <c:v>All Others</c:v>
                </c:pt>
                <c:pt idx="111">
                  <c:v>All Others</c:v>
                </c:pt>
                <c:pt idx="112">
                  <c:v>All Others</c:v>
                </c:pt>
                <c:pt idx="113">
                  <c:v>All Others</c:v>
                </c:pt>
                <c:pt idx="114">
                  <c:v>All Others</c:v>
                </c:pt>
                <c:pt idx="115">
                  <c:v>All Others</c:v>
                </c:pt>
                <c:pt idx="116">
                  <c:v>All Others</c:v>
                </c:pt>
                <c:pt idx="117">
                  <c:v>All Others</c:v>
                </c:pt>
                <c:pt idx="118">
                  <c:v>All Others</c:v>
                </c:pt>
                <c:pt idx="119">
                  <c:v>All Others</c:v>
                </c:pt>
                <c:pt idx="120">
                  <c:v>All Others</c:v>
                </c:pt>
                <c:pt idx="121">
                  <c:v>All Others</c:v>
                </c:pt>
                <c:pt idx="122">
                  <c:v>All Others</c:v>
                </c:pt>
                <c:pt idx="123">
                  <c:v>All Others</c:v>
                </c:pt>
                <c:pt idx="124">
                  <c:v>Savencia: A</c:v>
                </c:pt>
                <c:pt idx="125">
                  <c:v>All Others</c:v>
                </c:pt>
                <c:pt idx="126">
                  <c:v>All Others</c:v>
                </c:pt>
                <c:pt idx="127">
                  <c:v>All Others</c:v>
                </c:pt>
                <c:pt idx="128">
                  <c:v>All Others</c:v>
                </c:pt>
                <c:pt idx="129">
                  <c:v>All Others</c:v>
                </c:pt>
                <c:pt idx="130">
                  <c:v>All Others</c:v>
                </c:pt>
                <c:pt idx="131">
                  <c:v>All Others</c:v>
                </c:pt>
                <c:pt idx="132">
                  <c:v>Savencia: A</c:v>
                </c:pt>
                <c:pt idx="133">
                  <c:v>All Others</c:v>
                </c:pt>
                <c:pt idx="134">
                  <c:v>All Others</c:v>
                </c:pt>
                <c:pt idx="135">
                  <c:v>All Others</c:v>
                </c:pt>
                <c:pt idx="136">
                  <c:v>All Others</c:v>
                </c:pt>
                <c:pt idx="137">
                  <c:v>All Others</c:v>
                </c:pt>
                <c:pt idx="138">
                  <c:v>All Others</c:v>
                </c:pt>
                <c:pt idx="139">
                  <c:v>All Others</c:v>
                </c:pt>
                <c:pt idx="140">
                  <c:v>All Others</c:v>
                </c:pt>
                <c:pt idx="141">
                  <c:v>All Others</c:v>
                </c:pt>
                <c:pt idx="142">
                  <c:v>All Others</c:v>
                </c:pt>
                <c:pt idx="143">
                  <c:v>All Others</c:v>
                </c:pt>
                <c:pt idx="144">
                  <c:v>All Others</c:v>
                </c:pt>
                <c:pt idx="145">
                  <c:v>All Others</c:v>
                </c:pt>
                <c:pt idx="146">
                  <c:v>All Others</c:v>
                </c:pt>
                <c:pt idx="147">
                  <c:v>All Others</c:v>
                </c:pt>
                <c:pt idx="148">
                  <c:v>All Others</c:v>
                </c:pt>
                <c:pt idx="149">
                  <c:v>All Others</c:v>
                </c:pt>
                <c:pt idx="150">
                  <c:v>All Others</c:v>
                </c:pt>
                <c:pt idx="151">
                  <c:v>All Others</c:v>
                </c:pt>
                <c:pt idx="152">
                  <c:v>All Others</c:v>
                </c:pt>
                <c:pt idx="153">
                  <c:v>All Others</c:v>
                </c:pt>
                <c:pt idx="154">
                  <c:v>All Others</c:v>
                </c:pt>
                <c:pt idx="155">
                  <c:v>All Others</c:v>
                </c:pt>
                <c:pt idx="156">
                  <c:v>All Others</c:v>
                </c:pt>
                <c:pt idx="157">
                  <c:v>All Others</c:v>
                </c:pt>
                <c:pt idx="158">
                  <c:v>All Others</c:v>
                </c:pt>
                <c:pt idx="159">
                  <c:v>All Others</c:v>
                </c:pt>
                <c:pt idx="160">
                  <c:v>All Others</c:v>
                </c:pt>
                <c:pt idx="161">
                  <c:v>All Others</c:v>
                </c:pt>
                <c:pt idx="162">
                  <c:v>All Others</c:v>
                </c:pt>
                <c:pt idx="163">
                  <c:v>All Others</c:v>
                </c:pt>
                <c:pt idx="164">
                  <c:v>All Others</c:v>
                </c:pt>
                <c:pt idx="165">
                  <c:v>All Others</c:v>
                </c:pt>
              </c:strCache>
            </c:strRef>
          </c:cat>
          <c:val>
            <c:numRef>
              <c:f>Sheet1!$B$2:$B$167</c:f>
              <c:numCache>
                <c:formatCode>General</c:formatCode>
                <c:ptCount val="166"/>
                <c:pt idx="0">
                  <c:v>1.0</c:v>
                </c:pt>
                <c:pt idx="1">
                  <c:v>0.99</c:v>
                </c:pt>
                <c:pt idx="2">
                  <c:v>0.99</c:v>
                </c:pt>
                <c:pt idx="3">
                  <c:v>0.99</c:v>
                </c:pt>
                <c:pt idx="4">
                  <c:v>1.0</c:v>
                </c:pt>
                <c:pt idx="5">
                  <c:v>1.0</c:v>
                </c:pt>
                <c:pt idx="6">
                  <c:v>0.99</c:v>
                </c:pt>
                <c:pt idx="7">
                  <c:v>0.99</c:v>
                </c:pt>
                <c:pt idx="8">
                  <c:v>0.98</c:v>
                </c:pt>
                <c:pt idx="9">
                  <c:v>0.99</c:v>
                </c:pt>
                <c:pt idx="10">
                  <c:v>0.99</c:v>
                </c:pt>
                <c:pt idx="11">
                  <c:v>0.99</c:v>
                </c:pt>
                <c:pt idx="12">
                  <c:v>1.0</c:v>
                </c:pt>
                <c:pt idx="13">
                  <c:v>0.99</c:v>
                </c:pt>
                <c:pt idx="14">
                  <c:v>0.98</c:v>
                </c:pt>
                <c:pt idx="15">
                  <c:v>1.0</c:v>
                </c:pt>
                <c:pt idx="16">
                  <c:v>0.99</c:v>
                </c:pt>
                <c:pt idx="17">
                  <c:v>0.66</c:v>
                </c:pt>
                <c:pt idx="18">
                  <c:v>1.0</c:v>
                </c:pt>
                <c:pt idx="19">
                  <c:v>0.98</c:v>
                </c:pt>
                <c:pt idx="20">
                  <c:v>0.99</c:v>
                </c:pt>
                <c:pt idx="21">
                  <c:v>0.99</c:v>
                </c:pt>
                <c:pt idx="22">
                  <c:v>0.98</c:v>
                </c:pt>
                <c:pt idx="23">
                  <c:v>0.85</c:v>
                </c:pt>
                <c:pt idx="24">
                  <c:v>0.97</c:v>
                </c:pt>
                <c:pt idx="25">
                  <c:v>0.96</c:v>
                </c:pt>
                <c:pt idx="26">
                  <c:v>0.98</c:v>
                </c:pt>
                <c:pt idx="27">
                  <c:v>0.98</c:v>
                </c:pt>
                <c:pt idx="28">
                  <c:v>0.96</c:v>
                </c:pt>
                <c:pt idx="29">
                  <c:v>0.99</c:v>
                </c:pt>
                <c:pt idx="30">
                  <c:v>1.0</c:v>
                </c:pt>
                <c:pt idx="31">
                  <c:v>0.88</c:v>
                </c:pt>
                <c:pt idx="32">
                  <c:v>0.96</c:v>
                </c:pt>
                <c:pt idx="33">
                  <c:v>0.99</c:v>
                </c:pt>
                <c:pt idx="34">
                  <c:v>0.96</c:v>
                </c:pt>
                <c:pt idx="35">
                  <c:v>0.78</c:v>
                </c:pt>
                <c:pt idx="36">
                  <c:v>0.98</c:v>
                </c:pt>
                <c:pt idx="37">
                  <c:v>0.97</c:v>
                </c:pt>
                <c:pt idx="38">
                  <c:v>0.8</c:v>
                </c:pt>
                <c:pt idx="39">
                  <c:v>0.99</c:v>
                </c:pt>
                <c:pt idx="40">
                  <c:v>0.92</c:v>
                </c:pt>
                <c:pt idx="41">
                  <c:v>0.57</c:v>
                </c:pt>
                <c:pt idx="42">
                  <c:v>0.76</c:v>
                </c:pt>
                <c:pt idx="43">
                  <c:v>0.98</c:v>
                </c:pt>
                <c:pt idx="44">
                  <c:v>0.53</c:v>
                </c:pt>
                <c:pt idx="45">
                  <c:v>0.96</c:v>
                </c:pt>
                <c:pt idx="46">
                  <c:v>0.68</c:v>
                </c:pt>
                <c:pt idx="47">
                  <c:v>0.68</c:v>
                </c:pt>
                <c:pt idx="48">
                  <c:v>0.94</c:v>
                </c:pt>
                <c:pt idx="49">
                  <c:v>0.84</c:v>
                </c:pt>
                <c:pt idx="50">
                  <c:v>0.64</c:v>
                </c:pt>
                <c:pt idx="51">
                  <c:v>0.29</c:v>
                </c:pt>
                <c:pt idx="52">
                  <c:v>0.95</c:v>
                </c:pt>
                <c:pt idx="53">
                  <c:v>0.76</c:v>
                </c:pt>
                <c:pt idx="54">
                  <c:v>0.73</c:v>
                </c:pt>
                <c:pt idx="55">
                  <c:v>0.56</c:v>
                </c:pt>
                <c:pt idx="56">
                  <c:v>0.98</c:v>
                </c:pt>
                <c:pt idx="57">
                  <c:v>0.97</c:v>
                </c:pt>
                <c:pt idx="58">
                  <c:v>0.12</c:v>
                </c:pt>
                <c:pt idx="59">
                  <c:v>0.36</c:v>
                </c:pt>
                <c:pt idx="60">
                  <c:v>0.71</c:v>
                </c:pt>
                <c:pt idx="61">
                  <c:v>0.23</c:v>
                </c:pt>
                <c:pt idx="62">
                  <c:v>0.77</c:v>
                </c:pt>
                <c:pt idx="63">
                  <c:v>0.86</c:v>
                </c:pt>
                <c:pt idx="64">
                  <c:v>0.45</c:v>
                </c:pt>
                <c:pt idx="65">
                  <c:v>0.93</c:v>
                </c:pt>
                <c:pt idx="66">
                  <c:v>0.25</c:v>
                </c:pt>
                <c:pt idx="67">
                  <c:v>0.21</c:v>
                </c:pt>
                <c:pt idx="68">
                  <c:v>0.19</c:v>
                </c:pt>
                <c:pt idx="69">
                  <c:v>0.11</c:v>
                </c:pt>
                <c:pt idx="70">
                  <c:v>0.25</c:v>
                </c:pt>
                <c:pt idx="71">
                  <c:v>0.11</c:v>
                </c:pt>
                <c:pt idx="72">
                  <c:v>0.99</c:v>
                </c:pt>
                <c:pt idx="73">
                  <c:v>0.12</c:v>
                </c:pt>
                <c:pt idx="74">
                  <c:v>0.12</c:v>
                </c:pt>
                <c:pt idx="75">
                  <c:v>0.22</c:v>
                </c:pt>
                <c:pt idx="76">
                  <c:v>0.15</c:v>
                </c:pt>
                <c:pt idx="77">
                  <c:v>0.05</c:v>
                </c:pt>
                <c:pt idx="78">
                  <c:v>0.18</c:v>
                </c:pt>
                <c:pt idx="79">
                  <c:v>0.39</c:v>
                </c:pt>
                <c:pt idx="80">
                  <c:v>0.5</c:v>
                </c:pt>
                <c:pt idx="81">
                  <c:v>0.31</c:v>
                </c:pt>
                <c:pt idx="82">
                  <c:v>0.73</c:v>
                </c:pt>
                <c:pt idx="83">
                  <c:v>0.37</c:v>
                </c:pt>
                <c:pt idx="84">
                  <c:v>0.06</c:v>
                </c:pt>
                <c:pt idx="85">
                  <c:v>0.45</c:v>
                </c:pt>
                <c:pt idx="86">
                  <c:v>0.18</c:v>
                </c:pt>
                <c:pt idx="87">
                  <c:v>0.65</c:v>
                </c:pt>
                <c:pt idx="88">
                  <c:v>0.4</c:v>
                </c:pt>
                <c:pt idx="89">
                  <c:v>0.16</c:v>
                </c:pt>
                <c:pt idx="90">
                  <c:v>0.14</c:v>
                </c:pt>
                <c:pt idx="91">
                  <c:v>0.67</c:v>
                </c:pt>
                <c:pt idx="92">
                  <c:v>0.03</c:v>
                </c:pt>
                <c:pt idx="93">
                  <c:v>0.24</c:v>
                </c:pt>
                <c:pt idx="94">
                  <c:v>0.14</c:v>
                </c:pt>
                <c:pt idx="95">
                  <c:v>0.06</c:v>
                </c:pt>
                <c:pt idx="96">
                  <c:v>0.04</c:v>
                </c:pt>
                <c:pt idx="97">
                  <c:v>0.03</c:v>
                </c:pt>
                <c:pt idx="98">
                  <c:v>0.21</c:v>
                </c:pt>
                <c:pt idx="99">
                  <c:v>0.04</c:v>
                </c:pt>
                <c:pt idx="100">
                  <c:v>0.15</c:v>
                </c:pt>
                <c:pt idx="101">
                  <c:v>0.04</c:v>
                </c:pt>
                <c:pt idx="102">
                  <c:v>0.12</c:v>
                </c:pt>
                <c:pt idx="103">
                  <c:v>0.2</c:v>
                </c:pt>
                <c:pt idx="104">
                  <c:v>0.5</c:v>
                </c:pt>
                <c:pt idx="105">
                  <c:v>0.03</c:v>
                </c:pt>
                <c:pt idx="106">
                  <c:v>0.04</c:v>
                </c:pt>
                <c:pt idx="107">
                  <c:v>0.51</c:v>
                </c:pt>
                <c:pt idx="108">
                  <c:v>0.15</c:v>
                </c:pt>
                <c:pt idx="109">
                  <c:v>0.05</c:v>
                </c:pt>
                <c:pt idx="110">
                  <c:v>0.03</c:v>
                </c:pt>
                <c:pt idx="111">
                  <c:v>0.16</c:v>
                </c:pt>
                <c:pt idx="112">
                  <c:v>0.05</c:v>
                </c:pt>
                <c:pt idx="113">
                  <c:v>0.02</c:v>
                </c:pt>
                <c:pt idx="114">
                  <c:v>0.44</c:v>
                </c:pt>
                <c:pt idx="115">
                  <c:v>0.05</c:v>
                </c:pt>
                <c:pt idx="116">
                  <c:v>0.17</c:v>
                </c:pt>
                <c:pt idx="117">
                  <c:v>0.03</c:v>
                </c:pt>
                <c:pt idx="118">
                  <c:v>0.15</c:v>
                </c:pt>
                <c:pt idx="119">
                  <c:v>0.02</c:v>
                </c:pt>
                <c:pt idx="120">
                  <c:v>0.04</c:v>
                </c:pt>
                <c:pt idx="121">
                  <c:v>0.04</c:v>
                </c:pt>
                <c:pt idx="122">
                  <c:v>0.15</c:v>
                </c:pt>
                <c:pt idx="123">
                  <c:v>0.15</c:v>
                </c:pt>
                <c:pt idx="124">
                  <c:v>0.08</c:v>
                </c:pt>
                <c:pt idx="125">
                  <c:v>0.01</c:v>
                </c:pt>
                <c:pt idx="126">
                  <c:v>0.03</c:v>
                </c:pt>
                <c:pt idx="127">
                  <c:v>0.03</c:v>
                </c:pt>
                <c:pt idx="128">
                  <c:v>0.14</c:v>
                </c:pt>
                <c:pt idx="129">
                  <c:v>0.15</c:v>
                </c:pt>
                <c:pt idx="130">
                  <c:v>0.02</c:v>
                </c:pt>
                <c:pt idx="131">
                  <c:v>0.11</c:v>
                </c:pt>
                <c:pt idx="132">
                  <c:v>0.06</c:v>
                </c:pt>
                <c:pt idx="133">
                  <c:v>0.13</c:v>
                </c:pt>
                <c:pt idx="134">
                  <c:v>0.01</c:v>
                </c:pt>
                <c:pt idx="135">
                  <c:v>0.06</c:v>
                </c:pt>
                <c:pt idx="136">
                  <c:v>0.15</c:v>
                </c:pt>
                <c:pt idx="137">
                  <c:v>0.04</c:v>
                </c:pt>
                <c:pt idx="138">
                  <c:v>0.06</c:v>
                </c:pt>
                <c:pt idx="139">
                  <c:v>0.05</c:v>
                </c:pt>
                <c:pt idx="140">
                  <c:v>0.04</c:v>
                </c:pt>
                <c:pt idx="141">
                  <c:v>0.01</c:v>
                </c:pt>
                <c:pt idx="142">
                  <c:v>0.08</c:v>
                </c:pt>
                <c:pt idx="143">
                  <c:v>0.02</c:v>
                </c:pt>
                <c:pt idx="144">
                  <c:v>0.02</c:v>
                </c:pt>
                <c:pt idx="145">
                  <c:v>0.12</c:v>
                </c:pt>
                <c:pt idx="146">
                  <c:v>0.04</c:v>
                </c:pt>
                <c:pt idx="147">
                  <c:v>0.01</c:v>
                </c:pt>
                <c:pt idx="148">
                  <c:v>0.02</c:v>
                </c:pt>
                <c:pt idx="149">
                  <c:v>0.04</c:v>
                </c:pt>
                <c:pt idx="150">
                  <c:v>0.04</c:v>
                </c:pt>
                <c:pt idx="151">
                  <c:v>0.02</c:v>
                </c:pt>
                <c:pt idx="152">
                  <c:v>0.02</c:v>
                </c:pt>
                <c:pt idx="153">
                  <c:v>0.02</c:v>
                </c:pt>
                <c:pt idx="154">
                  <c:v>0.02</c:v>
                </c:pt>
                <c:pt idx="155">
                  <c:v>0.02</c:v>
                </c:pt>
                <c:pt idx="156">
                  <c:v>0.05</c:v>
                </c:pt>
                <c:pt idx="157">
                  <c:v>0.04</c:v>
                </c:pt>
                <c:pt idx="158">
                  <c:v>0.01</c:v>
                </c:pt>
                <c:pt idx="159">
                  <c:v>0.01</c:v>
                </c:pt>
                <c:pt idx="160">
                  <c:v>0.02</c:v>
                </c:pt>
                <c:pt idx="161">
                  <c:v>0.01</c:v>
                </c:pt>
                <c:pt idx="162">
                  <c:v>0.02</c:v>
                </c:pt>
                <c:pt idx="163">
                  <c:v>0.04</c:v>
                </c:pt>
                <c:pt idx="164">
                  <c:v>0.01</c:v>
                </c:pt>
                <c:pt idx="165">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Item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7ECAC4"/>
              </a:solidFill>
            </c:spPr>
            <c:extLst>
              <c:ext xmlns:c16="http://schemas.microsoft.com/office/drawing/2014/chart" uri="{C3380CC4-5D6E-409C-BE32-E72D297353CC}">
                <c16:uniqueId val="{00000071-2993-41DE-A2CB-63102DE87051}"/>
              </c:ext>
            </c:extLst>
          </c:dPt>
          <c:dPt>
            <c:idx val="29"/>
            <c:invertIfNegative val="1"/>
            <c:bubble3D val="0"/>
            <c:spPr>
              <a:solidFill>
                <a:srgbClr val="7ECAC4"/>
              </a:solidFill>
            </c:spPr>
            <c:extLst>
              <c:ext xmlns:c16="http://schemas.microsoft.com/office/drawing/2014/chart" uri="{C3380CC4-5D6E-409C-BE32-E72D297353CC}">
                <c16:uniqueId val="{00000073-2993-41DE-A2CB-63102DE87051}"/>
              </c:ext>
            </c:extLst>
          </c:dPt>
          <c:dPt>
            <c:idx val="30"/>
            <c:invertIfNegative val="1"/>
            <c:bubble3D val="0"/>
            <c:spPr>
              <a:solidFill>
                <a:srgbClr val="7ECAC4"/>
              </a:solidFill>
            </c:spPr>
            <c:extLst>
              <c:ext xmlns:c16="http://schemas.microsoft.com/office/drawing/2014/chart" uri="{C3380CC4-5D6E-409C-BE32-E72D297353CC}">
                <c16:uniqueId val="{00000075-2993-41DE-A2CB-63102DE87051}"/>
              </c:ext>
            </c:extLst>
          </c:dPt>
          <c:dPt>
            <c:idx val="31"/>
            <c:invertIfNegative val="1"/>
            <c:bubble3D val="0"/>
            <c:spPr>
              <a:solidFill>
                <a:srgbClr val="7ECAC4"/>
              </a:solidFill>
            </c:spPr>
            <c:extLst>
              <c:ext xmlns:c16="http://schemas.microsoft.com/office/drawing/2014/chart" uri="{C3380CC4-5D6E-409C-BE32-E72D297353CC}">
                <c16:uniqueId val="{00000077-2993-41DE-A2CB-63102DE87051}"/>
              </c:ext>
            </c:extLst>
          </c:dPt>
          <c:dPt>
            <c:idx val="32"/>
            <c:invertIfNegative val="1"/>
            <c:bubble3D val="0"/>
            <c:spPr>
              <a:solidFill>
                <a:srgbClr val="7ECAC4"/>
              </a:solidFill>
            </c:spPr>
            <c:extLst>
              <c:ext xmlns:c16="http://schemas.microsoft.com/office/drawing/2014/chart" uri="{C3380CC4-5D6E-409C-BE32-E72D297353CC}">
                <c16:uniqueId val="{00000079-2993-41DE-A2CB-63102DE87051}"/>
              </c:ext>
            </c:extLst>
          </c:dPt>
          <c:dPt>
            <c:idx val="33"/>
            <c:invertIfNegative val="1"/>
            <c:bubble3D val="0"/>
            <c:spPr>
              <a:solidFill>
                <a:srgbClr val="7ECAC4"/>
              </a:solidFill>
            </c:spPr>
            <c:extLst>
              <c:ext xmlns:c16="http://schemas.microsoft.com/office/drawing/2014/chart" uri="{C3380CC4-5D6E-409C-BE32-E72D297353CC}">
                <c16:uniqueId val="{0000007B-2993-41DE-A2CB-63102DE87051}"/>
              </c:ext>
            </c:extLst>
          </c:dPt>
          <c:dPt>
            <c:idx val="34"/>
            <c:invertIfNegative val="1"/>
            <c:bubble3D val="0"/>
            <c:spPr>
              <a:solidFill>
                <a:srgbClr val="7ECAC4"/>
              </a:solidFill>
            </c:spPr>
            <c:extLst>
              <c:ext xmlns:c16="http://schemas.microsoft.com/office/drawing/2014/chart" uri="{C3380CC4-5D6E-409C-BE32-E72D297353CC}">
                <c16:uniqueId val="{0000007D-2993-41DE-A2CB-63102DE87051}"/>
              </c:ext>
            </c:extLst>
          </c:dPt>
          <c:dPt>
            <c:idx val="35"/>
            <c:invertIfNegative val="1"/>
            <c:bubble3D val="0"/>
            <c:spPr>
              <a:solidFill>
                <a:srgbClr val="7ECAC4"/>
              </a:solidFill>
            </c:spPr>
            <c:extLst>
              <c:ext xmlns:c16="http://schemas.microsoft.com/office/drawing/2014/chart" uri="{C3380CC4-5D6E-409C-BE32-E72D297353CC}">
                <c16:uniqueId val="{0000007F-2993-41DE-A2CB-63102DE87051}"/>
              </c:ext>
            </c:extLst>
          </c:dPt>
          <c:dPt>
            <c:idx val="36"/>
            <c:invertIfNegative val="1"/>
            <c:bubble3D val="0"/>
            <c:spPr>
              <a:solidFill>
                <a:srgbClr val="7ECAC4"/>
              </a:solidFill>
            </c:spPr>
            <c:extLst>
              <c:ext xmlns:c16="http://schemas.microsoft.com/office/drawing/2014/chart" uri="{C3380CC4-5D6E-409C-BE32-E72D297353CC}">
                <c16:uniqueId val="{00000081-2993-41DE-A2CB-63102DE87051}"/>
              </c:ext>
            </c:extLst>
          </c:dPt>
          <c:dPt>
            <c:idx val="37"/>
            <c:invertIfNegative val="1"/>
            <c:bubble3D val="0"/>
            <c:spPr>
              <a:solidFill>
                <a:srgbClr val="7ECAC4"/>
              </a:solidFill>
            </c:spPr>
            <c:extLst>
              <c:ext xmlns:c16="http://schemas.microsoft.com/office/drawing/2014/chart" uri="{C3380CC4-5D6E-409C-BE32-E72D297353CC}">
                <c16:uniqueId val="{00000083-2993-41DE-A2CB-63102DE87051}"/>
              </c:ext>
            </c:extLst>
          </c:dPt>
          <c:dPt>
            <c:idx val="38"/>
            <c:invertIfNegative val="1"/>
            <c:bubble3D val="0"/>
            <c:spPr>
              <a:solidFill>
                <a:srgbClr val="7ECAC4"/>
              </a:solidFill>
            </c:spPr>
            <c:extLst>
              <c:ext xmlns:c16="http://schemas.microsoft.com/office/drawing/2014/chart" uri="{C3380CC4-5D6E-409C-BE32-E72D297353CC}">
                <c16:uniqueId val="{00000085-2993-41DE-A2CB-63102DE87051}"/>
              </c:ext>
            </c:extLst>
          </c:dPt>
          <c:dPt>
            <c:idx val="39"/>
            <c:invertIfNegative val="1"/>
            <c:bubble3D val="0"/>
            <c:spPr>
              <a:solidFill>
                <a:srgbClr val="7ECAC4"/>
              </a:solidFill>
            </c:spPr>
            <c:extLst>
              <c:ext xmlns:c16="http://schemas.microsoft.com/office/drawing/2014/chart" uri="{C3380CC4-5D6E-409C-BE32-E72D297353CC}">
                <c16:uniqueId val="{00000087-2993-41DE-A2CB-63102DE87051}"/>
              </c:ext>
            </c:extLst>
          </c:dPt>
          <c:dPt>
            <c:idx val="40"/>
            <c:invertIfNegative val="1"/>
            <c:bubble3D val="0"/>
            <c:spPr>
              <a:solidFill>
                <a:srgbClr val="7ECAC4"/>
              </a:solidFill>
            </c:spPr>
            <c:extLst>
              <c:ext xmlns:c16="http://schemas.microsoft.com/office/drawing/2014/chart" uri="{C3380CC4-5D6E-409C-BE32-E72D297353CC}">
                <c16:uniqueId val="{00000089-2993-41DE-A2CB-63102DE87051}"/>
              </c:ext>
            </c:extLst>
          </c:dPt>
          <c:dPt>
            <c:idx val="41"/>
            <c:invertIfNegative val="1"/>
            <c:bubble3D val="0"/>
            <c:spPr>
              <a:solidFill>
                <a:srgbClr val="7ECAC4"/>
              </a:solidFill>
            </c:spPr>
            <c:extLst>
              <c:ext xmlns:c16="http://schemas.microsoft.com/office/drawing/2014/chart" uri="{C3380CC4-5D6E-409C-BE32-E72D297353CC}">
                <c16:uniqueId val="{0000008B-2993-41DE-A2CB-63102DE87051}"/>
              </c:ext>
            </c:extLst>
          </c:dPt>
          <c:dPt>
            <c:idx val="42"/>
            <c:invertIfNegative val="1"/>
            <c:bubble3D val="0"/>
            <c:spPr>
              <a:solidFill>
                <a:srgbClr val="7ECAC4"/>
              </a:solidFill>
            </c:spPr>
            <c:extLst>
              <c:ext xmlns:c16="http://schemas.microsoft.com/office/drawing/2014/chart" uri="{C3380CC4-5D6E-409C-BE32-E72D297353CC}">
                <c16:uniqueId val="{0000008D-2993-41DE-A2CB-63102DE87051}"/>
              </c:ext>
            </c:extLst>
          </c:dPt>
          <c:dPt>
            <c:idx val="43"/>
            <c:invertIfNegative val="1"/>
            <c:bubble3D val="0"/>
            <c:spPr>
              <a:solidFill>
                <a:srgbClr val="7ECAC4"/>
              </a:solidFill>
            </c:spPr>
            <c:extLst>
              <c:ext xmlns:c16="http://schemas.microsoft.com/office/drawing/2014/chart" uri="{C3380CC4-5D6E-409C-BE32-E72D297353CC}">
                <c16:uniqueId val="{0000008F-2993-41DE-A2CB-63102DE87051}"/>
              </c:ext>
            </c:extLst>
          </c:dPt>
          <c:dPt>
            <c:idx val="44"/>
            <c:invertIfNegative val="1"/>
            <c:bubble3D val="0"/>
            <c:spPr>
              <a:solidFill>
                <a:srgbClr val="7ECAC4"/>
              </a:solidFill>
            </c:spPr>
            <c:extLst>
              <c:ext xmlns:c16="http://schemas.microsoft.com/office/drawing/2014/chart" uri="{C3380CC4-5D6E-409C-BE32-E72D297353CC}">
                <c16:uniqueId val="{00000091-2993-41DE-A2CB-63102DE87051}"/>
              </c:ext>
            </c:extLst>
          </c:dPt>
          <c:dPt>
            <c:idx val="45"/>
            <c:invertIfNegative val="1"/>
            <c:bubble3D val="0"/>
            <c:spPr>
              <a:solidFill>
                <a:srgbClr val="7ECAC4"/>
              </a:solidFill>
            </c:spPr>
            <c:extLst>
              <c:ext xmlns:c16="http://schemas.microsoft.com/office/drawing/2014/chart" uri="{C3380CC4-5D6E-409C-BE32-E72D297353CC}">
                <c16:uniqueId val="{00000093-2993-41DE-A2CB-63102DE87051}"/>
              </c:ext>
            </c:extLst>
          </c:dPt>
          <c:dPt>
            <c:idx val="46"/>
            <c:invertIfNegative val="1"/>
            <c:bubble3D val="0"/>
            <c:spPr>
              <a:solidFill>
                <a:srgbClr val="7ECAC4"/>
              </a:solidFill>
            </c:spPr>
            <c:extLst>
              <c:ext xmlns:c16="http://schemas.microsoft.com/office/drawing/2014/chart" uri="{C3380CC4-5D6E-409C-BE32-E72D297353CC}">
                <c16:uniqueId val="{00000095-2993-41DE-A2CB-63102DE87051}"/>
              </c:ext>
            </c:extLst>
          </c:dPt>
          <c:dPt>
            <c:idx val="47"/>
            <c:invertIfNegative val="1"/>
            <c:bubble3D val="0"/>
            <c:spPr>
              <a:solidFill>
                <a:srgbClr val="7ECAC4"/>
              </a:solidFill>
            </c:spPr>
            <c:extLst>
              <c:ext xmlns:c16="http://schemas.microsoft.com/office/drawing/2014/chart" uri="{C3380CC4-5D6E-409C-BE32-E72D297353CC}">
                <c16:uniqueId val="{00000097-2993-41DE-A2CB-63102DE87051}"/>
              </c:ext>
            </c:extLst>
          </c:dPt>
          <c:dPt>
            <c:idx val="48"/>
            <c:invertIfNegative val="1"/>
            <c:bubble3D val="0"/>
            <c:spPr>
              <a:solidFill>
                <a:srgbClr val="7ECAC4"/>
              </a:solidFill>
            </c:spPr>
            <c:extLst>
              <c:ext xmlns:c16="http://schemas.microsoft.com/office/drawing/2014/chart" uri="{C3380CC4-5D6E-409C-BE32-E72D297353CC}">
                <c16:uniqueId val="{00000099-2993-41DE-A2CB-63102DE87051}"/>
              </c:ext>
            </c:extLst>
          </c:dPt>
          <c:dPt>
            <c:idx val="49"/>
            <c:invertIfNegative val="1"/>
            <c:bubble3D val="0"/>
            <c:spPr>
              <a:solidFill>
                <a:srgbClr val="7ECAC4"/>
              </a:solidFill>
            </c:spPr>
            <c:extLst>
              <c:ext xmlns:c16="http://schemas.microsoft.com/office/drawing/2014/chart" uri="{C3380CC4-5D6E-409C-BE32-E72D297353CC}">
                <c16:uniqueId val="{0000009B-2993-41DE-A2CB-63102DE87051}"/>
              </c:ext>
            </c:extLst>
          </c:dPt>
          <c:dPt>
            <c:idx val="50"/>
            <c:invertIfNegative val="1"/>
            <c:bubble3D val="0"/>
            <c:spPr>
              <a:solidFill>
                <a:srgbClr val="7ECAC4"/>
              </a:solidFill>
            </c:spPr>
            <c:extLst>
              <c:ext xmlns:c16="http://schemas.microsoft.com/office/drawing/2014/chart" uri="{C3380CC4-5D6E-409C-BE32-E72D297353CC}">
                <c16:uniqueId val="{0000009D-2993-41DE-A2CB-63102DE87051}"/>
              </c:ext>
            </c:extLst>
          </c:dPt>
          <c:dPt>
            <c:idx val="51"/>
            <c:invertIfNegative val="1"/>
            <c:bubble3D val="0"/>
            <c:spPr>
              <a:solidFill>
                <a:srgbClr val="7ECAC4"/>
              </a:solidFill>
            </c:spPr>
            <c:extLst>
              <c:ext xmlns:c16="http://schemas.microsoft.com/office/drawing/2014/chart" uri="{C3380CC4-5D6E-409C-BE32-E72D297353CC}">
                <c16:uniqueId val="{0000009F-2993-41DE-A2CB-63102DE87051}"/>
              </c:ext>
            </c:extLst>
          </c:dPt>
          <c:dPt>
            <c:idx val="52"/>
            <c:invertIfNegative val="1"/>
            <c:bubble3D val="0"/>
            <c:spPr>
              <a:solidFill>
                <a:srgbClr val="AEABAB"/>
              </a:solidFill>
            </c:spPr>
            <c:extLst>
              <c:ext xmlns:c16="http://schemas.microsoft.com/office/drawing/2014/chart" uri="{C3380CC4-5D6E-409C-BE32-E72D297353CC}">
                <c16:uniqueId val="{000000A1-2993-41DE-A2CB-63102DE87051}"/>
              </c:ext>
            </c:extLst>
          </c:dPt>
          <c:dPt>
            <c:idx val="53"/>
            <c:invertIfNegative val="1"/>
            <c:bubble3D val="0"/>
            <c:spPr>
              <a:solidFill>
                <a:srgbClr val="AEABAB"/>
              </a:solidFill>
            </c:spPr>
            <c:extLst>
              <c:ext xmlns:c16="http://schemas.microsoft.com/office/drawing/2014/chart" uri="{C3380CC4-5D6E-409C-BE32-E72D297353CC}">
                <c16:uniqueId val="{000000A3-2993-41DE-A2CB-63102DE87051}"/>
              </c:ext>
            </c:extLst>
          </c:dPt>
          <c:dPt>
            <c:idx val="54"/>
            <c:invertIfNegative val="0"/>
            <c:bubble3D val="0"/>
            <c:spPr>
              <a:solidFill>
                <a:srgbClr val="AEABAB"/>
              </a:solidFill>
            </c:spPr>
            <c:extLst>
              <c:ext xmlns:c16="http://schemas.microsoft.com/office/drawing/2014/chart" uri="{C3380CC4-5D6E-409C-BE32-E72D297353CC}">
                <c16:uniqueId val="{00000072-C76F-4230-900D-40618C09729F}"/>
              </c:ext>
            </c:extLst>
          </c:dPt>
          <c:dPt>
            <c:idx val="55"/>
            <c:invertIfNegative val="0"/>
            <c:bubble3D val="0"/>
            <c:spPr>
              <a:solidFill>
                <a:srgbClr val="AEABAB"/>
              </a:solidFill>
            </c:spPr>
            <c:extLst>
              <c:ext xmlns:c16="http://schemas.microsoft.com/office/drawing/2014/chart" uri="{C3380CC4-5D6E-409C-BE32-E72D297353CC}">
                <c16:uniqueId val="{00000074-C76F-4230-900D-40618C09729F}"/>
              </c:ext>
            </c:extLst>
          </c:dPt>
          <c:dPt>
            <c:idx val="56"/>
            <c:invertIfNegative val="0"/>
            <c:bubble3D val="0"/>
            <c:spPr>
              <a:solidFill>
                <a:srgbClr val="AEABAB"/>
              </a:solidFill>
            </c:spPr>
            <c:extLst>
              <c:ext xmlns:c16="http://schemas.microsoft.com/office/drawing/2014/chart" uri="{C3380CC4-5D6E-409C-BE32-E72D297353CC}">
                <c16:uniqueId val="{00000076-C76F-4230-900D-40618C09729F}"/>
              </c:ext>
            </c:extLst>
          </c:dPt>
          <c:dPt>
            <c:idx val="57"/>
            <c:invertIfNegative val="0"/>
            <c:bubble3D val="0"/>
            <c:spPr>
              <a:solidFill>
                <a:srgbClr val="AEABAB"/>
              </a:solidFill>
            </c:spPr>
            <c:extLst>
              <c:ext xmlns:c16="http://schemas.microsoft.com/office/drawing/2014/chart" uri="{C3380CC4-5D6E-409C-BE32-E72D297353CC}">
                <c16:uniqueId val="{00000078-C76F-4230-900D-40618C09729F}"/>
              </c:ext>
            </c:extLst>
          </c:dPt>
          <c:dPt>
            <c:idx val="58"/>
            <c:invertIfNegative val="0"/>
            <c:bubble3D val="0"/>
            <c:spPr>
              <a:solidFill>
                <a:srgbClr val="AEABAB"/>
              </a:solidFill>
            </c:spPr>
            <c:extLst>
              <c:ext xmlns:c16="http://schemas.microsoft.com/office/drawing/2014/chart" uri="{C3380CC4-5D6E-409C-BE32-E72D297353CC}">
                <c16:uniqueId val="{0000007A-C76F-4230-900D-40618C09729F}"/>
              </c:ext>
            </c:extLst>
          </c:dPt>
          <c:dPt>
            <c:idx val="59"/>
            <c:invertIfNegative val="0"/>
            <c:bubble3D val="0"/>
            <c:spPr>
              <a:solidFill>
                <a:srgbClr val="AEABAB"/>
              </a:solidFill>
            </c:spPr>
            <c:extLst>
              <c:ext xmlns:c16="http://schemas.microsoft.com/office/drawing/2014/chart" uri="{C3380CC4-5D6E-409C-BE32-E72D297353CC}">
                <c16:uniqueId val="{0000007C-C76F-4230-900D-40618C09729F}"/>
              </c:ext>
            </c:extLst>
          </c:dPt>
          <c:dPt>
            <c:idx val="60"/>
            <c:invertIfNegative val="0"/>
            <c:bubble3D val="0"/>
            <c:spPr>
              <a:solidFill>
                <a:srgbClr val="AEABAB"/>
              </a:solidFill>
            </c:spPr>
            <c:extLst>
              <c:ext xmlns:c16="http://schemas.microsoft.com/office/drawing/2014/chart" uri="{C3380CC4-5D6E-409C-BE32-E72D297353CC}">
                <c16:uniqueId val="{0000007E-C76F-4230-900D-40618C09729F}"/>
              </c:ext>
            </c:extLst>
          </c:dPt>
          <c:dPt>
            <c:idx val="61"/>
            <c:invertIfNegative val="0"/>
            <c:bubble3D val="0"/>
            <c:spPr>
              <a:solidFill>
                <a:srgbClr val="AEABAB"/>
              </a:solidFill>
            </c:spPr>
            <c:extLst>
              <c:ext xmlns:c16="http://schemas.microsoft.com/office/drawing/2014/chart" uri="{C3380CC4-5D6E-409C-BE32-E72D297353CC}">
                <c16:uniqueId val="{00000080-C76F-4230-900D-40618C09729F}"/>
              </c:ext>
            </c:extLst>
          </c:dPt>
          <c:dPt>
            <c:idx val="62"/>
            <c:invertIfNegative val="0"/>
            <c:bubble3D val="0"/>
            <c:spPr>
              <a:solidFill>
                <a:srgbClr val="AEABAB"/>
              </a:solidFill>
            </c:spPr>
            <c:extLst>
              <c:ext xmlns:c16="http://schemas.microsoft.com/office/drawing/2014/chart" uri="{C3380CC4-5D6E-409C-BE32-E72D297353CC}">
                <c16:uniqueId val="{00000082-C76F-4230-900D-40618C09729F}"/>
              </c:ext>
            </c:extLst>
          </c:dPt>
          <c:dPt>
            <c:idx val="63"/>
            <c:invertIfNegative val="0"/>
            <c:bubble3D val="0"/>
            <c:spPr>
              <a:solidFill>
                <a:srgbClr val="AEABAB"/>
              </a:solidFill>
            </c:spPr>
            <c:extLst>
              <c:ext xmlns:c16="http://schemas.microsoft.com/office/drawing/2014/chart" uri="{C3380CC4-5D6E-409C-BE32-E72D297353CC}">
                <c16:uniqueId val="{00000084-C76F-4230-900D-40618C09729F}"/>
              </c:ext>
            </c:extLst>
          </c:dPt>
          <c:dPt>
            <c:idx val="64"/>
            <c:invertIfNegative val="0"/>
            <c:bubble3D val="0"/>
            <c:spPr>
              <a:solidFill>
                <a:srgbClr val="AEABAB"/>
              </a:solidFill>
            </c:spPr>
            <c:extLst>
              <c:ext xmlns:c16="http://schemas.microsoft.com/office/drawing/2014/chart" uri="{C3380CC4-5D6E-409C-BE32-E72D297353CC}">
                <c16:uniqueId val="{00000086-C76F-4230-900D-40618C09729F}"/>
              </c:ext>
            </c:extLst>
          </c:dPt>
          <c:dPt>
            <c:idx val="65"/>
            <c:invertIfNegative val="0"/>
            <c:bubble3D val="0"/>
            <c:spPr>
              <a:solidFill>
                <a:srgbClr val="AEABAB"/>
              </a:solidFill>
            </c:spPr>
            <c:extLst>
              <c:ext xmlns:c16="http://schemas.microsoft.com/office/drawing/2014/chart" uri="{C3380CC4-5D6E-409C-BE32-E72D297353CC}">
                <c16:uniqueId val="{00000088-C76F-4230-900D-40618C09729F}"/>
              </c:ext>
            </c:extLst>
          </c:dPt>
          <c:dPt>
            <c:idx val="66"/>
            <c:invertIfNegative val="0"/>
            <c:bubble3D val="0"/>
            <c:spPr>
              <a:solidFill>
                <a:srgbClr val="AEABAB"/>
              </a:solidFill>
            </c:spPr>
            <c:extLst>
              <c:ext xmlns:c16="http://schemas.microsoft.com/office/drawing/2014/chart" uri="{C3380CC4-5D6E-409C-BE32-E72D297353CC}">
                <c16:uniqueId val="{0000008A-C76F-4230-900D-40618C09729F}"/>
              </c:ext>
            </c:extLst>
          </c:dPt>
          <c:dPt>
            <c:idx val="67"/>
            <c:invertIfNegative val="0"/>
            <c:bubble3D val="0"/>
            <c:spPr>
              <a:solidFill>
                <a:srgbClr val="AEABAB"/>
              </a:solidFill>
            </c:spPr>
            <c:extLst>
              <c:ext xmlns:c16="http://schemas.microsoft.com/office/drawing/2014/chart" uri="{C3380CC4-5D6E-409C-BE32-E72D297353CC}">
                <c16:uniqueId val="{0000008C-C76F-4230-900D-40618C09729F}"/>
              </c:ext>
            </c:extLst>
          </c:dPt>
          <c:dPt>
            <c:idx val="68"/>
            <c:invertIfNegative val="0"/>
            <c:bubble3D val="0"/>
            <c:spPr>
              <a:solidFill>
                <a:srgbClr val="AEABAB"/>
              </a:solidFill>
            </c:spPr>
            <c:extLst>
              <c:ext xmlns:c16="http://schemas.microsoft.com/office/drawing/2014/chart" uri="{C3380CC4-5D6E-409C-BE32-E72D297353CC}">
                <c16:uniqueId val="{0000008E-C76F-4230-900D-40618C09729F}"/>
              </c:ext>
            </c:extLst>
          </c:dPt>
          <c:dPt>
            <c:idx val="69"/>
            <c:invertIfNegative val="0"/>
            <c:bubble3D val="0"/>
            <c:spPr>
              <a:solidFill>
                <a:srgbClr val="AEABAB"/>
              </a:solidFill>
            </c:spPr>
            <c:extLst>
              <c:ext xmlns:c16="http://schemas.microsoft.com/office/drawing/2014/chart" uri="{C3380CC4-5D6E-409C-BE32-E72D297353CC}">
                <c16:uniqueId val="{00000090-C76F-4230-900D-40618C09729F}"/>
              </c:ext>
            </c:extLst>
          </c:dPt>
          <c:dPt>
            <c:idx val="70"/>
            <c:invertIfNegative val="0"/>
            <c:bubble3D val="0"/>
            <c:spPr>
              <a:solidFill>
                <a:srgbClr val="AEABAB"/>
              </a:solidFill>
            </c:spPr>
            <c:extLst>
              <c:ext xmlns:c16="http://schemas.microsoft.com/office/drawing/2014/chart" uri="{C3380CC4-5D6E-409C-BE32-E72D297353CC}">
                <c16:uniqueId val="{00000092-C76F-4230-900D-40618C09729F}"/>
              </c:ext>
            </c:extLst>
          </c:dPt>
          <c:dPt>
            <c:idx val="71"/>
            <c:invertIfNegative val="0"/>
            <c:bubble3D val="0"/>
            <c:spPr>
              <a:solidFill>
                <a:srgbClr val="AEABAB"/>
              </a:solidFill>
            </c:spPr>
            <c:extLst>
              <c:ext xmlns:c16="http://schemas.microsoft.com/office/drawing/2014/chart" uri="{C3380CC4-5D6E-409C-BE32-E72D297353CC}">
                <c16:uniqueId val="{00000094-C76F-4230-900D-40618C09729F}"/>
              </c:ext>
            </c:extLst>
          </c:dPt>
          <c:dPt>
            <c:idx val="72"/>
            <c:invertIfNegative val="0"/>
            <c:bubble3D val="0"/>
            <c:spPr>
              <a:solidFill>
                <a:srgbClr val="AEABAB"/>
              </a:solidFill>
            </c:spPr>
            <c:extLst>
              <c:ext xmlns:c16="http://schemas.microsoft.com/office/drawing/2014/chart" uri="{C3380CC4-5D6E-409C-BE32-E72D297353CC}">
                <c16:uniqueId val="{00000096-C76F-4230-900D-40618C09729F}"/>
              </c:ext>
            </c:extLst>
          </c:dPt>
          <c:dPt>
            <c:idx val="73"/>
            <c:invertIfNegative val="0"/>
            <c:bubble3D val="0"/>
            <c:spPr>
              <a:solidFill>
                <a:srgbClr val="AEABAB"/>
              </a:solidFill>
            </c:spPr>
            <c:extLst>
              <c:ext xmlns:c16="http://schemas.microsoft.com/office/drawing/2014/chart" uri="{C3380CC4-5D6E-409C-BE32-E72D297353CC}">
                <c16:uniqueId val="{00000098-C76F-4230-900D-40618C09729F}"/>
              </c:ext>
            </c:extLst>
          </c:dPt>
          <c:dPt>
            <c:idx val="74"/>
            <c:invertIfNegative val="0"/>
            <c:bubble3D val="0"/>
            <c:spPr>
              <a:solidFill>
                <a:srgbClr val="AEABAB"/>
              </a:solidFill>
            </c:spPr>
            <c:extLst>
              <c:ext xmlns:c16="http://schemas.microsoft.com/office/drawing/2014/chart" uri="{C3380CC4-5D6E-409C-BE32-E72D297353CC}">
                <c16:uniqueId val="{0000009A-C76F-4230-900D-40618C09729F}"/>
              </c:ext>
            </c:extLst>
          </c:dPt>
          <c:dPt>
            <c:idx val="75"/>
            <c:invertIfNegative val="0"/>
            <c:bubble3D val="0"/>
            <c:spPr>
              <a:solidFill>
                <a:srgbClr val="AEABAB"/>
              </a:solidFill>
            </c:spPr>
            <c:extLst>
              <c:ext xmlns:c16="http://schemas.microsoft.com/office/drawing/2014/chart" uri="{C3380CC4-5D6E-409C-BE32-E72D297353CC}">
                <c16:uniqueId val="{0000009C-C76F-4230-900D-40618C09729F}"/>
              </c:ext>
            </c:extLst>
          </c:dPt>
          <c:dPt>
            <c:idx val="76"/>
            <c:invertIfNegative val="0"/>
            <c:bubble3D val="0"/>
            <c:spPr>
              <a:solidFill>
                <a:srgbClr val="AEABAB"/>
              </a:solidFill>
            </c:spPr>
            <c:extLst>
              <c:ext xmlns:c16="http://schemas.microsoft.com/office/drawing/2014/chart" uri="{C3380CC4-5D6E-409C-BE32-E72D297353CC}">
                <c16:uniqueId val="{0000009E-C76F-4230-900D-40618C09729F}"/>
              </c:ext>
            </c:extLst>
          </c:dPt>
          <c:dPt>
            <c:idx val="77"/>
            <c:invertIfNegative val="0"/>
            <c:bubble3D val="0"/>
            <c:spPr>
              <a:solidFill>
                <a:srgbClr val="AEABAB"/>
              </a:solidFill>
            </c:spPr>
            <c:extLst>
              <c:ext xmlns:c16="http://schemas.microsoft.com/office/drawing/2014/chart" uri="{C3380CC4-5D6E-409C-BE32-E72D297353CC}">
                <c16:uniqueId val="{000000A0-C76F-4230-900D-40618C09729F}"/>
              </c:ext>
            </c:extLst>
          </c:dPt>
          <c:dPt>
            <c:idx val="78"/>
            <c:invertIfNegative val="0"/>
            <c:bubble3D val="0"/>
            <c:spPr>
              <a:solidFill>
                <a:srgbClr val="AEABAB"/>
              </a:solidFill>
            </c:spPr>
            <c:extLst>
              <c:ext xmlns:c16="http://schemas.microsoft.com/office/drawing/2014/chart" uri="{C3380CC4-5D6E-409C-BE32-E72D297353CC}">
                <c16:uniqueId val="{000000A2-C76F-4230-900D-40618C09729F}"/>
              </c:ext>
            </c:extLst>
          </c:dPt>
          <c:dPt>
            <c:idx val="79"/>
            <c:invertIfNegative val="0"/>
            <c:bubble3D val="0"/>
            <c:spPr>
              <a:solidFill>
                <a:srgbClr val="AEABAB"/>
              </a:solidFill>
            </c:spPr>
            <c:extLst>
              <c:ext xmlns:c16="http://schemas.microsoft.com/office/drawing/2014/chart" uri="{C3380CC4-5D6E-409C-BE32-E72D297353CC}">
                <c16:uniqueId val="{000000A4-C76F-4230-900D-40618C09729F}"/>
              </c:ext>
            </c:extLst>
          </c:dPt>
          <c:dPt>
            <c:idx val="80"/>
            <c:invertIfNegative val="0"/>
            <c:bubble3D val="0"/>
            <c:spPr>
              <a:solidFill>
                <a:srgbClr val="AEABAB"/>
              </a:solidFill>
            </c:spPr>
            <c:extLst>
              <c:ext xmlns:c16="http://schemas.microsoft.com/office/drawing/2014/chart" uri="{C3380CC4-5D6E-409C-BE32-E72D297353CC}">
                <c16:uniqueId val="{000000A6-C76F-4230-900D-40618C09729F}"/>
              </c:ext>
            </c:extLst>
          </c:dPt>
          <c:dPt>
            <c:idx val="81"/>
            <c:invertIfNegative val="1"/>
            <c:bubble3D val="0"/>
            <c:spPr>
              <a:solidFill>
                <a:srgbClr val="AEABAB"/>
              </a:solidFill>
            </c:spPr>
            <c:extLst>
              <c:ext xmlns:c16="http://schemas.microsoft.com/office/drawing/2014/chart" uri="{C3380CC4-5D6E-409C-BE32-E72D297353CC}">
                <c16:uniqueId val="{000000A5-2993-41DE-A2CB-63102DE87051}"/>
              </c:ext>
            </c:extLst>
          </c:dPt>
          <c:dPt>
            <c:idx val="82"/>
            <c:invertIfNegative val="1"/>
            <c:bubble3D val="0"/>
            <c:spPr>
              <a:solidFill>
                <a:srgbClr val="AEABAB"/>
              </a:solidFill>
            </c:spPr>
            <c:extLst>
              <c:ext xmlns:c16="http://schemas.microsoft.com/office/drawing/2014/chart" uri="{C3380CC4-5D6E-409C-BE32-E72D297353CC}">
                <c16:uniqueId val="{000000A7-2993-41DE-A2CB-63102DE87051}"/>
              </c:ext>
            </c:extLst>
          </c:dPt>
          <c:dPt>
            <c:idx val="83"/>
            <c:invertIfNegative val="1"/>
            <c:bubble3D val="0"/>
            <c:spPr>
              <a:solidFill>
                <a:srgbClr val="AEABAB"/>
              </a:solidFill>
            </c:spPr>
            <c:extLst>
              <c:ext xmlns:c16="http://schemas.microsoft.com/office/drawing/2014/chart" uri="{C3380CC4-5D6E-409C-BE32-E72D297353CC}">
                <c16:uniqueId val="{000000A9-2993-41DE-A2CB-63102DE87051}"/>
              </c:ext>
            </c:extLst>
          </c:dPt>
          <c:dPt>
            <c:idx val="84"/>
            <c:invertIfNegative val="1"/>
            <c:bubble3D val="0"/>
            <c:spPr>
              <a:solidFill>
                <a:srgbClr val="AEABAB"/>
              </a:solidFill>
            </c:spPr>
            <c:extLst>
              <c:ext xmlns:c16="http://schemas.microsoft.com/office/drawing/2014/chart" uri="{C3380CC4-5D6E-409C-BE32-E72D297353CC}">
                <c16:uniqueId val="{000000AB-2993-41DE-A2CB-63102DE87051}"/>
              </c:ext>
            </c:extLst>
          </c:dPt>
          <c:dPt>
            <c:idx val="85"/>
            <c:invertIfNegative val="1"/>
            <c:bubble3D val="0"/>
            <c:spPr>
              <a:solidFill>
                <a:srgbClr val="AEABAB"/>
              </a:solidFill>
            </c:spPr>
            <c:extLst>
              <c:ext xmlns:c16="http://schemas.microsoft.com/office/drawing/2014/chart" uri="{C3380CC4-5D6E-409C-BE32-E72D297353CC}">
                <c16:uniqueId val="{000000AD-2993-41DE-A2CB-63102DE87051}"/>
              </c:ext>
            </c:extLst>
          </c:dPt>
          <c:dPt>
            <c:idx val="86"/>
            <c:invertIfNegative val="1"/>
            <c:bubble3D val="0"/>
            <c:spPr>
              <a:solidFill>
                <a:srgbClr val="AEABAB"/>
              </a:solidFill>
            </c:spPr>
            <c:extLst>
              <c:ext xmlns:c16="http://schemas.microsoft.com/office/drawing/2014/chart" uri="{C3380CC4-5D6E-409C-BE32-E72D297353CC}">
                <c16:uniqueId val="{000000AF-2993-41DE-A2CB-63102DE87051}"/>
              </c:ext>
            </c:extLst>
          </c:dPt>
          <c:dPt>
            <c:idx val="87"/>
            <c:invertIfNegative val="1"/>
            <c:bubble3D val="0"/>
            <c:spPr>
              <a:solidFill>
                <a:srgbClr val="AEABAB"/>
              </a:solidFill>
            </c:spPr>
            <c:extLst>
              <c:ext xmlns:c16="http://schemas.microsoft.com/office/drawing/2014/chart" uri="{C3380CC4-5D6E-409C-BE32-E72D297353CC}">
                <c16:uniqueId val="{000000B1-2993-41DE-A2CB-63102DE87051}"/>
              </c:ext>
            </c:extLst>
          </c:dPt>
          <c:dPt>
            <c:idx val="88"/>
            <c:invertIfNegative val="1"/>
            <c:bubble3D val="0"/>
            <c:spPr>
              <a:solidFill>
                <a:srgbClr val="AEABAB"/>
              </a:solidFill>
            </c:spPr>
            <c:extLst>
              <c:ext xmlns:c16="http://schemas.microsoft.com/office/drawing/2014/chart" uri="{C3380CC4-5D6E-409C-BE32-E72D297353CC}">
                <c16:uniqueId val="{000000B3-2993-41DE-A2CB-63102DE87051}"/>
              </c:ext>
            </c:extLst>
          </c:dPt>
          <c:dPt>
            <c:idx val="89"/>
            <c:invertIfNegative val="1"/>
            <c:bubble3D val="0"/>
            <c:spPr>
              <a:solidFill>
                <a:srgbClr val="AEABAB"/>
              </a:solidFill>
            </c:spPr>
            <c:extLst>
              <c:ext xmlns:c16="http://schemas.microsoft.com/office/drawing/2014/chart" uri="{C3380CC4-5D6E-409C-BE32-E72D297353CC}">
                <c16:uniqueId val="{000000B5-2993-41DE-A2CB-63102DE87051}"/>
              </c:ext>
            </c:extLst>
          </c:dPt>
          <c:dPt>
            <c:idx val="90"/>
            <c:invertIfNegative val="1"/>
            <c:bubble3D val="0"/>
            <c:spPr>
              <a:solidFill>
                <a:srgbClr val="AEABAB"/>
              </a:solidFill>
            </c:spPr>
            <c:extLst>
              <c:ext xmlns:c16="http://schemas.microsoft.com/office/drawing/2014/chart" uri="{C3380CC4-5D6E-409C-BE32-E72D297353CC}">
                <c16:uniqueId val="{000000B7-2993-41DE-A2CB-63102DE87051}"/>
              </c:ext>
            </c:extLst>
          </c:dPt>
          <c:dPt>
            <c:idx val="91"/>
            <c:invertIfNegative val="1"/>
            <c:bubble3D val="0"/>
            <c:spPr>
              <a:solidFill>
                <a:srgbClr val="AEABAB"/>
              </a:solidFill>
            </c:spPr>
            <c:extLst>
              <c:ext xmlns:c16="http://schemas.microsoft.com/office/drawing/2014/chart" uri="{C3380CC4-5D6E-409C-BE32-E72D297353CC}">
                <c16:uniqueId val="{000000B9-2993-41DE-A2CB-63102DE87051}"/>
              </c:ext>
            </c:extLst>
          </c:dPt>
          <c:dPt>
            <c:idx val="92"/>
            <c:invertIfNegative val="1"/>
            <c:bubble3D val="0"/>
            <c:spPr>
              <a:solidFill>
                <a:srgbClr val="AEABAB"/>
              </a:solidFill>
            </c:spPr>
            <c:extLst>
              <c:ext xmlns:c16="http://schemas.microsoft.com/office/drawing/2014/chart" uri="{C3380CC4-5D6E-409C-BE32-E72D297353CC}">
                <c16:uniqueId val="{000000BB-2993-41DE-A2CB-63102DE87051}"/>
              </c:ext>
            </c:extLst>
          </c:dPt>
          <c:dPt>
            <c:idx val="93"/>
            <c:invertIfNegative val="1"/>
            <c:bubble3D val="0"/>
            <c:spPr>
              <a:solidFill>
                <a:srgbClr val="AEABAB"/>
              </a:solidFill>
            </c:spPr>
            <c:extLst>
              <c:ext xmlns:c16="http://schemas.microsoft.com/office/drawing/2014/chart" uri="{C3380CC4-5D6E-409C-BE32-E72D297353CC}">
                <c16:uniqueId val="{000000BD-2993-41DE-A2CB-63102DE87051}"/>
              </c:ext>
            </c:extLst>
          </c:dPt>
          <c:dPt>
            <c:idx val="94"/>
            <c:invertIfNegative val="1"/>
            <c:bubble3D val="0"/>
            <c:spPr>
              <a:solidFill>
                <a:srgbClr val="AEABAB"/>
              </a:solidFill>
            </c:spPr>
            <c:extLst>
              <c:ext xmlns:c16="http://schemas.microsoft.com/office/drawing/2014/chart" uri="{C3380CC4-5D6E-409C-BE32-E72D297353CC}">
                <c16:uniqueId val="{000000BF-2993-41DE-A2CB-63102DE87051}"/>
              </c:ext>
            </c:extLst>
          </c:dPt>
          <c:dPt>
            <c:idx val="95"/>
            <c:invertIfNegative val="1"/>
            <c:bubble3D val="0"/>
            <c:spPr>
              <a:solidFill>
                <a:srgbClr val="AEABAB"/>
              </a:solidFill>
            </c:spPr>
            <c:extLst>
              <c:ext xmlns:c16="http://schemas.microsoft.com/office/drawing/2014/chart" uri="{C3380CC4-5D6E-409C-BE32-E72D297353CC}">
                <c16:uniqueId val="{000000C1-2993-41DE-A2CB-63102DE87051}"/>
              </c:ext>
            </c:extLst>
          </c:dPt>
          <c:dPt>
            <c:idx val="96"/>
            <c:invertIfNegative val="1"/>
            <c:bubble3D val="0"/>
            <c:spPr>
              <a:solidFill>
                <a:srgbClr val="AEABAB"/>
              </a:solidFill>
            </c:spPr>
            <c:extLst>
              <c:ext xmlns:c16="http://schemas.microsoft.com/office/drawing/2014/chart" uri="{C3380CC4-5D6E-409C-BE32-E72D297353CC}">
                <c16:uniqueId val="{000000C3-2993-41DE-A2CB-63102DE87051}"/>
              </c:ext>
            </c:extLst>
          </c:dPt>
          <c:dPt>
            <c:idx val="97"/>
            <c:invertIfNegative val="1"/>
            <c:bubble3D val="0"/>
            <c:spPr>
              <a:solidFill>
                <a:srgbClr val="AEABAB"/>
              </a:solidFill>
            </c:spPr>
            <c:extLst>
              <c:ext xmlns:c16="http://schemas.microsoft.com/office/drawing/2014/chart" uri="{C3380CC4-5D6E-409C-BE32-E72D297353CC}">
                <c16:uniqueId val="{000000C5-2993-41DE-A2CB-63102DE87051}"/>
              </c:ext>
            </c:extLst>
          </c:dPt>
          <c:dPt>
            <c:idx val="98"/>
            <c:invertIfNegative val="1"/>
            <c:bubble3D val="0"/>
            <c:spPr>
              <a:solidFill>
                <a:srgbClr val="AEABAB"/>
              </a:solidFill>
            </c:spPr>
            <c:extLst>
              <c:ext xmlns:c16="http://schemas.microsoft.com/office/drawing/2014/chart" uri="{C3380CC4-5D6E-409C-BE32-E72D297353CC}">
                <c16:uniqueId val="{000000C7-2993-41DE-A2CB-63102DE87051}"/>
              </c:ext>
            </c:extLst>
          </c:dPt>
          <c:dPt>
            <c:idx val="99"/>
            <c:invertIfNegative val="1"/>
            <c:bubble3D val="0"/>
            <c:spPr>
              <a:solidFill>
                <a:srgbClr val="AEABAB"/>
              </a:solidFill>
            </c:spPr>
            <c:extLst>
              <c:ext xmlns:c16="http://schemas.microsoft.com/office/drawing/2014/chart" uri="{C3380CC4-5D6E-409C-BE32-E72D297353CC}">
                <c16:uniqueId val="{000000C9-2993-41DE-A2CB-63102DE87051}"/>
              </c:ext>
            </c:extLst>
          </c:dPt>
          <c:dPt>
            <c:idx val="100"/>
            <c:invertIfNegative val="1"/>
            <c:bubble3D val="0"/>
            <c:spPr>
              <a:solidFill>
                <a:srgbClr val="AEABAB"/>
              </a:solidFill>
            </c:spPr>
            <c:extLst>
              <c:ext xmlns:c16="http://schemas.microsoft.com/office/drawing/2014/chart" uri="{C3380CC4-5D6E-409C-BE32-E72D297353CC}">
                <c16:uniqueId val="{000000CB-2993-41DE-A2CB-63102DE87051}"/>
              </c:ext>
            </c:extLst>
          </c:dPt>
          <c:dPt>
            <c:idx val="101"/>
            <c:invertIfNegative val="1"/>
            <c:bubble3D val="0"/>
            <c:spPr>
              <a:solidFill>
                <a:srgbClr val="AEABAB"/>
              </a:solidFill>
            </c:spPr>
            <c:extLst>
              <c:ext xmlns:c16="http://schemas.microsoft.com/office/drawing/2014/chart" uri="{C3380CC4-5D6E-409C-BE32-E72D297353CC}">
                <c16:uniqueId val="{000000CD-2993-41DE-A2CB-63102DE87051}"/>
              </c:ext>
            </c:extLst>
          </c:dPt>
          <c:dPt>
            <c:idx val="102"/>
            <c:invertIfNegative val="1"/>
            <c:bubble3D val="0"/>
            <c:spPr>
              <a:solidFill>
                <a:srgbClr val="AEABAB"/>
              </a:solidFill>
            </c:spPr>
            <c:extLst>
              <c:ext xmlns:c16="http://schemas.microsoft.com/office/drawing/2014/chart" uri="{C3380CC4-5D6E-409C-BE32-E72D297353CC}">
                <c16:uniqueId val="{000000CF-2993-41DE-A2CB-63102DE87051}"/>
              </c:ext>
            </c:extLst>
          </c:dPt>
          <c:dPt>
            <c:idx val="103"/>
            <c:invertIfNegative val="1"/>
            <c:bubble3D val="0"/>
            <c:spPr>
              <a:solidFill>
                <a:srgbClr val="AEABAB"/>
              </a:solidFill>
            </c:spPr>
            <c:extLst>
              <c:ext xmlns:c16="http://schemas.microsoft.com/office/drawing/2014/chart" uri="{C3380CC4-5D6E-409C-BE32-E72D297353CC}">
                <c16:uniqueId val="{000000D1-2993-41DE-A2CB-63102DE87051}"/>
              </c:ext>
            </c:extLst>
          </c:dPt>
          <c:dPt>
            <c:idx val="104"/>
            <c:invertIfNegative val="1"/>
            <c:bubble3D val="0"/>
            <c:spPr>
              <a:solidFill>
                <a:srgbClr val="AEABAB"/>
              </a:solidFill>
            </c:spPr>
            <c:extLst>
              <c:ext xmlns:c16="http://schemas.microsoft.com/office/drawing/2014/chart" uri="{C3380CC4-5D6E-409C-BE32-E72D297353CC}">
                <c16:uniqueId val="{000000D3-2993-41DE-A2CB-63102DE87051}"/>
              </c:ext>
            </c:extLst>
          </c:dPt>
          <c:dPt>
            <c:idx val="105"/>
            <c:invertIfNegative val="1"/>
            <c:bubble3D val="0"/>
            <c:spPr>
              <a:solidFill>
                <a:srgbClr val="AEABAB"/>
              </a:solidFill>
            </c:spPr>
            <c:extLst>
              <c:ext xmlns:c16="http://schemas.microsoft.com/office/drawing/2014/chart" uri="{C3380CC4-5D6E-409C-BE32-E72D297353CC}">
                <c16:uniqueId val="{000000D5-2993-41DE-A2CB-63102DE87051}"/>
              </c:ext>
            </c:extLst>
          </c:dPt>
          <c:dPt>
            <c:idx val="106"/>
            <c:invertIfNegative val="1"/>
            <c:bubble3D val="0"/>
            <c:spPr>
              <a:solidFill>
                <a:srgbClr val="AEABAB"/>
              </a:solidFill>
            </c:spPr>
            <c:extLst>
              <c:ext xmlns:c16="http://schemas.microsoft.com/office/drawing/2014/chart" uri="{C3380CC4-5D6E-409C-BE32-E72D297353CC}">
                <c16:uniqueId val="{000000D7-2993-41DE-A2CB-63102DE87051}"/>
              </c:ext>
            </c:extLst>
          </c:dPt>
          <c:dPt>
            <c:idx val="107"/>
            <c:invertIfNegative val="1"/>
            <c:bubble3D val="0"/>
            <c:spPr>
              <a:solidFill>
                <a:srgbClr val="AEABAB"/>
              </a:solidFill>
            </c:spPr>
            <c:extLst>
              <c:ext xmlns:c16="http://schemas.microsoft.com/office/drawing/2014/chart" uri="{C3380CC4-5D6E-409C-BE32-E72D297353CC}">
                <c16:uniqueId val="{000000D9-2993-41DE-A2CB-63102DE87051}"/>
              </c:ext>
            </c:extLst>
          </c:dPt>
          <c:dPt>
            <c:idx val="108"/>
            <c:invertIfNegative val="1"/>
            <c:bubble3D val="0"/>
            <c:spPr>
              <a:solidFill>
                <a:srgbClr val="AEABAB"/>
              </a:solidFill>
            </c:spPr>
            <c:extLst>
              <c:ext xmlns:c16="http://schemas.microsoft.com/office/drawing/2014/chart" uri="{C3380CC4-5D6E-409C-BE32-E72D297353CC}">
                <c16:uniqueId val="{000000DB-2993-41DE-A2CB-63102DE87051}"/>
              </c:ext>
            </c:extLst>
          </c:dPt>
          <c:dPt>
            <c:idx val="109"/>
            <c:invertIfNegative val="1"/>
            <c:bubble3D val="0"/>
            <c:spPr>
              <a:solidFill>
                <a:srgbClr val="AEABAB"/>
              </a:solidFill>
            </c:spPr>
            <c:extLst>
              <c:ext xmlns:c16="http://schemas.microsoft.com/office/drawing/2014/chart" uri="{C3380CC4-5D6E-409C-BE32-E72D297353CC}">
                <c16:uniqueId val="{000000DD-2993-41DE-A2CB-63102DE87051}"/>
              </c:ext>
            </c:extLst>
          </c:dPt>
          <c:dPt>
            <c:idx val="110"/>
            <c:invertIfNegative val="1"/>
            <c:bubble3D val="0"/>
            <c:spPr>
              <a:solidFill>
                <a:srgbClr val="AEABAB"/>
              </a:solidFill>
            </c:spPr>
            <c:extLst>
              <c:ext xmlns:c16="http://schemas.microsoft.com/office/drawing/2014/chart" uri="{C3380CC4-5D6E-409C-BE32-E72D297353CC}">
                <c16:uniqueId val="{000000DF-2993-41DE-A2CB-63102DE87051}"/>
              </c:ext>
            </c:extLst>
          </c:dPt>
          <c:dPt>
            <c:idx val="111"/>
            <c:invertIfNegative val="1"/>
            <c:bubble3D val="0"/>
            <c:spPr>
              <a:solidFill>
                <a:srgbClr val="AEABAB"/>
              </a:solidFill>
            </c:spPr>
            <c:extLst>
              <c:ext xmlns:c16="http://schemas.microsoft.com/office/drawing/2014/chart" uri="{C3380CC4-5D6E-409C-BE32-E72D297353CC}">
                <c16:uniqueId val="{000000E1-2993-41DE-A2CB-63102DE87051}"/>
              </c:ext>
            </c:extLst>
          </c:dPt>
          <c:dPt>
            <c:idx val="112"/>
            <c:invertIfNegative val="1"/>
            <c:bubble3D val="0"/>
            <c:spPr>
              <a:solidFill>
                <a:srgbClr val="AEABAB"/>
              </a:solidFill>
            </c:spPr>
            <c:extLst>
              <c:ext xmlns:c16="http://schemas.microsoft.com/office/drawing/2014/chart" uri="{C3380CC4-5D6E-409C-BE32-E72D297353CC}">
                <c16:uniqueId val="{000000E3-2993-41DE-A2CB-63102DE87051}"/>
              </c:ext>
            </c:extLst>
          </c:dPt>
          <c:dPt>
            <c:idx val="113"/>
            <c:invertIfNegative val="1"/>
            <c:bubble3D val="0"/>
            <c:spPr>
              <a:solidFill>
                <a:srgbClr val="AEABAB"/>
              </a:solidFill>
            </c:spPr>
            <c:extLst>
              <c:ext xmlns:c16="http://schemas.microsoft.com/office/drawing/2014/chart" uri="{C3380CC4-5D6E-409C-BE32-E72D297353CC}">
                <c16:uniqueId val="{000000E5-2993-41DE-A2CB-63102DE87051}"/>
              </c:ext>
            </c:extLst>
          </c:dPt>
          <c:dPt>
            <c:idx val="114"/>
            <c:invertIfNegative val="1"/>
            <c:bubble3D val="0"/>
            <c:spPr>
              <a:solidFill>
                <a:srgbClr val="AEABAB"/>
              </a:solidFill>
            </c:spPr>
            <c:extLst>
              <c:ext xmlns:c16="http://schemas.microsoft.com/office/drawing/2014/chart" uri="{C3380CC4-5D6E-409C-BE32-E72D297353CC}">
                <c16:uniqueId val="{000000E7-2993-41DE-A2CB-63102DE87051}"/>
              </c:ext>
            </c:extLst>
          </c:dPt>
          <c:dPt>
            <c:idx val="115"/>
            <c:invertIfNegative val="1"/>
            <c:bubble3D val="0"/>
            <c:spPr>
              <a:solidFill>
                <a:srgbClr val="AEABAB"/>
              </a:solidFill>
            </c:spPr>
            <c:extLst>
              <c:ext xmlns:c16="http://schemas.microsoft.com/office/drawing/2014/chart" uri="{C3380CC4-5D6E-409C-BE32-E72D297353CC}">
                <c16:uniqueId val="{000000E9-2993-41DE-A2CB-63102DE87051}"/>
              </c:ext>
            </c:extLst>
          </c:dPt>
          <c:dPt>
            <c:idx val="116"/>
            <c:invertIfNegative val="1"/>
            <c:bubble3D val="0"/>
            <c:spPr>
              <a:solidFill>
                <a:srgbClr val="AEABAB"/>
              </a:solidFill>
            </c:spPr>
            <c:extLst>
              <c:ext xmlns:c16="http://schemas.microsoft.com/office/drawing/2014/chart" uri="{C3380CC4-5D6E-409C-BE32-E72D297353CC}">
                <c16:uniqueId val="{000000EB-2993-41DE-A2CB-63102DE87051}"/>
              </c:ext>
            </c:extLst>
          </c:dPt>
          <c:dPt>
            <c:idx val="117"/>
            <c:invertIfNegative val="1"/>
            <c:bubble3D val="0"/>
            <c:spPr>
              <a:solidFill>
                <a:srgbClr val="AEABAB"/>
              </a:solidFill>
            </c:spPr>
            <c:extLst>
              <c:ext xmlns:c16="http://schemas.microsoft.com/office/drawing/2014/chart" uri="{C3380CC4-5D6E-409C-BE32-E72D297353CC}">
                <c16:uniqueId val="{000000ED-2993-41DE-A2CB-63102DE87051}"/>
              </c:ext>
            </c:extLst>
          </c:dPt>
          <c:dPt>
            <c:idx val="118"/>
            <c:invertIfNegative val="1"/>
            <c:bubble3D val="0"/>
            <c:spPr>
              <a:solidFill>
                <a:srgbClr val="AEABAB"/>
              </a:solidFill>
            </c:spPr>
            <c:extLst>
              <c:ext xmlns:c16="http://schemas.microsoft.com/office/drawing/2014/chart" uri="{C3380CC4-5D6E-409C-BE32-E72D297353CC}">
                <c16:uniqueId val="{000000EF-2993-41DE-A2CB-63102DE87051}"/>
              </c:ext>
            </c:extLst>
          </c:dPt>
          <c:dPt>
            <c:idx val="119"/>
            <c:invertIfNegative val="1"/>
            <c:bubble3D val="0"/>
            <c:spPr>
              <a:solidFill>
                <a:srgbClr val="AEABAB"/>
              </a:solidFill>
            </c:spPr>
            <c:extLst>
              <c:ext xmlns:c16="http://schemas.microsoft.com/office/drawing/2014/chart" uri="{C3380CC4-5D6E-409C-BE32-E72D297353CC}">
                <c16:uniqueId val="{000000F1-2993-41DE-A2CB-63102DE87051}"/>
              </c:ext>
            </c:extLst>
          </c:dPt>
          <c:dPt>
            <c:idx val="120"/>
            <c:invertIfNegative val="1"/>
            <c:bubble3D val="0"/>
            <c:spPr>
              <a:solidFill>
                <a:srgbClr val="AEABAB"/>
              </a:solidFill>
            </c:spPr>
            <c:extLst>
              <c:ext xmlns:c16="http://schemas.microsoft.com/office/drawing/2014/chart" uri="{C3380CC4-5D6E-409C-BE32-E72D297353CC}">
                <c16:uniqueId val="{000000F3-2993-41DE-A2CB-63102DE87051}"/>
              </c:ext>
            </c:extLst>
          </c:dPt>
          <c:dPt>
            <c:idx val="121"/>
            <c:invertIfNegative val="1"/>
            <c:bubble3D val="0"/>
            <c:spPr>
              <a:solidFill>
                <a:srgbClr val="AEABAB"/>
              </a:solidFill>
            </c:spPr>
            <c:extLst>
              <c:ext xmlns:c16="http://schemas.microsoft.com/office/drawing/2014/chart" uri="{C3380CC4-5D6E-409C-BE32-E72D297353CC}">
                <c16:uniqueId val="{000000F5-2993-41DE-A2CB-63102DE87051}"/>
              </c:ext>
            </c:extLst>
          </c:dPt>
          <c:dPt>
            <c:idx val="122"/>
            <c:invertIfNegative val="1"/>
            <c:bubble3D val="0"/>
            <c:spPr>
              <a:solidFill>
                <a:srgbClr val="AEABAB"/>
              </a:solidFill>
            </c:spPr>
            <c:extLst>
              <c:ext xmlns:c16="http://schemas.microsoft.com/office/drawing/2014/chart" uri="{C3380CC4-5D6E-409C-BE32-E72D297353CC}">
                <c16:uniqueId val="{000000F7-2993-41DE-A2CB-63102DE87051}"/>
              </c:ext>
            </c:extLst>
          </c:dPt>
          <c:dPt>
            <c:idx val="123"/>
            <c:invertIfNegative val="1"/>
            <c:bubble3D val="0"/>
            <c:spPr>
              <a:solidFill>
                <a:srgbClr val="AEABAB"/>
              </a:solidFill>
            </c:spPr>
            <c:extLst>
              <c:ext xmlns:c16="http://schemas.microsoft.com/office/drawing/2014/chart" uri="{C3380CC4-5D6E-409C-BE32-E72D297353CC}">
                <c16:uniqueId val="{000000F9-2993-41DE-A2CB-63102DE87051}"/>
              </c:ext>
            </c:extLst>
          </c:dPt>
          <c:dPt>
            <c:idx val="124"/>
            <c:invertIfNegative val="1"/>
            <c:bubble3D val="0"/>
            <c:spPr>
              <a:solidFill>
                <a:srgbClr val="AEABAB"/>
              </a:solidFill>
            </c:spPr>
            <c:extLst>
              <c:ext xmlns:c16="http://schemas.microsoft.com/office/drawing/2014/chart" uri="{C3380CC4-5D6E-409C-BE32-E72D297353CC}">
                <c16:uniqueId val="{000000FB-2993-41DE-A2CB-63102DE87051}"/>
              </c:ext>
            </c:extLst>
          </c:dPt>
          <c:dPt>
            <c:idx val="125"/>
            <c:invertIfNegative val="1"/>
            <c:bubble3D val="0"/>
            <c:spPr>
              <a:solidFill>
                <a:srgbClr val="AEABAB"/>
              </a:solidFill>
            </c:spPr>
            <c:extLst>
              <c:ext xmlns:c16="http://schemas.microsoft.com/office/drawing/2014/chart" uri="{C3380CC4-5D6E-409C-BE32-E72D297353CC}">
                <c16:uniqueId val="{000000FD-2993-41DE-A2CB-63102DE87051}"/>
              </c:ext>
            </c:extLst>
          </c:dPt>
          <c:dPt>
            <c:idx val="126"/>
            <c:invertIfNegative val="1"/>
            <c:bubble3D val="0"/>
            <c:spPr>
              <a:solidFill>
                <a:srgbClr val="AEABAB"/>
              </a:solidFill>
            </c:spPr>
            <c:extLst>
              <c:ext xmlns:c16="http://schemas.microsoft.com/office/drawing/2014/chart" uri="{C3380CC4-5D6E-409C-BE32-E72D297353CC}">
                <c16:uniqueId val="{000000FF-2993-41DE-A2CB-63102DE87051}"/>
              </c:ext>
            </c:extLst>
          </c:dPt>
          <c:dPt>
            <c:idx val="127"/>
            <c:invertIfNegative val="1"/>
            <c:bubble3D val="0"/>
            <c:spPr>
              <a:solidFill>
                <a:srgbClr val="AEABAB"/>
              </a:solidFill>
            </c:spPr>
            <c:extLst>
              <c:ext xmlns:c16="http://schemas.microsoft.com/office/drawing/2014/chart" uri="{C3380CC4-5D6E-409C-BE32-E72D297353CC}">
                <c16:uniqueId val="{00000101-2993-41DE-A2CB-63102DE87051}"/>
              </c:ext>
            </c:extLst>
          </c:dPt>
          <c:dPt>
            <c:idx val="128"/>
            <c:invertIfNegative val="1"/>
            <c:bubble3D val="0"/>
            <c:spPr>
              <a:solidFill>
                <a:srgbClr val="AEABAB"/>
              </a:solidFill>
            </c:spPr>
            <c:extLst>
              <c:ext xmlns:c16="http://schemas.microsoft.com/office/drawing/2014/chart" uri="{C3380CC4-5D6E-409C-BE32-E72D297353CC}">
                <c16:uniqueId val="{00000103-2993-41DE-A2CB-63102DE87051}"/>
              </c:ext>
            </c:extLst>
          </c:dPt>
          <c:dPt>
            <c:idx val="129"/>
            <c:invertIfNegative val="1"/>
            <c:bubble3D val="0"/>
            <c:spPr>
              <a:solidFill>
                <a:srgbClr val="AEABAB"/>
              </a:solidFill>
            </c:spPr>
            <c:extLst>
              <c:ext xmlns:c16="http://schemas.microsoft.com/office/drawing/2014/chart" uri="{C3380CC4-5D6E-409C-BE32-E72D297353CC}">
                <c16:uniqueId val="{00000105-2993-41DE-A2CB-63102DE87051}"/>
              </c:ext>
            </c:extLst>
          </c:dPt>
          <c:dPt>
            <c:idx val="130"/>
            <c:invertIfNegative val="1"/>
            <c:bubble3D val="0"/>
            <c:spPr>
              <a:solidFill>
                <a:srgbClr val="AEABAB"/>
              </a:solidFill>
            </c:spPr>
            <c:extLst>
              <c:ext xmlns:c16="http://schemas.microsoft.com/office/drawing/2014/chart" uri="{C3380CC4-5D6E-409C-BE32-E72D297353CC}">
                <c16:uniqueId val="{00000107-2993-41DE-A2CB-63102DE87051}"/>
              </c:ext>
            </c:extLst>
          </c:dPt>
          <c:dPt>
            <c:idx val="131"/>
            <c:invertIfNegative val="1"/>
            <c:bubble3D val="0"/>
            <c:spPr>
              <a:solidFill>
                <a:srgbClr val="AEABAB"/>
              </a:solidFill>
            </c:spPr>
            <c:extLst>
              <c:ext xmlns:c16="http://schemas.microsoft.com/office/drawing/2014/chart" uri="{C3380CC4-5D6E-409C-BE32-E72D297353CC}">
                <c16:uniqueId val="{00000109-2993-41DE-A2CB-63102DE87051}"/>
              </c:ext>
            </c:extLst>
          </c:dPt>
          <c:dPt>
            <c:idx val="132"/>
            <c:invertIfNegative val="1"/>
            <c:bubble3D val="0"/>
            <c:spPr>
              <a:solidFill>
                <a:srgbClr val="AEABAB"/>
              </a:solidFill>
            </c:spPr>
            <c:extLst>
              <c:ext xmlns:c16="http://schemas.microsoft.com/office/drawing/2014/chart" uri="{C3380CC4-5D6E-409C-BE32-E72D297353CC}">
                <c16:uniqueId val="{0000010B-2993-41DE-A2CB-63102DE87051}"/>
              </c:ext>
            </c:extLst>
          </c:dPt>
          <c:dPt>
            <c:idx val="133"/>
            <c:invertIfNegative val="1"/>
            <c:bubble3D val="0"/>
            <c:spPr>
              <a:solidFill>
                <a:srgbClr val="AEABAB"/>
              </a:solidFill>
            </c:spPr>
            <c:extLst>
              <c:ext xmlns:c16="http://schemas.microsoft.com/office/drawing/2014/chart" uri="{C3380CC4-5D6E-409C-BE32-E72D297353CC}">
                <c16:uniqueId val="{0000010D-2993-41DE-A2CB-63102DE87051}"/>
              </c:ext>
            </c:extLst>
          </c:dPt>
          <c:dPt>
            <c:idx val="134"/>
            <c:invertIfNegative val="1"/>
            <c:bubble3D val="0"/>
            <c:spPr>
              <a:solidFill>
                <a:srgbClr val="AEABAB"/>
              </a:solidFill>
            </c:spPr>
            <c:extLst>
              <c:ext xmlns:c16="http://schemas.microsoft.com/office/drawing/2014/chart" uri="{C3380CC4-5D6E-409C-BE32-E72D297353CC}">
                <c16:uniqueId val="{0000010F-2993-41DE-A2CB-63102DE87051}"/>
              </c:ext>
            </c:extLst>
          </c:dPt>
          <c:dPt>
            <c:idx val="135"/>
            <c:invertIfNegative val="1"/>
            <c:bubble3D val="0"/>
            <c:spPr>
              <a:solidFill>
                <a:srgbClr val="AEABAB"/>
              </a:solidFill>
            </c:spPr>
            <c:extLst>
              <c:ext xmlns:c16="http://schemas.microsoft.com/office/drawing/2014/chart" uri="{C3380CC4-5D6E-409C-BE32-E72D297353CC}">
                <c16:uniqueId val="{00000111-2993-41DE-A2CB-63102DE87051}"/>
              </c:ext>
            </c:extLst>
          </c:dPt>
          <c:dPt>
            <c:idx val="136"/>
            <c:invertIfNegative val="1"/>
            <c:bubble3D val="0"/>
            <c:spPr>
              <a:solidFill>
                <a:srgbClr val="AEABAB"/>
              </a:solidFill>
            </c:spPr>
            <c:extLst>
              <c:ext xmlns:c16="http://schemas.microsoft.com/office/drawing/2014/chart" uri="{C3380CC4-5D6E-409C-BE32-E72D297353CC}">
                <c16:uniqueId val="{00000113-2993-41DE-A2CB-63102DE87051}"/>
              </c:ext>
            </c:extLst>
          </c:dPt>
          <c:dPt>
            <c:idx val="137"/>
            <c:invertIfNegative val="1"/>
            <c:bubble3D val="0"/>
            <c:spPr>
              <a:solidFill>
                <a:srgbClr val="AEABAB"/>
              </a:solidFill>
            </c:spPr>
            <c:extLst>
              <c:ext xmlns:c16="http://schemas.microsoft.com/office/drawing/2014/chart" uri="{C3380CC4-5D6E-409C-BE32-E72D297353CC}">
                <c16:uniqueId val="{00000115-2993-41DE-A2CB-63102DE87051}"/>
              </c:ext>
            </c:extLst>
          </c:dPt>
          <c:dPt>
            <c:idx val="138"/>
            <c:invertIfNegative val="1"/>
            <c:bubble3D val="0"/>
            <c:spPr>
              <a:solidFill>
                <a:srgbClr val="AEABAB"/>
              </a:solidFill>
            </c:spPr>
            <c:extLst>
              <c:ext xmlns:c16="http://schemas.microsoft.com/office/drawing/2014/chart" uri="{C3380CC4-5D6E-409C-BE32-E72D297353CC}">
                <c16:uniqueId val="{00000117-2993-41DE-A2CB-63102DE87051}"/>
              </c:ext>
            </c:extLst>
          </c:dPt>
          <c:dPt>
            <c:idx val="139"/>
            <c:invertIfNegative val="1"/>
            <c:bubble3D val="0"/>
            <c:spPr>
              <a:solidFill>
                <a:srgbClr val="AEABAB"/>
              </a:solidFill>
            </c:spPr>
            <c:extLst>
              <c:ext xmlns:c16="http://schemas.microsoft.com/office/drawing/2014/chart" uri="{C3380CC4-5D6E-409C-BE32-E72D297353CC}">
                <c16:uniqueId val="{00000119-2993-41DE-A2CB-63102DE87051}"/>
              </c:ext>
            </c:extLst>
          </c:dPt>
          <c:dPt>
            <c:idx val="140"/>
            <c:invertIfNegative val="1"/>
            <c:bubble3D val="0"/>
            <c:spPr>
              <a:solidFill>
                <a:srgbClr val="AEABAB"/>
              </a:solidFill>
            </c:spPr>
            <c:extLst>
              <c:ext xmlns:c16="http://schemas.microsoft.com/office/drawing/2014/chart" uri="{C3380CC4-5D6E-409C-BE32-E72D297353CC}">
                <c16:uniqueId val="{0000011B-2993-41DE-A2CB-63102DE87051}"/>
              </c:ext>
            </c:extLst>
          </c:dPt>
          <c:dPt>
            <c:idx val="141"/>
            <c:invertIfNegative val="1"/>
            <c:bubble3D val="0"/>
            <c:spPr>
              <a:solidFill>
                <a:srgbClr val="AEABAB"/>
              </a:solidFill>
            </c:spPr>
            <c:extLst>
              <c:ext xmlns:c16="http://schemas.microsoft.com/office/drawing/2014/chart" uri="{C3380CC4-5D6E-409C-BE32-E72D297353CC}">
                <c16:uniqueId val="{0000011D-2993-41DE-A2CB-63102DE87051}"/>
              </c:ext>
            </c:extLst>
          </c:dPt>
          <c:dPt>
            <c:idx val="142"/>
            <c:invertIfNegative val="1"/>
            <c:bubble3D val="0"/>
            <c:spPr>
              <a:solidFill>
                <a:srgbClr val="AEABAB"/>
              </a:solidFill>
            </c:spPr>
            <c:extLst>
              <c:ext xmlns:c16="http://schemas.microsoft.com/office/drawing/2014/chart" uri="{C3380CC4-5D6E-409C-BE32-E72D297353CC}">
                <c16:uniqueId val="{0000011F-2993-41DE-A2CB-63102DE87051}"/>
              </c:ext>
            </c:extLst>
          </c:dPt>
          <c:dPt>
            <c:idx val="143"/>
            <c:invertIfNegative val="1"/>
            <c:bubble3D val="0"/>
            <c:spPr>
              <a:solidFill>
                <a:srgbClr val="AEABAB"/>
              </a:solidFill>
            </c:spPr>
            <c:extLst>
              <c:ext xmlns:c16="http://schemas.microsoft.com/office/drawing/2014/chart" uri="{C3380CC4-5D6E-409C-BE32-E72D297353CC}">
                <c16:uniqueId val="{00000121-2993-41DE-A2CB-63102DE87051}"/>
              </c:ext>
            </c:extLst>
          </c:dPt>
          <c:dPt>
            <c:idx val="144"/>
            <c:invertIfNegative val="1"/>
            <c:bubble3D val="0"/>
            <c:spPr>
              <a:solidFill>
                <a:srgbClr val="AEABAB"/>
              </a:solidFill>
            </c:spPr>
            <c:extLst>
              <c:ext xmlns:c16="http://schemas.microsoft.com/office/drawing/2014/chart" uri="{C3380CC4-5D6E-409C-BE32-E72D297353CC}">
                <c16:uniqueId val="{00000123-2993-41DE-A2CB-63102DE87051}"/>
              </c:ext>
            </c:extLst>
          </c:dPt>
          <c:dPt>
            <c:idx val="145"/>
            <c:invertIfNegative val="1"/>
            <c:bubble3D val="0"/>
            <c:spPr>
              <a:solidFill>
                <a:srgbClr val="AEABAB"/>
              </a:solidFill>
            </c:spPr>
            <c:extLst>
              <c:ext xmlns:c16="http://schemas.microsoft.com/office/drawing/2014/chart" uri="{C3380CC4-5D6E-409C-BE32-E72D297353CC}">
                <c16:uniqueId val="{00000125-2993-41DE-A2CB-63102DE87051}"/>
              </c:ext>
            </c:extLst>
          </c:dPt>
          <c:dPt>
            <c:idx val="146"/>
            <c:invertIfNegative val="1"/>
            <c:bubble3D val="0"/>
            <c:spPr>
              <a:solidFill>
                <a:srgbClr val="AEABAB"/>
              </a:solidFill>
            </c:spPr>
            <c:extLst>
              <c:ext xmlns:c16="http://schemas.microsoft.com/office/drawing/2014/chart" uri="{C3380CC4-5D6E-409C-BE32-E72D297353CC}">
                <c16:uniqueId val="{00000127-2993-41DE-A2CB-63102DE87051}"/>
              </c:ext>
            </c:extLst>
          </c:dPt>
          <c:dPt>
            <c:idx val="147"/>
            <c:invertIfNegative val="1"/>
            <c:bubble3D val="0"/>
            <c:spPr>
              <a:solidFill>
                <a:srgbClr val="AEABAB"/>
              </a:solidFill>
            </c:spPr>
            <c:extLst>
              <c:ext xmlns:c16="http://schemas.microsoft.com/office/drawing/2014/chart" uri="{C3380CC4-5D6E-409C-BE32-E72D297353CC}">
                <c16:uniqueId val="{00000129-2993-41DE-A2CB-63102DE87051}"/>
              </c:ext>
            </c:extLst>
          </c:dPt>
          <c:dPt>
            <c:idx val="148"/>
            <c:invertIfNegative val="1"/>
            <c:bubble3D val="0"/>
            <c:spPr>
              <a:solidFill>
                <a:srgbClr val="AEABAB"/>
              </a:solidFill>
            </c:spPr>
            <c:extLst>
              <c:ext xmlns:c16="http://schemas.microsoft.com/office/drawing/2014/chart" uri="{C3380CC4-5D6E-409C-BE32-E72D297353CC}">
                <c16:uniqueId val="{0000012B-2993-41DE-A2CB-63102DE87051}"/>
              </c:ext>
            </c:extLst>
          </c:dPt>
          <c:dPt>
            <c:idx val="149"/>
            <c:invertIfNegative val="1"/>
            <c:bubble3D val="0"/>
            <c:spPr>
              <a:solidFill>
                <a:srgbClr val="AEABAB"/>
              </a:solidFill>
            </c:spPr>
            <c:extLst>
              <c:ext xmlns:c16="http://schemas.microsoft.com/office/drawing/2014/chart" uri="{C3380CC4-5D6E-409C-BE32-E72D297353CC}">
                <c16:uniqueId val="{0000012D-2993-41DE-A2CB-63102DE87051}"/>
              </c:ext>
            </c:extLst>
          </c:dPt>
          <c:dPt>
            <c:idx val="150"/>
            <c:invertIfNegative val="1"/>
            <c:bubble3D val="0"/>
            <c:spPr>
              <a:solidFill>
                <a:srgbClr val="AEABAB"/>
              </a:solidFill>
            </c:spPr>
            <c:extLst>
              <c:ext xmlns:c16="http://schemas.microsoft.com/office/drawing/2014/chart" uri="{C3380CC4-5D6E-409C-BE32-E72D297353CC}">
                <c16:uniqueId val="{0000012F-2993-41DE-A2CB-63102DE87051}"/>
              </c:ext>
            </c:extLst>
          </c:dPt>
          <c:dPt>
            <c:idx val="151"/>
            <c:invertIfNegative val="1"/>
            <c:bubble3D val="0"/>
            <c:spPr>
              <a:solidFill>
                <a:srgbClr val="AEABAB"/>
              </a:solidFill>
            </c:spPr>
            <c:extLst>
              <c:ext xmlns:c16="http://schemas.microsoft.com/office/drawing/2014/chart" uri="{C3380CC4-5D6E-409C-BE32-E72D297353CC}">
                <c16:uniqueId val="{00000131-2993-41DE-A2CB-63102DE87051}"/>
              </c:ext>
            </c:extLst>
          </c:dPt>
          <c:dPt>
            <c:idx val="152"/>
            <c:invertIfNegative val="1"/>
            <c:bubble3D val="0"/>
            <c:spPr>
              <a:solidFill>
                <a:srgbClr val="AEABAB"/>
              </a:solidFill>
            </c:spPr>
            <c:extLst>
              <c:ext xmlns:c16="http://schemas.microsoft.com/office/drawing/2014/chart" uri="{C3380CC4-5D6E-409C-BE32-E72D297353CC}">
                <c16:uniqueId val="{00000133-2993-41DE-A2CB-63102DE87051}"/>
              </c:ext>
            </c:extLst>
          </c:dPt>
          <c:dPt>
            <c:idx val="153"/>
            <c:invertIfNegative val="1"/>
            <c:bubble3D val="0"/>
            <c:spPr>
              <a:solidFill>
                <a:srgbClr val="AEABAB"/>
              </a:solidFill>
            </c:spPr>
            <c:extLst>
              <c:ext xmlns:c16="http://schemas.microsoft.com/office/drawing/2014/chart" uri="{C3380CC4-5D6E-409C-BE32-E72D297353CC}">
                <c16:uniqueId val="{00000135-2993-41DE-A2CB-63102DE87051}"/>
              </c:ext>
            </c:extLst>
          </c:dPt>
          <c:dPt>
            <c:idx val="154"/>
            <c:invertIfNegative val="1"/>
            <c:bubble3D val="0"/>
            <c:spPr>
              <a:solidFill>
                <a:srgbClr val="AEABAB"/>
              </a:solidFill>
            </c:spPr>
            <c:extLst>
              <c:ext xmlns:c16="http://schemas.microsoft.com/office/drawing/2014/chart" uri="{C3380CC4-5D6E-409C-BE32-E72D297353CC}">
                <c16:uniqueId val="{00000137-2993-41DE-A2CB-63102DE87051}"/>
              </c:ext>
            </c:extLst>
          </c:dPt>
          <c:dPt>
            <c:idx val="155"/>
            <c:invertIfNegative val="1"/>
            <c:bubble3D val="0"/>
            <c:spPr>
              <a:solidFill>
                <a:srgbClr val="AEABAB"/>
              </a:solidFill>
            </c:spPr>
            <c:extLst>
              <c:ext xmlns:c16="http://schemas.microsoft.com/office/drawing/2014/chart" uri="{C3380CC4-5D6E-409C-BE32-E72D297353CC}">
                <c16:uniqueId val="{00000139-2993-41DE-A2CB-63102DE87051}"/>
              </c:ext>
            </c:extLst>
          </c:dPt>
          <c:dPt>
            <c:idx val="156"/>
            <c:invertIfNegative val="1"/>
            <c:bubble3D val="0"/>
            <c:spPr>
              <a:solidFill>
                <a:srgbClr val="AEABAB"/>
              </a:solidFill>
            </c:spPr>
            <c:extLst>
              <c:ext xmlns:c16="http://schemas.microsoft.com/office/drawing/2014/chart" uri="{C3380CC4-5D6E-409C-BE32-E72D297353CC}">
                <c16:uniqueId val="{0000013B-2993-41DE-A2CB-63102DE87051}"/>
              </c:ext>
            </c:extLst>
          </c:dPt>
          <c:dPt>
            <c:idx val="157"/>
            <c:invertIfNegative val="1"/>
            <c:bubble3D val="0"/>
            <c:spPr>
              <a:solidFill>
                <a:srgbClr val="AEABAB"/>
              </a:solidFill>
            </c:spPr>
            <c:extLst>
              <c:ext xmlns:c16="http://schemas.microsoft.com/office/drawing/2014/chart" uri="{C3380CC4-5D6E-409C-BE32-E72D297353CC}">
                <c16:uniqueId val="{0000013D-2993-41DE-A2CB-63102DE87051}"/>
              </c:ext>
            </c:extLst>
          </c:dPt>
          <c:dPt>
            <c:idx val="158"/>
            <c:invertIfNegative val="1"/>
            <c:bubble3D val="0"/>
            <c:spPr>
              <a:solidFill>
                <a:srgbClr val="AEABAB"/>
              </a:solidFill>
            </c:spPr>
            <c:extLst>
              <c:ext xmlns:c16="http://schemas.microsoft.com/office/drawing/2014/chart" uri="{C3380CC4-5D6E-409C-BE32-E72D297353CC}">
                <c16:uniqueId val="{0000013F-2993-41DE-A2CB-63102DE87051}"/>
              </c:ext>
            </c:extLst>
          </c:dPt>
          <c:dPt>
            <c:idx val="159"/>
            <c:invertIfNegative val="1"/>
            <c:bubble3D val="0"/>
            <c:spPr>
              <a:solidFill>
                <a:srgbClr val="AEABAB"/>
              </a:solidFill>
            </c:spPr>
            <c:extLst>
              <c:ext xmlns:c16="http://schemas.microsoft.com/office/drawing/2014/chart" uri="{C3380CC4-5D6E-409C-BE32-E72D297353CC}">
                <c16:uniqueId val="{00000141-2993-41DE-A2CB-63102DE87051}"/>
              </c:ext>
            </c:extLst>
          </c:dPt>
          <c:dPt>
            <c:idx val="160"/>
            <c:invertIfNegative val="1"/>
            <c:bubble3D val="0"/>
            <c:spPr>
              <a:solidFill>
                <a:srgbClr val="AEABAB"/>
              </a:solidFill>
            </c:spPr>
            <c:extLst>
              <c:ext xmlns:c16="http://schemas.microsoft.com/office/drawing/2014/chart" uri="{C3380CC4-5D6E-409C-BE32-E72D297353CC}">
                <c16:uniqueId val="{00000143-2993-41DE-A2CB-63102DE87051}"/>
              </c:ext>
            </c:extLst>
          </c:dPt>
          <c:dPt>
            <c:idx val="161"/>
            <c:invertIfNegative val="1"/>
            <c:bubble3D val="0"/>
            <c:spPr>
              <a:solidFill>
                <a:srgbClr val="AEABAB"/>
              </a:solidFill>
            </c:spPr>
            <c:extLst>
              <c:ext xmlns:c16="http://schemas.microsoft.com/office/drawing/2014/chart" uri="{C3380CC4-5D6E-409C-BE32-E72D297353CC}">
                <c16:uniqueId val="{00000145-2993-41DE-A2CB-63102DE87051}"/>
              </c:ext>
            </c:extLst>
          </c:dPt>
          <c:dPt>
            <c:idx val="162"/>
            <c:invertIfNegative val="1"/>
            <c:bubble3D val="0"/>
            <c:spPr>
              <a:solidFill>
                <a:srgbClr val="AEABAB"/>
              </a:solidFill>
            </c:spPr>
            <c:extLst>
              <c:ext xmlns:c16="http://schemas.microsoft.com/office/drawing/2014/chart" uri="{C3380CC4-5D6E-409C-BE32-E72D297353CC}">
                <c16:uniqueId val="{00000147-2993-41DE-A2CB-63102DE87051}"/>
              </c:ext>
            </c:extLst>
          </c:dPt>
          <c:dPt>
            <c:idx val="163"/>
            <c:invertIfNegative val="1"/>
            <c:bubble3D val="0"/>
            <c:spPr>
              <a:solidFill>
                <a:srgbClr val="AEABAB"/>
              </a:solidFill>
            </c:spPr>
            <c:extLst>
              <c:ext xmlns:c16="http://schemas.microsoft.com/office/drawing/2014/chart" uri="{C3380CC4-5D6E-409C-BE32-E72D297353CC}">
                <c16:uniqueId val="{00000149-2993-41DE-A2CB-63102DE87051}"/>
              </c:ext>
            </c:extLst>
          </c:dPt>
          <c:dPt>
            <c:idx val="164"/>
            <c:invertIfNegative val="1"/>
            <c:bubble3D val="0"/>
            <c:spPr>
              <a:solidFill>
                <a:srgbClr val="AEABAB"/>
              </a:solidFill>
            </c:spPr>
            <c:extLst>
              <c:ext xmlns:c16="http://schemas.microsoft.com/office/drawing/2014/chart" uri="{C3380CC4-5D6E-409C-BE32-E72D297353CC}">
                <c16:uniqueId val="{0000014B-2993-41DE-A2CB-63102DE87051}"/>
              </c:ext>
            </c:extLst>
          </c:dPt>
          <c:dPt>
            <c:idx val="165"/>
            <c:invertIfNegative val="1"/>
            <c:bubble3D val="0"/>
            <c:spPr>
              <a:solidFill>
                <a:srgbClr val="AEABAB"/>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167</c:f>
              <c:strCache>
                <c:ptCount val="166"/>
                <c:pt idx="0">
                  <c:v>Private Lab</c:v>
                </c:pt>
                <c:pt idx="1">
                  <c:v>Private Lab</c:v>
                </c:pt>
                <c:pt idx="2">
                  <c:v>Private Lab</c:v>
                </c:pt>
                <c:pt idx="3">
                  <c:v>Private Lab</c:v>
                </c:pt>
                <c:pt idx="4">
                  <c:v>Galbani</c:v>
                </c:pt>
                <c:pt idx="5">
                  <c:v>Private Lab</c:v>
                </c:pt>
                <c:pt idx="6">
                  <c:v>Galbani</c:v>
                </c:pt>
                <c:pt idx="7">
                  <c:v>Private Lab</c:v>
                </c:pt>
                <c:pt idx="8">
                  <c:v>Galbani</c:v>
                </c:pt>
                <c:pt idx="9">
                  <c:v>Salakis</c:v>
                </c:pt>
                <c:pt idx="10">
                  <c:v>Private Lab</c:v>
                </c:pt>
                <c:pt idx="11">
                  <c:v>Private Lab</c:v>
                </c:pt>
                <c:pt idx="12">
                  <c:v>Private Lab</c:v>
                </c:pt>
                <c:pt idx="13">
                  <c:v>Galbani</c:v>
                </c:pt>
                <c:pt idx="14">
                  <c:v>Islos</c:v>
                </c:pt>
                <c:pt idx="15">
                  <c:v>Salakis</c:v>
                </c:pt>
                <c:pt idx="16">
                  <c:v>Galbani</c:v>
                </c:pt>
                <c:pt idx="17">
                  <c:v>All Others</c:v>
                </c:pt>
                <c:pt idx="18">
                  <c:v>Private Lab</c:v>
                </c:pt>
                <c:pt idx="19">
                  <c:v>Private Lab</c:v>
                </c:pt>
                <c:pt idx="20">
                  <c:v>Galbani</c:v>
                </c:pt>
                <c:pt idx="21">
                  <c:v>Salakis</c:v>
                </c:pt>
                <c:pt idx="22">
                  <c:v>Casa Azzurr</c:v>
                </c:pt>
                <c:pt idx="23">
                  <c:v>Private Lab</c:v>
                </c:pt>
                <c:pt idx="24">
                  <c:v>Casa Azzurr</c:v>
                </c:pt>
                <c:pt idx="25">
                  <c:v>Casa Azzurr</c:v>
                </c:pt>
                <c:pt idx="26">
                  <c:v>Casa Azzurr</c:v>
                </c:pt>
                <c:pt idx="27">
                  <c:v>Galbani</c:v>
                </c:pt>
                <c:pt idx="28">
                  <c:v>Casa Azzurr</c:v>
                </c:pt>
                <c:pt idx="29">
                  <c:v>Salakis</c:v>
                </c:pt>
                <c:pt idx="30">
                  <c:v>Boursin</c:v>
                </c:pt>
                <c:pt idx="31">
                  <c:v>Salakis</c:v>
                </c:pt>
                <c:pt idx="32">
                  <c:v>Casa Azzurr</c:v>
                </c:pt>
                <c:pt idx="33">
                  <c:v>Private Lab</c:v>
                </c:pt>
                <c:pt idx="34">
                  <c:v>Private Lab</c:v>
                </c:pt>
                <c:pt idx="35">
                  <c:v>Private Lab</c:v>
                </c:pt>
                <c:pt idx="36">
                  <c:v>Private Lab</c:v>
                </c:pt>
                <c:pt idx="37">
                  <c:v>Galbani</c:v>
                </c:pt>
                <c:pt idx="38">
                  <c:v>Galbani</c:v>
                </c:pt>
                <c:pt idx="39">
                  <c:v>Private Lab</c:v>
                </c:pt>
                <c:pt idx="40">
                  <c:v>Private Lab</c:v>
                </c:pt>
                <c:pt idx="41">
                  <c:v>All Others</c:v>
                </c:pt>
                <c:pt idx="42">
                  <c:v>Galbani</c:v>
                </c:pt>
                <c:pt idx="43">
                  <c:v>Salakis</c:v>
                </c:pt>
                <c:pt idx="44">
                  <c:v>Casa Azzurr</c:v>
                </c:pt>
                <c:pt idx="45">
                  <c:v>Private Lab</c:v>
                </c:pt>
                <c:pt idx="46">
                  <c:v>Casa Azzurr</c:v>
                </c:pt>
                <c:pt idx="47">
                  <c:v>Lactalis: A</c:v>
                </c:pt>
                <c:pt idx="48">
                  <c:v>Casa Azzurr</c:v>
                </c:pt>
                <c:pt idx="49">
                  <c:v>Islos</c:v>
                </c:pt>
                <c:pt idx="50">
                  <c:v>Private Lab</c:v>
                </c:pt>
                <c:pt idx="51">
                  <c:v>All Others</c:v>
                </c:pt>
                <c:pt idx="52">
                  <c:v>Boursin</c:v>
                </c:pt>
                <c:pt idx="53">
                  <c:v>Galbani</c:v>
                </c:pt>
                <c:pt idx="54">
                  <c:v>Salakis</c:v>
                </c:pt>
                <c:pt idx="55">
                  <c:v>Galbani</c:v>
                </c:pt>
                <c:pt idx="56">
                  <c:v>All Others</c:v>
                </c:pt>
                <c:pt idx="57">
                  <c:v>Boursin</c:v>
                </c:pt>
                <c:pt idx="58">
                  <c:v>All Others</c:v>
                </c:pt>
                <c:pt idx="59">
                  <c:v>All Others</c:v>
                </c:pt>
                <c:pt idx="60">
                  <c:v>Galbani</c:v>
                </c:pt>
                <c:pt idx="61">
                  <c:v>All Others</c:v>
                </c:pt>
                <c:pt idx="62">
                  <c:v>Islos</c:v>
                </c:pt>
                <c:pt idx="63">
                  <c:v>Galbani</c:v>
                </c:pt>
                <c:pt idx="64">
                  <c:v>All Others</c:v>
                </c:pt>
                <c:pt idx="65">
                  <c:v>Boursin</c:v>
                </c:pt>
                <c:pt idx="66">
                  <c:v>All Others</c:v>
                </c:pt>
                <c:pt idx="67">
                  <c:v>All Others</c:v>
                </c:pt>
                <c:pt idx="68">
                  <c:v>All Others</c:v>
                </c:pt>
                <c:pt idx="69">
                  <c:v>All Others</c:v>
                </c:pt>
                <c:pt idx="70">
                  <c:v>All Others</c:v>
                </c:pt>
                <c:pt idx="71">
                  <c:v>All Others</c:v>
                </c:pt>
                <c:pt idx="72">
                  <c:v>Boursin</c:v>
                </c:pt>
                <c:pt idx="73">
                  <c:v>All Others</c:v>
                </c:pt>
                <c:pt idx="74">
                  <c:v>All Others</c:v>
                </c:pt>
                <c:pt idx="75">
                  <c:v>All Others</c:v>
                </c:pt>
                <c:pt idx="76">
                  <c:v>All Others</c:v>
                </c:pt>
                <c:pt idx="77">
                  <c:v>All Others</c:v>
                </c:pt>
                <c:pt idx="78">
                  <c:v>All Others</c:v>
                </c:pt>
                <c:pt idx="79">
                  <c:v>All Others</c:v>
                </c:pt>
                <c:pt idx="80">
                  <c:v>Private Lab</c:v>
                </c:pt>
                <c:pt idx="81">
                  <c:v>All Others</c:v>
                </c:pt>
                <c:pt idx="82">
                  <c:v>Boursin</c:v>
                </c:pt>
                <c:pt idx="83">
                  <c:v>All Others</c:v>
                </c:pt>
                <c:pt idx="84">
                  <c:v>All Others</c:v>
                </c:pt>
                <c:pt idx="85">
                  <c:v>Salakis</c:v>
                </c:pt>
                <c:pt idx="86">
                  <c:v>All Others</c:v>
                </c:pt>
                <c:pt idx="87">
                  <c:v>Entremont</c:v>
                </c:pt>
                <c:pt idx="88">
                  <c:v>Salakis</c:v>
                </c:pt>
                <c:pt idx="89">
                  <c:v>All Others</c:v>
                </c:pt>
                <c:pt idx="90">
                  <c:v>All Others</c:v>
                </c:pt>
                <c:pt idx="91">
                  <c:v>Entremont</c:v>
                </c:pt>
                <c:pt idx="92">
                  <c:v>All Others</c:v>
                </c:pt>
                <c:pt idx="93">
                  <c:v>All Others</c:v>
                </c:pt>
                <c:pt idx="94">
                  <c:v>All Others</c:v>
                </c:pt>
                <c:pt idx="95">
                  <c:v>All Others</c:v>
                </c:pt>
                <c:pt idx="96">
                  <c:v>All Others</c:v>
                </c:pt>
                <c:pt idx="97">
                  <c:v>All Others</c:v>
                </c:pt>
                <c:pt idx="98">
                  <c:v>Casa Azzurr</c:v>
                </c:pt>
                <c:pt idx="99">
                  <c:v>All Others</c:v>
                </c:pt>
                <c:pt idx="100">
                  <c:v>All Others</c:v>
                </c:pt>
                <c:pt idx="101">
                  <c:v>All Others</c:v>
                </c:pt>
                <c:pt idx="102">
                  <c:v>All Others</c:v>
                </c:pt>
                <c:pt idx="103">
                  <c:v>All Others</c:v>
                </c:pt>
                <c:pt idx="104">
                  <c:v>All Others</c:v>
                </c:pt>
                <c:pt idx="105">
                  <c:v>All Others</c:v>
                </c:pt>
                <c:pt idx="106">
                  <c:v>All Others</c:v>
                </c:pt>
                <c:pt idx="107">
                  <c:v>Entremont</c:v>
                </c:pt>
                <c:pt idx="108">
                  <c:v>All Others</c:v>
                </c:pt>
                <c:pt idx="109">
                  <c:v>All Others</c:v>
                </c:pt>
                <c:pt idx="110">
                  <c:v>All Others</c:v>
                </c:pt>
                <c:pt idx="111">
                  <c:v>All Others</c:v>
                </c:pt>
                <c:pt idx="112">
                  <c:v>All Others</c:v>
                </c:pt>
                <c:pt idx="113">
                  <c:v>All Others</c:v>
                </c:pt>
                <c:pt idx="114">
                  <c:v>All Others</c:v>
                </c:pt>
                <c:pt idx="115">
                  <c:v>All Others</c:v>
                </c:pt>
                <c:pt idx="116">
                  <c:v>All Others</c:v>
                </c:pt>
                <c:pt idx="117">
                  <c:v>All Others</c:v>
                </c:pt>
                <c:pt idx="118">
                  <c:v>All Others</c:v>
                </c:pt>
                <c:pt idx="119">
                  <c:v>All Others</c:v>
                </c:pt>
                <c:pt idx="120">
                  <c:v>All Others</c:v>
                </c:pt>
                <c:pt idx="121">
                  <c:v>All Others</c:v>
                </c:pt>
                <c:pt idx="122">
                  <c:v>All Others</c:v>
                </c:pt>
                <c:pt idx="123">
                  <c:v>All Others</c:v>
                </c:pt>
                <c:pt idx="124">
                  <c:v>Savencia: A</c:v>
                </c:pt>
                <c:pt idx="125">
                  <c:v>All Others</c:v>
                </c:pt>
                <c:pt idx="126">
                  <c:v>All Others</c:v>
                </c:pt>
                <c:pt idx="127">
                  <c:v>All Others</c:v>
                </c:pt>
                <c:pt idx="128">
                  <c:v>All Others</c:v>
                </c:pt>
                <c:pt idx="129">
                  <c:v>All Others</c:v>
                </c:pt>
                <c:pt idx="130">
                  <c:v>All Others</c:v>
                </c:pt>
                <c:pt idx="131">
                  <c:v>All Others</c:v>
                </c:pt>
                <c:pt idx="132">
                  <c:v>Savencia: A</c:v>
                </c:pt>
                <c:pt idx="133">
                  <c:v>All Others</c:v>
                </c:pt>
                <c:pt idx="134">
                  <c:v>All Others</c:v>
                </c:pt>
                <c:pt idx="135">
                  <c:v>All Others</c:v>
                </c:pt>
                <c:pt idx="136">
                  <c:v>All Others</c:v>
                </c:pt>
                <c:pt idx="137">
                  <c:v>All Others</c:v>
                </c:pt>
                <c:pt idx="138">
                  <c:v>All Others</c:v>
                </c:pt>
                <c:pt idx="139">
                  <c:v>All Others</c:v>
                </c:pt>
                <c:pt idx="140">
                  <c:v>All Others</c:v>
                </c:pt>
                <c:pt idx="141">
                  <c:v>All Others</c:v>
                </c:pt>
                <c:pt idx="142">
                  <c:v>All Others</c:v>
                </c:pt>
                <c:pt idx="143">
                  <c:v>All Others</c:v>
                </c:pt>
                <c:pt idx="144">
                  <c:v>All Others</c:v>
                </c:pt>
                <c:pt idx="145">
                  <c:v>All Others</c:v>
                </c:pt>
                <c:pt idx="146">
                  <c:v>All Others</c:v>
                </c:pt>
                <c:pt idx="147">
                  <c:v>All Others</c:v>
                </c:pt>
                <c:pt idx="148">
                  <c:v>All Others</c:v>
                </c:pt>
                <c:pt idx="149">
                  <c:v>All Others</c:v>
                </c:pt>
                <c:pt idx="150">
                  <c:v>All Others</c:v>
                </c:pt>
                <c:pt idx="151">
                  <c:v>All Others</c:v>
                </c:pt>
                <c:pt idx="152">
                  <c:v>All Others</c:v>
                </c:pt>
                <c:pt idx="153">
                  <c:v>All Others</c:v>
                </c:pt>
                <c:pt idx="154">
                  <c:v>All Others</c:v>
                </c:pt>
                <c:pt idx="155">
                  <c:v>All Others</c:v>
                </c:pt>
                <c:pt idx="156">
                  <c:v>All Others</c:v>
                </c:pt>
                <c:pt idx="157">
                  <c:v>All Others</c:v>
                </c:pt>
                <c:pt idx="158">
                  <c:v>All Others</c:v>
                </c:pt>
                <c:pt idx="159">
                  <c:v>All Others</c:v>
                </c:pt>
                <c:pt idx="160">
                  <c:v>All Others</c:v>
                </c:pt>
                <c:pt idx="161">
                  <c:v>All Others</c:v>
                </c:pt>
                <c:pt idx="162">
                  <c:v>All Others</c:v>
                </c:pt>
                <c:pt idx="163">
                  <c:v>All Others</c:v>
                </c:pt>
                <c:pt idx="164">
                  <c:v>All Others</c:v>
                </c:pt>
                <c:pt idx="165">
                  <c:v>All Others</c:v>
                </c:pt>
              </c:strCache>
            </c:strRef>
          </c:cat>
          <c:val>
            <c:numRef>
              <c:f>Sheet1!$C$2:$C$167</c:f>
              <c:numCache>
                <c:formatCode>General</c:formatCode>
                <c:ptCount val="166"/>
                <c:pt idx="0">
                  <c:v>0.08980536276254968</c:v>
                </c:pt>
                <c:pt idx="1">
                  <c:v>0.15628046051152683</c:v>
                </c:pt>
                <c:pt idx="2">
                  <c:v>0.2172046985208721</c:v>
                </c:pt>
                <c:pt idx="3">
                  <c:v>0.2571661521570411</c:v>
                </c:pt>
                <c:pt idx="4">
                  <c:v>0.2951955765774753</c:v>
                </c:pt>
                <c:pt idx="5">
                  <c:v>0.3326342767626122</c:v>
                </c:pt>
                <c:pt idx="6">
                  <c:v>0.3675687492810118</c:v>
                </c:pt>
                <c:pt idx="7">
                  <c:v>0.40233668072822504</c:v>
                </c:pt>
                <c:pt idx="8">
                  <c:v>0.43617533082371557</c:v>
                </c:pt>
                <c:pt idx="9">
                  <c:v>0.46902434752792505</c:v>
                </c:pt>
                <c:pt idx="10">
                  <c:v>0.5012199961076754</c:v>
                </c:pt>
                <c:pt idx="11">
                  <c:v>0.5299844275185692</c:v>
                </c:pt>
                <c:pt idx="12">
                  <c:v>0.5548459027172232</c:v>
                </c:pt>
                <c:pt idx="13">
                  <c:v>0.5769880346988576</c:v>
                </c:pt>
                <c:pt idx="14">
                  <c:v>0.5983751295611228</c:v>
                </c:pt>
                <c:pt idx="15">
                  <c:v>0.6186760786988048</c:v>
                </c:pt>
                <c:pt idx="16">
                  <c:v>0.6386159978614495</c:v>
                </c:pt>
                <c:pt idx="17">
                  <c:v>0.658141856195732</c:v>
                </c:pt>
                <c:pt idx="18">
                  <c:v>0.6769218448090591</c:v>
                </c:pt>
                <c:pt idx="19">
                  <c:v>0.6940957561502578</c:v>
                </c:pt>
                <c:pt idx="20">
                  <c:v>0.7103709441344468</c:v>
                </c:pt>
                <c:pt idx="21">
                  <c:v>0.7264913049454229</c:v>
                </c:pt>
                <c:pt idx="22">
                  <c:v>0.7413420447385592</c:v>
                </c:pt>
                <c:pt idx="23">
                  <c:v>0.755470406269176</c:v>
                </c:pt>
                <c:pt idx="24">
                  <c:v>0.7675094922362637</c:v>
                </c:pt>
                <c:pt idx="25">
                  <c:v>0.7795314529938142</c:v>
                </c:pt>
                <c:pt idx="26">
                  <c:v>0.7911554595327158</c:v>
                </c:pt>
                <c:pt idx="27">
                  <c:v>0.8011789274360306</c:v>
                </c:pt>
                <c:pt idx="28">
                  <c:v>0.8103858602556161</c:v>
                </c:pt>
                <c:pt idx="29">
                  <c:v>0.8194882592682873</c:v>
                </c:pt>
                <c:pt idx="30">
                  <c:v>0.828588111781399</c:v>
                </c:pt>
                <c:pt idx="31">
                  <c:v>0.8372531494947392</c:v>
                </c:pt>
                <c:pt idx="32">
                  <c:v>0.8452496037487526</c:v>
                </c:pt>
                <c:pt idx="33">
                  <c:v>0.852923607496054</c:v>
                </c:pt>
                <c:pt idx="34">
                  <c:v>0.8603037451941979</c:v>
                </c:pt>
                <c:pt idx="35">
                  <c:v>0.8675761022984892</c:v>
                </c:pt>
                <c:pt idx="36">
                  <c:v>0.8747855608636628</c:v>
                </c:pt>
                <c:pt idx="37">
                  <c:v>0.8818140906351393</c:v>
                </c:pt>
                <c:pt idx="38">
                  <c:v>0.8886891301456715</c:v>
                </c:pt>
                <c:pt idx="39">
                  <c:v>0.8951249621446922</c:v>
                </c:pt>
                <c:pt idx="40">
                  <c:v>0.9010390800464758</c:v>
                </c:pt>
                <c:pt idx="41">
                  <c:v>0.9068090660731961</c:v>
                </c:pt>
                <c:pt idx="42">
                  <c:v>0.9123934122820344</c:v>
                </c:pt>
                <c:pt idx="43">
                  <c:v>0.9175259458065419</c:v>
                </c:pt>
                <c:pt idx="44">
                  <c:v>0.9224560326160752</c:v>
                </c:pt>
                <c:pt idx="45">
                  <c:v>0.9267794159055759</c:v>
                </c:pt>
                <c:pt idx="46">
                  <c:v>0.9309570120952996</c:v>
                </c:pt>
                <c:pt idx="47">
                  <c:v>0.9348030540423863</c:v>
                </c:pt>
                <c:pt idx="48">
                  <c:v>0.9383271547826728</c:v>
                </c:pt>
                <c:pt idx="49">
                  <c:v>0.9418222890904708</c:v>
                </c:pt>
                <c:pt idx="50">
                  <c:v>0.9451170138829422</c:v>
                </c:pt>
                <c:pt idx="51">
                  <c:v>0.9481998062495806</c:v>
                </c:pt>
                <c:pt idx="52">
                  <c:v>0.9510548142306285</c:v>
                </c:pt>
                <c:pt idx="53">
                  <c:v>0.9538342548372506</c:v>
                </c:pt>
                <c:pt idx="54">
                  <c:v>0.9565232947095131</c:v>
                </c:pt>
                <c:pt idx="55">
                  <c:v>0.9588066772019594</c:v>
                </c:pt>
                <c:pt idx="56">
                  <c:v>0.9610686054356176</c:v>
                </c:pt>
                <c:pt idx="57">
                  <c:v>0.9629836367667932</c:v>
                </c:pt>
                <c:pt idx="58">
                  <c:v>0.9648982224605459</c:v>
                </c:pt>
                <c:pt idx="59">
                  <c:v>0.9665752834078934</c:v>
                </c:pt>
                <c:pt idx="60">
                  <c:v>0.9682508801179943</c:v>
                </c:pt>
                <c:pt idx="61">
                  <c:v>0.9698351848188898</c:v>
                </c:pt>
                <c:pt idx="62">
                  <c:v>0.9712563862230041</c:v>
                </c:pt>
                <c:pt idx="63">
                  <c:v>0.9725873142177369</c:v>
                </c:pt>
                <c:pt idx="64">
                  <c:v>0.9738033950823397</c:v>
                </c:pt>
                <c:pt idx="65">
                  <c:v>0.9749709014678465</c:v>
                </c:pt>
                <c:pt idx="66">
                  <c:v>0.9761198184065695</c:v>
                </c:pt>
                <c:pt idx="67">
                  <c:v>0.9772458805117467</c:v>
                </c:pt>
                <c:pt idx="68">
                  <c:v>0.9783243230751626</c:v>
                </c:pt>
                <c:pt idx="69">
                  <c:v>0.9793725896187994</c:v>
                </c:pt>
                <c:pt idx="70">
                  <c:v>0.9802871649355664</c:v>
                </c:pt>
                <c:pt idx="71">
                  <c:v>0.9811889440920474</c:v>
                </c:pt>
                <c:pt idx="72">
                  <c:v>0.9820564728294541</c:v>
                </c:pt>
                <c:pt idx="73">
                  <c:v>0.982923110292015</c:v>
                </c:pt>
                <c:pt idx="74">
                  <c:v>0.9837554336730127</c:v>
                </c:pt>
                <c:pt idx="75">
                  <c:v>0.9845303334889453</c:v>
                </c:pt>
                <c:pt idx="76">
                  <c:v>0.9851687409284928</c:v>
                </c:pt>
                <c:pt idx="77">
                  <c:v>0.9857739165487899</c:v>
                </c:pt>
                <c:pt idx="78">
                  <c:v>0.9863684605334263</c:v>
                </c:pt>
                <c:pt idx="79">
                  <c:v>0.9868977504668526</c:v>
                </c:pt>
                <c:pt idx="80">
                  <c:v>0.9874215654262261</c:v>
                </c:pt>
                <c:pt idx="81">
                  <c:v>0.987921124977296</c:v>
                </c:pt>
                <c:pt idx="82">
                  <c:v>0.9884157188542251</c:v>
                </c:pt>
                <c:pt idx="83">
                  <c:v>0.9889071296067049</c:v>
                </c:pt>
                <c:pt idx="84">
                  <c:v>0.9893898822606827</c:v>
                </c:pt>
                <c:pt idx="85">
                  <c:v>0.9898509260059164</c:v>
                </c:pt>
                <c:pt idx="86">
                  <c:v>0.9902793745567895</c:v>
                </c:pt>
                <c:pt idx="87">
                  <c:v>0.9906603308908792</c:v>
                </c:pt>
                <c:pt idx="88">
                  <c:v>0.991028172752238</c:v>
                </c:pt>
                <c:pt idx="89">
                  <c:v>0.9913946140388391</c:v>
                </c:pt>
                <c:pt idx="90">
                  <c:v>0.9917599094006384</c:v>
                </c:pt>
                <c:pt idx="91">
                  <c:v>0.9921099894275702</c:v>
                </c:pt>
                <c:pt idx="92">
                  <c:v>0.9924400794329605</c:v>
                </c:pt>
                <c:pt idx="93">
                  <c:v>0.9927515163290781</c:v>
                </c:pt>
                <c:pt idx="94">
                  <c:v>0.9930570326137199</c:v>
                </c:pt>
                <c:pt idx="95">
                  <c:v>0.9933335188033844</c:v>
                </c:pt>
                <c:pt idx="96">
                  <c:v>0.9936070765185555</c:v>
                </c:pt>
                <c:pt idx="97">
                  <c:v>0.9938731857225153</c:v>
                </c:pt>
                <c:pt idx="98">
                  <c:v>0.9941370030768716</c:v>
                </c:pt>
                <c:pt idx="99">
                  <c:v>0.9943964913819768</c:v>
                </c:pt>
                <c:pt idx="100">
                  <c:v>0.9946415283020824</c:v>
                </c:pt>
                <c:pt idx="101">
                  <c:v>0.9948751696366596</c:v>
                </c:pt>
                <c:pt idx="102">
                  <c:v>0.9951023173973602</c:v>
                </c:pt>
                <c:pt idx="103">
                  <c:v>0.995302153950286</c:v>
                </c:pt>
                <c:pt idx="104">
                  <c:v>0.9954972158165378</c:v>
                </c:pt>
                <c:pt idx="105">
                  <c:v>0.9956896038582523</c:v>
                </c:pt>
                <c:pt idx="106">
                  <c:v>0.9958759439635132</c:v>
                </c:pt>
                <c:pt idx="107">
                  <c:v>0.9960561088073424</c:v>
                </c:pt>
                <c:pt idx="108">
                  <c:v>0.9962306076896519</c:v>
                </c:pt>
                <c:pt idx="109">
                  <c:v>0.9964036423347147</c:v>
                </c:pt>
                <c:pt idx="110">
                  <c:v>0.9965761040173766</c:v>
                </c:pt>
                <c:pt idx="111">
                  <c:v>0.9967388890017128</c:v>
                </c:pt>
                <c:pt idx="112">
                  <c:v>0.996901228348626</c:v>
                </c:pt>
                <c:pt idx="113">
                  <c:v>0.9970614031709139</c:v>
                </c:pt>
                <c:pt idx="114">
                  <c:v>0.9972049620835763</c:v>
                </c:pt>
                <c:pt idx="115">
                  <c:v>0.9973403721976487</c:v>
                </c:pt>
                <c:pt idx="116">
                  <c:v>0.9974739997620294</c:v>
                </c:pt>
                <c:pt idx="117">
                  <c:v>0.9976017703774235</c:v>
                </c:pt>
                <c:pt idx="118">
                  <c:v>0.9977292226803727</c:v>
                </c:pt>
                <c:pt idx="119">
                  <c:v>0.9978541284837624</c:v>
                </c:pt>
                <c:pt idx="120">
                  <c:v>0.9979729226882096</c:v>
                </c:pt>
                <c:pt idx="121">
                  <c:v>0.998090507305366</c:v>
                </c:pt>
                <c:pt idx="122">
                  <c:v>0.998205354435496</c:v>
                </c:pt>
                <c:pt idx="123">
                  <c:v>0.9983147902540622</c:v>
                </c:pt>
                <c:pt idx="124">
                  <c:v>0.9984240350851615</c:v>
                </c:pt>
                <c:pt idx="125">
                  <c:v>0.9985165366816576</c:v>
                </c:pt>
                <c:pt idx="126">
                  <c:v>0.9985992342548499</c:v>
                </c:pt>
                <c:pt idx="127">
                  <c:v>0.9986793853284828</c:v>
                </c:pt>
                <c:pt idx="128">
                  <c:v>0.9987568625775782</c:v>
                </c:pt>
                <c:pt idx="129">
                  <c:v>0.9988338305267618</c:v>
                </c:pt>
                <c:pt idx="130">
                  <c:v>0.9989090795887428</c:v>
                </c:pt>
                <c:pt idx="131">
                  <c:v>0.9989834373758779</c:v>
                </c:pt>
                <c:pt idx="132">
                  <c:v>0.9990544210510969</c:v>
                </c:pt>
                <c:pt idx="133">
                  <c:v>0.9991252774013378</c:v>
                </c:pt>
                <c:pt idx="134">
                  <c:v>0.999195051489266</c:v>
                </c:pt>
                <c:pt idx="135">
                  <c:v>0.9992636159899035</c:v>
                </c:pt>
                <c:pt idx="136">
                  <c:v>0.9993313528781842</c:v>
                </c:pt>
                <c:pt idx="137">
                  <c:v>0.999389858705562</c:v>
                </c:pt>
                <c:pt idx="138">
                  <c:v>0.9994446084460896</c:v>
                </c:pt>
                <c:pt idx="139">
                  <c:v>0.9994979576118596</c:v>
                </c:pt>
                <c:pt idx="140">
                  <c:v>0.9995495242279379</c:v>
                </c:pt>
                <c:pt idx="141">
                  <c:v>0.9995956795324524</c:v>
                </c:pt>
                <c:pt idx="142">
                  <c:v>0.9996377604376719</c:v>
                </c:pt>
                <c:pt idx="143">
                  <c:v>0.9996738570689268</c:v>
                </c:pt>
                <c:pt idx="144">
                  <c:v>0.9997427398820091</c:v>
                </c:pt>
                <c:pt idx="145">
                  <c:v>0.9997727885768103</c:v>
                </c:pt>
                <c:pt idx="146">
                  <c:v>0.9998017550092987</c:v>
                </c:pt>
                <c:pt idx="147">
                  <c:v>0.9998303394668532</c:v>
                </c:pt>
                <c:pt idx="148">
                  <c:v>0.9998583509620068</c:v>
                </c:pt>
                <c:pt idx="149">
                  <c:v>0.9998845799074689</c:v>
                </c:pt>
                <c:pt idx="150">
                  <c:v>0.9999007501796713</c:v>
                </c:pt>
                <c:pt idx="151">
                  <c:v>0.999915456214627</c:v>
                </c:pt>
                <c:pt idx="152">
                  <c:v>0.9999298439371377</c:v>
                </c:pt>
                <c:pt idx="153">
                  <c:v>0.9999420671350229</c:v>
                </c:pt>
                <c:pt idx="154">
                  <c:v>0.9999513618584148</c:v>
                </c:pt>
                <c:pt idx="155">
                  <c:v>0.999959446994516</c:v>
                </c:pt>
                <c:pt idx="156">
                  <c:v>0.9999673411431502</c:v>
                </c:pt>
                <c:pt idx="157">
                  <c:v>0.9999738983795158</c:v>
                </c:pt>
                <c:pt idx="158">
                  <c:v>0.9999789277161456</c:v>
                </c:pt>
                <c:pt idx="159">
                  <c:v>0.9999837660653085</c:v>
                </c:pt>
                <c:pt idx="160">
                  <c:v>0.9999882224395374</c:v>
                </c:pt>
                <c:pt idx="161">
                  <c:v>0.9999910872515418</c:v>
                </c:pt>
                <c:pt idx="162">
                  <c:v>0.9999938884010572</c:v>
                </c:pt>
                <c:pt idx="163">
                  <c:v>0.9999959256007047</c:v>
                </c:pt>
                <c:pt idx="164">
                  <c:v>0.9999977718128853</c:v>
                </c:pt>
                <c:pt idx="165">
                  <c:v>0.9999999999999998</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136</c:f>
              <c:strCache>
                <c:ptCount val="135"/>
                <c:pt idx="0">
                  <c:v>Private Lab</c:v>
                </c:pt>
                <c:pt idx="1">
                  <c:v>Private Lab</c:v>
                </c:pt>
                <c:pt idx="2">
                  <c:v>Private Lab</c:v>
                </c:pt>
                <c:pt idx="3">
                  <c:v>Private Lab</c:v>
                </c:pt>
                <c:pt idx="4">
                  <c:v>Galbani</c:v>
                </c:pt>
                <c:pt idx="5">
                  <c:v>Private Lab</c:v>
                </c:pt>
                <c:pt idx="6">
                  <c:v>Salakis</c:v>
                </c:pt>
                <c:pt idx="7">
                  <c:v>Private Lab</c:v>
                </c:pt>
                <c:pt idx="8">
                  <c:v>Galbani</c:v>
                </c:pt>
                <c:pt idx="9">
                  <c:v>Private Lab</c:v>
                </c:pt>
                <c:pt idx="10">
                  <c:v>Private Lab</c:v>
                </c:pt>
                <c:pt idx="11">
                  <c:v>Private Lab</c:v>
                </c:pt>
                <c:pt idx="12">
                  <c:v>Galbani</c:v>
                </c:pt>
                <c:pt idx="13">
                  <c:v>Private Lab</c:v>
                </c:pt>
                <c:pt idx="14">
                  <c:v>Private Lab</c:v>
                </c:pt>
                <c:pt idx="15">
                  <c:v>Galbani</c:v>
                </c:pt>
                <c:pt idx="16">
                  <c:v>Galbani</c:v>
                </c:pt>
                <c:pt idx="17">
                  <c:v>Islos</c:v>
                </c:pt>
                <c:pt idx="18">
                  <c:v>Private Lab</c:v>
                </c:pt>
                <c:pt idx="19">
                  <c:v>Galbani</c:v>
                </c:pt>
                <c:pt idx="20">
                  <c:v>Private Lab</c:v>
                </c:pt>
                <c:pt idx="21">
                  <c:v>All Others</c:v>
                </c:pt>
                <c:pt idx="22">
                  <c:v>Salakis</c:v>
                </c:pt>
                <c:pt idx="23">
                  <c:v>Casa Azzurr</c:v>
                </c:pt>
                <c:pt idx="24">
                  <c:v>Private Lab</c:v>
                </c:pt>
                <c:pt idx="25">
                  <c:v>Boursin</c:v>
                </c:pt>
                <c:pt idx="26">
                  <c:v>Private Lab</c:v>
                </c:pt>
                <c:pt idx="27">
                  <c:v>Casa Azzurr</c:v>
                </c:pt>
                <c:pt idx="28">
                  <c:v>Private Lab</c:v>
                </c:pt>
                <c:pt idx="29">
                  <c:v>Private Lab</c:v>
                </c:pt>
                <c:pt idx="30">
                  <c:v>Private Lab</c:v>
                </c:pt>
                <c:pt idx="31">
                  <c:v>Salakis</c:v>
                </c:pt>
                <c:pt idx="32">
                  <c:v>Galbani</c:v>
                </c:pt>
                <c:pt idx="33">
                  <c:v>Casa Azzurr</c:v>
                </c:pt>
                <c:pt idx="34">
                  <c:v>Galbani</c:v>
                </c:pt>
                <c:pt idx="35">
                  <c:v>Salakis</c:v>
                </c:pt>
                <c:pt idx="36">
                  <c:v>Private Lab</c:v>
                </c:pt>
                <c:pt idx="37">
                  <c:v>Private Lab</c:v>
                </c:pt>
                <c:pt idx="38">
                  <c:v>All Others</c:v>
                </c:pt>
                <c:pt idx="39">
                  <c:v>Salakis</c:v>
                </c:pt>
                <c:pt idx="40">
                  <c:v>Casa Azzurr</c:v>
                </c:pt>
                <c:pt idx="41">
                  <c:v>Casa Azzurr</c:v>
                </c:pt>
                <c:pt idx="42">
                  <c:v>Casa Azzurr</c:v>
                </c:pt>
                <c:pt idx="43">
                  <c:v>Casa Azzurr</c:v>
                </c:pt>
                <c:pt idx="44">
                  <c:v>Galbani</c:v>
                </c:pt>
                <c:pt idx="45">
                  <c:v>All Others</c:v>
                </c:pt>
                <c:pt idx="46">
                  <c:v>All Others</c:v>
                </c:pt>
                <c:pt idx="47">
                  <c:v>Salakis</c:v>
                </c:pt>
                <c:pt idx="48">
                  <c:v>Galbani</c:v>
                </c:pt>
                <c:pt idx="49">
                  <c:v>All Others</c:v>
                </c:pt>
                <c:pt idx="50">
                  <c:v>Salakis</c:v>
                </c:pt>
                <c:pt idx="51">
                  <c:v>Galbani</c:v>
                </c:pt>
                <c:pt idx="52">
                  <c:v>All Others</c:v>
                </c:pt>
                <c:pt idx="53">
                  <c:v>Casa Azzurr</c:v>
                </c:pt>
                <c:pt idx="54">
                  <c:v>Casa Azzurr</c:v>
                </c:pt>
                <c:pt idx="55">
                  <c:v>All Others</c:v>
                </c:pt>
                <c:pt idx="56">
                  <c:v>Galbani</c:v>
                </c:pt>
                <c:pt idx="57">
                  <c:v>All Others</c:v>
                </c:pt>
                <c:pt idx="58">
                  <c:v>Islos</c:v>
                </c:pt>
                <c:pt idx="59">
                  <c:v>Lactalis: A</c:v>
                </c:pt>
                <c:pt idx="60">
                  <c:v>Boursin</c:v>
                </c:pt>
                <c:pt idx="61">
                  <c:v>Galbani</c:v>
                </c:pt>
                <c:pt idx="62">
                  <c:v>All Others</c:v>
                </c:pt>
                <c:pt idx="63">
                  <c:v>All Others</c:v>
                </c:pt>
                <c:pt idx="64">
                  <c:v>Galbani</c:v>
                </c:pt>
                <c:pt idx="65">
                  <c:v>All Others</c:v>
                </c:pt>
                <c:pt idx="66">
                  <c:v>Boursin</c:v>
                </c:pt>
                <c:pt idx="67">
                  <c:v>All Others</c:v>
                </c:pt>
                <c:pt idx="68">
                  <c:v>Islos</c:v>
                </c:pt>
                <c:pt idx="69">
                  <c:v>All Others</c:v>
                </c:pt>
                <c:pt idx="70">
                  <c:v>All Others</c:v>
                </c:pt>
                <c:pt idx="71">
                  <c:v>All Others</c:v>
                </c:pt>
                <c:pt idx="72">
                  <c:v>All Others</c:v>
                </c:pt>
                <c:pt idx="73">
                  <c:v>All Others</c:v>
                </c:pt>
                <c:pt idx="74">
                  <c:v>All Others</c:v>
                </c:pt>
                <c:pt idx="75">
                  <c:v>All Others</c:v>
                </c:pt>
                <c:pt idx="76">
                  <c:v>Boursin</c:v>
                </c:pt>
                <c:pt idx="77">
                  <c:v>All Others</c:v>
                </c:pt>
                <c:pt idx="78">
                  <c:v>Private Lab</c:v>
                </c:pt>
                <c:pt idx="79">
                  <c:v>All Others</c:v>
                </c:pt>
                <c:pt idx="80">
                  <c:v>All Others</c:v>
                </c:pt>
                <c:pt idx="81">
                  <c:v>Casa Azzurr</c:v>
                </c:pt>
                <c:pt idx="82">
                  <c:v>All Others</c:v>
                </c:pt>
                <c:pt idx="83">
                  <c:v>All Others</c:v>
                </c:pt>
                <c:pt idx="84">
                  <c:v>Boursin</c:v>
                </c:pt>
                <c:pt idx="85">
                  <c:v>All Others</c:v>
                </c:pt>
                <c:pt idx="86">
                  <c:v>All Others</c:v>
                </c:pt>
                <c:pt idx="87">
                  <c:v>All Others</c:v>
                </c:pt>
                <c:pt idx="88">
                  <c:v>All Others</c:v>
                </c:pt>
                <c:pt idx="89">
                  <c:v>All Others</c:v>
                </c:pt>
                <c:pt idx="90">
                  <c:v>All Others</c:v>
                </c:pt>
                <c:pt idx="91">
                  <c:v>All Others</c:v>
                </c:pt>
                <c:pt idx="92">
                  <c:v>All Others</c:v>
                </c:pt>
                <c:pt idx="93">
                  <c:v>Boursin</c:v>
                </c:pt>
                <c:pt idx="94">
                  <c:v>All Others</c:v>
                </c:pt>
                <c:pt idx="95">
                  <c:v>All Others</c:v>
                </c:pt>
                <c:pt idx="96">
                  <c:v>Salakis</c:v>
                </c:pt>
                <c:pt idx="97">
                  <c:v>All Others</c:v>
                </c:pt>
                <c:pt idx="98">
                  <c:v>Salakis</c:v>
                </c:pt>
                <c:pt idx="99">
                  <c:v>All Others</c:v>
                </c:pt>
                <c:pt idx="100">
                  <c:v>All Others</c:v>
                </c:pt>
                <c:pt idx="101">
                  <c:v>All Others</c:v>
                </c:pt>
                <c:pt idx="102">
                  <c:v>All Others</c:v>
                </c:pt>
                <c:pt idx="103">
                  <c:v>All Others</c:v>
                </c:pt>
                <c:pt idx="104">
                  <c:v>All Others</c:v>
                </c:pt>
                <c:pt idx="105">
                  <c:v>All Others</c:v>
                </c:pt>
                <c:pt idx="106">
                  <c:v>All Others</c:v>
                </c:pt>
                <c:pt idx="107">
                  <c:v>All Others</c:v>
                </c:pt>
                <c:pt idx="108">
                  <c:v>Entremont</c:v>
                </c:pt>
                <c:pt idx="109">
                  <c:v>All Others</c:v>
                </c:pt>
                <c:pt idx="110">
                  <c:v>Entremont</c:v>
                </c:pt>
                <c:pt idx="111">
                  <c:v>All Others</c:v>
                </c:pt>
                <c:pt idx="112">
                  <c:v>All Others</c:v>
                </c:pt>
                <c:pt idx="113">
                  <c:v>All Others</c:v>
                </c:pt>
                <c:pt idx="114">
                  <c:v>Entremont</c:v>
                </c:pt>
                <c:pt idx="115">
                  <c:v>All Others</c:v>
                </c:pt>
                <c:pt idx="116">
                  <c:v>All Others</c:v>
                </c:pt>
                <c:pt idx="117">
                  <c:v>All Others</c:v>
                </c:pt>
                <c:pt idx="118">
                  <c:v>All Others</c:v>
                </c:pt>
                <c:pt idx="119">
                  <c:v>All Others</c:v>
                </c:pt>
                <c:pt idx="120">
                  <c:v>All Others</c:v>
                </c:pt>
                <c:pt idx="121">
                  <c:v>All Others</c:v>
                </c:pt>
                <c:pt idx="122">
                  <c:v>All Others</c:v>
                </c:pt>
                <c:pt idx="123">
                  <c:v>All Others</c:v>
                </c:pt>
                <c:pt idx="124">
                  <c:v>All Others</c:v>
                </c:pt>
                <c:pt idx="125">
                  <c:v>All Others</c:v>
                </c:pt>
                <c:pt idx="126">
                  <c:v>All Others</c:v>
                </c:pt>
                <c:pt idx="127">
                  <c:v>All Others</c:v>
                </c:pt>
                <c:pt idx="128">
                  <c:v>All Others</c:v>
                </c:pt>
                <c:pt idx="129">
                  <c:v>All Others</c:v>
                </c:pt>
                <c:pt idx="130">
                  <c:v>All Others</c:v>
                </c:pt>
                <c:pt idx="131">
                  <c:v>All Others</c:v>
                </c:pt>
                <c:pt idx="132">
                  <c:v>All Others</c:v>
                </c:pt>
                <c:pt idx="133">
                  <c:v>All Others</c:v>
                </c:pt>
                <c:pt idx="134">
                  <c:v>All Others</c:v>
                </c:pt>
              </c:strCache>
            </c:strRef>
          </c:cat>
          <c:val>
            <c:numRef>
              <c:f>Sheet1!$B$2:$B$136</c:f>
              <c:numCache>
                <c:formatCode>General</c:formatCode>
                <c:ptCount val="135"/>
                <c:pt idx="0">
                  <c:v>0.99</c:v>
                </c:pt>
                <c:pt idx="1">
                  <c:v>0.99</c:v>
                </c:pt>
                <c:pt idx="2">
                  <c:v>0.94</c:v>
                </c:pt>
                <c:pt idx="3">
                  <c:v>0.94</c:v>
                </c:pt>
                <c:pt idx="4">
                  <c:v>0.96</c:v>
                </c:pt>
                <c:pt idx="5">
                  <c:v>0.97</c:v>
                </c:pt>
                <c:pt idx="6">
                  <c:v>0.94</c:v>
                </c:pt>
                <c:pt idx="7">
                  <c:v>0.96</c:v>
                </c:pt>
                <c:pt idx="8">
                  <c:v>0.73</c:v>
                </c:pt>
                <c:pt idx="9">
                  <c:v>0.94</c:v>
                </c:pt>
                <c:pt idx="10">
                  <c:v>0.92</c:v>
                </c:pt>
                <c:pt idx="11">
                  <c:v>0.95</c:v>
                </c:pt>
                <c:pt idx="12">
                  <c:v>0.85</c:v>
                </c:pt>
                <c:pt idx="13">
                  <c:v>0.91</c:v>
                </c:pt>
                <c:pt idx="14">
                  <c:v>0.98</c:v>
                </c:pt>
                <c:pt idx="15">
                  <c:v>0.7</c:v>
                </c:pt>
                <c:pt idx="16">
                  <c:v>0.63</c:v>
                </c:pt>
                <c:pt idx="17">
                  <c:v>0.63</c:v>
                </c:pt>
                <c:pt idx="18">
                  <c:v>0.75</c:v>
                </c:pt>
                <c:pt idx="19">
                  <c:v>0.64</c:v>
                </c:pt>
                <c:pt idx="20">
                  <c:v>0.87</c:v>
                </c:pt>
                <c:pt idx="21">
                  <c:v>0.35</c:v>
                </c:pt>
                <c:pt idx="22">
                  <c:v>0.96</c:v>
                </c:pt>
                <c:pt idx="23">
                  <c:v>0.65</c:v>
                </c:pt>
                <c:pt idx="24">
                  <c:v>0.41</c:v>
                </c:pt>
                <c:pt idx="25">
                  <c:v>0.85</c:v>
                </c:pt>
                <c:pt idx="26">
                  <c:v>0.85</c:v>
                </c:pt>
                <c:pt idx="27">
                  <c:v>0.51</c:v>
                </c:pt>
                <c:pt idx="28">
                  <c:v>0.62</c:v>
                </c:pt>
                <c:pt idx="29">
                  <c:v>0.47</c:v>
                </c:pt>
                <c:pt idx="30">
                  <c:v>0.34</c:v>
                </c:pt>
                <c:pt idx="31">
                  <c:v>0.42</c:v>
                </c:pt>
                <c:pt idx="32">
                  <c:v>0.47</c:v>
                </c:pt>
                <c:pt idx="33">
                  <c:v>0.43</c:v>
                </c:pt>
                <c:pt idx="34">
                  <c:v>0.48</c:v>
                </c:pt>
                <c:pt idx="35">
                  <c:v>0.2</c:v>
                </c:pt>
                <c:pt idx="36">
                  <c:v>0.24</c:v>
                </c:pt>
                <c:pt idx="37">
                  <c:v>0.56</c:v>
                </c:pt>
                <c:pt idx="38">
                  <c:v>0.16</c:v>
                </c:pt>
                <c:pt idx="39">
                  <c:v>0.75</c:v>
                </c:pt>
                <c:pt idx="40">
                  <c:v>0.29</c:v>
                </c:pt>
                <c:pt idx="41">
                  <c:v>0.2</c:v>
                </c:pt>
                <c:pt idx="42">
                  <c:v>0.24</c:v>
                </c:pt>
                <c:pt idx="43">
                  <c:v>0.34</c:v>
                </c:pt>
                <c:pt idx="44">
                  <c:v>0.44</c:v>
                </c:pt>
                <c:pt idx="45">
                  <c:v>0.08</c:v>
                </c:pt>
                <c:pt idx="46">
                  <c:v>0.13</c:v>
                </c:pt>
                <c:pt idx="47">
                  <c:v>0.69</c:v>
                </c:pt>
                <c:pt idx="48">
                  <c:v>0.14</c:v>
                </c:pt>
                <c:pt idx="49">
                  <c:v>0.16</c:v>
                </c:pt>
                <c:pt idx="50">
                  <c:v>0.22</c:v>
                </c:pt>
                <c:pt idx="51">
                  <c:v>0.22</c:v>
                </c:pt>
                <c:pt idx="52">
                  <c:v>0.16</c:v>
                </c:pt>
                <c:pt idx="53">
                  <c:v>0.13</c:v>
                </c:pt>
                <c:pt idx="54">
                  <c:v>0.36</c:v>
                </c:pt>
                <c:pt idx="55">
                  <c:v>0.16</c:v>
                </c:pt>
                <c:pt idx="56">
                  <c:v>0.27</c:v>
                </c:pt>
                <c:pt idx="57">
                  <c:v>0.07</c:v>
                </c:pt>
                <c:pt idx="58">
                  <c:v>0.2</c:v>
                </c:pt>
                <c:pt idx="59">
                  <c:v>0.12</c:v>
                </c:pt>
                <c:pt idx="60">
                  <c:v>0.43</c:v>
                </c:pt>
                <c:pt idx="61">
                  <c:v>0.14</c:v>
                </c:pt>
                <c:pt idx="62">
                  <c:v>0.15</c:v>
                </c:pt>
                <c:pt idx="63">
                  <c:v>0.19</c:v>
                </c:pt>
                <c:pt idx="64">
                  <c:v>0.09</c:v>
                </c:pt>
                <c:pt idx="65">
                  <c:v>0.1</c:v>
                </c:pt>
                <c:pt idx="66">
                  <c:v>0.47</c:v>
                </c:pt>
                <c:pt idx="67">
                  <c:v>0.11</c:v>
                </c:pt>
                <c:pt idx="68">
                  <c:v>0.18</c:v>
                </c:pt>
                <c:pt idx="69">
                  <c:v>0.26</c:v>
                </c:pt>
                <c:pt idx="70">
                  <c:v>0.06</c:v>
                </c:pt>
                <c:pt idx="71">
                  <c:v>0.03</c:v>
                </c:pt>
                <c:pt idx="72">
                  <c:v>0.03</c:v>
                </c:pt>
                <c:pt idx="73">
                  <c:v>0.07</c:v>
                </c:pt>
                <c:pt idx="74">
                  <c:v>0.03</c:v>
                </c:pt>
                <c:pt idx="75">
                  <c:v>0.07</c:v>
                </c:pt>
                <c:pt idx="76">
                  <c:v>0.28</c:v>
                </c:pt>
                <c:pt idx="77">
                  <c:v>0.07</c:v>
                </c:pt>
                <c:pt idx="78">
                  <c:v>0.11</c:v>
                </c:pt>
                <c:pt idx="79">
                  <c:v>0.14</c:v>
                </c:pt>
                <c:pt idx="80">
                  <c:v>0.04</c:v>
                </c:pt>
                <c:pt idx="81">
                  <c:v>0.08</c:v>
                </c:pt>
                <c:pt idx="82">
                  <c:v>0.24</c:v>
                </c:pt>
                <c:pt idx="83">
                  <c:v>0.01</c:v>
                </c:pt>
                <c:pt idx="84">
                  <c:v>0.41</c:v>
                </c:pt>
                <c:pt idx="85">
                  <c:v>0.13</c:v>
                </c:pt>
                <c:pt idx="86">
                  <c:v>0.09</c:v>
                </c:pt>
                <c:pt idx="87">
                  <c:v>0.07</c:v>
                </c:pt>
                <c:pt idx="88">
                  <c:v>0.03</c:v>
                </c:pt>
                <c:pt idx="89">
                  <c:v>0.03</c:v>
                </c:pt>
                <c:pt idx="90">
                  <c:v>0.04</c:v>
                </c:pt>
                <c:pt idx="91">
                  <c:v>0.01</c:v>
                </c:pt>
                <c:pt idx="92">
                  <c:v>0.01</c:v>
                </c:pt>
                <c:pt idx="93">
                  <c:v>0.14</c:v>
                </c:pt>
                <c:pt idx="94">
                  <c:v>0.04</c:v>
                </c:pt>
                <c:pt idx="95">
                  <c:v>0.09</c:v>
                </c:pt>
                <c:pt idx="96">
                  <c:v>0.08</c:v>
                </c:pt>
                <c:pt idx="97">
                  <c:v>0.01</c:v>
                </c:pt>
                <c:pt idx="98">
                  <c:v>0.08</c:v>
                </c:pt>
                <c:pt idx="99">
                  <c:v>0.02</c:v>
                </c:pt>
                <c:pt idx="100">
                  <c:v>0.04</c:v>
                </c:pt>
                <c:pt idx="101">
                  <c:v>0.06</c:v>
                </c:pt>
                <c:pt idx="102">
                  <c:v>0.07</c:v>
                </c:pt>
                <c:pt idx="103">
                  <c:v>0.01</c:v>
                </c:pt>
                <c:pt idx="104">
                  <c:v>0.03</c:v>
                </c:pt>
                <c:pt idx="105">
                  <c:v>0.01</c:v>
                </c:pt>
                <c:pt idx="106">
                  <c:v>0.02</c:v>
                </c:pt>
                <c:pt idx="107">
                  <c:v>0.01</c:v>
                </c:pt>
                <c:pt idx="108">
                  <c:v>0.09</c:v>
                </c:pt>
                <c:pt idx="109">
                  <c:v>0.01</c:v>
                </c:pt>
                <c:pt idx="110">
                  <c:v>0.08</c:v>
                </c:pt>
                <c:pt idx="111">
                  <c:v>0.01</c:v>
                </c:pt>
                <c:pt idx="112">
                  <c:v>0.04</c:v>
                </c:pt>
                <c:pt idx="113">
                  <c:v>0.01</c:v>
                </c:pt>
                <c:pt idx="114">
                  <c:v>0.09</c:v>
                </c:pt>
                <c:pt idx="115">
                  <c:v>0.01</c:v>
                </c:pt>
                <c:pt idx="116">
                  <c:v>0.01</c:v>
                </c:pt>
                <c:pt idx="117">
                  <c:v>0.01</c:v>
                </c:pt>
                <c:pt idx="118">
                  <c:v>0.01</c:v>
                </c:pt>
                <c:pt idx="119">
                  <c:v>0.01</c:v>
                </c:pt>
                <c:pt idx="120">
                  <c:v>0.01</c:v>
                </c:pt>
                <c:pt idx="121">
                  <c:v>0.02</c:v>
                </c:pt>
                <c:pt idx="122">
                  <c:v>0.02</c:v>
                </c:pt>
                <c:pt idx="123">
                  <c:v>0.01</c:v>
                </c:pt>
                <c:pt idx="124">
                  <c:v>0.01</c:v>
                </c:pt>
                <c:pt idx="125">
                  <c:v>0.02</c:v>
                </c:pt>
                <c:pt idx="126">
                  <c:v>0.01</c:v>
                </c:pt>
                <c:pt idx="127">
                  <c:v>0.01</c:v>
                </c:pt>
                <c:pt idx="128">
                  <c:v>0.03</c:v>
                </c:pt>
                <c:pt idx="129">
                  <c:v>0.01</c:v>
                </c:pt>
                <c:pt idx="130">
                  <c:v>0.02</c:v>
                </c:pt>
                <c:pt idx="131">
                  <c:v>0.01</c:v>
                </c:pt>
                <c:pt idx="132">
                  <c:v>0.01</c:v>
                </c:pt>
                <c:pt idx="133">
                  <c:v>0.02</c:v>
                </c:pt>
                <c:pt idx="134">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Item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7ECAC4"/>
              </a:solidFill>
            </c:spPr>
            <c:extLst>
              <c:ext xmlns:c16="http://schemas.microsoft.com/office/drawing/2014/chart" uri="{C3380CC4-5D6E-409C-BE32-E72D297353CC}">
                <c16:uniqueId val="{00000061-2993-41DE-A2CB-63102DE87051}"/>
              </c:ext>
            </c:extLst>
          </c:dPt>
          <c:dPt>
            <c:idx val="21"/>
            <c:invertIfNegative val="1"/>
            <c:bubble3D val="0"/>
            <c:spPr>
              <a:solidFill>
                <a:srgbClr val="7ECAC4"/>
              </a:solidFill>
            </c:spPr>
            <c:extLst>
              <c:ext xmlns:c16="http://schemas.microsoft.com/office/drawing/2014/chart" uri="{C3380CC4-5D6E-409C-BE32-E72D297353CC}">
                <c16:uniqueId val="{00000063-2993-41DE-A2CB-63102DE87051}"/>
              </c:ext>
            </c:extLst>
          </c:dPt>
          <c:dPt>
            <c:idx val="22"/>
            <c:invertIfNegative val="1"/>
            <c:bubble3D val="0"/>
            <c:spPr>
              <a:solidFill>
                <a:srgbClr val="7ECAC4"/>
              </a:solidFill>
            </c:spPr>
            <c:extLst>
              <c:ext xmlns:c16="http://schemas.microsoft.com/office/drawing/2014/chart" uri="{C3380CC4-5D6E-409C-BE32-E72D297353CC}">
                <c16:uniqueId val="{00000065-2993-41DE-A2CB-63102DE87051}"/>
              </c:ext>
            </c:extLst>
          </c:dPt>
          <c:dPt>
            <c:idx val="23"/>
            <c:invertIfNegative val="1"/>
            <c:bubble3D val="0"/>
            <c:spPr>
              <a:solidFill>
                <a:srgbClr val="7ECAC4"/>
              </a:solidFill>
            </c:spPr>
            <c:extLst>
              <c:ext xmlns:c16="http://schemas.microsoft.com/office/drawing/2014/chart" uri="{C3380CC4-5D6E-409C-BE32-E72D297353CC}">
                <c16:uniqueId val="{00000067-2993-41DE-A2CB-63102DE87051}"/>
              </c:ext>
            </c:extLst>
          </c:dPt>
          <c:dPt>
            <c:idx val="24"/>
            <c:invertIfNegative val="1"/>
            <c:bubble3D val="0"/>
            <c:spPr>
              <a:solidFill>
                <a:srgbClr val="7ECAC4"/>
              </a:solidFill>
            </c:spPr>
            <c:extLst>
              <c:ext xmlns:c16="http://schemas.microsoft.com/office/drawing/2014/chart" uri="{C3380CC4-5D6E-409C-BE32-E72D297353CC}">
                <c16:uniqueId val="{00000069-2993-41DE-A2CB-63102DE87051}"/>
              </c:ext>
            </c:extLst>
          </c:dPt>
          <c:dPt>
            <c:idx val="25"/>
            <c:invertIfNegative val="1"/>
            <c:bubble3D val="0"/>
            <c:spPr>
              <a:solidFill>
                <a:srgbClr val="7ECAC4"/>
              </a:solidFill>
            </c:spPr>
            <c:extLst>
              <c:ext xmlns:c16="http://schemas.microsoft.com/office/drawing/2014/chart" uri="{C3380CC4-5D6E-409C-BE32-E72D297353CC}">
                <c16:uniqueId val="{0000006B-2993-41DE-A2CB-63102DE87051}"/>
              </c:ext>
            </c:extLst>
          </c:dPt>
          <c:dPt>
            <c:idx val="26"/>
            <c:invertIfNegative val="1"/>
            <c:bubble3D val="0"/>
            <c:spPr>
              <a:solidFill>
                <a:srgbClr val="7ECAC4"/>
              </a:solidFill>
            </c:spPr>
            <c:extLst>
              <c:ext xmlns:c16="http://schemas.microsoft.com/office/drawing/2014/chart" uri="{C3380CC4-5D6E-409C-BE32-E72D297353CC}">
                <c16:uniqueId val="{0000006D-2993-41DE-A2CB-63102DE87051}"/>
              </c:ext>
            </c:extLst>
          </c:dPt>
          <c:dPt>
            <c:idx val="27"/>
            <c:invertIfNegative val="1"/>
            <c:bubble3D val="0"/>
            <c:spPr>
              <a:solidFill>
                <a:srgbClr val="7ECAC4"/>
              </a:solidFill>
            </c:spPr>
            <c:extLst>
              <c:ext xmlns:c16="http://schemas.microsoft.com/office/drawing/2014/chart" uri="{C3380CC4-5D6E-409C-BE32-E72D297353CC}">
                <c16:uniqueId val="{0000006F-2993-41DE-A2CB-63102DE87051}"/>
              </c:ext>
            </c:extLst>
          </c:dPt>
          <c:dPt>
            <c:idx val="28"/>
            <c:invertIfNegative val="1"/>
            <c:bubble3D val="0"/>
            <c:spPr>
              <a:solidFill>
                <a:srgbClr val="7ECAC4"/>
              </a:solidFill>
            </c:spPr>
            <c:extLst>
              <c:ext xmlns:c16="http://schemas.microsoft.com/office/drawing/2014/chart" uri="{C3380CC4-5D6E-409C-BE32-E72D297353CC}">
                <c16:uniqueId val="{00000071-2993-41DE-A2CB-63102DE87051}"/>
              </c:ext>
            </c:extLst>
          </c:dPt>
          <c:dPt>
            <c:idx val="29"/>
            <c:invertIfNegative val="1"/>
            <c:bubble3D val="0"/>
            <c:spPr>
              <a:solidFill>
                <a:srgbClr val="7ECAC4"/>
              </a:solidFill>
            </c:spPr>
            <c:extLst>
              <c:ext xmlns:c16="http://schemas.microsoft.com/office/drawing/2014/chart" uri="{C3380CC4-5D6E-409C-BE32-E72D297353CC}">
                <c16:uniqueId val="{00000073-2993-41DE-A2CB-63102DE87051}"/>
              </c:ext>
            </c:extLst>
          </c:dPt>
          <c:dPt>
            <c:idx val="30"/>
            <c:invertIfNegative val="1"/>
            <c:bubble3D val="0"/>
            <c:spPr>
              <a:solidFill>
                <a:srgbClr val="7ECAC4"/>
              </a:solidFill>
            </c:spPr>
            <c:extLst>
              <c:ext xmlns:c16="http://schemas.microsoft.com/office/drawing/2014/chart" uri="{C3380CC4-5D6E-409C-BE32-E72D297353CC}">
                <c16:uniqueId val="{00000075-2993-41DE-A2CB-63102DE87051}"/>
              </c:ext>
            </c:extLst>
          </c:dPt>
          <c:dPt>
            <c:idx val="31"/>
            <c:invertIfNegative val="1"/>
            <c:bubble3D val="0"/>
            <c:spPr>
              <a:solidFill>
                <a:srgbClr val="7ECAC4"/>
              </a:solidFill>
            </c:spPr>
            <c:extLst>
              <c:ext xmlns:c16="http://schemas.microsoft.com/office/drawing/2014/chart" uri="{C3380CC4-5D6E-409C-BE32-E72D297353CC}">
                <c16:uniqueId val="{00000077-2993-41DE-A2CB-63102DE87051}"/>
              </c:ext>
            </c:extLst>
          </c:dPt>
          <c:dPt>
            <c:idx val="32"/>
            <c:invertIfNegative val="1"/>
            <c:bubble3D val="0"/>
            <c:spPr>
              <a:solidFill>
                <a:srgbClr val="7ECAC4"/>
              </a:solidFill>
            </c:spPr>
            <c:extLst>
              <c:ext xmlns:c16="http://schemas.microsoft.com/office/drawing/2014/chart" uri="{C3380CC4-5D6E-409C-BE32-E72D297353CC}">
                <c16:uniqueId val="{00000079-2993-41DE-A2CB-63102DE87051}"/>
              </c:ext>
            </c:extLst>
          </c:dPt>
          <c:dPt>
            <c:idx val="33"/>
            <c:invertIfNegative val="1"/>
            <c:bubble3D val="0"/>
            <c:spPr>
              <a:solidFill>
                <a:srgbClr val="7ECAC4"/>
              </a:solidFill>
            </c:spPr>
            <c:extLst>
              <c:ext xmlns:c16="http://schemas.microsoft.com/office/drawing/2014/chart" uri="{C3380CC4-5D6E-409C-BE32-E72D297353CC}">
                <c16:uniqueId val="{0000007B-2993-41DE-A2CB-63102DE87051}"/>
              </c:ext>
            </c:extLst>
          </c:dPt>
          <c:dPt>
            <c:idx val="34"/>
            <c:invertIfNegative val="1"/>
            <c:bubble3D val="0"/>
            <c:spPr>
              <a:solidFill>
                <a:srgbClr val="7ECAC4"/>
              </a:solidFill>
            </c:spPr>
            <c:extLst>
              <c:ext xmlns:c16="http://schemas.microsoft.com/office/drawing/2014/chart" uri="{C3380CC4-5D6E-409C-BE32-E72D297353CC}">
                <c16:uniqueId val="{0000007D-2993-41DE-A2CB-63102DE87051}"/>
              </c:ext>
            </c:extLst>
          </c:dPt>
          <c:dPt>
            <c:idx val="35"/>
            <c:invertIfNegative val="1"/>
            <c:bubble3D val="0"/>
            <c:spPr>
              <a:solidFill>
                <a:srgbClr val="7ECAC4"/>
              </a:solidFill>
            </c:spPr>
            <c:extLst>
              <c:ext xmlns:c16="http://schemas.microsoft.com/office/drawing/2014/chart" uri="{C3380CC4-5D6E-409C-BE32-E72D297353CC}">
                <c16:uniqueId val="{0000007F-2993-41DE-A2CB-63102DE87051}"/>
              </c:ext>
            </c:extLst>
          </c:dPt>
          <c:dPt>
            <c:idx val="36"/>
            <c:invertIfNegative val="1"/>
            <c:bubble3D val="0"/>
            <c:spPr>
              <a:solidFill>
                <a:srgbClr val="7ECAC4"/>
              </a:solidFill>
            </c:spPr>
            <c:extLst>
              <c:ext xmlns:c16="http://schemas.microsoft.com/office/drawing/2014/chart" uri="{C3380CC4-5D6E-409C-BE32-E72D297353CC}">
                <c16:uniqueId val="{00000081-2993-41DE-A2CB-63102DE87051}"/>
              </c:ext>
            </c:extLst>
          </c:dPt>
          <c:dPt>
            <c:idx val="37"/>
            <c:invertIfNegative val="1"/>
            <c:bubble3D val="0"/>
            <c:spPr>
              <a:solidFill>
                <a:srgbClr val="7ECAC4"/>
              </a:solidFill>
            </c:spPr>
            <c:extLst>
              <c:ext xmlns:c16="http://schemas.microsoft.com/office/drawing/2014/chart" uri="{C3380CC4-5D6E-409C-BE32-E72D297353CC}">
                <c16:uniqueId val="{00000083-2993-41DE-A2CB-63102DE87051}"/>
              </c:ext>
            </c:extLst>
          </c:dPt>
          <c:dPt>
            <c:idx val="38"/>
            <c:invertIfNegative val="1"/>
            <c:bubble3D val="0"/>
            <c:spPr>
              <a:solidFill>
                <a:srgbClr val="7ECAC4"/>
              </a:solidFill>
            </c:spPr>
            <c:extLst>
              <c:ext xmlns:c16="http://schemas.microsoft.com/office/drawing/2014/chart" uri="{C3380CC4-5D6E-409C-BE32-E72D297353CC}">
                <c16:uniqueId val="{00000085-2993-41DE-A2CB-63102DE87051}"/>
              </c:ext>
            </c:extLst>
          </c:dPt>
          <c:dPt>
            <c:idx val="39"/>
            <c:invertIfNegative val="1"/>
            <c:bubble3D val="0"/>
            <c:spPr>
              <a:solidFill>
                <a:srgbClr val="7ECAC4"/>
              </a:solidFill>
            </c:spPr>
            <c:extLst>
              <c:ext xmlns:c16="http://schemas.microsoft.com/office/drawing/2014/chart" uri="{C3380CC4-5D6E-409C-BE32-E72D297353CC}">
                <c16:uniqueId val="{00000087-2993-41DE-A2CB-63102DE87051}"/>
              </c:ext>
            </c:extLst>
          </c:dPt>
          <c:dPt>
            <c:idx val="40"/>
            <c:invertIfNegative val="1"/>
            <c:bubble3D val="0"/>
            <c:spPr>
              <a:solidFill>
                <a:srgbClr val="7ECAC4"/>
              </a:solidFill>
            </c:spPr>
            <c:extLst>
              <c:ext xmlns:c16="http://schemas.microsoft.com/office/drawing/2014/chart" uri="{C3380CC4-5D6E-409C-BE32-E72D297353CC}">
                <c16:uniqueId val="{00000089-2993-41DE-A2CB-63102DE87051}"/>
              </c:ext>
            </c:extLst>
          </c:dPt>
          <c:dPt>
            <c:idx val="41"/>
            <c:invertIfNegative val="1"/>
            <c:bubble3D val="0"/>
            <c:spPr>
              <a:solidFill>
                <a:srgbClr val="AEABAB"/>
              </a:solidFill>
            </c:spPr>
            <c:extLst>
              <c:ext xmlns:c16="http://schemas.microsoft.com/office/drawing/2014/chart" uri="{C3380CC4-5D6E-409C-BE32-E72D297353CC}">
                <c16:uniqueId val="{0000008B-2993-41DE-A2CB-63102DE87051}"/>
              </c:ext>
            </c:extLst>
          </c:dPt>
          <c:dPt>
            <c:idx val="42"/>
            <c:invertIfNegative val="1"/>
            <c:bubble3D val="0"/>
            <c:spPr>
              <a:solidFill>
                <a:srgbClr val="AEABAB"/>
              </a:solidFill>
            </c:spPr>
            <c:extLst>
              <c:ext xmlns:c16="http://schemas.microsoft.com/office/drawing/2014/chart" uri="{C3380CC4-5D6E-409C-BE32-E72D297353CC}">
                <c16:uniqueId val="{0000008D-2993-41DE-A2CB-63102DE87051}"/>
              </c:ext>
            </c:extLst>
          </c:dPt>
          <c:dPt>
            <c:idx val="43"/>
            <c:invertIfNegative val="1"/>
            <c:bubble3D val="0"/>
            <c:spPr>
              <a:solidFill>
                <a:srgbClr val="AEABAB"/>
              </a:solidFill>
            </c:spPr>
            <c:extLst>
              <c:ext xmlns:c16="http://schemas.microsoft.com/office/drawing/2014/chart" uri="{C3380CC4-5D6E-409C-BE32-E72D297353CC}">
                <c16:uniqueId val="{0000008F-2993-41DE-A2CB-63102DE87051}"/>
              </c:ext>
            </c:extLst>
          </c:dPt>
          <c:dPt>
            <c:idx val="44"/>
            <c:invertIfNegative val="1"/>
            <c:bubble3D val="0"/>
            <c:spPr>
              <a:solidFill>
                <a:srgbClr val="AEABAB"/>
              </a:solidFill>
            </c:spPr>
            <c:extLst>
              <c:ext xmlns:c16="http://schemas.microsoft.com/office/drawing/2014/chart" uri="{C3380CC4-5D6E-409C-BE32-E72D297353CC}">
                <c16:uniqueId val="{00000091-2993-41DE-A2CB-63102DE87051}"/>
              </c:ext>
            </c:extLst>
          </c:dPt>
          <c:dPt>
            <c:idx val="45"/>
            <c:invertIfNegative val="1"/>
            <c:bubble3D val="0"/>
            <c:spPr>
              <a:solidFill>
                <a:srgbClr val="AEABAB"/>
              </a:solidFill>
            </c:spPr>
            <c:extLst>
              <c:ext xmlns:c16="http://schemas.microsoft.com/office/drawing/2014/chart" uri="{C3380CC4-5D6E-409C-BE32-E72D297353CC}">
                <c16:uniqueId val="{00000093-2993-41DE-A2CB-63102DE87051}"/>
              </c:ext>
            </c:extLst>
          </c:dPt>
          <c:dPt>
            <c:idx val="46"/>
            <c:invertIfNegative val="1"/>
            <c:bubble3D val="0"/>
            <c:spPr>
              <a:solidFill>
                <a:srgbClr val="AEABAB"/>
              </a:solidFill>
            </c:spPr>
            <c:extLst>
              <c:ext xmlns:c16="http://schemas.microsoft.com/office/drawing/2014/chart" uri="{C3380CC4-5D6E-409C-BE32-E72D297353CC}">
                <c16:uniqueId val="{00000095-2993-41DE-A2CB-63102DE87051}"/>
              </c:ext>
            </c:extLst>
          </c:dPt>
          <c:dPt>
            <c:idx val="47"/>
            <c:invertIfNegative val="1"/>
            <c:bubble3D val="0"/>
            <c:spPr>
              <a:solidFill>
                <a:srgbClr val="AEABAB"/>
              </a:solidFill>
            </c:spPr>
            <c:extLst>
              <c:ext xmlns:c16="http://schemas.microsoft.com/office/drawing/2014/chart" uri="{C3380CC4-5D6E-409C-BE32-E72D297353CC}">
                <c16:uniqueId val="{00000097-2993-41DE-A2CB-63102DE87051}"/>
              </c:ext>
            </c:extLst>
          </c:dPt>
          <c:dPt>
            <c:idx val="48"/>
            <c:invertIfNegative val="1"/>
            <c:bubble3D val="0"/>
            <c:spPr>
              <a:solidFill>
                <a:srgbClr val="AEABAB"/>
              </a:solidFill>
            </c:spPr>
            <c:extLst>
              <c:ext xmlns:c16="http://schemas.microsoft.com/office/drawing/2014/chart" uri="{C3380CC4-5D6E-409C-BE32-E72D297353CC}">
                <c16:uniqueId val="{00000099-2993-41DE-A2CB-63102DE87051}"/>
              </c:ext>
            </c:extLst>
          </c:dPt>
          <c:dPt>
            <c:idx val="49"/>
            <c:invertIfNegative val="1"/>
            <c:bubble3D val="0"/>
            <c:spPr>
              <a:solidFill>
                <a:srgbClr val="AEABAB"/>
              </a:solidFill>
            </c:spPr>
            <c:extLst>
              <c:ext xmlns:c16="http://schemas.microsoft.com/office/drawing/2014/chart" uri="{C3380CC4-5D6E-409C-BE32-E72D297353CC}">
                <c16:uniqueId val="{0000009B-2993-41DE-A2CB-63102DE87051}"/>
              </c:ext>
            </c:extLst>
          </c:dPt>
          <c:dPt>
            <c:idx val="50"/>
            <c:invertIfNegative val="1"/>
            <c:bubble3D val="0"/>
            <c:spPr>
              <a:solidFill>
                <a:srgbClr val="AEABAB"/>
              </a:solidFill>
            </c:spPr>
            <c:extLst>
              <c:ext xmlns:c16="http://schemas.microsoft.com/office/drawing/2014/chart" uri="{C3380CC4-5D6E-409C-BE32-E72D297353CC}">
                <c16:uniqueId val="{0000009D-2993-41DE-A2CB-63102DE87051}"/>
              </c:ext>
            </c:extLst>
          </c:dPt>
          <c:dPt>
            <c:idx val="51"/>
            <c:invertIfNegative val="1"/>
            <c:bubble3D val="0"/>
            <c:spPr>
              <a:solidFill>
                <a:srgbClr val="AEABAB"/>
              </a:solidFill>
            </c:spPr>
            <c:extLst>
              <c:ext xmlns:c16="http://schemas.microsoft.com/office/drawing/2014/chart" uri="{C3380CC4-5D6E-409C-BE32-E72D297353CC}">
                <c16:uniqueId val="{0000009F-2993-41DE-A2CB-63102DE87051}"/>
              </c:ext>
            </c:extLst>
          </c:dPt>
          <c:dPt>
            <c:idx val="52"/>
            <c:invertIfNegative val="1"/>
            <c:bubble3D val="0"/>
            <c:spPr>
              <a:solidFill>
                <a:srgbClr val="AEABAB"/>
              </a:solidFill>
            </c:spPr>
            <c:extLst>
              <c:ext xmlns:c16="http://schemas.microsoft.com/office/drawing/2014/chart" uri="{C3380CC4-5D6E-409C-BE32-E72D297353CC}">
                <c16:uniqueId val="{000000A1-2993-41DE-A2CB-63102DE87051}"/>
              </c:ext>
            </c:extLst>
          </c:dPt>
          <c:dPt>
            <c:idx val="53"/>
            <c:invertIfNegative val="1"/>
            <c:bubble3D val="0"/>
            <c:spPr>
              <a:solidFill>
                <a:srgbClr val="AEABAB"/>
              </a:solidFill>
            </c:spPr>
            <c:extLst>
              <c:ext xmlns:c16="http://schemas.microsoft.com/office/drawing/2014/chart" uri="{C3380CC4-5D6E-409C-BE32-E72D297353CC}">
                <c16:uniqueId val="{000000A3-2993-41DE-A2CB-63102DE87051}"/>
              </c:ext>
            </c:extLst>
          </c:dPt>
          <c:dPt>
            <c:idx val="54"/>
            <c:invertIfNegative val="0"/>
            <c:bubble3D val="0"/>
            <c:spPr>
              <a:solidFill>
                <a:srgbClr val="AEABAB"/>
              </a:solidFill>
            </c:spPr>
            <c:extLst>
              <c:ext xmlns:c16="http://schemas.microsoft.com/office/drawing/2014/chart" uri="{C3380CC4-5D6E-409C-BE32-E72D297353CC}">
                <c16:uniqueId val="{00000072-C76F-4230-900D-40618C09729F}"/>
              </c:ext>
            </c:extLst>
          </c:dPt>
          <c:dPt>
            <c:idx val="55"/>
            <c:invertIfNegative val="0"/>
            <c:bubble3D val="0"/>
            <c:spPr>
              <a:solidFill>
                <a:srgbClr val="AEABAB"/>
              </a:solidFill>
            </c:spPr>
            <c:extLst>
              <c:ext xmlns:c16="http://schemas.microsoft.com/office/drawing/2014/chart" uri="{C3380CC4-5D6E-409C-BE32-E72D297353CC}">
                <c16:uniqueId val="{00000074-C76F-4230-900D-40618C09729F}"/>
              </c:ext>
            </c:extLst>
          </c:dPt>
          <c:dPt>
            <c:idx val="56"/>
            <c:invertIfNegative val="0"/>
            <c:bubble3D val="0"/>
            <c:spPr>
              <a:solidFill>
                <a:srgbClr val="AEABAB"/>
              </a:solidFill>
            </c:spPr>
            <c:extLst>
              <c:ext xmlns:c16="http://schemas.microsoft.com/office/drawing/2014/chart" uri="{C3380CC4-5D6E-409C-BE32-E72D297353CC}">
                <c16:uniqueId val="{00000076-C76F-4230-900D-40618C09729F}"/>
              </c:ext>
            </c:extLst>
          </c:dPt>
          <c:dPt>
            <c:idx val="57"/>
            <c:invertIfNegative val="0"/>
            <c:bubble3D val="0"/>
            <c:spPr>
              <a:solidFill>
                <a:srgbClr val="AEABAB"/>
              </a:solidFill>
            </c:spPr>
            <c:extLst>
              <c:ext xmlns:c16="http://schemas.microsoft.com/office/drawing/2014/chart" uri="{C3380CC4-5D6E-409C-BE32-E72D297353CC}">
                <c16:uniqueId val="{00000078-C76F-4230-900D-40618C09729F}"/>
              </c:ext>
            </c:extLst>
          </c:dPt>
          <c:dPt>
            <c:idx val="58"/>
            <c:invertIfNegative val="0"/>
            <c:bubble3D val="0"/>
            <c:spPr>
              <a:solidFill>
                <a:srgbClr val="AEABAB"/>
              </a:solidFill>
            </c:spPr>
            <c:extLst>
              <c:ext xmlns:c16="http://schemas.microsoft.com/office/drawing/2014/chart" uri="{C3380CC4-5D6E-409C-BE32-E72D297353CC}">
                <c16:uniqueId val="{0000007A-C76F-4230-900D-40618C09729F}"/>
              </c:ext>
            </c:extLst>
          </c:dPt>
          <c:dPt>
            <c:idx val="59"/>
            <c:invertIfNegative val="0"/>
            <c:bubble3D val="0"/>
            <c:spPr>
              <a:solidFill>
                <a:srgbClr val="AEABAB"/>
              </a:solidFill>
            </c:spPr>
            <c:extLst>
              <c:ext xmlns:c16="http://schemas.microsoft.com/office/drawing/2014/chart" uri="{C3380CC4-5D6E-409C-BE32-E72D297353CC}">
                <c16:uniqueId val="{0000007C-C76F-4230-900D-40618C09729F}"/>
              </c:ext>
            </c:extLst>
          </c:dPt>
          <c:dPt>
            <c:idx val="60"/>
            <c:invertIfNegative val="0"/>
            <c:bubble3D val="0"/>
            <c:spPr>
              <a:solidFill>
                <a:srgbClr val="AEABAB"/>
              </a:solidFill>
            </c:spPr>
            <c:extLst>
              <c:ext xmlns:c16="http://schemas.microsoft.com/office/drawing/2014/chart" uri="{C3380CC4-5D6E-409C-BE32-E72D297353CC}">
                <c16:uniqueId val="{0000007E-C76F-4230-900D-40618C09729F}"/>
              </c:ext>
            </c:extLst>
          </c:dPt>
          <c:dPt>
            <c:idx val="61"/>
            <c:invertIfNegative val="0"/>
            <c:bubble3D val="0"/>
            <c:spPr>
              <a:solidFill>
                <a:srgbClr val="AEABAB"/>
              </a:solidFill>
            </c:spPr>
            <c:extLst>
              <c:ext xmlns:c16="http://schemas.microsoft.com/office/drawing/2014/chart" uri="{C3380CC4-5D6E-409C-BE32-E72D297353CC}">
                <c16:uniqueId val="{00000080-C76F-4230-900D-40618C09729F}"/>
              </c:ext>
            </c:extLst>
          </c:dPt>
          <c:dPt>
            <c:idx val="62"/>
            <c:invertIfNegative val="0"/>
            <c:bubble3D val="0"/>
            <c:spPr>
              <a:solidFill>
                <a:srgbClr val="AEABAB"/>
              </a:solidFill>
            </c:spPr>
            <c:extLst>
              <c:ext xmlns:c16="http://schemas.microsoft.com/office/drawing/2014/chart" uri="{C3380CC4-5D6E-409C-BE32-E72D297353CC}">
                <c16:uniqueId val="{00000082-C76F-4230-900D-40618C09729F}"/>
              </c:ext>
            </c:extLst>
          </c:dPt>
          <c:dPt>
            <c:idx val="63"/>
            <c:invertIfNegative val="0"/>
            <c:bubble3D val="0"/>
            <c:spPr>
              <a:solidFill>
                <a:srgbClr val="AEABAB"/>
              </a:solidFill>
            </c:spPr>
            <c:extLst>
              <c:ext xmlns:c16="http://schemas.microsoft.com/office/drawing/2014/chart" uri="{C3380CC4-5D6E-409C-BE32-E72D297353CC}">
                <c16:uniqueId val="{00000084-C76F-4230-900D-40618C09729F}"/>
              </c:ext>
            </c:extLst>
          </c:dPt>
          <c:dPt>
            <c:idx val="64"/>
            <c:invertIfNegative val="0"/>
            <c:bubble3D val="0"/>
            <c:spPr>
              <a:solidFill>
                <a:srgbClr val="AEABAB"/>
              </a:solidFill>
            </c:spPr>
            <c:extLst>
              <c:ext xmlns:c16="http://schemas.microsoft.com/office/drawing/2014/chart" uri="{C3380CC4-5D6E-409C-BE32-E72D297353CC}">
                <c16:uniqueId val="{00000086-C76F-4230-900D-40618C09729F}"/>
              </c:ext>
            </c:extLst>
          </c:dPt>
          <c:dPt>
            <c:idx val="65"/>
            <c:invertIfNegative val="0"/>
            <c:bubble3D val="0"/>
            <c:spPr>
              <a:solidFill>
                <a:srgbClr val="AEABAB"/>
              </a:solidFill>
            </c:spPr>
            <c:extLst>
              <c:ext xmlns:c16="http://schemas.microsoft.com/office/drawing/2014/chart" uri="{C3380CC4-5D6E-409C-BE32-E72D297353CC}">
                <c16:uniqueId val="{00000088-C76F-4230-900D-40618C09729F}"/>
              </c:ext>
            </c:extLst>
          </c:dPt>
          <c:dPt>
            <c:idx val="66"/>
            <c:invertIfNegative val="0"/>
            <c:bubble3D val="0"/>
            <c:spPr>
              <a:solidFill>
                <a:srgbClr val="AEABAB"/>
              </a:solidFill>
            </c:spPr>
            <c:extLst>
              <c:ext xmlns:c16="http://schemas.microsoft.com/office/drawing/2014/chart" uri="{C3380CC4-5D6E-409C-BE32-E72D297353CC}">
                <c16:uniqueId val="{0000008A-C76F-4230-900D-40618C09729F}"/>
              </c:ext>
            </c:extLst>
          </c:dPt>
          <c:dPt>
            <c:idx val="67"/>
            <c:invertIfNegative val="0"/>
            <c:bubble3D val="0"/>
            <c:spPr>
              <a:solidFill>
                <a:srgbClr val="AEABAB"/>
              </a:solidFill>
            </c:spPr>
            <c:extLst>
              <c:ext xmlns:c16="http://schemas.microsoft.com/office/drawing/2014/chart" uri="{C3380CC4-5D6E-409C-BE32-E72D297353CC}">
                <c16:uniqueId val="{0000008C-C76F-4230-900D-40618C09729F}"/>
              </c:ext>
            </c:extLst>
          </c:dPt>
          <c:dPt>
            <c:idx val="68"/>
            <c:invertIfNegative val="0"/>
            <c:bubble3D val="0"/>
            <c:spPr>
              <a:solidFill>
                <a:srgbClr val="AEABAB"/>
              </a:solidFill>
            </c:spPr>
            <c:extLst>
              <c:ext xmlns:c16="http://schemas.microsoft.com/office/drawing/2014/chart" uri="{C3380CC4-5D6E-409C-BE32-E72D297353CC}">
                <c16:uniqueId val="{0000008E-C76F-4230-900D-40618C09729F}"/>
              </c:ext>
            </c:extLst>
          </c:dPt>
          <c:dPt>
            <c:idx val="69"/>
            <c:invertIfNegative val="0"/>
            <c:bubble3D val="0"/>
            <c:spPr>
              <a:solidFill>
                <a:srgbClr val="AEABAB"/>
              </a:solidFill>
            </c:spPr>
            <c:extLst>
              <c:ext xmlns:c16="http://schemas.microsoft.com/office/drawing/2014/chart" uri="{C3380CC4-5D6E-409C-BE32-E72D297353CC}">
                <c16:uniqueId val="{00000090-C76F-4230-900D-40618C09729F}"/>
              </c:ext>
            </c:extLst>
          </c:dPt>
          <c:dPt>
            <c:idx val="70"/>
            <c:invertIfNegative val="0"/>
            <c:bubble3D val="0"/>
            <c:spPr>
              <a:solidFill>
                <a:srgbClr val="AEABAB"/>
              </a:solidFill>
            </c:spPr>
            <c:extLst>
              <c:ext xmlns:c16="http://schemas.microsoft.com/office/drawing/2014/chart" uri="{C3380CC4-5D6E-409C-BE32-E72D297353CC}">
                <c16:uniqueId val="{00000092-C76F-4230-900D-40618C09729F}"/>
              </c:ext>
            </c:extLst>
          </c:dPt>
          <c:dPt>
            <c:idx val="71"/>
            <c:invertIfNegative val="0"/>
            <c:bubble3D val="0"/>
            <c:spPr>
              <a:solidFill>
                <a:srgbClr val="AEABAB"/>
              </a:solidFill>
            </c:spPr>
            <c:extLst>
              <c:ext xmlns:c16="http://schemas.microsoft.com/office/drawing/2014/chart" uri="{C3380CC4-5D6E-409C-BE32-E72D297353CC}">
                <c16:uniqueId val="{00000094-C76F-4230-900D-40618C09729F}"/>
              </c:ext>
            </c:extLst>
          </c:dPt>
          <c:dPt>
            <c:idx val="72"/>
            <c:invertIfNegative val="0"/>
            <c:bubble3D val="0"/>
            <c:spPr>
              <a:solidFill>
                <a:srgbClr val="AEABAB"/>
              </a:solidFill>
            </c:spPr>
            <c:extLst>
              <c:ext xmlns:c16="http://schemas.microsoft.com/office/drawing/2014/chart" uri="{C3380CC4-5D6E-409C-BE32-E72D297353CC}">
                <c16:uniqueId val="{00000096-C76F-4230-900D-40618C09729F}"/>
              </c:ext>
            </c:extLst>
          </c:dPt>
          <c:dPt>
            <c:idx val="73"/>
            <c:invertIfNegative val="0"/>
            <c:bubble3D val="0"/>
            <c:spPr>
              <a:solidFill>
                <a:srgbClr val="AEABAB"/>
              </a:solidFill>
            </c:spPr>
            <c:extLst>
              <c:ext xmlns:c16="http://schemas.microsoft.com/office/drawing/2014/chart" uri="{C3380CC4-5D6E-409C-BE32-E72D297353CC}">
                <c16:uniqueId val="{00000098-C76F-4230-900D-40618C09729F}"/>
              </c:ext>
            </c:extLst>
          </c:dPt>
          <c:dPt>
            <c:idx val="74"/>
            <c:invertIfNegative val="0"/>
            <c:bubble3D val="0"/>
            <c:spPr>
              <a:solidFill>
                <a:srgbClr val="AEABAB"/>
              </a:solidFill>
            </c:spPr>
            <c:extLst>
              <c:ext xmlns:c16="http://schemas.microsoft.com/office/drawing/2014/chart" uri="{C3380CC4-5D6E-409C-BE32-E72D297353CC}">
                <c16:uniqueId val="{0000009A-C76F-4230-900D-40618C09729F}"/>
              </c:ext>
            </c:extLst>
          </c:dPt>
          <c:dPt>
            <c:idx val="75"/>
            <c:invertIfNegative val="0"/>
            <c:bubble3D val="0"/>
            <c:spPr>
              <a:solidFill>
                <a:srgbClr val="AEABAB"/>
              </a:solidFill>
            </c:spPr>
            <c:extLst>
              <c:ext xmlns:c16="http://schemas.microsoft.com/office/drawing/2014/chart" uri="{C3380CC4-5D6E-409C-BE32-E72D297353CC}">
                <c16:uniqueId val="{0000009C-C76F-4230-900D-40618C09729F}"/>
              </c:ext>
            </c:extLst>
          </c:dPt>
          <c:dPt>
            <c:idx val="76"/>
            <c:invertIfNegative val="0"/>
            <c:bubble3D val="0"/>
            <c:spPr>
              <a:solidFill>
                <a:srgbClr val="AEABAB"/>
              </a:solidFill>
            </c:spPr>
            <c:extLst>
              <c:ext xmlns:c16="http://schemas.microsoft.com/office/drawing/2014/chart" uri="{C3380CC4-5D6E-409C-BE32-E72D297353CC}">
                <c16:uniqueId val="{0000009E-C76F-4230-900D-40618C09729F}"/>
              </c:ext>
            </c:extLst>
          </c:dPt>
          <c:dPt>
            <c:idx val="77"/>
            <c:invertIfNegative val="0"/>
            <c:bubble3D val="0"/>
            <c:spPr>
              <a:solidFill>
                <a:srgbClr val="AEABAB"/>
              </a:solidFill>
            </c:spPr>
            <c:extLst>
              <c:ext xmlns:c16="http://schemas.microsoft.com/office/drawing/2014/chart" uri="{C3380CC4-5D6E-409C-BE32-E72D297353CC}">
                <c16:uniqueId val="{000000A0-C76F-4230-900D-40618C09729F}"/>
              </c:ext>
            </c:extLst>
          </c:dPt>
          <c:dPt>
            <c:idx val="78"/>
            <c:invertIfNegative val="0"/>
            <c:bubble3D val="0"/>
            <c:spPr>
              <a:solidFill>
                <a:srgbClr val="AEABAB"/>
              </a:solidFill>
            </c:spPr>
            <c:extLst>
              <c:ext xmlns:c16="http://schemas.microsoft.com/office/drawing/2014/chart" uri="{C3380CC4-5D6E-409C-BE32-E72D297353CC}">
                <c16:uniqueId val="{000000A2-C76F-4230-900D-40618C09729F}"/>
              </c:ext>
            </c:extLst>
          </c:dPt>
          <c:dPt>
            <c:idx val="79"/>
            <c:invertIfNegative val="0"/>
            <c:bubble3D val="0"/>
            <c:spPr>
              <a:solidFill>
                <a:srgbClr val="AEABAB"/>
              </a:solidFill>
            </c:spPr>
            <c:extLst>
              <c:ext xmlns:c16="http://schemas.microsoft.com/office/drawing/2014/chart" uri="{C3380CC4-5D6E-409C-BE32-E72D297353CC}">
                <c16:uniqueId val="{000000A4-C76F-4230-900D-40618C09729F}"/>
              </c:ext>
            </c:extLst>
          </c:dPt>
          <c:dPt>
            <c:idx val="80"/>
            <c:invertIfNegative val="0"/>
            <c:bubble3D val="0"/>
            <c:spPr>
              <a:solidFill>
                <a:srgbClr val="AEABAB"/>
              </a:solidFill>
            </c:spPr>
            <c:extLst>
              <c:ext xmlns:c16="http://schemas.microsoft.com/office/drawing/2014/chart" uri="{C3380CC4-5D6E-409C-BE32-E72D297353CC}">
                <c16:uniqueId val="{000000A6-C76F-4230-900D-40618C09729F}"/>
              </c:ext>
            </c:extLst>
          </c:dPt>
          <c:dPt>
            <c:idx val="81"/>
            <c:invertIfNegative val="1"/>
            <c:bubble3D val="0"/>
            <c:spPr>
              <a:solidFill>
                <a:srgbClr val="AEABAB"/>
              </a:solidFill>
            </c:spPr>
            <c:extLst>
              <c:ext xmlns:c16="http://schemas.microsoft.com/office/drawing/2014/chart" uri="{C3380CC4-5D6E-409C-BE32-E72D297353CC}">
                <c16:uniqueId val="{000000A5-2993-41DE-A2CB-63102DE87051}"/>
              </c:ext>
            </c:extLst>
          </c:dPt>
          <c:dPt>
            <c:idx val="82"/>
            <c:invertIfNegative val="1"/>
            <c:bubble3D val="0"/>
            <c:spPr>
              <a:solidFill>
                <a:srgbClr val="AEABAB"/>
              </a:solidFill>
            </c:spPr>
            <c:extLst>
              <c:ext xmlns:c16="http://schemas.microsoft.com/office/drawing/2014/chart" uri="{C3380CC4-5D6E-409C-BE32-E72D297353CC}">
                <c16:uniqueId val="{000000A7-2993-41DE-A2CB-63102DE87051}"/>
              </c:ext>
            </c:extLst>
          </c:dPt>
          <c:dPt>
            <c:idx val="83"/>
            <c:invertIfNegative val="1"/>
            <c:bubble3D val="0"/>
            <c:spPr>
              <a:solidFill>
                <a:srgbClr val="AEABAB"/>
              </a:solidFill>
            </c:spPr>
            <c:extLst>
              <c:ext xmlns:c16="http://schemas.microsoft.com/office/drawing/2014/chart" uri="{C3380CC4-5D6E-409C-BE32-E72D297353CC}">
                <c16:uniqueId val="{000000A9-2993-41DE-A2CB-63102DE87051}"/>
              </c:ext>
            </c:extLst>
          </c:dPt>
          <c:dPt>
            <c:idx val="84"/>
            <c:invertIfNegative val="1"/>
            <c:bubble3D val="0"/>
            <c:spPr>
              <a:solidFill>
                <a:srgbClr val="AEABAB"/>
              </a:solidFill>
            </c:spPr>
            <c:extLst>
              <c:ext xmlns:c16="http://schemas.microsoft.com/office/drawing/2014/chart" uri="{C3380CC4-5D6E-409C-BE32-E72D297353CC}">
                <c16:uniqueId val="{000000AB-2993-41DE-A2CB-63102DE87051}"/>
              </c:ext>
            </c:extLst>
          </c:dPt>
          <c:dPt>
            <c:idx val="85"/>
            <c:invertIfNegative val="1"/>
            <c:bubble3D val="0"/>
            <c:spPr>
              <a:solidFill>
                <a:srgbClr val="AEABAB"/>
              </a:solidFill>
            </c:spPr>
            <c:extLst>
              <c:ext xmlns:c16="http://schemas.microsoft.com/office/drawing/2014/chart" uri="{C3380CC4-5D6E-409C-BE32-E72D297353CC}">
                <c16:uniqueId val="{000000AD-2993-41DE-A2CB-63102DE87051}"/>
              </c:ext>
            </c:extLst>
          </c:dPt>
          <c:dPt>
            <c:idx val="86"/>
            <c:invertIfNegative val="1"/>
            <c:bubble3D val="0"/>
            <c:spPr>
              <a:solidFill>
                <a:srgbClr val="AEABAB"/>
              </a:solidFill>
            </c:spPr>
            <c:extLst>
              <c:ext xmlns:c16="http://schemas.microsoft.com/office/drawing/2014/chart" uri="{C3380CC4-5D6E-409C-BE32-E72D297353CC}">
                <c16:uniqueId val="{000000AF-2993-41DE-A2CB-63102DE87051}"/>
              </c:ext>
            </c:extLst>
          </c:dPt>
          <c:dPt>
            <c:idx val="87"/>
            <c:invertIfNegative val="1"/>
            <c:bubble3D val="0"/>
            <c:spPr>
              <a:solidFill>
                <a:srgbClr val="AEABAB"/>
              </a:solidFill>
            </c:spPr>
            <c:extLst>
              <c:ext xmlns:c16="http://schemas.microsoft.com/office/drawing/2014/chart" uri="{C3380CC4-5D6E-409C-BE32-E72D297353CC}">
                <c16:uniqueId val="{000000B1-2993-41DE-A2CB-63102DE87051}"/>
              </c:ext>
            </c:extLst>
          </c:dPt>
          <c:dPt>
            <c:idx val="88"/>
            <c:invertIfNegative val="1"/>
            <c:bubble3D val="0"/>
            <c:spPr>
              <a:solidFill>
                <a:srgbClr val="AEABAB"/>
              </a:solidFill>
            </c:spPr>
            <c:extLst>
              <c:ext xmlns:c16="http://schemas.microsoft.com/office/drawing/2014/chart" uri="{C3380CC4-5D6E-409C-BE32-E72D297353CC}">
                <c16:uniqueId val="{000000B3-2993-41DE-A2CB-63102DE87051}"/>
              </c:ext>
            </c:extLst>
          </c:dPt>
          <c:dPt>
            <c:idx val="89"/>
            <c:invertIfNegative val="1"/>
            <c:bubble3D val="0"/>
            <c:spPr>
              <a:solidFill>
                <a:srgbClr val="AEABAB"/>
              </a:solidFill>
            </c:spPr>
            <c:extLst>
              <c:ext xmlns:c16="http://schemas.microsoft.com/office/drawing/2014/chart" uri="{C3380CC4-5D6E-409C-BE32-E72D297353CC}">
                <c16:uniqueId val="{000000B5-2993-41DE-A2CB-63102DE87051}"/>
              </c:ext>
            </c:extLst>
          </c:dPt>
          <c:dPt>
            <c:idx val="90"/>
            <c:invertIfNegative val="1"/>
            <c:bubble3D val="0"/>
            <c:spPr>
              <a:solidFill>
                <a:srgbClr val="AEABAB"/>
              </a:solidFill>
            </c:spPr>
            <c:extLst>
              <c:ext xmlns:c16="http://schemas.microsoft.com/office/drawing/2014/chart" uri="{C3380CC4-5D6E-409C-BE32-E72D297353CC}">
                <c16:uniqueId val="{000000B7-2993-41DE-A2CB-63102DE87051}"/>
              </c:ext>
            </c:extLst>
          </c:dPt>
          <c:dPt>
            <c:idx val="91"/>
            <c:invertIfNegative val="1"/>
            <c:bubble3D val="0"/>
            <c:spPr>
              <a:solidFill>
                <a:srgbClr val="AEABAB"/>
              </a:solidFill>
            </c:spPr>
            <c:extLst>
              <c:ext xmlns:c16="http://schemas.microsoft.com/office/drawing/2014/chart" uri="{C3380CC4-5D6E-409C-BE32-E72D297353CC}">
                <c16:uniqueId val="{000000B9-2993-41DE-A2CB-63102DE87051}"/>
              </c:ext>
            </c:extLst>
          </c:dPt>
          <c:dPt>
            <c:idx val="92"/>
            <c:invertIfNegative val="1"/>
            <c:bubble3D val="0"/>
            <c:spPr>
              <a:solidFill>
                <a:srgbClr val="AEABAB"/>
              </a:solidFill>
            </c:spPr>
            <c:extLst>
              <c:ext xmlns:c16="http://schemas.microsoft.com/office/drawing/2014/chart" uri="{C3380CC4-5D6E-409C-BE32-E72D297353CC}">
                <c16:uniqueId val="{000000BB-2993-41DE-A2CB-63102DE87051}"/>
              </c:ext>
            </c:extLst>
          </c:dPt>
          <c:dPt>
            <c:idx val="93"/>
            <c:invertIfNegative val="1"/>
            <c:bubble3D val="0"/>
            <c:spPr>
              <a:solidFill>
                <a:srgbClr val="AEABAB"/>
              </a:solidFill>
            </c:spPr>
            <c:extLst>
              <c:ext xmlns:c16="http://schemas.microsoft.com/office/drawing/2014/chart" uri="{C3380CC4-5D6E-409C-BE32-E72D297353CC}">
                <c16:uniqueId val="{000000BD-2993-41DE-A2CB-63102DE87051}"/>
              </c:ext>
            </c:extLst>
          </c:dPt>
          <c:dPt>
            <c:idx val="94"/>
            <c:invertIfNegative val="1"/>
            <c:bubble3D val="0"/>
            <c:spPr>
              <a:solidFill>
                <a:srgbClr val="AEABAB"/>
              </a:solidFill>
            </c:spPr>
            <c:extLst>
              <c:ext xmlns:c16="http://schemas.microsoft.com/office/drawing/2014/chart" uri="{C3380CC4-5D6E-409C-BE32-E72D297353CC}">
                <c16:uniqueId val="{000000BF-2993-41DE-A2CB-63102DE87051}"/>
              </c:ext>
            </c:extLst>
          </c:dPt>
          <c:dPt>
            <c:idx val="95"/>
            <c:invertIfNegative val="1"/>
            <c:bubble3D val="0"/>
            <c:spPr>
              <a:solidFill>
                <a:srgbClr val="AEABAB"/>
              </a:solidFill>
            </c:spPr>
            <c:extLst>
              <c:ext xmlns:c16="http://schemas.microsoft.com/office/drawing/2014/chart" uri="{C3380CC4-5D6E-409C-BE32-E72D297353CC}">
                <c16:uniqueId val="{000000C1-2993-41DE-A2CB-63102DE87051}"/>
              </c:ext>
            </c:extLst>
          </c:dPt>
          <c:dPt>
            <c:idx val="96"/>
            <c:invertIfNegative val="1"/>
            <c:bubble3D val="0"/>
            <c:spPr>
              <a:solidFill>
                <a:srgbClr val="AEABAB"/>
              </a:solidFill>
            </c:spPr>
            <c:extLst>
              <c:ext xmlns:c16="http://schemas.microsoft.com/office/drawing/2014/chart" uri="{C3380CC4-5D6E-409C-BE32-E72D297353CC}">
                <c16:uniqueId val="{000000C3-2993-41DE-A2CB-63102DE87051}"/>
              </c:ext>
            </c:extLst>
          </c:dPt>
          <c:dPt>
            <c:idx val="97"/>
            <c:invertIfNegative val="1"/>
            <c:bubble3D val="0"/>
            <c:spPr>
              <a:solidFill>
                <a:srgbClr val="AEABAB"/>
              </a:solidFill>
            </c:spPr>
            <c:extLst>
              <c:ext xmlns:c16="http://schemas.microsoft.com/office/drawing/2014/chart" uri="{C3380CC4-5D6E-409C-BE32-E72D297353CC}">
                <c16:uniqueId val="{000000C5-2993-41DE-A2CB-63102DE87051}"/>
              </c:ext>
            </c:extLst>
          </c:dPt>
          <c:dPt>
            <c:idx val="98"/>
            <c:invertIfNegative val="1"/>
            <c:bubble3D val="0"/>
            <c:spPr>
              <a:solidFill>
                <a:srgbClr val="AEABAB"/>
              </a:solidFill>
            </c:spPr>
            <c:extLst>
              <c:ext xmlns:c16="http://schemas.microsoft.com/office/drawing/2014/chart" uri="{C3380CC4-5D6E-409C-BE32-E72D297353CC}">
                <c16:uniqueId val="{000000C7-2993-41DE-A2CB-63102DE87051}"/>
              </c:ext>
            </c:extLst>
          </c:dPt>
          <c:dPt>
            <c:idx val="99"/>
            <c:invertIfNegative val="1"/>
            <c:bubble3D val="0"/>
            <c:spPr>
              <a:solidFill>
                <a:srgbClr val="AEABAB"/>
              </a:solidFill>
            </c:spPr>
            <c:extLst>
              <c:ext xmlns:c16="http://schemas.microsoft.com/office/drawing/2014/chart" uri="{C3380CC4-5D6E-409C-BE32-E72D297353CC}">
                <c16:uniqueId val="{000000C9-2993-41DE-A2CB-63102DE87051}"/>
              </c:ext>
            </c:extLst>
          </c:dPt>
          <c:dPt>
            <c:idx val="100"/>
            <c:invertIfNegative val="1"/>
            <c:bubble3D val="0"/>
            <c:spPr>
              <a:solidFill>
                <a:srgbClr val="AEABAB"/>
              </a:solidFill>
            </c:spPr>
            <c:extLst>
              <c:ext xmlns:c16="http://schemas.microsoft.com/office/drawing/2014/chart" uri="{C3380CC4-5D6E-409C-BE32-E72D297353CC}">
                <c16:uniqueId val="{000000CB-2993-41DE-A2CB-63102DE87051}"/>
              </c:ext>
            </c:extLst>
          </c:dPt>
          <c:dPt>
            <c:idx val="101"/>
            <c:invertIfNegative val="1"/>
            <c:bubble3D val="0"/>
            <c:spPr>
              <a:solidFill>
                <a:srgbClr val="AEABAB"/>
              </a:solidFill>
            </c:spPr>
            <c:extLst>
              <c:ext xmlns:c16="http://schemas.microsoft.com/office/drawing/2014/chart" uri="{C3380CC4-5D6E-409C-BE32-E72D297353CC}">
                <c16:uniqueId val="{000000CD-2993-41DE-A2CB-63102DE87051}"/>
              </c:ext>
            </c:extLst>
          </c:dPt>
          <c:dPt>
            <c:idx val="102"/>
            <c:invertIfNegative val="1"/>
            <c:bubble3D val="0"/>
            <c:spPr>
              <a:solidFill>
                <a:srgbClr val="AEABAB"/>
              </a:solidFill>
            </c:spPr>
            <c:extLst>
              <c:ext xmlns:c16="http://schemas.microsoft.com/office/drawing/2014/chart" uri="{C3380CC4-5D6E-409C-BE32-E72D297353CC}">
                <c16:uniqueId val="{000000CF-2993-41DE-A2CB-63102DE87051}"/>
              </c:ext>
            </c:extLst>
          </c:dPt>
          <c:dPt>
            <c:idx val="103"/>
            <c:invertIfNegative val="1"/>
            <c:bubble3D val="0"/>
            <c:spPr>
              <a:solidFill>
                <a:srgbClr val="AEABAB"/>
              </a:solidFill>
            </c:spPr>
            <c:extLst>
              <c:ext xmlns:c16="http://schemas.microsoft.com/office/drawing/2014/chart" uri="{C3380CC4-5D6E-409C-BE32-E72D297353CC}">
                <c16:uniqueId val="{000000D1-2993-41DE-A2CB-63102DE87051}"/>
              </c:ext>
            </c:extLst>
          </c:dPt>
          <c:dPt>
            <c:idx val="104"/>
            <c:invertIfNegative val="1"/>
            <c:bubble3D val="0"/>
            <c:spPr>
              <a:solidFill>
                <a:srgbClr val="AEABAB"/>
              </a:solidFill>
            </c:spPr>
            <c:extLst>
              <c:ext xmlns:c16="http://schemas.microsoft.com/office/drawing/2014/chart" uri="{C3380CC4-5D6E-409C-BE32-E72D297353CC}">
                <c16:uniqueId val="{000000D3-2993-41DE-A2CB-63102DE87051}"/>
              </c:ext>
            </c:extLst>
          </c:dPt>
          <c:dPt>
            <c:idx val="105"/>
            <c:invertIfNegative val="1"/>
            <c:bubble3D val="0"/>
            <c:spPr>
              <a:solidFill>
                <a:srgbClr val="AEABAB"/>
              </a:solidFill>
            </c:spPr>
            <c:extLst>
              <c:ext xmlns:c16="http://schemas.microsoft.com/office/drawing/2014/chart" uri="{C3380CC4-5D6E-409C-BE32-E72D297353CC}">
                <c16:uniqueId val="{000000D5-2993-41DE-A2CB-63102DE87051}"/>
              </c:ext>
            </c:extLst>
          </c:dPt>
          <c:dPt>
            <c:idx val="106"/>
            <c:invertIfNegative val="1"/>
            <c:bubble3D val="0"/>
            <c:spPr>
              <a:solidFill>
                <a:srgbClr val="AEABAB"/>
              </a:solidFill>
            </c:spPr>
            <c:extLst>
              <c:ext xmlns:c16="http://schemas.microsoft.com/office/drawing/2014/chart" uri="{C3380CC4-5D6E-409C-BE32-E72D297353CC}">
                <c16:uniqueId val="{000000D7-2993-41DE-A2CB-63102DE87051}"/>
              </c:ext>
            </c:extLst>
          </c:dPt>
          <c:dPt>
            <c:idx val="107"/>
            <c:invertIfNegative val="1"/>
            <c:bubble3D val="0"/>
            <c:spPr>
              <a:solidFill>
                <a:srgbClr val="AEABAB"/>
              </a:solidFill>
            </c:spPr>
            <c:extLst>
              <c:ext xmlns:c16="http://schemas.microsoft.com/office/drawing/2014/chart" uri="{C3380CC4-5D6E-409C-BE32-E72D297353CC}">
                <c16:uniqueId val="{000000D9-2993-41DE-A2CB-63102DE87051}"/>
              </c:ext>
            </c:extLst>
          </c:dPt>
          <c:dPt>
            <c:idx val="108"/>
            <c:invertIfNegative val="1"/>
            <c:bubble3D val="0"/>
            <c:spPr>
              <a:solidFill>
                <a:srgbClr val="AEABAB"/>
              </a:solidFill>
            </c:spPr>
            <c:extLst>
              <c:ext xmlns:c16="http://schemas.microsoft.com/office/drawing/2014/chart" uri="{C3380CC4-5D6E-409C-BE32-E72D297353CC}">
                <c16:uniqueId val="{000000DB-2993-41DE-A2CB-63102DE87051}"/>
              </c:ext>
            </c:extLst>
          </c:dPt>
          <c:dPt>
            <c:idx val="109"/>
            <c:invertIfNegative val="1"/>
            <c:bubble3D val="0"/>
            <c:spPr>
              <a:solidFill>
                <a:srgbClr val="AEABAB"/>
              </a:solidFill>
            </c:spPr>
            <c:extLst>
              <c:ext xmlns:c16="http://schemas.microsoft.com/office/drawing/2014/chart" uri="{C3380CC4-5D6E-409C-BE32-E72D297353CC}">
                <c16:uniqueId val="{000000DD-2993-41DE-A2CB-63102DE87051}"/>
              </c:ext>
            </c:extLst>
          </c:dPt>
          <c:dPt>
            <c:idx val="110"/>
            <c:invertIfNegative val="1"/>
            <c:bubble3D val="0"/>
            <c:spPr>
              <a:solidFill>
                <a:srgbClr val="AEABAB"/>
              </a:solidFill>
            </c:spPr>
            <c:extLst>
              <c:ext xmlns:c16="http://schemas.microsoft.com/office/drawing/2014/chart" uri="{C3380CC4-5D6E-409C-BE32-E72D297353CC}">
                <c16:uniqueId val="{000000DF-2993-41DE-A2CB-63102DE87051}"/>
              </c:ext>
            </c:extLst>
          </c:dPt>
          <c:dPt>
            <c:idx val="111"/>
            <c:invertIfNegative val="1"/>
            <c:bubble3D val="0"/>
            <c:spPr>
              <a:solidFill>
                <a:srgbClr val="AEABAB"/>
              </a:solidFill>
            </c:spPr>
            <c:extLst>
              <c:ext xmlns:c16="http://schemas.microsoft.com/office/drawing/2014/chart" uri="{C3380CC4-5D6E-409C-BE32-E72D297353CC}">
                <c16:uniqueId val="{000000E1-2993-41DE-A2CB-63102DE87051}"/>
              </c:ext>
            </c:extLst>
          </c:dPt>
          <c:dPt>
            <c:idx val="112"/>
            <c:invertIfNegative val="1"/>
            <c:bubble3D val="0"/>
            <c:spPr>
              <a:solidFill>
                <a:srgbClr val="AEABAB"/>
              </a:solidFill>
            </c:spPr>
            <c:extLst>
              <c:ext xmlns:c16="http://schemas.microsoft.com/office/drawing/2014/chart" uri="{C3380CC4-5D6E-409C-BE32-E72D297353CC}">
                <c16:uniqueId val="{000000E3-2993-41DE-A2CB-63102DE87051}"/>
              </c:ext>
            </c:extLst>
          </c:dPt>
          <c:dPt>
            <c:idx val="113"/>
            <c:invertIfNegative val="1"/>
            <c:bubble3D val="0"/>
            <c:spPr>
              <a:solidFill>
                <a:srgbClr val="AEABAB"/>
              </a:solidFill>
            </c:spPr>
            <c:extLst>
              <c:ext xmlns:c16="http://schemas.microsoft.com/office/drawing/2014/chart" uri="{C3380CC4-5D6E-409C-BE32-E72D297353CC}">
                <c16:uniqueId val="{000000E5-2993-41DE-A2CB-63102DE87051}"/>
              </c:ext>
            </c:extLst>
          </c:dPt>
          <c:dPt>
            <c:idx val="114"/>
            <c:invertIfNegative val="1"/>
            <c:bubble3D val="0"/>
            <c:spPr>
              <a:solidFill>
                <a:srgbClr val="AEABAB"/>
              </a:solidFill>
            </c:spPr>
            <c:extLst>
              <c:ext xmlns:c16="http://schemas.microsoft.com/office/drawing/2014/chart" uri="{C3380CC4-5D6E-409C-BE32-E72D297353CC}">
                <c16:uniqueId val="{000000E7-2993-41DE-A2CB-63102DE87051}"/>
              </c:ext>
            </c:extLst>
          </c:dPt>
          <c:dPt>
            <c:idx val="115"/>
            <c:invertIfNegative val="1"/>
            <c:bubble3D val="0"/>
            <c:spPr>
              <a:solidFill>
                <a:srgbClr val="AEABAB"/>
              </a:solidFill>
            </c:spPr>
            <c:extLst>
              <c:ext xmlns:c16="http://schemas.microsoft.com/office/drawing/2014/chart" uri="{C3380CC4-5D6E-409C-BE32-E72D297353CC}">
                <c16:uniqueId val="{000000E9-2993-41DE-A2CB-63102DE87051}"/>
              </c:ext>
            </c:extLst>
          </c:dPt>
          <c:dPt>
            <c:idx val="116"/>
            <c:invertIfNegative val="1"/>
            <c:bubble3D val="0"/>
            <c:spPr>
              <a:solidFill>
                <a:srgbClr val="AEABAB"/>
              </a:solidFill>
            </c:spPr>
            <c:extLst>
              <c:ext xmlns:c16="http://schemas.microsoft.com/office/drawing/2014/chart" uri="{C3380CC4-5D6E-409C-BE32-E72D297353CC}">
                <c16:uniqueId val="{000000EB-2993-41DE-A2CB-63102DE87051}"/>
              </c:ext>
            </c:extLst>
          </c:dPt>
          <c:dPt>
            <c:idx val="117"/>
            <c:invertIfNegative val="1"/>
            <c:bubble3D val="0"/>
            <c:spPr>
              <a:solidFill>
                <a:srgbClr val="AEABAB"/>
              </a:solidFill>
            </c:spPr>
            <c:extLst>
              <c:ext xmlns:c16="http://schemas.microsoft.com/office/drawing/2014/chart" uri="{C3380CC4-5D6E-409C-BE32-E72D297353CC}">
                <c16:uniqueId val="{000000ED-2993-41DE-A2CB-63102DE87051}"/>
              </c:ext>
            </c:extLst>
          </c:dPt>
          <c:dPt>
            <c:idx val="118"/>
            <c:invertIfNegative val="1"/>
            <c:bubble3D val="0"/>
            <c:spPr>
              <a:solidFill>
                <a:srgbClr val="AEABAB"/>
              </a:solidFill>
            </c:spPr>
            <c:extLst>
              <c:ext xmlns:c16="http://schemas.microsoft.com/office/drawing/2014/chart" uri="{C3380CC4-5D6E-409C-BE32-E72D297353CC}">
                <c16:uniqueId val="{000000EF-2993-41DE-A2CB-63102DE87051}"/>
              </c:ext>
            </c:extLst>
          </c:dPt>
          <c:dPt>
            <c:idx val="119"/>
            <c:invertIfNegative val="1"/>
            <c:bubble3D val="0"/>
            <c:spPr>
              <a:solidFill>
                <a:srgbClr val="AEABAB"/>
              </a:solidFill>
            </c:spPr>
            <c:extLst>
              <c:ext xmlns:c16="http://schemas.microsoft.com/office/drawing/2014/chart" uri="{C3380CC4-5D6E-409C-BE32-E72D297353CC}">
                <c16:uniqueId val="{000000F1-2993-41DE-A2CB-63102DE87051}"/>
              </c:ext>
            </c:extLst>
          </c:dPt>
          <c:dPt>
            <c:idx val="120"/>
            <c:invertIfNegative val="1"/>
            <c:bubble3D val="0"/>
            <c:spPr>
              <a:solidFill>
                <a:srgbClr val="AEABAB"/>
              </a:solidFill>
            </c:spPr>
            <c:extLst>
              <c:ext xmlns:c16="http://schemas.microsoft.com/office/drawing/2014/chart" uri="{C3380CC4-5D6E-409C-BE32-E72D297353CC}">
                <c16:uniqueId val="{000000F3-2993-41DE-A2CB-63102DE87051}"/>
              </c:ext>
            </c:extLst>
          </c:dPt>
          <c:dPt>
            <c:idx val="121"/>
            <c:invertIfNegative val="1"/>
            <c:bubble3D val="0"/>
            <c:spPr>
              <a:solidFill>
                <a:srgbClr val="AEABAB"/>
              </a:solidFill>
            </c:spPr>
            <c:extLst>
              <c:ext xmlns:c16="http://schemas.microsoft.com/office/drawing/2014/chart" uri="{C3380CC4-5D6E-409C-BE32-E72D297353CC}">
                <c16:uniqueId val="{000000F5-2993-41DE-A2CB-63102DE87051}"/>
              </c:ext>
            </c:extLst>
          </c:dPt>
          <c:dPt>
            <c:idx val="122"/>
            <c:invertIfNegative val="1"/>
            <c:bubble3D val="0"/>
            <c:spPr>
              <a:solidFill>
                <a:srgbClr val="AEABAB"/>
              </a:solidFill>
            </c:spPr>
            <c:extLst>
              <c:ext xmlns:c16="http://schemas.microsoft.com/office/drawing/2014/chart" uri="{C3380CC4-5D6E-409C-BE32-E72D297353CC}">
                <c16:uniqueId val="{000000F7-2993-41DE-A2CB-63102DE87051}"/>
              </c:ext>
            </c:extLst>
          </c:dPt>
          <c:dPt>
            <c:idx val="123"/>
            <c:invertIfNegative val="1"/>
            <c:bubble3D val="0"/>
            <c:spPr>
              <a:solidFill>
                <a:srgbClr val="AEABAB"/>
              </a:solidFill>
            </c:spPr>
            <c:extLst>
              <c:ext xmlns:c16="http://schemas.microsoft.com/office/drawing/2014/chart" uri="{C3380CC4-5D6E-409C-BE32-E72D297353CC}">
                <c16:uniqueId val="{000000F9-2993-41DE-A2CB-63102DE87051}"/>
              </c:ext>
            </c:extLst>
          </c:dPt>
          <c:dPt>
            <c:idx val="124"/>
            <c:invertIfNegative val="1"/>
            <c:bubble3D val="0"/>
            <c:spPr>
              <a:solidFill>
                <a:srgbClr val="AEABAB"/>
              </a:solidFill>
            </c:spPr>
            <c:extLst>
              <c:ext xmlns:c16="http://schemas.microsoft.com/office/drawing/2014/chart" uri="{C3380CC4-5D6E-409C-BE32-E72D297353CC}">
                <c16:uniqueId val="{000000FB-2993-41DE-A2CB-63102DE87051}"/>
              </c:ext>
            </c:extLst>
          </c:dPt>
          <c:dPt>
            <c:idx val="125"/>
            <c:invertIfNegative val="1"/>
            <c:bubble3D val="0"/>
            <c:spPr>
              <a:solidFill>
                <a:srgbClr val="AEABAB"/>
              </a:solidFill>
            </c:spPr>
            <c:extLst>
              <c:ext xmlns:c16="http://schemas.microsoft.com/office/drawing/2014/chart" uri="{C3380CC4-5D6E-409C-BE32-E72D297353CC}">
                <c16:uniqueId val="{000000FD-2993-41DE-A2CB-63102DE87051}"/>
              </c:ext>
            </c:extLst>
          </c:dPt>
          <c:dPt>
            <c:idx val="126"/>
            <c:invertIfNegative val="1"/>
            <c:bubble3D val="0"/>
            <c:spPr>
              <a:solidFill>
                <a:srgbClr val="AEABAB"/>
              </a:solidFill>
            </c:spPr>
            <c:extLst>
              <c:ext xmlns:c16="http://schemas.microsoft.com/office/drawing/2014/chart" uri="{C3380CC4-5D6E-409C-BE32-E72D297353CC}">
                <c16:uniqueId val="{000000FF-2993-41DE-A2CB-63102DE87051}"/>
              </c:ext>
            </c:extLst>
          </c:dPt>
          <c:dPt>
            <c:idx val="127"/>
            <c:invertIfNegative val="1"/>
            <c:bubble3D val="0"/>
            <c:spPr>
              <a:solidFill>
                <a:srgbClr val="AEABAB"/>
              </a:solidFill>
            </c:spPr>
            <c:extLst>
              <c:ext xmlns:c16="http://schemas.microsoft.com/office/drawing/2014/chart" uri="{C3380CC4-5D6E-409C-BE32-E72D297353CC}">
                <c16:uniqueId val="{00000101-2993-41DE-A2CB-63102DE87051}"/>
              </c:ext>
            </c:extLst>
          </c:dPt>
          <c:dPt>
            <c:idx val="128"/>
            <c:invertIfNegative val="1"/>
            <c:bubble3D val="0"/>
            <c:spPr>
              <a:solidFill>
                <a:srgbClr val="AEABAB"/>
              </a:solidFill>
            </c:spPr>
            <c:extLst>
              <c:ext xmlns:c16="http://schemas.microsoft.com/office/drawing/2014/chart" uri="{C3380CC4-5D6E-409C-BE32-E72D297353CC}">
                <c16:uniqueId val="{00000103-2993-41DE-A2CB-63102DE87051}"/>
              </c:ext>
            </c:extLst>
          </c:dPt>
          <c:dPt>
            <c:idx val="129"/>
            <c:invertIfNegative val="1"/>
            <c:bubble3D val="0"/>
            <c:spPr>
              <a:solidFill>
                <a:srgbClr val="AEABAB"/>
              </a:solidFill>
            </c:spPr>
            <c:extLst>
              <c:ext xmlns:c16="http://schemas.microsoft.com/office/drawing/2014/chart" uri="{C3380CC4-5D6E-409C-BE32-E72D297353CC}">
                <c16:uniqueId val="{00000105-2993-41DE-A2CB-63102DE87051}"/>
              </c:ext>
            </c:extLst>
          </c:dPt>
          <c:dPt>
            <c:idx val="130"/>
            <c:invertIfNegative val="1"/>
            <c:bubble3D val="0"/>
            <c:spPr>
              <a:solidFill>
                <a:srgbClr val="AEABAB"/>
              </a:solidFill>
            </c:spPr>
            <c:extLst>
              <c:ext xmlns:c16="http://schemas.microsoft.com/office/drawing/2014/chart" uri="{C3380CC4-5D6E-409C-BE32-E72D297353CC}">
                <c16:uniqueId val="{00000107-2993-41DE-A2CB-63102DE87051}"/>
              </c:ext>
            </c:extLst>
          </c:dPt>
          <c:dPt>
            <c:idx val="131"/>
            <c:invertIfNegative val="1"/>
            <c:bubble3D val="0"/>
            <c:spPr>
              <a:solidFill>
                <a:srgbClr val="AEABAB"/>
              </a:solidFill>
            </c:spPr>
            <c:extLst>
              <c:ext xmlns:c16="http://schemas.microsoft.com/office/drawing/2014/chart" uri="{C3380CC4-5D6E-409C-BE32-E72D297353CC}">
                <c16:uniqueId val="{00000109-2993-41DE-A2CB-63102DE87051}"/>
              </c:ext>
            </c:extLst>
          </c:dPt>
          <c:dPt>
            <c:idx val="132"/>
            <c:invertIfNegative val="1"/>
            <c:bubble3D val="0"/>
            <c:spPr>
              <a:solidFill>
                <a:srgbClr val="AEABAB"/>
              </a:solidFill>
            </c:spPr>
            <c:extLst>
              <c:ext xmlns:c16="http://schemas.microsoft.com/office/drawing/2014/chart" uri="{C3380CC4-5D6E-409C-BE32-E72D297353CC}">
                <c16:uniqueId val="{0000010B-2993-41DE-A2CB-63102DE87051}"/>
              </c:ext>
            </c:extLst>
          </c:dPt>
          <c:dPt>
            <c:idx val="133"/>
            <c:invertIfNegative val="1"/>
            <c:bubble3D val="0"/>
            <c:spPr>
              <a:solidFill>
                <a:srgbClr val="AEABAB"/>
              </a:solidFill>
            </c:spPr>
            <c:extLst>
              <c:ext xmlns:c16="http://schemas.microsoft.com/office/drawing/2014/chart" uri="{C3380CC4-5D6E-409C-BE32-E72D297353CC}">
                <c16:uniqueId val="{0000010D-2993-41DE-A2CB-63102DE87051}"/>
              </c:ext>
            </c:extLst>
          </c:dPt>
          <c:dPt>
            <c:idx val="134"/>
            <c:invertIfNegative val="1"/>
            <c:bubble3D val="0"/>
            <c:spPr>
              <a:solidFill>
                <a:srgbClr val="AEABAB"/>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136</c:f>
              <c:strCache>
                <c:ptCount val="135"/>
                <c:pt idx="0">
                  <c:v>Private Lab</c:v>
                </c:pt>
                <c:pt idx="1">
                  <c:v>Private Lab</c:v>
                </c:pt>
                <c:pt idx="2">
                  <c:v>Private Lab</c:v>
                </c:pt>
                <c:pt idx="3">
                  <c:v>Private Lab</c:v>
                </c:pt>
                <c:pt idx="4">
                  <c:v>Galbani</c:v>
                </c:pt>
                <c:pt idx="5">
                  <c:v>Private Lab</c:v>
                </c:pt>
                <c:pt idx="6">
                  <c:v>Salakis</c:v>
                </c:pt>
                <c:pt idx="7">
                  <c:v>Private Lab</c:v>
                </c:pt>
                <c:pt idx="8">
                  <c:v>Galbani</c:v>
                </c:pt>
                <c:pt idx="9">
                  <c:v>Private Lab</c:v>
                </c:pt>
                <c:pt idx="10">
                  <c:v>Private Lab</c:v>
                </c:pt>
                <c:pt idx="11">
                  <c:v>Private Lab</c:v>
                </c:pt>
                <c:pt idx="12">
                  <c:v>Galbani</c:v>
                </c:pt>
                <c:pt idx="13">
                  <c:v>Private Lab</c:v>
                </c:pt>
                <c:pt idx="14">
                  <c:v>Private Lab</c:v>
                </c:pt>
                <c:pt idx="15">
                  <c:v>Galbani</c:v>
                </c:pt>
                <c:pt idx="16">
                  <c:v>Galbani</c:v>
                </c:pt>
                <c:pt idx="17">
                  <c:v>Islos</c:v>
                </c:pt>
                <c:pt idx="18">
                  <c:v>Private Lab</c:v>
                </c:pt>
                <c:pt idx="19">
                  <c:v>Galbani</c:v>
                </c:pt>
                <c:pt idx="20">
                  <c:v>Private Lab</c:v>
                </c:pt>
                <c:pt idx="21">
                  <c:v>All Others</c:v>
                </c:pt>
                <c:pt idx="22">
                  <c:v>Salakis</c:v>
                </c:pt>
                <c:pt idx="23">
                  <c:v>Casa Azzurr</c:v>
                </c:pt>
                <c:pt idx="24">
                  <c:v>Private Lab</c:v>
                </c:pt>
                <c:pt idx="25">
                  <c:v>Boursin</c:v>
                </c:pt>
                <c:pt idx="26">
                  <c:v>Private Lab</c:v>
                </c:pt>
                <c:pt idx="27">
                  <c:v>Casa Azzurr</c:v>
                </c:pt>
                <c:pt idx="28">
                  <c:v>Private Lab</c:v>
                </c:pt>
                <c:pt idx="29">
                  <c:v>Private Lab</c:v>
                </c:pt>
                <c:pt idx="30">
                  <c:v>Private Lab</c:v>
                </c:pt>
                <c:pt idx="31">
                  <c:v>Salakis</c:v>
                </c:pt>
                <c:pt idx="32">
                  <c:v>Galbani</c:v>
                </c:pt>
                <c:pt idx="33">
                  <c:v>Casa Azzurr</c:v>
                </c:pt>
                <c:pt idx="34">
                  <c:v>Galbani</c:v>
                </c:pt>
                <c:pt idx="35">
                  <c:v>Salakis</c:v>
                </c:pt>
                <c:pt idx="36">
                  <c:v>Private Lab</c:v>
                </c:pt>
                <c:pt idx="37">
                  <c:v>Private Lab</c:v>
                </c:pt>
                <c:pt idx="38">
                  <c:v>All Others</c:v>
                </c:pt>
                <c:pt idx="39">
                  <c:v>Salakis</c:v>
                </c:pt>
                <c:pt idx="40">
                  <c:v>Casa Azzurr</c:v>
                </c:pt>
                <c:pt idx="41">
                  <c:v>Casa Azzurr</c:v>
                </c:pt>
                <c:pt idx="42">
                  <c:v>Casa Azzurr</c:v>
                </c:pt>
                <c:pt idx="43">
                  <c:v>Casa Azzurr</c:v>
                </c:pt>
                <c:pt idx="44">
                  <c:v>Galbani</c:v>
                </c:pt>
                <c:pt idx="45">
                  <c:v>All Others</c:v>
                </c:pt>
                <c:pt idx="46">
                  <c:v>All Others</c:v>
                </c:pt>
                <c:pt idx="47">
                  <c:v>Salakis</c:v>
                </c:pt>
                <c:pt idx="48">
                  <c:v>Galbani</c:v>
                </c:pt>
                <c:pt idx="49">
                  <c:v>All Others</c:v>
                </c:pt>
                <c:pt idx="50">
                  <c:v>Salakis</c:v>
                </c:pt>
                <c:pt idx="51">
                  <c:v>Galbani</c:v>
                </c:pt>
                <c:pt idx="52">
                  <c:v>All Others</c:v>
                </c:pt>
                <c:pt idx="53">
                  <c:v>Casa Azzurr</c:v>
                </c:pt>
                <c:pt idx="54">
                  <c:v>Casa Azzurr</c:v>
                </c:pt>
                <c:pt idx="55">
                  <c:v>All Others</c:v>
                </c:pt>
                <c:pt idx="56">
                  <c:v>Galbani</c:v>
                </c:pt>
                <c:pt idx="57">
                  <c:v>All Others</c:v>
                </c:pt>
                <c:pt idx="58">
                  <c:v>Islos</c:v>
                </c:pt>
                <c:pt idx="59">
                  <c:v>Lactalis: A</c:v>
                </c:pt>
                <c:pt idx="60">
                  <c:v>Boursin</c:v>
                </c:pt>
                <c:pt idx="61">
                  <c:v>Galbani</c:v>
                </c:pt>
                <c:pt idx="62">
                  <c:v>All Others</c:v>
                </c:pt>
                <c:pt idx="63">
                  <c:v>All Others</c:v>
                </c:pt>
                <c:pt idx="64">
                  <c:v>Galbani</c:v>
                </c:pt>
                <c:pt idx="65">
                  <c:v>All Others</c:v>
                </c:pt>
                <c:pt idx="66">
                  <c:v>Boursin</c:v>
                </c:pt>
                <c:pt idx="67">
                  <c:v>All Others</c:v>
                </c:pt>
                <c:pt idx="68">
                  <c:v>Islos</c:v>
                </c:pt>
                <c:pt idx="69">
                  <c:v>All Others</c:v>
                </c:pt>
                <c:pt idx="70">
                  <c:v>All Others</c:v>
                </c:pt>
                <c:pt idx="71">
                  <c:v>All Others</c:v>
                </c:pt>
                <c:pt idx="72">
                  <c:v>All Others</c:v>
                </c:pt>
                <c:pt idx="73">
                  <c:v>All Others</c:v>
                </c:pt>
                <c:pt idx="74">
                  <c:v>All Others</c:v>
                </c:pt>
                <c:pt idx="75">
                  <c:v>All Others</c:v>
                </c:pt>
                <c:pt idx="76">
                  <c:v>Boursin</c:v>
                </c:pt>
                <c:pt idx="77">
                  <c:v>All Others</c:v>
                </c:pt>
                <c:pt idx="78">
                  <c:v>Private Lab</c:v>
                </c:pt>
                <c:pt idx="79">
                  <c:v>All Others</c:v>
                </c:pt>
                <c:pt idx="80">
                  <c:v>All Others</c:v>
                </c:pt>
                <c:pt idx="81">
                  <c:v>Casa Azzurr</c:v>
                </c:pt>
                <c:pt idx="82">
                  <c:v>All Others</c:v>
                </c:pt>
                <c:pt idx="83">
                  <c:v>All Others</c:v>
                </c:pt>
                <c:pt idx="84">
                  <c:v>Boursin</c:v>
                </c:pt>
                <c:pt idx="85">
                  <c:v>All Others</c:v>
                </c:pt>
                <c:pt idx="86">
                  <c:v>All Others</c:v>
                </c:pt>
                <c:pt idx="87">
                  <c:v>All Others</c:v>
                </c:pt>
                <c:pt idx="88">
                  <c:v>All Others</c:v>
                </c:pt>
                <c:pt idx="89">
                  <c:v>All Others</c:v>
                </c:pt>
                <c:pt idx="90">
                  <c:v>All Others</c:v>
                </c:pt>
                <c:pt idx="91">
                  <c:v>All Others</c:v>
                </c:pt>
                <c:pt idx="92">
                  <c:v>All Others</c:v>
                </c:pt>
                <c:pt idx="93">
                  <c:v>Boursin</c:v>
                </c:pt>
                <c:pt idx="94">
                  <c:v>All Others</c:v>
                </c:pt>
                <c:pt idx="95">
                  <c:v>All Others</c:v>
                </c:pt>
                <c:pt idx="96">
                  <c:v>Salakis</c:v>
                </c:pt>
                <c:pt idx="97">
                  <c:v>All Others</c:v>
                </c:pt>
                <c:pt idx="98">
                  <c:v>Salakis</c:v>
                </c:pt>
                <c:pt idx="99">
                  <c:v>All Others</c:v>
                </c:pt>
                <c:pt idx="100">
                  <c:v>All Others</c:v>
                </c:pt>
                <c:pt idx="101">
                  <c:v>All Others</c:v>
                </c:pt>
                <c:pt idx="102">
                  <c:v>All Others</c:v>
                </c:pt>
                <c:pt idx="103">
                  <c:v>All Others</c:v>
                </c:pt>
                <c:pt idx="104">
                  <c:v>All Others</c:v>
                </c:pt>
                <c:pt idx="105">
                  <c:v>All Others</c:v>
                </c:pt>
                <c:pt idx="106">
                  <c:v>All Others</c:v>
                </c:pt>
                <c:pt idx="107">
                  <c:v>All Others</c:v>
                </c:pt>
                <c:pt idx="108">
                  <c:v>Entremont</c:v>
                </c:pt>
                <c:pt idx="109">
                  <c:v>All Others</c:v>
                </c:pt>
                <c:pt idx="110">
                  <c:v>Entremont</c:v>
                </c:pt>
                <c:pt idx="111">
                  <c:v>All Others</c:v>
                </c:pt>
                <c:pt idx="112">
                  <c:v>All Others</c:v>
                </c:pt>
                <c:pt idx="113">
                  <c:v>All Others</c:v>
                </c:pt>
                <c:pt idx="114">
                  <c:v>Entremont</c:v>
                </c:pt>
                <c:pt idx="115">
                  <c:v>All Others</c:v>
                </c:pt>
                <c:pt idx="116">
                  <c:v>All Others</c:v>
                </c:pt>
                <c:pt idx="117">
                  <c:v>All Others</c:v>
                </c:pt>
                <c:pt idx="118">
                  <c:v>All Others</c:v>
                </c:pt>
                <c:pt idx="119">
                  <c:v>All Others</c:v>
                </c:pt>
                <c:pt idx="120">
                  <c:v>All Others</c:v>
                </c:pt>
                <c:pt idx="121">
                  <c:v>All Others</c:v>
                </c:pt>
                <c:pt idx="122">
                  <c:v>All Others</c:v>
                </c:pt>
                <c:pt idx="123">
                  <c:v>All Others</c:v>
                </c:pt>
                <c:pt idx="124">
                  <c:v>All Others</c:v>
                </c:pt>
                <c:pt idx="125">
                  <c:v>All Others</c:v>
                </c:pt>
                <c:pt idx="126">
                  <c:v>All Others</c:v>
                </c:pt>
                <c:pt idx="127">
                  <c:v>All Others</c:v>
                </c:pt>
                <c:pt idx="128">
                  <c:v>All Others</c:v>
                </c:pt>
                <c:pt idx="129">
                  <c:v>All Others</c:v>
                </c:pt>
                <c:pt idx="130">
                  <c:v>All Others</c:v>
                </c:pt>
                <c:pt idx="131">
                  <c:v>All Others</c:v>
                </c:pt>
                <c:pt idx="132">
                  <c:v>All Others</c:v>
                </c:pt>
                <c:pt idx="133">
                  <c:v>All Others</c:v>
                </c:pt>
                <c:pt idx="134">
                  <c:v>All Others</c:v>
                </c:pt>
              </c:strCache>
            </c:strRef>
          </c:cat>
          <c:val>
            <c:numRef>
              <c:f>Sheet1!$C$2:$C$136</c:f>
              <c:numCache>
                <c:formatCode>General</c:formatCode>
                <c:ptCount val="135"/>
                <c:pt idx="0">
                  <c:v>0.11746731717187339</c:v>
                </c:pt>
                <c:pt idx="1">
                  <c:v>0.2252601205596942</c:v>
                </c:pt>
                <c:pt idx="2">
                  <c:v>0.3167554933034339</c:v>
                </c:pt>
                <c:pt idx="3">
                  <c:v>0.37923267290052015</c:v>
                </c:pt>
                <c:pt idx="4">
                  <c:v>0.43192787320920073</c:v>
                </c:pt>
                <c:pt idx="5">
                  <c:v>0.4765592609582224</c:v>
                </c:pt>
                <c:pt idx="6">
                  <c:v>0.5203993928449702</c:v>
                </c:pt>
                <c:pt idx="7">
                  <c:v>0.5475832072141054</c:v>
                </c:pt>
                <c:pt idx="8">
                  <c:v>0.5744828981658219</c:v>
                </c:pt>
                <c:pt idx="9">
                  <c:v>0.6012566834462901</c:v>
                </c:pt>
                <c:pt idx="10">
                  <c:v>0.6279309698201878</c:v>
                </c:pt>
                <c:pt idx="11">
                  <c:v>0.6518213480976489</c:v>
                </c:pt>
                <c:pt idx="12">
                  <c:v>0.6741057605410067</c:v>
                </c:pt>
                <c:pt idx="13">
                  <c:v>0.6962123451513448</c:v>
                </c:pt>
                <c:pt idx="14">
                  <c:v>0.7158132397724205</c:v>
                </c:pt>
                <c:pt idx="15">
                  <c:v>0.7352341895624644</c:v>
                </c:pt>
                <c:pt idx="16">
                  <c:v>0.7531658312509687</c:v>
                </c:pt>
                <c:pt idx="17">
                  <c:v>0.7701628183171136</c:v>
                </c:pt>
                <c:pt idx="18">
                  <c:v>0.7859567376971497</c:v>
                </c:pt>
                <c:pt idx="19">
                  <c:v>0.8014430238397375</c:v>
                </c:pt>
                <c:pt idx="20">
                  <c:v>0.8166361614681181</c:v>
                </c:pt>
                <c:pt idx="21">
                  <c:v>0.8315827245385585</c:v>
                </c:pt>
                <c:pt idx="22">
                  <c:v>0.8463285070606897</c:v>
                </c:pt>
                <c:pt idx="23">
                  <c:v>0.8556429640512567</c:v>
                </c:pt>
                <c:pt idx="24">
                  <c:v>0.8647799274716481</c:v>
                </c:pt>
                <c:pt idx="25">
                  <c:v>0.8720361052896761</c:v>
                </c:pt>
                <c:pt idx="26">
                  <c:v>0.87901657197186</c:v>
                </c:pt>
                <c:pt idx="27">
                  <c:v>0.8859787099080967</c:v>
                </c:pt>
                <c:pt idx="28">
                  <c:v>0.8929344968502969</c:v>
                </c:pt>
                <c:pt idx="29">
                  <c:v>0.8994423158710338</c:v>
                </c:pt>
                <c:pt idx="30">
                  <c:v>0.9059168757387905</c:v>
                </c:pt>
                <c:pt idx="31">
                  <c:v>0.9117225199451854</c:v>
                </c:pt>
                <c:pt idx="32">
                  <c:v>0.9173663809350736</c:v>
                </c:pt>
                <c:pt idx="33">
                  <c:v>0.9224281231820977</c:v>
                </c:pt>
                <c:pt idx="34">
                  <c:v>0.9266987766982698</c:v>
                </c:pt>
                <c:pt idx="35">
                  <c:v>0.9305504874499345</c:v>
                </c:pt>
                <c:pt idx="36">
                  <c:v>0.9339742303403031</c:v>
                </c:pt>
                <c:pt idx="37">
                  <c:v>0.9373919007890054</c:v>
                </c:pt>
                <c:pt idx="38">
                  <c:v>0.9407983177219588</c:v>
                </c:pt>
                <c:pt idx="39">
                  <c:v>0.9441696927667639</c:v>
                </c:pt>
                <c:pt idx="40">
                  <c:v>0.9474024044417739</c:v>
                </c:pt>
                <c:pt idx="41">
                  <c:v>0.9500265906092421</c:v>
                </c:pt>
                <c:pt idx="42">
                  <c:v>0.9524493277027131</c:v>
                </c:pt>
                <c:pt idx="43">
                  <c:v>0.9547174125203498</c:v>
                </c:pt>
                <c:pt idx="44">
                  <c:v>0.9569222102395184</c:v>
                </c:pt>
                <c:pt idx="45">
                  <c:v>0.9590556985519624</c:v>
                </c:pt>
                <c:pt idx="46">
                  <c:v>0.9611166518272536</c:v>
                </c:pt>
                <c:pt idx="47">
                  <c:v>0.9629651810651688</c:v>
                </c:pt>
                <c:pt idx="48">
                  <c:v>0.9648079721242617</c:v>
                </c:pt>
                <c:pt idx="49">
                  <c:v>0.9665322670051488</c:v>
                </c:pt>
                <c:pt idx="50">
                  <c:v>0.9682113249811449</c:v>
                </c:pt>
                <c:pt idx="51">
                  <c:v>0.9698894915895571</c:v>
                </c:pt>
                <c:pt idx="52">
                  <c:v>0.9713318914719857</c:v>
                </c:pt>
                <c:pt idx="53">
                  <c:v>0.9727175780918786</c:v>
                </c:pt>
                <c:pt idx="54">
                  <c:v>0.9740966351653652</c:v>
                </c:pt>
                <c:pt idx="55">
                  <c:v>0.9754526838130881</c:v>
                </c:pt>
                <c:pt idx="56">
                  <c:v>0.9766753615860464</c:v>
                </c:pt>
                <c:pt idx="57">
                  <c:v>0.9778697941486848</c:v>
                </c:pt>
                <c:pt idx="58">
                  <c:v>0.9790544216678985</c:v>
                </c:pt>
                <c:pt idx="59">
                  <c:v>0.9801681854641795</c:v>
                </c:pt>
                <c:pt idx="60">
                  <c:v>0.9811941495534308</c:v>
                </c:pt>
                <c:pt idx="61">
                  <c:v>0.982159110673648</c:v>
                </c:pt>
                <c:pt idx="62">
                  <c:v>0.9830958265835454</c:v>
                </c:pt>
                <c:pt idx="63">
                  <c:v>0.9840236845280763</c:v>
                </c:pt>
                <c:pt idx="64">
                  <c:v>0.9849507068154971</c:v>
                </c:pt>
                <c:pt idx="65">
                  <c:v>0.9858496510240201</c:v>
                </c:pt>
                <c:pt idx="66">
                  <c:v>0.9866161714358364</c:v>
                </c:pt>
                <c:pt idx="67">
                  <c:v>0.987281577337336</c:v>
                </c:pt>
                <c:pt idx="68">
                  <c:v>0.9879139469277515</c:v>
                </c:pt>
                <c:pt idx="69">
                  <c:v>0.9884942272249735</c:v>
                </c:pt>
                <c:pt idx="70">
                  <c:v>0.9890674322919971</c:v>
                </c:pt>
                <c:pt idx="71">
                  <c:v>0.9896097737564227</c:v>
                </c:pt>
                <c:pt idx="72">
                  <c:v>0.9901431458345337</c:v>
                </c:pt>
                <c:pt idx="73">
                  <c:v>0.9906437044434565</c:v>
                </c:pt>
                <c:pt idx="74">
                  <c:v>0.9911000846464945</c:v>
                </c:pt>
                <c:pt idx="75">
                  <c:v>0.9915409773377594</c:v>
                </c:pt>
                <c:pt idx="76">
                  <c:v>0.9919591401556308</c:v>
                </c:pt>
                <c:pt idx="77">
                  <c:v>0.9923703391642518</c:v>
                </c:pt>
                <c:pt idx="78">
                  <c:v>0.9927688361847999</c:v>
                </c:pt>
                <c:pt idx="79">
                  <c:v>0.9931491715908229</c:v>
                </c:pt>
                <c:pt idx="80">
                  <c:v>0.9935251058693996</c:v>
                </c:pt>
                <c:pt idx="81">
                  <c:v>0.9938841041638791</c:v>
                </c:pt>
                <c:pt idx="82">
                  <c:v>0.9942106232520145</c:v>
                </c:pt>
                <c:pt idx="83">
                  <c:v>0.9945322398184375</c:v>
                </c:pt>
                <c:pt idx="84">
                  <c:v>0.9948307922486231</c:v>
                </c:pt>
                <c:pt idx="85">
                  <c:v>0.9951083975405833</c:v>
                </c:pt>
                <c:pt idx="86">
                  <c:v>0.9953850557544854</c:v>
                </c:pt>
                <c:pt idx="87">
                  <c:v>0.9956495133745807</c:v>
                </c:pt>
                <c:pt idx="88">
                  <c:v>0.9959101269719698</c:v>
                </c:pt>
                <c:pt idx="89">
                  <c:v>0.996127230689162</c:v>
                </c:pt>
                <c:pt idx="90">
                  <c:v>0.9963233872681289</c:v>
                </c:pt>
                <c:pt idx="91">
                  <c:v>0.9965180953747717</c:v>
                </c:pt>
                <c:pt idx="92">
                  <c:v>0.9967026084646717</c:v>
                </c:pt>
                <c:pt idx="93">
                  <c:v>0.9968709098066367</c:v>
                </c:pt>
                <c:pt idx="94">
                  <c:v>0.9970362584934795</c:v>
                </c:pt>
                <c:pt idx="95">
                  <c:v>0.9971999358661022</c:v>
                </c:pt>
                <c:pt idx="96">
                  <c:v>0.9973566494294746</c:v>
                </c:pt>
                <c:pt idx="97">
                  <c:v>0.9975078476559205</c:v>
                </c:pt>
                <c:pt idx="98">
                  <c:v>0.9976501879169998</c:v>
                </c:pt>
                <c:pt idx="99">
                  <c:v>0.997789352681061</c:v>
                </c:pt>
                <c:pt idx="100">
                  <c:v>0.9979202722949695</c:v>
                </c:pt>
                <c:pt idx="101">
                  <c:v>0.9980450637567376</c:v>
                </c:pt>
                <c:pt idx="102">
                  <c:v>0.998156039020953</c:v>
                </c:pt>
                <c:pt idx="103">
                  <c:v>0.9982658443652142</c:v>
                </c:pt>
                <c:pt idx="104">
                  <c:v>0.9983661232184208</c:v>
                </c:pt>
                <c:pt idx="105">
                  <c:v>0.9984603853404349</c:v>
                </c:pt>
                <c:pt idx="106">
                  <c:v>0.9985468479960886</c:v>
                </c:pt>
                <c:pt idx="107">
                  <c:v>0.9986325864155803</c:v>
                </c:pt>
                <c:pt idx="108">
                  <c:v>0.9987121966829315</c:v>
                </c:pt>
                <c:pt idx="109">
                  <c:v>0.9987903027674847</c:v>
                </c:pt>
                <c:pt idx="110">
                  <c:v>0.9989414452834566</c:v>
                </c:pt>
                <c:pt idx="111">
                  <c:v>0.9990151502405634</c:v>
                </c:pt>
                <c:pt idx="112">
                  <c:v>0.9990878524091382</c:v>
                </c:pt>
                <c:pt idx="113">
                  <c:v>0.9991564877131107</c:v>
                </c:pt>
                <c:pt idx="114">
                  <c:v>0.9992251230170832</c:v>
                </c:pt>
                <c:pt idx="115">
                  <c:v>0.9992915856125696</c:v>
                </c:pt>
                <c:pt idx="116">
                  <c:v>0.9993510843988055</c:v>
                </c:pt>
                <c:pt idx="117">
                  <c:v>0.9994086890289253</c:v>
                </c:pt>
                <c:pt idx="118">
                  <c:v>0.9995013355471933</c:v>
                </c:pt>
                <c:pt idx="119">
                  <c:v>0.999542227035112</c:v>
                </c:pt>
                <c:pt idx="120">
                  <c:v>0.9995826728392386</c:v>
                </c:pt>
                <c:pt idx="121">
                  <c:v>0.9996225615386253</c:v>
                </c:pt>
                <c:pt idx="122">
                  <c:v>0.9996606675028438</c:v>
                </c:pt>
                <c:pt idx="123">
                  <c:v>0.999693648103454</c:v>
                </c:pt>
                <c:pt idx="124">
                  <c:v>0.9997497485507757</c:v>
                </c:pt>
                <c:pt idx="125">
                  <c:v>0.9997771581039855</c:v>
                </c:pt>
                <c:pt idx="126">
                  <c:v>0.9998030634743972</c:v>
                </c:pt>
                <c:pt idx="127">
                  <c:v>0.9998279660562768</c:v>
                </c:pt>
                <c:pt idx="128">
                  <c:v>0.9998479104059701</c:v>
                </c:pt>
                <c:pt idx="129">
                  <c:v>0.9998670748090274</c:v>
                </c:pt>
                <c:pt idx="130">
                  <c:v>0.9999014481714876</c:v>
                </c:pt>
                <c:pt idx="131">
                  <c:v>0.9999162114470986</c:v>
                </c:pt>
                <c:pt idx="132">
                  <c:v>0.9999843453568051</c:v>
                </c:pt>
                <c:pt idx="133">
                  <c:v>0.9999869080386093</c:v>
                </c:pt>
                <c:pt idx="134">
                  <c:v>0.9999935932954898</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126</c:f>
              <c:strCache>
                <c:ptCount val="125"/>
                <c:pt idx="0">
                  <c:v>La Vache Qui Rit Nature Fromage Fondu Boite Ronde 1X512Gr 32P</c:v>
                </c:pt>
                <c:pt idx="1">
                  <c:v>Mini Babybel Rouge Filet St Paulin Ferme 1X264Gr 12P</c:v>
                </c:pt>
                <c:pt idx="2">
                  <c:v>Mini Babybel Rouge Filet St Paulin Ferme 1X132Gr 6P</c:v>
                </c:pt>
                <c:pt idx="3">
                  <c:v>La Vache Qui Rit Nature Fromage Fondu Boite Ronde 1X384Gr 24P</c:v>
                </c:pt>
                <c:pt idx="4">
                  <c:v>La Vache Qui Rit Nature Fromage Fondu Boite Ronde 1X192Gr 12P</c:v>
                </c:pt>
                <c:pt idx="5">
                  <c:v>Kiri Creme Fromage Blanc Frais Carre 1X432Gr 24P</c:v>
                </c:pt>
                <c:pt idx="6">
                  <c:v>Kiri Creme Fromage Blanc Frais Carre 1X144Gr 8P</c:v>
                </c:pt>
                <c:pt idx="7">
                  <c:v>Apericube Edition Limitee Best Of Foot Fromage Fondu Cube Assortis 1X250Gr 48P</c:v>
                </c:pt>
                <c:pt idx="8">
                  <c:v>Kiri Creme Fromage Blanc Frais Carre 1X216Gr 12P</c:v>
                </c:pt>
                <c:pt idx="9">
                  <c:v>Apericube Cocktail Fromage Fondu Cube Assortis 1X250Gr 48P</c:v>
                </c:pt>
                <c:pt idx="10">
                  <c:v>Boursin Classique Fromage Frais A Tartiner Afh Boite 1X150Gr 1P</c:v>
                </c:pt>
                <c:pt idx="11">
                  <c:v>Boursin Classique Fromage Frais A Tartiner Afh 1X160Gr 10P</c:v>
                </c:pt>
                <c:pt idx="12">
                  <c:v>Kiri Gouter Fromage Blanc Dips Boite 1X175Gr 5P</c:v>
                </c:pt>
                <c:pt idx="13">
                  <c:v>Apericube Long Drink Fromage Fondu Cube Assortis 1X250Gr 48P</c:v>
                </c:pt>
                <c:pt idx="14">
                  <c:v>Boursin Aperitif Roules Fromage Frais Roule Afh Et Jambon Fume Boite 1X100Gr 20P</c:v>
                </c:pt>
                <c:pt idx="15">
                  <c:v>Boursin Classique Fromage Frais A Tartiner Afh Boite 1X250Gr 1P</c:v>
                </c:pt>
                <c:pt idx="16">
                  <c:v>Boursin Salade &amp; Aperitif Fromage Frais Des Afh 1X120Gr 1P</c:v>
                </c:pt>
                <c:pt idx="17">
                  <c:v>Kiri Gouter Fromage Blanc Dips Boite 1X280Gr 8P</c:v>
                </c:pt>
                <c:pt idx="18">
                  <c:v>Apericube Tonic Fromage Fondu Cube Assortis 1X250Gr 48P</c:v>
                </c:pt>
                <c:pt idx="19">
                  <c:v>La Vache Qui Rit Pik Et Croq' Fromage Fondu Dips Boite 1X175Gr 5P</c:v>
                </c:pt>
                <c:pt idx="20">
                  <c:v>Mini Babybel Rouge Filet St Paulin Ferme 1X440Gr 20P</c:v>
                </c:pt>
                <c:pt idx="21">
                  <c:v>Apericube Edition Limitee Saison Fromage Fondu Cube Assortis 1X250Gr 48P</c:v>
                </c:pt>
                <c:pt idx="22">
                  <c:v>Apericube Nature Fromage Fondu Cube 1X125Gr 24P</c:v>
                </c:pt>
                <c:pt idx="23">
                  <c:v>La Vache Qui Rit Nature Fromage Fondu Boite Ronde 1X128Gr 8P</c:v>
                </c:pt>
                <c:pt idx="24">
                  <c:v>Mini Babybel Rouge Filet Soft Cheese Enfant 352G</c:v>
                </c:pt>
                <c:pt idx="25">
                  <c:v>La Vache Qui Rit Nature Fromage Fondu Boite Ronde 1X512Gr 24+8P</c:v>
                </c:pt>
                <c:pt idx="26">
                  <c:v>Kiri Creme Fromage Blanc Frais Carre 1X432Gr 18+6P</c:v>
                </c:pt>
                <c:pt idx="27">
                  <c:v>Apericube Incontournable Fromage Fondu Cube Assortis 1X250Gr 48P</c:v>
                </c:pt>
                <c:pt idx="28">
                  <c:v>Babybel St Paulin 1X200Gr 1P</c:v>
                </c:pt>
                <c:pt idx="29">
                  <c:v>Boursin Aperitif Roules Fromage Frais Roule Ciboulette &amp; Echalote Jambon Fume Boite 1X100Gr 20P</c:v>
                </c:pt>
                <c:pt idx="30">
                  <c:v>Mini Babybel Rouge Filet Soft Cheese Enfant 484G</c:v>
                </c:pt>
                <c:pt idx="31">
                  <c:v>Boursin Classique Fromage Frais A Tartiner Afh Boite 1X96Gr 6P</c:v>
                </c:pt>
                <c:pt idx="32">
                  <c:v>Port Salut St Paulin 1X320Gr 1P</c:v>
                </c:pt>
                <c:pt idx="33">
                  <c:v>Apericube Campagne Fromage Fondu Cube Assortis 1X125Gr 24P</c:v>
                </c:pt>
                <c:pt idx="34">
                  <c:v>Apericube Carrement Toque Fromage Fondu Cube Assortis 1X250Gr 48P</c:v>
                </c:pt>
                <c:pt idx="35">
                  <c:v>Apericube Best Of Des Saveurs Fromage Fondu Cube Assortis 1X125Gr 24P</c:v>
                </c:pt>
                <c:pt idx="36">
                  <c:v>Mini Babybel Rouge Filet St Paulin Ferme 1X396Gr 12+6P</c:v>
                </c:pt>
                <c:pt idx="37">
                  <c:v>Toastinette Cheddar Fondu Tranche A Chaud Sachet 1X200Gr 10P</c:v>
                </c:pt>
                <c:pt idx="38">
                  <c:v>Toastinette Fromage Fondu Tranche A Chaud Sachet 1X200Gr 10P</c:v>
                </c:pt>
                <c:pt idx="39">
                  <c:v>Cousteron St Paulin 1X320Gr 1P</c:v>
                </c:pt>
                <c:pt idx="40">
                  <c:v>Kiri Delicieusement Fouette Fromage Frais A Tartiner 1X125Gr 1P</c:v>
                </c:pt>
                <c:pt idx="41">
                  <c:v>Boursin Classique Fromage Frais A Tartiner Ciboulette &amp; Echalote Boite 1X150Gr 1P</c:v>
                </c:pt>
                <c:pt idx="42">
                  <c:v>Apericube Edition Voyage Fromage Fondu Cube Assortis 1X250Gr 48P</c:v>
                </c:pt>
                <c:pt idx="43">
                  <c:v>Apericube Long Drink Fromage Fondu Cube Assortis 1X125Gr 24P</c:v>
                </c:pt>
                <c:pt idx="44">
                  <c:v>Boursin Onctueux Fromage Frais A Tartiner Afh 1X125Gr 1P</c:v>
                </c:pt>
                <c:pt idx="45">
                  <c:v>Mini Babybel Aros St Paulin Ferme Assortis Filet 1X180Gr 9P</c:v>
                </c:pt>
                <c:pt idx="46">
                  <c:v>Apericube Vertical Soiree Apero Fromage Fondu Cube Assortis 1X125Gr 24P</c:v>
                </c:pt>
                <c:pt idx="47">
                  <c:v>Kiri Delicieusement Fouette Fromage Frais A Tartiner 1X210Gr 1P</c:v>
                </c:pt>
                <c:pt idx="48">
                  <c:v>Babybel Mini Rolls St Paulin Ferme Sachet 1X85Gr 5P</c:v>
                </c:pt>
                <c:pt idx="49">
                  <c:v>Boursin Salade &amp; Aperitif Fromage Frais Des Ciboulette Echalote 1X120Gr 1P</c:v>
                </c:pt>
                <c:pt idx="50">
                  <c:v>La Vache Qui Rit Pik Et Croq' Fromage Fondu Dips Boite 1X280Gr 8P</c:v>
                </c:pt>
                <c:pt idx="51">
                  <c:v>Boursin Classique Fromage Frais A Tartiner Figue Et 3 Noix Boite 1X150Gr 1P</c:v>
                </c:pt>
                <c:pt idx="52">
                  <c:v>Apericube Soiree Match Aperitif 250G</c:v>
                </c:pt>
                <c:pt idx="53">
                  <c:v>Kiri Delicieusement Fouette Fromage Frais A Tartiner 1X160Gr 10P</c:v>
                </c:pt>
                <c:pt idx="54">
                  <c:v>Boursin Cuisine Sauce Fromage Afh 1X240Gr 1P</c:v>
                </c:pt>
                <c:pt idx="55">
                  <c:v>La Vache Qui Rit Allegee Fromage Fondu Boite Ronde Allege 1X267Gr 16P</c:v>
                </c:pt>
                <c:pt idx="56">
                  <c:v>Apericube Charcut' Fromages Fromage Fondu Cube Assortis 1X250Gr 48P</c:v>
                </c:pt>
                <c:pt idx="57">
                  <c:v>Boursin Salade &amp; Aperitif Fromage Frais Des Figue Noix 1X120Gr 1P</c:v>
                </c:pt>
                <c:pt idx="58">
                  <c:v>Apericube Nature Fromage Fondu Cube 1X250Gr 48P</c:v>
                </c:pt>
                <c:pt idx="59">
                  <c:v>Kiri Bio Fromage Blanc Frais Carre 1X144Gr 8P</c:v>
                </c:pt>
                <c:pt idx="60">
                  <c:v>Mini Babybel Aros Soft Cheese Enfant 180G</c:v>
                </c:pt>
                <c:pt idx="61">
                  <c:v>Apericube Selection Du Fromager Fromage Fondu Cube Assortis 1X250Gr 48P</c:v>
                </c:pt>
                <c:pt idx="62">
                  <c:v>Apericube Sucre Sale Fromage Fondu Cube Assortis 1X250Gr 48P</c:v>
                </c:pt>
                <c:pt idx="63">
                  <c:v>Port Salut St Paulin 1X185Gr 1P</c:v>
                </c:pt>
                <c:pt idx="64">
                  <c:v>Babybel St Paulin 1X380Gr 1P</c:v>
                </c:pt>
                <c:pt idx="65">
                  <c:v>Apericube Vertical Nature Fromage Fondu Cube 1X125Gr 24P</c:v>
                </c:pt>
                <c:pt idx="66">
                  <c:v>Boursin Salade &amp; Aperitif Fromage Frais Des Citron Romarin 1X120Gr 1P</c:v>
                </c:pt>
                <c:pt idx="67">
                  <c:v>Mini Babybel Aros St Paulin Ferme Raclette Filet 1X132Gr 6P</c:v>
                </c:pt>
                <c:pt idx="68">
                  <c:v>La Vache Qui Rit Bio Fromage Fondu Boite Ronde 1X128Gr 8P</c:v>
                </c:pt>
                <c:pt idx="69">
                  <c:v>Mini Babybel Aros Soft Cheese Enfant 110G</c:v>
                </c:pt>
                <c:pt idx="70">
                  <c:v>Nurishh Le Coeur Fleuri Vegetal Camembert Boite 1X140Gr 1P</c:v>
                </c:pt>
                <c:pt idx="71">
                  <c:v>Boursin Classique Fromage Frais A Tartiner Afh Boite 1X80Gr 1P</c:v>
                </c:pt>
                <c:pt idx="72">
                  <c:v>Apericube Hot Chalenge Aperitif 250G</c:v>
                </c:pt>
                <c:pt idx="73">
                  <c:v>Port Salut St Paulin Tranche Boite 1X200Gr 6P</c:v>
                </c:pt>
                <c:pt idx="74">
                  <c:v>Boursin Salade &amp; Aperitif Fromage Frais Des Noisette Et 3 Noix 1X120Gr 1P</c:v>
                </c:pt>
                <c:pt idx="75">
                  <c:v>Boursin Classique Fromage Frais A Tartiner Afh 1X256Gr 16P</c:v>
                </c:pt>
                <c:pt idx="76">
                  <c:v>Nurishh Les Tranches Vegetales Emmental Vegetal Tranche Boite 1X160Gr 8P</c:v>
                </c:pt>
                <c:pt idx="77">
                  <c:v>Boursin Salade &amp; Aperitif Soft Cheese Salade 120G</c:v>
                </c:pt>
                <c:pt idx="78">
                  <c:v>Nurishh Le Rape Vegetal Specialite Vegetale Sachet 1X150Gr 1P</c:v>
                </c:pt>
                <c:pt idx="79">
                  <c:v>Nurishh Les Tranches Vegetales Cheddar Vegetal Tranche Boite 1X160Gr 8P</c:v>
                </c:pt>
                <c:pt idx="80">
                  <c:v>Nurishh Le Palet Vegetal Specialite Vegetale Ovale Saveur Chevre Boite 1X140Gr 1P</c:v>
                </c:pt>
                <c:pt idx="81">
                  <c:v>Boursin Classique Fromage Frais A Tartiner 3 Noix Boite 1X150Gr 1P</c:v>
                </c:pt>
                <c:pt idx="82">
                  <c:v>Apericube Fromages Du Monde Aperitif 250G</c:v>
                </c:pt>
                <c:pt idx="83">
                  <c:v>Apericube Jambon Fromage Fondu Cube 1X78Gr 15P</c:v>
                </c:pt>
                <c:pt idx="84">
                  <c:v>Boursin Classique Fromage Frais A Tartiner Poivre Boite 1X150Gr 1P</c:v>
                </c:pt>
                <c:pt idx="85">
                  <c:v>Mini Babybel Aros St Paulin Ferme Emmental Filet 1X120Gr 6P</c:v>
                </c:pt>
                <c:pt idx="86">
                  <c:v>Apericube P'Tits Plaisirs Fromage Fondu Cube 3 Fromages &amp; Jambon Cru Olive Verte 1X78Gr 15P</c:v>
                </c:pt>
                <c:pt idx="87">
                  <c:v>Apericube Saveurs De L'Authentique Fromage Fondu Cube Assortis 1X250Gr 48P</c:v>
                </c:pt>
                <c:pt idx="88">
                  <c:v>Nurishh Le Rape Vegetal Specialite Vegetale Emmental Sachet 1X150Gr 1P</c:v>
                </c:pt>
                <c:pt idx="89">
                  <c:v>Nurishh Des Vegetaux Feta Vegetale Sachet 1X150Gr 1P</c:v>
                </c:pt>
                <c:pt idx="90">
                  <c:v>Boursin Vegetal Specialite Vegetale A Tartiner Afh 1X130Gr 1P</c:v>
                </c:pt>
                <c:pt idx="91">
                  <c:v>Boursin Onctueux Fromage Frais A Tartiner Afh 1X210Gr 1P</c:v>
                </c:pt>
                <c:pt idx="92">
                  <c:v>Nurishh Le Rape Vegetal Mozzarella Vegetale Sachet 1X150Gr 1P</c:v>
                </c:pt>
                <c:pt idx="93">
                  <c:v>Boursin Aperitif Roules Aperitif 100G</c:v>
                </c:pt>
                <c:pt idx="94">
                  <c:v>Boursin Aperitif Roules Fromage Frais Roule Jambon Fume &amp; Trio De Noix Boite 1X100Gr 20P</c:v>
                </c:pt>
                <c:pt idx="95">
                  <c:v>Apericube Montagne Aperitif 250G</c:v>
                </c:pt>
                <c:pt idx="96">
                  <c:v>Boursin Classique Fromage Frais A Tartiner Truffe Boite 1X150Gr 1P</c:v>
                </c:pt>
                <c:pt idx="97">
                  <c:v>Boursin Classique Fromage Frais A Tartiner Afh Boite 1X320Gr 16+4P</c:v>
                </c:pt>
                <c:pt idx="98">
                  <c:v>Boursin Vegetal Alternative Vegetale 150G</c:v>
                </c:pt>
                <c:pt idx="99">
                  <c:v>Boursin Classique Fromage Frais A Tartiner 3 Noix 1X160Gr 10P</c:v>
                </c:pt>
                <c:pt idx="100">
                  <c:v>Mini Babybel Rouge Filet St Paulin Ferme Sachet 1X40Gr 1P</c:v>
                </c:pt>
                <c:pt idx="101">
                  <c:v>La Vache Qui Rit Le Fondant Fromage Fondu 1X200Gr 1P</c:v>
                </c:pt>
                <c:pt idx="102">
                  <c:v>Nurishh Les Tranches Vegetales Emmental Vegetal Tranche Boite 1X200Gr 10P</c:v>
                </c:pt>
                <c:pt idx="103">
                  <c:v>Mini Babybel Aros Soft Cheese Enfant 120G</c:v>
                </c:pt>
                <c:pt idx="104">
                  <c:v>Nurishh Les Tranches Vegetales Cheddar Vegetal Tranche Boite 1X200Gr 10P</c:v>
                </c:pt>
                <c:pt idx="105">
                  <c:v>La Vache Qui Rit Aro Fromage Fondu Boite Ronde Jambon 1X133Gr 8P</c:v>
                </c:pt>
                <c:pt idx="106">
                  <c:v>Nurishh Les Tranches Vegetales Specialite Vegetale Tranche Piment Boite 1X120Gr 6P</c:v>
                </c:pt>
                <c:pt idx="107">
                  <c:v>Toastinette Fromage Fondu Tranche A Chaud Sachet 1X340Gr 20P</c:v>
                </c:pt>
                <c:pt idx="108">
                  <c:v>Nurishh Le Tartinable Vegetal Specialite Vegetale A Tartiner 1X130Gr 1P</c:v>
                </c:pt>
                <c:pt idx="109">
                  <c:v>Toastinette Cheddar Fondu Tranche A Chaud Sachet 1X340Gr 20P</c:v>
                </c:pt>
                <c:pt idx="110">
                  <c:v>La Vache Qui Rit Pik Et Croq' Fromage Fondu Dips Boite 1X35Gr 1P</c:v>
                </c:pt>
                <c:pt idx="111">
                  <c:v>Kiri Chevre Fromage Blanc Frais Carre 1X144Gr 8P</c:v>
                </c:pt>
                <c:pt idx="112">
                  <c:v>Boursin Classique Fromage Frais A Tartiner Citron &amp; Romarin Boite 1X150Gr 1P</c:v>
                </c:pt>
                <c:pt idx="113">
                  <c:v>Mini Babybel Bio St Paulin Ferme Filet 1X100Gr 5P</c:v>
                </c:pt>
                <c:pt idx="114">
                  <c:v>Boursin Classique Fromage Frais A Tartiner Ciboulette &amp; Echalote 1X160Gr 10P</c:v>
                </c:pt>
                <c:pt idx="115">
                  <c:v>Cousteron St Paulin 1X460Gr 1P</c:v>
                </c:pt>
                <c:pt idx="116">
                  <c:v>Mini Babybel Rouge Filet St Paulin Ferme 1X110Gr 5P</c:v>
                </c:pt>
                <c:pt idx="117">
                  <c:v>Port Salut Pause Fondante Specialite Roux Sachet 1X180Gr 1P</c:v>
                </c:pt>
                <c:pt idx="118">
                  <c:v>Limiano Queijo Flamengo Tranche Sachet 1X200Gr 1P</c:v>
                </c:pt>
                <c:pt idx="119">
                  <c:v>Limiano Queijo Flamengo Bloc 1X600Gr 1P</c:v>
                </c:pt>
                <c:pt idx="120">
                  <c:v>Limiano Queijo Flamengo Autre Sachet 1X450Gr 1P</c:v>
                </c:pt>
                <c:pt idx="121">
                  <c:v>Nurishh Le Rape Vegetal Specialite Vegetale Sachet 1X200Gr 1P</c:v>
                </c:pt>
                <c:pt idx="122">
                  <c:v>Nurishh Le Rape Vegetal Mozzarella Vegetale Sachet 1X200Gr 1P</c:v>
                </c:pt>
                <c:pt idx="123">
                  <c:v>Boursin Aperitif Roules Fromage Frais Roule Basilic &amp; Jambon Fume Tomate Boite 1X100Gr 20P</c:v>
                </c:pt>
                <c:pt idx="124">
                  <c:v>Mini Babybel Rouge Filet St Paulin Ferme 1X396Gr 18P</c:v>
                </c:pt>
              </c:strCache>
            </c:strRef>
          </c:cat>
          <c:val>
            <c:numRef>
              <c:f>Sheet1!$B$2:$B$126</c:f>
              <c:numCache>
                <c:formatCode>General</c:formatCode>
                <c:ptCount val="125"/>
                <c:pt idx="0">
                  <c:v>0.827</c:v>
                </c:pt>
                <c:pt idx="1">
                  <c:v>0.868</c:v>
                </c:pt>
                <c:pt idx="2">
                  <c:v>0.99</c:v>
                </c:pt>
                <c:pt idx="3">
                  <c:v>0.898</c:v>
                </c:pt>
                <c:pt idx="4">
                  <c:v>0.981</c:v>
                </c:pt>
                <c:pt idx="5">
                  <c:v>0.778</c:v>
                </c:pt>
                <c:pt idx="6">
                  <c:v>0.99</c:v>
                </c:pt>
                <c:pt idx="7">
                  <c:v>0.908</c:v>
                </c:pt>
                <c:pt idx="8">
                  <c:v>0.834</c:v>
                </c:pt>
                <c:pt idx="9">
                  <c:v>0.878</c:v>
                </c:pt>
                <c:pt idx="10">
                  <c:v>0.968</c:v>
                </c:pt>
                <c:pt idx="11">
                  <c:v>0.915</c:v>
                </c:pt>
                <c:pt idx="12">
                  <c:v>0.949</c:v>
                </c:pt>
                <c:pt idx="13">
                  <c:v>0.858</c:v>
                </c:pt>
                <c:pt idx="14">
                  <c:v>0.905</c:v>
                </c:pt>
                <c:pt idx="15">
                  <c:v>0.817</c:v>
                </c:pt>
                <c:pt idx="16">
                  <c:v>0.962</c:v>
                </c:pt>
                <c:pt idx="17">
                  <c:v>0.732</c:v>
                </c:pt>
                <c:pt idx="18">
                  <c:v>0.757</c:v>
                </c:pt>
                <c:pt idx="19">
                  <c:v>0.908</c:v>
                </c:pt>
                <c:pt idx="20">
                  <c:v>0.82</c:v>
                </c:pt>
                <c:pt idx="21">
                  <c:v>0.762</c:v>
                </c:pt>
                <c:pt idx="22">
                  <c:v>0.85</c:v>
                </c:pt>
                <c:pt idx="23">
                  <c:v>0.694</c:v>
                </c:pt>
                <c:pt idx="24">
                  <c:v>0.808</c:v>
                </c:pt>
                <c:pt idx="25">
                  <c:v>0.725</c:v>
                </c:pt>
                <c:pt idx="26">
                  <c:v>0.716</c:v>
                </c:pt>
                <c:pt idx="27">
                  <c:v>0.638</c:v>
                </c:pt>
                <c:pt idx="28">
                  <c:v>0.959</c:v>
                </c:pt>
                <c:pt idx="29">
                  <c:v>0.788</c:v>
                </c:pt>
                <c:pt idx="30">
                  <c:v>0.443</c:v>
                </c:pt>
                <c:pt idx="31">
                  <c:v>0.821</c:v>
                </c:pt>
                <c:pt idx="32">
                  <c:v>0.82</c:v>
                </c:pt>
                <c:pt idx="33">
                  <c:v>0.763</c:v>
                </c:pt>
                <c:pt idx="34">
                  <c:v>0.654</c:v>
                </c:pt>
                <c:pt idx="35">
                  <c:v>0.816</c:v>
                </c:pt>
                <c:pt idx="36">
                  <c:v>0.736</c:v>
                </c:pt>
                <c:pt idx="37">
                  <c:v>0.854</c:v>
                </c:pt>
                <c:pt idx="38">
                  <c:v>0.764</c:v>
                </c:pt>
                <c:pt idx="39">
                  <c:v>0.82</c:v>
                </c:pt>
                <c:pt idx="40">
                  <c:v>0.774</c:v>
                </c:pt>
                <c:pt idx="41">
                  <c:v>0.793</c:v>
                </c:pt>
                <c:pt idx="42">
                  <c:v>0.54</c:v>
                </c:pt>
                <c:pt idx="43">
                  <c:v>0.779</c:v>
                </c:pt>
                <c:pt idx="44">
                  <c:v>0.774</c:v>
                </c:pt>
                <c:pt idx="45">
                  <c:v>0.692</c:v>
                </c:pt>
                <c:pt idx="46">
                  <c:v>0.106</c:v>
                </c:pt>
                <c:pt idx="47">
                  <c:v>0.643</c:v>
                </c:pt>
                <c:pt idx="48">
                  <c:v>0.618</c:v>
                </c:pt>
                <c:pt idx="49">
                  <c:v>0.817</c:v>
                </c:pt>
                <c:pt idx="50">
                  <c:v>0.434</c:v>
                </c:pt>
                <c:pt idx="51">
                  <c:v>0.694</c:v>
                </c:pt>
                <c:pt idx="52">
                  <c:v>0.759</c:v>
                </c:pt>
                <c:pt idx="53">
                  <c:v>0.689</c:v>
                </c:pt>
                <c:pt idx="54">
                  <c:v>0.773</c:v>
                </c:pt>
                <c:pt idx="55">
                  <c:v>0.495</c:v>
                </c:pt>
                <c:pt idx="56">
                  <c:v>0.505</c:v>
                </c:pt>
                <c:pt idx="57">
                  <c:v>0.801</c:v>
                </c:pt>
                <c:pt idx="58">
                  <c:v>0.516</c:v>
                </c:pt>
                <c:pt idx="59">
                  <c:v>0.502</c:v>
                </c:pt>
                <c:pt idx="60">
                  <c:v>0.697</c:v>
                </c:pt>
                <c:pt idx="61">
                  <c:v>0.494</c:v>
                </c:pt>
                <c:pt idx="62">
                  <c:v>0.468</c:v>
                </c:pt>
                <c:pt idx="63">
                  <c:v>0.14</c:v>
                </c:pt>
                <c:pt idx="64">
                  <c:v>0.402</c:v>
                </c:pt>
                <c:pt idx="65">
                  <c:v>0.063</c:v>
                </c:pt>
                <c:pt idx="66">
                  <c:v>0.707</c:v>
                </c:pt>
                <c:pt idx="67">
                  <c:v>0.423</c:v>
                </c:pt>
                <c:pt idx="68">
                  <c:v>0.482</c:v>
                </c:pt>
                <c:pt idx="69">
                  <c:v>0.645</c:v>
                </c:pt>
                <c:pt idx="70">
                  <c:v>0.526</c:v>
                </c:pt>
                <c:pt idx="71">
                  <c:v>0.447</c:v>
                </c:pt>
                <c:pt idx="72">
                  <c:v>0.472</c:v>
                </c:pt>
                <c:pt idx="73">
                  <c:v>0.133</c:v>
                </c:pt>
                <c:pt idx="74">
                  <c:v>0.738</c:v>
                </c:pt>
                <c:pt idx="75">
                  <c:v>0.265</c:v>
                </c:pt>
                <c:pt idx="76">
                  <c:v>0.432</c:v>
                </c:pt>
                <c:pt idx="77">
                  <c:v>0.698</c:v>
                </c:pt>
                <c:pt idx="78">
                  <c:v>0.499</c:v>
                </c:pt>
                <c:pt idx="79">
                  <c:v>0.446</c:v>
                </c:pt>
                <c:pt idx="80">
                  <c:v>0.396</c:v>
                </c:pt>
                <c:pt idx="81">
                  <c:v>0.537</c:v>
                </c:pt>
                <c:pt idx="82">
                  <c:v>0.351</c:v>
                </c:pt>
                <c:pt idx="83">
                  <c:v>0.06</c:v>
                </c:pt>
                <c:pt idx="84">
                  <c:v>0.402</c:v>
                </c:pt>
                <c:pt idx="85">
                  <c:v>0.319</c:v>
                </c:pt>
                <c:pt idx="86">
                  <c:v>0.386</c:v>
                </c:pt>
                <c:pt idx="87">
                  <c:v>0.141</c:v>
                </c:pt>
                <c:pt idx="88">
                  <c:v>0.414</c:v>
                </c:pt>
                <c:pt idx="89">
                  <c:v>0.474</c:v>
                </c:pt>
                <c:pt idx="90">
                  <c:v>0.442</c:v>
                </c:pt>
                <c:pt idx="91">
                  <c:v>0.281</c:v>
                </c:pt>
                <c:pt idx="92">
                  <c:v>0.352</c:v>
                </c:pt>
                <c:pt idx="93">
                  <c:v>0.352</c:v>
                </c:pt>
                <c:pt idx="94">
                  <c:v>0.409</c:v>
                </c:pt>
                <c:pt idx="95">
                  <c:v>0.269</c:v>
                </c:pt>
                <c:pt idx="96">
                  <c:v>0.511</c:v>
                </c:pt>
                <c:pt idx="97">
                  <c:v>0.528</c:v>
                </c:pt>
                <c:pt idx="98">
                  <c:v>0.455</c:v>
                </c:pt>
                <c:pt idx="99">
                  <c:v>0.379</c:v>
                </c:pt>
                <c:pt idx="100">
                  <c:v>0.128</c:v>
                </c:pt>
                <c:pt idx="101">
                  <c:v>0.269</c:v>
                </c:pt>
                <c:pt idx="102">
                  <c:v>0.462</c:v>
                </c:pt>
                <c:pt idx="103">
                  <c:v>0.31</c:v>
                </c:pt>
                <c:pt idx="104">
                  <c:v>0.461</c:v>
                </c:pt>
                <c:pt idx="105">
                  <c:v>0.037</c:v>
                </c:pt>
                <c:pt idx="106">
                  <c:v>0.279</c:v>
                </c:pt>
                <c:pt idx="107">
                  <c:v>0.073</c:v>
                </c:pt>
                <c:pt idx="108">
                  <c:v>0.325</c:v>
                </c:pt>
                <c:pt idx="109">
                  <c:v>0.073</c:v>
                </c:pt>
                <c:pt idx="110">
                  <c:v>0.008</c:v>
                </c:pt>
                <c:pt idx="111">
                  <c:v>0.267</c:v>
                </c:pt>
                <c:pt idx="112">
                  <c:v>0.324</c:v>
                </c:pt>
                <c:pt idx="113">
                  <c:v>0.316</c:v>
                </c:pt>
                <c:pt idx="114">
                  <c:v>0.075</c:v>
                </c:pt>
                <c:pt idx="115">
                  <c:v>0.041</c:v>
                </c:pt>
                <c:pt idx="116">
                  <c:v>0.023</c:v>
                </c:pt>
                <c:pt idx="117">
                  <c:v>0.018</c:v>
                </c:pt>
                <c:pt idx="118">
                  <c:v>0.009</c:v>
                </c:pt>
                <c:pt idx="119">
                  <c:v>0.014</c:v>
                </c:pt>
                <c:pt idx="120">
                  <c:v>0.005</c:v>
                </c:pt>
                <c:pt idx="121">
                  <c:v>0.018</c:v>
                </c:pt>
                <c:pt idx="122">
                  <c:v>0.014</c:v>
                </c:pt>
                <c:pt idx="123">
                  <c:v>0.009</c:v>
                </c:pt>
                <c:pt idx="124">
                  <c:v>0.005</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00A097"/>
              </a:solidFill>
            </c:spPr>
            <c:extLst>
              <c:ext xmlns:c16="http://schemas.microsoft.com/office/drawing/2014/chart" uri="{C3380CC4-5D6E-409C-BE32-E72D297353CC}">
                <c16:uniqueId val="{00000023-FA3E-4872-B6E1-C4ABDF5766E2}"/>
              </c:ext>
            </c:extLst>
          </c:dPt>
          <c:dPt>
            <c:idx val="17"/>
            <c:invertIfNegative val="1"/>
            <c:bubble3D val="0"/>
            <c:spPr>
              <a:solidFill>
                <a:srgbClr val="00A097"/>
              </a:solidFill>
            </c:spPr>
            <c:extLst>
              <c:ext xmlns:c16="http://schemas.microsoft.com/office/drawing/2014/chart" uri="{C3380CC4-5D6E-409C-BE32-E72D297353CC}">
                <c16:uniqueId val="{00000025-FA3E-4872-B6E1-C4ABDF5766E2}"/>
              </c:ext>
            </c:extLst>
          </c:dPt>
          <c:dPt>
            <c:idx val="18"/>
            <c:invertIfNegative val="1"/>
            <c:bubble3D val="0"/>
            <c:spPr>
              <a:solidFill>
                <a:srgbClr val="00A097"/>
              </a:solidFill>
            </c:spPr>
            <c:extLst>
              <c:ext xmlns:c16="http://schemas.microsoft.com/office/drawing/2014/chart" uri="{C3380CC4-5D6E-409C-BE32-E72D297353CC}">
                <c16:uniqueId val="{00000027-FA3E-4872-B6E1-C4ABDF5766E2}"/>
              </c:ext>
            </c:extLst>
          </c:dPt>
          <c:dPt>
            <c:idx val="19"/>
            <c:invertIfNegative val="1"/>
            <c:bubble3D val="0"/>
            <c:spPr>
              <a:solidFill>
                <a:srgbClr val="00A097"/>
              </a:solidFill>
            </c:spPr>
            <c:extLst>
              <c:ext xmlns:c16="http://schemas.microsoft.com/office/drawing/2014/chart" uri="{C3380CC4-5D6E-409C-BE32-E72D297353CC}">
                <c16:uniqueId val="{00000029-FA3E-4872-B6E1-C4ABDF5766E2}"/>
              </c:ext>
            </c:extLst>
          </c:dPt>
          <c:dPt>
            <c:idx val="20"/>
            <c:invertIfNegative val="1"/>
            <c:bubble3D val="0"/>
            <c:spPr>
              <a:solidFill>
                <a:srgbClr val="00A097"/>
              </a:solidFill>
            </c:spPr>
            <c:extLst>
              <c:ext xmlns:c16="http://schemas.microsoft.com/office/drawing/2014/chart" uri="{C3380CC4-5D6E-409C-BE32-E72D297353CC}">
                <c16:uniqueId val="{0000002B-FA3E-4872-B6E1-C4ABDF5766E2}"/>
              </c:ext>
            </c:extLst>
          </c:dPt>
          <c:dPt>
            <c:idx val="21"/>
            <c:invertIfNegative val="1"/>
            <c:bubble3D val="0"/>
            <c:spPr>
              <a:solidFill>
                <a:srgbClr val="00A097"/>
              </a:solidFill>
            </c:spPr>
            <c:extLst>
              <c:ext xmlns:c16="http://schemas.microsoft.com/office/drawing/2014/chart" uri="{C3380CC4-5D6E-409C-BE32-E72D297353CC}">
                <c16:uniqueId val="{0000002D-FA3E-4872-B6E1-C4ABDF5766E2}"/>
              </c:ext>
            </c:extLst>
          </c:dPt>
          <c:dPt>
            <c:idx val="22"/>
            <c:invertIfNegative val="1"/>
            <c:bubble3D val="0"/>
            <c:spPr>
              <a:solidFill>
                <a:srgbClr val="00A097"/>
              </a:solidFill>
            </c:spPr>
            <c:extLst>
              <c:ext xmlns:c16="http://schemas.microsoft.com/office/drawing/2014/chart" uri="{C3380CC4-5D6E-409C-BE32-E72D297353CC}">
                <c16:uniqueId val="{0000002F-FA3E-4872-B6E1-C4ABDF5766E2}"/>
              </c:ext>
            </c:extLst>
          </c:dPt>
          <c:dPt>
            <c:idx val="23"/>
            <c:invertIfNegative val="1"/>
            <c:bubble3D val="0"/>
            <c:spPr>
              <a:solidFill>
                <a:srgbClr val="00A097"/>
              </a:solidFill>
            </c:spPr>
            <c:extLst>
              <c:ext xmlns:c16="http://schemas.microsoft.com/office/drawing/2014/chart" uri="{C3380CC4-5D6E-409C-BE32-E72D297353CC}">
                <c16:uniqueId val="{00000031-FA3E-4872-B6E1-C4ABDF5766E2}"/>
              </c:ext>
            </c:extLst>
          </c:dPt>
          <c:dPt>
            <c:idx val="24"/>
            <c:invertIfNegative val="1"/>
            <c:bubble3D val="0"/>
            <c:spPr>
              <a:solidFill>
                <a:srgbClr val="00A097"/>
              </a:solidFill>
            </c:spPr>
            <c:extLst>
              <c:ext xmlns:c16="http://schemas.microsoft.com/office/drawing/2014/chart" uri="{C3380CC4-5D6E-409C-BE32-E72D297353CC}">
                <c16:uniqueId val="{00000033-FA3E-4872-B6E1-C4ABDF5766E2}"/>
              </c:ext>
            </c:extLst>
          </c:dPt>
          <c:dPt>
            <c:idx val="25"/>
            <c:invertIfNegative val="1"/>
            <c:bubble3D val="0"/>
            <c:spPr>
              <a:solidFill>
                <a:srgbClr val="00A097"/>
              </a:solidFill>
            </c:spPr>
            <c:extLst>
              <c:ext xmlns:c16="http://schemas.microsoft.com/office/drawing/2014/chart" uri="{C3380CC4-5D6E-409C-BE32-E72D297353CC}">
                <c16:uniqueId val="{00000035-FA3E-4872-B6E1-C4ABDF5766E2}"/>
              </c:ext>
            </c:extLst>
          </c:dPt>
          <c:dPt>
            <c:idx val="26"/>
            <c:invertIfNegative val="1"/>
            <c:bubble3D val="0"/>
            <c:spPr>
              <a:solidFill>
                <a:srgbClr val="00A097"/>
              </a:solidFill>
            </c:spPr>
            <c:extLst>
              <c:ext xmlns:c16="http://schemas.microsoft.com/office/drawing/2014/chart" uri="{C3380CC4-5D6E-409C-BE32-E72D297353CC}">
                <c16:uniqueId val="{00000037-FA3E-4872-B6E1-C4ABDF5766E2}"/>
              </c:ext>
            </c:extLst>
          </c:dPt>
          <c:dPt>
            <c:idx val="27"/>
            <c:invertIfNegative val="1"/>
            <c:bubble3D val="0"/>
            <c:spPr>
              <a:solidFill>
                <a:srgbClr val="00A097"/>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7ECAC4"/>
              </a:solidFill>
            </c:spPr>
            <c:extLst>
              <c:ext xmlns:c16="http://schemas.microsoft.com/office/drawing/2014/chart" uri="{C3380CC4-5D6E-409C-BE32-E72D297353CC}">
                <c16:uniqueId val="{0000003F-FA3E-4872-B6E1-C4ABDF5766E2}"/>
              </c:ext>
            </c:extLst>
          </c:dPt>
          <c:dPt>
            <c:idx val="31"/>
            <c:invertIfNegative val="1"/>
            <c:bubble3D val="0"/>
            <c:spPr>
              <a:solidFill>
                <a:srgbClr val="7ECAC4"/>
              </a:solidFill>
            </c:spPr>
            <c:extLst>
              <c:ext xmlns:c16="http://schemas.microsoft.com/office/drawing/2014/chart" uri="{C3380CC4-5D6E-409C-BE32-E72D297353CC}">
                <c16:uniqueId val="{00000041-FA3E-4872-B6E1-C4ABDF5766E2}"/>
              </c:ext>
            </c:extLst>
          </c:dPt>
          <c:dPt>
            <c:idx val="32"/>
            <c:invertIfNegative val="1"/>
            <c:bubble3D val="0"/>
            <c:spPr>
              <a:solidFill>
                <a:srgbClr val="7ECAC4"/>
              </a:solidFill>
            </c:spPr>
            <c:extLst>
              <c:ext xmlns:c16="http://schemas.microsoft.com/office/drawing/2014/chart" uri="{C3380CC4-5D6E-409C-BE32-E72D297353CC}">
                <c16:uniqueId val="{00000043-FA3E-4872-B6E1-C4ABDF5766E2}"/>
              </c:ext>
            </c:extLst>
          </c:dPt>
          <c:dPt>
            <c:idx val="33"/>
            <c:invertIfNegative val="1"/>
            <c:bubble3D val="0"/>
            <c:spPr>
              <a:solidFill>
                <a:srgbClr val="7ECAC4"/>
              </a:solidFill>
            </c:spPr>
            <c:extLst>
              <c:ext xmlns:c16="http://schemas.microsoft.com/office/drawing/2014/chart" uri="{C3380CC4-5D6E-409C-BE32-E72D297353CC}">
                <c16:uniqueId val="{00000045-FA3E-4872-B6E1-C4ABDF5766E2}"/>
              </c:ext>
            </c:extLst>
          </c:dPt>
          <c:dPt>
            <c:idx val="34"/>
            <c:invertIfNegative val="1"/>
            <c:bubble3D val="0"/>
            <c:spPr>
              <a:solidFill>
                <a:srgbClr val="7ECAC4"/>
              </a:solidFill>
            </c:spPr>
            <c:extLst>
              <c:ext xmlns:c16="http://schemas.microsoft.com/office/drawing/2014/chart" uri="{C3380CC4-5D6E-409C-BE32-E72D297353CC}">
                <c16:uniqueId val="{00000047-FA3E-4872-B6E1-C4ABDF5766E2}"/>
              </c:ext>
            </c:extLst>
          </c:dPt>
          <c:dPt>
            <c:idx val="35"/>
            <c:invertIfNegative val="1"/>
            <c:bubble3D val="0"/>
            <c:spPr>
              <a:solidFill>
                <a:srgbClr val="7ECAC4"/>
              </a:solidFill>
            </c:spPr>
            <c:extLst>
              <c:ext xmlns:c16="http://schemas.microsoft.com/office/drawing/2014/chart" uri="{C3380CC4-5D6E-409C-BE32-E72D297353CC}">
                <c16:uniqueId val="{00000049-FA3E-4872-B6E1-C4ABDF5766E2}"/>
              </c:ext>
            </c:extLst>
          </c:dPt>
          <c:dPt>
            <c:idx val="36"/>
            <c:invertIfNegative val="1"/>
            <c:bubble3D val="0"/>
            <c:spPr>
              <a:solidFill>
                <a:srgbClr val="7ECAC4"/>
              </a:solidFill>
            </c:spPr>
            <c:extLst>
              <c:ext xmlns:c16="http://schemas.microsoft.com/office/drawing/2014/chart" uri="{C3380CC4-5D6E-409C-BE32-E72D297353CC}">
                <c16:uniqueId val="{0000004B-FA3E-4872-B6E1-C4ABDF5766E2}"/>
              </c:ext>
            </c:extLst>
          </c:dPt>
          <c:dPt>
            <c:idx val="37"/>
            <c:invertIfNegative val="1"/>
            <c:bubble3D val="0"/>
            <c:spPr>
              <a:solidFill>
                <a:srgbClr val="7ECAC4"/>
              </a:solidFill>
            </c:spPr>
            <c:extLst>
              <c:ext xmlns:c16="http://schemas.microsoft.com/office/drawing/2014/chart" uri="{C3380CC4-5D6E-409C-BE32-E72D297353CC}">
                <c16:uniqueId val="{0000004D-FA3E-4872-B6E1-C4ABDF5766E2}"/>
              </c:ext>
            </c:extLst>
          </c:dPt>
          <c:dPt>
            <c:idx val="38"/>
            <c:invertIfNegative val="1"/>
            <c:bubble3D val="0"/>
            <c:spPr>
              <a:solidFill>
                <a:srgbClr val="7ECAC4"/>
              </a:solidFill>
            </c:spPr>
            <c:extLst>
              <c:ext xmlns:c16="http://schemas.microsoft.com/office/drawing/2014/chart" uri="{C3380CC4-5D6E-409C-BE32-E72D297353CC}">
                <c16:uniqueId val="{0000004F-FA3E-4872-B6E1-C4ABDF5766E2}"/>
              </c:ext>
            </c:extLst>
          </c:dPt>
          <c:dPt>
            <c:idx val="39"/>
            <c:invertIfNegative val="1"/>
            <c:bubble3D val="0"/>
            <c:spPr>
              <a:solidFill>
                <a:srgbClr val="7ECAC4"/>
              </a:solidFill>
            </c:spPr>
            <c:extLst>
              <c:ext xmlns:c16="http://schemas.microsoft.com/office/drawing/2014/chart" uri="{C3380CC4-5D6E-409C-BE32-E72D297353CC}">
                <c16:uniqueId val="{00000051-FA3E-4872-B6E1-C4ABDF5766E2}"/>
              </c:ext>
            </c:extLst>
          </c:dPt>
          <c:dPt>
            <c:idx val="40"/>
            <c:invertIfNegative val="1"/>
            <c:bubble3D val="0"/>
            <c:spPr>
              <a:solidFill>
                <a:srgbClr val="7ECAC4"/>
              </a:solidFill>
            </c:spPr>
            <c:extLst>
              <c:ext xmlns:c16="http://schemas.microsoft.com/office/drawing/2014/chart" uri="{C3380CC4-5D6E-409C-BE32-E72D297353CC}">
                <c16:uniqueId val="{00000053-FA3E-4872-B6E1-C4ABDF5766E2}"/>
              </c:ext>
            </c:extLst>
          </c:dPt>
          <c:dPt>
            <c:idx val="41"/>
            <c:invertIfNegative val="1"/>
            <c:bubble3D val="0"/>
            <c:spPr>
              <a:solidFill>
                <a:srgbClr val="7ECAC4"/>
              </a:solidFill>
            </c:spPr>
            <c:extLst>
              <c:ext xmlns:c16="http://schemas.microsoft.com/office/drawing/2014/chart" uri="{C3380CC4-5D6E-409C-BE32-E72D297353CC}">
                <c16:uniqueId val="{00000055-FA3E-4872-B6E1-C4ABDF5766E2}"/>
              </c:ext>
            </c:extLst>
          </c:dPt>
          <c:dPt>
            <c:idx val="42"/>
            <c:invertIfNegative val="1"/>
            <c:bubble3D val="0"/>
            <c:spPr>
              <a:solidFill>
                <a:srgbClr val="7ECAC4"/>
              </a:solidFill>
            </c:spPr>
            <c:extLst>
              <c:ext xmlns:c16="http://schemas.microsoft.com/office/drawing/2014/chart" uri="{C3380CC4-5D6E-409C-BE32-E72D297353CC}">
                <c16:uniqueId val="{00000057-FA3E-4872-B6E1-C4ABDF5766E2}"/>
              </c:ext>
            </c:extLst>
          </c:dPt>
          <c:dPt>
            <c:idx val="43"/>
            <c:invertIfNegative val="1"/>
            <c:bubble3D val="0"/>
            <c:spPr>
              <a:solidFill>
                <a:srgbClr val="7ECAC4"/>
              </a:solidFill>
            </c:spPr>
            <c:extLst>
              <c:ext xmlns:c16="http://schemas.microsoft.com/office/drawing/2014/chart" uri="{C3380CC4-5D6E-409C-BE32-E72D297353CC}">
                <c16:uniqueId val="{00000059-FA3E-4872-B6E1-C4ABDF5766E2}"/>
              </c:ext>
            </c:extLst>
          </c:dPt>
          <c:dPt>
            <c:idx val="44"/>
            <c:spPr>
              <a:solidFill>
                <a:srgbClr val="7ECAC4"/>
              </a:solidFill>
            </c:spPr>
          </c:dPt>
          <c:dPt>
            <c:idx val="45"/>
            <c:spPr>
              <a:solidFill>
                <a:srgbClr val="7ECAC4"/>
              </a:solidFill>
            </c:spPr>
          </c:dPt>
          <c:dPt>
            <c:idx val="46"/>
            <c:spPr>
              <a:solidFill>
                <a:srgbClr val="7ECAC4"/>
              </a:solidFill>
            </c:spPr>
          </c:dPt>
          <c:dPt>
            <c:idx val="47"/>
            <c:spPr>
              <a:solidFill>
                <a:srgbClr val="7ECAC4"/>
              </a:solidFill>
            </c:spPr>
          </c:dPt>
          <c:dPt>
            <c:idx val="48"/>
            <c:spPr>
              <a:solidFill>
                <a:srgbClr val="7ECAC4"/>
              </a:solidFill>
            </c:spPr>
          </c:dPt>
          <c:dPt>
            <c:idx val="49"/>
            <c:spPr>
              <a:solidFill>
                <a:srgbClr val="7ECAC4"/>
              </a:solidFill>
            </c:spPr>
          </c:dPt>
          <c:dPt>
            <c:idx val="50"/>
            <c:spPr>
              <a:solidFill>
                <a:srgbClr val="7ECAC4"/>
              </a:solidFill>
            </c:spPr>
          </c:dPt>
          <c:dPt>
            <c:idx val="51"/>
            <c:spPr>
              <a:solidFill>
                <a:srgbClr val="7ECAC4"/>
              </a:solidFill>
            </c:spPr>
          </c:dPt>
          <c:dPt>
            <c:idx val="52"/>
            <c:spPr>
              <a:solidFill>
                <a:srgbClr val="7ECAC4"/>
              </a:solidFill>
            </c:spPr>
          </c:dPt>
          <c:dPt>
            <c:idx val="53"/>
            <c:spPr>
              <a:solidFill>
                <a:srgbClr val="7ECAC4"/>
              </a:solidFill>
            </c:spPr>
          </c:dPt>
          <c:dPt>
            <c:idx val="54"/>
            <c:spPr>
              <a:solidFill>
                <a:srgbClr val="7ECAC4"/>
              </a:solidFill>
            </c:spPr>
          </c:dPt>
          <c:dPt>
            <c:idx val="55"/>
            <c:spPr>
              <a:solidFill>
                <a:srgbClr val="7ECAC4"/>
              </a:solidFill>
            </c:spPr>
          </c:dPt>
          <c:dPt>
            <c:idx val="56"/>
            <c:spPr>
              <a:solidFill>
                <a:srgbClr val="AEABAB"/>
              </a:solidFill>
            </c:spPr>
          </c:dPt>
          <c:dPt>
            <c:idx val="57"/>
            <c:spPr>
              <a:solidFill>
                <a:srgbClr val="AEABAB"/>
              </a:solidFill>
            </c:spPr>
          </c:dPt>
          <c:dPt>
            <c:idx val="58"/>
            <c:spPr>
              <a:solidFill>
                <a:srgbClr val="AEABAB"/>
              </a:solidFill>
            </c:spPr>
          </c:dPt>
          <c:dPt>
            <c:idx val="59"/>
            <c:spPr>
              <a:solidFill>
                <a:srgbClr val="AEABAB"/>
              </a:solidFill>
            </c:spPr>
          </c:dPt>
          <c:dPt>
            <c:idx val="60"/>
            <c:spPr>
              <a:solidFill>
                <a:srgbClr val="AEABAB"/>
              </a:solidFill>
            </c:spPr>
          </c:dPt>
          <c:dPt>
            <c:idx val="61"/>
            <c:spPr>
              <a:solidFill>
                <a:srgbClr val="AEABAB"/>
              </a:solidFill>
            </c:spPr>
          </c:dPt>
          <c:dPt>
            <c:idx val="62"/>
            <c:spPr>
              <a:solidFill>
                <a:srgbClr val="AEABAB"/>
              </a:solidFill>
            </c:spPr>
          </c:dPt>
          <c:dPt>
            <c:idx val="63"/>
            <c:spPr>
              <a:solidFill>
                <a:srgbClr val="AEABAB"/>
              </a:solidFill>
            </c:spPr>
          </c:dPt>
          <c:dPt>
            <c:idx val="64"/>
            <c:spPr>
              <a:solidFill>
                <a:srgbClr val="AEABAB"/>
              </a:solidFill>
            </c:spPr>
          </c:dPt>
          <c:dPt>
            <c:idx val="65"/>
            <c:spPr>
              <a:solidFill>
                <a:srgbClr val="AEABAB"/>
              </a:solidFill>
            </c:spPr>
          </c:dPt>
          <c:dPt>
            <c:idx val="66"/>
            <c:spPr>
              <a:solidFill>
                <a:srgbClr val="AEABAB"/>
              </a:solidFill>
            </c:spPr>
          </c:dPt>
          <c:dPt>
            <c:idx val="67"/>
            <c:spPr>
              <a:solidFill>
                <a:srgbClr val="AEABAB"/>
              </a:solidFill>
            </c:spPr>
          </c:dPt>
          <c:dPt>
            <c:idx val="68"/>
            <c:spPr>
              <a:solidFill>
                <a:srgbClr val="AEABAB"/>
              </a:solidFill>
            </c:spPr>
          </c:dPt>
          <c:dPt>
            <c:idx val="69"/>
            <c:spPr>
              <a:solidFill>
                <a:srgbClr val="AEABAB"/>
              </a:solidFill>
            </c:spPr>
          </c:dPt>
          <c:dPt>
            <c:idx val="70"/>
            <c:spPr>
              <a:solidFill>
                <a:srgbClr val="AEABAB"/>
              </a:solidFill>
            </c:spPr>
          </c:dPt>
          <c:dPt>
            <c:idx val="71"/>
            <c:spPr>
              <a:solidFill>
                <a:srgbClr val="AEABAB"/>
              </a:solidFill>
            </c:spPr>
          </c:dPt>
          <c:dPt>
            <c:idx val="72"/>
            <c:spPr>
              <a:solidFill>
                <a:srgbClr val="AEABAB"/>
              </a:solidFill>
            </c:spPr>
          </c:dPt>
          <c:dPt>
            <c:idx val="73"/>
            <c:spPr>
              <a:solidFill>
                <a:srgbClr val="AEABAB"/>
              </a:solidFill>
            </c:spPr>
          </c:dPt>
          <c:dPt>
            <c:idx val="74"/>
            <c:spPr>
              <a:solidFill>
                <a:srgbClr val="AEABAB"/>
              </a:solidFill>
            </c:spPr>
          </c:dPt>
          <c:dPt>
            <c:idx val="75"/>
            <c:spPr>
              <a:solidFill>
                <a:srgbClr val="AEABAB"/>
              </a:solidFill>
            </c:spPr>
          </c:dPt>
          <c:dPt>
            <c:idx val="76"/>
            <c:spPr>
              <a:solidFill>
                <a:srgbClr val="AEABAB"/>
              </a:solidFill>
            </c:spPr>
          </c:dPt>
          <c:dPt>
            <c:idx val="77"/>
            <c:spPr>
              <a:solidFill>
                <a:srgbClr val="AEABAB"/>
              </a:solidFill>
            </c:spPr>
          </c:dPt>
          <c:dPt>
            <c:idx val="78"/>
            <c:spPr>
              <a:solidFill>
                <a:srgbClr val="AEABAB"/>
              </a:solidFill>
            </c:spPr>
          </c:dPt>
          <c:dPt>
            <c:idx val="79"/>
            <c:spPr>
              <a:solidFill>
                <a:srgbClr val="AEABAB"/>
              </a:solidFill>
            </c:spPr>
          </c:dPt>
          <c:dPt>
            <c:idx val="80"/>
            <c:spPr>
              <a:solidFill>
                <a:srgbClr val="AEABAB"/>
              </a:solidFill>
            </c:spPr>
          </c:dPt>
          <c:dPt>
            <c:idx val="81"/>
            <c:spPr>
              <a:solidFill>
                <a:srgbClr val="AEABAB"/>
              </a:solidFill>
            </c:spPr>
          </c:dPt>
          <c:dPt>
            <c:idx val="82"/>
            <c:spPr>
              <a:solidFill>
                <a:srgbClr val="AEABAB"/>
              </a:solidFill>
            </c:spPr>
          </c:dPt>
          <c:dPt>
            <c:idx val="83"/>
            <c:spPr>
              <a:solidFill>
                <a:srgbClr val="AEABAB"/>
              </a:solidFill>
            </c:spPr>
          </c:dPt>
          <c:dPt>
            <c:idx val="84"/>
            <c:spPr>
              <a:solidFill>
                <a:srgbClr val="AEABAB"/>
              </a:solidFill>
            </c:spPr>
          </c:dPt>
          <c:dPt>
            <c:idx val="85"/>
            <c:spPr>
              <a:solidFill>
                <a:srgbClr val="AEABAB"/>
              </a:solidFill>
            </c:spPr>
          </c:dPt>
          <c:dPt>
            <c:idx val="86"/>
            <c:spPr>
              <a:solidFill>
                <a:srgbClr val="AEABAB"/>
              </a:solidFill>
            </c:spPr>
          </c:dPt>
          <c:dPt>
            <c:idx val="87"/>
            <c:spPr>
              <a:solidFill>
                <a:srgbClr val="AEABAB"/>
              </a:solidFill>
            </c:spPr>
          </c:dPt>
          <c:dPt>
            <c:idx val="88"/>
            <c:spPr>
              <a:solidFill>
                <a:srgbClr val="AEABAB"/>
              </a:solidFill>
            </c:spPr>
          </c:dPt>
          <c:dPt>
            <c:idx val="89"/>
            <c:spPr>
              <a:solidFill>
                <a:srgbClr val="AEABAB"/>
              </a:solidFill>
            </c:spPr>
          </c:dPt>
          <c:dPt>
            <c:idx val="90"/>
            <c:spPr>
              <a:solidFill>
                <a:srgbClr val="AEABAB"/>
              </a:solidFill>
            </c:spPr>
          </c:dPt>
          <c:dPt>
            <c:idx val="91"/>
            <c:spPr>
              <a:solidFill>
                <a:srgbClr val="AEABAB"/>
              </a:solidFill>
            </c:spPr>
          </c:dPt>
          <c:dPt>
            <c:idx val="92"/>
            <c:spPr>
              <a:solidFill>
                <a:srgbClr val="AEABAB"/>
              </a:solidFill>
            </c:spPr>
          </c:dPt>
          <c:dPt>
            <c:idx val="93"/>
            <c:spPr>
              <a:solidFill>
                <a:srgbClr val="AEABAB"/>
              </a:solidFill>
            </c:spPr>
          </c:dPt>
          <c:dPt>
            <c:idx val="94"/>
            <c:spPr>
              <a:solidFill>
                <a:srgbClr val="AEABAB"/>
              </a:solidFill>
            </c:spPr>
          </c:dPt>
          <c:dPt>
            <c:idx val="95"/>
            <c:spPr>
              <a:solidFill>
                <a:srgbClr val="AEABAB"/>
              </a:solidFill>
            </c:spPr>
          </c:dPt>
          <c:dPt>
            <c:idx val="96"/>
            <c:spPr>
              <a:solidFill>
                <a:srgbClr val="AEABAB"/>
              </a:solidFill>
            </c:spPr>
          </c:dPt>
          <c:dPt>
            <c:idx val="97"/>
            <c:spPr>
              <a:solidFill>
                <a:srgbClr val="AEABAB"/>
              </a:solidFill>
            </c:spPr>
          </c:dPt>
          <c:dPt>
            <c:idx val="98"/>
            <c:spPr>
              <a:solidFill>
                <a:srgbClr val="AEABAB"/>
              </a:solidFill>
            </c:spPr>
          </c:dPt>
          <c:dPt>
            <c:idx val="99"/>
            <c:spPr>
              <a:solidFill>
                <a:srgbClr val="AEABAB"/>
              </a:solidFill>
            </c:spPr>
          </c:dPt>
          <c:dPt>
            <c:idx val="100"/>
            <c:spPr>
              <a:solidFill>
                <a:srgbClr val="AEABAB"/>
              </a:solidFill>
            </c:spPr>
          </c:dPt>
          <c:dPt>
            <c:idx val="101"/>
            <c:spPr>
              <a:solidFill>
                <a:srgbClr val="AEABAB"/>
              </a:solidFill>
            </c:spPr>
          </c:dPt>
          <c:dPt>
            <c:idx val="102"/>
            <c:spPr>
              <a:solidFill>
                <a:srgbClr val="AEABAB"/>
              </a:solidFill>
            </c:spPr>
          </c:dPt>
          <c:dPt>
            <c:idx val="103"/>
            <c:spPr>
              <a:solidFill>
                <a:srgbClr val="AEABAB"/>
              </a:solidFill>
            </c:spPr>
          </c:dPt>
          <c:dPt>
            <c:idx val="104"/>
            <c:spPr>
              <a:solidFill>
                <a:srgbClr val="AEABAB"/>
              </a:solidFill>
            </c:spPr>
          </c:dPt>
          <c:dPt>
            <c:idx val="105"/>
            <c:spPr>
              <a:solidFill>
                <a:srgbClr val="AEABAB"/>
              </a:solidFill>
            </c:spPr>
          </c:dPt>
          <c:dPt>
            <c:idx val="106"/>
            <c:spPr>
              <a:solidFill>
                <a:srgbClr val="AEABAB"/>
              </a:solidFill>
            </c:spPr>
          </c:dPt>
          <c:dPt>
            <c:idx val="107"/>
            <c:spPr>
              <a:solidFill>
                <a:srgbClr val="AEABAB"/>
              </a:solidFill>
            </c:spPr>
          </c:dPt>
          <c:dPt>
            <c:idx val="108"/>
            <c:spPr>
              <a:solidFill>
                <a:srgbClr val="AEABAB"/>
              </a:solidFill>
            </c:spPr>
          </c:dPt>
          <c:dPt>
            <c:idx val="109"/>
            <c:spPr>
              <a:solidFill>
                <a:srgbClr val="AEABAB"/>
              </a:solidFill>
            </c:spPr>
          </c:dPt>
          <c:dPt>
            <c:idx val="110"/>
            <c:spPr>
              <a:solidFill>
                <a:srgbClr val="AEABAB"/>
              </a:solidFill>
            </c:spPr>
          </c:dPt>
          <c:dPt>
            <c:idx val="111"/>
            <c:spPr>
              <a:solidFill>
                <a:srgbClr val="AEABAB"/>
              </a:solidFill>
            </c:spPr>
          </c:dPt>
          <c:dPt>
            <c:idx val="112"/>
            <c:spPr>
              <a:solidFill>
                <a:srgbClr val="AEABAB"/>
              </a:solidFill>
            </c:spPr>
          </c:dPt>
          <c:dPt>
            <c:idx val="113"/>
            <c:spPr>
              <a:solidFill>
                <a:srgbClr val="AEABAB"/>
              </a:solidFill>
            </c:spPr>
          </c:dPt>
          <c:dPt>
            <c:idx val="114"/>
            <c:spPr>
              <a:solidFill>
                <a:srgbClr val="AEABAB"/>
              </a:solidFill>
            </c:spPr>
          </c:dPt>
          <c:dPt>
            <c:idx val="115"/>
            <c:spPr>
              <a:solidFill>
                <a:srgbClr val="AEABAB"/>
              </a:solidFill>
            </c:spPr>
          </c:dPt>
          <c:dPt>
            <c:idx val="116"/>
            <c:spPr>
              <a:solidFill>
                <a:srgbClr val="AEABAB"/>
              </a:solidFill>
            </c:spPr>
          </c:dPt>
          <c:dPt>
            <c:idx val="117"/>
            <c:spPr>
              <a:solidFill>
                <a:srgbClr val="AEABAB"/>
              </a:solidFill>
            </c:spPr>
          </c:dPt>
          <c:dPt>
            <c:idx val="118"/>
            <c:spPr>
              <a:solidFill>
                <a:srgbClr val="AEABAB"/>
              </a:solidFill>
            </c:spPr>
          </c:dPt>
          <c:dPt>
            <c:idx val="119"/>
            <c:spPr>
              <a:solidFill>
                <a:srgbClr val="AEABAB"/>
              </a:solidFill>
            </c:spPr>
          </c:dPt>
          <c:dPt>
            <c:idx val="120"/>
            <c:spPr>
              <a:solidFill>
                <a:srgbClr val="AEABAB"/>
              </a:solidFill>
            </c:spPr>
          </c:dPt>
          <c:dPt>
            <c:idx val="121"/>
            <c:spPr>
              <a:solidFill>
                <a:srgbClr val="AEABAB"/>
              </a:solidFill>
            </c:spPr>
          </c:dPt>
          <c:dPt>
            <c:idx val="122"/>
            <c:spPr>
              <a:solidFill>
                <a:srgbClr val="AEABAB"/>
              </a:solidFill>
            </c:spPr>
          </c:dPt>
          <c:dPt>
            <c:idx val="123"/>
            <c:spPr>
              <a:solidFill>
                <a:srgbClr val="AEABAB"/>
              </a:solidFill>
            </c:spPr>
          </c:dPt>
          <c:dPt>
            <c:idx val="124"/>
            <c:spPr>
              <a:solidFill>
                <a:srgbClr val="AEABAB"/>
              </a:solidFill>
            </c:spPr>
          </c:dPt>
          <c:cat>
            <c:strRef>
              <c:f>Sheet1!$A$2:$A$126</c:f>
              <c:strCache>
                <c:ptCount val="125"/>
                <c:pt idx="0">
                  <c:v>La Vache Qui Rit Nature Fromage Fondu Boite Ronde 1X512Gr 32P</c:v>
                </c:pt>
                <c:pt idx="1">
                  <c:v>Mini Babybel Rouge Filet St Paulin Ferme 1X264Gr 12P</c:v>
                </c:pt>
                <c:pt idx="2">
                  <c:v>Mini Babybel Rouge Filet St Paulin Ferme 1X132Gr 6P</c:v>
                </c:pt>
                <c:pt idx="3">
                  <c:v>La Vache Qui Rit Nature Fromage Fondu Boite Ronde 1X384Gr 24P</c:v>
                </c:pt>
                <c:pt idx="4">
                  <c:v>La Vache Qui Rit Nature Fromage Fondu Boite Ronde 1X192Gr 12P</c:v>
                </c:pt>
                <c:pt idx="5">
                  <c:v>Kiri Creme Fromage Blanc Frais Carre 1X432Gr 24P</c:v>
                </c:pt>
                <c:pt idx="6">
                  <c:v>Kiri Creme Fromage Blanc Frais Carre 1X144Gr 8P</c:v>
                </c:pt>
                <c:pt idx="7">
                  <c:v>Apericube Edition Limitee Best Of Foot Fromage Fondu Cube Assortis 1X250Gr 48P</c:v>
                </c:pt>
                <c:pt idx="8">
                  <c:v>Kiri Creme Fromage Blanc Frais Carre 1X216Gr 12P</c:v>
                </c:pt>
                <c:pt idx="9">
                  <c:v>Apericube Cocktail Fromage Fondu Cube Assortis 1X250Gr 48P</c:v>
                </c:pt>
                <c:pt idx="10">
                  <c:v>Boursin Classique Fromage Frais A Tartiner Afh Boite 1X150Gr 1P</c:v>
                </c:pt>
                <c:pt idx="11">
                  <c:v>Boursin Classique Fromage Frais A Tartiner Afh 1X160Gr 10P</c:v>
                </c:pt>
                <c:pt idx="12">
                  <c:v>Kiri Gouter Fromage Blanc Dips Boite 1X175Gr 5P</c:v>
                </c:pt>
                <c:pt idx="13">
                  <c:v>Apericube Long Drink Fromage Fondu Cube Assortis 1X250Gr 48P</c:v>
                </c:pt>
                <c:pt idx="14">
                  <c:v>Boursin Aperitif Roules Fromage Frais Roule Afh Et Jambon Fume Boite 1X100Gr 20P</c:v>
                </c:pt>
                <c:pt idx="15">
                  <c:v>Boursin Classique Fromage Frais A Tartiner Afh Boite 1X250Gr 1P</c:v>
                </c:pt>
                <c:pt idx="16">
                  <c:v>Boursin Salade &amp; Aperitif Fromage Frais Des Afh 1X120Gr 1P</c:v>
                </c:pt>
                <c:pt idx="17">
                  <c:v>Kiri Gouter Fromage Blanc Dips Boite 1X280Gr 8P</c:v>
                </c:pt>
                <c:pt idx="18">
                  <c:v>Apericube Tonic Fromage Fondu Cube Assortis 1X250Gr 48P</c:v>
                </c:pt>
                <c:pt idx="19">
                  <c:v>La Vache Qui Rit Pik Et Croq' Fromage Fondu Dips Boite 1X175Gr 5P</c:v>
                </c:pt>
                <c:pt idx="20">
                  <c:v>Mini Babybel Rouge Filet St Paulin Ferme 1X440Gr 20P</c:v>
                </c:pt>
                <c:pt idx="21">
                  <c:v>Apericube Edition Limitee Saison Fromage Fondu Cube Assortis 1X250Gr 48P</c:v>
                </c:pt>
                <c:pt idx="22">
                  <c:v>Apericube Nature Fromage Fondu Cube 1X125Gr 24P</c:v>
                </c:pt>
                <c:pt idx="23">
                  <c:v>La Vache Qui Rit Nature Fromage Fondu Boite Ronde 1X128Gr 8P</c:v>
                </c:pt>
                <c:pt idx="24">
                  <c:v>Mini Babybel Rouge Filet Soft Cheese Enfant 352G</c:v>
                </c:pt>
                <c:pt idx="25">
                  <c:v>La Vache Qui Rit Nature Fromage Fondu Boite Ronde 1X512Gr 24+8P</c:v>
                </c:pt>
                <c:pt idx="26">
                  <c:v>Kiri Creme Fromage Blanc Frais Carre 1X432Gr 18+6P</c:v>
                </c:pt>
                <c:pt idx="27">
                  <c:v>Apericube Incontournable Fromage Fondu Cube Assortis 1X250Gr 48P</c:v>
                </c:pt>
                <c:pt idx="28">
                  <c:v>Babybel St Paulin 1X200Gr 1P</c:v>
                </c:pt>
                <c:pt idx="29">
                  <c:v>Boursin Aperitif Roules Fromage Frais Roule Ciboulette &amp; Echalote Jambon Fume Boite 1X100Gr 20P</c:v>
                </c:pt>
                <c:pt idx="30">
                  <c:v>Mini Babybel Rouge Filet Soft Cheese Enfant 484G</c:v>
                </c:pt>
                <c:pt idx="31">
                  <c:v>Boursin Classique Fromage Frais A Tartiner Afh Boite 1X96Gr 6P</c:v>
                </c:pt>
                <c:pt idx="32">
                  <c:v>Port Salut St Paulin 1X320Gr 1P</c:v>
                </c:pt>
                <c:pt idx="33">
                  <c:v>Apericube Campagne Fromage Fondu Cube Assortis 1X125Gr 24P</c:v>
                </c:pt>
                <c:pt idx="34">
                  <c:v>Apericube Carrement Toque Fromage Fondu Cube Assortis 1X250Gr 48P</c:v>
                </c:pt>
                <c:pt idx="35">
                  <c:v>Apericube Best Of Des Saveurs Fromage Fondu Cube Assortis 1X125Gr 24P</c:v>
                </c:pt>
                <c:pt idx="36">
                  <c:v>Mini Babybel Rouge Filet St Paulin Ferme 1X396Gr 12+6P</c:v>
                </c:pt>
                <c:pt idx="37">
                  <c:v>Toastinette Cheddar Fondu Tranche A Chaud Sachet 1X200Gr 10P</c:v>
                </c:pt>
                <c:pt idx="38">
                  <c:v>Toastinette Fromage Fondu Tranche A Chaud Sachet 1X200Gr 10P</c:v>
                </c:pt>
                <c:pt idx="39">
                  <c:v>Cousteron St Paulin 1X320Gr 1P</c:v>
                </c:pt>
                <c:pt idx="40">
                  <c:v>Kiri Delicieusement Fouette Fromage Frais A Tartiner 1X125Gr 1P</c:v>
                </c:pt>
                <c:pt idx="41">
                  <c:v>Boursin Classique Fromage Frais A Tartiner Ciboulette &amp; Echalote Boite 1X150Gr 1P</c:v>
                </c:pt>
                <c:pt idx="42">
                  <c:v>Apericube Edition Voyage Fromage Fondu Cube Assortis 1X250Gr 48P</c:v>
                </c:pt>
                <c:pt idx="43">
                  <c:v>Apericube Long Drink Fromage Fondu Cube Assortis 1X125Gr 24P</c:v>
                </c:pt>
                <c:pt idx="44">
                  <c:v>Boursin Onctueux Fromage Frais A Tartiner Afh 1X125Gr 1P</c:v>
                </c:pt>
                <c:pt idx="45">
                  <c:v>Mini Babybel Aros St Paulin Ferme Assortis Filet 1X180Gr 9P</c:v>
                </c:pt>
                <c:pt idx="46">
                  <c:v>Apericube Vertical Soiree Apero Fromage Fondu Cube Assortis 1X125Gr 24P</c:v>
                </c:pt>
                <c:pt idx="47">
                  <c:v>Kiri Delicieusement Fouette Fromage Frais A Tartiner 1X210Gr 1P</c:v>
                </c:pt>
                <c:pt idx="48">
                  <c:v>Babybel Mini Rolls St Paulin Ferme Sachet 1X85Gr 5P</c:v>
                </c:pt>
                <c:pt idx="49">
                  <c:v>Boursin Salade &amp; Aperitif Fromage Frais Des Ciboulette Echalote 1X120Gr 1P</c:v>
                </c:pt>
                <c:pt idx="50">
                  <c:v>La Vache Qui Rit Pik Et Croq' Fromage Fondu Dips Boite 1X280Gr 8P</c:v>
                </c:pt>
                <c:pt idx="51">
                  <c:v>Boursin Classique Fromage Frais A Tartiner Figue Et 3 Noix Boite 1X150Gr 1P</c:v>
                </c:pt>
                <c:pt idx="52">
                  <c:v>Apericube Soiree Match Aperitif 250G</c:v>
                </c:pt>
                <c:pt idx="53">
                  <c:v>Kiri Delicieusement Fouette Fromage Frais A Tartiner 1X160Gr 10P</c:v>
                </c:pt>
                <c:pt idx="54">
                  <c:v>Boursin Cuisine Sauce Fromage Afh 1X240Gr 1P</c:v>
                </c:pt>
                <c:pt idx="55">
                  <c:v>La Vache Qui Rit Allegee Fromage Fondu Boite Ronde Allege 1X267Gr 16P</c:v>
                </c:pt>
                <c:pt idx="56">
                  <c:v>Apericube Charcut' Fromages Fromage Fondu Cube Assortis 1X250Gr 48P</c:v>
                </c:pt>
                <c:pt idx="57">
                  <c:v>Boursin Salade &amp; Aperitif Fromage Frais Des Figue Noix 1X120Gr 1P</c:v>
                </c:pt>
                <c:pt idx="58">
                  <c:v>Apericube Nature Fromage Fondu Cube 1X250Gr 48P</c:v>
                </c:pt>
                <c:pt idx="59">
                  <c:v>Kiri Bio Fromage Blanc Frais Carre 1X144Gr 8P</c:v>
                </c:pt>
                <c:pt idx="60">
                  <c:v>Mini Babybel Aros Soft Cheese Enfant 180G</c:v>
                </c:pt>
                <c:pt idx="61">
                  <c:v>Apericube Selection Du Fromager Fromage Fondu Cube Assortis 1X250Gr 48P</c:v>
                </c:pt>
                <c:pt idx="62">
                  <c:v>Apericube Sucre Sale Fromage Fondu Cube Assortis 1X250Gr 48P</c:v>
                </c:pt>
                <c:pt idx="63">
                  <c:v>Port Salut St Paulin 1X185Gr 1P</c:v>
                </c:pt>
                <c:pt idx="64">
                  <c:v>Babybel St Paulin 1X380Gr 1P</c:v>
                </c:pt>
                <c:pt idx="65">
                  <c:v>Apericube Vertical Nature Fromage Fondu Cube 1X125Gr 24P</c:v>
                </c:pt>
                <c:pt idx="66">
                  <c:v>Boursin Salade &amp; Aperitif Fromage Frais Des Citron Romarin 1X120Gr 1P</c:v>
                </c:pt>
                <c:pt idx="67">
                  <c:v>Mini Babybel Aros St Paulin Ferme Raclette Filet 1X132Gr 6P</c:v>
                </c:pt>
                <c:pt idx="68">
                  <c:v>La Vache Qui Rit Bio Fromage Fondu Boite Ronde 1X128Gr 8P</c:v>
                </c:pt>
                <c:pt idx="69">
                  <c:v>Mini Babybel Aros Soft Cheese Enfant 110G</c:v>
                </c:pt>
                <c:pt idx="70">
                  <c:v>Nurishh Le Coeur Fleuri Vegetal Camembert Boite 1X140Gr 1P</c:v>
                </c:pt>
                <c:pt idx="71">
                  <c:v>Boursin Classique Fromage Frais A Tartiner Afh Boite 1X80Gr 1P</c:v>
                </c:pt>
                <c:pt idx="72">
                  <c:v>Apericube Hot Chalenge Aperitif 250G</c:v>
                </c:pt>
                <c:pt idx="73">
                  <c:v>Port Salut St Paulin Tranche Boite 1X200Gr 6P</c:v>
                </c:pt>
                <c:pt idx="74">
                  <c:v>Boursin Salade &amp; Aperitif Fromage Frais Des Noisette Et 3 Noix 1X120Gr 1P</c:v>
                </c:pt>
                <c:pt idx="75">
                  <c:v>Boursin Classique Fromage Frais A Tartiner Afh 1X256Gr 16P</c:v>
                </c:pt>
                <c:pt idx="76">
                  <c:v>Nurishh Les Tranches Vegetales Emmental Vegetal Tranche Boite 1X160Gr 8P</c:v>
                </c:pt>
                <c:pt idx="77">
                  <c:v>Boursin Salade &amp; Aperitif Soft Cheese Salade 120G</c:v>
                </c:pt>
                <c:pt idx="78">
                  <c:v>Nurishh Le Rape Vegetal Specialite Vegetale Sachet 1X150Gr 1P</c:v>
                </c:pt>
                <c:pt idx="79">
                  <c:v>Nurishh Les Tranches Vegetales Cheddar Vegetal Tranche Boite 1X160Gr 8P</c:v>
                </c:pt>
                <c:pt idx="80">
                  <c:v>Nurishh Le Palet Vegetal Specialite Vegetale Ovale Saveur Chevre Boite 1X140Gr 1P</c:v>
                </c:pt>
                <c:pt idx="81">
                  <c:v>Boursin Classique Fromage Frais A Tartiner 3 Noix Boite 1X150Gr 1P</c:v>
                </c:pt>
                <c:pt idx="82">
                  <c:v>Apericube Fromages Du Monde Aperitif 250G</c:v>
                </c:pt>
                <c:pt idx="83">
                  <c:v>Apericube Jambon Fromage Fondu Cube 1X78Gr 15P</c:v>
                </c:pt>
                <c:pt idx="84">
                  <c:v>Boursin Classique Fromage Frais A Tartiner Poivre Boite 1X150Gr 1P</c:v>
                </c:pt>
                <c:pt idx="85">
                  <c:v>Mini Babybel Aros St Paulin Ferme Emmental Filet 1X120Gr 6P</c:v>
                </c:pt>
                <c:pt idx="86">
                  <c:v>Apericube P'Tits Plaisirs Fromage Fondu Cube 3 Fromages &amp; Jambon Cru Olive Verte 1X78Gr 15P</c:v>
                </c:pt>
                <c:pt idx="87">
                  <c:v>Apericube Saveurs De L'Authentique Fromage Fondu Cube Assortis 1X250Gr 48P</c:v>
                </c:pt>
                <c:pt idx="88">
                  <c:v>Nurishh Le Rape Vegetal Specialite Vegetale Emmental Sachet 1X150Gr 1P</c:v>
                </c:pt>
                <c:pt idx="89">
                  <c:v>Nurishh Des Vegetaux Feta Vegetale Sachet 1X150Gr 1P</c:v>
                </c:pt>
                <c:pt idx="90">
                  <c:v>Boursin Vegetal Specialite Vegetale A Tartiner Afh 1X130Gr 1P</c:v>
                </c:pt>
                <c:pt idx="91">
                  <c:v>Boursin Onctueux Fromage Frais A Tartiner Afh 1X210Gr 1P</c:v>
                </c:pt>
                <c:pt idx="92">
                  <c:v>Nurishh Le Rape Vegetal Mozzarella Vegetale Sachet 1X150Gr 1P</c:v>
                </c:pt>
                <c:pt idx="93">
                  <c:v>Boursin Aperitif Roules Aperitif 100G</c:v>
                </c:pt>
                <c:pt idx="94">
                  <c:v>Boursin Aperitif Roules Fromage Frais Roule Jambon Fume &amp; Trio De Noix Boite 1X100Gr 20P</c:v>
                </c:pt>
                <c:pt idx="95">
                  <c:v>Apericube Montagne Aperitif 250G</c:v>
                </c:pt>
                <c:pt idx="96">
                  <c:v>Boursin Classique Fromage Frais A Tartiner Truffe Boite 1X150Gr 1P</c:v>
                </c:pt>
                <c:pt idx="97">
                  <c:v>Boursin Classique Fromage Frais A Tartiner Afh Boite 1X320Gr 16+4P</c:v>
                </c:pt>
                <c:pt idx="98">
                  <c:v>Boursin Vegetal Alternative Vegetale 150G</c:v>
                </c:pt>
                <c:pt idx="99">
                  <c:v>Boursin Classique Fromage Frais A Tartiner 3 Noix 1X160Gr 10P</c:v>
                </c:pt>
                <c:pt idx="100">
                  <c:v>Mini Babybel Rouge Filet St Paulin Ferme Sachet 1X40Gr 1P</c:v>
                </c:pt>
                <c:pt idx="101">
                  <c:v>La Vache Qui Rit Le Fondant Fromage Fondu 1X200Gr 1P</c:v>
                </c:pt>
                <c:pt idx="102">
                  <c:v>Nurishh Les Tranches Vegetales Emmental Vegetal Tranche Boite 1X200Gr 10P</c:v>
                </c:pt>
                <c:pt idx="103">
                  <c:v>Mini Babybel Aros Soft Cheese Enfant 120G</c:v>
                </c:pt>
                <c:pt idx="104">
                  <c:v>Nurishh Les Tranches Vegetales Cheddar Vegetal Tranche Boite 1X200Gr 10P</c:v>
                </c:pt>
                <c:pt idx="105">
                  <c:v>La Vache Qui Rit Aro Fromage Fondu Boite Ronde Jambon 1X133Gr 8P</c:v>
                </c:pt>
                <c:pt idx="106">
                  <c:v>Nurishh Les Tranches Vegetales Specialite Vegetale Tranche Piment Boite 1X120Gr 6P</c:v>
                </c:pt>
                <c:pt idx="107">
                  <c:v>Toastinette Fromage Fondu Tranche A Chaud Sachet 1X340Gr 20P</c:v>
                </c:pt>
                <c:pt idx="108">
                  <c:v>Nurishh Le Tartinable Vegetal Specialite Vegetale A Tartiner 1X130Gr 1P</c:v>
                </c:pt>
                <c:pt idx="109">
                  <c:v>Toastinette Cheddar Fondu Tranche A Chaud Sachet 1X340Gr 20P</c:v>
                </c:pt>
                <c:pt idx="110">
                  <c:v>La Vache Qui Rit Pik Et Croq' Fromage Fondu Dips Boite 1X35Gr 1P</c:v>
                </c:pt>
                <c:pt idx="111">
                  <c:v>Kiri Chevre Fromage Blanc Frais Carre 1X144Gr 8P</c:v>
                </c:pt>
                <c:pt idx="112">
                  <c:v>Boursin Classique Fromage Frais A Tartiner Citron &amp; Romarin Boite 1X150Gr 1P</c:v>
                </c:pt>
                <c:pt idx="113">
                  <c:v>Mini Babybel Bio St Paulin Ferme Filet 1X100Gr 5P</c:v>
                </c:pt>
                <c:pt idx="114">
                  <c:v>Boursin Classique Fromage Frais A Tartiner Ciboulette &amp; Echalote 1X160Gr 10P</c:v>
                </c:pt>
                <c:pt idx="115">
                  <c:v>Cousteron St Paulin 1X460Gr 1P</c:v>
                </c:pt>
                <c:pt idx="116">
                  <c:v>Mini Babybel Rouge Filet St Paulin Ferme 1X110Gr 5P</c:v>
                </c:pt>
                <c:pt idx="117">
                  <c:v>Port Salut Pause Fondante Specialite Roux Sachet 1X180Gr 1P</c:v>
                </c:pt>
                <c:pt idx="118">
                  <c:v>Limiano Queijo Flamengo Tranche Sachet 1X200Gr 1P</c:v>
                </c:pt>
                <c:pt idx="119">
                  <c:v>Limiano Queijo Flamengo Bloc 1X600Gr 1P</c:v>
                </c:pt>
                <c:pt idx="120">
                  <c:v>Limiano Queijo Flamengo Autre Sachet 1X450Gr 1P</c:v>
                </c:pt>
                <c:pt idx="121">
                  <c:v>Nurishh Le Rape Vegetal Specialite Vegetale Sachet 1X200Gr 1P</c:v>
                </c:pt>
                <c:pt idx="122">
                  <c:v>Nurishh Le Rape Vegetal Mozzarella Vegetale Sachet 1X200Gr 1P</c:v>
                </c:pt>
                <c:pt idx="123">
                  <c:v>Boursin Aperitif Roules Fromage Frais Roule Basilic &amp; Jambon Fume Tomate Boite 1X100Gr 20P</c:v>
                </c:pt>
                <c:pt idx="124">
                  <c:v>Mini Babybel Rouge Filet St Paulin Ferme 1X396Gr 18P</c:v>
                </c:pt>
              </c:strCache>
            </c:strRef>
          </c:cat>
          <c:val>
            <c:numRef>
              <c:f>Sheet1!$C$2:$C$126</c:f>
              <c:numCache>
                <c:formatCode>General</c:formatCode>
                <c:ptCount val="125"/>
                <c:pt idx="0">
                  <c:v>0.09472933420606919</c:v>
                </c:pt>
                <c:pt idx="1">
                  <c:v>0.16376398918378254</c:v>
                </c:pt>
                <c:pt idx="2">
                  <c:v>0.22089293420912337</c:v>
                </c:pt>
                <c:pt idx="3">
                  <c:v>0.27323281034545105</c:v>
                </c:pt>
                <c:pt idx="4">
                  <c:v>0.32409159295641277</c:v>
                </c:pt>
                <c:pt idx="5">
                  <c:v>0.37477460010842983</c:v>
                </c:pt>
                <c:pt idx="6">
                  <c:v>0.4125771846911853</c:v>
                </c:pt>
                <c:pt idx="7">
                  <c:v>0.4466209821217262</c:v>
                </c:pt>
                <c:pt idx="8">
                  <c:v>0.47523185160805576</c:v>
                </c:pt>
                <c:pt idx="9">
                  <c:v>0.5035498847182872</c:v>
                </c:pt>
                <c:pt idx="10">
                  <c:v>0.5307521814621257</c:v>
                </c:pt>
                <c:pt idx="11">
                  <c:v>0.5572701688652952</c:v>
                </c:pt>
                <c:pt idx="12">
                  <c:v>0.5834484507052444</c:v>
                </c:pt>
                <c:pt idx="13">
                  <c:v>0.6079085878613255</c:v>
                </c:pt>
                <c:pt idx="14">
                  <c:v>0.6285003923453589</c:v>
                </c:pt>
                <c:pt idx="15">
                  <c:v>0.6453910837486264</c:v>
                </c:pt>
                <c:pt idx="16">
                  <c:v>0.6613492015838776</c:v>
                </c:pt>
                <c:pt idx="17">
                  <c:v>0.6760966201249342</c:v>
                </c:pt>
                <c:pt idx="18">
                  <c:v>0.6903518481722626</c:v>
                </c:pt>
                <c:pt idx="19">
                  <c:v>0.7045839777779865</c:v>
                </c:pt>
                <c:pt idx="20">
                  <c:v>0.7184155263018337</c:v>
                </c:pt>
                <c:pt idx="21">
                  <c:v>0.7318218185894497</c:v>
                </c:pt>
                <c:pt idx="22">
                  <c:v>0.7444193612834294</c:v>
                </c:pt>
                <c:pt idx="23">
                  <c:v>0.7566820646139446</c:v>
                </c:pt>
                <c:pt idx="24">
                  <c:v>0.7685959462603151</c:v>
                </c:pt>
                <c:pt idx="25">
                  <c:v>0.7798324897173118</c:v>
                </c:pt>
                <c:pt idx="26">
                  <c:v>0.7892190288835688</c:v>
                </c:pt>
                <c:pt idx="27">
                  <c:v>0.7979639340004371</c:v>
                </c:pt>
                <c:pt idx="28">
                  <c:v>0.8062465021187899</c:v>
                </c:pt>
                <c:pt idx="29">
                  <c:v>0.8142765320777728</c:v>
                </c:pt>
                <c:pt idx="30">
                  <c:v>0.8222660477223409</c:v>
                </c:pt>
                <c:pt idx="31">
                  <c:v>0.8300631003643937</c:v>
                </c:pt>
                <c:pt idx="32">
                  <c:v>0.8374083967909527</c:v>
                </c:pt>
                <c:pt idx="33">
                  <c:v>0.8444298988469141</c:v>
                </c:pt>
                <c:pt idx="34">
                  <c:v>0.8513801126771756</c:v>
                </c:pt>
                <c:pt idx="35">
                  <c:v>0.8581937847840242</c:v>
                </c:pt>
                <c:pt idx="36">
                  <c:v>0.86499813267588</c:v>
                </c:pt>
                <c:pt idx="37">
                  <c:v>0.8716900857598877</c:v>
                </c:pt>
                <c:pt idx="38">
                  <c:v>0.8775871195021968</c:v>
                </c:pt>
                <c:pt idx="39">
                  <c:v>0.883373431192824</c:v>
                </c:pt>
                <c:pt idx="40">
                  <c:v>0.8891288889359859</c:v>
                </c:pt>
                <c:pt idx="41">
                  <c:v>0.8946452465944327</c:v>
                </c:pt>
                <c:pt idx="42">
                  <c:v>0.900022829520039</c:v>
                </c:pt>
                <c:pt idx="43">
                  <c:v>0.9049840402254159</c:v>
                </c:pt>
                <c:pt idx="44">
                  <c:v>0.9097325948000142</c:v>
                </c:pt>
                <c:pt idx="45">
                  <c:v>0.9141720816611708</c:v>
                </c:pt>
                <c:pt idx="46">
                  <c:v>0.9183337149191618</c:v>
                </c:pt>
                <c:pt idx="47">
                  <c:v>0.9221530734525482</c:v>
                </c:pt>
                <c:pt idx="48">
                  <c:v>0.925911580478132</c:v>
                </c:pt>
                <c:pt idx="49">
                  <c:v>0.9294633300394177</c:v>
                </c:pt>
                <c:pt idx="50">
                  <c:v>0.933008356561567</c:v>
                </c:pt>
                <c:pt idx="51">
                  <c:v>0.9365519664433268</c:v>
                </c:pt>
                <c:pt idx="52">
                  <c:v>0.9398577168011646</c:v>
                </c:pt>
                <c:pt idx="53">
                  <c:v>0.9429534762330243</c:v>
                </c:pt>
                <c:pt idx="54">
                  <c:v>0.9460030627925293</c:v>
                </c:pt>
                <c:pt idx="55">
                  <c:v>0.9489244714094518</c:v>
                </c:pt>
                <c:pt idx="56">
                  <c:v>0.9517076495395591</c:v>
                </c:pt>
                <c:pt idx="57">
                  <c:v>0.9544141530090395</c:v>
                </c:pt>
                <c:pt idx="58">
                  <c:v>0.9569021817174411</c:v>
                </c:pt>
                <c:pt idx="59">
                  <c:v>0.9592998575820204</c:v>
                </c:pt>
                <c:pt idx="60">
                  <c:v>0.9614309569412235</c:v>
                </c:pt>
                <c:pt idx="61">
                  <c:v>0.9634378801668538</c:v>
                </c:pt>
                <c:pt idx="62">
                  <c:v>0.9651597225222469</c:v>
                </c:pt>
                <c:pt idx="63">
                  <c:v>0.9668555291082225</c:v>
                </c:pt>
                <c:pt idx="64">
                  <c:v>0.9685350083134382</c:v>
                </c:pt>
                <c:pt idx="65">
                  <c:v>0.9701449360780643</c:v>
                </c:pt>
                <c:pt idx="66">
                  <c:v>0.9715166041378673</c:v>
                </c:pt>
                <c:pt idx="67">
                  <c:v>0.9727879148313237</c:v>
                </c:pt>
                <c:pt idx="68">
                  <c:v>0.9740535829740763</c:v>
                </c:pt>
                <c:pt idx="69">
                  <c:v>0.9752715735642866</c:v>
                </c:pt>
                <c:pt idx="70">
                  <c:v>0.976445720334986</c:v>
                </c:pt>
                <c:pt idx="71">
                  <c:v>0.9775789366031336</c:v>
                </c:pt>
                <c:pt idx="72">
                  <c:v>0.9786965778306151</c:v>
                </c:pt>
                <c:pt idx="73">
                  <c:v>0.9797624916748366</c:v>
                </c:pt>
                <c:pt idx="74">
                  <c:v>0.9807975275607388</c:v>
                </c:pt>
                <c:pt idx="75">
                  <c:v>0.9818074881113857</c:v>
                </c:pt>
                <c:pt idx="76">
                  <c:v>0.9827797836356329</c:v>
                </c:pt>
                <c:pt idx="77">
                  <c:v>0.9837428749991576</c:v>
                </c:pt>
                <c:pt idx="78">
                  <c:v>0.9846833161236871</c:v>
                </c:pt>
                <c:pt idx="79">
                  <c:v>0.9855535415073313</c:v>
                </c:pt>
                <c:pt idx="80">
                  <c:v>0.9863442749568057</c:v>
                </c:pt>
                <c:pt idx="81">
                  <c:v>0.9871102852302177</c:v>
                </c:pt>
                <c:pt idx="82">
                  <c:v>0.9878389906400408</c:v>
                </c:pt>
                <c:pt idx="83">
                  <c:v>0.9885404037124174</c:v>
                </c:pt>
                <c:pt idx="84">
                  <c:v>0.9892371586791066</c:v>
                </c:pt>
                <c:pt idx="85">
                  <c:v>0.9899189548837173</c:v>
                </c:pt>
                <c:pt idx="86">
                  <c:v>0.9905869848653344</c:v>
                </c:pt>
                <c:pt idx="87">
                  <c:v>0.9911294700946973</c:v>
                </c:pt>
                <c:pt idx="88">
                  <c:v>0.9916671131351584</c:v>
                </c:pt>
                <c:pt idx="89">
                  <c:v>0.9922034916039725</c:v>
                </c:pt>
                <c:pt idx="90">
                  <c:v>0.9927389816711863</c:v>
                </c:pt>
                <c:pt idx="91">
                  <c:v>0.993246899274323</c:v>
                </c:pt>
                <c:pt idx="92">
                  <c:v>0.9937460369084922</c:v>
                </c:pt>
                <c:pt idx="93">
                  <c:v>0.9941655225361312</c:v>
                </c:pt>
                <c:pt idx="94">
                  <c:v>0.9945737070551267</c:v>
                </c:pt>
                <c:pt idx="95">
                  <c:v>0.9949756167375948</c:v>
                </c:pt>
                <c:pt idx="96">
                  <c:v>0.9953669776515133</c:v>
                </c:pt>
                <c:pt idx="97">
                  <c:v>0.9957525679568396</c:v>
                </c:pt>
                <c:pt idx="98">
                  <c:v>0.996136509516854</c:v>
                </c:pt>
                <c:pt idx="99">
                  <c:v>0.996501866675827</c:v>
                </c:pt>
                <c:pt idx="100">
                  <c:v>0.9968342009068514</c:v>
                </c:pt>
                <c:pt idx="101">
                  <c:v>0.9971566346623857</c:v>
                </c:pt>
                <c:pt idx="102">
                  <c:v>0.9974299181996622</c:v>
                </c:pt>
                <c:pt idx="103">
                  <c:v>0.9977006805972625</c:v>
                </c:pt>
                <c:pt idx="104">
                  <c:v>0.9979475922131646</c:v>
                </c:pt>
                <c:pt idx="105">
                  <c:v>0.9981880689201791</c:v>
                </c:pt>
                <c:pt idx="106">
                  <c:v>0.9984141391147584</c:v>
                </c:pt>
                <c:pt idx="107">
                  <c:v>0.9986319415719236</c:v>
                </c:pt>
                <c:pt idx="108">
                  <c:v>0.9988446777388824</c:v>
                </c:pt>
                <c:pt idx="109">
                  <c:v>0.9990444960663577</c:v>
                </c:pt>
                <c:pt idx="110">
                  <c:v>0.9992326691296146</c:v>
                </c:pt>
                <c:pt idx="111">
                  <c:v>0.999368994755341</c:v>
                </c:pt>
                <c:pt idx="112">
                  <c:v>0.9994993256711708</c:v>
                </c:pt>
                <c:pt idx="113">
                  <c:v>0.9996239580109708</c:v>
                </c:pt>
                <c:pt idx="114">
                  <c:v>0.9997344559613482</c:v>
                </c:pt>
                <c:pt idx="115">
                  <c:v>0.99981636498816</c:v>
                </c:pt>
                <c:pt idx="116">
                  <c:v>0.9999133848457925</c:v>
                </c:pt>
                <c:pt idx="117">
                  <c:v>0.9999421898670448</c:v>
                </c:pt>
                <c:pt idx="118">
                  <c:v>0.9999681776147541</c:v>
                </c:pt>
                <c:pt idx="119">
                  <c:v>0.999989067057785</c:v>
                </c:pt>
                <c:pt idx="120">
                  <c:v>0.999994021297339</c:v>
                </c:pt>
                <c:pt idx="121">
                  <c:v>0.9999961182452601</c:v>
                </c:pt>
                <c:pt idx="122">
                  <c:v>0.9999969186070621</c:v>
                </c:pt>
                <c:pt idx="123">
                  <c:v>0.9999987194211165</c:v>
                </c:pt>
                <c:pt idx="124">
                  <c:v>0.9999998959529655</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126</c:f>
              <c:strCache>
                <c:ptCount val="125"/>
                <c:pt idx="0">
                  <c:v>La Vache Qui Rit Nature Fromage Fondu Boite Ronde 1X512Gr 32P</c:v>
                </c:pt>
                <c:pt idx="1">
                  <c:v>Mini Babybel Rouge Filet St Paulin Ferme 1X264Gr 12P</c:v>
                </c:pt>
                <c:pt idx="2">
                  <c:v>Mini Babybel Rouge Filet St Paulin Ferme 1X132Gr 6P</c:v>
                </c:pt>
                <c:pt idx="3">
                  <c:v>La Vache Qui Rit Nature Fromage Fondu Boite Ronde 1X384Gr 24P</c:v>
                </c:pt>
                <c:pt idx="4">
                  <c:v>La Vache Qui Rit Nature Fromage Fondu Boite Ronde 1X192Gr 12P</c:v>
                </c:pt>
                <c:pt idx="5">
                  <c:v>Kiri Creme Fromage Blanc Frais Carre 1X432Gr 24P</c:v>
                </c:pt>
                <c:pt idx="6">
                  <c:v>Kiri Creme Fromage Blanc Frais Carre 1X144Gr 8P</c:v>
                </c:pt>
                <c:pt idx="7">
                  <c:v>Apericube Edition Limitee Best Of Foot Fromage Fondu Cube Assortis 1X250Gr 48P</c:v>
                </c:pt>
                <c:pt idx="8">
                  <c:v>Kiri Creme Fromage Blanc Frais Carre 1X216Gr 12P</c:v>
                </c:pt>
                <c:pt idx="9">
                  <c:v>Apericube Cocktail Fromage Fondu Cube Assortis 1X250Gr 48P</c:v>
                </c:pt>
                <c:pt idx="10">
                  <c:v>Boursin Classique Fromage Frais A Tartiner Afh Boite 1X150Gr 1P</c:v>
                </c:pt>
                <c:pt idx="11">
                  <c:v>Boursin Classique Fromage Frais A Tartiner Afh 1X160Gr 10P</c:v>
                </c:pt>
                <c:pt idx="12">
                  <c:v>Kiri Gouter Fromage Blanc Dips Boite 1X175Gr 5P</c:v>
                </c:pt>
                <c:pt idx="13">
                  <c:v>Apericube Long Drink Fromage Fondu Cube Assortis 1X250Gr 48P</c:v>
                </c:pt>
                <c:pt idx="14">
                  <c:v>Boursin Aperitif Roules Fromage Frais Roule Afh Et Jambon Fume Boite 1X100Gr 20P</c:v>
                </c:pt>
                <c:pt idx="15">
                  <c:v>Boursin Classique Fromage Frais A Tartiner Afh Boite 1X250Gr 1P</c:v>
                </c:pt>
                <c:pt idx="16">
                  <c:v>Boursin Salade &amp; Aperitif Fromage Frais Des Afh 1X120Gr 1P</c:v>
                </c:pt>
                <c:pt idx="17">
                  <c:v>Kiri Gouter Fromage Blanc Dips Boite 1X280Gr 8P</c:v>
                </c:pt>
                <c:pt idx="18">
                  <c:v>Apericube Tonic Fromage Fondu Cube Assortis 1X250Gr 48P</c:v>
                </c:pt>
                <c:pt idx="19">
                  <c:v>La Vache Qui Rit Pik Et Croq' Fromage Fondu Dips Boite 1X175Gr 5P</c:v>
                </c:pt>
                <c:pt idx="20">
                  <c:v>Mini Babybel Rouge Filet St Paulin Ferme 1X440Gr 20P</c:v>
                </c:pt>
                <c:pt idx="21">
                  <c:v>Apericube Edition Limitee Saison Fromage Fondu Cube Assortis 1X250Gr 48P</c:v>
                </c:pt>
                <c:pt idx="22">
                  <c:v>Apericube Nature Fromage Fondu Cube 1X125Gr 24P</c:v>
                </c:pt>
                <c:pt idx="23">
                  <c:v>La Vache Qui Rit Nature Fromage Fondu Boite Ronde 1X128Gr 8P</c:v>
                </c:pt>
                <c:pt idx="24">
                  <c:v>Mini Babybel Rouge Filet Soft Cheese Enfant 352G</c:v>
                </c:pt>
                <c:pt idx="25">
                  <c:v>La Vache Qui Rit Nature Fromage Fondu Boite Ronde 1X512Gr 24+8P</c:v>
                </c:pt>
                <c:pt idx="26">
                  <c:v>Kiri Creme Fromage Blanc Frais Carre 1X432Gr 18+6P</c:v>
                </c:pt>
                <c:pt idx="27">
                  <c:v>Apericube Incontournable Fromage Fondu Cube Assortis 1X250Gr 48P</c:v>
                </c:pt>
                <c:pt idx="28">
                  <c:v>Babybel St Paulin 1X200Gr 1P</c:v>
                </c:pt>
                <c:pt idx="29">
                  <c:v>Boursin Aperitif Roules Fromage Frais Roule Ciboulette &amp; Echalote Jambon Fume Boite 1X100Gr 20P</c:v>
                </c:pt>
                <c:pt idx="30">
                  <c:v>Mini Babybel Rouge Filet Soft Cheese Enfant 484G</c:v>
                </c:pt>
                <c:pt idx="31">
                  <c:v>Boursin Classique Fromage Frais A Tartiner Afh Boite 1X96Gr 6P</c:v>
                </c:pt>
                <c:pt idx="32">
                  <c:v>Port Salut St Paulin 1X320Gr 1P</c:v>
                </c:pt>
                <c:pt idx="33">
                  <c:v>Apericube Campagne Fromage Fondu Cube Assortis 1X125Gr 24P</c:v>
                </c:pt>
                <c:pt idx="34">
                  <c:v>Apericube Carrement Toque Fromage Fondu Cube Assortis 1X250Gr 48P</c:v>
                </c:pt>
                <c:pt idx="35">
                  <c:v>Apericube Best Of Des Saveurs Fromage Fondu Cube Assortis 1X125Gr 24P</c:v>
                </c:pt>
                <c:pt idx="36">
                  <c:v>Mini Babybel Rouge Filet St Paulin Ferme 1X396Gr 12+6P</c:v>
                </c:pt>
                <c:pt idx="37">
                  <c:v>Toastinette Cheddar Fondu Tranche A Chaud Sachet 1X200Gr 10P</c:v>
                </c:pt>
                <c:pt idx="38">
                  <c:v>Toastinette Fromage Fondu Tranche A Chaud Sachet 1X200Gr 10P</c:v>
                </c:pt>
                <c:pt idx="39">
                  <c:v>Cousteron St Paulin 1X320Gr 1P</c:v>
                </c:pt>
                <c:pt idx="40">
                  <c:v>Kiri Delicieusement Fouette Fromage Frais A Tartiner 1X125Gr 1P</c:v>
                </c:pt>
                <c:pt idx="41">
                  <c:v>Boursin Classique Fromage Frais A Tartiner Ciboulette &amp; Echalote Boite 1X150Gr 1P</c:v>
                </c:pt>
                <c:pt idx="42">
                  <c:v>Apericube Edition Voyage Fromage Fondu Cube Assortis 1X250Gr 48P</c:v>
                </c:pt>
                <c:pt idx="43">
                  <c:v>Apericube Long Drink Fromage Fondu Cube Assortis 1X125Gr 24P</c:v>
                </c:pt>
                <c:pt idx="44">
                  <c:v>Boursin Onctueux Fromage Frais A Tartiner Afh 1X125Gr 1P</c:v>
                </c:pt>
                <c:pt idx="45">
                  <c:v>Mini Babybel Aros St Paulin Ferme Assortis Filet 1X180Gr 9P</c:v>
                </c:pt>
                <c:pt idx="46">
                  <c:v>Apericube Vertical Soiree Apero Fromage Fondu Cube Assortis 1X125Gr 24P</c:v>
                </c:pt>
                <c:pt idx="47">
                  <c:v>Kiri Delicieusement Fouette Fromage Frais A Tartiner 1X210Gr 1P</c:v>
                </c:pt>
                <c:pt idx="48">
                  <c:v>Babybel Mini Rolls St Paulin Ferme Sachet 1X85Gr 5P</c:v>
                </c:pt>
                <c:pt idx="49">
                  <c:v>Boursin Salade &amp; Aperitif Fromage Frais Des Ciboulette Echalote 1X120Gr 1P</c:v>
                </c:pt>
                <c:pt idx="50">
                  <c:v>La Vache Qui Rit Pik Et Croq' Fromage Fondu Dips Boite 1X280Gr 8P</c:v>
                </c:pt>
                <c:pt idx="51">
                  <c:v>Boursin Classique Fromage Frais A Tartiner Figue Et 3 Noix Boite 1X150Gr 1P</c:v>
                </c:pt>
                <c:pt idx="52">
                  <c:v>Apericube Soiree Match Aperitif 250G</c:v>
                </c:pt>
                <c:pt idx="53">
                  <c:v>Kiri Delicieusement Fouette Fromage Frais A Tartiner 1X160Gr 10P</c:v>
                </c:pt>
                <c:pt idx="54">
                  <c:v>Boursin Cuisine Sauce Fromage Afh 1X240Gr 1P</c:v>
                </c:pt>
                <c:pt idx="55">
                  <c:v>La Vache Qui Rit Allegee Fromage Fondu Boite Ronde Allege 1X267Gr 16P</c:v>
                </c:pt>
                <c:pt idx="56">
                  <c:v>Apericube Charcut' Fromages Fromage Fondu Cube Assortis 1X250Gr 48P</c:v>
                </c:pt>
                <c:pt idx="57">
                  <c:v>Boursin Salade &amp; Aperitif Fromage Frais Des Figue Noix 1X120Gr 1P</c:v>
                </c:pt>
                <c:pt idx="58">
                  <c:v>Apericube Nature Fromage Fondu Cube 1X250Gr 48P</c:v>
                </c:pt>
                <c:pt idx="59">
                  <c:v>Kiri Bio Fromage Blanc Frais Carre 1X144Gr 8P</c:v>
                </c:pt>
                <c:pt idx="60">
                  <c:v>Mini Babybel Aros Soft Cheese Enfant 180G</c:v>
                </c:pt>
                <c:pt idx="61">
                  <c:v>Apericube Selection Du Fromager Fromage Fondu Cube Assortis 1X250Gr 48P</c:v>
                </c:pt>
                <c:pt idx="62">
                  <c:v>Apericube Sucre Sale Fromage Fondu Cube Assortis 1X250Gr 48P</c:v>
                </c:pt>
                <c:pt idx="63">
                  <c:v>Port Salut St Paulin 1X185Gr 1P</c:v>
                </c:pt>
                <c:pt idx="64">
                  <c:v>Babybel St Paulin 1X380Gr 1P</c:v>
                </c:pt>
                <c:pt idx="65">
                  <c:v>Apericube Vertical Nature Fromage Fondu Cube 1X125Gr 24P</c:v>
                </c:pt>
                <c:pt idx="66">
                  <c:v>Boursin Salade &amp; Aperitif Fromage Frais Des Citron Romarin 1X120Gr 1P</c:v>
                </c:pt>
                <c:pt idx="67">
                  <c:v>Mini Babybel Aros St Paulin Ferme Raclette Filet 1X132Gr 6P</c:v>
                </c:pt>
                <c:pt idx="68">
                  <c:v>La Vache Qui Rit Bio Fromage Fondu Boite Ronde 1X128Gr 8P</c:v>
                </c:pt>
                <c:pt idx="69">
                  <c:v>Mini Babybel Aros Soft Cheese Enfant 110G</c:v>
                </c:pt>
                <c:pt idx="70">
                  <c:v>Nurishh Le Coeur Fleuri Vegetal Camembert Boite 1X140Gr 1P</c:v>
                </c:pt>
                <c:pt idx="71">
                  <c:v>Boursin Classique Fromage Frais A Tartiner Afh Boite 1X80Gr 1P</c:v>
                </c:pt>
                <c:pt idx="72">
                  <c:v>Apericube Hot Chalenge Aperitif 250G</c:v>
                </c:pt>
                <c:pt idx="73">
                  <c:v>Port Salut St Paulin Tranche Boite 1X200Gr 6P</c:v>
                </c:pt>
                <c:pt idx="74">
                  <c:v>Boursin Salade &amp; Aperitif Fromage Frais Des Noisette Et 3 Noix 1X120Gr 1P</c:v>
                </c:pt>
                <c:pt idx="75">
                  <c:v>Boursin Classique Fromage Frais A Tartiner Afh 1X256Gr 16P</c:v>
                </c:pt>
                <c:pt idx="76">
                  <c:v>Nurishh Les Tranches Vegetales Emmental Vegetal Tranche Boite 1X160Gr 8P</c:v>
                </c:pt>
                <c:pt idx="77">
                  <c:v>Boursin Salade &amp; Aperitif Soft Cheese Salade 120G</c:v>
                </c:pt>
                <c:pt idx="78">
                  <c:v>Nurishh Le Rape Vegetal Specialite Vegetale Sachet 1X150Gr 1P</c:v>
                </c:pt>
                <c:pt idx="79">
                  <c:v>Nurishh Les Tranches Vegetales Cheddar Vegetal Tranche Boite 1X160Gr 8P</c:v>
                </c:pt>
                <c:pt idx="80">
                  <c:v>Nurishh Le Palet Vegetal Specialite Vegetale Ovale Saveur Chevre Boite 1X140Gr 1P</c:v>
                </c:pt>
                <c:pt idx="81">
                  <c:v>Boursin Classique Fromage Frais A Tartiner 3 Noix Boite 1X150Gr 1P</c:v>
                </c:pt>
                <c:pt idx="82">
                  <c:v>Apericube Fromages Du Monde Aperitif 250G</c:v>
                </c:pt>
                <c:pt idx="83">
                  <c:v>Apericube Jambon Fromage Fondu Cube 1X78Gr 15P</c:v>
                </c:pt>
                <c:pt idx="84">
                  <c:v>Boursin Classique Fromage Frais A Tartiner Poivre Boite 1X150Gr 1P</c:v>
                </c:pt>
                <c:pt idx="85">
                  <c:v>Mini Babybel Aros St Paulin Ferme Emmental Filet 1X120Gr 6P</c:v>
                </c:pt>
                <c:pt idx="86">
                  <c:v>Apericube P'Tits Plaisirs Fromage Fondu Cube 3 Fromages &amp; Jambon Cru Olive Verte 1X78Gr 15P</c:v>
                </c:pt>
                <c:pt idx="87">
                  <c:v>Apericube Saveurs De L'Authentique Fromage Fondu Cube Assortis 1X250Gr 48P</c:v>
                </c:pt>
                <c:pt idx="88">
                  <c:v>Nurishh Le Rape Vegetal Specialite Vegetale Emmental Sachet 1X150Gr 1P</c:v>
                </c:pt>
                <c:pt idx="89">
                  <c:v>Nurishh Des Vegetaux Feta Vegetale Sachet 1X150Gr 1P</c:v>
                </c:pt>
                <c:pt idx="90">
                  <c:v>Boursin Vegetal Specialite Vegetale A Tartiner Afh 1X130Gr 1P</c:v>
                </c:pt>
                <c:pt idx="91">
                  <c:v>Boursin Onctueux Fromage Frais A Tartiner Afh 1X210Gr 1P</c:v>
                </c:pt>
                <c:pt idx="92">
                  <c:v>Nurishh Le Rape Vegetal Mozzarella Vegetale Sachet 1X150Gr 1P</c:v>
                </c:pt>
                <c:pt idx="93">
                  <c:v>Boursin Aperitif Roules Aperitif 100G</c:v>
                </c:pt>
                <c:pt idx="94">
                  <c:v>Boursin Aperitif Roules Fromage Frais Roule Jambon Fume &amp; Trio De Noix Boite 1X100Gr 20P</c:v>
                </c:pt>
                <c:pt idx="95">
                  <c:v>Apericube Montagne Aperitif 250G</c:v>
                </c:pt>
                <c:pt idx="96">
                  <c:v>Boursin Classique Fromage Frais A Tartiner Truffe Boite 1X150Gr 1P</c:v>
                </c:pt>
                <c:pt idx="97">
                  <c:v>Boursin Classique Fromage Frais A Tartiner Afh Boite 1X320Gr 16+4P</c:v>
                </c:pt>
                <c:pt idx="98">
                  <c:v>Boursin Vegetal Alternative Vegetale 150G</c:v>
                </c:pt>
                <c:pt idx="99">
                  <c:v>Boursin Classique Fromage Frais A Tartiner 3 Noix 1X160Gr 10P</c:v>
                </c:pt>
                <c:pt idx="100">
                  <c:v>Mini Babybel Rouge Filet St Paulin Ferme Sachet 1X40Gr 1P</c:v>
                </c:pt>
                <c:pt idx="101">
                  <c:v>La Vache Qui Rit Le Fondant Fromage Fondu 1X200Gr 1P</c:v>
                </c:pt>
                <c:pt idx="102">
                  <c:v>Nurishh Les Tranches Vegetales Emmental Vegetal Tranche Boite 1X200Gr 10P</c:v>
                </c:pt>
                <c:pt idx="103">
                  <c:v>Mini Babybel Aros Soft Cheese Enfant 120G</c:v>
                </c:pt>
                <c:pt idx="104">
                  <c:v>Nurishh Les Tranches Vegetales Cheddar Vegetal Tranche Boite 1X200Gr 10P</c:v>
                </c:pt>
                <c:pt idx="105">
                  <c:v>La Vache Qui Rit Aro Fromage Fondu Boite Ronde Jambon 1X133Gr 8P</c:v>
                </c:pt>
                <c:pt idx="106">
                  <c:v>Nurishh Les Tranches Vegetales Specialite Vegetale Tranche Piment Boite 1X120Gr 6P</c:v>
                </c:pt>
                <c:pt idx="107">
                  <c:v>Toastinette Fromage Fondu Tranche A Chaud Sachet 1X340Gr 20P</c:v>
                </c:pt>
                <c:pt idx="108">
                  <c:v>Nurishh Le Tartinable Vegetal Specialite Vegetale A Tartiner 1X130Gr 1P</c:v>
                </c:pt>
                <c:pt idx="109">
                  <c:v>Toastinette Cheddar Fondu Tranche A Chaud Sachet 1X340Gr 20P</c:v>
                </c:pt>
                <c:pt idx="110">
                  <c:v>La Vache Qui Rit Pik Et Croq' Fromage Fondu Dips Boite 1X35Gr 1P</c:v>
                </c:pt>
                <c:pt idx="111">
                  <c:v>Kiri Chevre Fromage Blanc Frais Carre 1X144Gr 8P</c:v>
                </c:pt>
                <c:pt idx="112">
                  <c:v>Boursin Classique Fromage Frais A Tartiner Citron &amp; Romarin Boite 1X150Gr 1P</c:v>
                </c:pt>
                <c:pt idx="113">
                  <c:v>Mini Babybel Bio St Paulin Ferme Filet 1X100Gr 5P</c:v>
                </c:pt>
                <c:pt idx="114">
                  <c:v>Boursin Classique Fromage Frais A Tartiner Ciboulette &amp; Echalote 1X160Gr 10P</c:v>
                </c:pt>
                <c:pt idx="115">
                  <c:v>Cousteron St Paulin 1X460Gr 1P</c:v>
                </c:pt>
                <c:pt idx="116">
                  <c:v>Mini Babybel Rouge Filet St Paulin Ferme 1X110Gr 5P</c:v>
                </c:pt>
                <c:pt idx="117">
                  <c:v>Port Salut Pause Fondante Specialite Roux Sachet 1X180Gr 1P</c:v>
                </c:pt>
                <c:pt idx="118">
                  <c:v>Limiano Queijo Flamengo Tranche Sachet 1X200Gr 1P</c:v>
                </c:pt>
                <c:pt idx="119">
                  <c:v>Limiano Queijo Flamengo Bloc 1X600Gr 1P</c:v>
                </c:pt>
                <c:pt idx="120">
                  <c:v>Limiano Queijo Flamengo Autre Sachet 1X450Gr 1P</c:v>
                </c:pt>
                <c:pt idx="121">
                  <c:v>Nurishh Le Rape Vegetal Specialite Vegetale Sachet 1X200Gr 1P</c:v>
                </c:pt>
                <c:pt idx="122">
                  <c:v>Nurishh Le Rape Vegetal Mozzarella Vegetale Sachet 1X200Gr 1P</c:v>
                </c:pt>
                <c:pt idx="123">
                  <c:v>Boursin Aperitif Roules Fromage Frais Roule Basilic &amp; Jambon Fume Tomate Boite 1X100Gr 20P</c:v>
                </c:pt>
                <c:pt idx="124">
                  <c:v>Mini Babybel Rouge Filet St Paulin Ferme 1X396Gr 18P</c:v>
                </c:pt>
              </c:strCache>
            </c:strRef>
          </c:cat>
          <c:val>
            <c:numRef>
              <c:f>Sheet1!$D$2:$D$126</c:f>
              <c:numCache>
                <c:formatCode>General</c:formatCode>
                <c:ptCount val="125"/>
                <c:pt idx="0">
                  <c:v>143117.46070133013</c:v>
                </c:pt>
                <c:pt idx="1">
                  <c:v>99371.32488479263</c:v>
                </c:pt>
                <c:pt idx="2">
                  <c:v>72099.898989899</c:v>
                </c:pt>
                <c:pt idx="3">
                  <c:v>72823.24053452116</c:v>
                </c:pt>
                <c:pt idx="4">
                  <c:v>64775.47400611621</c:v>
                </c:pt>
                <c:pt idx="5">
                  <c:v>81394.7557840617</c:v>
                </c:pt>
                <c:pt idx="6">
                  <c:v>47708.9595959596</c:v>
                </c:pt>
                <c:pt idx="7">
                  <c:v>46845.27533039648</c:v>
                </c:pt>
                <c:pt idx="8">
                  <c:v>42862.6139088729</c:v>
                </c:pt>
                <c:pt idx="9">
                  <c:v>40297.88154897495</c:v>
                </c:pt>
                <c:pt idx="10">
                  <c:v>35111.05371900827</c:v>
                </c:pt>
                <c:pt idx="11">
                  <c:v>36210.3825136612</c:v>
                </c:pt>
                <c:pt idx="12">
                  <c:v>34465.81664910432</c:v>
                </c:pt>
                <c:pt idx="13">
                  <c:v>35619.28904428904</c:v>
                </c:pt>
                <c:pt idx="14">
                  <c:v>28428.861878453037</c:v>
                </c:pt>
                <c:pt idx="15">
                  <c:v>25830.86903304774</c:v>
                </c:pt>
                <c:pt idx="16">
                  <c:v>20726.22661122661</c:v>
                </c:pt>
                <c:pt idx="17">
                  <c:v>25172.049180327867</c:v>
                </c:pt>
                <c:pt idx="18">
                  <c:v>23528.375165125493</c:v>
                </c:pt>
                <c:pt idx="19">
                  <c:v>19583.832599118945</c:v>
                </c:pt>
                <c:pt idx="20">
                  <c:v>21075.146341463416</c:v>
                </c:pt>
                <c:pt idx="21">
                  <c:v>21982.007874015748</c:v>
                </c:pt>
                <c:pt idx="22">
                  <c:v>18517.423529411764</c:v>
                </c:pt>
                <c:pt idx="23">
                  <c:v>22077.017291066284</c:v>
                </c:pt>
                <c:pt idx="24">
                  <c:v>18422.797029702968</c:v>
                </c:pt>
                <c:pt idx="25">
                  <c:v>19364.593103448275</c:v>
                </c:pt>
                <c:pt idx="26">
                  <c:v>16379.706703910615</c:v>
                </c:pt>
                <c:pt idx="27">
                  <c:v>17125.689655172413</c:v>
                </c:pt>
                <c:pt idx="28">
                  <c:v>10790.959332638166</c:v>
                </c:pt>
                <c:pt idx="29">
                  <c:v>12732.23350253807</c:v>
                </c:pt>
                <c:pt idx="30">
                  <c:v>22533.589164785553</c:v>
                </c:pt>
                <c:pt idx="31">
                  <c:v>11865.90742996346</c:v>
                </c:pt>
                <c:pt idx="32">
                  <c:v>11192.036585365853</c:v>
                </c:pt>
                <c:pt idx="33">
                  <c:v>11497.916120576672</c:v>
                </c:pt>
                <c:pt idx="34">
                  <c:v>13278.042813455657</c:v>
                </c:pt>
                <c:pt idx="35">
                  <c:v>10432.892156862747</c:v>
                </c:pt>
                <c:pt idx="36">
                  <c:v>11551.073369565218</c:v>
                </c:pt>
                <c:pt idx="37">
                  <c:v>9790.585480093678</c:v>
                </c:pt>
                <c:pt idx="38">
                  <c:v>9643.92670157068</c:v>
                </c:pt>
                <c:pt idx="39">
                  <c:v>8816.609756097561</c:v>
                </c:pt>
                <c:pt idx="40">
                  <c:v>9290.78811369509</c:v>
                </c:pt>
                <c:pt idx="41">
                  <c:v>8691.462799495586</c:v>
                </c:pt>
                <c:pt idx="42">
                  <c:v>12442.481481481482</c:v>
                </c:pt>
                <c:pt idx="43">
                  <c:v>7957.265725288831</c:v>
                </c:pt>
                <c:pt idx="44">
                  <c:v>7665.387596899224</c:v>
                </c:pt>
                <c:pt idx="45">
                  <c:v>8015.679190751446</c:v>
                </c:pt>
                <c:pt idx="46">
                  <c:v>49053.67924528302</c:v>
                </c:pt>
                <c:pt idx="47">
                  <c:v>7421.524105754277</c:v>
                </c:pt>
                <c:pt idx="48">
                  <c:v>7598.721682847897</c:v>
                </c:pt>
                <c:pt idx="49">
                  <c:v>5431.676866585068</c:v>
                </c:pt>
                <c:pt idx="50">
                  <c:v>10205.714285714286</c:v>
                </c:pt>
                <c:pt idx="51">
                  <c:v>6379.6974063400585</c:v>
                </c:pt>
                <c:pt idx="52">
                  <c:v>5441.791831357048</c:v>
                </c:pt>
                <c:pt idx="53">
                  <c:v>5613.860667634253</c:v>
                </c:pt>
                <c:pt idx="54">
                  <c:v>4929.184993531695</c:v>
                </c:pt>
                <c:pt idx="55">
                  <c:v>7373.959595959596</c:v>
                </c:pt>
                <c:pt idx="56">
                  <c:v>6885.940594059406</c:v>
                </c:pt>
                <c:pt idx="57">
                  <c:v>4221.722846441947</c:v>
                </c:pt>
                <c:pt idx="58">
                  <c:v>6024.476744186047</c:v>
                </c:pt>
                <c:pt idx="59">
                  <c:v>5967.609561752988</c:v>
                </c:pt>
                <c:pt idx="60">
                  <c:v>3820.186513629843</c:v>
                </c:pt>
                <c:pt idx="61">
                  <c:v>5075.951417004048</c:v>
                </c:pt>
                <c:pt idx="62">
                  <c:v>4596.858974358974</c:v>
                </c:pt>
                <c:pt idx="63">
                  <c:v>15134.285714285712</c:v>
                </c:pt>
                <c:pt idx="64">
                  <c:v>5219.900497512437</c:v>
                </c:pt>
                <c:pt idx="65">
                  <c:v>31928.57142857143</c:v>
                </c:pt>
                <c:pt idx="66">
                  <c:v>2424.059405940594</c:v>
                </c:pt>
                <c:pt idx="67">
                  <c:v>3755.1300236406623</c:v>
                </c:pt>
                <c:pt idx="68">
                  <c:v>3280.850622406639</c:v>
                </c:pt>
                <c:pt idx="69">
                  <c:v>2359.3798449612405</c:v>
                </c:pt>
                <c:pt idx="70">
                  <c:v>2789.011406844106</c:v>
                </c:pt>
                <c:pt idx="71">
                  <c:v>3167.51677852349</c:v>
                </c:pt>
                <c:pt idx="72">
                  <c:v>2958.5169491525426</c:v>
                </c:pt>
                <c:pt idx="73">
                  <c:v>10013.45864661654</c:v>
                </c:pt>
                <c:pt idx="74">
                  <c:v>1752.3170731707319</c:v>
                </c:pt>
                <c:pt idx="75">
                  <c:v>4761.811320754717</c:v>
                </c:pt>
                <c:pt idx="76">
                  <c:v>2812.083333333333</c:v>
                </c:pt>
                <c:pt idx="77">
                  <c:v>1723.9541547277938</c:v>
                </c:pt>
                <c:pt idx="78">
                  <c:v>2354.749498997996</c:v>
                </c:pt>
                <c:pt idx="79">
                  <c:v>2437.8699551569507</c:v>
                </c:pt>
                <c:pt idx="80">
                  <c:v>2494.873737373737</c:v>
                </c:pt>
                <c:pt idx="81">
                  <c:v>1782.2718808193667</c:v>
                </c:pt>
                <c:pt idx="82">
                  <c:v>2593.9316239316245</c:v>
                </c:pt>
                <c:pt idx="83">
                  <c:v>14606.166666666666</c:v>
                </c:pt>
                <c:pt idx="84">
                  <c:v>2165.547263681592</c:v>
                </c:pt>
                <c:pt idx="85">
                  <c:v>2670.4075235109717</c:v>
                </c:pt>
                <c:pt idx="86">
                  <c:v>2162.3316062176164</c:v>
                </c:pt>
                <c:pt idx="87">
                  <c:v>4807.092198581561</c:v>
                </c:pt>
                <c:pt idx="88">
                  <c:v>1622.584541062802</c:v>
                </c:pt>
                <c:pt idx="89">
                  <c:v>1413.860759493671</c:v>
                </c:pt>
                <c:pt idx="90">
                  <c:v>1513.710407239819</c:v>
                </c:pt>
                <c:pt idx="91">
                  <c:v>2258.3985765124553</c:v>
                </c:pt>
                <c:pt idx="92">
                  <c:v>1771.7045454545457</c:v>
                </c:pt>
                <c:pt idx="93">
                  <c:v>1488.977272727273</c:v>
                </c:pt>
                <c:pt idx="94">
                  <c:v>1246.9437652811737</c:v>
                </c:pt>
                <c:pt idx="95">
                  <c:v>1866.7657992565055</c:v>
                </c:pt>
                <c:pt idx="96">
                  <c:v>956.9080234833659</c:v>
                </c:pt>
                <c:pt idx="97">
                  <c:v>912.4431818181818</c:v>
                </c:pt>
                <c:pt idx="98">
                  <c:v>1054.3076923076924</c:v>
                </c:pt>
                <c:pt idx="99">
                  <c:v>1204.4591029023748</c:v>
                </c:pt>
                <c:pt idx="100">
                  <c:v>3243.984375</c:v>
                </c:pt>
                <c:pt idx="101">
                  <c:v>1497.620817843866</c:v>
                </c:pt>
                <c:pt idx="102">
                  <c:v>739.069264069264</c:v>
                </c:pt>
                <c:pt idx="103">
                  <c:v>1091.2903225806451</c:v>
                </c:pt>
                <c:pt idx="104">
                  <c:v>669.1973969631237</c:v>
                </c:pt>
                <c:pt idx="105">
                  <c:v>8120.540540540541</c:v>
                </c:pt>
                <c:pt idx="106">
                  <c:v>1012.4014336917562</c:v>
                </c:pt>
                <c:pt idx="107">
                  <c:v>3727.8082191780823</c:v>
                </c:pt>
                <c:pt idx="108">
                  <c:v>817.8461538461538</c:v>
                </c:pt>
                <c:pt idx="109">
                  <c:v>3420.0</c:v>
                </c:pt>
                <c:pt idx="110">
                  <c:v>29388.75</c:v>
                </c:pt>
                <c:pt idx="111">
                  <c:v>637.9400749063669</c:v>
                </c:pt>
                <c:pt idx="112">
                  <c:v>502.5925925925926</c:v>
                </c:pt>
                <c:pt idx="113">
                  <c:v>492.7848101265823</c:v>
                </c:pt>
                <c:pt idx="114">
                  <c:v>1840.8</c:v>
                </c:pt>
                <c:pt idx="115">
                  <c:v>2496.097560975609</c:v>
                </c:pt>
                <c:pt idx="116">
                  <c:v>1634.7826086956522</c:v>
                </c:pt>
                <c:pt idx="117">
                  <c:v>1999.4444444444446</c:v>
                </c:pt>
                <c:pt idx="118">
                  <c:v>3607.7777777777783</c:v>
                </c:pt>
                <c:pt idx="119">
                  <c:v>1864.2857142857142</c:v>
                </c:pt>
                <c:pt idx="120">
                  <c:v>1238.0</c:v>
                </c:pt>
                <c:pt idx="121">
                  <c:v>62.777777777777786</c:v>
                </c:pt>
                <c:pt idx="122">
                  <c:v>71.42857142857142</c:v>
                </c:pt>
                <c:pt idx="123">
                  <c:v>63.33333333333334</c:v>
                </c:pt>
                <c:pt idx="124">
                  <c:v>56.0</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87</c:f>
              <c:strCache>
                <c:ptCount val="86"/>
                <c:pt idx="0">
                  <c:v>Mini Babybel Rouge Filet St Paulin Ferme 1X264Gr 12P</c:v>
                </c:pt>
                <c:pt idx="1">
                  <c:v>La Vache Qui Rit Nature Fromage Fondu Boite Ronde 1X512Gr 32P</c:v>
                </c:pt>
                <c:pt idx="2">
                  <c:v>La Vache Qui Rit Nature Fromage Fondu Boite Ronde 1X192Gr 12P</c:v>
                </c:pt>
                <c:pt idx="3">
                  <c:v>Mini Babybel Rouge Filet St Paulin Ferme 1X132Gr 6P</c:v>
                </c:pt>
                <c:pt idx="4">
                  <c:v>La Vache Qui Rit Nature Fromage Fondu Boite Ronde 1X384Gr 24P</c:v>
                </c:pt>
                <c:pt idx="5">
                  <c:v>Kiri Creme Fromage Blanc Frais Carre 1X216Gr 12P</c:v>
                </c:pt>
                <c:pt idx="6">
                  <c:v>Apericube Edition Limitee Best Of Foot Fromage Fondu Cube Assortis 1X250Gr 48P</c:v>
                </c:pt>
                <c:pt idx="7">
                  <c:v>Kiri Creme Fromage Blanc Frais Carre 1X432Gr 24P</c:v>
                </c:pt>
                <c:pt idx="8">
                  <c:v>Apericube Cocktail Fromage Fondu Cube Assortis 1X250Gr 48P</c:v>
                </c:pt>
                <c:pt idx="9">
                  <c:v>Apericube Long Drink Fromage Fondu Cube Assortis 1X250Gr 48P</c:v>
                </c:pt>
                <c:pt idx="10">
                  <c:v>Boursin Classique Fromage Frais A Tartiner Afh Boite 1X250Gr 1P</c:v>
                </c:pt>
                <c:pt idx="11">
                  <c:v>Boursin Classique Fromage Frais A Tartiner Afh 1X160Gr 10P</c:v>
                </c:pt>
                <c:pt idx="12">
                  <c:v>Kiri Gouter Fromage Blanc Dips Boite 1X280Gr 8P</c:v>
                </c:pt>
                <c:pt idx="13">
                  <c:v>Kiri Creme Fromage Blanc Frais Carre 1X144Gr 8P</c:v>
                </c:pt>
                <c:pt idx="14">
                  <c:v>Boursin Classique Fromage Frais A Tartiner Afh Boite 1X150Gr 1P</c:v>
                </c:pt>
                <c:pt idx="15">
                  <c:v>Apericube Tonic Fromage Fondu Cube Assortis 1X250Gr 48P</c:v>
                </c:pt>
                <c:pt idx="16">
                  <c:v>Port Salut St Paulin 1X320Gr 1P</c:v>
                </c:pt>
                <c:pt idx="17">
                  <c:v>Boursin Aperitif Roules Fromage Frais Roule Afh Et Jambon Fume Boite 1X100Gr 20P</c:v>
                </c:pt>
                <c:pt idx="18">
                  <c:v>Apericube Incontournable Fromage Fondu Cube Assortis 1X250Gr 48P</c:v>
                </c:pt>
                <c:pt idx="19">
                  <c:v>Kiri Gouter Fromage Blanc Dips Boite 1X175Gr 5P</c:v>
                </c:pt>
                <c:pt idx="20">
                  <c:v>Mini Babybel Rouge Filet St Paulin Ferme 1X440Gr 20P</c:v>
                </c:pt>
                <c:pt idx="21">
                  <c:v>Apericube Edition Limitee Saison Fromage Fondu Cube Assortis 1X250Gr 48P</c:v>
                </c:pt>
                <c:pt idx="22">
                  <c:v>Babybel St Paulin 1X200Gr 1P</c:v>
                </c:pt>
                <c:pt idx="23">
                  <c:v>Apericube Nature Fromage Fondu Cube 1X125Gr 24P</c:v>
                </c:pt>
                <c:pt idx="24">
                  <c:v>Cousteron St Paulin 1X320Gr 1P</c:v>
                </c:pt>
                <c:pt idx="25">
                  <c:v>Apericube Edition Voyage Fromage Fondu Cube Assortis 1X250Gr 48P</c:v>
                </c:pt>
                <c:pt idx="26">
                  <c:v>La Vache Qui Rit Pik Et Croq' Fromage Fondu Dips Boite 1X175Gr 5P</c:v>
                </c:pt>
                <c:pt idx="27">
                  <c:v>Boursin Aperitif Roules Fromage Frais Roule Ciboulette &amp; Echalote Jambon Fume Boite 1X100Gr 20P</c:v>
                </c:pt>
                <c:pt idx="28">
                  <c:v>Apericube Campagne Fromage Fondu Cube Assortis 1X125Gr 24P</c:v>
                </c:pt>
                <c:pt idx="29">
                  <c:v>La Vache Qui Rit Pik Et Croq' Fromage Fondu Dips Boite 1X280Gr 8P</c:v>
                </c:pt>
                <c:pt idx="30">
                  <c:v>Boursin Onctueux Fromage Frais A Tartiner Afh 1X125Gr 1P</c:v>
                </c:pt>
                <c:pt idx="31">
                  <c:v>Boursin Salade &amp; Aperitif Fromage Frais Des Afh 1X120Gr 1P</c:v>
                </c:pt>
                <c:pt idx="32">
                  <c:v>Boursin Classique Fromage Frais A Tartiner Afh Boite 1X96Gr 6P</c:v>
                </c:pt>
                <c:pt idx="33">
                  <c:v>Apericube Saveurs De L'Authentique Fromage Fondu Cube Assortis 1X250Gr 48P</c:v>
                </c:pt>
                <c:pt idx="34">
                  <c:v>Boursin Classique Fromage Frais A Tartiner Figue Et 3 Noix Boite 1X150Gr 1P</c:v>
                </c:pt>
                <c:pt idx="35">
                  <c:v>La Vache Qui Rit Allegee Fromage Fondu Boite Ronde Allege 1X267Gr 16P</c:v>
                </c:pt>
                <c:pt idx="36">
                  <c:v>Boursin Classique Fromage Frais A Tartiner Ciboulette &amp; Echalote Boite 1X150Gr 1P</c:v>
                </c:pt>
                <c:pt idx="37">
                  <c:v>Boursin Classique Fromage Frais A Tartiner Afh 1X256Gr 16P</c:v>
                </c:pt>
                <c:pt idx="38">
                  <c:v>Boursin Cuisine Sauce Fromage Afh 1X240Gr 1P</c:v>
                </c:pt>
                <c:pt idx="39">
                  <c:v>Boursin Classique Fromage Frais A Tartiner Poivre Boite 1X150Gr 1P</c:v>
                </c:pt>
                <c:pt idx="40">
                  <c:v>Babybel Mini Rolls St Paulin Ferme Sachet 1X85Gr 5P</c:v>
                </c:pt>
                <c:pt idx="41">
                  <c:v>Boursin Aperitif Roules Fromage Frais Roule Basilic &amp; Jambon Fume Tomate Boite 1X100Gr 20P</c:v>
                </c:pt>
                <c:pt idx="42">
                  <c:v>Mini Babybel Aros St Paulin Ferme Assortis Filet 1X180Gr 9P</c:v>
                </c:pt>
                <c:pt idx="43">
                  <c:v>Kiri Delicieusement Fouette Fromage Frais A Tartiner 1X125Gr 1P</c:v>
                </c:pt>
                <c:pt idx="44">
                  <c:v>Apericube Long Drink Fromage Fondu Cube Assortis 1X125Gr 24P</c:v>
                </c:pt>
                <c:pt idx="45">
                  <c:v>Boursin Classique Fromage Frais A Tartiner Ciboulette &amp; Echalote 1X160Gr 10P</c:v>
                </c:pt>
                <c:pt idx="46">
                  <c:v>La Vache Qui Rit Aro Fromage Fondu Boite Ronde Jambon 1X133Gr 8P</c:v>
                </c:pt>
                <c:pt idx="47">
                  <c:v>Kiri Bio Fromage Blanc Frais Carre 1X144Gr 8P</c:v>
                </c:pt>
                <c:pt idx="48">
                  <c:v>Kiri Chevre Fromage Blanc Frais Carre 1X144Gr 8P</c:v>
                </c:pt>
                <c:pt idx="49">
                  <c:v>Mini Babybel Aros Soft Cheese Enfant 180G</c:v>
                </c:pt>
                <c:pt idx="50">
                  <c:v>Apericube Soiree Match Aperitif 250G</c:v>
                </c:pt>
                <c:pt idx="51">
                  <c:v>Mini Babybel Rouge Filet St Paulin Ferme 1X396Gr 12+6P</c:v>
                </c:pt>
                <c:pt idx="52">
                  <c:v>Boursin Salade &amp; Aperitif Fromage Frais Des Ciboulette Echalote 1X120Gr 1P</c:v>
                </c:pt>
                <c:pt idx="53">
                  <c:v>Kiri Creme Fromage Blanc Frais Carre 1X432Gr 18+6P</c:v>
                </c:pt>
                <c:pt idx="54">
                  <c:v>Kiri Delicieusement Fouette Fromage Frais A Tartiner 1X160Gr 10P</c:v>
                </c:pt>
                <c:pt idx="55">
                  <c:v>Mini Babybel Aros St Paulin Ferme Raclette Filet 1X132Gr 6P</c:v>
                </c:pt>
                <c:pt idx="56">
                  <c:v>Boursin Salade &amp; Aperitif Fromage Frais Des Figue Noix 1X120Gr 1P</c:v>
                </c:pt>
                <c:pt idx="57">
                  <c:v>Apericube Hot Chalenge Aperitif 250G</c:v>
                </c:pt>
                <c:pt idx="58">
                  <c:v>Nurishh Les Tranches Vegetales Cheddar Vegetal Tranche Boite 1X160Gr 8P</c:v>
                </c:pt>
                <c:pt idx="59">
                  <c:v>Apericube Best Of Des Saveurs Fromage Fondu Cube Assortis 1X125Gr 24P</c:v>
                </c:pt>
                <c:pt idx="60">
                  <c:v>Nurishh Le Rape Vegetal Specialite Vegetale Sachet 1X150Gr 1P</c:v>
                </c:pt>
                <c:pt idx="61">
                  <c:v>Boursin Salade &amp; Aperitif Fromage Frais Des Citron Romarin 1X120Gr 1P</c:v>
                </c:pt>
                <c:pt idx="62">
                  <c:v>Boursin Classique Fromage Frais A Tartiner Afh Boite 1X80Gr 1P</c:v>
                </c:pt>
                <c:pt idx="63">
                  <c:v>Boursin Salade &amp; Aperitif Fromage Frais Des Noisette Et 3 Noix 1X120Gr 1P</c:v>
                </c:pt>
                <c:pt idx="64">
                  <c:v>Mini Babybel Aros Soft Cheese Enfant 110G</c:v>
                </c:pt>
                <c:pt idx="65">
                  <c:v>Nurishh Le Rape Vegetal Specialite Vegetale Emmental Sachet 1X150Gr 1P</c:v>
                </c:pt>
                <c:pt idx="66">
                  <c:v>Apericube Fromages Du Monde Aperitif 250G</c:v>
                </c:pt>
                <c:pt idx="67">
                  <c:v>Nurishh Le Coeur Fleuri Vegetal Camembert Boite 1X140Gr 1P</c:v>
                </c:pt>
                <c:pt idx="68">
                  <c:v>Nurishh Le Palet Vegetal Specialite Vegetale Ovale Saveur Chevre Boite 1X140Gr 1P</c:v>
                </c:pt>
                <c:pt idx="69">
                  <c:v>Nurishh Des Vegetaux Feta Vegetale Sachet 1X150Gr 1P</c:v>
                </c:pt>
                <c:pt idx="70">
                  <c:v>Apericube Montagne Aperitif 250G</c:v>
                </c:pt>
                <c:pt idx="71">
                  <c:v>Boursin Aperitif Roules Fromage Frais Roule Jambon Fume &amp; Trio De Noix Boite 1X100Gr 20P</c:v>
                </c:pt>
                <c:pt idx="72">
                  <c:v>Boursin Aperitif Roules Aperitif 100G</c:v>
                </c:pt>
                <c:pt idx="73">
                  <c:v>Boursin Salade &amp; Aperitif Soft Cheese Salade 120G</c:v>
                </c:pt>
                <c:pt idx="74">
                  <c:v>Boursin Classique Fromage Frais A Tartiner Truffe Boite 1X150Gr 1P</c:v>
                </c:pt>
                <c:pt idx="75">
                  <c:v>La Vache Qui Rit Nature Fromage Fondu Boite Ronde 1X512Gr 24+8P</c:v>
                </c:pt>
                <c:pt idx="76">
                  <c:v>Mini Babybel Rouge Filet St Paulin Ferme Sachet 1X40Gr 1P</c:v>
                </c:pt>
                <c:pt idx="77">
                  <c:v>Mini Babybel Bio St Paulin Ferme Filet 1X100Gr 5P</c:v>
                </c:pt>
                <c:pt idx="78">
                  <c:v>Kiri Delicieusement Fouette Fromage Frais A Tartiner 1X210Gr 1P</c:v>
                </c:pt>
                <c:pt idx="79">
                  <c:v>Limiano Queijo Flamengo Tranche Sachet 1X200Gr 1P</c:v>
                </c:pt>
                <c:pt idx="80">
                  <c:v>Limiano Queijo Flamengo Bloc 1X600Gr 1P</c:v>
                </c:pt>
                <c:pt idx="81">
                  <c:v>La Vache Qui Rit Nature Fromage Fondu Boite Ronde 1X128Gr 8P</c:v>
                </c:pt>
                <c:pt idx="82">
                  <c:v>Toastinette Fromage Fondu Tranche A Chaud Sachet 1X200Gr 10P</c:v>
                </c:pt>
                <c:pt idx="83">
                  <c:v>Apericube Carrement Toque Fromage Fondu Cube Assortis 1X250Gr 48P</c:v>
                </c:pt>
                <c:pt idx="84">
                  <c:v>Toastinette Fromage Fondu Tranche A Chaud Sachet 1X340Gr 20P</c:v>
                </c:pt>
                <c:pt idx="85">
                  <c:v>Toastinette Cheddar Fondu Tranche A Chaud Sachet 1X340Gr 20P</c:v>
                </c:pt>
              </c:strCache>
            </c:strRef>
          </c:cat>
          <c:val>
            <c:numRef>
              <c:f>Sheet1!$B$2:$B$87</c:f>
              <c:numCache>
                <c:formatCode>General</c:formatCode>
                <c:ptCount val="86"/>
                <c:pt idx="0">
                  <c:v>0.986</c:v>
                </c:pt>
                <c:pt idx="1">
                  <c:v>0.947</c:v>
                </c:pt>
                <c:pt idx="2">
                  <c:v>0.998</c:v>
                </c:pt>
                <c:pt idx="3">
                  <c:v>0.998</c:v>
                </c:pt>
                <c:pt idx="4">
                  <c:v>0.941</c:v>
                </c:pt>
                <c:pt idx="5">
                  <c:v>0.975</c:v>
                </c:pt>
                <c:pt idx="6">
                  <c:v>0.956</c:v>
                </c:pt>
                <c:pt idx="7">
                  <c:v>0.861</c:v>
                </c:pt>
                <c:pt idx="8">
                  <c:v>0.964</c:v>
                </c:pt>
                <c:pt idx="9">
                  <c:v>0.935</c:v>
                </c:pt>
                <c:pt idx="10">
                  <c:v>0.98</c:v>
                </c:pt>
                <c:pt idx="11">
                  <c:v>0.981</c:v>
                </c:pt>
                <c:pt idx="12">
                  <c:v>0.932</c:v>
                </c:pt>
                <c:pt idx="13">
                  <c:v>0.983</c:v>
                </c:pt>
                <c:pt idx="14">
                  <c:v>0.998</c:v>
                </c:pt>
                <c:pt idx="15">
                  <c:v>0.934</c:v>
                </c:pt>
                <c:pt idx="16">
                  <c:v>0.971</c:v>
                </c:pt>
                <c:pt idx="17">
                  <c:v>0.966</c:v>
                </c:pt>
                <c:pt idx="18">
                  <c:v>0.865</c:v>
                </c:pt>
                <c:pt idx="19">
                  <c:v>0.981</c:v>
                </c:pt>
                <c:pt idx="20">
                  <c:v>0.852</c:v>
                </c:pt>
                <c:pt idx="21">
                  <c:v>0.884</c:v>
                </c:pt>
                <c:pt idx="22">
                  <c:v>0.984</c:v>
                </c:pt>
                <c:pt idx="23">
                  <c:v>0.94</c:v>
                </c:pt>
                <c:pt idx="24">
                  <c:v>0.956</c:v>
                </c:pt>
                <c:pt idx="25">
                  <c:v>0.868</c:v>
                </c:pt>
                <c:pt idx="26">
                  <c:v>0.955</c:v>
                </c:pt>
                <c:pt idx="27">
                  <c:v>0.911</c:v>
                </c:pt>
                <c:pt idx="28">
                  <c:v>0.92</c:v>
                </c:pt>
                <c:pt idx="29">
                  <c:v>0.848</c:v>
                </c:pt>
                <c:pt idx="30">
                  <c:v>0.954</c:v>
                </c:pt>
                <c:pt idx="31">
                  <c:v>0.968</c:v>
                </c:pt>
                <c:pt idx="32">
                  <c:v>0.939</c:v>
                </c:pt>
                <c:pt idx="33">
                  <c:v>0.836</c:v>
                </c:pt>
                <c:pt idx="34">
                  <c:v>0.98</c:v>
                </c:pt>
                <c:pt idx="35">
                  <c:v>0.841</c:v>
                </c:pt>
                <c:pt idx="36">
                  <c:v>0.973</c:v>
                </c:pt>
                <c:pt idx="37">
                  <c:v>0.86</c:v>
                </c:pt>
                <c:pt idx="38">
                  <c:v>0.873</c:v>
                </c:pt>
                <c:pt idx="39">
                  <c:v>0.94</c:v>
                </c:pt>
                <c:pt idx="40">
                  <c:v>0.785</c:v>
                </c:pt>
                <c:pt idx="41">
                  <c:v>0.873</c:v>
                </c:pt>
                <c:pt idx="42">
                  <c:v>0.81</c:v>
                </c:pt>
                <c:pt idx="43">
                  <c:v>0.837</c:v>
                </c:pt>
                <c:pt idx="44">
                  <c:v>0.767</c:v>
                </c:pt>
                <c:pt idx="45">
                  <c:v>0.808</c:v>
                </c:pt>
                <c:pt idx="46">
                  <c:v>0.679</c:v>
                </c:pt>
                <c:pt idx="47">
                  <c:v>0.603</c:v>
                </c:pt>
                <c:pt idx="48">
                  <c:v>0.672</c:v>
                </c:pt>
                <c:pt idx="49">
                  <c:v>0.71</c:v>
                </c:pt>
                <c:pt idx="50">
                  <c:v>0.767</c:v>
                </c:pt>
                <c:pt idx="51">
                  <c:v>0.876</c:v>
                </c:pt>
                <c:pt idx="52">
                  <c:v>0.823</c:v>
                </c:pt>
                <c:pt idx="53">
                  <c:v>0.817</c:v>
                </c:pt>
                <c:pt idx="54">
                  <c:v>0.895</c:v>
                </c:pt>
                <c:pt idx="55">
                  <c:v>0.739</c:v>
                </c:pt>
                <c:pt idx="56">
                  <c:v>0.845</c:v>
                </c:pt>
                <c:pt idx="57">
                  <c:v>0.501</c:v>
                </c:pt>
                <c:pt idx="58">
                  <c:v>0.744</c:v>
                </c:pt>
                <c:pt idx="59">
                  <c:v>0.667</c:v>
                </c:pt>
                <c:pt idx="60">
                  <c:v>0.319</c:v>
                </c:pt>
                <c:pt idx="61">
                  <c:v>0.66</c:v>
                </c:pt>
                <c:pt idx="62">
                  <c:v>0.325</c:v>
                </c:pt>
                <c:pt idx="63">
                  <c:v>0.803</c:v>
                </c:pt>
                <c:pt idx="64">
                  <c:v>0.585</c:v>
                </c:pt>
                <c:pt idx="65">
                  <c:v>0.254</c:v>
                </c:pt>
                <c:pt idx="66">
                  <c:v>0.284</c:v>
                </c:pt>
                <c:pt idx="67">
                  <c:v>0.215</c:v>
                </c:pt>
                <c:pt idx="68">
                  <c:v>0.211</c:v>
                </c:pt>
                <c:pt idx="69">
                  <c:v>0.648</c:v>
                </c:pt>
                <c:pt idx="70">
                  <c:v>0.271</c:v>
                </c:pt>
                <c:pt idx="71">
                  <c:v>0.75</c:v>
                </c:pt>
                <c:pt idx="72">
                  <c:v>0.661</c:v>
                </c:pt>
                <c:pt idx="73">
                  <c:v>0.414</c:v>
                </c:pt>
                <c:pt idx="74">
                  <c:v>0.687</c:v>
                </c:pt>
                <c:pt idx="75">
                  <c:v>0.231</c:v>
                </c:pt>
                <c:pt idx="76">
                  <c:v>0.114</c:v>
                </c:pt>
                <c:pt idx="77">
                  <c:v>0.312</c:v>
                </c:pt>
                <c:pt idx="78">
                  <c:v>0.372</c:v>
                </c:pt>
                <c:pt idx="79">
                  <c:v>0.01</c:v>
                </c:pt>
                <c:pt idx="80">
                  <c:v>0.012</c:v>
                </c:pt>
                <c:pt idx="81">
                  <c:v>0.112</c:v>
                </c:pt>
                <c:pt idx="82">
                  <c:v>0.001</c:v>
                </c:pt>
                <c:pt idx="83">
                  <c:v>0.001</c:v>
                </c:pt>
                <c:pt idx="84">
                  <c:v>0.001</c:v>
                </c:pt>
                <c:pt idx="85">
                  <c:v>0.001</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00A097"/>
              </a:solidFill>
            </c:spPr>
            <c:extLst>
              <c:ext xmlns:c16="http://schemas.microsoft.com/office/drawing/2014/chart" uri="{C3380CC4-5D6E-409C-BE32-E72D297353CC}">
                <c16:uniqueId val="{00000023-FA3E-4872-B6E1-C4ABDF5766E2}"/>
              </c:ext>
            </c:extLst>
          </c:dPt>
          <c:dPt>
            <c:idx val="17"/>
            <c:invertIfNegative val="1"/>
            <c:bubble3D val="0"/>
            <c:spPr>
              <a:solidFill>
                <a:srgbClr val="00A097"/>
              </a:solidFill>
            </c:spPr>
            <c:extLst>
              <c:ext xmlns:c16="http://schemas.microsoft.com/office/drawing/2014/chart" uri="{C3380CC4-5D6E-409C-BE32-E72D297353CC}">
                <c16:uniqueId val="{00000025-FA3E-4872-B6E1-C4ABDF5766E2}"/>
              </c:ext>
            </c:extLst>
          </c:dPt>
          <c:dPt>
            <c:idx val="18"/>
            <c:invertIfNegative val="1"/>
            <c:bubble3D val="0"/>
            <c:spPr>
              <a:solidFill>
                <a:srgbClr val="00A097"/>
              </a:solidFill>
            </c:spPr>
            <c:extLst>
              <c:ext xmlns:c16="http://schemas.microsoft.com/office/drawing/2014/chart" uri="{C3380CC4-5D6E-409C-BE32-E72D297353CC}">
                <c16:uniqueId val="{00000027-FA3E-4872-B6E1-C4ABDF5766E2}"/>
              </c:ext>
            </c:extLst>
          </c:dPt>
          <c:dPt>
            <c:idx val="19"/>
            <c:invertIfNegative val="1"/>
            <c:bubble3D val="0"/>
            <c:spPr>
              <a:solidFill>
                <a:srgbClr val="00A097"/>
              </a:solidFill>
            </c:spPr>
            <c:extLst>
              <c:ext xmlns:c16="http://schemas.microsoft.com/office/drawing/2014/chart" uri="{C3380CC4-5D6E-409C-BE32-E72D297353CC}">
                <c16:uniqueId val="{00000029-FA3E-4872-B6E1-C4ABDF5766E2}"/>
              </c:ext>
            </c:extLst>
          </c:dPt>
          <c:dPt>
            <c:idx val="20"/>
            <c:invertIfNegative val="1"/>
            <c:bubble3D val="0"/>
            <c:spPr>
              <a:solidFill>
                <a:srgbClr val="00A097"/>
              </a:solidFill>
            </c:spPr>
            <c:extLst>
              <c:ext xmlns:c16="http://schemas.microsoft.com/office/drawing/2014/chart" uri="{C3380CC4-5D6E-409C-BE32-E72D297353CC}">
                <c16:uniqueId val="{0000002B-FA3E-4872-B6E1-C4ABDF5766E2}"/>
              </c:ext>
            </c:extLst>
          </c:dPt>
          <c:dPt>
            <c:idx val="21"/>
            <c:invertIfNegative val="1"/>
            <c:bubble3D val="0"/>
            <c:spPr>
              <a:solidFill>
                <a:srgbClr val="00A097"/>
              </a:solidFill>
            </c:spPr>
            <c:extLst>
              <c:ext xmlns:c16="http://schemas.microsoft.com/office/drawing/2014/chart" uri="{C3380CC4-5D6E-409C-BE32-E72D297353CC}">
                <c16:uniqueId val="{0000002D-FA3E-4872-B6E1-C4ABDF5766E2}"/>
              </c:ext>
            </c:extLst>
          </c:dPt>
          <c:dPt>
            <c:idx val="22"/>
            <c:invertIfNegative val="1"/>
            <c:bubble3D val="0"/>
            <c:spPr>
              <a:solidFill>
                <a:srgbClr val="00A097"/>
              </a:solidFill>
            </c:spPr>
            <c:extLst>
              <c:ext xmlns:c16="http://schemas.microsoft.com/office/drawing/2014/chart" uri="{C3380CC4-5D6E-409C-BE32-E72D297353CC}">
                <c16:uniqueId val="{0000002F-FA3E-4872-B6E1-C4ABDF5766E2}"/>
              </c:ext>
            </c:extLst>
          </c:dPt>
          <c:dPt>
            <c:idx val="23"/>
            <c:invertIfNegative val="1"/>
            <c:bubble3D val="0"/>
            <c:spPr>
              <a:solidFill>
                <a:srgbClr val="00A097"/>
              </a:solidFill>
            </c:spPr>
            <c:extLst>
              <c:ext xmlns:c16="http://schemas.microsoft.com/office/drawing/2014/chart" uri="{C3380CC4-5D6E-409C-BE32-E72D297353CC}">
                <c16:uniqueId val="{00000031-FA3E-4872-B6E1-C4ABDF5766E2}"/>
              </c:ext>
            </c:extLst>
          </c:dPt>
          <c:dPt>
            <c:idx val="24"/>
            <c:invertIfNegative val="1"/>
            <c:bubble3D val="0"/>
            <c:spPr>
              <a:solidFill>
                <a:srgbClr val="00A097"/>
              </a:solidFill>
            </c:spPr>
            <c:extLst>
              <c:ext xmlns:c16="http://schemas.microsoft.com/office/drawing/2014/chart" uri="{C3380CC4-5D6E-409C-BE32-E72D297353CC}">
                <c16:uniqueId val="{00000033-FA3E-4872-B6E1-C4ABDF5766E2}"/>
              </c:ext>
            </c:extLst>
          </c:dPt>
          <c:dPt>
            <c:idx val="25"/>
            <c:invertIfNegative val="1"/>
            <c:bubble3D val="0"/>
            <c:spPr>
              <a:solidFill>
                <a:srgbClr val="00A097"/>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7ECAC4"/>
              </a:solidFill>
            </c:spPr>
            <c:extLst>
              <c:ext xmlns:c16="http://schemas.microsoft.com/office/drawing/2014/chart" uri="{C3380CC4-5D6E-409C-BE32-E72D297353CC}">
                <c16:uniqueId val="{0000003F-FA3E-4872-B6E1-C4ABDF5766E2}"/>
              </c:ext>
            </c:extLst>
          </c:dPt>
          <c:dPt>
            <c:idx val="31"/>
            <c:invertIfNegative val="1"/>
            <c:bubble3D val="0"/>
            <c:spPr>
              <a:solidFill>
                <a:srgbClr val="7ECAC4"/>
              </a:solidFill>
            </c:spPr>
            <c:extLst>
              <c:ext xmlns:c16="http://schemas.microsoft.com/office/drawing/2014/chart" uri="{C3380CC4-5D6E-409C-BE32-E72D297353CC}">
                <c16:uniqueId val="{00000041-FA3E-4872-B6E1-C4ABDF5766E2}"/>
              </c:ext>
            </c:extLst>
          </c:dPt>
          <c:dPt>
            <c:idx val="32"/>
            <c:invertIfNegative val="1"/>
            <c:bubble3D val="0"/>
            <c:spPr>
              <a:solidFill>
                <a:srgbClr val="7ECAC4"/>
              </a:solidFill>
            </c:spPr>
            <c:extLst>
              <c:ext xmlns:c16="http://schemas.microsoft.com/office/drawing/2014/chart" uri="{C3380CC4-5D6E-409C-BE32-E72D297353CC}">
                <c16:uniqueId val="{00000043-FA3E-4872-B6E1-C4ABDF5766E2}"/>
              </c:ext>
            </c:extLst>
          </c:dPt>
          <c:dPt>
            <c:idx val="33"/>
            <c:invertIfNegative val="1"/>
            <c:bubble3D val="0"/>
            <c:spPr>
              <a:solidFill>
                <a:srgbClr val="7ECAC4"/>
              </a:solidFill>
            </c:spPr>
            <c:extLst>
              <c:ext xmlns:c16="http://schemas.microsoft.com/office/drawing/2014/chart" uri="{C3380CC4-5D6E-409C-BE32-E72D297353CC}">
                <c16:uniqueId val="{00000045-FA3E-4872-B6E1-C4ABDF5766E2}"/>
              </c:ext>
            </c:extLst>
          </c:dPt>
          <c:dPt>
            <c:idx val="34"/>
            <c:invertIfNegative val="1"/>
            <c:bubble3D val="0"/>
            <c:spPr>
              <a:solidFill>
                <a:srgbClr val="7ECAC4"/>
              </a:solidFill>
            </c:spPr>
            <c:extLst>
              <c:ext xmlns:c16="http://schemas.microsoft.com/office/drawing/2014/chart" uri="{C3380CC4-5D6E-409C-BE32-E72D297353CC}">
                <c16:uniqueId val="{00000047-FA3E-4872-B6E1-C4ABDF5766E2}"/>
              </c:ext>
            </c:extLst>
          </c:dPt>
          <c:dPt>
            <c:idx val="35"/>
            <c:invertIfNegative val="1"/>
            <c:bubble3D val="0"/>
            <c:spPr>
              <a:solidFill>
                <a:srgbClr val="7ECAC4"/>
              </a:solidFill>
            </c:spPr>
            <c:extLst>
              <c:ext xmlns:c16="http://schemas.microsoft.com/office/drawing/2014/chart" uri="{C3380CC4-5D6E-409C-BE32-E72D297353CC}">
                <c16:uniqueId val="{00000049-FA3E-4872-B6E1-C4ABDF5766E2}"/>
              </c:ext>
            </c:extLst>
          </c:dPt>
          <c:dPt>
            <c:idx val="36"/>
            <c:invertIfNegative val="1"/>
            <c:bubble3D val="0"/>
            <c:spPr>
              <a:solidFill>
                <a:srgbClr val="7ECAC4"/>
              </a:solidFill>
            </c:spPr>
            <c:extLst>
              <c:ext xmlns:c16="http://schemas.microsoft.com/office/drawing/2014/chart" uri="{C3380CC4-5D6E-409C-BE32-E72D297353CC}">
                <c16:uniqueId val="{0000004B-FA3E-4872-B6E1-C4ABDF5766E2}"/>
              </c:ext>
            </c:extLst>
          </c:dPt>
          <c:dPt>
            <c:idx val="37"/>
            <c:invertIfNegative val="1"/>
            <c:bubble3D val="0"/>
            <c:spPr>
              <a:solidFill>
                <a:srgbClr val="7ECAC4"/>
              </a:solidFill>
            </c:spPr>
            <c:extLst>
              <c:ext xmlns:c16="http://schemas.microsoft.com/office/drawing/2014/chart" uri="{C3380CC4-5D6E-409C-BE32-E72D297353CC}">
                <c16:uniqueId val="{0000004D-FA3E-4872-B6E1-C4ABDF5766E2}"/>
              </c:ext>
            </c:extLst>
          </c:dPt>
          <c:dPt>
            <c:idx val="38"/>
            <c:invertIfNegative val="1"/>
            <c:bubble3D val="0"/>
            <c:spPr>
              <a:solidFill>
                <a:srgbClr val="7ECAC4"/>
              </a:solidFill>
            </c:spPr>
            <c:extLst>
              <c:ext xmlns:c16="http://schemas.microsoft.com/office/drawing/2014/chart" uri="{C3380CC4-5D6E-409C-BE32-E72D297353CC}">
                <c16:uniqueId val="{0000004F-FA3E-4872-B6E1-C4ABDF5766E2}"/>
              </c:ext>
            </c:extLst>
          </c:dPt>
          <c:dPt>
            <c:idx val="39"/>
            <c:invertIfNegative val="1"/>
            <c:bubble3D val="0"/>
            <c:spPr>
              <a:solidFill>
                <a:srgbClr val="7ECAC4"/>
              </a:solidFill>
            </c:spPr>
            <c:extLst>
              <c:ext xmlns:c16="http://schemas.microsoft.com/office/drawing/2014/chart" uri="{C3380CC4-5D6E-409C-BE32-E72D297353CC}">
                <c16:uniqueId val="{00000051-FA3E-4872-B6E1-C4ABDF5766E2}"/>
              </c:ext>
            </c:extLst>
          </c:dPt>
          <c:dPt>
            <c:idx val="40"/>
            <c:invertIfNegative val="1"/>
            <c:bubble3D val="0"/>
            <c:spPr>
              <a:solidFill>
                <a:srgbClr val="7ECAC4"/>
              </a:solidFill>
            </c:spPr>
            <c:extLst>
              <c:ext xmlns:c16="http://schemas.microsoft.com/office/drawing/2014/chart" uri="{C3380CC4-5D6E-409C-BE32-E72D297353CC}">
                <c16:uniqueId val="{00000053-FA3E-4872-B6E1-C4ABDF5766E2}"/>
              </c:ext>
            </c:extLst>
          </c:dPt>
          <c:dPt>
            <c:idx val="41"/>
            <c:invertIfNegative val="1"/>
            <c:bubble3D val="0"/>
            <c:spPr>
              <a:solidFill>
                <a:srgbClr val="7ECAC4"/>
              </a:solidFill>
            </c:spPr>
            <c:extLst>
              <c:ext xmlns:c16="http://schemas.microsoft.com/office/drawing/2014/chart" uri="{C3380CC4-5D6E-409C-BE32-E72D297353CC}">
                <c16:uniqueId val="{00000055-FA3E-4872-B6E1-C4ABDF5766E2}"/>
              </c:ext>
            </c:extLst>
          </c:dPt>
          <c:dPt>
            <c:idx val="42"/>
            <c:invertIfNegative val="1"/>
            <c:bubble3D val="0"/>
            <c:spPr>
              <a:solidFill>
                <a:srgbClr val="7ECAC4"/>
              </a:solidFill>
            </c:spPr>
            <c:extLst>
              <c:ext xmlns:c16="http://schemas.microsoft.com/office/drawing/2014/chart" uri="{C3380CC4-5D6E-409C-BE32-E72D297353CC}">
                <c16:uniqueId val="{00000057-FA3E-4872-B6E1-C4ABDF5766E2}"/>
              </c:ext>
            </c:extLst>
          </c:dPt>
          <c:dPt>
            <c:idx val="43"/>
            <c:invertIfNegative val="1"/>
            <c:bubble3D val="0"/>
            <c:spPr>
              <a:solidFill>
                <a:srgbClr val="7ECAC4"/>
              </a:solidFill>
            </c:spPr>
            <c:extLst>
              <c:ext xmlns:c16="http://schemas.microsoft.com/office/drawing/2014/chart" uri="{C3380CC4-5D6E-409C-BE32-E72D297353CC}">
                <c16:uniqueId val="{00000059-FA3E-4872-B6E1-C4ABDF5766E2}"/>
              </c:ext>
            </c:extLst>
          </c:dPt>
          <c:dPt>
            <c:idx val="44"/>
            <c:spPr>
              <a:solidFill>
                <a:srgbClr val="7ECAC4"/>
              </a:solidFill>
            </c:spPr>
          </c:dPt>
          <c:dPt>
            <c:idx val="45"/>
            <c:spPr>
              <a:solidFill>
                <a:srgbClr val="AEABAB"/>
              </a:solidFill>
            </c:spPr>
          </c:dPt>
          <c:dPt>
            <c:idx val="46"/>
            <c:spPr>
              <a:solidFill>
                <a:srgbClr val="AEABAB"/>
              </a:solidFill>
            </c:spPr>
          </c:dPt>
          <c:dPt>
            <c:idx val="47"/>
            <c:spPr>
              <a:solidFill>
                <a:srgbClr val="AEABAB"/>
              </a:solidFill>
            </c:spPr>
          </c:dPt>
          <c:dPt>
            <c:idx val="48"/>
            <c:spPr>
              <a:solidFill>
                <a:srgbClr val="AEABAB"/>
              </a:solidFill>
            </c:spPr>
          </c:dPt>
          <c:dPt>
            <c:idx val="49"/>
            <c:spPr>
              <a:solidFill>
                <a:srgbClr val="AEABAB"/>
              </a:solidFill>
            </c:spPr>
          </c:dPt>
          <c:dPt>
            <c:idx val="50"/>
            <c:spPr>
              <a:solidFill>
                <a:srgbClr val="AEABAB"/>
              </a:solidFill>
            </c:spPr>
          </c:dPt>
          <c:dPt>
            <c:idx val="51"/>
            <c:spPr>
              <a:solidFill>
                <a:srgbClr val="AEABAB"/>
              </a:solidFill>
            </c:spPr>
          </c:dPt>
          <c:dPt>
            <c:idx val="52"/>
            <c:spPr>
              <a:solidFill>
                <a:srgbClr val="AEABAB"/>
              </a:solidFill>
            </c:spPr>
          </c:dPt>
          <c:dPt>
            <c:idx val="53"/>
            <c:spPr>
              <a:solidFill>
                <a:srgbClr val="AEABAB"/>
              </a:solidFill>
            </c:spPr>
          </c:dPt>
          <c:dPt>
            <c:idx val="54"/>
            <c:spPr>
              <a:solidFill>
                <a:srgbClr val="AEABAB"/>
              </a:solidFill>
            </c:spPr>
          </c:dPt>
          <c:dPt>
            <c:idx val="55"/>
            <c:spPr>
              <a:solidFill>
                <a:srgbClr val="AEABAB"/>
              </a:solidFill>
            </c:spPr>
          </c:dPt>
          <c:dPt>
            <c:idx val="56"/>
            <c:spPr>
              <a:solidFill>
                <a:srgbClr val="AEABAB"/>
              </a:solidFill>
            </c:spPr>
          </c:dPt>
          <c:dPt>
            <c:idx val="57"/>
            <c:spPr>
              <a:solidFill>
                <a:srgbClr val="AEABAB"/>
              </a:solidFill>
            </c:spPr>
          </c:dPt>
          <c:dPt>
            <c:idx val="58"/>
            <c:spPr>
              <a:solidFill>
                <a:srgbClr val="AEABAB"/>
              </a:solidFill>
            </c:spPr>
          </c:dPt>
          <c:dPt>
            <c:idx val="59"/>
            <c:spPr>
              <a:solidFill>
                <a:srgbClr val="AEABAB"/>
              </a:solidFill>
            </c:spPr>
          </c:dPt>
          <c:dPt>
            <c:idx val="60"/>
            <c:spPr>
              <a:solidFill>
                <a:srgbClr val="AEABAB"/>
              </a:solidFill>
            </c:spPr>
          </c:dPt>
          <c:dPt>
            <c:idx val="61"/>
            <c:spPr>
              <a:solidFill>
                <a:srgbClr val="AEABAB"/>
              </a:solidFill>
            </c:spPr>
          </c:dPt>
          <c:dPt>
            <c:idx val="62"/>
            <c:spPr>
              <a:solidFill>
                <a:srgbClr val="AEABAB"/>
              </a:solidFill>
            </c:spPr>
          </c:dPt>
          <c:dPt>
            <c:idx val="63"/>
            <c:spPr>
              <a:solidFill>
                <a:srgbClr val="AEABAB"/>
              </a:solidFill>
            </c:spPr>
          </c:dPt>
          <c:dPt>
            <c:idx val="64"/>
            <c:spPr>
              <a:solidFill>
                <a:srgbClr val="AEABAB"/>
              </a:solidFill>
            </c:spPr>
          </c:dPt>
          <c:dPt>
            <c:idx val="65"/>
            <c:spPr>
              <a:solidFill>
                <a:srgbClr val="AEABAB"/>
              </a:solidFill>
            </c:spPr>
          </c:dPt>
          <c:dPt>
            <c:idx val="66"/>
            <c:spPr>
              <a:solidFill>
                <a:srgbClr val="AEABAB"/>
              </a:solidFill>
            </c:spPr>
          </c:dPt>
          <c:dPt>
            <c:idx val="67"/>
            <c:spPr>
              <a:solidFill>
                <a:srgbClr val="AEABAB"/>
              </a:solidFill>
            </c:spPr>
          </c:dPt>
          <c:dPt>
            <c:idx val="68"/>
            <c:spPr>
              <a:solidFill>
                <a:srgbClr val="AEABAB"/>
              </a:solidFill>
            </c:spPr>
          </c:dPt>
          <c:dPt>
            <c:idx val="69"/>
            <c:spPr>
              <a:solidFill>
                <a:srgbClr val="AEABAB"/>
              </a:solidFill>
            </c:spPr>
          </c:dPt>
          <c:dPt>
            <c:idx val="70"/>
            <c:spPr>
              <a:solidFill>
                <a:srgbClr val="AEABAB"/>
              </a:solidFill>
            </c:spPr>
          </c:dPt>
          <c:dPt>
            <c:idx val="71"/>
            <c:spPr>
              <a:solidFill>
                <a:srgbClr val="AEABAB"/>
              </a:solidFill>
            </c:spPr>
          </c:dPt>
          <c:dPt>
            <c:idx val="72"/>
            <c:spPr>
              <a:solidFill>
                <a:srgbClr val="AEABAB"/>
              </a:solidFill>
            </c:spPr>
          </c:dPt>
          <c:dPt>
            <c:idx val="73"/>
            <c:spPr>
              <a:solidFill>
                <a:srgbClr val="AEABAB"/>
              </a:solidFill>
            </c:spPr>
          </c:dPt>
          <c:dPt>
            <c:idx val="74"/>
            <c:spPr>
              <a:solidFill>
                <a:srgbClr val="AEABAB"/>
              </a:solidFill>
            </c:spPr>
          </c:dPt>
          <c:dPt>
            <c:idx val="75"/>
            <c:spPr>
              <a:solidFill>
                <a:srgbClr val="AEABAB"/>
              </a:solidFill>
            </c:spPr>
          </c:dPt>
          <c:dPt>
            <c:idx val="76"/>
            <c:spPr>
              <a:solidFill>
                <a:srgbClr val="AEABAB"/>
              </a:solidFill>
            </c:spPr>
          </c:dPt>
          <c:dPt>
            <c:idx val="77"/>
            <c:spPr>
              <a:solidFill>
                <a:srgbClr val="AEABAB"/>
              </a:solidFill>
            </c:spPr>
          </c:dPt>
          <c:dPt>
            <c:idx val="78"/>
            <c:spPr>
              <a:solidFill>
                <a:srgbClr val="AEABAB"/>
              </a:solidFill>
            </c:spPr>
          </c:dPt>
          <c:dPt>
            <c:idx val="79"/>
            <c:spPr>
              <a:solidFill>
                <a:srgbClr val="AEABAB"/>
              </a:solidFill>
            </c:spPr>
          </c:dPt>
          <c:dPt>
            <c:idx val="80"/>
            <c:spPr>
              <a:solidFill>
                <a:srgbClr val="AEABAB"/>
              </a:solidFill>
            </c:spPr>
          </c:dPt>
          <c:dPt>
            <c:idx val="81"/>
            <c:spPr>
              <a:solidFill>
                <a:srgbClr val="AEABAB"/>
              </a:solidFill>
            </c:spPr>
          </c:dPt>
          <c:dPt>
            <c:idx val="82"/>
            <c:spPr>
              <a:solidFill>
                <a:srgbClr val="AEABAB"/>
              </a:solidFill>
            </c:spPr>
          </c:dPt>
          <c:dPt>
            <c:idx val="83"/>
            <c:spPr>
              <a:solidFill>
                <a:srgbClr val="AEABAB"/>
              </a:solidFill>
            </c:spPr>
          </c:dPt>
          <c:dPt>
            <c:idx val="84"/>
            <c:spPr>
              <a:solidFill>
                <a:srgbClr val="AEABAB"/>
              </a:solidFill>
            </c:spPr>
          </c:dPt>
          <c:dPt>
            <c:idx val="85"/>
            <c:spPr>
              <a:solidFill>
                <a:srgbClr val="AEABAB"/>
              </a:solidFill>
            </c:spPr>
          </c:dPt>
          <c:cat>
            <c:strRef>
              <c:f>Sheet1!$A$2:$A$87</c:f>
              <c:strCache>
                <c:ptCount val="86"/>
                <c:pt idx="0">
                  <c:v>Mini Babybel Rouge Filet St Paulin Ferme 1X264Gr 12P</c:v>
                </c:pt>
                <c:pt idx="1">
                  <c:v>La Vache Qui Rit Nature Fromage Fondu Boite Ronde 1X512Gr 32P</c:v>
                </c:pt>
                <c:pt idx="2">
                  <c:v>La Vache Qui Rit Nature Fromage Fondu Boite Ronde 1X192Gr 12P</c:v>
                </c:pt>
                <c:pt idx="3">
                  <c:v>Mini Babybel Rouge Filet St Paulin Ferme 1X132Gr 6P</c:v>
                </c:pt>
                <c:pt idx="4">
                  <c:v>La Vache Qui Rit Nature Fromage Fondu Boite Ronde 1X384Gr 24P</c:v>
                </c:pt>
                <c:pt idx="5">
                  <c:v>Kiri Creme Fromage Blanc Frais Carre 1X216Gr 12P</c:v>
                </c:pt>
                <c:pt idx="6">
                  <c:v>Apericube Edition Limitee Best Of Foot Fromage Fondu Cube Assortis 1X250Gr 48P</c:v>
                </c:pt>
                <c:pt idx="7">
                  <c:v>Kiri Creme Fromage Blanc Frais Carre 1X432Gr 24P</c:v>
                </c:pt>
                <c:pt idx="8">
                  <c:v>Apericube Cocktail Fromage Fondu Cube Assortis 1X250Gr 48P</c:v>
                </c:pt>
                <c:pt idx="9">
                  <c:v>Apericube Long Drink Fromage Fondu Cube Assortis 1X250Gr 48P</c:v>
                </c:pt>
                <c:pt idx="10">
                  <c:v>Boursin Classique Fromage Frais A Tartiner Afh Boite 1X250Gr 1P</c:v>
                </c:pt>
                <c:pt idx="11">
                  <c:v>Boursin Classique Fromage Frais A Tartiner Afh 1X160Gr 10P</c:v>
                </c:pt>
                <c:pt idx="12">
                  <c:v>Kiri Gouter Fromage Blanc Dips Boite 1X280Gr 8P</c:v>
                </c:pt>
                <c:pt idx="13">
                  <c:v>Kiri Creme Fromage Blanc Frais Carre 1X144Gr 8P</c:v>
                </c:pt>
                <c:pt idx="14">
                  <c:v>Boursin Classique Fromage Frais A Tartiner Afh Boite 1X150Gr 1P</c:v>
                </c:pt>
                <c:pt idx="15">
                  <c:v>Apericube Tonic Fromage Fondu Cube Assortis 1X250Gr 48P</c:v>
                </c:pt>
                <c:pt idx="16">
                  <c:v>Port Salut St Paulin 1X320Gr 1P</c:v>
                </c:pt>
                <c:pt idx="17">
                  <c:v>Boursin Aperitif Roules Fromage Frais Roule Afh Et Jambon Fume Boite 1X100Gr 20P</c:v>
                </c:pt>
                <c:pt idx="18">
                  <c:v>Apericube Incontournable Fromage Fondu Cube Assortis 1X250Gr 48P</c:v>
                </c:pt>
                <c:pt idx="19">
                  <c:v>Kiri Gouter Fromage Blanc Dips Boite 1X175Gr 5P</c:v>
                </c:pt>
                <c:pt idx="20">
                  <c:v>Mini Babybel Rouge Filet St Paulin Ferme 1X440Gr 20P</c:v>
                </c:pt>
                <c:pt idx="21">
                  <c:v>Apericube Edition Limitee Saison Fromage Fondu Cube Assortis 1X250Gr 48P</c:v>
                </c:pt>
                <c:pt idx="22">
                  <c:v>Babybel St Paulin 1X200Gr 1P</c:v>
                </c:pt>
                <c:pt idx="23">
                  <c:v>Apericube Nature Fromage Fondu Cube 1X125Gr 24P</c:v>
                </c:pt>
                <c:pt idx="24">
                  <c:v>Cousteron St Paulin 1X320Gr 1P</c:v>
                </c:pt>
                <c:pt idx="25">
                  <c:v>Apericube Edition Voyage Fromage Fondu Cube Assortis 1X250Gr 48P</c:v>
                </c:pt>
                <c:pt idx="26">
                  <c:v>La Vache Qui Rit Pik Et Croq' Fromage Fondu Dips Boite 1X175Gr 5P</c:v>
                </c:pt>
                <c:pt idx="27">
                  <c:v>Boursin Aperitif Roules Fromage Frais Roule Ciboulette &amp; Echalote Jambon Fume Boite 1X100Gr 20P</c:v>
                </c:pt>
                <c:pt idx="28">
                  <c:v>Apericube Campagne Fromage Fondu Cube Assortis 1X125Gr 24P</c:v>
                </c:pt>
                <c:pt idx="29">
                  <c:v>La Vache Qui Rit Pik Et Croq' Fromage Fondu Dips Boite 1X280Gr 8P</c:v>
                </c:pt>
                <c:pt idx="30">
                  <c:v>Boursin Onctueux Fromage Frais A Tartiner Afh 1X125Gr 1P</c:v>
                </c:pt>
                <c:pt idx="31">
                  <c:v>Boursin Salade &amp; Aperitif Fromage Frais Des Afh 1X120Gr 1P</c:v>
                </c:pt>
                <c:pt idx="32">
                  <c:v>Boursin Classique Fromage Frais A Tartiner Afh Boite 1X96Gr 6P</c:v>
                </c:pt>
                <c:pt idx="33">
                  <c:v>Apericube Saveurs De L'Authentique Fromage Fondu Cube Assortis 1X250Gr 48P</c:v>
                </c:pt>
                <c:pt idx="34">
                  <c:v>Boursin Classique Fromage Frais A Tartiner Figue Et 3 Noix Boite 1X150Gr 1P</c:v>
                </c:pt>
                <c:pt idx="35">
                  <c:v>La Vache Qui Rit Allegee Fromage Fondu Boite Ronde Allege 1X267Gr 16P</c:v>
                </c:pt>
                <c:pt idx="36">
                  <c:v>Boursin Classique Fromage Frais A Tartiner Ciboulette &amp; Echalote Boite 1X150Gr 1P</c:v>
                </c:pt>
                <c:pt idx="37">
                  <c:v>Boursin Classique Fromage Frais A Tartiner Afh 1X256Gr 16P</c:v>
                </c:pt>
                <c:pt idx="38">
                  <c:v>Boursin Cuisine Sauce Fromage Afh 1X240Gr 1P</c:v>
                </c:pt>
                <c:pt idx="39">
                  <c:v>Boursin Classique Fromage Frais A Tartiner Poivre Boite 1X150Gr 1P</c:v>
                </c:pt>
                <c:pt idx="40">
                  <c:v>Babybel Mini Rolls St Paulin Ferme Sachet 1X85Gr 5P</c:v>
                </c:pt>
                <c:pt idx="41">
                  <c:v>Boursin Aperitif Roules Fromage Frais Roule Basilic &amp; Jambon Fume Tomate Boite 1X100Gr 20P</c:v>
                </c:pt>
                <c:pt idx="42">
                  <c:v>Mini Babybel Aros St Paulin Ferme Assortis Filet 1X180Gr 9P</c:v>
                </c:pt>
                <c:pt idx="43">
                  <c:v>Kiri Delicieusement Fouette Fromage Frais A Tartiner 1X125Gr 1P</c:v>
                </c:pt>
                <c:pt idx="44">
                  <c:v>Apericube Long Drink Fromage Fondu Cube Assortis 1X125Gr 24P</c:v>
                </c:pt>
                <c:pt idx="45">
                  <c:v>Boursin Classique Fromage Frais A Tartiner Ciboulette &amp; Echalote 1X160Gr 10P</c:v>
                </c:pt>
                <c:pt idx="46">
                  <c:v>La Vache Qui Rit Aro Fromage Fondu Boite Ronde Jambon 1X133Gr 8P</c:v>
                </c:pt>
                <c:pt idx="47">
                  <c:v>Kiri Bio Fromage Blanc Frais Carre 1X144Gr 8P</c:v>
                </c:pt>
                <c:pt idx="48">
                  <c:v>Kiri Chevre Fromage Blanc Frais Carre 1X144Gr 8P</c:v>
                </c:pt>
                <c:pt idx="49">
                  <c:v>Mini Babybel Aros Soft Cheese Enfant 180G</c:v>
                </c:pt>
                <c:pt idx="50">
                  <c:v>Apericube Soiree Match Aperitif 250G</c:v>
                </c:pt>
                <c:pt idx="51">
                  <c:v>Mini Babybel Rouge Filet St Paulin Ferme 1X396Gr 12+6P</c:v>
                </c:pt>
                <c:pt idx="52">
                  <c:v>Boursin Salade &amp; Aperitif Fromage Frais Des Ciboulette Echalote 1X120Gr 1P</c:v>
                </c:pt>
                <c:pt idx="53">
                  <c:v>Kiri Creme Fromage Blanc Frais Carre 1X432Gr 18+6P</c:v>
                </c:pt>
                <c:pt idx="54">
                  <c:v>Kiri Delicieusement Fouette Fromage Frais A Tartiner 1X160Gr 10P</c:v>
                </c:pt>
                <c:pt idx="55">
                  <c:v>Mini Babybel Aros St Paulin Ferme Raclette Filet 1X132Gr 6P</c:v>
                </c:pt>
                <c:pt idx="56">
                  <c:v>Boursin Salade &amp; Aperitif Fromage Frais Des Figue Noix 1X120Gr 1P</c:v>
                </c:pt>
                <c:pt idx="57">
                  <c:v>Apericube Hot Chalenge Aperitif 250G</c:v>
                </c:pt>
                <c:pt idx="58">
                  <c:v>Nurishh Les Tranches Vegetales Cheddar Vegetal Tranche Boite 1X160Gr 8P</c:v>
                </c:pt>
                <c:pt idx="59">
                  <c:v>Apericube Best Of Des Saveurs Fromage Fondu Cube Assortis 1X125Gr 24P</c:v>
                </c:pt>
                <c:pt idx="60">
                  <c:v>Nurishh Le Rape Vegetal Specialite Vegetale Sachet 1X150Gr 1P</c:v>
                </c:pt>
                <c:pt idx="61">
                  <c:v>Boursin Salade &amp; Aperitif Fromage Frais Des Citron Romarin 1X120Gr 1P</c:v>
                </c:pt>
                <c:pt idx="62">
                  <c:v>Boursin Classique Fromage Frais A Tartiner Afh Boite 1X80Gr 1P</c:v>
                </c:pt>
                <c:pt idx="63">
                  <c:v>Boursin Salade &amp; Aperitif Fromage Frais Des Noisette Et 3 Noix 1X120Gr 1P</c:v>
                </c:pt>
                <c:pt idx="64">
                  <c:v>Mini Babybel Aros Soft Cheese Enfant 110G</c:v>
                </c:pt>
                <c:pt idx="65">
                  <c:v>Nurishh Le Rape Vegetal Specialite Vegetale Emmental Sachet 1X150Gr 1P</c:v>
                </c:pt>
                <c:pt idx="66">
                  <c:v>Apericube Fromages Du Monde Aperitif 250G</c:v>
                </c:pt>
                <c:pt idx="67">
                  <c:v>Nurishh Le Coeur Fleuri Vegetal Camembert Boite 1X140Gr 1P</c:v>
                </c:pt>
                <c:pt idx="68">
                  <c:v>Nurishh Le Palet Vegetal Specialite Vegetale Ovale Saveur Chevre Boite 1X140Gr 1P</c:v>
                </c:pt>
                <c:pt idx="69">
                  <c:v>Nurishh Des Vegetaux Feta Vegetale Sachet 1X150Gr 1P</c:v>
                </c:pt>
                <c:pt idx="70">
                  <c:v>Apericube Montagne Aperitif 250G</c:v>
                </c:pt>
                <c:pt idx="71">
                  <c:v>Boursin Aperitif Roules Fromage Frais Roule Jambon Fume &amp; Trio De Noix Boite 1X100Gr 20P</c:v>
                </c:pt>
                <c:pt idx="72">
                  <c:v>Boursin Aperitif Roules Aperitif 100G</c:v>
                </c:pt>
                <c:pt idx="73">
                  <c:v>Boursin Salade &amp; Aperitif Soft Cheese Salade 120G</c:v>
                </c:pt>
                <c:pt idx="74">
                  <c:v>Boursin Classique Fromage Frais A Tartiner Truffe Boite 1X150Gr 1P</c:v>
                </c:pt>
                <c:pt idx="75">
                  <c:v>La Vache Qui Rit Nature Fromage Fondu Boite Ronde 1X512Gr 24+8P</c:v>
                </c:pt>
                <c:pt idx="76">
                  <c:v>Mini Babybel Rouge Filet St Paulin Ferme Sachet 1X40Gr 1P</c:v>
                </c:pt>
                <c:pt idx="77">
                  <c:v>Mini Babybel Bio St Paulin Ferme Filet 1X100Gr 5P</c:v>
                </c:pt>
                <c:pt idx="78">
                  <c:v>Kiri Delicieusement Fouette Fromage Frais A Tartiner 1X210Gr 1P</c:v>
                </c:pt>
                <c:pt idx="79">
                  <c:v>Limiano Queijo Flamengo Tranche Sachet 1X200Gr 1P</c:v>
                </c:pt>
                <c:pt idx="80">
                  <c:v>Limiano Queijo Flamengo Bloc 1X600Gr 1P</c:v>
                </c:pt>
                <c:pt idx="81">
                  <c:v>La Vache Qui Rit Nature Fromage Fondu Boite Ronde 1X128Gr 8P</c:v>
                </c:pt>
                <c:pt idx="82">
                  <c:v>Toastinette Fromage Fondu Tranche A Chaud Sachet 1X200Gr 10P</c:v>
                </c:pt>
                <c:pt idx="83">
                  <c:v>Apericube Carrement Toque Fromage Fondu Cube Assortis 1X250Gr 48P</c:v>
                </c:pt>
                <c:pt idx="84">
                  <c:v>Toastinette Fromage Fondu Tranche A Chaud Sachet 1X340Gr 20P</c:v>
                </c:pt>
                <c:pt idx="85">
                  <c:v>Toastinette Cheddar Fondu Tranche A Chaud Sachet 1X340Gr 20P</c:v>
                </c:pt>
              </c:strCache>
            </c:strRef>
          </c:cat>
          <c:val>
            <c:numRef>
              <c:f>Sheet1!$C$2:$C$87</c:f>
              <c:numCache>
                <c:formatCode>General</c:formatCode>
                <c:ptCount val="86"/>
                <c:pt idx="0">
                  <c:v>0.09106584399616002</c:v>
                </c:pt>
                <c:pt idx="1">
                  <c:v>0.15984766270992573</c:v>
                </c:pt>
                <c:pt idx="2">
                  <c:v>0.2162442840148831</c:v>
                </c:pt>
                <c:pt idx="3">
                  <c:v>0.26433039271872083</c:v>
                </c:pt>
                <c:pt idx="4">
                  <c:v>0.3093196322157372</c:v>
                </c:pt>
                <c:pt idx="5">
                  <c:v>0.3501310821247198</c:v>
                </c:pt>
                <c:pt idx="6">
                  <c:v>0.38565218483451075</c:v>
                </c:pt>
                <c:pt idx="7">
                  <c:v>0.41982850387722676</c:v>
                </c:pt>
                <c:pt idx="8">
                  <c:v>0.45144908216697593</c:v>
                </c:pt>
                <c:pt idx="9">
                  <c:v>0.4781887572343158</c:v>
                </c:pt>
                <c:pt idx="10">
                  <c:v>0.5031630089598172</c:v>
                </c:pt>
                <c:pt idx="11">
                  <c:v>0.5278836135882927</c:v>
                </c:pt>
                <c:pt idx="12">
                  <c:v>0.551495789190884</c:v>
                </c:pt>
                <c:pt idx="13">
                  <c:v>0.5747006446122218</c:v>
                </c:pt>
                <c:pt idx="14">
                  <c:v>0.5971372627724971</c:v>
                </c:pt>
                <c:pt idx="15">
                  <c:v>0.6192044869794306</c:v>
                </c:pt>
                <c:pt idx="16">
                  <c:v>0.6399848284103203</c:v>
                </c:pt>
                <c:pt idx="17">
                  <c:v>0.6598765994240047</c:v>
                </c:pt>
                <c:pt idx="18">
                  <c:v>0.6787056579414189</c:v>
                </c:pt>
                <c:pt idx="19">
                  <c:v>0.697192309355572</c:v>
                </c:pt>
                <c:pt idx="20">
                  <c:v>0.7144513977998284</c:v>
                </c:pt>
                <c:pt idx="21">
                  <c:v>0.730591960035148</c:v>
                </c:pt>
                <c:pt idx="22">
                  <c:v>0.7463811805791202</c:v>
                </c:pt>
                <c:pt idx="23">
                  <c:v>0.7616564883765952</c:v>
                </c:pt>
                <c:pt idx="24">
                  <c:v>0.7759990929196062</c:v>
                </c:pt>
                <c:pt idx="25">
                  <c:v>0.789763521592794</c:v>
                </c:pt>
                <c:pt idx="26">
                  <c:v>0.8022324899192032</c:v>
                </c:pt>
                <c:pt idx="27">
                  <c:v>0.8144945346502184</c:v>
                </c:pt>
                <c:pt idx="28">
                  <c:v>0.8267138746133822</c:v>
                </c:pt>
                <c:pt idx="29">
                  <c:v>0.8381575898025884</c:v>
                </c:pt>
                <c:pt idx="30">
                  <c:v>0.8490488892970481</c:v>
                </c:pt>
                <c:pt idx="31">
                  <c:v>0.8590565159200262</c:v>
                </c:pt>
                <c:pt idx="32">
                  <c:v>0.8688885632402411</c:v>
                </c:pt>
                <c:pt idx="33">
                  <c:v>0.8785549453549241</c:v>
                </c:pt>
                <c:pt idx="34">
                  <c:v>0.8878035713965313</c:v>
                </c:pt>
                <c:pt idx="35">
                  <c:v>0.8957364969537998</c:v>
                </c:pt>
                <c:pt idx="36">
                  <c:v>0.9034279597754591</c:v>
                </c:pt>
                <c:pt idx="37">
                  <c:v>0.9101241497631766</c:v>
                </c:pt>
                <c:pt idx="38">
                  <c:v>0.9166136175499037</c:v>
                </c:pt>
                <c:pt idx="39">
                  <c:v>0.9228343153507537</c:v>
                </c:pt>
                <c:pt idx="40">
                  <c:v>0.9289361446820323</c:v>
                </c:pt>
                <c:pt idx="41">
                  <c:v>0.9349505963050277</c:v>
                </c:pt>
                <c:pt idx="42">
                  <c:v>0.9403160544624659</c:v>
                </c:pt>
                <c:pt idx="43">
                  <c:v>0.9450204812615871</c:v>
                </c:pt>
                <c:pt idx="44">
                  <c:v>0.9495322468508047</c:v>
                </c:pt>
                <c:pt idx="45">
                  <c:v>0.9538292344628885</c:v>
                </c:pt>
                <c:pt idx="46">
                  <c:v>0.9580189887093535</c:v>
                </c:pt>
                <c:pt idx="47">
                  <c:v>0.9619332079488392</c:v>
                </c:pt>
                <c:pt idx="48">
                  <c:v>0.9653191422048445</c:v>
                </c:pt>
                <c:pt idx="49">
                  <c:v>0.9684263923777416</c:v>
                </c:pt>
                <c:pt idx="50">
                  <c:v>0.9714786069527133</c:v>
                </c:pt>
                <c:pt idx="51">
                  <c:v>0.9740602726579963</c:v>
                </c:pt>
                <c:pt idx="52">
                  <c:v>0.9765735100375154</c:v>
                </c:pt>
                <c:pt idx="53">
                  <c:v>0.9790842482955717</c:v>
                </c:pt>
                <c:pt idx="54">
                  <c:v>0.9815647133130526</c:v>
                </c:pt>
                <c:pt idx="55">
                  <c:v>0.983577430673913</c:v>
                </c:pt>
                <c:pt idx="56">
                  <c:v>0.9852786275095895</c:v>
                </c:pt>
                <c:pt idx="57">
                  <c:v>0.9865598895509151</c:v>
                </c:pt>
                <c:pt idx="58">
                  <c:v>0.9878120592552135</c:v>
                </c:pt>
                <c:pt idx="59">
                  <c:v>0.9888921099787742</c:v>
                </c:pt>
                <c:pt idx="60">
                  <c:v>0.9899234507195401</c:v>
                </c:pt>
                <c:pt idx="61">
                  <c:v>0.9908986481931609</c:v>
                </c:pt>
                <c:pt idx="62">
                  <c:v>0.9917111281429748</c:v>
                </c:pt>
                <c:pt idx="63">
                  <c:v>0.9925184084554598</c:v>
                </c:pt>
                <c:pt idx="64">
                  <c:v>0.9932659570186994</c:v>
                </c:pt>
                <c:pt idx="65">
                  <c:v>0.993980010030906</c:v>
                </c:pt>
                <c:pt idx="66">
                  <c:v>0.9946560635808723</c:v>
                </c:pt>
                <c:pt idx="67">
                  <c:v>0.9952967998758825</c:v>
                </c:pt>
                <c:pt idx="68">
                  <c:v>0.995920701429611</c:v>
                </c:pt>
                <c:pt idx="69">
                  <c:v>0.9965241248342112</c:v>
                </c:pt>
                <c:pt idx="70">
                  <c:v>0.9971066306837116</c:v>
                </c:pt>
                <c:pt idx="71">
                  <c:v>0.9976388245494798</c:v>
                </c:pt>
                <c:pt idx="72">
                  <c:v>0.9980808761110609</c:v>
                </c:pt>
                <c:pt idx="73">
                  <c:v>0.9985020467347064</c:v>
                </c:pt>
                <c:pt idx="74">
                  <c:v>0.9989097330876028</c:v>
                </c:pt>
                <c:pt idx="75">
                  <c:v>0.9991899642459022</c:v>
                </c:pt>
                <c:pt idx="76">
                  <c:v>0.9994456985212927</c:v>
                </c:pt>
                <c:pt idx="77">
                  <c:v>0.9996675710740074</c:v>
                </c:pt>
                <c:pt idx="78">
                  <c:v>0.9998314969642357</c:v>
                </c:pt>
                <c:pt idx="79">
                  <c:v>0.9999220329029388</c:v>
                </c:pt>
                <c:pt idx="80">
                  <c:v>0.9999770685008643</c:v>
                </c:pt>
                <c:pt idx="81">
                  <c:v>0.9999867537408186</c:v>
                </c:pt>
                <c:pt idx="82">
                  <c:v>0.9999948552884175</c:v>
                </c:pt>
                <c:pt idx="83">
                  <c:v>0.9999973269470069</c:v>
                </c:pt>
                <c:pt idx="84">
                  <c:v>0.9999982423761141</c:v>
                </c:pt>
                <c:pt idx="85">
                  <c:v>0.99999888317648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87</c:f>
              <c:strCache>
                <c:ptCount val="86"/>
                <c:pt idx="0">
                  <c:v>Mini Babybel Rouge Filet St Paulin Ferme 1X264Gr 12P</c:v>
                </c:pt>
                <c:pt idx="1">
                  <c:v>La Vache Qui Rit Nature Fromage Fondu Boite Ronde 1X512Gr 32P</c:v>
                </c:pt>
                <c:pt idx="2">
                  <c:v>La Vache Qui Rit Nature Fromage Fondu Boite Ronde 1X192Gr 12P</c:v>
                </c:pt>
                <c:pt idx="3">
                  <c:v>Mini Babybel Rouge Filet St Paulin Ferme 1X132Gr 6P</c:v>
                </c:pt>
                <c:pt idx="4">
                  <c:v>La Vache Qui Rit Nature Fromage Fondu Boite Ronde 1X384Gr 24P</c:v>
                </c:pt>
                <c:pt idx="5">
                  <c:v>Kiri Creme Fromage Blanc Frais Carre 1X216Gr 12P</c:v>
                </c:pt>
                <c:pt idx="6">
                  <c:v>Apericube Edition Limitee Best Of Foot Fromage Fondu Cube Assortis 1X250Gr 48P</c:v>
                </c:pt>
                <c:pt idx="7">
                  <c:v>Kiri Creme Fromage Blanc Frais Carre 1X432Gr 24P</c:v>
                </c:pt>
                <c:pt idx="8">
                  <c:v>Apericube Cocktail Fromage Fondu Cube Assortis 1X250Gr 48P</c:v>
                </c:pt>
                <c:pt idx="9">
                  <c:v>Apericube Long Drink Fromage Fondu Cube Assortis 1X250Gr 48P</c:v>
                </c:pt>
                <c:pt idx="10">
                  <c:v>Boursin Classique Fromage Frais A Tartiner Afh Boite 1X250Gr 1P</c:v>
                </c:pt>
                <c:pt idx="11">
                  <c:v>Boursin Classique Fromage Frais A Tartiner Afh 1X160Gr 10P</c:v>
                </c:pt>
                <c:pt idx="12">
                  <c:v>Kiri Gouter Fromage Blanc Dips Boite 1X280Gr 8P</c:v>
                </c:pt>
                <c:pt idx="13">
                  <c:v>Kiri Creme Fromage Blanc Frais Carre 1X144Gr 8P</c:v>
                </c:pt>
                <c:pt idx="14">
                  <c:v>Boursin Classique Fromage Frais A Tartiner Afh Boite 1X150Gr 1P</c:v>
                </c:pt>
                <c:pt idx="15">
                  <c:v>Apericube Tonic Fromage Fondu Cube Assortis 1X250Gr 48P</c:v>
                </c:pt>
                <c:pt idx="16">
                  <c:v>Port Salut St Paulin 1X320Gr 1P</c:v>
                </c:pt>
                <c:pt idx="17">
                  <c:v>Boursin Aperitif Roules Fromage Frais Roule Afh Et Jambon Fume Boite 1X100Gr 20P</c:v>
                </c:pt>
                <c:pt idx="18">
                  <c:v>Apericube Incontournable Fromage Fondu Cube Assortis 1X250Gr 48P</c:v>
                </c:pt>
                <c:pt idx="19">
                  <c:v>Kiri Gouter Fromage Blanc Dips Boite 1X175Gr 5P</c:v>
                </c:pt>
                <c:pt idx="20">
                  <c:v>Mini Babybel Rouge Filet St Paulin Ferme 1X440Gr 20P</c:v>
                </c:pt>
                <c:pt idx="21">
                  <c:v>Apericube Edition Limitee Saison Fromage Fondu Cube Assortis 1X250Gr 48P</c:v>
                </c:pt>
                <c:pt idx="22">
                  <c:v>Babybel St Paulin 1X200Gr 1P</c:v>
                </c:pt>
                <c:pt idx="23">
                  <c:v>Apericube Nature Fromage Fondu Cube 1X125Gr 24P</c:v>
                </c:pt>
                <c:pt idx="24">
                  <c:v>Cousteron St Paulin 1X320Gr 1P</c:v>
                </c:pt>
                <c:pt idx="25">
                  <c:v>Apericube Edition Voyage Fromage Fondu Cube Assortis 1X250Gr 48P</c:v>
                </c:pt>
                <c:pt idx="26">
                  <c:v>La Vache Qui Rit Pik Et Croq' Fromage Fondu Dips Boite 1X175Gr 5P</c:v>
                </c:pt>
                <c:pt idx="27">
                  <c:v>Boursin Aperitif Roules Fromage Frais Roule Ciboulette &amp; Echalote Jambon Fume Boite 1X100Gr 20P</c:v>
                </c:pt>
                <c:pt idx="28">
                  <c:v>Apericube Campagne Fromage Fondu Cube Assortis 1X125Gr 24P</c:v>
                </c:pt>
                <c:pt idx="29">
                  <c:v>La Vache Qui Rit Pik Et Croq' Fromage Fondu Dips Boite 1X280Gr 8P</c:v>
                </c:pt>
                <c:pt idx="30">
                  <c:v>Boursin Onctueux Fromage Frais A Tartiner Afh 1X125Gr 1P</c:v>
                </c:pt>
                <c:pt idx="31">
                  <c:v>Boursin Salade &amp; Aperitif Fromage Frais Des Afh 1X120Gr 1P</c:v>
                </c:pt>
                <c:pt idx="32">
                  <c:v>Boursin Classique Fromage Frais A Tartiner Afh Boite 1X96Gr 6P</c:v>
                </c:pt>
                <c:pt idx="33">
                  <c:v>Apericube Saveurs De L'Authentique Fromage Fondu Cube Assortis 1X250Gr 48P</c:v>
                </c:pt>
                <c:pt idx="34">
                  <c:v>Boursin Classique Fromage Frais A Tartiner Figue Et 3 Noix Boite 1X150Gr 1P</c:v>
                </c:pt>
                <c:pt idx="35">
                  <c:v>La Vache Qui Rit Allegee Fromage Fondu Boite Ronde Allege 1X267Gr 16P</c:v>
                </c:pt>
                <c:pt idx="36">
                  <c:v>Boursin Classique Fromage Frais A Tartiner Ciboulette &amp; Echalote Boite 1X150Gr 1P</c:v>
                </c:pt>
                <c:pt idx="37">
                  <c:v>Boursin Classique Fromage Frais A Tartiner Afh 1X256Gr 16P</c:v>
                </c:pt>
                <c:pt idx="38">
                  <c:v>Boursin Cuisine Sauce Fromage Afh 1X240Gr 1P</c:v>
                </c:pt>
                <c:pt idx="39">
                  <c:v>Boursin Classique Fromage Frais A Tartiner Poivre Boite 1X150Gr 1P</c:v>
                </c:pt>
                <c:pt idx="40">
                  <c:v>Babybel Mini Rolls St Paulin Ferme Sachet 1X85Gr 5P</c:v>
                </c:pt>
                <c:pt idx="41">
                  <c:v>Boursin Aperitif Roules Fromage Frais Roule Basilic &amp; Jambon Fume Tomate Boite 1X100Gr 20P</c:v>
                </c:pt>
                <c:pt idx="42">
                  <c:v>Mini Babybel Aros St Paulin Ferme Assortis Filet 1X180Gr 9P</c:v>
                </c:pt>
                <c:pt idx="43">
                  <c:v>Kiri Delicieusement Fouette Fromage Frais A Tartiner 1X125Gr 1P</c:v>
                </c:pt>
                <c:pt idx="44">
                  <c:v>Apericube Long Drink Fromage Fondu Cube Assortis 1X125Gr 24P</c:v>
                </c:pt>
                <c:pt idx="45">
                  <c:v>Boursin Classique Fromage Frais A Tartiner Ciboulette &amp; Echalote 1X160Gr 10P</c:v>
                </c:pt>
                <c:pt idx="46">
                  <c:v>La Vache Qui Rit Aro Fromage Fondu Boite Ronde Jambon 1X133Gr 8P</c:v>
                </c:pt>
                <c:pt idx="47">
                  <c:v>Kiri Bio Fromage Blanc Frais Carre 1X144Gr 8P</c:v>
                </c:pt>
                <c:pt idx="48">
                  <c:v>Kiri Chevre Fromage Blanc Frais Carre 1X144Gr 8P</c:v>
                </c:pt>
                <c:pt idx="49">
                  <c:v>Mini Babybel Aros Soft Cheese Enfant 180G</c:v>
                </c:pt>
                <c:pt idx="50">
                  <c:v>Apericube Soiree Match Aperitif 250G</c:v>
                </c:pt>
                <c:pt idx="51">
                  <c:v>Mini Babybel Rouge Filet St Paulin Ferme 1X396Gr 12+6P</c:v>
                </c:pt>
                <c:pt idx="52">
                  <c:v>Boursin Salade &amp; Aperitif Fromage Frais Des Ciboulette Echalote 1X120Gr 1P</c:v>
                </c:pt>
                <c:pt idx="53">
                  <c:v>Kiri Creme Fromage Blanc Frais Carre 1X432Gr 18+6P</c:v>
                </c:pt>
                <c:pt idx="54">
                  <c:v>Kiri Delicieusement Fouette Fromage Frais A Tartiner 1X160Gr 10P</c:v>
                </c:pt>
                <c:pt idx="55">
                  <c:v>Mini Babybel Aros St Paulin Ferme Raclette Filet 1X132Gr 6P</c:v>
                </c:pt>
                <c:pt idx="56">
                  <c:v>Boursin Salade &amp; Aperitif Fromage Frais Des Figue Noix 1X120Gr 1P</c:v>
                </c:pt>
                <c:pt idx="57">
                  <c:v>Apericube Hot Chalenge Aperitif 250G</c:v>
                </c:pt>
                <c:pt idx="58">
                  <c:v>Nurishh Les Tranches Vegetales Cheddar Vegetal Tranche Boite 1X160Gr 8P</c:v>
                </c:pt>
                <c:pt idx="59">
                  <c:v>Apericube Best Of Des Saveurs Fromage Fondu Cube Assortis 1X125Gr 24P</c:v>
                </c:pt>
                <c:pt idx="60">
                  <c:v>Nurishh Le Rape Vegetal Specialite Vegetale Sachet 1X150Gr 1P</c:v>
                </c:pt>
                <c:pt idx="61">
                  <c:v>Boursin Salade &amp; Aperitif Fromage Frais Des Citron Romarin 1X120Gr 1P</c:v>
                </c:pt>
                <c:pt idx="62">
                  <c:v>Boursin Classique Fromage Frais A Tartiner Afh Boite 1X80Gr 1P</c:v>
                </c:pt>
                <c:pt idx="63">
                  <c:v>Boursin Salade &amp; Aperitif Fromage Frais Des Noisette Et 3 Noix 1X120Gr 1P</c:v>
                </c:pt>
                <c:pt idx="64">
                  <c:v>Mini Babybel Aros Soft Cheese Enfant 110G</c:v>
                </c:pt>
                <c:pt idx="65">
                  <c:v>Nurishh Le Rape Vegetal Specialite Vegetale Emmental Sachet 1X150Gr 1P</c:v>
                </c:pt>
                <c:pt idx="66">
                  <c:v>Apericube Fromages Du Monde Aperitif 250G</c:v>
                </c:pt>
                <c:pt idx="67">
                  <c:v>Nurishh Le Coeur Fleuri Vegetal Camembert Boite 1X140Gr 1P</c:v>
                </c:pt>
                <c:pt idx="68">
                  <c:v>Nurishh Le Palet Vegetal Specialite Vegetale Ovale Saveur Chevre Boite 1X140Gr 1P</c:v>
                </c:pt>
                <c:pt idx="69">
                  <c:v>Nurishh Des Vegetaux Feta Vegetale Sachet 1X150Gr 1P</c:v>
                </c:pt>
                <c:pt idx="70">
                  <c:v>Apericube Montagne Aperitif 250G</c:v>
                </c:pt>
                <c:pt idx="71">
                  <c:v>Boursin Aperitif Roules Fromage Frais Roule Jambon Fume &amp; Trio De Noix Boite 1X100Gr 20P</c:v>
                </c:pt>
                <c:pt idx="72">
                  <c:v>Boursin Aperitif Roules Aperitif 100G</c:v>
                </c:pt>
                <c:pt idx="73">
                  <c:v>Boursin Salade &amp; Aperitif Soft Cheese Salade 120G</c:v>
                </c:pt>
                <c:pt idx="74">
                  <c:v>Boursin Classique Fromage Frais A Tartiner Truffe Boite 1X150Gr 1P</c:v>
                </c:pt>
                <c:pt idx="75">
                  <c:v>La Vache Qui Rit Nature Fromage Fondu Boite Ronde 1X512Gr 24+8P</c:v>
                </c:pt>
                <c:pt idx="76">
                  <c:v>Mini Babybel Rouge Filet St Paulin Ferme Sachet 1X40Gr 1P</c:v>
                </c:pt>
                <c:pt idx="77">
                  <c:v>Mini Babybel Bio St Paulin Ferme Filet 1X100Gr 5P</c:v>
                </c:pt>
                <c:pt idx="78">
                  <c:v>Kiri Delicieusement Fouette Fromage Frais A Tartiner 1X210Gr 1P</c:v>
                </c:pt>
                <c:pt idx="79">
                  <c:v>Limiano Queijo Flamengo Tranche Sachet 1X200Gr 1P</c:v>
                </c:pt>
                <c:pt idx="80">
                  <c:v>Limiano Queijo Flamengo Bloc 1X600Gr 1P</c:v>
                </c:pt>
                <c:pt idx="81">
                  <c:v>La Vache Qui Rit Nature Fromage Fondu Boite Ronde 1X128Gr 8P</c:v>
                </c:pt>
                <c:pt idx="82">
                  <c:v>Toastinette Fromage Fondu Tranche A Chaud Sachet 1X200Gr 10P</c:v>
                </c:pt>
                <c:pt idx="83">
                  <c:v>Apericube Carrement Toque Fromage Fondu Cube Assortis 1X250Gr 48P</c:v>
                </c:pt>
                <c:pt idx="84">
                  <c:v>Toastinette Fromage Fondu Tranche A Chaud Sachet 1X340Gr 20P</c:v>
                </c:pt>
                <c:pt idx="85">
                  <c:v>Toastinette Cheddar Fondu Tranche A Chaud Sachet 1X340Gr 20P</c:v>
                </c:pt>
              </c:strCache>
            </c:strRef>
          </c:cat>
          <c:val>
            <c:numRef>
              <c:f>Sheet1!$D$2:$D$87</c:f>
              <c:numCache>
                <c:formatCode>General</c:formatCode>
                <c:ptCount val="86"/>
                <c:pt idx="0">
                  <c:v>100891.33874239352</c:v>
                </c:pt>
                <c:pt idx="1">
                  <c:v>79341.23548046463</c:v>
                </c:pt>
                <c:pt idx="2">
                  <c:v>61730.22044088176</c:v>
                </c:pt>
                <c:pt idx="3">
                  <c:v>52633.75751503006</c:v>
                </c:pt>
                <c:pt idx="4">
                  <c:v>52226.90754516472</c:v>
                </c:pt>
                <c:pt idx="5">
                  <c:v>45724.89230769231</c:v>
                </c:pt>
                <c:pt idx="6">
                  <c:v>40588.577405857744</c:v>
                </c:pt>
                <c:pt idx="7">
                  <c:v>43360.813008130084</c:v>
                </c:pt>
                <c:pt idx="8">
                  <c:v>35831.7531120332</c:v>
                </c:pt>
                <c:pt idx="9">
                  <c:v>31240.631016042782</c:v>
                </c:pt>
                <c:pt idx="10">
                  <c:v>27838.23469387755</c:v>
                </c:pt>
                <c:pt idx="11">
                  <c:v>27527.410805300715</c:v>
                </c:pt>
                <c:pt idx="12">
                  <c:v>27675.493562231757</c:v>
                </c:pt>
                <c:pt idx="13">
                  <c:v>25786.988809766022</c:v>
                </c:pt>
                <c:pt idx="14">
                  <c:v>24558.517034068136</c:v>
                </c:pt>
                <c:pt idx="15">
                  <c:v>25809.293361884367</c:v>
                </c:pt>
                <c:pt idx="16">
                  <c:v>23378.074150360455</c:v>
                </c:pt>
                <c:pt idx="17">
                  <c:v>22494.254658385096</c:v>
                </c:pt>
                <c:pt idx="18">
                  <c:v>23778.682080924857</c:v>
                </c:pt>
                <c:pt idx="19">
                  <c:v>20585.647298674823</c:v>
                </c:pt>
                <c:pt idx="20">
                  <c:v>22128.57981220657</c:v>
                </c:pt>
                <c:pt idx="21">
                  <c:v>19945.35067873303</c:v>
                </c:pt>
                <c:pt idx="22">
                  <c:v>17528.343495934958</c:v>
                </c:pt>
                <c:pt idx="23">
                  <c:v>17751.59574468085</c:v>
                </c:pt>
                <c:pt idx="24">
                  <c:v>16388.734309623433</c:v>
                </c:pt>
                <c:pt idx="25">
                  <c:v>17322.6267281106</c:v>
                </c:pt>
                <c:pt idx="26">
                  <c:v>14262.722513089006</c:v>
                </c:pt>
                <c:pt idx="27">
                  <c:v>14703.468715697034</c:v>
                </c:pt>
                <c:pt idx="28">
                  <c:v>14508.923913043478</c:v>
                </c:pt>
                <c:pt idx="29">
                  <c:v>14741.662735849057</c:v>
                </c:pt>
                <c:pt idx="30">
                  <c:v>12471.153039832287</c:v>
                </c:pt>
                <c:pt idx="31">
                  <c:v>11293.564049586777</c:v>
                </c:pt>
                <c:pt idx="32">
                  <c:v>11438.093716719915</c:v>
                </c:pt>
                <c:pt idx="33">
                  <c:v>12630.86124401914</c:v>
                </c:pt>
                <c:pt idx="34">
                  <c:v>10309.234693877552</c:v>
                </c:pt>
                <c:pt idx="35">
                  <c:v>10304.161712247325</c:v>
                </c:pt>
                <c:pt idx="36">
                  <c:v>8635.179856115108</c:v>
                </c:pt>
                <c:pt idx="37">
                  <c:v>8505.593023255815</c:v>
                </c:pt>
                <c:pt idx="38">
                  <c:v>8120.263459335624</c:v>
                </c:pt>
                <c:pt idx="39">
                  <c:v>7229.13829787234</c:v>
                </c:pt>
                <c:pt idx="40">
                  <c:v>8491.133757961783</c:v>
                </c:pt>
                <c:pt idx="41">
                  <c:v>7525.876288659794</c:v>
                </c:pt>
                <c:pt idx="42">
                  <c:v>7235.975308641975</c:v>
                </c:pt>
                <c:pt idx="43">
                  <c:v>6139.832735961768</c:v>
                </c:pt>
                <c:pt idx="44">
                  <c:v>6425.788787483702</c:v>
                </c:pt>
                <c:pt idx="45">
                  <c:v>5809.356435643564</c:v>
                </c:pt>
                <c:pt idx="46">
                  <c:v>6740.530191458026</c:v>
                </c:pt>
                <c:pt idx="47">
                  <c:v>7090.928689883914</c:v>
                </c:pt>
                <c:pt idx="48">
                  <c:v>5504.077380952381</c:v>
                </c:pt>
                <c:pt idx="49">
                  <c:v>4780.718309859155</c:v>
                </c:pt>
                <c:pt idx="50">
                  <c:v>4347.053455019556</c:v>
                </c:pt>
                <c:pt idx="51">
                  <c:v>3219.3721461187215</c:v>
                </c:pt>
                <c:pt idx="52">
                  <c:v>3335.868772782503</c:v>
                </c:pt>
                <c:pt idx="53">
                  <c:v>3357.02570379437</c:v>
                </c:pt>
                <c:pt idx="54">
                  <c:v>3027.5083798882683</c:v>
                </c:pt>
                <c:pt idx="55">
                  <c:v>2975.182679296346</c:v>
                </c:pt>
                <c:pt idx="56">
                  <c:v>2199.242603550296</c:v>
                </c:pt>
                <c:pt idx="57">
                  <c:v>2793.672654690619</c:v>
                </c:pt>
                <c:pt idx="58">
                  <c:v>1838.5080645161288</c:v>
                </c:pt>
                <c:pt idx="59">
                  <c:v>1768.8605697151424</c:v>
                </c:pt>
                <c:pt idx="60">
                  <c:v>3531.7241379310344</c:v>
                </c:pt>
                <c:pt idx="61">
                  <c:v>1614.0757575757575</c:v>
                </c:pt>
                <c:pt idx="62">
                  <c:v>2730.892307692308</c:v>
                </c:pt>
                <c:pt idx="63">
                  <c:v>1098.206724782067</c:v>
                </c:pt>
                <c:pt idx="64">
                  <c:v>1395.91452991453</c:v>
                </c:pt>
                <c:pt idx="65">
                  <c:v>3070.944881889764</c:v>
                </c:pt>
                <c:pt idx="66">
                  <c:v>2600.387323943662</c:v>
                </c:pt>
                <c:pt idx="67">
                  <c:v>3255.4883720930234</c:v>
                </c:pt>
                <c:pt idx="68">
                  <c:v>3230.047393364929</c:v>
                </c:pt>
                <c:pt idx="69">
                  <c:v>1017.2376543209876</c:v>
                </c:pt>
                <c:pt idx="70">
                  <c:v>2348.0442804428044</c:v>
                </c:pt>
                <c:pt idx="71">
                  <c:v>775.1466666666666</c:v>
                </c:pt>
                <c:pt idx="72">
                  <c:v>730.5446293494704</c:v>
                </c:pt>
                <c:pt idx="73">
                  <c:v>1111.304347826087</c:v>
                </c:pt>
                <c:pt idx="74">
                  <c:v>648.2532751091703</c:v>
                </c:pt>
                <c:pt idx="75">
                  <c:v>1325.1948051948052</c:v>
                </c:pt>
                <c:pt idx="76">
                  <c:v>2450.5263157894738</c:v>
                </c:pt>
                <c:pt idx="77">
                  <c:v>776.8269230769231</c:v>
                </c:pt>
                <c:pt idx="78">
                  <c:v>481.37096774193543</c:v>
                </c:pt>
                <c:pt idx="79">
                  <c:v>9890.0</c:v>
                </c:pt>
                <c:pt idx="80">
                  <c:v>5010.0</c:v>
                </c:pt>
                <c:pt idx="81">
                  <c:v>94.46428571428571</c:v>
                </c:pt>
                <c:pt idx="82">
                  <c:v>3580.0</c:v>
                </c:pt>
                <c:pt idx="83">
                  <c:v>1070.0</c:v>
                </c:pt>
                <c:pt idx="84">
                  <c:v>1000.0</c:v>
                </c:pt>
                <c:pt idx="85">
                  <c:v>700.0</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123</c:f>
              <c:strCache>
                <c:ptCount val="122"/>
                <c:pt idx="0">
                  <c:v>La Vache Qui Rit Nature Fromage Fondu Boite Ronde 1X512Gr 32P</c:v>
                </c:pt>
                <c:pt idx="1">
                  <c:v>Mini Babybel Rouge Filet St Paulin Ferme 1X264Gr 12P</c:v>
                </c:pt>
                <c:pt idx="2">
                  <c:v>Kiri Creme Fromage Blanc Frais Carre 1X432Gr 24P</c:v>
                </c:pt>
                <c:pt idx="3">
                  <c:v>La Vache Qui Rit Nature Fromage Fondu Boite Ronde 1X384Gr 24P</c:v>
                </c:pt>
                <c:pt idx="4">
                  <c:v>Mini Babybel Rouge Filet St Paulin Ferme 1X132Gr 6P</c:v>
                </c:pt>
                <c:pt idx="5">
                  <c:v>Kiri Creme Fromage Blanc Frais Carre 1X216Gr 12P</c:v>
                </c:pt>
                <c:pt idx="6">
                  <c:v>La Vache Qui Rit Nature Fromage Fondu Boite Ronde 1X192Gr 12P</c:v>
                </c:pt>
                <c:pt idx="7">
                  <c:v>Kiri Gouter Fromage Blanc Dips Boite 1X175Gr 5P</c:v>
                </c:pt>
                <c:pt idx="8">
                  <c:v>Apericube Edition Limitee Best Of Foot Fromage Fondu Cube Assortis 1X250Gr 48P</c:v>
                </c:pt>
                <c:pt idx="9">
                  <c:v>Boursin Classique Fromage Frais A Tartiner Afh 1X160Gr 10P</c:v>
                </c:pt>
                <c:pt idx="10">
                  <c:v>Apericube Long Drink Fromage Fondu Cube Assortis 1X250Gr 48P</c:v>
                </c:pt>
                <c:pt idx="11">
                  <c:v>Apericube Cocktail Fromage Fondu Cube Assortis 1X250Gr 48P</c:v>
                </c:pt>
                <c:pt idx="12">
                  <c:v>Kiri Creme Fromage Blanc Frais Carre 1X144Gr 8P</c:v>
                </c:pt>
                <c:pt idx="13">
                  <c:v>Boursin Classique Fromage Frais A Tartiner Afh Boite 1X250Gr 1P</c:v>
                </c:pt>
                <c:pt idx="14">
                  <c:v>Kiri Gouter Fromage Blanc Dips Boite 1X280Gr 8P</c:v>
                </c:pt>
                <c:pt idx="15">
                  <c:v>Mini Babybel Rouge Filet Soft Cheese Enfant 484G</c:v>
                </c:pt>
                <c:pt idx="16">
                  <c:v>Mini Babybel Rouge Filet St Paulin Ferme 1X440Gr 20P</c:v>
                </c:pt>
                <c:pt idx="17">
                  <c:v>Apericube Incontournable Fromage Fondu Cube Assortis 1X250Gr 48P</c:v>
                </c:pt>
                <c:pt idx="18">
                  <c:v>Boursin Classique Fromage Frais A Tartiner Afh Boite 1X150Gr 1P</c:v>
                </c:pt>
                <c:pt idx="19">
                  <c:v>La Vache Qui Rit Nature Fromage Fondu Boite Ronde 1X512Gr 24+8P</c:v>
                </c:pt>
                <c:pt idx="20">
                  <c:v>Apericube Tonic Fromage Fondu Cube Assortis 1X250Gr 48P</c:v>
                </c:pt>
                <c:pt idx="21">
                  <c:v>Kiri Creme Fromage Blanc Frais Carre 1X432Gr 18+6P</c:v>
                </c:pt>
                <c:pt idx="22">
                  <c:v>Apericube Edition Limitee Saison Fromage Fondu Cube Assortis 1X250Gr 48P</c:v>
                </c:pt>
                <c:pt idx="23">
                  <c:v>Boursin Aperitif Roules Fromage Frais Roule Afh Et Jambon Fume Boite 1X100Gr 20P</c:v>
                </c:pt>
                <c:pt idx="24">
                  <c:v>La Vache Qui Rit Nature Fromage Fondu Boite Ronde 1X128Gr 8P</c:v>
                </c:pt>
                <c:pt idx="25">
                  <c:v>Apericube Carrement Toque Fromage Fondu Cube Assortis 1X250Gr 48P</c:v>
                </c:pt>
                <c:pt idx="26">
                  <c:v>Mini Babybel Rouge Filet Soft Cheese Enfant 352G</c:v>
                </c:pt>
                <c:pt idx="27">
                  <c:v>La Vache Qui Rit Pik Et Croq' Fromage Fondu Dips Boite 1X175Gr 5P</c:v>
                </c:pt>
                <c:pt idx="28">
                  <c:v>Apericube Nature Fromage Fondu Cube 1X125Gr 24P</c:v>
                </c:pt>
                <c:pt idx="29">
                  <c:v>Boursin Salade &amp; Aperitif Fromage Frais Des Afh 1X120Gr 1P</c:v>
                </c:pt>
                <c:pt idx="30">
                  <c:v>Mini Babybel Rouge Filet St Paulin Ferme 1X396Gr 12+6P</c:v>
                </c:pt>
                <c:pt idx="31">
                  <c:v>Apericube Edition Voyage Fromage Fondu Cube Assortis 1X250Gr 48P</c:v>
                </c:pt>
                <c:pt idx="32">
                  <c:v>La Vache Qui Rit Pik Et Croq' Fromage Fondu Dips Boite 1X280Gr 8P</c:v>
                </c:pt>
                <c:pt idx="33">
                  <c:v>Toastinette Fromage Fondu Tranche A Chaud Sachet 1X200Gr 10P</c:v>
                </c:pt>
                <c:pt idx="34">
                  <c:v>Apericube Campagne Fromage Fondu Cube Assortis 1X125Gr 24P</c:v>
                </c:pt>
                <c:pt idx="35">
                  <c:v>Toastinette Cheddar Fondu Tranche A Chaud Sachet 1X200Gr 10P</c:v>
                </c:pt>
                <c:pt idx="36">
                  <c:v>Port Salut St Paulin 1X320Gr 1P</c:v>
                </c:pt>
                <c:pt idx="37">
                  <c:v>Boursin Classique Fromage Frais A Tartiner Afh Boite 1X96Gr 6P</c:v>
                </c:pt>
                <c:pt idx="38">
                  <c:v>Boursin Aperitif Roules Fromage Frais Roule Ciboulette &amp; Echalote Jambon Fume Boite 1X100Gr 20P</c:v>
                </c:pt>
                <c:pt idx="39">
                  <c:v>Boursin Classique Fromage Frais A Tartiner Figue Et 3 Noix Boite 1X150Gr 1P</c:v>
                </c:pt>
                <c:pt idx="40">
                  <c:v>Kiri Delicieusement Fouette Fromage Frais A Tartiner 1X210Gr 1P</c:v>
                </c:pt>
                <c:pt idx="41">
                  <c:v>Boursin Classique Fromage Frais A Tartiner Ciboulette &amp; Echalote Boite 1X150Gr 1P</c:v>
                </c:pt>
                <c:pt idx="42">
                  <c:v>Apericube Best Of Des Saveurs Fromage Fondu Cube Assortis 1X125Gr 24P</c:v>
                </c:pt>
                <c:pt idx="43">
                  <c:v>Cousteron St Paulin 1X320Gr 1P</c:v>
                </c:pt>
                <c:pt idx="44">
                  <c:v>Mini Babybel Aros St Paulin Ferme Assortis Filet 1X180Gr 9P</c:v>
                </c:pt>
                <c:pt idx="45">
                  <c:v>Boursin Salade &amp; Aperitif Fromage Frais Des Ciboulette Echalote 1X120Gr 1P</c:v>
                </c:pt>
                <c:pt idx="46">
                  <c:v>Apericube Long Drink Fromage Fondu Cube Assortis 1X125Gr 24P</c:v>
                </c:pt>
                <c:pt idx="47">
                  <c:v>Babybel Mini Rolls St Paulin Ferme Sachet 1X85Gr 5P</c:v>
                </c:pt>
                <c:pt idx="48">
                  <c:v>La Vache Qui Rit Allegee Fromage Fondu Boite Ronde Allege 1X267Gr 16P</c:v>
                </c:pt>
                <c:pt idx="49">
                  <c:v>Babybel St Paulin 1X200Gr 1P</c:v>
                </c:pt>
                <c:pt idx="50">
                  <c:v>Boursin Onctueux Fromage Frais A Tartiner Afh 1X125Gr 1P</c:v>
                </c:pt>
                <c:pt idx="51">
                  <c:v>Apericube Charcut' Fromages Fromage Fondu Cube Assortis 1X250Gr 48P</c:v>
                </c:pt>
                <c:pt idx="52">
                  <c:v>Apericube Nature Fromage Fondu Cube 1X250Gr 48P</c:v>
                </c:pt>
                <c:pt idx="53">
                  <c:v>Kiri Delicieusement Fouette Fromage Frais A Tartiner 1X125Gr 1P</c:v>
                </c:pt>
                <c:pt idx="54">
                  <c:v>Babybel St Paulin 1X380Gr 1P</c:v>
                </c:pt>
                <c:pt idx="55">
                  <c:v>Boursin Cuisine Sauce Fromage Afh 1X240Gr 1P</c:v>
                </c:pt>
                <c:pt idx="56">
                  <c:v>Apericube Soiree Match Aperitif 250G</c:v>
                </c:pt>
                <c:pt idx="57">
                  <c:v>Apericube Selection Du Fromager Fromage Fondu Cube Assortis 1X250Gr 48P</c:v>
                </c:pt>
                <c:pt idx="58">
                  <c:v>Boursin Salade &amp; Aperitif Fromage Frais Des Figue Noix 1X120Gr 1P</c:v>
                </c:pt>
                <c:pt idx="59">
                  <c:v>Mini Babybel Aros Soft Cheese Enfant 180G</c:v>
                </c:pt>
                <c:pt idx="60">
                  <c:v>Kiri Bio Fromage Blanc Frais Carre 1X144Gr 8P</c:v>
                </c:pt>
                <c:pt idx="61">
                  <c:v>Apericube Sucre Sale Fromage Fondu Cube Assortis 1X250Gr 48P</c:v>
                </c:pt>
                <c:pt idx="62">
                  <c:v>Apericube Hot Chalenge Aperitif 250G</c:v>
                </c:pt>
                <c:pt idx="63">
                  <c:v>Boursin Classique Fromage Frais A Tartiner Afh 1X256Gr 16P</c:v>
                </c:pt>
                <c:pt idx="64">
                  <c:v>Kiri Delicieusement Fouette Fromage Frais A Tartiner 1X160Gr 10P</c:v>
                </c:pt>
                <c:pt idx="65">
                  <c:v>Boursin Classique Fromage Frais A Tartiner Afh Boite 1X80Gr 1P</c:v>
                </c:pt>
                <c:pt idx="66">
                  <c:v>Mini Babybel Aros St Paulin Ferme Raclette Filet 1X132Gr 6P</c:v>
                </c:pt>
                <c:pt idx="67">
                  <c:v>Mini Babybel Aros Soft Cheese Enfant 110G</c:v>
                </c:pt>
                <c:pt idx="68">
                  <c:v>Boursin Classique Fromage Frais A Tartiner Poivre Boite 1X150Gr 1P</c:v>
                </c:pt>
                <c:pt idx="69">
                  <c:v>Mini Babybel Aros St Paulin Ferme Emmental Filet 1X120Gr 6P</c:v>
                </c:pt>
                <c:pt idx="70">
                  <c:v>Nurishh Le Coeur Fleuri Vegetal Camembert Boite 1X140Gr 1P</c:v>
                </c:pt>
                <c:pt idx="71">
                  <c:v>Apericube Fromages Du Monde Aperitif 250G</c:v>
                </c:pt>
                <c:pt idx="72">
                  <c:v>La Vache Qui Rit Bio Fromage Fondu Boite Ronde 1X128Gr 8P</c:v>
                </c:pt>
                <c:pt idx="73">
                  <c:v>Apericube P'Tits Plaisirs Fromage Fondu Cube 3 Fromages &amp; Jambon Cru Olive Verte 1X78Gr 15P</c:v>
                </c:pt>
                <c:pt idx="74">
                  <c:v>Boursin Salade &amp; Aperitif Fromage Frais Des Citron Romarin 1X120Gr 1P</c:v>
                </c:pt>
                <c:pt idx="75">
                  <c:v>Nurishh Le Rape Vegetal Specialite Vegetale Sachet 1X150Gr 1P</c:v>
                </c:pt>
                <c:pt idx="76">
                  <c:v>Boursin Salade &amp; Aperitif Fromage Frais Des Noisette Et 3 Noix 1X120Gr 1P</c:v>
                </c:pt>
                <c:pt idx="77">
                  <c:v>Apericube Saveurs De L'Authentique Fromage Fondu Cube Assortis 1X250Gr 48P</c:v>
                </c:pt>
                <c:pt idx="78">
                  <c:v>Nurishh Le Palet Vegetal Specialite Vegetale Ovale Saveur Chevre Boite 1X140Gr 1P</c:v>
                </c:pt>
                <c:pt idx="79">
                  <c:v>Nurishh Les Tranches Vegetales Cheddar Vegetal Tranche Boite 1X160Gr 8P</c:v>
                </c:pt>
                <c:pt idx="80">
                  <c:v>Nurishh Les Tranches Vegetales Emmental Vegetal Tranche Boite 1X160Gr 8P</c:v>
                </c:pt>
                <c:pt idx="81">
                  <c:v>Nurishh Le Rape Vegetal Specialite Vegetale Emmental Sachet 1X150Gr 1P</c:v>
                </c:pt>
                <c:pt idx="82">
                  <c:v>Boursin Onctueux Fromage Frais A Tartiner Afh 1X210Gr 1P</c:v>
                </c:pt>
                <c:pt idx="83">
                  <c:v>Boursin Classique Fromage Frais A Tartiner 3 Noix Boite 1X150Gr 1P</c:v>
                </c:pt>
                <c:pt idx="84">
                  <c:v>Nurishh Le Rape Vegetal Mozzarella Vegetale Sachet 1X150Gr 1P</c:v>
                </c:pt>
                <c:pt idx="85">
                  <c:v>Boursin Salade &amp; Aperitif Soft Cheese Salade 120G</c:v>
                </c:pt>
                <c:pt idx="86">
                  <c:v>Port Salut St Paulin Tranche Boite 1X200Gr 6P</c:v>
                </c:pt>
                <c:pt idx="87">
                  <c:v>Apericube Jambon Fromage Fondu Cube 1X78Gr 15P</c:v>
                </c:pt>
                <c:pt idx="88">
                  <c:v>Nurishh Des Vegetaux Feta Vegetale Sachet 1X150Gr 1P</c:v>
                </c:pt>
                <c:pt idx="89">
                  <c:v>Apericube Montagne Aperitif 250G</c:v>
                </c:pt>
                <c:pt idx="90">
                  <c:v>Boursin Vegetal Specialite Vegetale A Tartiner Afh 1X130Gr 1P</c:v>
                </c:pt>
                <c:pt idx="91">
                  <c:v>La Vache Qui Rit Le Fondant Fromage Fondu 1X200Gr 1P</c:v>
                </c:pt>
                <c:pt idx="92">
                  <c:v>Mini Babybel Aros Soft Cheese Enfant 120G</c:v>
                </c:pt>
                <c:pt idx="93">
                  <c:v>Boursin Classique Fromage Frais A Tartiner Truffe Boite 1X150Gr 1P</c:v>
                </c:pt>
                <c:pt idx="94">
                  <c:v>Boursin Vegetal Alternative Vegetale 150G</c:v>
                </c:pt>
                <c:pt idx="95">
                  <c:v>Boursin Aperitif Roules Aperitif 100G</c:v>
                </c:pt>
                <c:pt idx="96">
                  <c:v>La Vache Qui Rit Aro Fromage Fondu Boite Ronde Jambon 1X133Gr 8P</c:v>
                </c:pt>
                <c:pt idx="97">
                  <c:v>Boursin Classique Fromage Frais A Tartiner Afh Boite 1X320Gr 16+4P</c:v>
                </c:pt>
                <c:pt idx="98">
                  <c:v>Nurishh Les Tranches Vegetales Specialite Vegetale Tranche Piment Boite 1X120Gr 6P</c:v>
                </c:pt>
                <c:pt idx="99">
                  <c:v>Toastinette Fromage Fondu Tranche A Chaud Sachet 1X340Gr 20P</c:v>
                </c:pt>
                <c:pt idx="100">
                  <c:v>Boursin Aperitif Roules Fromage Frais Roule Jambon Fume &amp; Trio De Noix Boite 1X100Gr 20P</c:v>
                </c:pt>
                <c:pt idx="101">
                  <c:v>Boursin Classique Fromage Frais A Tartiner 3 Noix 1X160Gr 10P</c:v>
                </c:pt>
                <c:pt idx="102">
                  <c:v>Toastinette Cheddar Fondu Tranche A Chaud Sachet 1X340Gr 20P</c:v>
                </c:pt>
                <c:pt idx="103">
                  <c:v>Nurishh Le Tartinable Vegetal Specialite Vegetale A Tartiner 1X130Gr 1P</c:v>
                </c:pt>
                <c:pt idx="104">
                  <c:v>Boursin Classique Fromage Frais A Tartiner Citron &amp; Romarin Boite 1X150Gr 1P</c:v>
                </c:pt>
                <c:pt idx="105">
                  <c:v>Port Salut St Paulin 1X185Gr 1P</c:v>
                </c:pt>
                <c:pt idx="106">
                  <c:v>Kiri Chevre Fromage Blanc Frais Carre 1X144Gr 8P</c:v>
                </c:pt>
                <c:pt idx="107">
                  <c:v>Nurishh Les Tranches Vegetales Cheddar Vegetal Tranche Boite 1X200Gr 10P</c:v>
                </c:pt>
                <c:pt idx="108">
                  <c:v>Nurishh Les Tranches Vegetales Emmental Vegetal Tranche Boite 1X200Gr 10P</c:v>
                </c:pt>
                <c:pt idx="109">
                  <c:v>Boursin Classique Fromage Frais A Tartiner Ciboulette &amp; Echalote 1X160Gr 10P</c:v>
                </c:pt>
                <c:pt idx="110">
                  <c:v>Mini Babybel Rouge Filet St Paulin Ferme Sachet 1X40Gr 1P</c:v>
                </c:pt>
                <c:pt idx="111">
                  <c:v>Mini Babybel Bio St Paulin Ferme Filet 1X100Gr 5P</c:v>
                </c:pt>
                <c:pt idx="112">
                  <c:v>Cousteron St Paulin 1X460Gr 1P</c:v>
                </c:pt>
                <c:pt idx="113">
                  <c:v>Mini Babybel Rouge Filet St Paulin Ferme 1X110Gr 5P</c:v>
                </c:pt>
                <c:pt idx="114">
                  <c:v>Port Salut Pause Fondante Specialite Roux Sachet 1X180Gr 1P</c:v>
                </c:pt>
                <c:pt idx="115">
                  <c:v>Limiano Queijo Flamengo Tranche Sachet 1X200Gr 1P</c:v>
                </c:pt>
                <c:pt idx="116">
                  <c:v>Limiano Queijo Flamengo Bloc 1X600Gr 1P</c:v>
                </c:pt>
                <c:pt idx="117">
                  <c:v>Limiano Queijo Flamengo Autre Sachet 1X450Gr 1P</c:v>
                </c:pt>
                <c:pt idx="118">
                  <c:v>Nurishh Le Rape Vegetal Specialite Vegetale Sachet 1X200Gr 1P</c:v>
                </c:pt>
                <c:pt idx="119">
                  <c:v>Nurishh Le Rape Vegetal Mozzarella Vegetale Sachet 1X200Gr 1P</c:v>
                </c:pt>
                <c:pt idx="120">
                  <c:v>Boursin Aperitif Roules Fromage Frais Roule Basilic &amp; Jambon Fume Tomate Boite 1X100Gr 20P</c:v>
                </c:pt>
                <c:pt idx="121">
                  <c:v>Mini Babybel Rouge Filet St Paulin Ferme 1X396Gr 18P</c:v>
                </c:pt>
              </c:strCache>
            </c:strRef>
          </c:cat>
          <c:val>
            <c:numRef>
              <c:f>Sheet1!$B$2:$B$123</c:f>
              <c:numCache>
                <c:formatCode>General</c:formatCode>
                <c:ptCount val="122"/>
                <c:pt idx="0">
                  <c:v>0.99</c:v>
                </c:pt>
                <c:pt idx="1">
                  <c:v>1.0</c:v>
                </c:pt>
                <c:pt idx="2">
                  <c:v>0.99</c:v>
                </c:pt>
                <c:pt idx="3">
                  <c:v>1.0</c:v>
                </c:pt>
                <c:pt idx="4">
                  <c:v>1.0</c:v>
                </c:pt>
                <c:pt idx="5">
                  <c:v>1.0</c:v>
                </c:pt>
                <c:pt idx="6">
                  <c:v>1.0</c:v>
                </c:pt>
                <c:pt idx="7">
                  <c:v>1.0</c:v>
                </c:pt>
                <c:pt idx="8">
                  <c:v>1.0</c:v>
                </c:pt>
                <c:pt idx="9">
                  <c:v>1.0</c:v>
                </c:pt>
                <c:pt idx="10">
                  <c:v>1.0</c:v>
                </c:pt>
                <c:pt idx="11">
                  <c:v>1.0</c:v>
                </c:pt>
                <c:pt idx="12">
                  <c:v>1.0</c:v>
                </c:pt>
                <c:pt idx="13">
                  <c:v>1.0</c:v>
                </c:pt>
                <c:pt idx="14">
                  <c:v>0.99</c:v>
                </c:pt>
                <c:pt idx="15">
                  <c:v>0.97</c:v>
                </c:pt>
                <c:pt idx="16">
                  <c:v>1.0</c:v>
                </c:pt>
                <c:pt idx="17">
                  <c:v>0.99</c:v>
                </c:pt>
                <c:pt idx="18">
                  <c:v>1.0</c:v>
                </c:pt>
                <c:pt idx="19">
                  <c:v>0.94</c:v>
                </c:pt>
                <c:pt idx="20">
                  <c:v>0.97</c:v>
                </c:pt>
                <c:pt idx="21">
                  <c:v>0.98</c:v>
                </c:pt>
                <c:pt idx="22">
                  <c:v>0.98</c:v>
                </c:pt>
                <c:pt idx="23">
                  <c:v>1.0</c:v>
                </c:pt>
                <c:pt idx="24">
                  <c:v>0.94</c:v>
                </c:pt>
                <c:pt idx="25">
                  <c:v>1.0</c:v>
                </c:pt>
                <c:pt idx="26">
                  <c:v>0.99</c:v>
                </c:pt>
                <c:pt idx="27">
                  <c:v>1.0</c:v>
                </c:pt>
                <c:pt idx="28">
                  <c:v>1.0</c:v>
                </c:pt>
                <c:pt idx="29">
                  <c:v>1.0</c:v>
                </c:pt>
                <c:pt idx="30">
                  <c:v>0.94</c:v>
                </c:pt>
                <c:pt idx="31">
                  <c:v>0.91</c:v>
                </c:pt>
                <c:pt idx="32">
                  <c:v>0.95</c:v>
                </c:pt>
                <c:pt idx="33">
                  <c:v>1.0</c:v>
                </c:pt>
                <c:pt idx="34">
                  <c:v>0.99</c:v>
                </c:pt>
                <c:pt idx="35">
                  <c:v>1.0</c:v>
                </c:pt>
                <c:pt idx="36">
                  <c:v>1.0</c:v>
                </c:pt>
                <c:pt idx="37">
                  <c:v>1.0</c:v>
                </c:pt>
                <c:pt idx="38">
                  <c:v>0.95</c:v>
                </c:pt>
                <c:pt idx="39">
                  <c:v>0.98</c:v>
                </c:pt>
                <c:pt idx="40">
                  <c:v>0.96</c:v>
                </c:pt>
                <c:pt idx="41">
                  <c:v>0.97</c:v>
                </c:pt>
                <c:pt idx="42">
                  <c:v>0.97</c:v>
                </c:pt>
                <c:pt idx="43">
                  <c:v>1.0</c:v>
                </c:pt>
                <c:pt idx="44">
                  <c:v>0.96</c:v>
                </c:pt>
                <c:pt idx="45">
                  <c:v>1.0</c:v>
                </c:pt>
                <c:pt idx="46">
                  <c:v>0.98</c:v>
                </c:pt>
                <c:pt idx="47">
                  <c:v>0.92</c:v>
                </c:pt>
                <c:pt idx="48">
                  <c:v>0.86</c:v>
                </c:pt>
                <c:pt idx="49">
                  <c:v>1.0</c:v>
                </c:pt>
                <c:pt idx="50">
                  <c:v>0.99</c:v>
                </c:pt>
                <c:pt idx="51">
                  <c:v>0.7</c:v>
                </c:pt>
                <c:pt idx="52">
                  <c:v>0.79</c:v>
                </c:pt>
                <c:pt idx="53">
                  <c:v>0.98</c:v>
                </c:pt>
                <c:pt idx="54">
                  <c:v>0.88</c:v>
                </c:pt>
                <c:pt idx="55">
                  <c:v>0.98</c:v>
                </c:pt>
                <c:pt idx="56">
                  <c:v>0.97</c:v>
                </c:pt>
                <c:pt idx="57">
                  <c:v>0.7</c:v>
                </c:pt>
                <c:pt idx="58">
                  <c:v>1.0</c:v>
                </c:pt>
                <c:pt idx="59">
                  <c:v>0.96</c:v>
                </c:pt>
                <c:pt idx="60">
                  <c:v>0.75</c:v>
                </c:pt>
                <c:pt idx="61">
                  <c:v>0.66</c:v>
                </c:pt>
                <c:pt idx="62">
                  <c:v>0.96</c:v>
                </c:pt>
                <c:pt idx="63">
                  <c:v>0.58</c:v>
                </c:pt>
                <c:pt idx="64">
                  <c:v>0.89</c:v>
                </c:pt>
                <c:pt idx="65">
                  <c:v>0.94</c:v>
                </c:pt>
                <c:pt idx="66">
                  <c:v>0.88</c:v>
                </c:pt>
                <c:pt idx="67">
                  <c:v>0.94</c:v>
                </c:pt>
                <c:pt idx="68">
                  <c:v>0.88</c:v>
                </c:pt>
                <c:pt idx="69">
                  <c:v>0.7</c:v>
                </c:pt>
                <c:pt idx="70">
                  <c:v>0.78</c:v>
                </c:pt>
                <c:pt idx="71">
                  <c:v>0.71</c:v>
                </c:pt>
                <c:pt idx="72">
                  <c:v>0.82</c:v>
                </c:pt>
                <c:pt idx="73">
                  <c:v>0.83</c:v>
                </c:pt>
                <c:pt idx="74">
                  <c:v>0.95</c:v>
                </c:pt>
                <c:pt idx="75">
                  <c:v>0.72</c:v>
                </c:pt>
                <c:pt idx="76">
                  <c:v>0.96</c:v>
                </c:pt>
                <c:pt idx="77">
                  <c:v>0.31</c:v>
                </c:pt>
                <c:pt idx="78">
                  <c:v>0.66</c:v>
                </c:pt>
                <c:pt idx="79">
                  <c:v>0.75</c:v>
                </c:pt>
                <c:pt idx="80">
                  <c:v>0.71</c:v>
                </c:pt>
                <c:pt idx="81">
                  <c:v>0.8</c:v>
                </c:pt>
                <c:pt idx="82">
                  <c:v>0.59</c:v>
                </c:pt>
                <c:pt idx="83">
                  <c:v>0.67</c:v>
                </c:pt>
                <c:pt idx="84">
                  <c:v>0.68</c:v>
                </c:pt>
                <c:pt idx="85">
                  <c:v>0.94</c:v>
                </c:pt>
                <c:pt idx="86">
                  <c:v>0.21</c:v>
                </c:pt>
                <c:pt idx="87">
                  <c:v>0.09</c:v>
                </c:pt>
                <c:pt idx="88">
                  <c:v>0.78</c:v>
                </c:pt>
                <c:pt idx="89">
                  <c:v>0.54</c:v>
                </c:pt>
                <c:pt idx="90">
                  <c:v>0.77</c:v>
                </c:pt>
                <c:pt idx="91">
                  <c:v>0.59</c:v>
                </c:pt>
                <c:pt idx="92">
                  <c:v>0.68</c:v>
                </c:pt>
                <c:pt idx="93">
                  <c:v>0.66</c:v>
                </c:pt>
                <c:pt idx="94">
                  <c:v>0.79</c:v>
                </c:pt>
                <c:pt idx="95">
                  <c:v>0.53</c:v>
                </c:pt>
                <c:pt idx="96">
                  <c:v>0.08</c:v>
                </c:pt>
                <c:pt idx="97">
                  <c:v>0.85</c:v>
                </c:pt>
                <c:pt idx="98">
                  <c:v>0.57</c:v>
                </c:pt>
                <c:pt idx="99">
                  <c:v>0.16</c:v>
                </c:pt>
                <c:pt idx="100">
                  <c:v>0.48</c:v>
                </c:pt>
                <c:pt idx="101">
                  <c:v>0.49</c:v>
                </c:pt>
                <c:pt idx="102">
                  <c:v>0.16</c:v>
                </c:pt>
                <c:pt idx="103">
                  <c:v>0.62</c:v>
                </c:pt>
                <c:pt idx="104">
                  <c:v>0.71</c:v>
                </c:pt>
                <c:pt idx="105">
                  <c:v>0.09</c:v>
                </c:pt>
                <c:pt idx="106">
                  <c:v>0.56</c:v>
                </c:pt>
                <c:pt idx="107">
                  <c:v>0.72</c:v>
                </c:pt>
                <c:pt idx="108">
                  <c:v>0.74</c:v>
                </c:pt>
                <c:pt idx="109">
                  <c:v>0.14</c:v>
                </c:pt>
                <c:pt idx="110">
                  <c:v>0.21</c:v>
                </c:pt>
                <c:pt idx="111">
                  <c:v>0.67</c:v>
                </c:pt>
                <c:pt idx="112">
                  <c:v>0.09</c:v>
                </c:pt>
                <c:pt idx="113">
                  <c:v>0.05</c:v>
                </c:pt>
                <c:pt idx="114">
                  <c:v>0.04</c:v>
                </c:pt>
                <c:pt idx="115">
                  <c:v>0.02</c:v>
                </c:pt>
                <c:pt idx="116">
                  <c:v>0.03</c:v>
                </c:pt>
                <c:pt idx="117">
                  <c:v>0.01</c:v>
                </c:pt>
                <c:pt idx="118">
                  <c:v>0.04</c:v>
                </c:pt>
                <c:pt idx="119">
                  <c:v>0.03</c:v>
                </c:pt>
                <c:pt idx="120">
                  <c:v>0.02</c:v>
                </c:pt>
                <c:pt idx="121">
                  <c:v>0.01</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00A097"/>
              </a:solidFill>
            </c:spPr>
            <c:extLst>
              <c:ext xmlns:c16="http://schemas.microsoft.com/office/drawing/2014/chart" uri="{C3380CC4-5D6E-409C-BE32-E72D297353CC}">
                <c16:uniqueId val="{00000023-FA3E-4872-B6E1-C4ABDF5766E2}"/>
              </c:ext>
            </c:extLst>
          </c:dPt>
          <c:dPt>
            <c:idx val="17"/>
            <c:invertIfNegative val="1"/>
            <c:bubble3D val="0"/>
            <c:spPr>
              <a:solidFill>
                <a:srgbClr val="00A097"/>
              </a:solidFill>
            </c:spPr>
            <c:extLst>
              <c:ext xmlns:c16="http://schemas.microsoft.com/office/drawing/2014/chart" uri="{C3380CC4-5D6E-409C-BE32-E72D297353CC}">
                <c16:uniqueId val="{00000025-FA3E-4872-B6E1-C4ABDF5766E2}"/>
              </c:ext>
            </c:extLst>
          </c:dPt>
          <c:dPt>
            <c:idx val="18"/>
            <c:invertIfNegative val="1"/>
            <c:bubble3D val="0"/>
            <c:spPr>
              <a:solidFill>
                <a:srgbClr val="00A097"/>
              </a:solidFill>
            </c:spPr>
            <c:extLst>
              <c:ext xmlns:c16="http://schemas.microsoft.com/office/drawing/2014/chart" uri="{C3380CC4-5D6E-409C-BE32-E72D297353CC}">
                <c16:uniqueId val="{00000027-FA3E-4872-B6E1-C4ABDF5766E2}"/>
              </c:ext>
            </c:extLst>
          </c:dPt>
          <c:dPt>
            <c:idx val="19"/>
            <c:invertIfNegative val="1"/>
            <c:bubble3D val="0"/>
            <c:spPr>
              <a:solidFill>
                <a:srgbClr val="00A097"/>
              </a:solidFill>
            </c:spPr>
            <c:extLst>
              <c:ext xmlns:c16="http://schemas.microsoft.com/office/drawing/2014/chart" uri="{C3380CC4-5D6E-409C-BE32-E72D297353CC}">
                <c16:uniqueId val="{00000029-FA3E-4872-B6E1-C4ABDF5766E2}"/>
              </c:ext>
            </c:extLst>
          </c:dPt>
          <c:dPt>
            <c:idx val="20"/>
            <c:invertIfNegative val="1"/>
            <c:bubble3D val="0"/>
            <c:spPr>
              <a:solidFill>
                <a:srgbClr val="00A097"/>
              </a:solidFill>
            </c:spPr>
            <c:extLst>
              <c:ext xmlns:c16="http://schemas.microsoft.com/office/drawing/2014/chart" uri="{C3380CC4-5D6E-409C-BE32-E72D297353CC}">
                <c16:uniqueId val="{0000002B-FA3E-4872-B6E1-C4ABDF5766E2}"/>
              </c:ext>
            </c:extLst>
          </c:dPt>
          <c:dPt>
            <c:idx val="21"/>
            <c:invertIfNegative val="1"/>
            <c:bubble3D val="0"/>
            <c:spPr>
              <a:solidFill>
                <a:srgbClr val="00A097"/>
              </a:solidFill>
            </c:spPr>
            <c:extLst>
              <c:ext xmlns:c16="http://schemas.microsoft.com/office/drawing/2014/chart" uri="{C3380CC4-5D6E-409C-BE32-E72D297353CC}">
                <c16:uniqueId val="{0000002D-FA3E-4872-B6E1-C4ABDF5766E2}"/>
              </c:ext>
            </c:extLst>
          </c:dPt>
          <c:dPt>
            <c:idx val="22"/>
            <c:invertIfNegative val="1"/>
            <c:bubble3D val="0"/>
            <c:spPr>
              <a:solidFill>
                <a:srgbClr val="00A097"/>
              </a:solidFill>
            </c:spPr>
            <c:extLst>
              <c:ext xmlns:c16="http://schemas.microsoft.com/office/drawing/2014/chart" uri="{C3380CC4-5D6E-409C-BE32-E72D297353CC}">
                <c16:uniqueId val="{0000002F-FA3E-4872-B6E1-C4ABDF5766E2}"/>
              </c:ext>
            </c:extLst>
          </c:dPt>
          <c:dPt>
            <c:idx val="23"/>
            <c:invertIfNegative val="1"/>
            <c:bubble3D val="0"/>
            <c:spPr>
              <a:solidFill>
                <a:srgbClr val="00A097"/>
              </a:solidFill>
            </c:spPr>
            <c:extLst>
              <c:ext xmlns:c16="http://schemas.microsoft.com/office/drawing/2014/chart" uri="{C3380CC4-5D6E-409C-BE32-E72D297353CC}">
                <c16:uniqueId val="{00000031-FA3E-4872-B6E1-C4ABDF5766E2}"/>
              </c:ext>
            </c:extLst>
          </c:dPt>
          <c:dPt>
            <c:idx val="24"/>
            <c:invertIfNegative val="1"/>
            <c:bubble3D val="0"/>
            <c:spPr>
              <a:solidFill>
                <a:srgbClr val="00A097"/>
              </a:solidFill>
            </c:spPr>
            <c:extLst>
              <c:ext xmlns:c16="http://schemas.microsoft.com/office/drawing/2014/chart" uri="{C3380CC4-5D6E-409C-BE32-E72D297353CC}">
                <c16:uniqueId val="{00000033-FA3E-4872-B6E1-C4ABDF5766E2}"/>
              </c:ext>
            </c:extLst>
          </c:dPt>
          <c:dPt>
            <c:idx val="25"/>
            <c:invertIfNegative val="1"/>
            <c:bubble3D val="0"/>
            <c:spPr>
              <a:solidFill>
                <a:srgbClr val="00A097"/>
              </a:solidFill>
            </c:spPr>
            <c:extLst>
              <c:ext xmlns:c16="http://schemas.microsoft.com/office/drawing/2014/chart" uri="{C3380CC4-5D6E-409C-BE32-E72D297353CC}">
                <c16:uniqueId val="{00000035-FA3E-4872-B6E1-C4ABDF5766E2}"/>
              </c:ext>
            </c:extLst>
          </c:dPt>
          <c:dPt>
            <c:idx val="26"/>
            <c:invertIfNegative val="1"/>
            <c:bubble3D val="0"/>
            <c:spPr>
              <a:solidFill>
                <a:srgbClr val="00A097"/>
              </a:solidFill>
            </c:spPr>
            <c:extLst>
              <c:ext xmlns:c16="http://schemas.microsoft.com/office/drawing/2014/chart" uri="{C3380CC4-5D6E-409C-BE32-E72D297353CC}">
                <c16:uniqueId val="{00000037-FA3E-4872-B6E1-C4ABDF5766E2}"/>
              </c:ext>
            </c:extLst>
          </c:dPt>
          <c:dPt>
            <c:idx val="27"/>
            <c:invertIfNegative val="1"/>
            <c:bubble3D val="0"/>
            <c:spPr>
              <a:solidFill>
                <a:srgbClr val="00A097"/>
              </a:solidFill>
            </c:spPr>
            <c:extLst>
              <c:ext xmlns:c16="http://schemas.microsoft.com/office/drawing/2014/chart" uri="{C3380CC4-5D6E-409C-BE32-E72D297353CC}">
                <c16:uniqueId val="{00000039-FA3E-4872-B6E1-C4ABDF5766E2}"/>
              </c:ext>
            </c:extLst>
          </c:dPt>
          <c:dPt>
            <c:idx val="28"/>
            <c:invertIfNegative val="1"/>
            <c:bubble3D val="0"/>
            <c:spPr>
              <a:solidFill>
                <a:srgbClr val="00A097"/>
              </a:solidFill>
            </c:spPr>
            <c:extLst>
              <c:ext xmlns:c16="http://schemas.microsoft.com/office/drawing/2014/chart" uri="{C3380CC4-5D6E-409C-BE32-E72D297353CC}">
                <c16:uniqueId val="{0000003B-FA3E-4872-B6E1-C4ABDF5766E2}"/>
              </c:ext>
            </c:extLst>
          </c:dPt>
          <c:dPt>
            <c:idx val="29"/>
            <c:invertIfNegative val="1"/>
            <c:bubble3D val="0"/>
            <c:spPr>
              <a:solidFill>
                <a:srgbClr val="00A097"/>
              </a:solidFill>
            </c:spPr>
            <c:extLst>
              <c:ext xmlns:c16="http://schemas.microsoft.com/office/drawing/2014/chart" uri="{C3380CC4-5D6E-409C-BE32-E72D297353CC}">
                <c16:uniqueId val="{0000003D-FA3E-4872-B6E1-C4ABDF5766E2}"/>
              </c:ext>
            </c:extLst>
          </c:dPt>
          <c:dPt>
            <c:idx val="30"/>
            <c:invertIfNegative val="1"/>
            <c:bubble3D val="0"/>
            <c:spPr>
              <a:solidFill>
                <a:srgbClr val="7ECAC4"/>
              </a:solidFill>
            </c:spPr>
            <c:extLst>
              <c:ext xmlns:c16="http://schemas.microsoft.com/office/drawing/2014/chart" uri="{C3380CC4-5D6E-409C-BE32-E72D297353CC}">
                <c16:uniqueId val="{0000003F-FA3E-4872-B6E1-C4ABDF5766E2}"/>
              </c:ext>
            </c:extLst>
          </c:dPt>
          <c:dPt>
            <c:idx val="31"/>
            <c:invertIfNegative val="1"/>
            <c:bubble3D val="0"/>
            <c:spPr>
              <a:solidFill>
                <a:srgbClr val="7ECAC4"/>
              </a:solidFill>
            </c:spPr>
            <c:extLst>
              <c:ext xmlns:c16="http://schemas.microsoft.com/office/drawing/2014/chart" uri="{C3380CC4-5D6E-409C-BE32-E72D297353CC}">
                <c16:uniqueId val="{00000041-FA3E-4872-B6E1-C4ABDF5766E2}"/>
              </c:ext>
            </c:extLst>
          </c:dPt>
          <c:dPt>
            <c:idx val="32"/>
            <c:invertIfNegative val="1"/>
            <c:bubble3D val="0"/>
            <c:spPr>
              <a:solidFill>
                <a:srgbClr val="7ECAC4"/>
              </a:solidFill>
            </c:spPr>
            <c:extLst>
              <c:ext xmlns:c16="http://schemas.microsoft.com/office/drawing/2014/chart" uri="{C3380CC4-5D6E-409C-BE32-E72D297353CC}">
                <c16:uniqueId val="{00000043-FA3E-4872-B6E1-C4ABDF5766E2}"/>
              </c:ext>
            </c:extLst>
          </c:dPt>
          <c:dPt>
            <c:idx val="33"/>
            <c:invertIfNegative val="1"/>
            <c:bubble3D val="0"/>
            <c:spPr>
              <a:solidFill>
                <a:srgbClr val="7ECAC4"/>
              </a:solidFill>
            </c:spPr>
            <c:extLst>
              <c:ext xmlns:c16="http://schemas.microsoft.com/office/drawing/2014/chart" uri="{C3380CC4-5D6E-409C-BE32-E72D297353CC}">
                <c16:uniqueId val="{00000045-FA3E-4872-B6E1-C4ABDF5766E2}"/>
              </c:ext>
            </c:extLst>
          </c:dPt>
          <c:dPt>
            <c:idx val="34"/>
            <c:invertIfNegative val="1"/>
            <c:bubble3D val="0"/>
            <c:spPr>
              <a:solidFill>
                <a:srgbClr val="7ECAC4"/>
              </a:solidFill>
            </c:spPr>
            <c:extLst>
              <c:ext xmlns:c16="http://schemas.microsoft.com/office/drawing/2014/chart" uri="{C3380CC4-5D6E-409C-BE32-E72D297353CC}">
                <c16:uniqueId val="{00000047-FA3E-4872-B6E1-C4ABDF5766E2}"/>
              </c:ext>
            </c:extLst>
          </c:dPt>
          <c:dPt>
            <c:idx val="35"/>
            <c:invertIfNegative val="1"/>
            <c:bubble3D val="0"/>
            <c:spPr>
              <a:solidFill>
                <a:srgbClr val="7ECAC4"/>
              </a:solidFill>
            </c:spPr>
            <c:extLst>
              <c:ext xmlns:c16="http://schemas.microsoft.com/office/drawing/2014/chart" uri="{C3380CC4-5D6E-409C-BE32-E72D297353CC}">
                <c16:uniqueId val="{00000049-FA3E-4872-B6E1-C4ABDF5766E2}"/>
              </c:ext>
            </c:extLst>
          </c:dPt>
          <c:dPt>
            <c:idx val="36"/>
            <c:invertIfNegative val="1"/>
            <c:bubble3D val="0"/>
            <c:spPr>
              <a:solidFill>
                <a:srgbClr val="7ECAC4"/>
              </a:solidFill>
            </c:spPr>
            <c:extLst>
              <c:ext xmlns:c16="http://schemas.microsoft.com/office/drawing/2014/chart" uri="{C3380CC4-5D6E-409C-BE32-E72D297353CC}">
                <c16:uniqueId val="{0000004B-FA3E-4872-B6E1-C4ABDF5766E2}"/>
              </c:ext>
            </c:extLst>
          </c:dPt>
          <c:dPt>
            <c:idx val="37"/>
            <c:invertIfNegative val="1"/>
            <c:bubble3D val="0"/>
            <c:spPr>
              <a:solidFill>
                <a:srgbClr val="7ECAC4"/>
              </a:solidFill>
            </c:spPr>
            <c:extLst>
              <c:ext xmlns:c16="http://schemas.microsoft.com/office/drawing/2014/chart" uri="{C3380CC4-5D6E-409C-BE32-E72D297353CC}">
                <c16:uniqueId val="{0000004D-FA3E-4872-B6E1-C4ABDF5766E2}"/>
              </c:ext>
            </c:extLst>
          </c:dPt>
          <c:dPt>
            <c:idx val="38"/>
            <c:invertIfNegative val="1"/>
            <c:bubble3D val="0"/>
            <c:spPr>
              <a:solidFill>
                <a:srgbClr val="7ECAC4"/>
              </a:solidFill>
            </c:spPr>
            <c:extLst>
              <c:ext xmlns:c16="http://schemas.microsoft.com/office/drawing/2014/chart" uri="{C3380CC4-5D6E-409C-BE32-E72D297353CC}">
                <c16:uniqueId val="{0000004F-FA3E-4872-B6E1-C4ABDF5766E2}"/>
              </c:ext>
            </c:extLst>
          </c:dPt>
          <c:dPt>
            <c:idx val="39"/>
            <c:invertIfNegative val="1"/>
            <c:bubble3D val="0"/>
            <c:spPr>
              <a:solidFill>
                <a:srgbClr val="7ECAC4"/>
              </a:solidFill>
            </c:spPr>
            <c:extLst>
              <c:ext xmlns:c16="http://schemas.microsoft.com/office/drawing/2014/chart" uri="{C3380CC4-5D6E-409C-BE32-E72D297353CC}">
                <c16:uniqueId val="{00000051-FA3E-4872-B6E1-C4ABDF5766E2}"/>
              </c:ext>
            </c:extLst>
          </c:dPt>
          <c:dPt>
            <c:idx val="40"/>
            <c:invertIfNegative val="1"/>
            <c:bubble3D val="0"/>
            <c:spPr>
              <a:solidFill>
                <a:srgbClr val="7ECAC4"/>
              </a:solidFill>
            </c:spPr>
            <c:extLst>
              <c:ext xmlns:c16="http://schemas.microsoft.com/office/drawing/2014/chart" uri="{C3380CC4-5D6E-409C-BE32-E72D297353CC}">
                <c16:uniqueId val="{00000053-FA3E-4872-B6E1-C4ABDF5766E2}"/>
              </c:ext>
            </c:extLst>
          </c:dPt>
          <c:dPt>
            <c:idx val="41"/>
            <c:invertIfNegative val="1"/>
            <c:bubble3D val="0"/>
            <c:spPr>
              <a:solidFill>
                <a:srgbClr val="7ECAC4"/>
              </a:solidFill>
            </c:spPr>
            <c:extLst>
              <c:ext xmlns:c16="http://schemas.microsoft.com/office/drawing/2014/chart" uri="{C3380CC4-5D6E-409C-BE32-E72D297353CC}">
                <c16:uniqueId val="{00000055-FA3E-4872-B6E1-C4ABDF5766E2}"/>
              </c:ext>
            </c:extLst>
          </c:dPt>
          <c:dPt>
            <c:idx val="42"/>
            <c:invertIfNegative val="1"/>
            <c:bubble3D val="0"/>
            <c:spPr>
              <a:solidFill>
                <a:srgbClr val="7ECAC4"/>
              </a:solidFill>
            </c:spPr>
            <c:extLst>
              <c:ext xmlns:c16="http://schemas.microsoft.com/office/drawing/2014/chart" uri="{C3380CC4-5D6E-409C-BE32-E72D297353CC}">
                <c16:uniqueId val="{00000057-FA3E-4872-B6E1-C4ABDF5766E2}"/>
              </c:ext>
            </c:extLst>
          </c:dPt>
          <c:dPt>
            <c:idx val="43"/>
            <c:invertIfNegative val="1"/>
            <c:bubble3D val="0"/>
            <c:spPr>
              <a:solidFill>
                <a:srgbClr val="7ECAC4"/>
              </a:solidFill>
            </c:spPr>
            <c:extLst>
              <c:ext xmlns:c16="http://schemas.microsoft.com/office/drawing/2014/chart" uri="{C3380CC4-5D6E-409C-BE32-E72D297353CC}">
                <c16:uniqueId val="{00000059-FA3E-4872-B6E1-C4ABDF5766E2}"/>
              </c:ext>
            </c:extLst>
          </c:dPt>
          <c:dPt>
            <c:idx val="44"/>
            <c:spPr>
              <a:solidFill>
                <a:srgbClr val="7ECAC4"/>
              </a:solidFill>
            </c:spPr>
          </c:dPt>
          <c:dPt>
            <c:idx val="45"/>
            <c:spPr>
              <a:solidFill>
                <a:srgbClr val="7ECAC4"/>
              </a:solidFill>
            </c:spPr>
          </c:dPt>
          <c:dPt>
            <c:idx val="46"/>
            <c:spPr>
              <a:solidFill>
                <a:srgbClr val="7ECAC4"/>
              </a:solidFill>
            </c:spPr>
          </c:dPt>
          <c:dPt>
            <c:idx val="47"/>
            <c:spPr>
              <a:solidFill>
                <a:srgbClr val="7ECAC4"/>
              </a:solidFill>
            </c:spPr>
          </c:dPt>
          <c:dPt>
            <c:idx val="48"/>
            <c:spPr>
              <a:solidFill>
                <a:srgbClr val="7ECAC4"/>
              </a:solidFill>
            </c:spPr>
          </c:dPt>
          <c:dPt>
            <c:idx val="49"/>
            <c:spPr>
              <a:solidFill>
                <a:srgbClr val="7ECAC4"/>
              </a:solidFill>
            </c:spPr>
          </c:dPt>
          <c:dPt>
            <c:idx val="50"/>
            <c:spPr>
              <a:solidFill>
                <a:srgbClr val="7ECAC4"/>
              </a:solidFill>
            </c:spPr>
          </c:dPt>
          <c:dPt>
            <c:idx val="51"/>
            <c:spPr>
              <a:solidFill>
                <a:srgbClr val="7ECAC4"/>
              </a:solidFill>
            </c:spPr>
          </c:dPt>
          <c:dPt>
            <c:idx val="52"/>
            <c:spPr>
              <a:solidFill>
                <a:srgbClr val="7ECAC4"/>
              </a:solidFill>
            </c:spPr>
          </c:dPt>
          <c:dPt>
            <c:idx val="53"/>
            <c:spPr>
              <a:solidFill>
                <a:srgbClr val="7ECAC4"/>
              </a:solidFill>
            </c:spPr>
          </c:dPt>
          <c:dPt>
            <c:idx val="54"/>
            <c:spPr>
              <a:solidFill>
                <a:srgbClr val="7ECAC4"/>
              </a:solidFill>
            </c:spPr>
          </c:dPt>
          <c:dPt>
            <c:idx val="55"/>
            <c:spPr>
              <a:solidFill>
                <a:srgbClr val="7ECAC4"/>
              </a:solidFill>
            </c:spPr>
          </c:dPt>
          <c:dPt>
            <c:idx val="56"/>
            <c:spPr>
              <a:solidFill>
                <a:srgbClr val="7ECAC4"/>
              </a:solidFill>
            </c:spPr>
          </c:dPt>
          <c:dPt>
            <c:idx val="57"/>
            <c:spPr>
              <a:solidFill>
                <a:srgbClr val="7ECAC4"/>
              </a:solidFill>
            </c:spPr>
          </c:dPt>
          <c:dPt>
            <c:idx val="58"/>
            <c:spPr>
              <a:solidFill>
                <a:srgbClr val="7ECAC4"/>
              </a:solidFill>
            </c:spPr>
          </c:dPt>
          <c:dPt>
            <c:idx val="59"/>
            <c:spPr>
              <a:solidFill>
                <a:srgbClr val="AEABAB"/>
              </a:solidFill>
            </c:spPr>
          </c:dPt>
          <c:dPt>
            <c:idx val="60"/>
            <c:spPr>
              <a:solidFill>
                <a:srgbClr val="AEABAB"/>
              </a:solidFill>
            </c:spPr>
          </c:dPt>
          <c:dPt>
            <c:idx val="61"/>
            <c:spPr>
              <a:solidFill>
                <a:srgbClr val="AEABAB"/>
              </a:solidFill>
            </c:spPr>
          </c:dPt>
          <c:dPt>
            <c:idx val="62"/>
            <c:spPr>
              <a:solidFill>
                <a:srgbClr val="AEABAB"/>
              </a:solidFill>
            </c:spPr>
          </c:dPt>
          <c:dPt>
            <c:idx val="63"/>
            <c:spPr>
              <a:solidFill>
                <a:srgbClr val="AEABAB"/>
              </a:solidFill>
            </c:spPr>
          </c:dPt>
          <c:dPt>
            <c:idx val="64"/>
            <c:spPr>
              <a:solidFill>
                <a:srgbClr val="AEABAB"/>
              </a:solidFill>
            </c:spPr>
          </c:dPt>
          <c:dPt>
            <c:idx val="65"/>
            <c:spPr>
              <a:solidFill>
                <a:srgbClr val="AEABAB"/>
              </a:solidFill>
            </c:spPr>
          </c:dPt>
          <c:dPt>
            <c:idx val="66"/>
            <c:spPr>
              <a:solidFill>
                <a:srgbClr val="AEABAB"/>
              </a:solidFill>
            </c:spPr>
          </c:dPt>
          <c:dPt>
            <c:idx val="67"/>
            <c:spPr>
              <a:solidFill>
                <a:srgbClr val="AEABAB"/>
              </a:solidFill>
            </c:spPr>
          </c:dPt>
          <c:dPt>
            <c:idx val="68"/>
            <c:spPr>
              <a:solidFill>
                <a:srgbClr val="AEABAB"/>
              </a:solidFill>
            </c:spPr>
          </c:dPt>
          <c:dPt>
            <c:idx val="69"/>
            <c:spPr>
              <a:solidFill>
                <a:srgbClr val="AEABAB"/>
              </a:solidFill>
            </c:spPr>
          </c:dPt>
          <c:dPt>
            <c:idx val="70"/>
            <c:spPr>
              <a:solidFill>
                <a:srgbClr val="AEABAB"/>
              </a:solidFill>
            </c:spPr>
          </c:dPt>
          <c:dPt>
            <c:idx val="71"/>
            <c:spPr>
              <a:solidFill>
                <a:srgbClr val="AEABAB"/>
              </a:solidFill>
            </c:spPr>
          </c:dPt>
          <c:dPt>
            <c:idx val="72"/>
            <c:spPr>
              <a:solidFill>
                <a:srgbClr val="AEABAB"/>
              </a:solidFill>
            </c:spPr>
          </c:dPt>
          <c:dPt>
            <c:idx val="73"/>
            <c:spPr>
              <a:solidFill>
                <a:srgbClr val="AEABAB"/>
              </a:solidFill>
            </c:spPr>
          </c:dPt>
          <c:dPt>
            <c:idx val="74"/>
            <c:spPr>
              <a:solidFill>
                <a:srgbClr val="AEABAB"/>
              </a:solidFill>
            </c:spPr>
          </c:dPt>
          <c:dPt>
            <c:idx val="75"/>
            <c:spPr>
              <a:solidFill>
                <a:srgbClr val="AEABAB"/>
              </a:solidFill>
            </c:spPr>
          </c:dPt>
          <c:dPt>
            <c:idx val="76"/>
            <c:spPr>
              <a:solidFill>
                <a:srgbClr val="AEABAB"/>
              </a:solidFill>
            </c:spPr>
          </c:dPt>
          <c:dPt>
            <c:idx val="77"/>
            <c:spPr>
              <a:solidFill>
                <a:srgbClr val="AEABAB"/>
              </a:solidFill>
            </c:spPr>
          </c:dPt>
          <c:dPt>
            <c:idx val="78"/>
            <c:spPr>
              <a:solidFill>
                <a:srgbClr val="AEABAB"/>
              </a:solidFill>
            </c:spPr>
          </c:dPt>
          <c:dPt>
            <c:idx val="79"/>
            <c:spPr>
              <a:solidFill>
                <a:srgbClr val="AEABAB"/>
              </a:solidFill>
            </c:spPr>
          </c:dPt>
          <c:dPt>
            <c:idx val="80"/>
            <c:spPr>
              <a:solidFill>
                <a:srgbClr val="AEABAB"/>
              </a:solidFill>
            </c:spPr>
          </c:dPt>
          <c:dPt>
            <c:idx val="81"/>
            <c:spPr>
              <a:solidFill>
                <a:srgbClr val="AEABAB"/>
              </a:solidFill>
            </c:spPr>
          </c:dPt>
          <c:dPt>
            <c:idx val="82"/>
            <c:spPr>
              <a:solidFill>
                <a:srgbClr val="AEABAB"/>
              </a:solidFill>
            </c:spPr>
          </c:dPt>
          <c:dPt>
            <c:idx val="83"/>
            <c:spPr>
              <a:solidFill>
                <a:srgbClr val="AEABAB"/>
              </a:solidFill>
            </c:spPr>
          </c:dPt>
          <c:dPt>
            <c:idx val="84"/>
            <c:spPr>
              <a:solidFill>
                <a:srgbClr val="AEABAB"/>
              </a:solidFill>
            </c:spPr>
          </c:dPt>
          <c:dPt>
            <c:idx val="85"/>
            <c:spPr>
              <a:solidFill>
                <a:srgbClr val="AEABAB"/>
              </a:solidFill>
            </c:spPr>
          </c:dPt>
          <c:dPt>
            <c:idx val="86"/>
            <c:spPr>
              <a:solidFill>
                <a:srgbClr val="AEABAB"/>
              </a:solidFill>
            </c:spPr>
          </c:dPt>
          <c:dPt>
            <c:idx val="87"/>
            <c:spPr>
              <a:solidFill>
                <a:srgbClr val="AEABAB"/>
              </a:solidFill>
            </c:spPr>
          </c:dPt>
          <c:dPt>
            <c:idx val="88"/>
            <c:spPr>
              <a:solidFill>
                <a:srgbClr val="AEABAB"/>
              </a:solidFill>
            </c:spPr>
          </c:dPt>
          <c:dPt>
            <c:idx val="89"/>
            <c:spPr>
              <a:solidFill>
                <a:srgbClr val="AEABAB"/>
              </a:solidFill>
            </c:spPr>
          </c:dPt>
          <c:dPt>
            <c:idx val="90"/>
            <c:spPr>
              <a:solidFill>
                <a:srgbClr val="AEABAB"/>
              </a:solidFill>
            </c:spPr>
          </c:dPt>
          <c:dPt>
            <c:idx val="91"/>
            <c:spPr>
              <a:solidFill>
                <a:srgbClr val="AEABAB"/>
              </a:solidFill>
            </c:spPr>
          </c:dPt>
          <c:dPt>
            <c:idx val="92"/>
            <c:spPr>
              <a:solidFill>
                <a:srgbClr val="AEABAB"/>
              </a:solidFill>
            </c:spPr>
          </c:dPt>
          <c:dPt>
            <c:idx val="93"/>
            <c:spPr>
              <a:solidFill>
                <a:srgbClr val="AEABAB"/>
              </a:solidFill>
            </c:spPr>
          </c:dPt>
          <c:dPt>
            <c:idx val="94"/>
            <c:spPr>
              <a:solidFill>
                <a:srgbClr val="AEABAB"/>
              </a:solidFill>
            </c:spPr>
          </c:dPt>
          <c:dPt>
            <c:idx val="95"/>
            <c:spPr>
              <a:solidFill>
                <a:srgbClr val="AEABAB"/>
              </a:solidFill>
            </c:spPr>
          </c:dPt>
          <c:dPt>
            <c:idx val="96"/>
            <c:spPr>
              <a:solidFill>
                <a:srgbClr val="AEABAB"/>
              </a:solidFill>
            </c:spPr>
          </c:dPt>
          <c:dPt>
            <c:idx val="97"/>
            <c:spPr>
              <a:solidFill>
                <a:srgbClr val="AEABAB"/>
              </a:solidFill>
            </c:spPr>
          </c:dPt>
          <c:dPt>
            <c:idx val="98"/>
            <c:spPr>
              <a:solidFill>
                <a:srgbClr val="AEABAB"/>
              </a:solidFill>
            </c:spPr>
          </c:dPt>
          <c:dPt>
            <c:idx val="99"/>
            <c:spPr>
              <a:solidFill>
                <a:srgbClr val="AEABAB"/>
              </a:solidFill>
            </c:spPr>
          </c:dPt>
          <c:dPt>
            <c:idx val="100"/>
            <c:spPr>
              <a:solidFill>
                <a:srgbClr val="AEABAB"/>
              </a:solidFill>
            </c:spPr>
          </c:dPt>
          <c:dPt>
            <c:idx val="101"/>
            <c:spPr>
              <a:solidFill>
                <a:srgbClr val="AEABAB"/>
              </a:solidFill>
            </c:spPr>
          </c:dPt>
          <c:dPt>
            <c:idx val="102"/>
            <c:spPr>
              <a:solidFill>
                <a:srgbClr val="AEABAB"/>
              </a:solidFill>
            </c:spPr>
          </c:dPt>
          <c:dPt>
            <c:idx val="103"/>
            <c:spPr>
              <a:solidFill>
                <a:srgbClr val="AEABAB"/>
              </a:solidFill>
            </c:spPr>
          </c:dPt>
          <c:dPt>
            <c:idx val="104"/>
            <c:spPr>
              <a:solidFill>
                <a:srgbClr val="AEABAB"/>
              </a:solidFill>
            </c:spPr>
          </c:dPt>
          <c:dPt>
            <c:idx val="105"/>
            <c:spPr>
              <a:solidFill>
                <a:srgbClr val="AEABAB"/>
              </a:solidFill>
            </c:spPr>
          </c:dPt>
          <c:dPt>
            <c:idx val="106"/>
            <c:spPr>
              <a:solidFill>
                <a:srgbClr val="AEABAB"/>
              </a:solidFill>
            </c:spPr>
          </c:dPt>
          <c:dPt>
            <c:idx val="107"/>
            <c:spPr>
              <a:solidFill>
                <a:srgbClr val="AEABAB"/>
              </a:solidFill>
            </c:spPr>
          </c:dPt>
          <c:dPt>
            <c:idx val="108"/>
            <c:spPr>
              <a:solidFill>
                <a:srgbClr val="AEABAB"/>
              </a:solidFill>
            </c:spPr>
          </c:dPt>
          <c:dPt>
            <c:idx val="109"/>
            <c:spPr>
              <a:solidFill>
                <a:srgbClr val="AEABAB"/>
              </a:solidFill>
            </c:spPr>
          </c:dPt>
          <c:dPt>
            <c:idx val="110"/>
            <c:spPr>
              <a:solidFill>
                <a:srgbClr val="AEABAB"/>
              </a:solidFill>
            </c:spPr>
          </c:dPt>
          <c:dPt>
            <c:idx val="111"/>
            <c:spPr>
              <a:solidFill>
                <a:srgbClr val="AEABAB"/>
              </a:solidFill>
            </c:spPr>
          </c:dPt>
          <c:dPt>
            <c:idx val="112"/>
            <c:spPr>
              <a:solidFill>
                <a:srgbClr val="AEABAB"/>
              </a:solidFill>
            </c:spPr>
          </c:dPt>
          <c:dPt>
            <c:idx val="113"/>
            <c:spPr>
              <a:solidFill>
                <a:srgbClr val="AEABAB"/>
              </a:solidFill>
            </c:spPr>
          </c:dPt>
          <c:dPt>
            <c:idx val="114"/>
            <c:spPr>
              <a:solidFill>
                <a:srgbClr val="AEABAB"/>
              </a:solidFill>
            </c:spPr>
          </c:dPt>
          <c:dPt>
            <c:idx val="115"/>
            <c:spPr>
              <a:solidFill>
                <a:srgbClr val="AEABAB"/>
              </a:solidFill>
            </c:spPr>
          </c:dPt>
          <c:dPt>
            <c:idx val="116"/>
            <c:spPr>
              <a:solidFill>
                <a:srgbClr val="AEABAB"/>
              </a:solidFill>
            </c:spPr>
          </c:dPt>
          <c:dPt>
            <c:idx val="117"/>
            <c:spPr>
              <a:solidFill>
                <a:srgbClr val="AEABAB"/>
              </a:solidFill>
            </c:spPr>
          </c:dPt>
          <c:dPt>
            <c:idx val="118"/>
            <c:spPr>
              <a:solidFill>
                <a:srgbClr val="AEABAB"/>
              </a:solidFill>
            </c:spPr>
          </c:dPt>
          <c:dPt>
            <c:idx val="119"/>
            <c:spPr>
              <a:solidFill>
                <a:srgbClr val="AEABAB"/>
              </a:solidFill>
            </c:spPr>
          </c:dPt>
          <c:dPt>
            <c:idx val="120"/>
            <c:spPr>
              <a:solidFill>
                <a:srgbClr val="AEABAB"/>
              </a:solidFill>
            </c:spPr>
          </c:dPt>
          <c:dPt>
            <c:idx val="121"/>
            <c:spPr>
              <a:solidFill>
                <a:srgbClr val="AEABAB"/>
              </a:solidFill>
            </c:spPr>
          </c:dPt>
          <c:cat>
            <c:strRef>
              <c:f>Sheet1!$A$2:$A$123</c:f>
              <c:strCache>
                <c:ptCount val="122"/>
                <c:pt idx="0">
                  <c:v>La Vache Qui Rit Nature Fromage Fondu Boite Ronde 1X512Gr 32P</c:v>
                </c:pt>
                <c:pt idx="1">
                  <c:v>Mini Babybel Rouge Filet St Paulin Ferme 1X264Gr 12P</c:v>
                </c:pt>
                <c:pt idx="2">
                  <c:v>Kiri Creme Fromage Blanc Frais Carre 1X432Gr 24P</c:v>
                </c:pt>
                <c:pt idx="3">
                  <c:v>La Vache Qui Rit Nature Fromage Fondu Boite Ronde 1X384Gr 24P</c:v>
                </c:pt>
                <c:pt idx="4">
                  <c:v>Mini Babybel Rouge Filet St Paulin Ferme 1X132Gr 6P</c:v>
                </c:pt>
                <c:pt idx="5">
                  <c:v>Kiri Creme Fromage Blanc Frais Carre 1X216Gr 12P</c:v>
                </c:pt>
                <c:pt idx="6">
                  <c:v>La Vache Qui Rit Nature Fromage Fondu Boite Ronde 1X192Gr 12P</c:v>
                </c:pt>
                <c:pt idx="7">
                  <c:v>Kiri Gouter Fromage Blanc Dips Boite 1X175Gr 5P</c:v>
                </c:pt>
                <c:pt idx="8">
                  <c:v>Apericube Edition Limitee Best Of Foot Fromage Fondu Cube Assortis 1X250Gr 48P</c:v>
                </c:pt>
                <c:pt idx="9">
                  <c:v>Boursin Classique Fromage Frais A Tartiner Afh 1X160Gr 10P</c:v>
                </c:pt>
                <c:pt idx="10">
                  <c:v>Apericube Long Drink Fromage Fondu Cube Assortis 1X250Gr 48P</c:v>
                </c:pt>
                <c:pt idx="11">
                  <c:v>Apericube Cocktail Fromage Fondu Cube Assortis 1X250Gr 48P</c:v>
                </c:pt>
                <c:pt idx="12">
                  <c:v>Kiri Creme Fromage Blanc Frais Carre 1X144Gr 8P</c:v>
                </c:pt>
                <c:pt idx="13">
                  <c:v>Boursin Classique Fromage Frais A Tartiner Afh Boite 1X250Gr 1P</c:v>
                </c:pt>
                <c:pt idx="14">
                  <c:v>Kiri Gouter Fromage Blanc Dips Boite 1X280Gr 8P</c:v>
                </c:pt>
                <c:pt idx="15">
                  <c:v>Mini Babybel Rouge Filet Soft Cheese Enfant 484G</c:v>
                </c:pt>
                <c:pt idx="16">
                  <c:v>Mini Babybel Rouge Filet St Paulin Ferme 1X440Gr 20P</c:v>
                </c:pt>
                <c:pt idx="17">
                  <c:v>Apericube Incontournable Fromage Fondu Cube Assortis 1X250Gr 48P</c:v>
                </c:pt>
                <c:pt idx="18">
                  <c:v>Boursin Classique Fromage Frais A Tartiner Afh Boite 1X150Gr 1P</c:v>
                </c:pt>
                <c:pt idx="19">
                  <c:v>La Vache Qui Rit Nature Fromage Fondu Boite Ronde 1X512Gr 24+8P</c:v>
                </c:pt>
                <c:pt idx="20">
                  <c:v>Apericube Tonic Fromage Fondu Cube Assortis 1X250Gr 48P</c:v>
                </c:pt>
                <c:pt idx="21">
                  <c:v>Kiri Creme Fromage Blanc Frais Carre 1X432Gr 18+6P</c:v>
                </c:pt>
                <c:pt idx="22">
                  <c:v>Apericube Edition Limitee Saison Fromage Fondu Cube Assortis 1X250Gr 48P</c:v>
                </c:pt>
                <c:pt idx="23">
                  <c:v>Boursin Aperitif Roules Fromage Frais Roule Afh Et Jambon Fume Boite 1X100Gr 20P</c:v>
                </c:pt>
                <c:pt idx="24">
                  <c:v>La Vache Qui Rit Nature Fromage Fondu Boite Ronde 1X128Gr 8P</c:v>
                </c:pt>
                <c:pt idx="25">
                  <c:v>Apericube Carrement Toque Fromage Fondu Cube Assortis 1X250Gr 48P</c:v>
                </c:pt>
                <c:pt idx="26">
                  <c:v>Mini Babybel Rouge Filet Soft Cheese Enfant 352G</c:v>
                </c:pt>
                <c:pt idx="27">
                  <c:v>La Vache Qui Rit Pik Et Croq' Fromage Fondu Dips Boite 1X175Gr 5P</c:v>
                </c:pt>
                <c:pt idx="28">
                  <c:v>Apericube Nature Fromage Fondu Cube 1X125Gr 24P</c:v>
                </c:pt>
                <c:pt idx="29">
                  <c:v>Boursin Salade &amp; Aperitif Fromage Frais Des Afh 1X120Gr 1P</c:v>
                </c:pt>
                <c:pt idx="30">
                  <c:v>Mini Babybel Rouge Filet St Paulin Ferme 1X396Gr 12+6P</c:v>
                </c:pt>
                <c:pt idx="31">
                  <c:v>Apericube Edition Voyage Fromage Fondu Cube Assortis 1X250Gr 48P</c:v>
                </c:pt>
                <c:pt idx="32">
                  <c:v>La Vache Qui Rit Pik Et Croq' Fromage Fondu Dips Boite 1X280Gr 8P</c:v>
                </c:pt>
                <c:pt idx="33">
                  <c:v>Toastinette Fromage Fondu Tranche A Chaud Sachet 1X200Gr 10P</c:v>
                </c:pt>
                <c:pt idx="34">
                  <c:v>Apericube Campagne Fromage Fondu Cube Assortis 1X125Gr 24P</c:v>
                </c:pt>
                <c:pt idx="35">
                  <c:v>Toastinette Cheddar Fondu Tranche A Chaud Sachet 1X200Gr 10P</c:v>
                </c:pt>
                <c:pt idx="36">
                  <c:v>Port Salut St Paulin 1X320Gr 1P</c:v>
                </c:pt>
                <c:pt idx="37">
                  <c:v>Boursin Classique Fromage Frais A Tartiner Afh Boite 1X96Gr 6P</c:v>
                </c:pt>
                <c:pt idx="38">
                  <c:v>Boursin Aperitif Roules Fromage Frais Roule Ciboulette &amp; Echalote Jambon Fume Boite 1X100Gr 20P</c:v>
                </c:pt>
                <c:pt idx="39">
                  <c:v>Boursin Classique Fromage Frais A Tartiner Figue Et 3 Noix Boite 1X150Gr 1P</c:v>
                </c:pt>
                <c:pt idx="40">
                  <c:v>Kiri Delicieusement Fouette Fromage Frais A Tartiner 1X210Gr 1P</c:v>
                </c:pt>
                <c:pt idx="41">
                  <c:v>Boursin Classique Fromage Frais A Tartiner Ciboulette &amp; Echalote Boite 1X150Gr 1P</c:v>
                </c:pt>
                <c:pt idx="42">
                  <c:v>Apericube Best Of Des Saveurs Fromage Fondu Cube Assortis 1X125Gr 24P</c:v>
                </c:pt>
                <c:pt idx="43">
                  <c:v>Cousteron St Paulin 1X320Gr 1P</c:v>
                </c:pt>
                <c:pt idx="44">
                  <c:v>Mini Babybel Aros St Paulin Ferme Assortis Filet 1X180Gr 9P</c:v>
                </c:pt>
                <c:pt idx="45">
                  <c:v>Boursin Salade &amp; Aperitif Fromage Frais Des Ciboulette Echalote 1X120Gr 1P</c:v>
                </c:pt>
                <c:pt idx="46">
                  <c:v>Apericube Long Drink Fromage Fondu Cube Assortis 1X125Gr 24P</c:v>
                </c:pt>
                <c:pt idx="47">
                  <c:v>Babybel Mini Rolls St Paulin Ferme Sachet 1X85Gr 5P</c:v>
                </c:pt>
                <c:pt idx="48">
                  <c:v>La Vache Qui Rit Allegee Fromage Fondu Boite Ronde Allege 1X267Gr 16P</c:v>
                </c:pt>
                <c:pt idx="49">
                  <c:v>Babybel St Paulin 1X200Gr 1P</c:v>
                </c:pt>
                <c:pt idx="50">
                  <c:v>Boursin Onctueux Fromage Frais A Tartiner Afh 1X125Gr 1P</c:v>
                </c:pt>
                <c:pt idx="51">
                  <c:v>Apericube Charcut' Fromages Fromage Fondu Cube Assortis 1X250Gr 48P</c:v>
                </c:pt>
                <c:pt idx="52">
                  <c:v>Apericube Nature Fromage Fondu Cube 1X250Gr 48P</c:v>
                </c:pt>
                <c:pt idx="53">
                  <c:v>Kiri Delicieusement Fouette Fromage Frais A Tartiner 1X125Gr 1P</c:v>
                </c:pt>
                <c:pt idx="54">
                  <c:v>Babybel St Paulin 1X380Gr 1P</c:v>
                </c:pt>
                <c:pt idx="55">
                  <c:v>Boursin Cuisine Sauce Fromage Afh 1X240Gr 1P</c:v>
                </c:pt>
                <c:pt idx="56">
                  <c:v>Apericube Soiree Match Aperitif 250G</c:v>
                </c:pt>
                <c:pt idx="57">
                  <c:v>Apericube Selection Du Fromager Fromage Fondu Cube Assortis 1X250Gr 48P</c:v>
                </c:pt>
                <c:pt idx="58">
                  <c:v>Boursin Salade &amp; Aperitif Fromage Frais Des Figue Noix 1X120Gr 1P</c:v>
                </c:pt>
                <c:pt idx="59">
                  <c:v>Mini Babybel Aros Soft Cheese Enfant 180G</c:v>
                </c:pt>
                <c:pt idx="60">
                  <c:v>Kiri Bio Fromage Blanc Frais Carre 1X144Gr 8P</c:v>
                </c:pt>
                <c:pt idx="61">
                  <c:v>Apericube Sucre Sale Fromage Fondu Cube Assortis 1X250Gr 48P</c:v>
                </c:pt>
                <c:pt idx="62">
                  <c:v>Apericube Hot Chalenge Aperitif 250G</c:v>
                </c:pt>
                <c:pt idx="63">
                  <c:v>Boursin Classique Fromage Frais A Tartiner Afh 1X256Gr 16P</c:v>
                </c:pt>
                <c:pt idx="64">
                  <c:v>Kiri Delicieusement Fouette Fromage Frais A Tartiner 1X160Gr 10P</c:v>
                </c:pt>
                <c:pt idx="65">
                  <c:v>Boursin Classique Fromage Frais A Tartiner Afh Boite 1X80Gr 1P</c:v>
                </c:pt>
                <c:pt idx="66">
                  <c:v>Mini Babybel Aros St Paulin Ferme Raclette Filet 1X132Gr 6P</c:v>
                </c:pt>
                <c:pt idx="67">
                  <c:v>Mini Babybel Aros Soft Cheese Enfant 110G</c:v>
                </c:pt>
                <c:pt idx="68">
                  <c:v>Boursin Classique Fromage Frais A Tartiner Poivre Boite 1X150Gr 1P</c:v>
                </c:pt>
                <c:pt idx="69">
                  <c:v>Mini Babybel Aros St Paulin Ferme Emmental Filet 1X120Gr 6P</c:v>
                </c:pt>
                <c:pt idx="70">
                  <c:v>Nurishh Le Coeur Fleuri Vegetal Camembert Boite 1X140Gr 1P</c:v>
                </c:pt>
                <c:pt idx="71">
                  <c:v>Apericube Fromages Du Monde Aperitif 250G</c:v>
                </c:pt>
                <c:pt idx="72">
                  <c:v>La Vache Qui Rit Bio Fromage Fondu Boite Ronde 1X128Gr 8P</c:v>
                </c:pt>
                <c:pt idx="73">
                  <c:v>Apericube P'Tits Plaisirs Fromage Fondu Cube 3 Fromages &amp; Jambon Cru Olive Verte 1X78Gr 15P</c:v>
                </c:pt>
                <c:pt idx="74">
                  <c:v>Boursin Salade &amp; Aperitif Fromage Frais Des Citron Romarin 1X120Gr 1P</c:v>
                </c:pt>
                <c:pt idx="75">
                  <c:v>Nurishh Le Rape Vegetal Specialite Vegetale Sachet 1X150Gr 1P</c:v>
                </c:pt>
                <c:pt idx="76">
                  <c:v>Boursin Salade &amp; Aperitif Fromage Frais Des Noisette Et 3 Noix 1X120Gr 1P</c:v>
                </c:pt>
                <c:pt idx="77">
                  <c:v>Apericube Saveurs De L'Authentique Fromage Fondu Cube Assortis 1X250Gr 48P</c:v>
                </c:pt>
                <c:pt idx="78">
                  <c:v>Nurishh Le Palet Vegetal Specialite Vegetale Ovale Saveur Chevre Boite 1X140Gr 1P</c:v>
                </c:pt>
                <c:pt idx="79">
                  <c:v>Nurishh Les Tranches Vegetales Cheddar Vegetal Tranche Boite 1X160Gr 8P</c:v>
                </c:pt>
                <c:pt idx="80">
                  <c:v>Nurishh Les Tranches Vegetales Emmental Vegetal Tranche Boite 1X160Gr 8P</c:v>
                </c:pt>
                <c:pt idx="81">
                  <c:v>Nurishh Le Rape Vegetal Specialite Vegetale Emmental Sachet 1X150Gr 1P</c:v>
                </c:pt>
                <c:pt idx="82">
                  <c:v>Boursin Onctueux Fromage Frais A Tartiner Afh 1X210Gr 1P</c:v>
                </c:pt>
                <c:pt idx="83">
                  <c:v>Boursin Classique Fromage Frais A Tartiner 3 Noix Boite 1X150Gr 1P</c:v>
                </c:pt>
                <c:pt idx="84">
                  <c:v>Nurishh Le Rape Vegetal Mozzarella Vegetale Sachet 1X150Gr 1P</c:v>
                </c:pt>
                <c:pt idx="85">
                  <c:v>Boursin Salade &amp; Aperitif Soft Cheese Salade 120G</c:v>
                </c:pt>
                <c:pt idx="86">
                  <c:v>Port Salut St Paulin Tranche Boite 1X200Gr 6P</c:v>
                </c:pt>
                <c:pt idx="87">
                  <c:v>Apericube Jambon Fromage Fondu Cube 1X78Gr 15P</c:v>
                </c:pt>
                <c:pt idx="88">
                  <c:v>Nurishh Des Vegetaux Feta Vegetale Sachet 1X150Gr 1P</c:v>
                </c:pt>
                <c:pt idx="89">
                  <c:v>Apericube Montagne Aperitif 250G</c:v>
                </c:pt>
                <c:pt idx="90">
                  <c:v>Boursin Vegetal Specialite Vegetale A Tartiner Afh 1X130Gr 1P</c:v>
                </c:pt>
                <c:pt idx="91">
                  <c:v>La Vache Qui Rit Le Fondant Fromage Fondu 1X200Gr 1P</c:v>
                </c:pt>
                <c:pt idx="92">
                  <c:v>Mini Babybel Aros Soft Cheese Enfant 120G</c:v>
                </c:pt>
                <c:pt idx="93">
                  <c:v>Boursin Classique Fromage Frais A Tartiner Truffe Boite 1X150Gr 1P</c:v>
                </c:pt>
                <c:pt idx="94">
                  <c:v>Boursin Vegetal Alternative Vegetale 150G</c:v>
                </c:pt>
                <c:pt idx="95">
                  <c:v>Boursin Aperitif Roules Aperitif 100G</c:v>
                </c:pt>
                <c:pt idx="96">
                  <c:v>La Vache Qui Rit Aro Fromage Fondu Boite Ronde Jambon 1X133Gr 8P</c:v>
                </c:pt>
                <c:pt idx="97">
                  <c:v>Boursin Classique Fromage Frais A Tartiner Afh Boite 1X320Gr 16+4P</c:v>
                </c:pt>
                <c:pt idx="98">
                  <c:v>Nurishh Les Tranches Vegetales Specialite Vegetale Tranche Piment Boite 1X120Gr 6P</c:v>
                </c:pt>
                <c:pt idx="99">
                  <c:v>Toastinette Fromage Fondu Tranche A Chaud Sachet 1X340Gr 20P</c:v>
                </c:pt>
                <c:pt idx="100">
                  <c:v>Boursin Aperitif Roules Fromage Frais Roule Jambon Fume &amp; Trio De Noix Boite 1X100Gr 20P</c:v>
                </c:pt>
                <c:pt idx="101">
                  <c:v>Boursin Classique Fromage Frais A Tartiner 3 Noix 1X160Gr 10P</c:v>
                </c:pt>
                <c:pt idx="102">
                  <c:v>Toastinette Cheddar Fondu Tranche A Chaud Sachet 1X340Gr 20P</c:v>
                </c:pt>
                <c:pt idx="103">
                  <c:v>Nurishh Le Tartinable Vegetal Specialite Vegetale A Tartiner 1X130Gr 1P</c:v>
                </c:pt>
                <c:pt idx="104">
                  <c:v>Boursin Classique Fromage Frais A Tartiner Citron &amp; Romarin Boite 1X150Gr 1P</c:v>
                </c:pt>
                <c:pt idx="105">
                  <c:v>Port Salut St Paulin 1X185Gr 1P</c:v>
                </c:pt>
                <c:pt idx="106">
                  <c:v>Kiri Chevre Fromage Blanc Frais Carre 1X144Gr 8P</c:v>
                </c:pt>
                <c:pt idx="107">
                  <c:v>Nurishh Les Tranches Vegetales Cheddar Vegetal Tranche Boite 1X200Gr 10P</c:v>
                </c:pt>
                <c:pt idx="108">
                  <c:v>Nurishh Les Tranches Vegetales Emmental Vegetal Tranche Boite 1X200Gr 10P</c:v>
                </c:pt>
                <c:pt idx="109">
                  <c:v>Boursin Classique Fromage Frais A Tartiner Ciboulette &amp; Echalote 1X160Gr 10P</c:v>
                </c:pt>
                <c:pt idx="110">
                  <c:v>Mini Babybel Rouge Filet St Paulin Ferme Sachet 1X40Gr 1P</c:v>
                </c:pt>
                <c:pt idx="111">
                  <c:v>Mini Babybel Bio St Paulin Ferme Filet 1X100Gr 5P</c:v>
                </c:pt>
                <c:pt idx="112">
                  <c:v>Cousteron St Paulin 1X460Gr 1P</c:v>
                </c:pt>
                <c:pt idx="113">
                  <c:v>Mini Babybel Rouge Filet St Paulin Ferme 1X110Gr 5P</c:v>
                </c:pt>
                <c:pt idx="114">
                  <c:v>Port Salut Pause Fondante Specialite Roux Sachet 1X180Gr 1P</c:v>
                </c:pt>
                <c:pt idx="115">
                  <c:v>Limiano Queijo Flamengo Tranche Sachet 1X200Gr 1P</c:v>
                </c:pt>
                <c:pt idx="116">
                  <c:v>Limiano Queijo Flamengo Bloc 1X600Gr 1P</c:v>
                </c:pt>
                <c:pt idx="117">
                  <c:v>Limiano Queijo Flamengo Autre Sachet 1X450Gr 1P</c:v>
                </c:pt>
                <c:pt idx="118">
                  <c:v>Nurishh Le Rape Vegetal Specialite Vegetale Sachet 1X200Gr 1P</c:v>
                </c:pt>
                <c:pt idx="119">
                  <c:v>Nurishh Le Rape Vegetal Mozzarella Vegetale Sachet 1X200Gr 1P</c:v>
                </c:pt>
                <c:pt idx="120">
                  <c:v>Boursin Aperitif Roules Fromage Frais Roule Basilic &amp; Jambon Fume Tomate Boite 1X100Gr 20P</c:v>
                </c:pt>
                <c:pt idx="121">
                  <c:v>Mini Babybel Rouge Filet St Paulin Ferme 1X396Gr 18P</c:v>
                </c:pt>
              </c:strCache>
            </c:strRef>
          </c:cat>
          <c:val>
            <c:numRef>
              <c:f>Sheet1!$C$2:$C$123</c:f>
              <c:numCache>
                <c:formatCode>General</c:formatCode>
                <c:ptCount val="122"/>
                <c:pt idx="0">
                  <c:v>0.133368848672091</c:v>
                </c:pt>
                <c:pt idx="1">
                  <c:v>0.20961355037806173</c:v>
                </c:pt>
                <c:pt idx="2">
                  <c:v>0.2832145782398874</c:v>
                </c:pt>
                <c:pt idx="3">
                  <c:v>0.3308543913890676</c:v>
                </c:pt>
                <c:pt idx="4">
                  <c:v>0.36447328302707577</c:v>
                </c:pt>
                <c:pt idx="5">
                  <c:v>0.3962038268864671</c:v>
                </c:pt>
                <c:pt idx="6">
                  <c:v>0.4234398887535393</c:v>
                </c:pt>
                <c:pt idx="7">
                  <c:v>0.4477558663785497</c:v>
                </c:pt>
                <c:pt idx="8">
                  <c:v>0.471269829857251</c:v>
                </c:pt>
                <c:pt idx="9">
                  <c:v>0.4945387094497996</c:v>
                </c:pt>
                <c:pt idx="10">
                  <c:v>0.5162425354312061</c:v>
                </c:pt>
                <c:pt idx="11">
                  <c:v>0.5369100425702996</c:v>
                </c:pt>
                <c:pt idx="12">
                  <c:v>0.5561437217308196</c:v>
                </c:pt>
                <c:pt idx="13">
                  <c:v>0.5749168799687928</c:v>
                </c:pt>
                <c:pt idx="14">
                  <c:v>0.5928776036330665</c:v>
                </c:pt>
                <c:pt idx="15">
                  <c:v>0.6091307796415376</c:v>
                </c:pt>
                <c:pt idx="16">
                  <c:v>0.6250573836955143</c:v>
                </c:pt>
                <c:pt idx="17">
                  <c:v>0.640932244375297</c:v>
                </c:pt>
                <c:pt idx="18">
                  <c:v>0.6567878297105171</c:v>
                </c:pt>
                <c:pt idx="19">
                  <c:v>0.6718852351855401</c:v>
                </c:pt>
                <c:pt idx="20">
                  <c:v>0.6866873299882402</c:v>
                </c:pt>
                <c:pt idx="21">
                  <c:v>0.6998532383092548</c:v>
                </c:pt>
                <c:pt idx="22">
                  <c:v>0.71279677894968</c:v>
                </c:pt>
                <c:pt idx="23">
                  <c:v>0.725602163313341</c:v>
                </c:pt>
                <c:pt idx="24">
                  <c:v>0.7381918497222385</c:v>
                </c:pt>
                <c:pt idx="25">
                  <c:v>0.7505913103322157</c:v>
                </c:pt>
                <c:pt idx="26">
                  <c:v>0.7624560839730549</c:v>
                </c:pt>
                <c:pt idx="27">
                  <c:v>0.7742654450751257</c:v>
                </c:pt>
                <c:pt idx="28">
                  <c:v>0.7860216766741634</c:v>
                </c:pt>
                <c:pt idx="29">
                  <c:v>0.7966914604891067</c:v>
                </c:pt>
                <c:pt idx="30">
                  <c:v>0.8065213806867341</c:v>
                </c:pt>
                <c:pt idx="31">
                  <c:v>0.8160467113025156</c:v>
                </c:pt>
                <c:pt idx="32">
                  <c:v>0.8232616423692685</c:v>
                </c:pt>
                <c:pt idx="33">
                  <c:v>0.8304116047619623</c:v>
                </c:pt>
                <c:pt idx="34">
                  <c:v>0.8375325562934235</c:v>
                </c:pt>
                <c:pt idx="35">
                  <c:v>0.8446350641576255</c:v>
                </c:pt>
                <c:pt idx="36">
                  <c:v>0.8516755386794277</c:v>
                </c:pt>
                <c:pt idx="37">
                  <c:v>0.8586500334684883</c:v>
                </c:pt>
                <c:pt idx="38">
                  <c:v>0.8648586676128435</c:v>
                </c:pt>
                <c:pt idx="39">
                  <c:v>0.8708883932925647</c:v>
                </c:pt>
                <c:pt idx="40">
                  <c:v>0.8762599034624861</c:v>
                </c:pt>
                <c:pt idx="41">
                  <c:v>0.881552078140616</c:v>
                </c:pt>
                <c:pt idx="42">
                  <c:v>0.886646329927919</c:v>
                </c:pt>
                <c:pt idx="43">
                  <c:v>0.8915724524407371</c:v>
                </c:pt>
                <c:pt idx="44">
                  <c:v>0.8964289097488414</c:v>
                </c:pt>
                <c:pt idx="45">
                  <c:v>0.9009002189284503</c:v>
                </c:pt>
                <c:pt idx="46">
                  <c:v>0.9053280525847054</c:v>
                </c:pt>
                <c:pt idx="47">
                  <c:v>0.9097359912152698</c:v>
                </c:pt>
                <c:pt idx="48">
                  <c:v>0.914108608021534</c:v>
                </c:pt>
                <c:pt idx="49">
                  <c:v>0.9184093744317381</c:v>
                </c:pt>
                <c:pt idx="50">
                  <c:v>0.9227006662436419</c:v>
                </c:pt>
                <c:pt idx="51">
                  <c:v>0.9266478067258918</c:v>
                </c:pt>
                <c:pt idx="52">
                  <c:v>0.9304406792220478</c:v>
                </c:pt>
                <c:pt idx="53">
                  <c:v>0.9339988393372471</c:v>
                </c:pt>
                <c:pt idx="54">
                  <c:v>0.9374207837560573</c:v>
                </c:pt>
                <c:pt idx="55">
                  <c:v>0.9405610667947603</c:v>
                </c:pt>
                <c:pt idx="56">
                  <c:v>0.9435446683524494</c:v>
                </c:pt>
                <c:pt idx="57">
                  <c:v>0.9461986973943926</c:v>
                </c:pt>
                <c:pt idx="58">
                  <c:v>0.9487472828001747</c:v>
                </c:pt>
                <c:pt idx="59">
                  <c:v>0.9512158151886487</c:v>
                </c:pt>
                <c:pt idx="60">
                  <c:v>0.9535290685323462</c:v>
                </c:pt>
                <c:pt idx="61">
                  <c:v>0.9557131020534424</c:v>
                </c:pt>
                <c:pt idx="62">
                  <c:v>0.9578029114282753</c:v>
                </c:pt>
                <c:pt idx="63">
                  <c:v>0.9598605463066427</c:v>
                </c:pt>
                <c:pt idx="64">
                  <c:v>0.9618962803493523</c:v>
                </c:pt>
                <c:pt idx="65">
                  <c:v>0.9638599519998261</c:v>
                </c:pt>
                <c:pt idx="66">
                  <c:v>0.9657425106521149</c:v>
                </c:pt>
                <c:pt idx="67">
                  <c:v>0.9672811299709252</c:v>
                </c:pt>
                <c:pt idx="68">
                  <c:v>0.9687007705131455</c:v>
                </c:pt>
                <c:pt idx="69">
                  <c:v>0.9700826105065534</c:v>
                </c:pt>
                <c:pt idx="70">
                  <c:v>0.9714325858440599</c:v>
                </c:pt>
                <c:pt idx="71">
                  <c:v>0.9727722875207588</c:v>
                </c:pt>
                <c:pt idx="72">
                  <c:v>0.974109135402789</c:v>
                </c:pt>
                <c:pt idx="73">
                  <c:v>0.9754294638905366</c:v>
                </c:pt>
                <c:pt idx="74">
                  <c:v>0.9767379695146565</c:v>
                </c:pt>
                <c:pt idx="75">
                  <c:v>0.97792772466576</c:v>
                </c:pt>
                <c:pt idx="76">
                  <c:v>0.9790365298926593</c:v>
                </c:pt>
                <c:pt idx="77">
                  <c:v>0.9801407690480888</c:v>
                </c:pt>
                <c:pt idx="78">
                  <c:v>0.9811979613599789</c:v>
                </c:pt>
                <c:pt idx="79">
                  <c:v>0.9822266972621722</c:v>
                </c:pt>
                <c:pt idx="80">
                  <c:v>0.9832431047713963</c:v>
                </c:pt>
                <c:pt idx="81">
                  <c:v>0.9842441017894092</c:v>
                </c:pt>
                <c:pt idx="82">
                  <c:v>0.9852305689157086</c:v>
                </c:pt>
                <c:pt idx="83">
                  <c:v>0.9861829698873621</c:v>
                </c:pt>
                <c:pt idx="84">
                  <c:v>0.9871210692708756</c:v>
                </c:pt>
                <c:pt idx="85">
                  <c:v>0.9880313808480145</c:v>
                </c:pt>
                <c:pt idx="86">
                  <c:v>0.9888015792606164</c:v>
                </c:pt>
                <c:pt idx="87">
                  <c:v>0.9895645208810607</c:v>
                </c:pt>
                <c:pt idx="88">
                  <c:v>0.990274805913017</c:v>
                </c:pt>
                <c:pt idx="89">
                  <c:v>0.990971979796895</c:v>
                </c:pt>
                <c:pt idx="90">
                  <c:v>0.9916369954917057</c:v>
                </c:pt>
                <c:pt idx="91">
                  <c:v>0.9922939553318515</c:v>
                </c:pt>
                <c:pt idx="92">
                  <c:v>0.9928456346098173</c:v>
                </c:pt>
                <c:pt idx="93">
                  <c:v>0.9933623508262414</c:v>
                </c:pt>
                <c:pt idx="94">
                  <c:v>0.9938753815706931</c:v>
                </c:pt>
                <c:pt idx="95">
                  <c:v>0.9943860966646136</c:v>
                </c:pt>
                <c:pt idx="96">
                  <c:v>0.9948760687481419</c:v>
                </c:pt>
                <c:pt idx="97">
                  <c:v>0.9953383834844804</c:v>
                </c:pt>
                <c:pt idx="98">
                  <c:v>0.9957848637372568</c:v>
                </c:pt>
                <c:pt idx="99">
                  <c:v>0.9962282455843928</c:v>
                </c:pt>
                <c:pt idx="100">
                  <c:v>0.9966488949185675</c:v>
                </c:pt>
                <c:pt idx="101">
                  <c:v>0.9970683375052821</c:v>
                </c:pt>
                <c:pt idx="102">
                  <c:v>0.997475468006426</c:v>
                </c:pt>
                <c:pt idx="103">
                  <c:v>0.9978437379778803</c:v>
                </c:pt>
                <c:pt idx="104">
                  <c:v>0.9981090267302879</c:v>
                </c:pt>
                <c:pt idx="105">
                  <c:v>0.9983513546661605</c:v>
                </c:pt>
                <c:pt idx="106">
                  <c:v>0.9985935358354502</c:v>
                </c:pt>
                <c:pt idx="107">
                  <c:v>0.9988224590900787</c:v>
                </c:pt>
                <c:pt idx="108">
                  <c:v>0.9990481045576878</c:v>
                </c:pt>
                <c:pt idx="109">
                  <c:v>0.9992682707395327</c:v>
                </c:pt>
                <c:pt idx="110">
                  <c:v>0.9994501471506221</c:v>
                </c:pt>
                <c:pt idx="111">
                  <c:v>0.9996189287210314</c:v>
                </c:pt>
                <c:pt idx="112">
                  <c:v>0.9997858186332603</c:v>
                </c:pt>
                <c:pt idx="113">
                  <c:v>0.9998459440100815</c:v>
                </c:pt>
                <c:pt idx="114">
                  <c:v>0.9999046343358693</c:v>
                </c:pt>
                <c:pt idx="115">
                  <c:v>0.9999493981436735</c:v>
                </c:pt>
                <c:pt idx="116">
                  <c:v>0.9999853396491016</c:v>
                </c:pt>
                <c:pt idx="117">
                  <c:v>0.9999934118111646</c:v>
                </c:pt>
                <c:pt idx="118">
                  <c:v>0.9999952545471508</c:v>
                </c:pt>
                <c:pt idx="119">
                  <c:v>0.9999968852869615</c:v>
                </c:pt>
                <c:pt idx="120">
                  <c:v>0.999999249859687</c:v>
                </c:pt>
                <c:pt idx="121">
                  <c:v>0.999999706466834</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123</c:f>
              <c:strCache>
                <c:ptCount val="122"/>
                <c:pt idx="0">
                  <c:v>La Vache Qui Rit Nature Fromage Fondu Boite Ronde 1X512Gr 32P</c:v>
                </c:pt>
                <c:pt idx="1">
                  <c:v>Mini Babybel Rouge Filet St Paulin Ferme 1X264Gr 12P</c:v>
                </c:pt>
                <c:pt idx="2">
                  <c:v>Kiri Creme Fromage Blanc Frais Carre 1X432Gr 24P</c:v>
                </c:pt>
                <c:pt idx="3">
                  <c:v>La Vache Qui Rit Nature Fromage Fondu Boite Ronde 1X384Gr 24P</c:v>
                </c:pt>
                <c:pt idx="4">
                  <c:v>Mini Babybel Rouge Filet St Paulin Ferme 1X132Gr 6P</c:v>
                </c:pt>
                <c:pt idx="5">
                  <c:v>Kiri Creme Fromage Blanc Frais Carre 1X216Gr 12P</c:v>
                </c:pt>
                <c:pt idx="6">
                  <c:v>La Vache Qui Rit Nature Fromage Fondu Boite Ronde 1X192Gr 12P</c:v>
                </c:pt>
                <c:pt idx="7">
                  <c:v>Kiri Gouter Fromage Blanc Dips Boite 1X175Gr 5P</c:v>
                </c:pt>
                <c:pt idx="8">
                  <c:v>Apericube Edition Limitee Best Of Foot Fromage Fondu Cube Assortis 1X250Gr 48P</c:v>
                </c:pt>
                <c:pt idx="9">
                  <c:v>Boursin Classique Fromage Frais A Tartiner Afh 1X160Gr 10P</c:v>
                </c:pt>
                <c:pt idx="10">
                  <c:v>Apericube Long Drink Fromage Fondu Cube Assortis 1X250Gr 48P</c:v>
                </c:pt>
                <c:pt idx="11">
                  <c:v>Apericube Cocktail Fromage Fondu Cube Assortis 1X250Gr 48P</c:v>
                </c:pt>
                <c:pt idx="12">
                  <c:v>Kiri Creme Fromage Blanc Frais Carre 1X144Gr 8P</c:v>
                </c:pt>
                <c:pt idx="13">
                  <c:v>Boursin Classique Fromage Frais A Tartiner Afh Boite 1X250Gr 1P</c:v>
                </c:pt>
                <c:pt idx="14">
                  <c:v>Kiri Gouter Fromage Blanc Dips Boite 1X280Gr 8P</c:v>
                </c:pt>
                <c:pt idx="15">
                  <c:v>Mini Babybel Rouge Filet Soft Cheese Enfant 484G</c:v>
                </c:pt>
                <c:pt idx="16">
                  <c:v>Mini Babybel Rouge Filet St Paulin Ferme 1X440Gr 20P</c:v>
                </c:pt>
                <c:pt idx="17">
                  <c:v>Apericube Incontournable Fromage Fondu Cube Assortis 1X250Gr 48P</c:v>
                </c:pt>
                <c:pt idx="18">
                  <c:v>Boursin Classique Fromage Frais A Tartiner Afh Boite 1X150Gr 1P</c:v>
                </c:pt>
                <c:pt idx="19">
                  <c:v>La Vache Qui Rit Nature Fromage Fondu Boite Ronde 1X512Gr 24+8P</c:v>
                </c:pt>
                <c:pt idx="20">
                  <c:v>Apericube Tonic Fromage Fondu Cube Assortis 1X250Gr 48P</c:v>
                </c:pt>
                <c:pt idx="21">
                  <c:v>Kiri Creme Fromage Blanc Frais Carre 1X432Gr 18+6P</c:v>
                </c:pt>
                <c:pt idx="22">
                  <c:v>Apericube Edition Limitee Saison Fromage Fondu Cube Assortis 1X250Gr 48P</c:v>
                </c:pt>
                <c:pt idx="23">
                  <c:v>Boursin Aperitif Roules Fromage Frais Roule Afh Et Jambon Fume Boite 1X100Gr 20P</c:v>
                </c:pt>
                <c:pt idx="24">
                  <c:v>La Vache Qui Rit Nature Fromage Fondu Boite Ronde 1X128Gr 8P</c:v>
                </c:pt>
                <c:pt idx="25">
                  <c:v>Apericube Carrement Toque Fromage Fondu Cube Assortis 1X250Gr 48P</c:v>
                </c:pt>
                <c:pt idx="26">
                  <c:v>Mini Babybel Rouge Filet Soft Cheese Enfant 352G</c:v>
                </c:pt>
                <c:pt idx="27">
                  <c:v>La Vache Qui Rit Pik Et Croq' Fromage Fondu Dips Boite 1X175Gr 5P</c:v>
                </c:pt>
                <c:pt idx="28">
                  <c:v>Apericube Nature Fromage Fondu Cube 1X125Gr 24P</c:v>
                </c:pt>
                <c:pt idx="29">
                  <c:v>Boursin Salade &amp; Aperitif Fromage Frais Des Afh 1X120Gr 1P</c:v>
                </c:pt>
                <c:pt idx="30">
                  <c:v>Mini Babybel Rouge Filet St Paulin Ferme 1X396Gr 12+6P</c:v>
                </c:pt>
                <c:pt idx="31">
                  <c:v>Apericube Edition Voyage Fromage Fondu Cube Assortis 1X250Gr 48P</c:v>
                </c:pt>
                <c:pt idx="32">
                  <c:v>La Vache Qui Rit Pik Et Croq' Fromage Fondu Dips Boite 1X280Gr 8P</c:v>
                </c:pt>
                <c:pt idx="33">
                  <c:v>Toastinette Fromage Fondu Tranche A Chaud Sachet 1X200Gr 10P</c:v>
                </c:pt>
                <c:pt idx="34">
                  <c:v>Apericube Campagne Fromage Fondu Cube Assortis 1X125Gr 24P</c:v>
                </c:pt>
                <c:pt idx="35">
                  <c:v>Toastinette Cheddar Fondu Tranche A Chaud Sachet 1X200Gr 10P</c:v>
                </c:pt>
                <c:pt idx="36">
                  <c:v>Port Salut St Paulin 1X320Gr 1P</c:v>
                </c:pt>
                <c:pt idx="37">
                  <c:v>Boursin Classique Fromage Frais A Tartiner Afh Boite 1X96Gr 6P</c:v>
                </c:pt>
                <c:pt idx="38">
                  <c:v>Boursin Aperitif Roules Fromage Frais Roule Ciboulette &amp; Echalote Jambon Fume Boite 1X100Gr 20P</c:v>
                </c:pt>
                <c:pt idx="39">
                  <c:v>Boursin Classique Fromage Frais A Tartiner Figue Et 3 Noix Boite 1X150Gr 1P</c:v>
                </c:pt>
                <c:pt idx="40">
                  <c:v>Kiri Delicieusement Fouette Fromage Frais A Tartiner 1X210Gr 1P</c:v>
                </c:pt>
                <c:pt idx="41">
                  <c:v>Boursin Classique Fromage Frais A Tartiner Ciboulette &amp; Echalote Boite 1X150Gr 1P</c:v>
                </c:pt>
                <c:pt idx="42">
                  <c:v>Apericube Best Of Des Saveurs Fromage Fondu Cube Assortis 1X125Gr 24P</c:v>
                </c:pt>
                <c:pt idx="43">
                  <c:v>Cousteron St Paulin 1X320Gr 1P</c:v>
                </c:pt>
                <c:pt idx="44">
                  <c:v>Mini Babybel Aros St Paulin Ferme Assortis Filet 1X180Gr 9P</c:v>
                </c:pt>
                <c:pt idx="45">
                  <c:v>Boursin Salade &amp; Aperitif Fromage Frais Des Ciboulette Echalote 1X120Gr 1P</c:v>
                </c:pt>
                <c:pt idx="46">
                  <c:v>Apericube Long Drink Fromage Fondu Cube Assortis 1X125Gr 24P</c:v>
                </c:pt>
                <c:pt idx="47">
                  <c:v>Babybel Mini Rolls St Paulin Ferme Sachet 1X85Gr 5P</c:v>
                </c:pt>
                <c:pt idx="48">
                  <c:v>La Vache Qui Rit Allegee Fromage Fondu Boite Ronde Allege 1X267Gr 16P</c:v>
                </c:pt>
                <c:pt idx="49">
                  <c:v>Babybel St Paulin 1X200Gr 1P</c:v>
                </c:pt>
                <c:pt idx="50">
                  <c:v>Boursin Onctueux Fromage Frais A Tartiner Afh 1X125Gr 1P</c:v>
                </c:pt>
                <c:pt idx="51">
                  <c:v>Apericube Charcut' Fromages Fromage Fondu Cube Assortis 1X250Gr 48P</c:v>
                </c:pt>
                <c:pt idx="52">
                  <c:v>Apericube Nature Fromage Fondu Cube 1X250Gr 48P</c:v>
                </c:pt>
                <c:pt idx="53">
                  <c:v>Kiri Delicieusement Fouette Fromage Frais A Tartiner 1X125Gr 1P</c:v>
                </c:pt>
                <c:pt idx="54">
                  <c:v>Babybel St Paulin 1X380Gr 1P</c:v>
                </c:pt>
                <c:pt idx="55">
                  <c:v>Boursin Cuisine Sauce Fromage Afh 1X240Gr 1P</c:v>
                </c:pt>
                <c:pt idx="56">
                  <c:v>Apericube Soiree Match Aperitif 250G</c:v>
                </c:pt>
                <c:pt idx="57">
                  <c:v>Apericube Selection Du Fromager Fromage Fondu Cube Assortis 1X250Gr 48P</c:v>
                </c:pt>
                <c:pt idx="58">
                  <c:v>Boursin Salade &amp; Aperitif Fromage Frais Des Figue Noix 1X120Gr 1P</c:v>
                </c:pt>
                <c:pt idx="59">
                  <c:v>Mini Babybel Aros Soft Cheese Enfant 180G</c:v>
                </c:pt>
                <c:pt idx="60">
                  <c:v>Kiri Bio Fromage Blanc Frais Carre 1X144Gr 8P</c:v>
                </c:pt>
                <c:pt idx="61">
                  <c:v>Apericube Sucre Sale Fromage Fondu Cube Assortis 1X250Gr 48P</c:v>
                </c:pt>
                <c:pt idx="62">
                  <c:v>Apericube Hot Chalenge Aperitif 250G</c:v>
                </c:pt>
                <c:pt idx="63">
                  <c:v>Boursin Classique Fromage Frais A Tartiner Afh 1X256Gr 16P</c:v>
                </c:pt>
                <c:pt idx="64">
                  <c:v>Kiri Delicieusement Fouette Fromage Frais A Tartiner 1X160Gr 10P</c:v>
                </c:pt>
                <c:pt idx="65">
                  <c:v>Boursin Classique Fromage Frais A Tartiner Afh Boite 1X80Gr 1P</c:v>
                </c:pt>
                <c:pt idx="66">
                  <c:v>Mini Babybel Aros St Paulin Ferme Raclette Filet 1X132Gr 6P</c:v>
                </c:pt>
                <c:pt idx="67">
                  <c:v>Mini Babybel Aros Soft Cheese Enfant 110G</c:v>
                </c:pt>
                <c:pt idx="68">
                  <c:v>Boursin Classique Fromage Frais A Tartiner Poivre Boite 1X150Gr 1P</c:v>
                </c:pt>
                <c:pt idx="69">
                  <c:v>Mini Babybel Aros St Paulin Ferme Emmental Filet 1X120Gr 6P</c:v>
                </c:pt>
                <c:pt idx="70">
                  <c:v>Nurishh Le Coeur Fleuri Vegetal Camembert Boite 1X140Gr 1P</c:v>
                </c:pt>
                <c:pt idx="71">
                  <c:v>Apericube Fromages Du Monde Aperitif 250G</c:v>
                </c:pt>
                <c:pt idx="72">
                  <c:v>La Vache Qui Rit Bio Fromage Fondu Boite Ronde 1X128Gr 8P</c:v>
                </c:pt>
                <c:pt idx="73">
                  <c:v>Apericube P'Tits Plaisirs Fromage Fondu Cube 3 Fromages &amp; Jambon Cru Olive Verte 1X78Gr 15P</c:v>
                </c:pt>
                <c:pt idx="74">
                  <c:v>Boursin Salade &amp; Aperitif Fromage Frais Des Citron Romarin 1X120Gr 1P</c:v>
                </c:pt>
                <c:pt idx="75">
                  <c:v>Nurishh Le Rape Vegetal Specialite Vegetale Sachet 1X150Gr 1P</c:v>
                </c:pt>
                <c:pt idx="76">
                  <c:v>Boursin Salade &amp; Aperitif Fromage Frais Des Noisette Et 3 Noix 1X120Gr 1P</c:v>
                </c:pt>
                <c:pt idx="77">
                  <c:v>Apericube Saveurs De L'Authentique Fromage Fondu Cube Assortis 1X250Gr 48P</c:v>
                </c:pt>
                <c:pt idx="78">
                  <c:v>Nurishh Le Palet Vegetal Specialite Vegetale Ovale Saveur Chevre Boite 1X140Gr 1P</c:v>
                </c:pt>
                <c:pt idx="79">
                  <c:v>Nurishh Les Tranches Vegetales Cheddar Vegetal Tranche Boite 1X160Gr 8P</c:v>
                </c:pt>
                <c:pt idx="80">
                  <c:v>Nurishh Les Tranches Vegetales Emmental Vegetal Tranche Boite 1X160Gr 8P</c:v>
                </c:pt>
                <c:pt idx="81">
                  <c:v>Nurishh Le Rape Vegetal Specialite Vegetale Emmental Sachet 1X150Gr 1P</c:v>
                </c:pt>
                <c:pt idx="82">
                  <c:v>Boursin Onctueux Fromage Frais A Tartiner Afh 1X210Gr 1P</c:v>
                </c:pt>
                <c:pt idx="83">
                  <c:v>Boursin Classique Fromage Frais A Tartiner 3 Noix Boite 1X150Gr 1P</c:v>
                </c:pt>
                <c:pt idx="84">
                  <c:v>Nurishh Le Rape Vegetal Mozzarella Vegetale Sachet 1X150Gr 1P</c:v>
                </c:pt>
                <c:pt idx="85">
                  <c:v>Boursin Salade &amp; Aperitif Soft Cheese Salade 120G</c:v>
                </c:pt>
                <c:pt idx="86">
                  <c:v>Port Salut St Paulin Tranche Boite 1X200Gr 6P</c:v>
                </c:pt>
                <c:pt idx="87">
                  <c:v>Apericube Jambon Fromage Fondu Cube 1X78Gr 15P</c:v>
                </c:pt>
                <c:pt idx="88">
                  <c:v>Nurishh Des Vegetaux Feta Vegetale Sachet 1X150Gr 1P</c:v>
                </c:pt>
                <c:pt idx="89">
                  <c:v>Apericube Montagne Aperitif 250G</c:v>
                </c:pt>
                <c:pt idx="90">
                  <c:v>Boursin Vegetal Specialite Vegetale A Tartiner Afh 1X130Gr 1P</c:v>
                </c:pt>
                <c:pt idx="91">
                  <c:v>La Vache Qui Rit Le Fondant Fromage Fondu 1X200Gr 1P</c:v>
                </c:pt>
                <c:pt idx="92">
                  <c:v>Mini Babybel Aros Soft Cheese Enfant 120G</c:v>
                </c:pt>
                <c:pt idx="93">
                  <c:v>Boursin Classique Fromage Frais A Tartiner Truffe Boite 1X150Gr 1P</c:v>
                </c:pt>
                <c:pt idx="94">
                  <c:v>Boursin Vegetal Alternative Vegetale 150G</c:v>
                </c:pt>
                <c:pt idx="95">
                  <c:v>Boursin Aperitif Roules Aperitif 100G</c:v>
                </c:pt>
                <c:pt idx="96">
                  <c:v>La Vache Qui Rit Aro Fromage Fondu Boite Ronde Jambon 1X133Gr 8P</c:v>
                </c:pt>
                <c:pt idx="97">
                  <c:v>Boursin Classique Fromage Frais A Tartiner Afh Boite 1X320Gr 16+4P</c:v>
                </c:pt>
                <c:pt idx="98">
                  <c:v>Nurishh Les Tranches Vegetales Specialite Vegetale Tranche Piment Boite 1X120Gr 6P</c:v>
                </c:pt>
                <c:pt idx="99">
                  <c:v>Toastinette Fromage Fondu Tranche A Chaud Sachet 1X340Gr 20P</c:v>
                </c:pt>
                <c:pt idx="100">
                  <c:v>Boursin Aperitif Roules Fromage Frais Roule Jambon Fume &amp; Trio De Noix Boite 1X100Gr 20P</c:v>
                </c:pt>
                <c:pt idx="101">
                  <c:v>Boursin Classique Fromage Frais A Tartiner 3 Noix 1X160Gr 10P</c:v>
                </c:pt>
                <c:pt idx="102">
                  <c:v>Toastinette Cheddar Fondu Tranche A Chaud Sachet 1X340Gr 20P</c:v>
                </c:pt>
                <c:pt idx="103">
                  <c:v>Nurishh Le Tartinable Vegetal Specialite Vegetale A Tartiner 1X130Gr 1P</c:v>
                </c:pt>
                <c:pt idx="104">
                  <c:v>Boursin Classique Fromage Frais A Tartiner Citron &amp; Romarin Boite 1X150Gr 1P</c:v>
                </c:pt>
                <c:pt idx="105">
                  <c:v>Port Salut St Paulin 1X185Gr 1P</c:v>
                </c:pt>
                <c:pt idx="106">
                  <c:v>Kiri Chevre Fromage Blanc Frais Carre 1X144Gr 8P</c:v>
                </c:pt>
                <c:pt idx="107">
                  <c:v>Nurishh Les Tranches Vegetales Cheddar Vegetal Tranche Boite 1X200Gr 10P</c:v>
                </c:pt>
                <c:pt idx="108">
                  <c:v>Nurishh Les Tranches Vegetales Emmental Vegetal Tranche Boite 1X200Gr 10P</c:v>
                </c:pt>
                <c:pt idx="109">
                  <c:v>Boursin Classique Fromage Frais A Tartiner Ciboulette &amp; Echalote 1X160Gr 10P</c:v>
                </c:pt>
                <c:pt idx="110">
                  <c:v>Mini Babybel Rouge Filet St Paulin Ferme Sachet 1X40Gr 1P</c:v>
                </c:pt>
                <c:pt idx="111">
                  <c:v>Mini Babybel Bio St Paulin Ferme Filet 1X100Gr 5P</c:v>
                </c:pt>
                <c:pt idx="112">
                  <c:v>Cousteron St Paulin 1X460Gr 1P</c:v>
                </c:pt>
                <c:pt idx="113">
                  <c:v>Mini Babybel Rouge Filet St Paulin Ferme 1X110Gr 5P</c:v>
                </c:pt>
                <c:pt idx="114">
                  <c:v>Port Salut Pause Fondante Specialite Roux Sachet 1X180Gr 1P</c:v>
                </c:pt>
                <c:pt idx="115">
                  <c:v>Limiano Queijo Flamengo Tranche Sachet 1X200Gr 1P</c:v>
                </c:pt>
                <c:pt idx="116">
                  <c:v>Limiano Queijo Flamengo Bloc 1X600Gr 1P</c:v>
                </c:pt>
                <c:pt idx="117">
                  <c:v>Limiano Queijo Flamengo Autre Sachet 1X450Gr 1P</c:v>
                </c:pt>
                <c:pt idx="118">
                  <c:v>Nurishh Le Rape Vegetal Specialite Vegetale Sachet 1X200Gr 1P</c:v>
                </c:pt>
                <c:pt idx="119">
                  <c:v>Nurishh Le Rape Vegetal Mozzarella Vegetale Sachet 1X200Gr 1P</c:v>
                </c:pt>
                <c:pt idx="120">
                  <c:v>Boursin Aperitif Roules Fromage Frais Roule Basilic &amp; Jambon Fume Tomate Boite 1X100Gr 20P</c:v>
                </c:pt>
                <c:pt idx="121">
                  <c:v>Mini Babybel Rouge Filet St Paulin Ferme 1X396Gr 18P</c:v>
                </c:pt>
              </c:strCache>
            </c:strRef>
          </c:cat>
          <c:val>
            <c:numRef>
              <c:f>Sheet1!$D$2:$D$123</c:f>
              <c:numCache>
                <c:formatCode>General</c:formatCode>
                <c:ptCount val="122"/>
                <c:pt idx="0">
                  <c:v>82610.36363636363</c:v>
                </c:pt>
                <c:pt idx="1">
                  <c:v>46754.67</c:v>
                </c:pt>
                <c:pt idx="2">
                  <c:v>45589.41414141414</c:v>
                </c:pt>
                <c:pt idx="3">
                  <c:v>29213.62</c:v>
                </c:pt>
                <c:pt idx="4">
                  <c:v>20615.73</c:v>
                </c:pt>
                <c:pt idx="5">
                  <c:v>19457.76</c:v>
                </c:pt>
                <c:pt idx="6">
                  <c:v>16701.66</c:v>
                </c:pt>
                <c:pt idx="7">
                  <c:v>14911.01</c:v>
                </c:pt>
                <c:pt idx="8">
                  <c:v>14419.2</c:v>
                </c:pt>
                <c:pt idx="9">
                  <c:v>14268.91</c:v>
                </c:pt>
                <c:pt idx="10">
                  <c:v>13309.19</c:v>
                </c:pt>
                <c:pt idx="11">
                  <c:v>12673.7</c:v>
                </c:pt>
                <c:pt idx="12">
                  <c:v>11794.45</c:v>
                </c:pt>
                <c:pt idx="13">
                  <c:v>11512.05</c:v>
                </c:pt>
                <c:pt idx="14">
                  <c:v>11125.10101010101</c:v>
                </c:pt>
                <c:pt idx="15">
                  <c:v>10275.0</c:v>
                </c:pt>
                <c:pt idx="16">
                  <c:v>9766.49</c:v>
                </c:pt>
                <c:pt idx="17">
                  <c:v>9833.09090909091</c:v>
                </c:pt>
                <c:pt idx="18">
                  <c:v>9722.94</c:v>
                </c:pt>
                <c:pt idx="19">
                  <c:v>9848.946808510638</c:v>
                </c:pt>
                <c:pt idx="20">
                  <c:v>9357.649484536083</c:v>
                </c:pt>
                <c:pt idx="21">
                  <c:v>8238.34693877551</c:v>
                </c:pt>
                <c:pt idx="22">
                  <c:v>8099.2040816326535</c:v>
                </c:pt>
                <c:pt idx="23">
                  <c:v>7852.5</c:v>
                </c:pt>
                <c:pt idx="24">
                  <c:v>8213.010638297872</c:v>
                </c:pt>
                <c:pt idx="25">
                  <c:v>7603.58</c:v>
                </c:pt>
                <c:pt idx="26">
                  <c:v>7349.19191919192</c:v>
                </c:pt>
                <c:pt idx="27">
                  <c:v>7241.72</c:v>
                </c:pt>
                <c:pt idx="28">
                  <c:v>7209.14</c:v>
                </c:pt>
                <c:pt idx="29">
                  <c:v>6542.91</c:v>
                </c:pt>
                <c:pt idx="30">
                  <c:v>6412.648936170212</c:v>
                </c:pt>
                <c:pt idx="31">
                  <c:v>6418.802197802198</c:v>
                </c:pt>
                <c:pt idx="32">
                  <c:v>4657.1894736842105</c:v>
                </c:pt>
                <c:pt idx="33">
                  <c:v>4384.49</c:v>
                </c:pt>
                <c:pt idx="34">
                  <c:v>4410.80808080808</c:v>
                </c:pt>
                <c:pt idx="35">
                  <c:v>4355.39</c:v>
                </c:pt>
                <c:pt idx="36">
                  <c:v>4317.35</c:v>
                </c:pt>
                <c:pt idx="37">
                  <c:v>4276.89</c:v>
                </c:pt>
                <c:pt idx="38">
                  <c:v>4007.6315789473683</c:v>
                </c:pt>
                <c:pt idx="39">
                  <c:v>3773.0</c:v>
                </c:pt>
                <c:pt idx="40">
                  <c:v>3431.15625</c:v>
                </c:pt>
                <c:pt idx="41">
                  <c:v>3345.6288659793813</c:v>
                </c:pt>
                <c:pt idx="42">
                  <c:v>3220.505154639175</c:v>
                </c:pt>
                <c:pt idx="43">
                  <c:v>3020.79</c:v>
                </c:pt>
                <c:pt idx="44">
                  <c:v>3102.15625</c:v>
                </c:pt>
                <c:pt idx="45">
                  <c:v>2741.89</c:v>
                </c:pt>
                <c:pt idx="46">
                  <c:v>2770.6428571428573</c:v>
                </c:pt>
                <c:pt idx="47">
                  <c:v>2938.0760869565215</c:v>
                </c:pt>
                <c:pt idx="48">
                  <c:v>3117.8720930232557</c:v>
                </c:pt>
                <c:pt idx="49">
                  <c:v>2637.31</c:v>
                </c:pt>
                <c:pt idx="50">
                  <c:v>2658.080808080808</c:v>
                </c:pt>
                <c:pt idx="51">
                  <c:v>3457.8</c:v>
                </c:pt>
                <c:pt idx="52">
                  <c:v>2944.1265822784812</c:v>
                </c:pt>
                <c:pt idx="53">
                  <c:v>2226.4591836734694</c:v>
                </c:pt>
                <c:pt idx="54">
                  <c:v>2384.5454545454545</c:v>
                </c:pt>
                <c:pt idx="55">
                  <c:v>1964.9795918367347</c:v>
                </c:pt>
                <c:pt idx="56">
                  <c:v>1886.1855670103093</c:v>
                </c:pt>
                <c:pt idx="57">
                  <c:v>2325.0</c:v>
                </c:pt>
                <c:pt idx="58">
                  <c:v>1562.84</c:v>
                </c:pt>
                <c:pt idx="59">
                  <c:v>1576.8229166666667</c:v>
                </c:pt>
                <c:pt idx="60">
                  <c:v>1891.3733333333332</c:v>
                </c:pt>
                <c:pt idx="61">
                  <c:v>2029.2272727272727</c:v>
                </c:pt>
                <c:pt idx="62">
                  <c:v>1334.90625</c:v>
                </c:pt>
                <c:pt idx="63">
                  <c:v>2175.4827586206898</c:v>
                </c:pt>
                <c:pt idx="64">
                  <c:v>1402.6404494382023</c:v>
                </c:pt>
                <c:pt idx="65">
                  <c:v>1281.0212765957447</c:v>
                </c:pt>
                <c:pt idx="66">
                  <c:v>1311.840909090909</c:v>
                </c:pt>
                <c:pt idx="67">
                  <c:v>1003.7340425531914</c:v>
                </c:pt>
                <c:pt idx="68">
                  <c:v>989.2613636363636</c:v>
                </c:pt>
                <c:pt idx="69">
                  <c:v>1210.5285714285715</c:v>
                </c:pt>
                <c:pt idx="70">
                  <c:v>1061.320512820513</c:v>
                </c:pt>
                <c:pt idx="71">
                  <c:v>1157.0845070422536</c:v>
                </c:pt>
                <c:pt idx="72">
                  <c:v>999.7317073170732</c:v>
                </c:pt>
                <c:pt idx="73">
                  <c:v>975.4819277108434</c:v>
                </c:pt>
                <c:pt idx="74">
                  <c:v>844.6315789473684</c:v>
                </c:pt>
                <c:pt idx="75">
                  <c:v>1013.3055555555555</c:v>
                </c:pt>
                <c:pt idx="76">
                  <c:v>708.2708333333334</c:v>
                </c:pt>
                <c:pt idx="77">
                  <c:v>2184.3225806451615</c:v>
                </c:pt>
                <c:pt idx="78">
                  <c:v>982.2575757575758</c:v>
                </c:pt>
                <c:pt idx="79">
                  <c:v>841.12</c:v>
                </c:pt>
                <c:pt idx="80">
                  <c:v>877.8591549295775</c:v>
                </c:pt>
                <c:pt idx="81">
                  <c:v>767.2875</c:v>
                </c:pt>
                <c:pt idx="82">
                  <c:v>1025.2881355932204</c:v>
                </c:pt>
                <c:pt idx="83">
                  <c:v>871.6865671641791</c:v>
                </c:pt>
                <c:pt idx="84">
                  <c:v>845.9705882352941</c:v>
                </c:pt>
                <c:pt idx="85">
                  <c:v>593.8510638297872</c:v>
                </c:pt>
                <c:pt idx="86">
                  <c:v>2249.0476190476193</c:v>
                </c:pt>
                <c:pt idx="87">
                  <c:v>5198.333333333333</c:v>
                </c:pt>
                <c:pt idx="88">
                  <c:v>558.4102564102565</c:v>
                </c:pt>
                <c:pt idx="89">
                  <c:v>791.7037037037037</c:v>
                </c:pt>
                <c:pt idx="90">
                  <c:v>529.6103896103896</c:v>
                </c:pt>
                <c:pt idx="91">
                  <c:v>682.8135593220339</c:v>
                </c:pt>
                <c:pt idx="92">
                  <c:v>497.5</c:v>
                </c:pt>
                <c:pt idx="93">
                  <c:v>480.09090909090907</c:v>
                </c:pt>
                <c:pt idx="94">
                  <c:v>398.2278481012658</c:v>
                </c:pt>
                <c:pt idx="95">
                  <c:v>590.9056603773585</c:v>
                </c:pt>
                <c:pt idx="96">
                  <c:v>3755.75</c:v>
                </c:pt>
                <c:pt idx="97">
                  <c:v>333.52941176470586</c:v>
                </c:pt>
                <c:pt idx="98">
                  <c:v>480.33333333333337</c:v>
                </c:pt>
                <c:pt idx="99">
                  <c:v>1699.3125</c:v>
                </c:pt>
                <c:pt idx="100">
                  <c:v>537.3958333333334</c:v>
                </c:pt>
                <c:pt idx="101">
                  <c:v>524.9183673469388</c:v>
                </c:pt>
                <c:pt idx="102">
                  <c:v>1560.375</c:v>
                </c:pt>
                <c:pt idx="103">
                  <c:v>364.241935483871</c:v>
                </c:pt>
                <c:pt idx="104">
                  <c:v>229.1267605633803</c:v>
                </c:pt>
                <c:pt idx="105">
                  <c:v>1651.111111111111</c:v>
                </c:pt>
                <c:pt idx="106">
                  <c:v>265.19642857142856</c:v>
                </c:pt>
                <c:pt idx="107">
                  <c:v>194.97222222222223</c:v>
                </c:pt>
                <c:pt idx="108">
                  <c:v>186.98648648648648</c:v>
                </c:pt>
                <c:pt idx="109">
                  <c:v>964.3571428571428</c:v>
                </c:pt>
                <c:pt idx="110">
                  <c:v>531.0952380952381</c:v>
                </c:pt>
                <c:pt idx="111">
                  <c:v>154.47761194029852</c:v>
                </c:pt>
                <c:pt idx="112">
                  <c:v>1137.111111111111</c:v>
                </c:pt>
                <c:pt idx="113">
                  <c:v>737.4</c:v>
                </c:pt>
                <c:pt idx="114">
                  <c:v>899.75</c:v>
                </c:pt>
                <c:pt idx="115">
                  <c:v>1372.5</c:v>
                </c:pt>
                <c:pt idx="116">
                  <c:v>734.6666666666666</c:v>
                </c:pt>
                <c:pt idx="117">
                  <c:v>495.0</c:v>
                </c:pt>
                <c:pt idx="118">
                  <c:v>28.25</c:v>
                </c:pt>
                <c:pt idx="119">
                  <c:v>33.333333333333336</c:v>
                </c:pt>
                <c:pt idx="120">
                  <c:v>28.5</c:v>
                </c:pt>
                <c:pt idx="121">
                  <c:v>28.0</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99</c:f>
              <c:strCache>
                <c:ptCount val="98"/>
                <c:pt idx="0">
                  <c:v>La Vache Qui Rit Nature Fromage Fondu Boite Ronde 1X512Gr 32P</c:v>
                </c:pt>
                <c:pt idx="1">
                  <c:v>Mini Babybel Rouge Filet St Paulin Ferme 1X264Gr 12P</c:v>
                </c:pt>
                <c:pt idx="2">
                  <c:v>La Vache Qui Rit Nature Fromage Fondu Boite Ronde 1X384Gr 24P</c:v>
                </c:pt>
                <c:pt idx="3">
                  <c:v>Apericube Edition Limitee Best Of Foot Fromage Fondu Cube Assortis 1X250Gr 48P</c:v>
                </c:pt>
                <c:pt idx="4">
                  <c:v>La Vache Qui Rit Nature Fromage Fondu Boite Ronde 1X192Gr 12P</c:v>
                </c:pt>
                <c:pt idx="5">
                  <c:v>Mini Babybel Rouge Filet St Paulin Ferme 1X132Gr 6P</c:v>
                </c:pt>
                <c:pt idx="6">
                  <c:v>Kiri Creme Fromage Blanc Frais Carre 1X432Gr 24P</c:v>
                </c:pt>
                <c:pt idx="7">
                  <c:v>Apericube Cocktail Fromage Fondu Cube Assortis 1X250Gr 48P</c:v>
                </c:pt>
                <c:pt idx="8">
                  <c:v>Apericube Long Drink Fromage Fondu Cube Assortis 1X250Gr 48P</c:v>
                </c:pt>
                <c:pt idx="9">
                  <c:v>Kiri Creme Fromage Blanc Frais Carre 1X216Gr 12P</c:v>
                </c:pt>
                <c:pt idx="10">
                  <c:v>Boursin Classique Fromage Frais A Tartiner Afh 1X160Gr 10P</c:v>
                </c:pt>
                <c:pt idx="11">
                  <c:v>Kiri Creme Fromage Blanc Frais Carre 1X144Gr 8P</c:v>
                </c:pt>
                <c:pt idx="12">
                  <c:v>Boursin Classique Fromage Frais A Tartiner Afh Boite 1X150Gr 1P</c:v>
                </c:pt>
                <c:pt idx="13">
                  <c:v>Boursin Classique Fromage Frais A Tartiner Afh Boite 1X250Gr 1P</c:v>
                </c:pt>
                <c:pt idx="14">
                  <c:v>Kiri Gouter Fromage Blanc Dips Boite 1X175Gr 5P</c:v>
                </c:pt>
                <c:pt idx="15">
                  <c:v>Boursin Aperitif Roules Fromage Frais Roule Afh Et Jambon Fume Boite 1X100Gr 20P</c:v>
                </c:pt>
                <c:pt idx="16">
                  <c:v>Apericube Edition Limitee Saison Fromage Fondu Cube Assortis 1X250Gr 48P</c:v>
                </c:pt>
                <c:pt idx="17">
                  <c:v>Apericube Tonic Fromage Fondu Cube Assortis 1X250Gr 48P</c:v>
                </c:pt>
                <c:pt idx="18">
                  <c:v>Apericube Nature Fromage Fondu Cube 1X125Gr 24P</c:v>
                </c:pt>
                <c:pt idx="19">
                  <c:v>Mini Babybel Rouge Filet Soft Cheese Enfant 352G</c:v>
                </c:pt>
                <c:pt idx="20">
                  <c:v>Boursin Salade &amp; Aperitif Fromage Frais Des Afh 1X120Gr 1P</c:v>
                </c:pt>
                <c:pt idx="21">
                  <c:v>Mini Babybel Rouge Filet St Paulin Ferme 1X440Gr 20P</c:v>
                </c:pt>
                <c:pt idx="22">
                  <c:v>Kiri Gouter Fromage Blanc Dips Boite 1X280Gr 8P</c:v>
                </c:pt>
                <c:pt idx="23">
                  <c:v>La Vache Qui Rit Nature Fromage Fondu Boite Ronde 1X128Gr 8P</c:v>
                </c:pt>
                <c:pt idx="24">
                  <c:v>La Vache Qui Rit Pik Et Croq' Fromage Fondu Dips Boite 1X175Gr 5P</c:v>
                </c:pt>
                <c:pt idx="25">
                  <c:v>Boursin Aperitif Roules Fromage Frais Roule Ciboulette &amp; Echalote Jambon Fume Boite 1X100Gr 20P</c:v>
                </c:pt>
                <c:pt idx="26">
                  <c:v>Boursin Classique Fromage Frais A Tartiner Afh Boite 1X96Gr 6P</c:v>
                </c:pt>
                <c:pt idx="27">
                  <c:v>La Vache Qui Rit Nature Fromage Fondu Boite Ronde 1X512Gr 24+8P</c:v>
                </c:pt>
                <c:pt idx="28">
                  <c:v>Port Salut St Paulin 1X320Gr 1P</c:v>
                </c:pt>
                <c:pt idx="29">
                  <c:v>Apericube Campagne Fromage Fondu Cube Assortis 1X125Gr 24P</c:v>
                </c:pt>
                <c:pt idx="30">
                  <c:v>Apericube Best Of Des Saveurs Fromage Fondu Cube Assortis 1X125Gr 24P</c:v>
                </c:pt>
                <c:pt idx="31">
                  <c:v>Kiri Creme Fromage Blanc Frais Carre 1X432Gr 18+6P</c:v>
                </c:pt>
                <c:pt idx="32">
                  <c:v>Toastinette Cheddar Fondu Tranche A Chaud Sachet 1X200Gr 10P</c:v>
                </c:pt>
                <c:pt idx="33">
                  <c:v>Boursin Onctueux Fromage Frais A Tartiner Afh 1X125Gr 1P</c:v>
                </c:pt>
                <c:pt idx="34">
                  <c:v>Babybel St Paulin 1X200Gr 1P</c:v>
                </c:pt>
                <c:pt idx="35">
                  <c:v>Boursin Classique Fromage Frais A Tartiner Ciboulette &amp; Echalote Boite 1X150Gr 1P</c:v>
                </c:pt>
                <c:pt idx="36">
                  <c:v>Cousteron St Paulin 1X320Gr 1P</c:v>
                </c:pt>
                <c:pt idx="37">
                  <c:v>Toastinette Fromage Fondu Tranche A Chaud Sachet 1X200Gr 10P</c:v>
                </c:pt>
                <c:pt idx="38">
                  <c:v>Apericube Long Drink Fromage Fondu Cube Assortis 1X125Gr 24P</c:v>
                </c:pt>
                <c:pt idx="39">
                  <c:v>Mini Babybel Aros St Paulin Ferme Assortis Filet 1X180Gr 9P</c:v>
                </c:pt>
                <c:pt idx="40">
                  <c:v>Mini Babybel Rouge Filet St Paulin Ferme 1X396Gr 12+6P</c:v>
                </c:pt>
                <c:pt idx="41">
                  <c:v>Apericube Soiree Match Aperitif 250G</c:v>
                </c:pt>
                <c:pt idx="42">
                  <c:v>Boursin Salade &amp; Aperitif Fromage Frais Des Figue Noix 1X120Gr 1P</c:v>
                </c:pt>
                <c:pt idx="43">
                  <c:v>Boursin Salade &amp; Aperitif Fromage Frais Des Ciboulette Echalote 1X120Gr 1P</c:v>
                </c:pt>
                <c:pt idx="44">
                  <c:v>Babybel Mini Rolls St Paulin Ferme Sachet 1X85Gr 5P</c:v>
                </c:pt>
                <c:pt idx="45">
                  <c:v>Kiri Bio Fromage Blanc Frais Carre 1X144Gr 8P</c:v>
                </c:pt>
                <c:pt idx="46">
                  <c:v>Kiri Delicieusement Fouette Fromage Frais A Tartiner 1X160Gr 10P</c:v>
                </c:pt>
                <c:pt idx="47">
                  <c:v>Kiri Delicieusement Fouette Fromage Frais A Tartiner 1X210Gr 1P</c:v>
                </c:pt>
                <c:pt idx="48">
                  <c:v>Kiri Delicieusement Fouette Fromage Frais A Tartiner 1X125Gr 1P</c:v>
                </c:pt>
                <c:pt idx="49">
                  <c:v>Apericube Incontournable Fromage Fondu Cube Assortis 1X250Gr 48P</c:v>
                </c:pt>
                <c:pt idx="50">
                  <c:v>Boursin Cuisine Sauce Fromage Afh 1X240Gr 1P</c:v>
                </c:pt>
                <c:pt idx="51">
                  <c:v>Apericube Carrement Toque Fromage Fondu Cube Assortis 1X250Gr 48P</c:v>
                </c:pt>
                <c:pt idx="52">
                  <c:v>Apericube Charcut' Fromages Fromage Fondu Cube Assortis 1X250Gr 48P</c:v>
                </c:pt>
                <c:pt idx="53">
                  <c:v>Mini Babybel Aros Soft Cheese Enfant 180G</c:v>
                </c:pt>
                <c:pt idx="54">
                  <c:v>La Vache Qui Rit Allegee Fromage Fondu Boite Ronde Allege 1X267Gr 16P</c:v>
                </c:pt>
                <c:pt idx="55">
                  <c:v>Boursin Salade &amp; Aperitif Fromage Frais Des Citron Romarin 1X120Gr 1P</c:v>
                </c:pt>
                <c:pt idx="56">
                  <c:v>Apericube Selection Du Fromager Fromage Fondu Cube Assortis 1X250Gr 48P</c:v>
                </c:pt>
                <c:pt idx="57">
                  <c:v>Apericube Edition Voyage Fromage Fondu Cube Assortis 1X250Gr 48P</c:v>
                </c:pt>
                <c:pt idx="58">
                  <c:v>Apericube Sucre Sale Fromage Fondu Cube Assortis 1X250Gr 48P</c:v>
                </c:pt>
                <c:pt idx="59">
                  <c:v>Apericube Nature Fromage Fondu Cube 1X250Gr 48P</c:v>
                </c:pt>
                <c:pt idx="60">
                  <c:v>Boursin Classique Fromage Frais A Tartiner Figue Et 3 Noix Boite 1X150Gr 1P</c:v>
                </c:pt>
                <c:pt idx="61">
                  <c:v>Boursin Salade &amp; Aperitif Soft Cheese Salade 120G</c:v>
                </c:pt>
                <c:pt idx="62">
                  <c:v>Boursin Salade &amp; Aperitif Fromage Frais Des Noisette Et 3 Noix 1X120Gr 1P</c:v>
                </c:pt>
                <c:pt idx="63">
                  <c:v>Mini Babybel Aros Soft Cheese Enfant 110G</c:v>
                </c:pt>
                <c:pt idx="64">
                  <c:v>Nurishh Le Coeur Fleuri Vegetal Camembert Boite 1X140Gr 1P</c:v>
                </c:pt>
                <c:pt idx="65">
                  <c:v>La Vache Qui Rit Bio Fromage Fondu Boite Ronde 1X128Gr 8P</c:v>
                </c:pt>
                <c:pt idx="66">
                  <c:v>Nurishh Le Rape Vegetal Specialite Vegetale Sachet 1X150Gr 1P</c:v>
                </c:pt>
                <c:pt idx="67">
                  <c:v>Apericube Jambon Fromage Fondu Cube 1X78Gr 15P</c:v>
                </c:pt>
                <c:pt idx="68">
                  <c:v>Boursin Classique Fromage Frais A Tartiner 3 Noix Boite 1X150Gr 1P</c:v>
                </c:pt>
                <c:pt idx="69">
                  <c:v>Nurishh Les Tranches Vegetales Cheddar Vegetal Tranche Boite 1X160Gr 8P</c:v>
                </c:pt>
                <c:pt idx="70">
                  <c:v>Nurishh Le Palet Vegetal Specialite Vegetale Ovale Saveur Chevre Boite 1X140Gr 1P</c:v>
                </c:pt>
                <c:pt idx="71">
                  <c:v>Nurishh Les Tranches Vegetales Emmental Vegetal Tranche Boite 1X160Gr 8P</c:v>
                </c:pt>
                <c:pt idx="72">
                  <c:v>Port Salut St Paulin Tranche Boite 1X200Gr 6P</c:v>
                </c:pt>
                <c:pt idx="73">
                  <c:v>Boursin Vegetal Specialite Vegetale A Tartiner Afh 1X130Gr 1P</c:v>
                </c:pt>
                <c:pt idx="74">
                  <c:v>Boursin Aperitif Roules Fromage Frais Roule Jambon Fume &amp; Trio De Noix Boite 1X100Gr 20P</c:v>
                </c:pt>
                <c:pt idx="75">
                  <c:v>Nurishh Des Vegetaux Feta Vegetale Sachet 1X150Gr 1P</c:v>
                </c:pt>
                <c:pt idx="76">
                  <c:v>Boursin Aperitif Roules Aperitif 100G</c:v>
                </c:pt>
                <c:pt idx="77">
                  <c:v>Boursin Classique Fromage Frais A Tartiner 3 Noix 1X160Gr 10P</c:v>
                </c:pt>
                <c:pt idx="78">
                  <c:v>Boursin Classique Fromage Frais A Tartiner Afh Boite 1X320Gr 16+4P</c:v>
                </c:pt>
                <c:pt idx="79">
                  <c:v>Port Salut St Paulin 1X185Gr 1P</c:v>
                </c:pt>
                <c:pt idx="80">
                  <c:v>Nurishh Les Tranches Vegetales Emmental Vegetal Tranche Boite 1X200Gr 10P</c:v>
                </c:pt>
                <c:pt idx="81">
                  <c:v>Boursin Vegetal Alternative Vegetale 150G</c:v>
                </c:pt>
                <c:pt idx="82">
                  <c:v>Nurishh Les Tranches Vegetales Cheddar Vegetal Tranche Boite 1X200Gr 10P</c:v>
                </c:pt>
                <c:pt idx="83">
                  <c:v>Boursin Classique Fromage Frais A Tartiner Truffe Boite 1X150Gr 1P</c:v>
                </c:pt>
                <c:pt idx="84">
                  <c:v>Apericube Hot Chalenge Aperitif 250G</c:v>
                </c:pt>
                <c:pt idx="85">
                  <c:v>Apericube Fromages Du Monde Aperitif 250G</c:v>
                </c:pt>
                <c:pt idx="86">
                  <c:v>Apericube Montagne Aperitif 250G</c:v>
                </c:pt>
                <c:pt idx="87">
                  <c:v>Mini Babybel Rouge Filet St Paulin Ferme Sachet 1X40Gr 1P</c:v>
                </c:pt>
                <c:pt idx="88">
                  <c:v>Nurishh Le Rape Vegetal Specialite Vegetale Emmental Sachet 1X150Gr 1P</c:v>
                </c:pt>
                <c:pt idx="89">
                  <c:v>Nurishh Le Rape Vegetal Mozzarella Vegetale Sachet 1X150Gr 1P</c:v>
                </c:pt>
                <c:pt idx="90">
                  <c:v>Nurishh Le Tartinable Vegetal Specialite Vegetale A Tartiner 1X130Gr 1P</c:v>
                </c:pt>
                <c:pt idx="91">
                  <c:v>Boursin Onctueux Fromage Frais A Tartiner Afh 1X210Gr 1P</c:v>
                </c:pt>
                <c:pt idx="92">
                  <c:v>Apericube P'Tits Plaisirs Fromage Fondu Cube 3 Fromages &amp; Jambon Cru Olive Verte 1X78Gr 15P</c:v>
                </c:pt>
                <c:pt idx="93">
                  <c:v>Kiri Chevre Fromage Blanc Frais Carre 1X144Gr 8P</c:v>
                </c:pt>
                <c:pt idx="94">
                  <c:v>Nurishh Les Tranches Vegetales Specialite Vegetale Tranche Piment Boite 1X120Gr 6P</c:v>
                </c:pt>
                <c:pt idx="95">
                  <c:v>Apericube Vertical Soiree Apero Fromage Fondu Cube Assortis 1X125Gr 24P</c:v>
                </c:pt>
                <c:pt idx="96">
                  <c:v>Boursin Classique Fromage Frais A Tartiner Ciboulette &amp; Echalote 1X160Gr 10P</c:v>
                </c:pt>
                <c:pt idx="97">
                  <c:v>Apericube Vertical Nature Fromage Fondu Cube 1X125Gr 24P</c:v>
                </c:pt>
              </c:strCache>
            </c:strRef>
          </c:cat>
          <c:val>
            <c:numRef>
              <c:f>Sheet1!$B$2:$B$99</c:f>
              <c:numCache>
                <c:formatCode>General</c:formatCode>
                <c:ptCount val="98"/>
                <c:pt idx="0">
                  <c:v>0.99</c:v>
                </c:pt>
                <c:pt idx="1">
                  <c:v>1.0</c:v>
                </c:pt>
                <c:pt idx="2">
                  <c:v>0.96</c:v>
                </c:pt>
                <c:pt idx="3">
                  <c:v>0.96</c:v>
                </c:pt>
                <c:pt idx="4">
                  <c:v>0.99</c:v>
                </c:pt>
                <c:pt idx="5">
                  <c:v>0.99</c:v>
                </c:pt>
                <c:pt idx="6">
                  <c:v>0.86</c:v>
                </c:pt>
                <c:pt idx="7">
                  <c:v>0.96</c:v>
                </c:pt>
                <c:pt idx="8">
                  <c:v>0.95</c:v>
                </c:pt>
                <c:pt idx="9">
                  <c:v>0.97</c:v>
                </c:pt>
                <c:pt idx="10">
                  <c:v>0.98</c:v>
                </c:pt>
                <c:pt idx="11">
                  <c:v>0.99</c:v>
                </c:pt>
                <c:pt idx="12">
                  <c:v>0.99</c:v>
                </c:pt>
                <c:pt idx="13">
                  <c:v>0.95</c:v>
                </c:pt>
                <c:pt idx="14">
                  <c:v>0.99</c:v>
                </c:pt>
                <c:pt idx="15">
                  <c:v>0.94</c:v>
                </c:pt>
                <c:pt idx="16">
                  <c:v>0.83</c:v>
                </c:pt>
                <c:pt idx="17">
                  <c:v>0.83</c:v>
                </c:pt>
                <c:pt idx="18">
                  <c:v>0.96</c:v>
                </c:pt>
                <c:pt idx="19">
                  <c:v>0.94</c:v>
                </c:pt>
                <c:pt idx="20">
                  <c:v>0.99</c:v>
                </c:pt>
                <c:pt idx="21">
                  <c:v>0.96</c:v>
                </c:pt>
                <c:pt idx="22">
                  <c:v>0.73</c:v>
                </c:pt>
                <c:pt idx="23">
                  <c:v>0.66</c:v>
                </c:pt>
                <c:pt idx="24">
                  <c:v>0.97</c:v>
                </c:pt>
                <c:pt idx="25">
                  <c:v>0.86</c:v>
                </c:pt>
                <c:pt idx="26">
                  <c:v>0.91</c:v>
                </c:pt>
                <c:pt idx="27">
                  <c:v>0.78</c:v>
                </c:pt>
                <c:pt idx="28">
                  <c:v>0.92</c:v>
                </c:pt>
                <c:pt idx="29">
                  <c:v>0.82</c:v>
                </c:pt>
                <c:pt idx="30">
                  <c:v>0.89</c:v>
                </c:pt>
                <c:pt idx="31">
                  <c:v>0.71</c:v>
                </c:pt>
                <c:pt idx="32">
                  <c:v>0.97</c:v>
                </c:pt>
                <c:pt idx="33">
                  <c:v>0.85</c:v>
                </c:pt>
                <c:pt idx="34">
                  <c:v>0.96</c:v>
                </c:pt>
                <c:pt idx="35">
                  <c:v>0.89</c:v>
                </c:pt>
                <c:pt idx="36">
                  <c:v>0.82</c:v>
                </c:pt>
                <c:pt idx="37">
                  <c:v>0.79</c:v>
                </c:pt>
                <c:pt idx="38">
                  <c:v>0.77</c:v>
                </c:pt>
                <c:pt idx="39">
                  <c:v>0.67</c:v>
                </c:pt>
                <c:pt idx="40">
                  <c:v>0.81</c:v>
                </c:pt>
                <c:pt idx="41">
                  <c:v>0.83</c:v>
                </c:pt>
                <c:pt idx="42">
                  <c:v>0.91</c:v>
                </c:pt>
                <c:pt idx="43">
                  <c:v>0.95</c:v>
                </c:pt>
                <c:pt idx="44">
                  <c:v>0.45</c:v>
                </c:pt>
                <c:pt idx="45">
                  <c:v>0.42</c:v>
                </c:pt>
                <c:pt idx="46">
                  <c:v>0.63</c:v>
                </c:pt>
                <c:pt idx="47">
                  <c:v>0.54</c:v>
                </c:pt>
                <c:pt idx="48">
                  <c:v>0.62</c:v>
                </c:pt>
                <c:pt idx="49">
                  <c:v>0.49</c:v>
                </c:pt>
                <c:pt idx="50">
                  <c:v>0.72</c:v>
                </c:pt>
                <c:pt idx="51">
                  <c:v>0.52</c:v>
                </c:pt>
                <c:pt idx="52">
                  <c:v>0.49</c:v>
                </c:pt>
                <c:pt idx="53">
                  <c:v>0.66</c:v>
                </c:pt>
                <c:pt idx="54">
                  <c:v>0.27</c:v>
                </c:pt>
                <c:pt idx="55">
                  <c:v>0.72</c:v>
                </c:pt>
                <c:pt idx="56">
                  <c:v>0.46</c:v>
                </c:pt>
                <c:pt idx="57">
                  <c:v>0.33</c:v>
                </c:pt>
                <c:pt idx="58">
                  <c:v>0.44</c:v>
                </c:pt>
                <c:pt idx="59">
                  <c:v>0.41</c:v>
                </c:pt>
                <c:pt idx="60">
                  <c:v>0.65</c:v>
                </c:pt>
                <c:pt idx="61">
                  <c:v>0.71</c:v>
                </c:pt>
                <c:pt idx="62">
                  <c:v>0.79</c:v>
                </c:pt>
                <c:pt idx="63">
                  <c:v>0.57</c:v>
                </c:pt>
                <c:pt idx="64">
                  <c:v>0.44</c:v>
                </c:pt>
                <c:pt idx="65">
                  <c:v>0.25</c:v>
                </c:pt>
                <c:pt idx="66">
                  <c:v>0.45</c:v>
                </c:pt>
                <c:pt idx="67">
                  <c:v>0.05</c:v>
                </c:pt>
                <c:pt idx="68">
                  <c:v>0.61</c:v>
                </c:pt>
                <c:pt idx="69">
                  <c:v>0.26</c:v>
                </c:pt>
                <c:pt idx="70">
                  <c:v>0.25</c:v>
                </c:pt>
                <c:pt idx="71">
                  <c:v>0.25</c:v>
                </c:pt>
                <c:pt idx="72">
                  <c:v>0.06</c:v>
                </c:pt>
                <c:pt idx="73">
                  <c:v>0.24</c:v>
                </c:pt>
                <c:pt idx="74">
                  <c:v>0.5</c:v>
                </c:pt>
                <c:pt idx="75">
                  <c:v>0.31</c:v>
                </c:pt>
                <c:pt idx="76">
                  <c:v>0.29</c:v>
                </c:pt>
                <c:pt idx="77">
                  <c:v>0.41</c:v>
                </c:pt>
                <c:pt idx="78">
                  <c:v>0.37</c:v>
                </c:pt>
                <c:pt idx="79">
                  <c:v>0.07</c:v>
                </c:pt>
                <c:pt idx="80">
                  <c:v>0.31</c:v>
                </c:pt>
                <c:pt idx="81">
                  <c:v>0.25</c:v>
                </c:pt>
                <c:pt idx="82">
                  <c:v>0.34</c:v>
                </c:pt>
                <c:pt idx="83">
                  <c:v>0.51</c:v>
                </c:pt>
                <c:pt idx="84">
                  <c:v>0.09</c:v>
                </c:pt>
                <c:pt idx="85">
                  <c:v>0.07</c:v>
                </c:pt>
                <c:pt idx="86">
                  <c:v>0.06</c:v>
                </c:pt>
                <c:pt idx="87">
                  <c:v>0.06</c:v>
                </c:pt>
                <c:pt idx="88">
                  <c:v>0.13</c:v>
                </c:pt>
                <c:pt idx="89">
                  <c:v>0.11</c:v>
                </c:pt>
                <c:pt idx="90">
                  <c:v>0.11</c:v>
                </c:pt>
                <c:pt idx="91">
                  <c:v>0.03</c:v>
                </c:pt>
                <c:pt idx="92">
                  <c:v>0.02</c:v>
                </c:pt>
                <c:pt idx="93">
                  <c:v>0.03</c:v>
                </c:pt>
                <c:pt idx="94">
                  <c:v>0.05</c:v>
                </c:pt>
                <c:pt idx="95">
                  <c:v>0.01</c:v>
                </c:pt>
                <c:pt idx="96">
                  <c:v>0.03</c:v>
                </c:pt>
                <c:pt idx="97">
                  <c:v>0.01</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00A097"/>
              </a:solidFill>
            </c:spPr>
            <c:extLst>
              <c:ext xmlns:c16="http://schemas.microsoft.com/office/drawing/2014/chart" uri="{C3380CC4-5D6E-409C-BE32-E72D297353CC}">
                <c16:uniqueId val="{00000023-FA3E-4872-B6E1-C4ABDF5766E2}"/>
              </c:ext>
            </c:extLst>
          </c:dPt>
          <c:dPt>
            <c:idx val="17"/>
            <c:invertIfNegative val="1"/>
            <c:bubble3D val="0"/>
            <c:spPr>
              <a:solidFill>
                <a:srgbClr val="00A097"/>
              </a:solidFill>
            </c:spPr>
            <c:extLst>
              <c:ext xmlns:c16="http://schemas.microsoft.com/office/drawing/2014/chart" uri="{C3380CC4-5D6E-409C-BE32-E72D297353CC}">
                <c16:uniqueId val="{00000025-FA3E-4872-B6E1-C4ABDF5766E2}"/>
              </c:ext>
            </c:extLst>
          </c:dPt>
          <c:dPt>
            <c:idx val="18"/>
            <c:invertIfNegative val="1"/>
            <c:bubble3D val="0"/>
            <c:spPr>
              <a:solidFill>
                <a:srgbClr val="00A097"/>
              </a:solidFill>
            </c:spPr>
            <c:extLst>
              <c:ext xmlns:c16="http://schemas.microsoft.com/office/drawing/2014/chart" uri="{C3380CC4-5D6E-409C-BE32-E72D297353CC}">
                <c16:uniqueId val="{00000027-FA3E-4872-B6E1-C4ABDF5766E2}"/>
              </c:ext>
            </c:extLst>
          </c:dPt>
          <c:dPt>
            <c:idx val="19"/>
            <c:invertIfNegative val="1"/>
            <c:bubble3D val="0"/>
            <c:spPr>
              <a:solidFill>
                <a:srgbClr val="00A097"/>
              </a:solidFill>
            </c:spPr>
            <c:extLst>
              <c:ext xmlns:c16="http://schemas.microsoft.com/office/drawing/2014/chart" uri="{C3380CC4-5D6E-409C-BE32-E72D297353CC}">
                <c16:uniqueId val="{00000029-FA3E-4872-B6E1-C4ABDF5766E2}"/>
              </c:ext>
            </c:extLst>
          </c:dPt>
          <c:dPt>
            <c:idx val="20"/>
            <c:invertIfNegative val="1"/>
            <c:bubble3D val="0"/>
            <c:spPr>
              <a:solidFill>
                <a:srgbClr val="00A097"/>
              </a:solidFill>
            </c:spPr>
            <c:extLst>
              <c:ext xmlns:c16="http://schemas.microsoft.com/office/drawing/2014/chart" uri="{C3380CC4-5D6E-409C-BE32-E72D297353CC}">
                <c16:uniqueId val="{0000002B-FA3E-4872-B6E1-C4ABDF5766E2}"/>
              </c:ext>
            </c:extLst>
          </c:dPt>
          <c:dPt>
            <c:idx val="21"/>
            <c:invertIfNegative val="1"/>
            <c:bubble3D val="0"/>
            <c:spPr>
              <a:solidFill>
                <a:srgbClr val="00A097"/>
              </a:solidFill>
            </c:spPr>
            <c:extLst>
              <c:ext xmlns:c16="http://schemas.microsoft.com/office/drawing/2014/chart" uri="{C3380CC4-5D6E-409C-BE32-E72D297353CC}">
                <c16:uniqueId val="{0000002D-FA3E-4872-B6E1-C4ABDF5766E2}"/>
              </c:ext>
            </c:extLst>
          </c:dPt>
          <c:dPt>
            <c:idx val="22"/>
            <c:invertIfNegative val="1"/>
            <c:bubble3D val="0"/>
            <c:spPr>
              <a:solidFill>
                <a:srgbClr val="00A097"/>
              </a:solidFill>
            </c:spPr>
            <c:extLst>
              <c:ext xmlns:c16="http://schemas.microsoft.com/office/drawing/2014/chart" uri="{C3380CC4-5D6E-409C-BE32-E72D297353CC}">
                <c16:uniqueId val="{0000002F-FA3E-4872-B6E1-C4ABDF5766E2}"/>
              </c:ext>
            </c:extLst>
          </c:dPt>
          <c:dPt>
            <c:idx val="23"/>
            <c:invertIfNegative val="1"/>
            <c:bubble3D val="0"/>
            <c:spPr>
              <a:solidFill>
                <a:srgbClr val="00A097"/>
              </a:solidFill>
            </c:spPr>
            <c:extLst>
              <c:ext xmlns:c16="http://schemas.microsoft.com/office/drawing/2014/chart" uri="{C3380CC4-5D6E-409C-BE32-E72D297353CC}">
                <c16:uniqueId val="{00000031-FA3E-4872-B6E1-C4ABDF5766E2}"/>
              </c:ext>
            </c:extLst>
          </c:dPt>
          <c:dPt>
            <c:idx val="24"/>
            <c:invertIfNegative val="1"/>
            <c:bubble3D val="0"/>
            <c:spPr>
              <a:solidFill>
                <a:srgbClr val="00A097"/>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7ECAC4"/>
              </a:solidFill>
            </c:spPr>
            <c:extLst>
              <c:ext xmlns:c16="http://schemas.microsoft.com/office/drawing/2014/chart" uri="{C3380CC4-5D6E-409C-BE32-E72D297353CC}">
                <c16:uniqueId val="{0000003F-FA3E-4872-B6E1-C4ABDF5766E2}"/>
              </c:ext>
            </c:extLst>
          </c:dPt>
          <c:dPt>
            <c:idx val="31"/>
            <c:invertIfNegative val="1"/>
            <c:bubble3D val="0"/>
            <c:spPr>
              <a:solidFill>
                <a:srgbClr val="7ECAC4"/>
              </a:solidFill>
            </c:spPr>
            <c:extLst>
              <c:ext xmlns:c16="http://schemas.microsoft.com/office/drawing/2014/chart" uri="{C3380CC4-5D6E-409C-BE32-E72D297353CC}">
                <c16:uniqueId val="{00000041-FA3E-4872-B6E1-C4ABDF5766E2}"/>
              </c:ext>
            </c:extLst>
          </c:dPt>
          <c:dPt>
            <c:idx val="32"/>
            <c:invertIfNegative val="1"/>
            <c:bubble3D val="0"/>
            <c:spPr>
              <a:solidFill>
                <a:srgbClr val="7ECAC4"/>
              </a:solidFill>
            </c:spPr>
            <c:extLst>
              <c:ext xmlns:c16="http://schemas.microsoft.com/office/drawing/2014/chart" uri="{C3380CC4-5D6E-409C-BE32-E72D297353CC}">
                <c16:uniqueId val="{00000043-FA3E-4872-B6E1-C4ABDF5766E2}"/>
              </c:ext>
            </c:extLst>
          </c:dPt>
          <c:dPt>
            <c:idx val="33"/>
            <c:invertIfNegative val="1"/>
            <c:bubble3D val="0"/>
            <c:spPr>
              <a:solidFill>
                <a:srgbClr val="7ECAC4"/>
              </a:solidFill>
            </c:spPr>
            <c:extLst>
              <c:ext xmlns:c16="http://schemas.microsoft.com/office/drawing/2014/chart" uri="{C3380CC4-5D6E-409C-BE32-E72D297353CC}">
                <c16:uniqueId val="{00000045-FA3E-4872-B6E1-C4ABDF5766E2}"/>
              </c:ext>
            </c:extLst>
          </c:dPt>
          <c:dPt>
            <c:idx val="34"/>
            <c:invertIfNegative val="1"/>
            <c:bubble3D val="0"/>
            <c:spPr>
              <a:solidFill>
                <a:srgbClr val="7ECAC4"/>
              </a:solidFill>
            </c:spPr>
            <c:extLst>
              <c:ext xmlns:c16="http://schemas.microsoft.com/office/drawing/2014/chart" uri="{C3380CC4-5D6E-409C-BE32-E72D297353CC}">
                <c16:uniqueId val="{00000047-FA3E-4872-B6E1-C4ABDF5766E2}"/>
              </c:ext>
            </c:extLst>
          </c:dPt>
          <c:dPt>
            <c:idx val="35"/>
            <c:invertIfNegative val="1"/>
            <c:bubble3D val="0"/>
            <c:spPr>
              <a:solidFill>
                <a:srgbClr val="7ECAC4"/>
              </a:solidFill>
            </c:spPr>
            <c:extLst>
              <c:ext xmlns:c16="http://schemas.microsoft.com/office/drawing/2014/chart" uri="{C3380CC4-5D6E-409C-BE32-E72D297353CC}">
                <c16:uniqueId val="{00000049-FA3E-4872-B6E1-C4ABDF5766E2}"/>
              </c:ext>
            </c:extLst>
          </c:dPt>
          <c:dPt>
            <c:idx val="36"/>
            <c:invertIfNegative val="1"/>
            <c:bubble3D val="0"/>
            <c:spPr>
              <a:solidFill>
                <a:srgbClr val="7ECAC4"/>
              </a:solidFill>
            </c:spPr>
            <c:extLst>
              <c:ext xmlns:c16="http://schemas.microsoft.com/office/drawing/2014/chart" uri="{C3380CC4-5D6E-409C-BE32-E72D297353CC}">
                <c16:uniqueId val="{0000004B-FA3E-4872-B6E1-C4ABDF5766E2}"/>
              </c:ext>
            </c:extLst>
          </c:dPt>
          <c:dPt>
            <c:idx val="37"/>
            <c:invertIfNegative val="1"/>
            <c:bubble3D val="0"/>
            <c:spPr>
              <a:solidFill>
                <a:srgbClr val="7ECAC4"/>
              </a:solidFill>
            </c:spPr>
            <c:extLst>
              <c:ext xmlns:c16="http://schemas.microsoft.com/office/drawing/2014/chart" uri="{C3380CC4-5D6E-409C-BE32-E72D297353CC}">
                <c16:uniqueId val="{0000004D-FA3E-4872-B6E1-C4ABDF5766E2}"/>
              </c:ext>
            </c:extLst>
          </c:dPt>
          <c:dPt>
            <c:idx val="38"/>
            <c:invertIfNegative val="1"/>
            <c:bubble3D val="0"/>
            <c:spPr>
              <a:solidFill>
                <a:srgbClr val="7ECAC4"/>
              </a:solidFill>
            </c:spPr>
            <c:extLst>
              <c:ext xmlns:c16="http://schemas.microsoft.com/office/drawing/2014/chart" uri="{C3380CC4-5D6E-409C-BE32-E72D297353CC}">
                <c16:uniqueId val="{0000004F-FA3E-4872-B6E1-C4ABDF5766E2}"/>
              </c:ext>
            </c:extLst>
          </c:dPt>
          <c:dPt>
            <c:idx val="39"/>
            <c:invertIfNegative val="1"/>
            <c:bubble3D val="0"/>
            <c:spPr>
              <a:solidFill>
                <a:srgbClr val="7ECAC4"/>
              </a:solidFill>
            </c:spPr>
            <c:extLst>
              <c:ext xmlns:c16="http://schemas.microsoft.com/office/drawing/2014/chart" uri="{C3380CC4-5D6E-409C-BE32-E72D297353CC}">
                <c16:uniqueId val="{00000051-FA3E-4872-B6E1-C4ABDF5766E2}"/>
              </c:ext>
            </c:extLst>
          </c:dPt>
          <c:dPt>
            <c:idx val="40"/>
            <c:invertIfNegative val="1"/>
            <c:bubble3D val="0"/>
            <c:spPr>
              <a:solidFill>
                <a:srgbClr val="7ECAC4"/>
              </a:solidFill>
            </c:spPr>
            <c:extLst>
              <c:ext xmlns:c16="http://schemas.microsoft.com/office/drawing/2014/chart" uri="{C3380CC4-5D6E-409C-BE32-E72D297353CC}">
                <c16:uniqueId val="{00000053-FA3E-4872-B6E1-C4ABDF5766E2}"/>
              </c:ext>
            </c:extLst>
          </c:dPt>
          <c:dPt>
            <c:idx val="41"/>
            <c:invertIfNegative val="1"/>
            <c:bubble3D val="0"/>
            <c:spPr>
              <a:solidFill>
                <a:srgbClr val="7ECAC4"/>
              </a:solidFill>
            </c:spPr>
            <c:extLst>
              <c:ext xmlns:c16="http://schemas.microsoft.com/office/drawing/2014/chart" uri="{C3380CC4-5D6E-409C-BE32-E72D297353CC}">
                <c16:uniqueId val="{00000055-FA3E-4872-B6E1-C4ABDF5766E2}"/>
              </c:ext>
            </c:extLst>
          </c:dPt>
          <c:dPt>
            <c:idx val="42"/>
            <c:invertIfNegative val="1"/>
            <c:bubble3D val="0"/>
            <c:spPr>
              <a:solidFill>
                <a:srgbClr val="7ECAC4"/>
              </a:solidFill>
            </c:spPr>
            <c:extLst>
              <c:ext xmlns:c16="http://schemas.microsoft.com/office/drawing/2014/chart" uri="{C3380CC4-5D6E-409C-BE32-E72D297353CC}">
                <c16:uniqueId val="{00000057-FA3E-4872-B6E1-C4ABDF5766E2}"/>
              </c:ext>
            </c:extLst>
          </c:dPt>
          <c:dPt>
            <c:idx val="43"/>
            <c:invertIfNegative val="1"/>
            <c:bubble3D val="0"/>
            <c:spPr>
              <a:solidFill>
                <a:srgbClr val="7ECAC4"/>
              </a:solidFill>
            </c:spPr>
            <c:extLst>
              <c:ext xmlns:c16="http://schemas.microsoft.com/office/drawing/2014/chart" uri="{C3380CC4-5D6E-409C-BE32-E72D297353CC}">
                <c16:uniqueId val="{00000059-FA3E-4872-B6E1-C4ABDF5766E2}"/>
              </c:ext>
            </c:extLst>
          </c:dPt>
          <c:dPt>
            <c:idx val="44"/>
            <c:spPr>
              <a:solidFill>
                <a:srgbClr val="7ECAC4"/>
              </a:solidFill>
            </c:spPr>
          </c:dPt>
          <c:dPt>
            <c:idx val="45"/>
            <c:spPr>
              <a:solidFill>
                <a:srgbClr val="7ECAC4"/>
              </a:solidFill>
            </c:spPr>
          </c:dPt>
          <c:dPt>
            <c:idx val="46"/>
            <c:spPr>
              <a:solidFill>
                <a:srgbClr val="7ECAC4"/>
              </a:solidFill>
            </c:spPr>
          </c:dPt>
          <c:dPt>
            <c:idx val="47"/>
            <c:spPr>
              <a:solidFill>
                <a:srgbClr val="AEABAB"/>
              </a:solidFill>
            </c:spPr>
          </c:dPt>
          <c:dPt>
            <c:idx val="48"/>
            <c:spPr>
              <a:solidFill>
                <a:srgbClr val="AEABAB"/>
              </a:solidFill>
            </c:spPr>
          </c:dPt>
          <c:dPt>
            <c:idx val="49"/>
            <c:spPr>
              <a:solidFill>
                <a:srgbClr val="AEABAB"/>
              </a:solidFill>
            </c:spPr>
          </c:dPt>
          <c:dPt>
            <c:idx val="50"/>
            <c:spPr>
              <a:solidFill>
                <a:srgbClr val="AEABAB"/>
              </a:solidFill>
            </c:spPr>
          </c:dPt>
          <c:dPt>
            <c:idx val="51"/>
            <c:spPr>
              <a:solidFill>
                <a:srgbClr val="AEABAB"/>
              </a:solidFill>
            </c:spPr>
          </c:dPt>
          <c:dPt>
            <c:idx val="52"/>
            <c:spPr>
              <a:solidFill>
                <a:srgbClr val="AEABAB"/>
              </a:solidFill>
            </c:spPr>
          </c:dPt>
          <c:dPt>
            <c:idx val="53"/>
            <c:spPr>
              <a:solidFill>
                <a:srgbClr val="AEABAB"/>
              </a:solidFill>
            </c:spPr>
          </c:dPt>
          <c:dPt>
            <c:idx val="54"/>
            <c:spPr>
              <a:solidFill>
                <a:srgbClr val="AEABAB"/>
              </a:solidFill>
            </c:spPr>
          </c:dPt>
          <c:dPt>
            <c:idx val="55"/>
            <c:spPr>
              <a:solidFill>
                <a:srgbClr val="AEABAB"/>
              </a:solidFill>
            </c:spPr>
          </c:dPt>
          <c:dPt>
            <c:idx val="56"/>
            <c:spPr>
              <a:solidFill>
                <a:srgbClr val="AEABAB"/>
              </a:solidFill>
            </c:spPr>
          </c:dPt>
          <c:dPt>
            <c:idx val="57"/>
            <c:spPr>
              <a:solidFill>
                <a:srgbClr val="AEABAB"/>
              </a:solidFill>
            </c:spPr>
          </c:dPt>
          <c:dPt>
            <c:idx val="58"/>
            <c:spPr>
              <a:solidFill>
                <a:srgbClr val="AEABAB"/>
              </a:solidFill>
            </c:spPr>
          </c:dPt>
          <c:dPt>
            <c:idx val="59"/>
            <c:spPr>
              <a:solidFill>
                <a:srgbClr val="AEABAB"/>
              </a:solidFill>
            </c:spPr>
          </c:dPt>
          <c:dPt>
            <c:idx val="60"/>
            <c:spPr>
              <a:solidFill>
                <a:srgbClr val="AEABAB"/>
              </a:solidFill>
            </c:spPr>
          </c:dPt>
          <c:dPt>
            <c:idx val="61"/>
            <c:spPr>
              <a:solidFill>
                <a:srgbClr val="AEABAB"/>
              </a:solidFill>
            </c:spPr>
          </c:dPt>
          <c:dPt>
            <c:idx val="62"/>
            <c:spPr>
              <a:solidFill>
                <a:srgbClr val="AEABAB"/>
              </a:solidFill>
            </c:spPr>
          </c:dPt>
          <c:dPt>
            <c:idx val="63"/>
            <c:spPr>
              <a:solidFill>
                <a:srgbClr val="AEABAB"/>
              </a:solidFill>
            </c:spPr>
          </c:dPt>
          <c:dPt>
            <c:idx val="64"/>
            <c:spPr>
              <a:solidFill>
                <a:srgbClr val="AEABAB"/>
              </a:solidFill>
            </c:spPr>
          </c:dPt>
          <c:dPt>
            <c:idx val="65"/>
            <c:spPr>
              <a:solidFill>
                <a:srgbClr val="AEABAB"/>
              </a:solidFill>
            </c:spPr>
          </c:dPt>
          <c:dPt>
            <c:idx val="66"/>
            <c:spPr>
              <a:solidFill>
                <a:srgbClr val="AEABAB"/>
              </a:solidFill>
            </c:spPr>
          </c:dPt>
          <c:dPt>
            <c:idx val="67"/>
            <c:spPr>
              <a:solidFill>
                <a:srgbClr val="AEABAB"/>
              </a:solidFill>
            </c:spPr>
          </c:dPt>
          <c:dPt>
            <c:idx val="68"/>
            <c:spPr>
              <a:solidFill>
                <a:srgbClr val="AEABAB"/>
              </a:solidFill>
            </c:spPr>
          </c:dPt>
          <c:dPt>
            <c:idx val="69"/>
            <c:spPr>
              <a:solidFill>
                <a:srgbClr val="AEABAB"/>
              </a:solidFill>
            </c:spPr>
          </c:dPt>
          <c:dPt>
            <c:idx val="70"/>
            <c:spPr>
              <a:solidFill>
                <a:srgbClr val="AEABAB"/>
              </a:solidFill>
            </c:spPr>
          </c:dPt>
          <c:dPt>
            <c:idx val="71"/>
            <c:spPr>
              <a:solidFill>
                <a:srgbClr val="AEABAB"/>
              </a:solidFill>
            </c:spPr>
          </c:dPt>
          <c:dPt>
            <c:idx val="72"/>
            <c:spPr>
              <a:solidFill>
                <a:srgbClr val="AEABAB"/>
              </a:solidFill>
            </c:spPr>
          </c:dPt>
          <c:dPt>
            <c:idx val="73"/>
            <c:spPr>
              <a:solidFill>
                <a:srgbClr val="AEABAB"/>
              </a:solidFill>
            </c:spPr>
          </c:dPt>
          <c:dPt>
            <c:idx val="74"/>
            <c:spPr>
              <a:solidFill>
                <a:srgbClr val="AEABAB"/>
              </a:solidFill>
            </c:spPr>
          </c:dPt>
          <c:dPt>
            <c:idx val="75"/>
            <c:spPr>
              <a:solidFill>
                <a:srgbClr val="AEABAB"/>
              </a:solidFill>
            </c:spPr>
          </c:dPt>
          <c:dPt>
            <c:idx val="76"/>
            <c:spPr>
              <a:solidFill>
                <a:srgbClr val="AEABAB"/>
              </a:solidFill>
            </c:spPr>
          </c:dPt>
          <c:dPt>
            <c:idx val="77"/>
            <c:spPr>
              <a:solidFill>
                <a:srgbClr val="AEABAB"/>
              </a:solidFill>
            </c:spPr>
          </c:dPt>
          <c:dPt>
            <c:idx val="78"/>
            <c:spPr>
              <a:solidFill>
                <a:srgbClr val="AEABAB"/>
              </a:solidFill>
            </c:spPr>
          </c:dPt>
          <c:dPt>
            <c:idx val="79"/>
            <c:spPr>
              <a:solidFill>
                <a:srgbClr val="AEABAB"/>
              </a:solidFill>
            </c:spPr>
          </c:dPt>
          <c:dPt>
            <c:idx val="80"/>
            <c:spPr>
              <a:solidFill>
                <a:srgbClr val="AEABAB"/>
              </a:solidFill>
            </c:spPr>
          </c:dPt>
          <c:dPt>
            <c:idx val="81"/>
            <c:spPr>
              <a:solidFill>
                <a:srgbClr val="AEABAB"/>
              </a:solidFill>
            </c:spPr>
          </c:dPt>
          <c:dPt>
            <c:idx val="82"/>
            <c:spPr>
              <a:solidFill>
                <a:srgbClr val="AEABAB"/>
              </a:solidFill>
            </c:spPr>
          </c:dPt>
          <c:dPt>
            <c:idx val="83"/>
            <c:spPr>
              <a:solidFill>
                <a:srgbClr val="AEABAB"/>
              </a:solidFill>
            </c:spPr>
          </c:dPt>
          <c:dPt>
            <c:idx val="84"/>
            <c:spPr>
              <a:solidFill>
                <a:srgbClr val="AEABAB"/>
              </a:solidFill>
            </c:spPr>
          </c:dPt>
          <c:dPt>
            <c:idx val="85"/>
            <c:spPr>
              <a:solidFill>
                <a:srgbClr val="AEABAB"/>
              </a:solidFill>
            </c:spPr>
          </c:dPt>
          <c:dPt>
            <c:idx val="86"/>
            <c:spPr>
              <a:solidFill>
                <a:srgbClr val="AEABAB"/>
              </a:solidFill>
            </c:spPr>
          </c:dPt>
          <c:dPt>
            <c:idx val="87"/>
            <c:spPr>
              <a:solidFill>
                <a:srgbClr val="AEABAB"/>
              </a:solidFill>
            </c:spPr>
          </c:dPt>
          <c:dPt>
            <c:idx val="88"/>
            <c:spPr>
              <a:solidFill>
                <a:srgbClr val="AEABAB"/>
              </a:solidFill>
            </c:spPr>
          </c:dPt>
          <c:dPt>
            <c:idx val="89"/>
            <c:spPr>
              <a:solidFill>
                <a:srgbClr val="AEABAB"/>
              </a:solidFill>
            </c:spPr>
          </c:dPt>
          <c:dPt>
            <c:idx val="90"/>
            <c:spPr>
              <a:solidFill>
                <a:srgbClr val="AEABAB"/>
              </a:solidFill>
            </c:spPr>
          </c:dPt>
          <c:dPt>
            <c:idx val="91"/>
            <c:spPr>
              <a:solidFill>
                <a:srgbClr val="AEABAB"/>
              </a:solidFill>
            </c:spPr>
          </c:dPt>
          <c:dPt>
            <c:idx val="92"/>
            <c:spPr>
              <a:solidFill>
                <a:srgbClr val="AEABAB"/>
              </a:solidFill>
            </c:spPr>
          </c:dPt>
          <c:dPt>
            <c:idx val="93"/>
            <c:spPr>
              <a:solidFill>
                <a:srgbClr val="AEABAB"/>
              </a:solidFill>
            </c:spPr>
          </c:dPt>
          <c:dPt>
            <c:idx val="94"/>
            <c:spPr>
              <a:solidFill>
                <a:srgbClr val="AEABAB"/>
              </a:solidFill>
            </c:spPr>
          </c:dPt>
          <c:dPt>
            <c:idx val="95"/>
            <c:spPr>
              <a:solidFill>
                <a:srgbClr val="AEABAB"/>
              </a:solidFill>
            </c:spPr>
          </c:dPt>
          <c:dPt>
            <c:idx val="96"/>
            <c:spPr>
              <a:solidFill>
                <a:srgbClr val="AEABAB"/>
              </a:solidFill>
            </c:spPr>
          </c:dPt>
          <c:dPt>
            <c:idx val="97"/>
            <c:spPr>
              <a:solidFill>
                <a:srgbClr val="AEABAB"/>
              </a:solidFill>
            </c:spPr>
          </c:dPt>
          <c:cat>
            <c:strRef>
              <c:f>Sheet1!$A$2:$A$99</c:f>
              <c:strCache>
                <c:ptCount val="98"/>
                <c:pt idx="0">
                  <c:v>La Vache Qui Rit Nature Fromage Fondu Boite Ronde 1X512Gr 32P</c:v>
                </c:pt>
                <c:pt idx="1">
                  <c:v>Mini Babybel Rouge Filet St Paulin Ferme 1X264Gr 12P</c:v>
                </c:pt>
                <c:pt idx="2">
                  <c:v>La Vache Qui Rit Nature Fromage Fondu Boite Ronde 1X384Gr 24P</c:v>
                </c:pt>
                <c:pt idx="3">
                  <c:v>Apericube Edition Limitee Best Of Foot Fromage Fondu Cube Assortis 1X250Gr 48P</c:v>
                </c:pt>
                <c:pt idx="4">
                  <c:v>La Vache Qui Rit Nature Fromage Fondu Boite Ronde 1X192Gr 12P</c:v>
                </c:pt>
                <c:pt idx="5">
                  <c:v>Mini Babybel Rouge Filet St Paulin Ferme 1X132Gr 6P</c:v>
                </c:pt>
                <c:pt idx="6">
                  <c:v>Kiri Creme Fromage Blanc Frais Carre 1X432Gr 24P</c:v>
                </c:pt>
                <c:pt idx="7">
                  <c:v>Apericube Cocktail Fromage Fondu Cube Assortis 1X250Gr 48P</c:v>
                </c:pt>
                <c:pt idx="8">
                  <c:v>Apericube Long Drink Fromage Fondu Cube Assortis 1X250Gr 48P</c:v>
                </c:pt>
                <c:pt idx="9">
                  <c:v>Kiri Creme Fromage Blanc Frais Carre 1X216Gr 12P</c:v>
                </c:pt>
                <c:pt idx="10">
                  <c:v>Boursin Classique Fromage Frais A Tartiner Afh 1X160Gr 10P</c:v>
                </c:pt>
                <c:pt idx="11">
                  <c:v>Kiri Creme Fromage Blanc Frais Carre 1X144Gr 8P</c:v>
                </c:pt>
                <c:pt idx="12">
                  <c:v>Boursin Classique Fromage Frais A Tartiner Afh Boite 1X150Gr 1P</c:v>
                </c:pt>
                <c:pt idx="13">
                  <c:v>Boursin Classique Fromage Frais A Tartiner Afh Boite 1X250Gr 1P</c:v>
                </c:pt>
                <c:pt idx="14">
                  <c:v>Kiri Gouter Fromage Blanc Dips Boite 1X175Gr 5P</c:v>
                </c:pt>
                <c:pt idx="15">
                  <c:v>Boursin Aperitif Roules Fromage Frais Roule Afh Et Jambon Fume Boite 1X100Gr 20P</c:v>
                </c:pt>
                <c:pt idx="16">
                  <c:v>Apericube Edition Limitee Saison Fromage Fondu Cube Assortis 1X250Gr 48P</c:v>
                </c:pt>
                <c:pt idx="17">
                  <c:v>Apericube Tonic Fromage Fondu Cube Assortis 1X250Gr 48P</c:v>
                </c:pt>
                <c:pt idx="18">
                  <c:v>Apericube Nature Fromage Fondu Cube 1X125Gr 24P</c:v>
                </c:pt>
                <c:pt idx="19">
                  <c:v>Mini Babybel Rouge Filet Soft Cheese Enfant 352G</c:v>
                </c:pt>
                <c:pt idx="20">
                  <c:v>Boursin Salade &amp; Aperitif Fromage Frais Des Afh 1X120Gr 1P</c:v>
                </c:pt>
                <c:pt idx="21">
                  <c:v>Mini Babybel Rouge Filet St Paulin Ferme 1X440Gr 20P</c:v>
                </c:pt>
                <c:pt idx="22">
                  <c:v>Kiri Gouter Fromage Blanc Dips Boite 1X280Gr 8P</c:v>
                </c:pt>
                <c:pt idx="23">
                  <c:v>La Vache Qui Rit Nature Fromage Fondu Boite Ronde 1X128Gr 8P</c:v>
                </c:pt>
                <c:pt idx="24">
                  <c:v>La Vache Qui Rit Pik Et Croq' Fromage Fondu Dips Boite 1X175Gr 5P</c:v>
                </c:pt>
                <c:pt idx="25">
                  <c:v>Boursin Aperitif Roules Fromage Frais Roule Ciboulette &amp; Echalote Jambon Fume Boite 1X100Gr 20P</c:v>
                </c:pt>
                <c:pt idx="26">
                  <c:v>Boursin Classique Fromage Frais A Tartiner Afh Boite 1X96Gr 6P</c:v>
                </c:pt>
                <c:pt idx="27">
                  <c:v>La Vache Qui Rit Nature Fromage Fondu Boite Ronde 1X512Gr 24+8P</c:v>
                </c:pt>
                <c:pt idx="28">
                  <c:v>Port Salut St Paulin 1X320Gr 1P</c:v>
                </c:pt>
                <c:pt idx="29">
                  <c:v>Apericube Campagne Fromage Fondu Cube Assortis 1X125Gr 24P</c:v>
                </c:pt>
                <c:pt idx="30">
                  <c:v>Apericube Best Of Des Saveurs Fromage Fondu Cube Assortis 1X125Gr 24P</c:v>
                </c:pt>
                <c:pt idx="31">
                  <c:v>Kiri Creme Fromage Blanc Frais Carre 1X432Gr 18+6P</c:v>
                </c:pt>
                <c:pt idx="32">
                  <c:v>Toastinette Cheddar Fondu Tranche A Chaud Sachet 1X200Gr 10P</c:v>
                </c:pt>
                <c:pt idx="33">
                  <c:v>Boursin Onctueux Fromage Frais A Tartiner Afh 1X125Gr 1P</c:v>
                </c:pt>
                <c:pt idx="34">
                  <c:v>Babybel St Paulin 1X200Gr 1P</c:v>
                </c:pt>
                <c:pt idx="35">
                  <c:v>Boursin Classique Fromage Frais A Tartiner Ciboulette &amp; Echalote Boite 1X150Gr 1P</c:v>
                </c:pt>
                <c:pt idx="36">
                  <c:v>Cousteron St Paulin 1X320Gr 1P</c:v>
                </c:pt>
                <c:pt idx="37">
                  <c:v>Toastinette Fromage Fondu Tranche A Chaud Sachet 1X200Gr 10P</c:v>
                </c:pt>
                <c:pt idx="38">
                  <c:v>Apericube Long Drink Fromage Fondu Cube Assortis 1X125Gr 24P</c:v>
                </c:pt>
                <c:pt idx="39">
                  <c:v>Mini Babybel Aros St Paulin Ferme Assortis Filet 1X180Gr 9P</c:v>
                </c:pt>
                <c:pt idx="40">
                  <c:v>Mini Babybel Rouge Filet St Paulin Ferme 1X396Gr 12+6P</c:v>
                </c:pt>
                <c:pt idx="41">
                  <c:v>Apericube Soiree Match Aperitif 250G</c:v>
                </c:pt>
                <c:pt idx="42">
                  <c:v>Boursin Salade &amp; Aperitif Fromage Frais Des Figue Noix 1X120Gr 1P</c:v>
                </c:pt>
                <c:pt idx="43">
                  <c:v>Boursin Salade &amp; Aperitif Fromage Frais Des Ciboulette Echalote 1X120Gr 1P</c:v>
                </c:pt>
                <c:pt idx="44">
                  <c:v>Babybel Mini Rolls St Paulin Ferme Sachet 1X85Gr 5P</c:v>
                </c:pt>
                <c:pt idx="45">
                  <c:v>Kiri Bio Fromage Blanc Frais Carre 1X144Gr 8P</c:v>
                </c:pt>
                <c:pt idx="46">
                  <c:v>Kiri Delicieusement Fouette Fromage Frais A Tartiner 1X160Gr 10P</c:v>
                </c:pt>
                <c:pt idx="47">
                  <c:v>Kiri Delicieusement Fouette Fromage Frais A Tartiner 1X210Gr 1P</c:v>
                </c:pt>
                <c:pt idx="48">
                  <c:v>Kiri Delicieusement Fouette Fromage Frais A Tartiner 1X125Gr 1P</c:v>
                </c:pt>
                <c:pt idx="49">
                  <c:v>Apericube Incontournable Fromage Fondu Cube Assortis 1X250Gr 48P</c:v>
                </c:pt>
                <c:pt idx="50">
                  <c:v>Boursin Cuisine Sauce Fromage Afh 1X240Gr 1P</c:v>
                </c:pt>
                <c:pt idx="51">
                  <c:v>Apericube Carrement Toque Fromage Fondu Cube Assortis 1X250Gr 48P</c:v>
                </c:pt>
                <c:pt idx="52">
                  <c:v>Apericube Charcut' Fromages Fromage Fondu Cube Assortis 1X250Gr 48P</c:v>
                </c:pt>
                <c:pt idx="53">
                  <c:v>Mini Babybel Aros Soft Cheese Enfant 180G</c:v>
                </c:pt>
                <c:pt idx="54">
                  <c:v>La Vache Qui Rit Allegee Fromage Fondu Boite Ronde Allege 1X267Gr 16P</c:v>
                </c:pt>
                <c:pt idx="55">
                  <c:v>Boursin Salade &amp; Aperitif Fromage Frais Des Citron Romarin 1X120Gr 1P</c:v>
                </c:pt>
                <c:pt idx="56">
                  <c:v>Apericube Selection Du Fromager Fromage Fondu Cube Assortis 1X250Gr 48P</c:v>
                </c:pt>
                <c:pt idx="57">
                  <c:v>Apericube Edition Voyage Fromage Fondu Cube Assortis 1X250Gr 48P</c:v>
                </c:pt>
                <c:pt idx="58">
                  <c:v>Apericube Sucre Sale Fromage Fondu Cube Assortis 1X250Gr 48P</c:v>
                </c:pt>
                <c:pt idx="59">
                  <c:v>Apericube Nature Fromage Fondu Cube 1X250Gr 48P</c:v>
                </c:pt>
                <c:pt idx="60">
                  <c:v>Boursin Classique Fromage Frais A Tartiner Figue Et 3 Noix Boite 1X150Gr 1P</c:v>
                </c:pt>
                <c:pt idx="61">
                  <c:v>Boursin Salade &amp; Aperitif Soft Cheese Salade 120G</c:v>
                </c:pt>
                <c:pt idx="62">
                  <c:v>Boursin Salade &amp; Aperitif Fromage Frais Des Noisette Et 3 Noix 1X120Gr 1P</c:v>
                </c:pt>
                <c:pt idx="63">
                  <c:v>Mini Babybel Aros Soft Cheese Enfant 110G</c:v>
                </c:pt>
                <c:pt idx="64">
                  <c:v>Nurishh Le Coeur Fleuri Vegetal Camembert Boite 1X140Gr 1P</c:v>
                </c:pt>
                <c:pt idx="65">
                  <c:v>La Vache Qui Rit Bio Fromage Fondu Boite Ronde 1X128Gr 8P</c:v>
                </c:pt>
                <c:pt idx="66">
                  <c:v>Nurishh Le Rape Vegetal Specialite Vegetale Sachet 1X150Gr 1P</c:v>
                </c:pt>
                <c:pt idx="67">
                  <c:v>Apericube Jambon Fromage Fondu Cube 1X78Gr 15P</c:v>
                </c:pt>
                <c:pt idx="68">
                  <c:v>Boursin Classique Fromage Frais A Tartiner 3 Noix Boite 1X150Gr 1P</c:v>
                </c:pt>
                <c:pt idx="69">
                  <c:v>Nurishh Les Tranches Vegetales Cheddar Vegetal Tranche Boite 1X160Gr 8P</c:v>
                </c:pt>
                <c:pt idx="70">
                  <c:v>Nurishh Le Palet Vegetal Specialite Vegetale Ovale Saveur Chevre Boite 1X140Gr 1P</c:v>
                </c:pt>
                <c:pt idx="71">
                  <c:v>Nurishh Les Tranches Vegetales Emmental Vegetal Tranche Boite 1X160Gr 8P</c:v>
                </c:pt>
                <c:pt idx="72">
                  <c:v>Port Salut St Paulin Tranche Boite 1X200Gr 6P</c:v>
                </c:pt>
                <c:pt idx="73">
                  <c:v>Boursin Vegetal Specialite Vegetale A Tartiner Afh 1X130Gr 1P</c:v>
                </c:pt>
                <c:pt idx="74">
                  <c:v>Boursin Aperitif Roules Fromage Frais Roule Jambon Fume &amp; Trio De Noix Boite 1X100Gr 20P</c:v>
                </c:pt>
                <c:pt idx="75">
                  <c:v>Nurishh Des Vegetaux Feta Vegetale Sachet 1X150Gr 1P</c:v>
                </c:pt>
                <c:pt idx="76">
                  <c:v>Boursin Aperitif Roules Aperitif 100G</c:v>
                </c:pt>
                <c:pt idx="77">
                  <c:v>Boursin Classique Fromage Frais A Tartiner 3 Noix 1X160Gr 10P</c:v>
                </c:pt>
                <c:pt idx="78">
                  <c:v>Boursin Classique Fromage Frais A Tartiner Afh Boite 1X320Gr 16+4P</c:v>
                </c:pt>
                <c:pt idx="79">
                  <c:v>Port Salut St Paulin 1X185Gr 1P</c:v>
                </c:pt>
                <c:pt idx="80">
                  <c:v>Nurishh Les Tranches Vegetales Emmental Vegetal Tranche Boite 1X200Gr 10P</c:v>
                </c:pt>
                <c:pt idx="81">
                  <c:v>Boursin Vegetal Alternative Vegetale 150G</c:v>
                </c:pt>
                <c:pt idx="82">
                  <c:v>Nurishh Les Tranches Vegetales Cheddar Vegetal Tranche Boite 1X200Gr 10P</c:v>
                </c:pt>
                <c:pt idx="83">
                  <c:v>Boursin Classique Fromage Frais A Tartiner Truffe Boite 1X150Gr 1P</c:v>
                </c:pt>
                <c:pt idx="84">
                  <c:v>Apericube Hot Chalenge Aperitif 250G</c:v>
                </c:pt>
                <c:pt idx="85">
                  <c:v>Apericube Fromages Du Monde Aperitif 250G</c:v>
                </c:pt>
                <c:pt idx="86">
                  <c:v>Apericube Montagne Aperitif 250G</c:v>
                </c:pt>
                <c:pt idx="87">
                  <c:v>Mini Babybel Rouge Filet St Paulin Ferme Sachet 1X40Gr 1P</c:v>
                </c:pt>
                <c:pt idx="88">
                  <c:v>Nurishh Le Rape Vegetal Specialite Vegetale Emmental Sachet 1X150Gr 1P</c:v>
                </c:pt>
                <c:pt idx="89">
                  <c:v>Nurishh Le Rape Vegetal Mozzarella Vegetale Sachet 1X150Gr 1P</c:v>
                </c:pt>
                <c:pt idx="90">
                  <c:v>Nurishh Le Tartinable Vegetal Specialite Vegetale A Tartiner 1X130Gr 1P</c:v>
                </c:pt>
                <c:pt idx="91">
                  <c:v>Boursin Onctueux Fromage Frais A Tartiner Afh 1X210Gr 1P</c:v>
                </c:pt>
                <c:pt idx="92">
                  <c:v>Apericube P'Tits Plaisirs Fromage Fondu Cube 3 Fromages &amp; Jambon Cru Olive Verte 1X78Gr 15P</c:v>
                </c:pt>
                <c:pt idx="93">
                  <c:v>Kiri Chevre Fromage Blanc Frais Carre 1X144Gr 8P</c:v>
                </c:pt>
                <c:pt idx="94">
                  <c:v>Nurishh Les Tranches Vegetales Specialite Vegetale Tranche Piment Boite 1X120Gr 6P</c:v>
                </c:pt>
                <c:pt idx="95">
                  <c:v>Apericube Vertical Soiree Apero Fromage Fondu Cube Assortis 1X125Gr 24P</c:v>
                </c:pt>
                <c:pt idx="96">
                  <c:v>Boursin Classique Fromage Frais A Tartiner Ciboulette &amp; Echalote 1X160Gr 10P</c:v>
                </c:pt>
                <c:pt idx="97">
                  <c:v>Apericube Vertical Nature Fromage Fondu Cube 1X125Gr 24P</c:v>
                </c:pt>
              </c:strCache>
            </c:strRef>
          </c:cat>
          <c:val>
            <c:numRef>
              <c:f>Sheet1!$C$2:$C$99</c:f>
              <c:numCache>
                <c:formatCode>General</c:formatCode>
                <c:ptCount val="98"/>
                <c:pt idx="0">
                  <c:v>0.08216554144375475</c:v>
                </c:pt>
                <c:pt idx="1">
                  <c:v>0.16138409675200105</c:v>
                </c:pt>
                <c:pt idx="2">
                  <c:v>0.21303296365661295</c:v>
                </c:pt>
                <c:pt idx="3">
                  <c:v>0.25806201981073695</c:v>
                </c:pt>
                <c:pt idx="4">
                  <c:v>0.3010198620200312</c:v>
                </c:pt>
                <c:pt idx="5">
                  <c:v>0.3435329661431318</c:v>
                </c:pt>
                <c:pt idx="6">
                  <c:v>0.38443748384184667</c:v>
                </c:pt>
                <c:pt idx="7">
                  <c:v>0.4249508642498198</c:v>
                </c:pt>
                <c:pt idx="8">
                  <c:v>0.4627679356261197</c:v>
                </c:pt>
                <c:pt idx="9">
                  <c:v>0.49850508461601134</c:v>
                </c:pt>
                <c:pt idx="10">
                  <c:v>0.5252204006427684</c:v>
                </c:pt>
                <c:pt idx="11">
                  <c:v>0.5518130334047042</c:v>
                </c:pt>
                <c:pt idx="12">
                  <c:v>0.5766462909385919</c:v>
                </c:pt>
                <c:pt idx="13">
                  <c:v>0.5982044768635495</c:v>
                </c:pt>
                <c:pt idx="14">
                  <c:v>0.6191535894339734</c:v>
                </c:pt>
                <c:pt idx="15">
                  <c:v>0.6397840450504108</c:v>
                </c:pt>
                <c:pt idx="16">
                  <c:v>0.6596020278202528</c:v>
                </c:pt>
                <c:pt idx="17">
                  <c:v>0.6792378983996695</c:v>
                </c:pt>
                <c:pt idx="18">
                  <c:v>0.6980459044683057</c:v>
                </c:pt>
                <c:pt idx="19">
                  <c:v>0.715164697895048</c:v>
                </c:pt>
                <c:pt idx="20">
                  <c:v>0.7321319149329721</c:v>
                </c:pt>
                <c:pt idx="21">
                  <c:v>0.7490340774370375</c:v>
                </c:pt>
                <c:pt idx="22">
                  <c:v>0.7653896333406307</c:v>
                </c:pt>
                <c:pt idx="23">
                  <c:v>0.7796220621864186</c:v>
                </c:pt>
                <c:pt idx="24">
                  <c:v>0.7933748516723999</c:v>
                </c:pt>
                <c:pt idx="25">
                  <c:v>0.8056531017274914</c:v>
                </c:pt>
                <c:pt idx="26">
                  <c:v>0.8169692152539761</c:v>
                </c:pt>
                <c:pt idx="27">
                  <c:v>0.8277214403114299</c:v>
                </c:pt>
                <c:pt idx="28">
                  <c:v>0.8376973314297174</c:v>
                </c:pt>
                <c:pt idx="29">
                  <c:v>0.8475858230981578</c:v>
                </c:pt>
                <c:pt idx="30">
                  <c:v>0.8572730530056735</c:v>
                </c:pt>
                <c:pt idx="31">
                  <c:v>0.8654960946014885</c:v>
                </c:pt>
                <c:pt idx="32">
                  <c:v>0.8735234100349014</c:v>
                </c:pt>
                <c:pt idx="33">
                  <c:v>0.8809511706429478</c:v>
                </c:pt>
                <c:pt idx="34">
                  <c:v>0.8882385835762527</c:v>
                </c:pt>
                <c:pt idx="35">
                  <c:v>0.895365599166996</c:v>
                </c:pt>
                <c:pt idx="36">
                  <c:v>0.9021114685472581</c:v>
                </c:pt>
                <c:pt idx="37">
                  <c:v>0.9083565462806753</c:v>
                </c:pt>
                <c:pt idx="38">
                  <c:v>0.914379592507491</c:v>
                </c:pt>
                <c:pt idx="39">
                  <c:v>0.9201569121657358</c:v>
                </c:pt>
                <c:pt idx="40">
                  <c:v>0.9257225739390009</c:v>
                </c:pt>
                <c:pt idx="41">
                  <c:v>0.9307711748063482</c:v>
                </c:pt>
                <c:pt idx="42">
                  <c:v>0.934863827314169</c:v>
                </c:pt>
                <c:pt idx="43">
                  <c:v>0.9386793173544908</c:v>
                </c:pt>
                <c:pt idx="44">
                  <c:v>0.9423905536226342</c:v>
                </c:pt>
                <c:pt idx="45">
                  <c:v>0.9459396598608735</c:v>
                </c:pt>
                <c:pt idx="46">
                  <c:v>0.9492800560328586</c:v>
                </c:pt>
                <c:pt idx="47">
                  <c:v>0.9526062081647425</c:v>
                </c:pt>
                <c:pt idx="48">
                  <c:v>0.9558928460242445</c:v>
                </c:pt>
                <c:pt idx="49">
                  <c:v>0.9585738534014646</c:v>
                </c:pt>
                <c:pt idx="50">
                  <c:v>0.9610209029825829</c:v>
                </c:pt>
                <c:pt idx="51">
                  <c:v>0.9634517508119274</c:v>
                </c:pt>
                <c:pt idx="52">
                  <c:v>0.9658301229674707</c:v>
                </c:pt>
                <c:pt idx="53">
                  <c:v>0.9681055464919508</c:v>
                </c:pt>
                <c:pt idx="54">
                  <c:v>0.9702842770617468</c:v>
                </c:pt>
                <c:pt idx="55">
                  <c:v>0.9723342712122394</c:v>
                </c:pt>
                <c:pt idx="56">
                  <c:v>0.974314530322805</c:v>
                </c:pt>
                <c:pt idx="57">
                  <c:v>0.9762887362788885</c:v>
                </c:pt>
                <c:pt idx="58">
                  <c:v>0.9781160238497888</c:v>
                </c:pt>
                <c:pt idx="59">
                  <c:v>0.9798774467992416</c:v>
                </c:pt>
                <c:pt idx="60">
                  <c:v>0.9815186842539383</c:v>
                </c:pt>
                <c:pt idx="61">
                  <c:v>0.9829703162080142</c:v>
                </c:pt>
                <c:pt idx="62">
                  <c:v>0.9843503229177897</c:v>
                </c:pt>
                <c:pt idx="63">
                  <c:v>0.9856499959416862</c:v>
                </c:pt>
                <c:pt idx="64">
                  <c:v>0.9869128099802971</c:v>
                </c:pt>
                <c:pt idx="65">
                  <c:v>0.9879859735134212</c:v>
                </c:pt>
                <c:pt idx="66">
                  <c:v>0.9889883218898335</c:v>
                </c:pt>
                <c:pt idx="67">
                  <c:v>0.9899075912835386</c:v>
                </c:pt>
                <c:pt idx="68">
                  <c:v>0.9907470445473241</c:v>
                </c:pt>
                <c:pt idx="69">
                  <c:v>0.9915638603634922</c:v>
                </c:pt>
                <c:pt idx="70">
                  <c:v>0.9923282230082923</c:v>
                </c:pt>
                <c:pt idx="71">
                  <c:v>0.9930562892286322</c:v>
                </c:pt>
                <c:pt idx="72">
                  <c:v>0.9937402506802543</c:v>
                </c:pt>
                <c:pt idx="73">
                  <c:v>0.9943281492453169</c:v>
                </c:pt>
                <c:pt idx="74">
                  <c:v>0.9948953230695687</c:v>
                </c:pt>
                <c:pt idx="75">
                  <c:v>0.9954232526506349</c:v>
                </c:pt>
                <c:pt idx="76">
                  <c:v>0.9958979189727444</c:v>
                </c:pt>
                <c:pt idx="77">
                  <c:v>0.9963463474579533</c:v>
                </c:pt>
                <c:pt idx="78">
                  <c:v>0.9967925031974272</c:v>
                </c:pt>
                <c:pt idx="79">
                  <c:v>0.997209405773976</c:v>
                </c:pt>
                <c:pt idx="80">
                  <c:v>0.9975980227922195</c:v>
                </c:pt>
                <c:pt idx="81">
                  <c:v>0.9979695604638015</c:v>
                </c:pt>
                <c:pt idx="82">
                  <c:v>0.9983183706780339</c:v>
                </c:pt>
                <c:pt idx="83">
                  <c:v>0.9986028914411301</c:v>
                </c:pt>
                <c:pt idx="84">
                  <c:v>0.998861466898955</c:v>
                </c:pt>
                <c:pt idx="85">
                  <c:v>0.9990616035382288</c:v>
                </c:pt>
                <c:pt idx="86">
                  <c:v>0.999229561698285</c:v>
                </c:pt>
                <c:pt idx="87">
                  <c:v>0.9993768626248295</c:v>
                </c:pt>
                <c:pt idx="88">
                  <c:v>0.9995071967168774</c:v>
                </c:pt>
                <c:pt idx="89">
                  <c:v>0.9996160634878248</c:v>
                </c:pt>
                <c:pt idx="90">
                  <c:v>0.999706005712603</c:v>
                </c:pt>
                <c:pt idx="91">
                  <c:v>0.9997728154362374</c:v>
                </c:pt>
                <c:pt idx="92">
                  <c:v>0.9998290940212187</c:v>
                </c:pt>
                <c:pt idx="93">
                  <c:v>0.9998753365210734</c:v>
                </c:pt>
                <c:pt idx="94">
                  <c:v>0.9999300174333103</c:v>
                </c:pt>
                <c:pt idx="95">
                  <c:v>0.999942528786069</c:v>
                </c:pt>
                <c:pt idx="96">
                  <c:v>0.999980962941666</c:v>
                </c:pt>
                <c:pt idx="97">
                  <c:v>0.9999859134769303</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99</c:f>
              <c:strCache>
                <c:ptCount val="98"/>
                <c:pt idx="0">
                  <c:v>La Vache Qui Rit Nature Fromage Fondu Boite Ronde 1X512Gr 32P</c:v>
                </c:pt>
                <c:pt idx="1">
                  <c:v>Mini Babybel Rouge Filet St Paulin Ferme 1X264Gr 12P</c:v>
                </c:pt>
                <c:pt idx="2">
                  <c:v>La Vache Qui Rit Nature Fromage Fondu Boite Ronde 1X384Gr 24P</c:v>
                </c:pt>
                <c:pt idx="3">
                  <c:v>Apericube Edition Limitee Best Of Foot Fromage Fondu Cube Assortis 1X250Gr 48P</c:v>
                </c:pt>
                <c:pt idx="4">
                  <c:v>La Vache Qui Rit Nature Fromage Fondu Boite Ronde 1X192Gr 12P</c:v>
                </c:pt>
                <c:pt idx="5">
                  <c:v>Mini Babybel Rouge Filet St Paulin Ferme 1X132Gr 6P</c:v>
                </c:pt>
                <c:pt idx="6">
                  <c:v>Kiri Creme Fromage Blanc Frais Carre 1X432Gr 24P</c:v>
                </c:pt>
                <c:pt idx="7">
                  <c:v>Apericube Cocktail Fromage Fondu Cube Assortis 1X250Gr 48P</c:v>
                </c:pt>
                <c:pt idx="8">
                  <c:v>Apericube Long Drink Fromage Fondu Cube Assortis 1X250Gr 48P</c:v>
                </c:pt>
                <c:pt idx="9">
                  <c:v>Kiri Creme Fromage Blanc Frais Carre 1X216Gr 12P</c:v>
                </c:pt>
                <c:pt idx="10">
                  <c:v>Boursin Classique Fromage Frais A Tartiner Afh 1X160Gr 10P</c:v>
                </c:pt>
                <c:pt idx="11">
                  <c:v>Kiri Creme Fromage Blanc Frais Carre 1X144Gr 8P</c:v>
                </c:pt>
                <c:pt idx="12">
                  <c:v>Boursin Classique Fromage Frais A Tartiner Afh Boite 1X150Gr 1P</c:v>
                </c:pt>
                <c:pt idx="13">
                  <c:v>Boursin Classique Fromage Frais A Tartiner Afh Boite 1X250Gr 1P</c:v>
                </c:pt>
                <c:pt idx="14">
                  <c:v>Kiri Gouter Fromage Blanc Dips Boite 1X175Gr 5P</c:v>
                </c:pt>
                <c:pt idx="15">
                  <c:v>Boursin Aperitif Roules Fromage Frais Roule Afh Et Jambon Fume Boite 1X100Gr 20P</c:v>
                </c:pt>
                <c:pt idx="16">
                  <c:v>Apericube Edition Limitee Saison Fromage Fondu Cube Assortis 1X250Gr 48P</c:v>
                </c:pt>
                <c:pt idx="17">
                  <c:v>Apericube Tonic Fromage Fondu Cube Assortis 1X250Gr 48P</c:v>
                </c:pt>
                <c:pt idx="18">
                  <c:v>Apericube Nature Fromage Fondu Cube 1X125Gr 24P</c:v>
                </c:pt>
                <c:pt idx="19">
                  <c:v>Mini Babybel Rouge Filet Soft Cheese Enfant 352G</c:v>
                </c:pt>
                <c:pt idx="20">
                  <c:v>Boursin Salade &amp; Aperitif Fromage Frais Des Afh 1X120Gr 1P</c:v>
                </c:pt>
                <c:pt idx="21">
                  <c:v>Mini Babybel Rouge Filet St Paulin Ferme 1X440Gr 20P</c:v>
                </c:pt>
                <c:pt idx="22">
                  <c:v>Kiri Gouter Fromage Blanc Dips Boite 1X280Gr 8P</c:v>
                </c:pt>
                <c:pt idx="23">
                  <c:v>La Vache Qui Rit Nature Fromage Fondu Boite Ronde 1X128Gr 8P</c:v>
                </c:pt>
                <c:pt idx="24">
                  <c:v>La Vache Qui Rit Pik Et Croq' Fromage Fondu Dips Boite 1X175Gr 5P</c:v>
                </c:pt>
                <c:pt idx="25">
                  <c:v>Boursin Aperitif Roules Fromage Frais Roule Ciboulette &amp; Echalote Jambon Fume Boite 1X100Gr 20P</c:v>
                </c:pt>
                <c:pt idx="26">
                  <c:v>Boursin Classique Fromage Frais A Tartiner Afh Boite 1X96Gr 6P</c:v>
                </c:pt>
                <c:pt idx="27">
                  <c:v>La Vache Qui Rit Nature Fromage Fondu Boite Ronde 1X512Gr 24+8P</c:v>
                </c:pt>
                <c:pt idx="28">
                  <c:v>Port Salut St Paulin 1X320Gr 1P</c:v>
                </c:pt>
                <c:pt idx="29">
                  <c:v>Apericube Campagne Fromage Fondu Cube Assortis 1X125Gr 24P</c:v>
                </c:pt>
                <c:pt idx="30">
                  <c:v>Apericube Best Of Des Saveurs Fromage Fondu Cube Assortis 1X125Gr 24P</c:v>
                </c:pt>
                <c:pt idx="31">
                  <c:v>Kiri Creme Fromage Blanc Frais Carre 1X432Gr 18+6P</c:v>
                </c:pt>
                <c:pt idx="32">
                  <c:v>Toastinette Cheddar Fondu Tranche A Chaud Sachet 1X200Gr 10P</c:v>
                </c:pt>
                <c:pt idx="33">
                  <c:v>Boursin Onctueux Fromage Frais A Tartiner Afh 1X125Gr 1P</c:v>
                </c:pt>
                <c:pt idx="34">
                  <c:v>Babybel St Paulin 1X200Gr 1P</c:v>
                </c:pt>
                <c:pt idx="35">
                  <c:v>Boursin Classique Fromage Frais A Tartiner Ciboulette &amp; Echalote Boite 1X150Gr 1P</c:v>
                </c:pt>
                <c:pt idx="36">
                  <c:v>Cousteron St Paulin 1X320Gr 1P</c:v>
                </c:pt>
                <c:pt idx="37">
                  <c:v>Toastinette Fromage Fondu Tranche A Chaud Sachet 1X200Gr 10P</c:v>
                </c:pt>
                <c:pt idx="38">
                  <c:v>Apericube Long Drink Fromage Fondu Cube Assortis 1X125Gr 24P</c:v>
                </c:pt>
                <c:pt idx="39">
                  <c:v>Mini Babybel Aros St Paulin Ferme Assortis Filet 1X180Gr 9P</c:v>
                </c:pt>
                <c:pt idx="40">
                  <c:v>Mini Babybel Rouge Filet St Paulin Ferme 1X396Gr 12+6P</c:v>
                </c:pt>
                <c:pt idx="41">
                  <c:v>Apericube Soiree Match Aperitif 250G</c:v>
                </c:pt>
                <c:pt idx="42">
                  <c:v>Boursin Salade &amp; Aperitif Fromage Frais Des Figue Noix 1X120Gr 1P</c:v>
                </c:pt>
                <c:pt idx="43">
                  <c:v>Boursin Salade &amp; Aperitif Fromage Frais Des Ciboulette Echalote 1X120Gr 1P</c:v>
                </c:pt>
                <c:pt idx="44">
                  <c:v>Babybel Mini Rolls St Paulin Ferme Sachet 1X85Gr 5P</c:v>
                </c:pt>
                <c:pt idx="45">
                  <c:v>Kiri Bio Fromage Blanc Frais Carre 1X144Gr 8P</c:v>
                </c:pt>
                <c:pt idx="46">
                  <c:v>Kiri Delicieusement Fouette Fromage Frais A Tartiner 1X160Gr 10P</c:v>
                </c:pt>
                <c:pt idx="47">
                  <c:v>Kiri Delicieusement Fouette Fromage Frais A Tartiner 1X210Gr 1P</c:v>
                </c:pt>
                <c:pt idx="48">
                  <c:v>Kiri Delicieusement Fouette Fromage Frais A Tartiner 1X125Gr 1P</c:v>
                </c:pt>
                <c:pt idx="49">
                  <c:v>Apericube Incontournable Fromage Fondu Cube Assortis 1X250Gr 48P</c:v>
                </c:pt>
                <c:pt idx="50">
                  <c:v>Boursin Cuisine Sauce Fromage Afh 1X240Gr 1P</c:v>
                </c:pt>
                <c:pt idx="51">
                  <c:v>Apericube Carrement Toque Fromage Fondu Cube Assortis 1X250Gr 48P</c:v>
                </c:pt>
                <c:pt idx="52">
                  <c:v>Apericube Charcut' Fromages Fromage Fondu Cube Assortis 1X250Gr 48P</c:v>
                </c:pt>
                <c:pt idx="53">
                  <c:v>Mini Babybel Aros Soft Cheese Enfant 180G</c:v>
                </c:pt>
                <c:pt idx="54">
                  <c:v>La Vache Qui Rit Allegee Fromage Fondu Boite Ronde Allege 1X267Gr 16P</c:v>
                </c:pt>
                <c:pt idx="55">
                  <c:v>Boursin Salade &amp; Aperitif Fromage Frais Des Citron Romarin 1X120Gr 1P</c:v>
                </c:pt>
                <c:pt idx="56">
                  <c:v>Apericube Selection Du Fromager Fromage Fondu Cube Assortis 1X250Gr 48P</c:v>
                </c:pt>
                <c:pt idx="57">
                  <c:v>Apericube Edition Voyage Fromage Fondu Cube Assortis 1X250Gr 48P</c:v>
                </c:pt>
                <c:pt idx="58">
                  <c:v>Apericube Sucre Sale Fromage Fondu Cube Assortis 1X250Gr 48P</c:v>
                </c:pt>
                <c:pt idx="59">
                  <c:v>Apericube Nature Fromage Fondu Cube 1X250Gr 48P</c:v>
                </c:pt>
                <c:pt idx="60">
                  <c:v>Boursin Classique Fromage Frais A Tartiner Figue Et 3 Noix Boite 1X150Gr 1P</c:v>
                </c:pt>
                <c:pt idx="61">
                  <c:v>Boursin Salade &amp; Aperitif Soft Cheese Salade 120G</c:v>
                </c:pt>
                <c:pt idx="62">
                  <c:v>Boursin Salade &amp; Aperitif Fromage Frais Des Noisette Et 3 Noix 1X120Gr 1P</c:v>
                </c:pt>
                <c:pt idx="63">
                  <c:v>Mini Babybel Aros Soft Cheese Enfant 110G</c:v>
                </c:pt>
                <c:pt idx="64">
                  <c:v>Nurishh Le Coeur Fleuri Vegetal Camembert Boite 1X140Gr 1P</c:v>
                </c:pt>
                <c:pt idx="65">
                  <c:v>La Vache Qui Rit Bio Fromage Fondu Boite Ronde 1X128Gr 8P</c:v>
                </c:pt>
                <c:pt idx="66">
                  <c:v>Nurishh Le Rape Vegetal Specialite Vegetale Sachet 1X150Gr 1P</c:v>
                </c:pt>
                <c:pt idx="67">
                  <c:v>Apericube Jambon Fromage Fondu Cube 1X78Gr 15P</c:v>
                </c:pt>
                <c:pt idx="68">
                  <c:v>Boursin Classique Fromage Frais A Tartiner 3 Noix Boite 1X150Gr 1P</c:v>
                </c:pt>
                <c:pt idx="69">
                  <c:v>Nurishh Les Tranches Vegetales Cheddar Vegetal Tranche Boite 1X160Gr 8P</c:v>
                </c:pt>
                <c:pt idx="70">
                  <c:v>Nurishh Le Palet Vegetal Specialite Vegetale Ovale Saveur Chevre Boite 1X140Gr 1P</c:v>
                </c:pt>
                <c:pt idx="71">
                  <c:v>Nurishh Les Tranches Vegetales Emmental Vegetal Tranche Boite 1X160Gr 8P</c:v>
                </c:pt>
                <c:pt idx="72">
                  <c:v>Port Salut St Paulin Tranche Boite 1X200Gr 6P</c:v>
                </c:pt>
                <c:pt idx="73">
                  <c:v>Boursin Vegetal Specialite Vegetale A Tartiner Afh 1X130Gr 1P</c:v>
                </c:pt>
                <c:pt idx="74">
                  <c:v>Boursin Aperitif Roules Fromage Frais Roule Jambon Fume &amp; Trio De Noix Boite 1X100Gr 20P</c:v>
                </c:pt>
                <c:pt idx="75">
                  <c:v>Nurishh Des Vegetaux Feta Vegetale Sachet 1X150Gr 1P</c:v>
                </c:pt>
                <c:pt idx="76">
                  <c:v>Boursin Aperitif Roules Aperitif 100G</c:v>
                </c:pt>
                <c:pt idx="77">
                  <c:v>Boursin Classique Fromage Frais A Tartiner 3 Noix 1X160Gr 10P</c:v>
                </c:pt>
                <c:pt idx="78">
                  <c:v>Boursin Classique Fromage Frais A Tartiner Afh Boite 1X320Gr 16+4P</c:v>
                </c:pt>
                <c:pt idx="79">
                  <c:v>Port Salut St Paulin 1X185Gr 1P</c:v>
                </c:pt>
                <c:pt idx="80">
                  <c:v>Nurishh Les Tranches Vegetales Emmental Vegetal Tranche Boite 1X200Gr 10P</c:v>
                </c:pt>
                <c:pt idx="81">
                  <c:v>Boursin Vegetal Alternative Vegetale 150G</c:v>
                </c:pt>
                <c:pt idx="82">
                  <c:v>Nurishh Les Tranches Vegetales Cheddar Vegetal Tranche Boite 1X200Gr 10P</c:v>
                </c:pt>
                <c:pt idx="83">
                  <c:v>Boursin Classique Fromage Frais A Tartiner Truffe Boite 1X150Gr 1P</c:v>
                </c:pt>
                <c:pt idx="84">
                  <c:v>Apericube Hot Chalenge Aperitif 250G</c:v>
                </c:pt>
                <c:pt idx="85">
                  <c:v>Apericube Fromages Du Monde Aperitif 250G</c:v>
                </c:pt>
                <c:pt idx="86">
                  <c:v>Apericube Montagne Aperitif 250G</c:v>
                </c:pt>
                <c:pt idx="87">
                  <c:v>Mini Babybel Rouge Filet St Paulin Ferme Sachet 1X40Gr 1P</c:v>
                </c:pt>
                <c:pt idx="88">
                  <c:v>Nurishh Le Rape Vegetal Specialite Vegetale Emmental Sachet 1X150Gr 1P</c:v>
                </c:pt>
                <c:pt idx="89">
                  <c:v>Nurishh Le Rape Vegetal Mozzarella Vegetale Sachet 1X150Gr 1P</c:v>
                </c:pt>
                <c:pt idx="90">
                  <c:v>Nurishh Le Tartinable Vegetal Specialite Vegetale A Tartiner 1X130Gr 1P</c:v>
                </c:pt>
                <c:pt idx="91">
                  <c:v>Boursin Onctueux Fromage Frais A Tartiner Afh 1X210Gr 1P</c:v>
                </c:pt>
                <c:pt idx="92">
                  <c:v>Apericube P'Tits Plaisirs Fromage Fondu Cube 3 Fromages &amp; Jambon Cru Olive Verte 1X78Gr 15P</c:v>
                </c:pt>
                <c:pt idx="93">
                  <c:v>Kiri Chevre Fromage Blanc Frais Carre 1X144Gr 8P</c:v>
                </c:pt>
                <c:pt idx="94">
                  <c:v>Nurishh Les Tranches Vegetales Specialite Vegetale Tranche Piment Boite 1X120Gr 6P</c:v>
                </c:pt>
                <c:pt idx="95">
                  <c:v>Apericube Vertical Soiree Apero Fromage Fondu Cube Assortis 1X125Gr 24P</c:v>
                </c:pt>
                <c:pt idx="96">
                  <c:v>Boursin Classique Fromage Frais A Tartiner Ciboulette &amp; Echalote 1X160Gr 10P</c:v>
                </c:pt>
                <c:pt idx="97">
                  <c:v>Apericube Vertical Nature Fromage Fondu Cube 1X125Gr 24P</c:v>
                </c:pt>
              </c:strCache>
            </c:strRef>
          </c:cat>
          <c:val>
            <c:numRef>
              <c:f>Sheet1!$D$2:$D$99</c:f>
              <c:numCache>
                <c:formatCode>General</c:formatCode>
                <c:ptCount val="98"/>
                <c:pt idx="0">
                  <c:v>36882.89898989899</c:v>
                </c:pt>
                <c:pt idx="1">
                  <c:v>35204.44</c:v>
                </c:pt>
                <c:pt idx="2">
                  <c:v>23908.927083333332</c:v>
                </c:pt>
                <c:pt idx="3">
                  <c:v>20844.53125</c:v>
                </c:pt>
                <c:pt idx="4">
                  <c:v>19283.141414141413</c:v>
                </c:pt>
                <c:pt idx="5">
                  <c:v>19083.50505050505</c:v>
                </c:pt>
                <c:pt idx="6">
                  <c:v>21137.0</c:v>
                </c:pt>
                <c:pt idx="7">
                  <c:v>18754.166666666668</c:v>
                </c:pt>
                <c:pt idx="8">
                  <c:v>17690.284210526315</c:v>
                </c:pt>
                <c:pt idx="9">
                  <c:v>16372.639175257733</c:v>
                </c:pt>
                <c:pt idx="10">
                  <c:v>12114.479591836734</c:v>
                </c:pt>
                <c:pt idx="11">
                  <c:v>11937.040404040405</c:v>
                </c:pt>
                <c:pt idx="12">
                  <c:v>11147.282828282829</c:v>
                </c:pt>
                <c:pt idx="13">
                  <c:v>10084.61052631579</c:v>
                </c:pt>
                <c:pt idx="14">
                  <c:v>9403.747474747475</c:v>
                </c:pt>
                <c:pt idx="15">
                  <c:v>9753.297872340425</c:v>
                </c:pt>
                <c:pt idx="16">
                  <c:v>10610.89156626506</c:v>
                </c:pt>
                <c:pt idx="17">
                  <c:v>10513.385542168675</c:v>
                </c:pt>
                <c:pt idx="18">
                  <c:v>8706.46875</c:v>
                </c:pt>
                <c:pt idx="19">
                  <c:v>8093.117021276596</c:v>
                </c:pt>
                <c:pt idx="20">
                  <c:v>7616.333333333333</c:v>
                </c:pt>
                <c:pt idx="21">
                  <c:v>7824.229166666667</c:v>
                </c:pt>
                <c:pt idx="22">
                  <c:v>9956.643835616438</c:v>
                </c:pt>
                <c:pt idx="23">
                  <c:v>9583.09090909091</c:v>
                </c:pt>
                <c:pt idx="24">
                  <c:v>6300.711340206186</c:v>
                </c:pt>
                <c:pt idx="25">
                  <c:v>6344.662790697675</c:v>
                </c:pt>
                <c:pt idx="26">
                  <c:v>5526.197802197802</c:v>
                </c:pt>
                <c:pt idx="27">
                  <c:v>6125.961538461538</c:v>
                </c:pt>
                <c:pt idx="28">
                  <c:v>4818.75</c:v>
                </c:pt>
                <c:pt idx="29">
                  <c:v>5359.036585365854</c:v>
                </c:pt>
                <c:pt idx="30">
                  <c:v>4837.044943820225</c:v>
                </c:pt>
                <c:pt idx="31">
                  <c:v>5146.887323943662</c:v>
                </c:pt>
                <c:pt idx="32">
                  <c:v>3677.639175257732</c:v>
                </c:pt>
                <c:pt idx="33">
                  <c:v>3883.3764705882354</c:v>
                </c:pt>
                <c:pt idx="34">
                  <c:v>3373.4375</c:v>
                </c:pt>
                <c:pt idx="35">
                  <c:v>3558.674157303371</c:v>
                </c:pt>
                <c:pt idx="36">
                  <c:v>3655.9024390243903</c:v>
                </c:pt>
                <c:pt idx="37">
                  <c:v>3513.025316455696</c:v>
                </c:pt>
                <c:pt idx="38">
                  <c:v>3476.12987012987</c:v>
                </c:pt>
                <c:pt idx="39">
                  <c:v>3831.9701492537315</c:v>
                </c:pt>
                <c:pt idx="40">
                  <c:v>3053.5308641975307</c:v>
                </c:pt>
                <c:pt idx="41">
                  <c:v>2703.10843373494</c:v>
                </c:pt>
                <c:pt idx="42">
                  <c:v>1998.6373626373627</c:v>
                </c:pt>
                <c:pt idx="43">
                  <c:v>1784.8315789473684</c:v>
                </c:pt>
                <c:pt idx="44">
                  <c:v>3665.0222222222224</c:v>
                </c:pt>
                <c:pt idx="45">
                  <c:v>3755.2619047619046</c:v>
                </c:pt>
                <c:pt idx="46">
                  <c:v>2356.285714285714</c:v>
                </c:pt>
                <c:pt idx="47">
                  <c:v>2737.277777777778</c:v>
                </c:pt>
                <c:pt idx="48">
                  <c:v>2355.7580645161293</c:v>
                </c:pt>
                <c:pt idx="49">
                  <c:v>2431.4897959183672</c:v>
                </c:pt>
                <c:pt idx="50">
                  <c:v>1510.361111111111</c:v>
                </c:pt>
                <c:pt idx="51">
                  <c:v>2077.423076923077</c:v>
                </c:pt>
                <c:pt idx="52">
                  <c:v>2157.0204081632655</c:v>
                </c:pt>
                <c:pt idx="53">
                  <c:v>1532.1060606060605</c:v>
                </c:pt>
                <c:pt idx="54">
                  <c:v>3586.0</c:v>
                </c:pt>
                <c:pt idx="55">
                  <c:v>1265.2916666666667</c:v>
                </c:pt>
                <c:pt idx="56">
                  <c:v>1913.0869565217392</c:v>
                </c:pt>
                <c:pt idx="57">
                  <c:v>2658.5757575757575</c:v>
                </c:pt>
                <c:pt idx="58">
                  <c:v>1845.5454545454545</c:v>
                </c:pt>
                <c:pt idx="59">
                  <c:v>1909.1951219512196</c:v>
                </c:pt>
                <c:pt idx="60">
                  <c:v>1122.0923076923077</c:v>
                </c:pt>
                <c:pt idx="61">
                  <c:v>908.5915492957746</c:v>
                </c:pt>
                <c:pt idx="62">
                  <c:v>776.2911392405064</c:v>
                </c:pt>
                <c:pt idx="63">
                  <c:v>1013.2807017543861</c:v>
                </c:pt>
                <c:pt idx="64">
                  <c:v>1275.4318181818182</c:v>
                </c:pt>
                <c:pt idx="65">
                  <c:v>1907.64</c:v>
                </c:pt>
                <c:pt idx="66">
                  <c:v>989.8666666666667</c:v>
                </c:pt>
                <c:pt idx="67">
                  <c:v>8170.4</c:v>
                </c:pt>
                <c:pt idx="68">
                  <c:v>611.5573770491803</c:v>
                </c:pt>
                <c:pt idx="69">
                  <c:v>1396.1153846153845</c:v>
                </c:pt>
                <c:pt idx="70">
                  <c:v>1358.72</c:v>
                </c:pt>
                <c:pt idx="71">
                  <c:v>1294.2</c:v>
                </c:pt>
                <c:pt idx="72">
                  <c:v>5065.833333333333</c:v>
                </c:pt>
                <c:pt idx="73">
                  <c:v>1088.5833333333333</c:v>
                </c:pt>
                <c:pt idx="74">
                  <c:v>504.1</c:v>
                </c:pt>
                <c:pt idx="75">
                  <c:v>756.8064516129032</c:v>
                </c:pt>
                <c:pt idx="76">
                  <c:v>727.3793103448277</c:v>
                </c:pt>
                <c:pt idx="77">
                  <c:v>486.0487804878049</c:v>
                </c:pt>
                <c:pt idx="78">
                  <c:v>535.8648648648649</c:v>
                </c:pt>
                <c:pt idx="79">
                  <c:v>2646.7142857142853</c:v>
                </c:pt>
                <c:pt idx="80">
                  <c:v>557.0967741935484</c:v>
                </c:pt>
                <c:pt idx="81">
                  <c:v>660.44</c:v>
                </c:pt>
                <c:pt idx="82">
                  <c:v>455.9117647058824</c:v>
                </c:pt>
                <c:pt idx="83">
                  <c:v>247.92156862745097</c:v>
                </c:pt>
                <c:pt idx="84">
                  <c:v>1276.7777777777778</c:v>
                </c:pt>
                <c:pt idx="85">
                  <c:v>1270.5714285714284</c:v>
                </c:pt>
                <c:pt idx="86">
                  <c:v>1244.0</c:v>
                </c:pt>
                <c:pt idx="87">
                  <c:v>1091.0</c:v>
                </c:pt>
                <c:pt idx="88">
                  <c:v>445.53846153846155</c:v>
                </c:pt>
                <c:pt idx="89">
                  <c:v>439.8181818181818</c:v>
                </c:pt>
                <c:pt idx="90">
                  <c:v>363.3636363636364</c:v>
                </c:pt>
                <c:pt idx="91">
                  <c:v>989.6666666666666</c:v>
                </c:pt>
                <c:pt idx="92">
                  <c:v>1250.5</c:v>
                </c:pt>
                <c:pt idx="93">
                  <c:v>685.0</c:v>
                </c:pt>
                <c:pt idx="94">
                  <c:v>173.4</c:v>
                </c:pt>
                <c:pt idx="95">
                  <c:v>556.0</c:v>
                </c:pt>
                <c:pt idx="96">
                  <c:v>101.66666666666667</c:v>
                </c:pt>
                <c:pt idx="97">
                  <c:v>220.0</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51</c:f>
              <c:strCache>
                <c:ptCount val="50"/>
                <c:pt idx="0">
                  <c:v>Mini Babybel Rouge Filet St Paulin Ferme 1X132Gr 6P</c:v>
                </c:pt>
                <c:pt idx="1">
                  <c:v>La Vache Qui Rit Nature Fromage Fondu Boite Ronde 1X192Gr 12P</c:v>
                </c:pt>
                <c:pt idx="2">
                  <c:v>Kiri Creme Fromage Blanc Frais Carre 1X144Gr 8P</c:v>
                </c:pt>
                <c:pt idx="3">
                  <c:v>La Vache Qui Rit Nature Fromage Fondu Boite Ronde 1X384Gr 24P</c:v>
                </c:pt>
                <c:pt idx="4">
                  <c:v>Boursin Classique Fromage Frais A Tartiner Afh Boite 1X150Gr 1P</c:v>
                </c:pt>
                <c:pt idx="5">
                  <c:v>Boursin Aperitif Roules Fromage Frais Roule Afh Et Jambon Fume Boite 1X100Gr 20P</c:v>
                </c:pt>
                <c:pt idx="6">
                  <c:v>Kiri Gouter Fromage Blanc Dips Boite 1X175Gr 5P</c:v>
                </c:pt>
                <c:pt idx="7">
                  <c:v>Apericube Edition Limitee Best Of Foot Fromage Fondu Cube Assortis 1X250Gr 48P</c:v>
                </c:pt>
                <c:pt idx="8">
                  <c:v>Boursin Classique Fromage Frais A Tartiner Afh 1X160Gr 10P</c:v>
                </c:pt>
                <c:pt idx="9">
                  <c:v>Boursin Salade &amp; Aperitif Fromage Frais Des Afh 1X120Gr 1P</c:v>
                </c:pt>
                <c:pt idx="10">
                  <c:v>Apericube Vertical Soiree Apero Fromage Fondu Cube Assortis 1X125Gr 24P</c:v>
                </c:pt>
                <c:pt idx="11">
                  <c:v>Apericube Cocktail Fromage Fondu Cube Assortis 1X250Gr 48P</c:v>
                </c:pt>
                <c:pt idx="12">
                  <c:v>Babybel St Paulin 1X200Gr 1P</c:v>
                </c:pt>
                <c:pt idx="13">
                  <c:v>La Vache Qui Rit Pik Et Croq' Fromage Fondu Dips Boite 1X175Gr 5P</c:v>
                </c:pt>
                <c:pt idx="14">
                  <c:v>Mini Babybel Rouge Filet St Paulin Ferme 1X264Gr 12P</c:v>
                </c:pt>
                <c:pt idx="15">
                  <c:v>Kiri Delicieusement Fouette Fromage Frais A Tartiner 1X125Gr 1P</c:v>
                </c:pt>
                <c:pt idx="16">
                  <c:v>Apericube Vertical Nature Fromage Fondu Cube 1X125Gr 24P</c:v>
                </c:pt>
                <c:pt idx="17">
                  <c:v>Port Salut St Paulin 1X185Gr 1P</c:v>
                </c:pt>
                <c:pt idx="18">
                  <c:v>La Vache Qui Rit Nature Fromage Fondu Boite Ronde 1X128Gr 8P</c:v>
                </c:pt>
                <c:pt idx="19">
                  <c:v>Cousteron St Paulin 1X320Gr 1P</c:v>
                </c:pt>
                <c:pt idx="20">
                  <c:v>Kiri Delicieusement Fouette Fromage Frais A Tartiner 1X160Gr 10P</c:v>
                </c:pt>
                <c:pt idx="21">
                  <c:v>Apericube Best Of Des Saveurs Fromage Fondu Cube Assortis 1X125Gr 24P</c:v>
                </c:pt>
                <c:pt idx="22">
                  <c:v>Apericube Long Drink Fromage Fondu Cube Assortis 1X125Gr 24P</c:v>
                </c:pt>
                <c:pt idx="23">
                  <c:v>Boursin Cuisine Sauce Fromage Afh 1X240Gr 1P</c:v>
                </c:pt>
                <c:pt idx="24">
                  <c:v>Boursin Aperitif Roules Fromage Frais Roule Ciboulette &amp; Echalote Jambon Fume Boite 1X100Gr 20P</c:v>
                </c:pt>
                <c:pt idx="25">
                  <c:v>Port Salut St Paulin Tranche Boite 1X200Gr 6P</c:v>
                </c:pt>
                <c:pt idx="26">
                  <c:v>Boursin Classique Fromage Frais A Tartiner Ciboulette &amp; Echalote Boite 1X150Gr 1P</c:v>
                </c:pt>
                <c:pt idx="27">
                  <c:v>Apericube Long Drink Fromage Fondu Cube Assortis 1X250Gr 48P</c:v>
                </c:pt>
                <c:pt idx="28">
                  <c:v>Toastinette Cheddar Fondu Tranche A Chaud Sachet 1X200Gr 10P</c:v>
                </c:pt>
                <c:pt idx="29">
                  <c:v>Boursin Classique Fromage Frais A Tartiner Afh Boite 1X96Gr 6P</c:v>
                </c:pt>
                <c:pt idx="30">
                  <c:v>Mini Babybel Aros St Paulin Ferme Raclette Filet 1X132Gr 6P</c:v>
                </c:pt>
                <c:pt idx="31">
                  <c:v>Port Salut St Paulin 1X320Gr 1P</c:v>
                </c:pt>
                <c:pt idx="32">
                  <c:v>Kiri Creme Fromage Blanc Frais Carre 1X216Gr 12P</c:v>
                </c:pt>
                <c:pt idx="33">
                  <c:v>Babybel Mini Rolls St Paulin Ferme Sachet 1X85Gr 5P</c:v>
                </c:pt>
                <c:pt idx="34">
                  <c:v>La Vache Qui Rit Bio Fromage Fondu Boite Ronde 1X128Gr 8P</c:v>
                </c:pt>
                <c:pt idx="35">
                  <c:v>Nurishh Les Tranches Vegetales Emmental Vegetal Tranche Boite 1X160Gr 8P</c:v>
                </c:pt>
                <c:pt idx="36">
                  <c:v>Mini Babybel Rouge Filet St Paulin Ferme Sachet 1X40Gr 1P</c:v>
                </c:pt>
                <c:pt idx="37">
                  <c:v>La Vache Qui Rit Pik Et Croq' Fromage Fondu Dips Boite 1X35Gr 1P</c:v>
                </c:pt>
                <c:pt idx="38">
                  <c:v>Boursin Classique Fromage Frais A Tartiner Afh Boite 1X80Gr 1P</c:v>
                </c:pt>
                <c:pt idx="39">
                  <c:v>Toastinette Fromage Fondu Tranche A Chaud Sachet 1X200Gr 10P</c:v>
                </c:pt>
                <c:pt idx="40">
                  <c:v>Apericube Nature Fromage Fondu Cube 1X125Gr 24P</c:v>
                </c:pt>
                <c:pt idx="41">
                  <c:v>Kiri Gouter Fromage Blanc Dips Boite 1X280Gr 8P</c:v>
                </c:pt>
                <c:pt idx="42">
                  <c:v>Mini Babybel Aros Soft Cheese Enfant 180G</c:v>
                </c:pt>
                <c:pt idx="43">
                  <c:v>Nurishh Les Tranches Vegetales Cheddar Vegetal Tranche Boite 1X160Gr 8P</c:v>
                </c:pt>
                <c:pt idx="44">
                  <c:v>Nurishh Le Coeur Fleuri Vegetal Camembert Boite 1X140Gr 1P</c:v>
                </c:pt>
                <c:pt idx="45">
                  <c:v>Apericube Soiree Match Aperitif 250G</c:v>
                </c:pt>
                <c:pt idx="46">
                  <c:v>Mini Babybel Bio St Paulin Ferme Filet 1X100Gr 5P</c:v>
                </c:pt>
                <c:pt idx="47">
                  <c:v>Boursin Classique Fromage Frais A Tartiner Truffe Boite 1X150Gr 1P</c:v>
                </c:pt>
                <c:pt idx="48">
                  <c:v>Nurishh Les Tranches Vegetales Emmental Vegetal Tranche Boite 1X200Gr 10P</c:v>
                </c:pt>
                <c:pt idx="49">
                  <c:v>Nurishh Les Tranches Vegetales Cheddar Vegetal Tranche Boite 1X200Gr 10P</c:v>
                </c:pt>
              </c:strCache>
            </c:strRef>
          </c:cat>
          <c:val>
            <c:numRef>
              <c:f>Sheet1!$B$2:$B$51</c:f>
              <c:numCache>
                <c:formatCode>General</c:formatCode>
                <c:ptCount val="50"/>
                <c:pt idx="0">
                  <c:v>0.96</c:v>
                </c:pt>
                <c:pt idx="1">
                  <c:v>0.91</c:v>
                </c:pt>
                <c:pt idx="2">
                  <c:v>0.96</c:v>
                </c:pt>
                <c:pt idx="3">
                  <c:v>0.47</c:v>
                </c:pt>
                <c:pt idx="4">
                  <c:v>0.83</c:v>
                </c:pt>
                <c:pt idx="5">
                  <c:v>0.56</c:v>
                </c:pt>
                <c:pt idx="6">
                  <c:v>0.71</c:v>
                </c:pt>
                <c:pt idx="7">
                  <c:v>0.53</c:v>
                </c:pt>
                <c:pt idx="8">
                  <c:v>0.53</c:v>
                </c:pt>
                <c:pt idx="9">
                  <c:v>0.79</c:v>
                </c:pt>
                <c:pt idx="10">
                  <c:v>0.62</c:v>
                </c:pt>
                <c:pt idx="11">
                  <c:v>0.35</c:v>
                </c:pt>
                <c:pt idx="12">
                  <c:v>0.84</c:v>
                </c:pt>
                <c:pt idx="13">
                  <c:v>0.51</c:v>
                </c:pt>
                <c:pt idx="14">
                  <c:v>0.2</c:v>
                </c:pt>
                <c:pt idx="15">
                  <c:v>0.56</c:v>
                </c:pt>
                <c:pt idx="16">
                  <c:v>0.36</c:v>
                </c:pt>
                <c:pt idx="17">
                  <c:v>0.44</c:v>
                </c:pt>
                <c:pt idx="18">
                  <c:v>0.09</c:v>
                </c:pt>
                <c:pt idx="19">
                  <c:v>0.32</c:v>
                </c:pt>
                <c:pt idx="20">
                  <c:v>0.27</c:v>
                </c:pt>
                <c:pt idx="21">
                  <c:v>0.22</c:v>
                </c:pt>
                <c:pt idx="22">
                  <c:v>0.24</c:v>
                </c:pt>
                <c:pt idx="23">
                  <c:v>0.32</c:v>
                </c:pt>
                <c:pt idx="24">
                  <c:v>0.17</c:v>
                </c:pt>
                <c:pt idx="25">
                  <c:v>0.09</c:v>
                </c:pt>
                <c:pt idx="26">
                  <c:v>0.08</c:v>
                </c:pt>
                <c:pt idx="27">
                  <c:v>0.25</c:v>
                </c:pt>
                <c:pt idx="28">
                  <c:v>0.18</c:v>
                </c:pt>
                <c:pt idx="29">
                  <c:v>0.12</c:v>
                </c:pt>
                <c:pt idx="30">
                  <c:v>0.13</c:v>
                </c:pt>
                <c:pt idx="31">
                  <c:v>0.09</c:v>
                </c:pt>
                <c:pt idx="32">
                  <c:v>0.06</c:v>
                </c:pt>
                <c:pt idx="33">
                  <c:v>0.17</c:v>
                </c:pt>
                <c:pt idx="34">
                  <c:v>0.08</c:v>
                </c:pt>
                <c:pt idx="35">
                  <c:v>0.08</c:v>
                </c:pt>
                <c:pt idx="36">
                  <c:v>0.06</c:v>
                </c:pt>
                <c:pt idx="37">
                  <c:v>0.05</c:v>
                </c:pt>
                <c:pt idx="38">
                  <c:v>0.11</c:v>
                </c:pt>
                <c:pt idx="39">
                  <c:v>0.05</c:v>
                </c:pt>
                <c:pt idx="40">
                  <c:v>0.18</c:v>
                </c:pt>
                <c:pt idx="41">
                  <c:v>0.02</c:v>
                </c:pt>
                <c:pt idx="42">
                  <c:v>0.05</c:v>
                </c:pt>
                <c:pt idx="43">
                  <c:v>0.03</c:v>
                </c:pt>
                <c:pt idx="44">
                  <c:v>0.02</c:v>
                </c:pt>
                <c:pt idx="45">
                  <c:v>0.01</c:v>
                </c:pt>
                <c:pt idx="46">
                  <c:v>0.06</c:v>
                </c:pt>
                <c:pt idx="47">
                  <c:v>0.1</c:v>
                </c:pt>
                <c:pt idx="48">
                  <c:v>0.04</c:v>
                </c:pt>
                <c:pt idx="49">
                  <c:v>0.02</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7ECAC4"/>
              </a:solidFill>
            </c:spPr>
            <c:extLst>
              <c:ext xmlns:c16="http://schemas.microsoft.com/office/drawing/2014/chart" uri="{C3380CC4-5D6E-409C-BE32-E72D297353CC}">
                <c16:uniqueId val="{00000019-FA3E-4872-B6E1-C4ABDF5766E2}"/>
              </c:ext>
            </c:extLst>
          </c:dPt>
          <c:dPt>
            <c:idx val="12"/>
            <c:invertIfNegative val="1"/>
            <c:bubble3D val="0"/>
            <c:spPr>
              <a:solidFill>
                <a:srgbClr val="7ECAC4"/>
              </a:solidFill>
            </c:spPr>
            <c:extLst>
              <c:ext xmlns:c16="http://schemas.microsoft.com/office/drawing/2014/chart" uri="{C3380CC4-5D6E-409C-BE32-E72D297353CC}">
                <c16:uniqueId val="{0000001B-FA3E-4872-B6E1-C4ABDF5766E2}"/>
              </c:ext>
            </c:extLst>
          </c:dPt>
          <c:dPt>
            <c:idx val="13"/>
            <c:invertIfNegative val="1"/>
            <c:bubble3D val="0"/>
            <c:spPr>
              <a:solidFill>
                <a:srgbClr val="7ECAC4"/>
              </a:solidFill>
            </c:spPr>
            <c:extLst>
              <c:ext xmlns:c16="http://schemas.microsoft.com/office/drawing/2014/chart" uri="{C3380CC4-5D6E-409C-BE32-E72D297353CC}">
                <c16:uniqueId val="{0000001D-FA3E-4872-B6E1-C4ABDF5766E2}"/>
              </c:ext>
            </c:extLst>
          </c:dPt>
          <c:dPt>
            <c:idx val="14"/>
            <c:invertIfNegative val="1"/>
            <c:bubble3D val="0"/>
            <c:spPr>
              <a:solidFill>
                <a:srgbClr val="7ECAC4"/>
              </a:solidFill>
            </c:spPr>
            <c:extLst>
              <c:ext xmlns:c16="http://schemas.microsoft.com/office/drawing/2014/chart" uri="{C3380CC4-5D6E-409C-BE32-E72D297353CC}">
                <c16:uniqueId val="{0000001F-FA3E-4872-B6E1-C4ABDF5766E2}"/>
              </c:ext>
            </c:extLst>
          </c:dPt>
          <c:dPt>
            <c:idx val="15"/>
            <c:invertIfNegative val="1"/>
            <c:bubble3D val="0"/>
            <c:spPr>
              <a:solidFill>
                <a:srgbClr val="7ECAC4"/>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AEABAB"/>
              </a:solidFill>
            </c:spPr>
            <c:extLst>
              <c:ext xmlns:c16="http://schemas.microsoft.com/office/drawing/2014/chart" uri="{C3380CC4-5D6E-409C-BE32-E72D297353CC}">
                <c16:uniqueId val="{0000002D-FA3E-4872-B6E1-C4ABDF5766E2}"/>
              </c:ext>
            </c:extLst>
          </c:dPt>
          <c:dPt>
            <c:idx val="22"/>
            <c:invertIfNegative val="1"/>
            <c:bubble3D val="0"/>
            <c:spPr>
              <a:solidFill>
                <a:srgbClr val="AEABAB"/>
              </a:solidFill>
            </c:spPr>
            <c:extLst>
              <c:ext xmlns:c16="http://schemas.microsoft.com/office/drawing/2014/chart" uri="{C3380CC4-5D6E-409C-BE32-E72D297353CC}">
                <c16:uniqueId val="{0000002F-FA3E-4872-B6E1-C4ABDF5766E2}"/>
              </c:ext>
            </c:extLst>
          </c:dPt>
          <c:dPt>
            <c:idx val="23"/>
            <c:invertIfNegative val="1"/>
            <c:bubble3D val="0"/>
            <c:spPr>
              <a:solidFill>
                <a:srgbClr val="AEABAB"/>
              </a:solidFill>
            </c:spPr>
            <c:extLst>
              <c:ext xmlns:c16="http://schemas.microsoft.com/office/drawing/2014/chart" uri="{C3380CC4-5D6E-409C-BE32-E72D297353CC}">
                <c16:uniqueId val="{00000031-FA3E-4872-B6E1-C4ABDF5766E2}"/>
              </c:ext>
            </c:extLst>
          </c:dPt>
          <c:dPt>
            <c:idx val="24"/>
            <c:invertIfNegative val="1"/>
            <c:bubble3D val="0"/>
            <c:spPr>
              <a:solidFill>
                <a:srgbClr val="AEABAB"/>
              </a:solidFill>
            </c:spPr>
            <c:extLst>
              <c:ext xmlns:c16="http://schemas.microsoft.com/office/drawing/2014/chart" uri="{C3380CC4-5D6E-409C-BE32-E72D297353CC}">
                <c16:uniqueId val="{00000033-FA3E-4872-B6E1-C4ABDF5766E2}"/>
              </c:ext>
            </c:extLst>
          </c:dPt>
          <c:dPt>
            <c:idx val="25"/>
            <c:invertIfNegative val="1"/>
            <c:bubble3D val="0"/>
            <c:spPr>
              <a:solidFill>
                <a:srgbClr val="AEABAB"/>
              </a:solidFill>
            </c:spPr>
            <c:extLst>
              <c:ext xmlns:c16="http://schemas.microsoft.com/office/drawing/2014/chart" uri="{C3380CC4-5D6E-409C-BE32-E72D297353CC}">
                <c16:uniqueId val="{00000035-FA3E-4872-B6E1-C4ABDF5766E2}"/>
              </c:ext>
            </c:extLst>
          </c:dPt>
          <c:dPt>
            <c:idx val="26"/>
            <c:invertIfNegative val="1"/>
            <c:bubble3D val="0"/>
            <c:spPr>
              <a:solidFill>
                <a:srgbClr val="AEABAB"/>
              </a:solidFill>
            </c:spPr>
            <c:extLst>
              <c:ext xmlns:c16="http://schemas.microsoft.com/office/drawing/2014/chart" uri="{C3380CC4-5D6E-409C-BE32-E72D297353CC}">
                <c16:uniqueId val="{00000037-FA3E-4872-B6E1-C4ABDF5766E2}"/>
              </c:ext>
            </c:extLst>
          </c:dPt>
          <c:dPt>
            <c:idx val="27"/>
            <c:invertIfNegative val="1"/>
            <c:bubble3D val="0"/>
            <c:spPr>
              <a:solidFill>
                <a:srgbClr val="AEABAB"/>
              </a:solidFill>
            </c:spPr>
            <c:extLst>
              <c:ext xmlns:c16="http://schemas.microsoft.com/office/drawing/2014/chart" uri="{C3380CC4-5D6E-409C-BE32-E72D297353CC}">
                <c16:uniqueId val="{00000039-FA3E-4872-B6E1-C4ABDF5766E2}"/>
              </c:ext>
            </c:extLst>
          </c:dPt>
          <c:dPt>
            <c:idx val="28"/>
            <c:invertIfNegative val="1"/>
            <c:bubble3D val="0"/>
            <c:spPr>
              <a:solidFill>
                <a:srgbClr val="AEABAB"/>
              </a:solidFill>
            </c:spPr>
            <c:extLst>
              <c:ext xmlns:c16="http://schemas.microsoft.com/office/drawing/2014/chart" uri="{C3380CC4-5D6E-409C-BE32-E72D297353CC}">
                <c16:uniqueId val="{0000003B-FA3E-4872-B6E1-C4ABDF5766E2}"/>
              </c:ext>
            </c:extLst>
          </c:dPt>
          <c:dPt>
            <c:idx val="29"/>
            <c:invertIfNegative val="1"/>
            <c:bubble3D val="0"/>
            <c:spPr>
              <a:solidFill>
                <a:srgbClr val="AEABAB"/>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dPt>
            <c:idx val="44"/>
            <c:spPr>
              <a:solidFill>
                <a:srgbClr val="AEABAB"/>
              </a:solidFill>
            </c:spPr>
          </c:dPt>
          <c:dPt>
            <c:idx val="45"/>
            <c:spPr>
              <a:solidFill>
                <a:srgbClr val="AEABAB"/>
              </a:solidFill>
            </c:spPr>
          </c:dPt>
          <c:dPt>
            <c:idx val="46"/>
            <c:spPr>
              <a:solidFill>
                <a:srgbClr val="AEABAB"/>
              </a:solidFill>
            </c:spPr>
          </c:dPt>
          <c:dPt>
            <c:idx val="47"/>
            <c:spPr>
              <a:solidFill>
                <a:srgbClr val="AEABAB"/>
              </a:solidFill>
            </c:spPr>
          </c:dPt>
          <c:dPt>
            <c:idx val="48"/>
            <c:spPr>
              <a:solidFill>
                <a:srgbClr val="AEABAB"/>
              </a:solidFill>
            </c:spPr>
          </c:dPt>
          <c:dPt>
            <c:idx val="49"/>
            <c:spPr>
              <a:solidFill>
                <a:srgbClr val="AEABAB"/>
              </a:solidFill>
            </c:spPr>
          </c:dPt>
          <c:cat>
            <c:strRef>
              <c:f>Sheet1!$A$2:$A$51</c:f>
              <c:strCache>
                <c:ptCount val="50"/>
                <c:pt idx="0">
                  <c:v>Mini Babybel Rouge Filet St Paulin Ferme 1X132Gr 6P</c:v>
                </c:pt>
                <c:pt idx="1">
                  <c:v>La Vache Qui Rit Nature Fromage Fondu Boite Ronde 1X192Gr 12P</c:v>
                </c:pt>
                <c:pt idx="2">
                  <c:v>Kiri Creme Fromage Blanc Frais Carre 1X144Gr 8P</c:v>
                </c:pt>
                <c:pt idx="3">
                  <c:v>La Vache Qui Rit Nature Fromage Fondu Boite Ronde 1X384Gr 24P</c:v>
                </c:pt>
                <c:pt idx="4">
                  <c:v>Boursin Classique Fromage Frais A Tartiner Afh Boite 1X150Gr 1P</c:v>
                </c:pt>
                <c:pt idx="5">
                  <c:v>Boursin Aperitif Roules Fromage Frais Roule Afh Et Jambon Fume Boite 1X100Gr 20P</c:v>
                </c:pt>
                <c:pt idx="6">
                  <c:v>Kiri Gouter Fromage Blanc Dips Boite 1X175Gr 5P</c:v>
                </c:pt>
                <c:pt idx="7">
                  <c:v>Apericube Edition Limitee Best Of Foot Fromage Fondu Cube Assortis 1X250Gr 48P</c:v>
                </c:pt>
                <c:pt idx="8">
                  <c:v>Boursin Classique Fromage Frais A Tartiner Afh 1X160Gr 10P</c:v>
                </c:pt>
                <c:pt idx="9">
                  <c:v>Boursin Salade &amp; Aperitif Fromage Frais Des Afh 1X120Gr 1P</c:v>
                </c:pt>
                <c:pt idx="10">
                  <c:v>Apericube Vertical Soiree Apero Fromage Fondu Cube Assortis 1X125Gr 24P</c:v>
                </c:pt>
                <c:pt idx="11">
                  <c:v>Apericube Cocktail Fromage Fondu Cube Assortis 1X250Gr 48P</c:v>
                </c:pt>
                <c:pt idx="12">
                  <c:v>Babybel St Paulin 1X200Gr 1P</c:v>
                </c:pt>
                <c:pt idx="13">
                  <c:v>La Vache Qui Rit Pik Et Croq' Fromage Fondu Dips Boite 1X175Gr 5P</c:v>
                </c:pt>
                <c:pt idx="14">
                  <c:v>Mini Babybel Rouge Filet St Paulin Ferme 1X264Gr 12P</c:v>
                </c:pt>
                <c:pt idx="15">
                  <c:v>Kiri Delicieusement Fouette Fromage Frais A Tartiner 1X125Gr 1P</c:v>
                </c:pt>
                <c:pt idx="16">
                  <c:v>Apericube Vertical Nature Fromage Fondu Cube 1X125Gr 24P</c:v>
                </c:pt>
                <c:pt idx="17">
                  <c:v>Port Salut St Paulin 1X185Gr 1P</c:v>
                </c:pt>
                <c:pt idx="18">
                  <c:v>La Vache Qui Rit Nature Fromage Fondu Boite Ronde 1X128Gr 8P</c:v>
                </c:pt>
                <c:pt idx="19">
                  <c:v>Cousteron St Paulin 1X320Gr 1P</c:v>
                </c:pt>
                <c:pt idx="20">
                  <c:v>Kiri Delicieusement Fouette Fromage Frais A Tartiner 1X160Gr 10P</c:v>
                </c:pt>
                <c:pt idx="21">
                  <c:v>Apericube Best Of Des Saveurs Fromage Fondu Cube Assortis 1X125Gr 24P</c:v>
                </c:pt>
                <c:pt idx="22">
                  <c:v>Apericube Long Drink Fromage Fondu Cube Assortis 1X125Gr 24P</c:v>
                </c:pt>
                <c:pt idx="23">
                  <c:v>Boursin Cuisine Sauce Fromage Afh 1X240Gr 1P</c:v>
                </c:pt>
                <c:pt idx="24">
                  <c:v>Boursin Aperitif Roules Fromage Frais Roule Ciboulette &amp; Echalote Jambon Fume Boite 1X100Gr 20P</c:v>
                </c:pt>
                <c:pt idx="25">
                  <c:v>Port Salut St Paulin Tranche Boite 1X200Gr 6P</c:v>
                </c:pt>
                <c:pt idx="26">
                  <c:v>Boursin Classique Fromage Frais A Tartiner Ciboulette &amp; Echalote Boite 1X150Gr 1P</c:v>
                </c:pt>
                <c:pt idx="27">
                  <c:v>Apericube Long Drink Fromage Fondu Cube Assortis 1X250Gr 48P</c:v>
                </c:pt>
                <c:pt idx="28">
                  <c:v>Toastinette Cheddar Fondu Tranche A Chaud Sachet 1X200Gr 10P</c:v>
                </c:pt>
                <c:pt idx="29">
                  <c:v>Boursin Classique Fromage Frais A Tartiner Afh Boite 1X96Gr 6P</c:v>
                </c:pt>
                <c:pt idx="30">
                  <c:v>Mini Babybel Aros St Paulin Ferme Raclette Filet 1X132Gr 6P</c:v>
                </c:pt>
                <c:pt idx="31">
                  <c:v>Port Salut St Paulin 1X320Gr 1P</c:v>
                </c:pt>
                <c:pt idx="32">
                  <c:v>Kiri Creme Fromage Blanc Frais Carre 1X216Gr 12P</c:v>
                </c:pt>
                <c:pt idx="33">
                  <c:v>Babybel Mini Rolls St Paulin Ferme Sachet 1X85Gr 5P</c:v>
                </c:pt>
                <c:pt idx="34">
                  <c:v>La Vache Qui Rit Bio Fromage Fondu Boite Ronde 1X128Gr 8P</c:v>
                </c:pt>
                <c:pt idx="35">
                  <c:v>Nurishh Les Tranches Vegetales Emmental Vegetal Tranche Boite 1X160Gr 8P</c:v>
                </c:pt>
                <c:pt idx="36">
                  <c:v>Mini Babybel Rouge Filet St Paulin Ferme Sachet 1X40Gr 1P</c:v>
                </c:pt>
                <c:pt idx="37">
                  <c:v>La Vache Qui Rit Pik Et Croq' Fromage Fondu Dips Boite 1X35Gr 1P</c:v>
                </c:pt>
                <c:pt idx="38">
                  <c:v>Boursin Classique Fromage Frais A Tartiner Afh Boite 1X80Gr 1P</c:v>
                </c:pt>
                <c:pt idx="39">
                  <c:v>Toastinette Fromage Fondu Tranche A Chaud Sachet 1X200Gr 10P</c:v>
                </c:pt>
                <c:pt idx="40">
                  <c:v>Apericube Nature Fromage Fondu Cube 1X125Gr 24P</c:v>
                </c:pt>
                <c:pt idx="41">
                  <c:v>Kiri Gouter Fromage Blanc Dips Boite 1X280Gr 8P</c:v>
                </c:pt>
                <c:pt idx="42">
                  <c:v>Mini Babybel Aros Soft Cheese Enfant 180G</c:v>
                </c:pt>
                <c:pt idx="43">
                  <c:v>Nurishh Les Tranches Vegetales Cheddar Vegetal Tranche Boite 1X160Gr 8P</c:v>
                </c:pt>
                <c:pt idx="44">
                  <c:v>Nurishh Le Coeur Fleuri Vegetal Camembert Boite 1X140Gr 1P</c:v>
                </c:pt>
                <c:pt idx="45">
                  <c:v>Apericube Soiree Match Aperitif 250G</c:v>
                </c:pt>
                <c:pt idx="46">
                  <c:v>Mini Babybel Bio St Paulin Ferme Filet 1X100Gr 5P</c:v>
                </c:pt>
                <c:pt idx="47">
                  <c:v>Boursin Classique Fromage Frais A Tartiner Truffe Boite 1X150Gr 1P</c:v>
                </c:pt>
                <c:pt idx="48">
                  <c:v>Nurishh Les Tranches Vegetales Emmental Vegetal Tranche Boite 1X200Gr 10P</c:v>
                </c:pt>
                <c:pt idx="49">
                  <c:v>Nurishh Les Tranches Vegetales Cheddar Vegetal Tranche Boite 1X200Gr 10P</c:v>
                </c:pt>
              </c:strCache>
            </c:strRef>
          </c:cat>
          <c:val>
            <c:numRef>
              <c:f>Sheet1!$C$2:$C$51</c:f>
              <c:numCache>
                <c:formatCode>General</c:formatCode>
                <c:ptCount val="50"/>
                <c:pt idx="0">
                  <c:v>0.16614800317422682</c:v>
                </c:pt>
                <c:pt idx="1">
                  <c:v>0.3108293642464907</c:v>
                </c:pt>
                <c:pt idx="2">
                  <c:v>0.43396437304693136</c:v>
                </c:pt>
                <c:pt idx="3">
                  <c:v>0.5029305086843422</c:v>
                </c:pt>
                <c:pt idx="4">
                  <c:v>0.5718949239583747</c:v>
                </c:pt>
                <c:pt idx="5">
                  <c:v>0.6172891619088192</c:v>
                </c:pt>
                <c:pt idx="6">
                  <c:v>0.6615355525603854</c:v>
                </c:pt>
                <c:pt idx="7">
                  <c:v>0.7037916391799517</c:v>
                </c:pt>
                <c:pt idx="8">
                  <c:v>0.7402393619766536</c:v>
                </c:pt>
                <c:pt idx="9">
                  <c:v>0.7707656461575371</c:v>
                </c:pt>
                <c:pt idx="10">
                  <c:v>0.7978428624260856</c:v>
                </c:pt>
                <c:pt idx="11">
                  <c:v>0.8223650262845458</c:v>
                </c:pt>
                <c:pt idx="12">
                  <c:v>0.8456823101915265</c:v>
                </c:pt>
                <c:pt idx="13">
                  <c:v>0.8687701601825129</c:v>
                </c:pt>
                <c:pt idx="14">
                  <c:v>0.8911619928564257</c:v>
                </c:pt>
                <c:pt idx="15">
                  <c:v>0.9096614773208667</c:v>
                </c:pt>
                <c:pt idx="16">
                  <c:v>0.9201364050056527</c:v>
                </c:pt>
                <c:pt idx="17">
                  <c:v>0.9294416419898787</c:v>
                </c:pt>
                <c:pt idx="18">
                  <c:v>0.9360956947437269</c:v>
                </c:pt>
                <c:pt idx="19">
                  <c:v>0.9424088548875577</c:v>
                </c:pt>
                <c:pt idx="20">
                  <c:v>0.9483265921155017</c:v>
                </c:pt>
                <c:pt idx="21">
                  <c:v>0.953979706176532</c:v>
                </c:pt>
                <c:pt idx="22">
                  <c:v>0.9581860467686519</c:v>
                </c:pt>
                <c:pt idx="23">
                  <c:v>0.9623416105750008</c:v>
                </c:pt>
                <c:pt idx="24">
                  <c:v>0.9663523510642326</c:v>
                </c:pt>
                <c:pt idx="25">
                  <c:v>0.9692485046132328</c:v>
                </c:pt>
                <c:pt idx="26">
                  <c:v>0.9717500693619237</c:v>
                </c:pt>
                <c:pt idx="27">
                  <c:v>0.9740771996905015</c:v>
                </c:pt>
                <c:pt idx="28">
                  <c:v>0.9763629891657771</c:v>
                </c:pt>
                <c:pt idx="29">
                  <c:v>0.9786368924940755</c:v>
                </c:pt>
                <c:pt idx="30">
                  <c:v>0.9808980755598193</c:v>
                </c:pt>
                <c:pt idx="31">
                  <c:v>0.9831234437879608</c:v>
                </c:pt>
                <c:pt idx="32">
                  <c:v>0.9852514811546704</c:v>
                </c:pt>
                <c:pt idx="33">
                  <c:v>0.9870433699437088</c:v>
                </c:pt>
                <c:pt idx="34">
                  <c:v>0.9885274700847055</c:v>
                </c:pt>
                <c:pt idx="35">
                  <c:v>0.9899245615445402</c:v>
                </c:pt>
                <c:pt idx="36">
                  <c:v>0.9911665596392117</c:v>
                </c:pt>
                <c:pt idx="37">
                  <c:v>0.9923922403479014</c:v>
                </c:pt>
                <c:pt idx="38">
                  <c:v>0.9934903013732568</c:v>
                </c:pt>
                <c:pt idx="39">
                  <c:v>0.994575590003834</c:v>
                </c:pt>
                <c:pt idx="40">
                  <c:v>0.9954746623317682</c:v>
                </c:pt>
                <c:pt idx="41">
                  <c:v>0.9962240109135684</c:v>
                </c:pt>
                <c:pt idx="42">
                  <c:v>0.9969420280289945</c:v>
                </c:pt>
                <c:pt idx="43">
                  <c:v>0.997429255790613</c:v>
                </c:pt>
                <c:pt idx="44">
                  <c:v>0.9978358871345703</c:v>
                </c:pt>
                <c:pt idx="45">
                  <c:v>0.9984455734893882</c:v>
                </c:pt>
                <c:pt idx="46">
                  <c:v>0.9987178079609452</c:v>
                </c:pt>
                <c:pt idx="47">
                  <c:v>0.9991941922200582</c:v>
                </c:pt>
                <c:pt idx="48">
                  <c:v>0.9995502553071387</c:v>
                </c:pt>
                <c:pt idx="49">
                  <c:v>0.9996904388563568</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51</c:f>
              <c:strCache>
                <c:ptCount val="50"/>
                <c:pt idx="0">
                  <c:v>Mini Babybel Rouge Filet St Paulin Ferme 1X132Gr 6P</c:v>
                </c:pt>
                <c:pt idx="1">
                  <c:v>La Vache Qui Rit Nature Fromage Fondu Boite Ronde 1X192Gr 12P</c:v>
                </c:pt>
                <c:pt idx="2">
                  <c:v>Kiri Creme Fromage Blanc Frais Carre 1X144Gr 8P</c:v>
                </c:pt>
                <c:pt idx="3">
                  <c:v>La Vache Qui Rit Nature Fromage Fondu Boite Ronde 1X384Gr 24P</c:v>
                </c:pt>
                <c:pt idx="4">
                  <c:v>Boursin Classique Fromage Frais A Tartiner Afh Boite 1X150Gr 1P</c:v>
                </c:pt>
                <c:pt idx="5">
                  <c:v>Boursin Aperitif Roules Fromage Frais Roule Afh Et Jambon Fume Boite 1X100Gr 20P</c:v>
                </c:pt>
                <c:pt idx="6">
                  <c:v>Kiri Gouter Fromage Blanc Dips Boite 1X175Gr 5P</c:v>
                </c:pt>
                <c:pt idx="7">
                  <c:v>Apericube Edition Limitee Best Of Foot Fromage Fondu Cube Assortis 1X250Gr 48P</c:v>
                </c:pt>
                <c:pt idx="8">
                  <c:v>Boursin Classique Fromage Frais A Tartiner Afh 1X160Gr 10P</c:v>
                </c:pt>
                <c:pt idx="9">
                  <c:v>Boursin Salade &amp; Aperitif Fromage Frais Des Afh 1X120Gr 1P</c:v>
                </c:pt>
                <c:pt idx="10">
                  <c:v>Apericube Vertical Soiree Apero Fromage Fondu Cube Assortis 1X125Gr 24P</c:v>
                </c:pt>
                <c:pt idx="11">
                  <c:v>Apericube Cocktail Fromage Fondu Cube Assortis 1X250Gr 48P</c:v>
                </c:pt>
                <c:pt idx="12">
                  <c:v>Babybel St Paulin 1X200Gr 1P</c:v>
                </c:pt>
                <c:pt idx="13">
                  <c:v>La Vache Qui Rit Pik Et Croq' Fromage Fondu Dips Boite 1X175Gr 5P</c:v>
                </c:pt>
                <c:pt idx="14">
                  <c:v>Mini Babybel Rouge Filet St Paulin Ferme 1X264Gr 12P</c:v>
                </c:pt>
                <c:pt idx="15">
                  <c:v>Kiri Delicieusement Fouette Fromage Frais A Tartiner 1X125Gr 1P</c:v>
                </c:pt>
                <c:pt idx="16">
                  <c:v>Apericube Vertical Nature Fromage Fondu Cube 1X125Gr 24P</c:v>
                </c:pt>
                <c:pt idx="17">
                  <c:v>Port Salut St Paulin 1X185Gr 1P</c:v>
                </c:pt>
                <c:pt idx="18">
                  <c:v>La Vache Qui Rit Nature Fromage Fondu Boite Ronde 1X128Gr 8P</c:v>
                </c:pt>
                <c:pt idx="19">
                  <c:v>Cousteron St Paulin 1X320Gr 1P</c:v>
                </c:pt>
                <c:pt idx="20">
                  <c:v>Kiri Delicieusement Fouette Fromage Frais A Tartiner 1X160Gr 10P</c:v>
                </c:pt>
                <c:pt idx="21">
                  <c:v>Apericube Best Of Des Saveurs Fromage Fondu Cube Assortis 1X125Gr 24P</c:v>
                </c:pt>
                <c:pt idx="22">
                  <c:v>Apericube Long Drink Fromage Fondu Cube Assortis 1X125Gr 24P</c:v>
                </c:pt>
                <c:pt idx="23">
                  <c:v>Boursin Cuisine Sauce Fromage Afh 1X240Gr 1P</c:v>
                </c:pt>
                <c:pt idx="24">
                  <c:v>Boursin Aperitif Roules Fromage Frais Roule Ciboulette &amp; Echalote Jambon Fume Boite 1X100Gr 20P</c:v>
                </c:pt>
                <c:pt idx="25">
                  <c:v>Port Salut St Paulin Tranche Boite 1X200Gr 6P</c:v>
                </c:pt>
                <c:pt idx="26">
                  <c:v>Boursin Classique Fromage Frais A Tartiner Ciboulette &amp; Echalote Boite 1X150Gr 1P</c:v>
                </c:pt>
                <c:pt idx="27">
                  <c:v>Apericube Long Drink Fromage Fondu Cube Assortis 1X250Gr 48P</c:v>
                </c:pt>
                <c:pt idx="28">
                  <c:v>Toastinette Cheddar Fondu Tranche A Chaud Sachet 1X200Gr 10P</c:v>
                </c:pt>
                <c:pt idx="29">
                  <c:v>Boursin Classique Fromage Frais A Tartiner Afh Boite 1X96Gr 6P</c:v>
                </c:pt>
                <c:pt idx="30">
                  <c:v>Mini Babybel Aros St Paulin Ferme Raclette Filet 1X132Gr 6P</c:v>
                </c:pt>
                <c:pt idx="31">
                  <c:v>Port Salut St Paulin 1X320Gr 1P</c:v>
                </c:pt>
                <c:pt idx="32">
                  <c:v>Kiri Creme Fromage Blanc Frais Carre 1X216Gr 12P</c:v>
                </c:pt>
                <c:pt idx="33">
                  <c:v>Babybel Mini Rolls St Paulin Ferme Sachet 1X85Gr 5P</c:v>
                </c:pt>
                <c:pt idx="34">
                  <c:v>La Vache Qui Rit Bio Fromage Fondu Boite Ronde 1X128Gr 8P</c:v>
                </c:pt>
                <c:pt idx="35">
                  <c:v>Nurishh Les Tranches Vegetales Emmental Vegetal Tranche Boite 1X160Gr 8P</c:v>
                </c:pt>
                <c:pt idx="36">
                  <c:v>Mini Babybel Rouge Filet St Paulin Ferme Sachet 1X40Gr 1P</c:v>
                </c:pt>
                <c:pt idx="37">
                  <c:v>La Vache Qui Rit Pik Et Croq' Fromage Fondu Dips Boite 1X35Gr 1P</c:v>
                </c:pt>
                <c:pt idx="38">
                  <c:v>Boursin Classique Fromage Frais A Tartiner Afh Boite 1X80Gr 1P</c:v>
                </c:pt>
                <c:pt idx="39">
                  <c:v>Toastinette Fromage Fondu Tranche A Chaud Sachet 1X200Gr 10P</c:v>
                </c:pt>
                <c:pt idx="40">
                  <c:v>Apericube Nature Fromage Fondu Cube 1X125Gr 24P</c:v>
                </c:pt>
                <c:pt idx="41">
                  <c:v>Kiri Gouter Fromage Blanc Dips Boite 1X280Gr 8P</c:v>
                </c:pt>
                <c:pt idx="42">
                  <c:v>Mini Babybel Aros Soft Cheese Enfant 180G</c:v>
                </c:pt>
                <c:pt idx="43">
                  <c:v>Nurishh Les Tranches Vegetales Cheddar Vegetal Tranche Boite 1X160Gr 8P</c:v>
                </c:pt>
                <c:pt idx="44">
                  <c:v>Nurishh Le Coeur Fleuri Vegetal Camembert Boite 1X140Gr 1P</c:v>
                </c:pt>
                <c:pt idx="45">
                  <c:v>Apericube Soiree Match Aperitif 250G</c:v>
                </c:pt>
                <c:pt idx="46">
                  <c:v>Mini Babybel Bio St Paulin Ferme Filet 1X100Gr 5P</c:v>
                </c:pt>
                <c:pt idx="47">
                  <c:v>Boursin Classique Fromage Frais A Tartiner Truffe Boite 1X150Gr 1P</c:v>
                </c:pt>
                <c:pt idx="48">
                  <c:v>Nurishh Les Tranches Vegetales Emmental Vegetal Tranche Boite 1X200Gr 10P</c:v>
                </c:pt>
                <c:pt idx="49">
                  <c:v>Nurishh Les Tranches Vegetales Cheddar Vegetal Tranche Boite 1X200Gr 10P</c:v>
                </c:pt>
              </c:strCache>
            </c:strRef>
          </c:cat>
          <c:val>
            <c:numRef>
              <c:f>Sheet1!$D$2:$D$51</c:f>
              <c:numCache>
                <c:formatCode>General</c:formatCode>
                <c:ptCount val="50"/>
                <c:pt idx="0">
                  <c:v>33198.4375</c:v>
                </c:pt>
                <c:pt idx="1">
                  <c:v>30497.54945054945</c:v>
                </c:pt>
                <c:pt idx="2">
                  <c:v>24603.90625</c:v>
                </c:pt>
                <c:pt idx="3">
                  <c:v>28146.978723404256</c:v>
                </c:pt>
                <c:pt idx="4">
                  <c:v>15938.253012048193</c:v>
                </c:pt>
                <c:pt idx="5">
                  <c:v>15549.142857142855</c:v>
                </c:pt>
                <c:pt idx="6">
                  <c:v>11954.0</c:v>
                </c:pt>
                <c:pt idx="7">
                  <c:v>15293.509433962265</c:v>
                </c:pt>
                <c:pt idx="8">
                  <c:v>13191.32075471698</c:v>
                </c:pt>
                <c:pt idx="9">
                  <c:v>7412.088607594937</c:v>
                </c:pt>
                <c:pt idx="10">
                  <c:v>8377.338709677419</c:v>
                </c:pt>
                <c:pt idx="11">
                  <c:v>13439.542857142857</c:v>
                </c:pt>
                <c:pt idx="12">
                  <c:v>5324.666666666667</c:v>
                </c:pt>
                <c:pt idx="13">
                  <c:v>8683.745098039215</c:v>
                </c:pt>
                <c:pt idx="14">
                  <c:v>21476.0</c:v>
                </c:pt>
                <c:pt idx="15">
                  <c:v>6336.732142857142</c:v>
                </c:pt>
                <c:pt idx="16">
                  <c:v>5581.388888888889</c:v>
                </c:pt>
                <c:pt idx="17">
                  <c:v>4056.659090909091</c:v>
                </c:pt>
                <c:pt idx="18">
                  <c:v>14182.0</c:v>
                </c:pt>
                <c:pt idx="19">
                  <c:v>3784.34375</c:v>
                </c:pt>
                <c:pt idx="20">
                  <c:v>4204.222222222223</c:v>
                </c:pt>
                <c:pt idx="21">
                  <c:v>4929.0</c:v>
                </c:pt>
                <c:pt idx="22">
                  <c:v>3361.9166666666665</c:v>
                </c:pt>
                <c:pt idx="23">
                  <c:v>2491.0</c:v>
                </c:pt>
                <c:pt idx="24">
                  <c:v>4525.529411764706</c:v>
                </c:pt>
                <c:pt idx="25">
                  <c:v>6172.666666666667</c:v>
                </c:pt>
                <c:pt idx="26">
                  <c:v>5998.125</c:v>
                </c:pt>
                <c:pt idx="27">
                  <c:v>1785.56</c:v>
                </c:pt>
                <c:pt idx="28">
                  <c:v>2435.8888888888887</c:v>
                </c:pt>
                <c:pt idx="29">
                  <c:v>3634.8333333333335</c:v>
                </c:pt>
                <c:pt idx="30">
                  <c:v>3336.4615384615386</c:v>
                </c:pt>
                <c:pt idx="31">
                  <c:v>4743.0</c:v>
                </c:pt>
                <c:pt idx="32">
                  <c:v>6803.333333333333</c:v>
                </c:pt>
                <c:pt idx="33">
                  <c:v>2021.8823529411766</c:v>
                </c:pt>
                <c:pt idx="34">
                  <c:v>3558.5</c:v>
                </c:pt>
                <c:pt idx="35">
                  <c:v>3349.875</c:v>
                </c:pt>
                <c:pt idx="36">
                  <c:v>3970.6666666666665</c:v>
                </c:pt>
                <c:pt idx="37">
                  <c:v>4702.2</c:v>
                </c:pt>
                <c:pt idx="38">
                  <c:v>1914.8181818181818</c:v>
                </c:pt>
                <c:pt idx="39">
                  <c:v>4163.6</c:v>
                </c:pt>
                <c:pt idx="40">
                  <c:v>958.1111111111111</c:v>
                </c:pt>
                <c:pt idx="41">
                  <c:v>7187.0</c:v>
                </c:pt>
                <c:pt idx="42">
                  <c:v>2754.6</c:v>
                </c:pt>
                <c:pt idx="43">
                  <c:v>3115.3333333333335</c:v>
                </c:pt>
                <c:pt idx="44">
                  <c:v>3900.0</c:v>
                </c:pt>
                <c:pt idx="45">
                  <c:v>5714.0</c:v>
                </c:pt>
                <c:pt idx="46">
                  <c:v>870.3333333333334</c:v>
                </c:pt>
                <c:pt idx="47">
                  <c:v>456.8</c:v>
                </c:pt>
                <c:pt idx="48">
                  <c:v>759.5</c:v>
                </c:pt>
                <c:pt idx="49">
                  <c:v>655.5</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83</c:f>
              <c:strCache>
                <c:ptCount val="82"/>
                <c:pt idx="0">
                  <c:v>Mini Babybel Rouge Filet St Paulin Ferme 1X264Gr 12P</c:v>
                </c:pt>
                <c:pt idx="1">
                  <c:v>La Vache Qui Rit Nature Fromage Fondu Boite Ronde 1X512Gr 32P</c:v>
                </c:pt>
                <c:pt idx="2">
                  <c:v>La Vache Qui Rit Nature Fromage Fondu Boite Ronde 1X192Gr 12P</c:v>
                </c:pt>
                <c:pt idx="3">
                  <c:v>Mini Babybel Rouge Filet St Paulin Ferme 1X132Gr 6P</c:v>
                </c:pt>
                <c:pt idx="4">
                  <c:v>La Vache Qui Rit Nature Fromage Fondu Boite Ronde 1X384Gr 24P</c:v>
                </c:pt>
                <c:pt idx="5">
                  <c:v>Kiri Creme Fromage Blanc Frais Carre 1X216Gr 12P</c:v>
                </c:pt>
                <c:pt idx="6">
                  <c:v>Apericube Edition Limitee Best Of Foot Fromage Fondu Cube Assortis 1X250Gr 48P</c:v>
                </c:pt>
                <c:pt idx="7">
                  <c:v>Kiri Creme Fromage Blanc Frais Carre 1X432Gr 24P</c:v>
                </c:pt>
                <c:pt idx="8">
                  <c:v>Apericube Cocktail Fromage Fondu Cube Assortis 1X250Gr 48P</c:v>
                </c:pt>
                <c:pt idx="9">
                  <c:v>Apericube Long Drink Fromage Fondu Cube Assortis 1X250Gr 48P</c:v>
                </c:pt>
                <c:pt idx="10">
                  <c:v>Boursin Classique Fromage Frais A Tartiner Afh Boite 1X250Gr 1P</c:v>
                </c:pt>
                <c:pt idx="11">
                  <c:v>Boursin Classique Fromage Frais A Tartiner Afh 1X160Gr 10P</c:v>
                </c:pt>
                <c:pt idx="12">
                  <c:v>Kiri Gouter Fromage Blanc Dips Boite 1X280Gr 8P</c:v>
                </c:pt>
                <c:pt idx="13">
                  <c:v>Apericube Tonic Fromage Fondu Cube Assortis 1X250Gr 48P</c:v>
                </c:pt>
                <c:pt idx="14">
                  <c:v>Kiri Creme Fromage Blanc Frais Carre 1X144Gr 8P</c:v>
                </c:pt>
                <c:pt idx="15">
                  <c:v>Boursin Classique Fromage Frais A Tartiner Afh Boite 1X150Gr 1P</c:v>
                </c:pt>
                <c:pt idx="16">
                  <c:v>Port Salut St Paulin 1X320Gr 1P</c:v>
                </c:pt>
                <c:pt idx="17">
                  <c:v>Boursin Aperitif Roules Fromage Frais Roule Afh Et Jambon Fume Boite 1X100Gr 20P</c:v>
                </c:pt>
                <c:pt idx="18">
                  <c:v>Apericube Incontournable Fromage Fondu Cube Assortis 1X250Gr 48P</c:v>
                </c:pt>
                <c:pt idx="19">
                  <c:v>Mini Babybel Rouge Filet St Paulin Ferme 1X440Gr 20P</c:v>
                </c:pt>
                <c:pt idx="20">
                  <c:v>Kiri Gouter Fromage Blanc Dips Boite 1X175Gr 5P</c:v>
                </c:pt>
                <c:pt idx="21">
                  <c:v>Apericube Edition Limitee Saison Fromage Fondu Cube Assortis 1X250Gr 48P</c:v>
                </c:pt>
                <c:pt idx="22">
                  <c:v>Apericube Nature Fromage Fondu Cube 1X125Gr 24P</c:v>
                </c:pt>
                <c:pt idx="23">
                  <c:v>Babybel St Paulin 1X200Gr 1P</c:v>
                </c:pt>
                <c:pt idx="24">
                  <c:v>Cousteron St Paulin 1X320Gr 1P</c:v>
                </c:pt>
                <c:pt idx="25">
                  <c:v>Apericube Edition Voyage Fromage Fondu Cube Assortis 1X250Gr 48P</c:v>
                </c:pt>
                <c:pt idx="26">
                  <c:v>Boursin Aperitif Roules Fromage Frais Roule Ciboulette &amp; Echalote Jambon Fume Boite 1X100Gr 20P</c:v>
                </c:pt>
                <c:pt idx="27">
                  <c:v>Apericube Campagne Fromage Fondu Cube Assortis 1X125Gr 24P</c:v>
                </c:pt>
                <c:pt idx="28">
                  <c:v>La Vache Qui Rit Pik Et Croq' Fromage Fondu Dips Boite 1X175Gr 5P</c:v>
                </c:pt>
                <c:pt idx="29">
                  <c:v>La Vache Qui Rit Pik Et Croq' Fromage Fondu Dips Boite 1X280Gr 8P</c:v>
                </c:pt>
                <c:pt idx="30">
                  <c:v>Boursin Onctueux Fromage Frais A Tartiner Afh 1X125Gr 1P</c:v>
                </c:pt>
                <c:pt idx="31">
                  <c:v>Boursin Salade &amp; Aperitif Fromage Frais Des Afh 1X120Gr 1P</c:v>
                </c:pt>
                <c:pt idx="32">
                  <c:v>Apericube Saveurs De L'Authentique Fromage Fondu Cube Assortis 1X250Gr 48P</c:v>
                </c:pt>
                <c:pt idx="33">
                  <c:v>Boursin Classique Fromage Frais A Tartiner Afh Boite 1X96Gr 6P</c:v>
                </c:pt>
                <c:pt idx="34">
                  <c:v>Boursin Classique Fromage Frais A Tartiner Figue Et 3 Noix Boite 1X150Gr 1P</c:v>
                </c:pt>
                <c:pt idx="35">
                  <c:v>La Vache Qui Rit Allegee Fromage Fondu Boite Ronde Allege 1X267Gr 16P</c:v>
                </c:pt>
                <c:pt idx="36">
                  <c:v>Boursin Classique Fromage Frais A Tartiner Ciboulette &amp; Echalote Boite 1X150Gr 1P</c:v>
                </c:pt>
                <c:pt idx="37">
                  <c:v>Boursin Classique Fromage Frais A Tartiner Afh 1X256Gr 16P</c:v>
                </c:pt>
                <c:pt idx="38">
                  <c:v>Boursin Cuisine Sauce Fromage Afh 1X240Gr 1P</c:v>
                </c:pt>
                <c:pt idx="39">
                  <c:v>Boursin Aperitif Roules Fromage Frais Roule Basilic &amp; Jambon Fume Tomate Boite 1X100Gr 20P</c:v>
                </c:pt>
                <c:pt idx="40">
                  <c:v>Boursin Classique Fromage Frais A Tartiner Poivre Boite 1X150Gr 1P</c:v>
                </c:pt>
                <c:pt idx="41">
                  <c:v>Babybel Mini Rolls St Paulin Ferme Sachet 1X85Gr 5P</c:v>
                </c:pt>
                <c:pt idx="42">
                  <c:v>Mini Babybel Aros St Paulin Ferme Assortis Filet 1X180Gr 9P</c:v>
                </c:pt>
                <c:pt idx="43">
                  <c:v>Kiri Delicieusement Fouette Fromage Frais A Tartiner 1X125Gr 1P</c:v>
                </c:pt>
                <c:pt idx="44">
                  <c:v>Apericube Long Drink Fromage Fondu Cube Assortis 1X125Gr 24P</c:v>
                </c:pt>
                <c:pt idx="45">
                  <c:v>Boursin Classique Fromage Frais A Tartiner Ciboulette &amp; Echalote 1X160Gr 10P</c:v>
                </c:pt>
                <c:pt idx="46">
                  <c:v>La Vache Qui Rit Aro Fromage Fondu Boite Ronde Jambon 1X133Gr 8P</c:v>
                </c:pt>
                <c:pt idx="47">
                  <c:v>Kiri Bio Fromage Blanc Frais Carre 1X144Gr 8P</c:v>
                </c:pt>
                <c:pt idx="48">
                  <c:v>Kiri Chevre Fromage Blanc Frais Carre 1X144Gr 8P</c:v>
                </c:pt>
                <c:pt idx="49">
                  <c:v>Apericube Soiree Match Aperitif 250G</c:v>
                </c:pt>
                <c:pt idx="50">
                  <c:v>Mini Babybel Aros Soft Cheese Enfant 180G</c:v>
                </c:pt>
                <c:pt idx="51">
                  <c:v>Boursin Salade &amp; Aperitif Fromage Frais Des Ciboulette Echalote 1X120Gr 1P</c:v>
                </c:pt>
                <c:pt idx="52">
                  <c:v>Mini Babybel Rouge Filet St Paulin Ferme 1X396Gr 12+6P</c:v>
                </c:pt>
                <c:pt idx="53">
                  <c:v>Kiri Delicieusement Fouette Fromage Frais A Tartiner 1X160Gr 10P</c:v>
                </c:pt>
                <c:pt idx="54">
                  <c:v>Kiri Creme Fromage Blanc Frais Carre 1X432Gr 18+6P</c:v>
                </c:pt>
                <c:pt idx="55">
                  <c:v>Mini Babybel Aros St Paulin Ferme Raclette Filet 1X132Gr 6P</c:v>
                </c:pt>
                <c:pt idx="56">
                  <c:v>Boursin Salade &amp; Aperitif Fromage Frais Des Figue Noix 1X120Gr 1P</c:v>
                </c:pt>
                <c:pt idx="57">
                  <c:v>Apericube Hot Chalenge Aperitif 250G</c:v>
                </c:pt>
                <c:pt idx="58">
                  <c:v>Nurishh Les Tranches Vegetales Cheddar Vegetal Tranche Boite 1X160Gr 8P</c:v>
                </c:pt>
                <c:pt idx="59">
                  <c:v>Boursin Salade &amp; Aperitif Fromage Frais Des Citron Romarin 1X120Gr 1P</c:v>
                </c:pt>
                <c:pt idx="60">
                  <c:v>Apericube Best Of Des Saveurs Fromage Fondu Cube Assortis 1X125Gr 24P</c:v>
                </c:pt>
                <c:pt idx="61">
                  <c:v>Nurishh Le Rape Vegetal Specialite Vegetale Sachet 1X150Gr 1P</c:v>
                </c:pt>
                <c:pt idx="62">
                  <c:v>Boursin Salade &amp; Aperitif Fromage Frais Des Noisette Et 3 Noix 1X120Gr 1P</c:v>
                </c:pt>
                <c:pt idx="63">
                  <c:v>Boursin Classique Fromage Frais A Tartiner Afh Boite 1X80Gr 1P</c:v>
                </c:pt>
                <c:pt idx="64">
                  <c:v>Mini Babybel Aros Soft Cheese Enfant 110G</c:v>
                </c:pt>
                <c:pt idx="65">
                  <c:v>Apericube Fromages Du Monde Aperitif 250G</c:v>
                </c:pt>
                <c:pt idx="66">
                  <c:v>Boursin Aperitif Roules Fromage Frais Roule Jambon Fume &amp; Trio De Noix Boite 1X100Gr 20P</c:v>
                </c:pt>
                <c:pt idx="67">
                  <c:v>Nurishh Le Rape Vegetal Specialite Vegetale Emmental Sachet 1X150Gr 1P</c:v>
                </c:pt>
                <c:pt idx="68">
                  <c:v>Nurishh Des Vegetaux Feta Vegetale Sachet 1X150Gr 1P</c:v>
                </c:pt>
                <c:pt idx="69">
                  <c:v>Apericube Montagne Aperitif 250G</c:v>
                </c:pt>
                <c:pt idx="70">
                  <c:v>Nurishh Le Coeur Fleuri Vegetal Camembert Boite 1X140Gr 1P</c:v>
                </c:pt>
                <c:pt idx="71">
                  <c:v>Nurishh Le Palet Vegetal Specialite Vegetale Ovale Saveur Chevre Boite 1X140Gr 1P</c:v>
                </c:pt>
                <c:pt idx="72">
                  <c:v>Boursin Aperitif Roules Aperitif 100G</c:v>
                </c:pt>
                <c:pt idx="73">
                  <c:v>Boursin Salade &amp; Aperitif Soft Cheese Salade 120G</c:v>
                </c:pt>
                <c:pt idx="74">
                  <c:v>Boursin Classique Fromage Frais A Tartiner Truffe Boite 1X150Gr 1P</c:v>
                </c:pt>
                <c:pt idx="75">
                  <c:v>La Vache Qui Rit Nature Fromage Fondu Boite Ronde 1X512Gr 24+8P</c:v>
                </c:pt>
                <c:pt idx="76">
                  <c:v>Mini Babybel Bio St Paulin Ferme Filet 1X100Gr 5P</c:v>
                </c:pt>
                <c:pt idx="77">
                  <c:v>Mini Babybel Rouge Filet St Paulin Ferme Sachet 1X40Gr 1P</c:v>
                </c:pt>
                <c:pt idx="78">
                  <c:v>Kiri Delicieusement Fouette Fromage Frais A Tartiner 1X210Gr 1P</c:v>
                </c:pt>
                <c:pt idx="79">
                  <c:v>Limiano Queijo Flamengo Tranche Sachet 1X200Gr 1P</c:v>
                </c:pt>
                <c:pt idx="80">
                  <c:v>Limiano Queijo Flamengo Bloc 1X600Gr 1P</c:v>
                </c:pt>
                <c:pt idx="81">
                  <c:v>La Vache Qui Rit Nature Fromage Fondu Boite Ronde 1X128Gr 8P</c:v>
                </c:pt>
              </c:strCache>
            </c:strRef>
          </c:cat>
          <c:val>
            <c:numRef>
              <c:f>Sheet1!$B$2:$B$83</c:f>
              <c:numCache>
                <c:formatCode>General</c:formatCode>
                <c:ptCount val="82"/>
                <c:pt idx="0">
                  <c:v>1.0</c:v>
                </c:pt>
                <c:pt idx="1">
                  <c:v>0.98</c:v>
                </c:pt>
                <c:pt idx="2">
                  <c:v>1.0</c:v>
                </c:pt>
                <c:pt idx="3">
                  <c:v>1.0</c:v>
                </c:pt>
                <c:pt idx="4">
                  <c:v>0.97</c:v>
                </c:pt>
                <c:pt idx="5">
                  <c:v>0.99</c:v>
                </c:pt>
                <c:pt idx="6">
                  <c:v>0.98</c:v>
                </c:pt>
                <c:pt idx="7">
                  <c:v>0.89</c:v>
                </c:pt>
                <c:pt idx="8">
                  <c:v>0.98</c:v>
                </c:pt>
                <c:pt idx="9">
                  <c:v>0.96</c:v>
                </c:pt>
                <c:pt idx="10">
                  <c:v>0.99</c:v>
                </c:pt>
                <c:pt idx="11">
                  <c:v>0.99</c:v>
                </c:pt>
                <c:pt idx="12">
                  <c:v>0.96</c:v>
                </c:pt>
                <c:pt idx="13">
                  <c:v>0.96</c:v>
                </c:pt>
                <c:pt idx="14">
                  <c:v>0.99</c:v>
                </c:pt>
                <c:pt idx="15">
                  <c:v>1.0</c:v>
                </c:pt>
                <c:pt idx="16">
                  <c:v>0.99</c:v>
                </c:pt>
                <c:pt idx="17">
                  <c:v>0.98</c:v>
                </c:pt>
                <c:pt idx="18">
                  <c:v>0.91</c:v>
                </c:pt>
                <c:pt idx="19">
                  <c:v>0.9</c:v>
                </c:pt>
                <c:pt idx="20">
                  <c:v>0.99</c:v>
                </c:pt>
                <c:pt idx="21">
                  <c:v>0.93</c:v>
                </c:pt>
                <c:pt idx="22">
                  <c:v>0.96</c:v>
                </c:pt>
                <c:pt idx="23">
                  <c:v>0.99</c:v>
                </c:pt>
                <c:pt idx="24">
                  <c:v>0.97</c:v>
                </c:pt>
                <c:pt idx="25">
                  <c:v>0.91</c:v>
                </c:pt>
                <c:pt idx="26">
                  <c:v>0.95</c:v>
                </c:pt>
                <c:pt idx="27">
                  <c:v>0.94</c:v>
                </c:pt>
                <c:pt idx="28">
                  <c:v>0.97</c:v>
                </c:pt>
                <c:pt idx="29">
                  <c:v>0.89</c:v>
                </c:pt>
                <c:pt idx="30">
                  <c:v>0.97</c:v>
                </c:pt>
                <c:pt idx="31">
                  <c:v>0.98</c:v>
                </c:pt>
                <c:pt idx="32">
                  <c:v>0.87</c:v>
                </c:pt>
                <c:pt idx="33">
                  <c:v>0.96</c:v>
                </c:pt>
                <c:pt idx="34">
                  <c:v>0.99</c:v>
                </c:pt>
                <c:pt idx="35">
                  <c:v>0.87</c:v>
                </c:pt>
                <c:pt idx="36">
                  <c:v>0.99</c:v>
                </c:pt>
                <c:pt idx="37">
                  <c:v>0.87</c:v>
                </c:pt>
                <c:pt idx="38">
                  <c:v>0.88</c:v>
                </c:pt>
                <c:pt idx="39">
                  <c:v>0.9</c:v>
                </c:pt>
                <c:pt idx="40">
                  <c:v>0.96</c:v>
                </c:pt>
                <c:pt idx="41">
                  <c:v>0.81</c:v>
                </c:pt>
                <c:pt idx="42">
                  <c:v>0.85</c:v>
                </c:pt>
                <c:pt idx="43">
                  <c:v>0.87</c:v>
                </c:pt>
                <c:pt idx="44">
                  <c:v>0.79</c:v>
                </c:pt>
                <c:pt idx="45">
                  <c:v>0.83</c:v>
                </c:pt>
                <c:pt idx="46">
                  <c:v>0.69</c:v>
                </c:pt>
                <c:pt idx="47">
                  <c:v>0.6</c:v>
                </c:pt>
                <c:pt idx="48">
                  <c:v>0.68</c:v>
                </c:pt>
                <c:pt idx="49">
                  <c:v>0.8</c:v>
                </c:pt>
                <c:pt idx="50">
                  <c:v>0.73</c:v>
                </c:pt>
                <c:pt idx="51">
                  <c:v>0.86</c:v>
                </c:pt>
                <c:pt idx="52">
                  <c:v>0.89</c:v>
                </c:pt>
                <c:pt idx="53">
                  <c:v>0.94</c:v>
                </c:pt>
                <c:pt idx="54">
                  <c:v>0.83</c:v>
                </c:pt>
                <c:pt idx="55">
                  <c:v>0.77</c:v>
                </c:pt>
                <c:pt idx="56">
                  <c:v>0.88</c:v>
                </c:pt>
                <c:pt idx="57">
                  <c:v>0.5</c:v>
                </c:pt>
                <c:pt idx="58">
                  <c:v>0.81</c:v>
                </c:pt>
                <c:pt idx="59">
                  <c:v>0.67</c:v>
                </c:pt>
                <c:pt idx="60">
                  <c:v>0.67</c:v>
                </c:pt>
                <c:pt idx="61">
                  <c:v>0.25</c:v>
                </c:pt>
                <c:pt idx="62">
                  <c:v>0.83</c:v>
                </c:pt>
                <c:pt idx="63">
                  <c:v>0.29</c:v>
                </c:pt>
                <c:pt idx="64">
                  <c:v>0.59</c:v>
                </c:pt>
                <c:pt idx="65">
                  <c:v>0.24</c:v>
                </c:pt>
                <c:pt idx="66">
                  <c:v>0.8</c:v>
                </c:pt>
                <c:pt idx="67">
                  <c:v>0.17</c:v>
                </c:pt>
                <c:pt idx="68">
                  <c:v>0.7</c:v>
                </c:pt>
                <c:pt idx="69">
                  <c:v>0.23</c:v>
                </c:pt>
                <c:pt idx="70">
                  <c:v>0.14</c:v>
                </c:pt>
                <c:pt idx="71">
                  <c:v>0.14</c:v>
                </c:pt>
                <c:pt idx="72">
                  <c:v>0.7</c:v>
                </c:pt>
                <c:pt idx="73">
                  <c:v>0.4</c:v>
                </c:pt>
                <c:pt idx="74">
                  <c:v>0.7</c:v>
                </c:pt>
                <c:pt idx="75">
                  <c:v>0.25</c:v>
                </c:pt>
                <c:pt idx="76">
                  <c:v>0.31</c:v>
                </c:pt>
                <c:pt idx="77">
                  <c:v>0.09</c:v>
                </c:pt>
                <c:pt idx="78">
                  <c:v>0.38</c:v>
                </c:pt>
                <c:pt idx="79">
                  <c:v>0.01</c:v>
                </c:pt>
                <c:pt idx="80">
                  <c:v>0.01</c:v>
                </c:pt>
                <c:pt idx="81">
                  <c:v>0.12</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00A097"/>
              </a:solidFill>
            </c:spPr>
            <c:extLst>
              <c:ext xmlns:c16="http://schemas.microsoft.com/office/drawing/2014/chart" uri="{C3380CC4-5D6E-409C-BE32-E72D297353CC}">
                <c16:uniqueId val="{00000023-FA3E-4872-B6E1-C4ABDF5766E2}"/>
              </c:ext>
            </c:extLst>
          </c:dPt>
          <c:dPt>
            <c:idx val="17"/>
            <c:invertIfNegative val="1"/>
            <c:bubble3D val="0"/>
            <c:spPr>
              <a:solidFill>
                <a:srgbClr val="00A097"/>
              </a:solidFill>
            </c:spPr>
            <c:extLst>
              <c:ext xmlns:c16="http://schemas.microsoft.com/office/drawing/2014/chart" uri="{C3380CC4-5D6E-409C-BE32-E72D297353CC}">
                <c16:uniqueId val="{00000025-FA3E-4872-B6E1-C4ABDF5766E2}"/>
              </c:ext>
            </c:extLst>
          </c:dPt>
          <c:dPt>
            <c:idx val="18"/>
            <c:invertIfNegative val="1"/>
            <c:bubble3D val="0"/>
            <c:spPr>
              <a:solidFill>
                <a:srgbClr val="00A097"/>
              </a:solidFill>
            </c:spPr>
            <c:extLst>
              <c:ext xmlns:c16="http://schemas.microsoft.com/office/drawing/2014/chart" uri="{C3380CC4-5D6E-409C-BE32-E72D297353CC}">
                <c16:uniqueId val="{00000027-FA3E-4872-B6E1-C4ABDF5766E2}"/>
              </c:ext>
            </c:extLst>
          </c:dPt>
          <c:dPt>
            <c:idx val="19"/>
            <c:invertIfNegative val="1"/>
            <c:bubble3D val="0"/>
            <c:spPr>
              <a:solidFill>
                <a:srgbClr val="00A097"/>
              </a:solidFill>
            </c:spPr>
            <c:extLst>
              <c:ext xmlns:c16="http://schemas.microsoft.com/office/drawing/2014/chart" uri="{C3380CC4-5D6E-409C-BE32-E72D297353CC}">
                <c16:uniqueId val="{00000029-FA3E-4872-B6E1-C4ABDF5766E2}"/>
              </c:ext>
            </c:extLst>
          </c:dPt>
          <c:dPt>
            <c:idx val="20"/>
            <c:invertIfNegative val="1"/>
            <c:bubble3D val="0"/>
            <c:spPr>
              <a:solidFill>
                <a:srgbClr val="00A097"/>
              </a:solidFill>
            </c:spPr>
            <c:extLst>
              <c:ext xmlns:c16="http://schemas.microsoft.com/office/drawing/2014/chart" uri="{C3380CC4-5D6E-409C-BE32-E72D297353CC}">
                <c16:uniqueId val="{0000002B-FA3E-4872-B6E1-C4ABDF5766E2}"/>
              </c:ext>
            </c:extLst>
          </c:dPt>
          <c:dPt>
            <c:idx val="21"/>
            <c:invertIfNegative val="1"/>
            <c:bubble3D val="0"/>
            <c:spPr>
              <a:solidFill>
                <a:srgbClr val="00A097"/>
              </a:solidFill>
            </c:spPr>
            <c:extLst>
              <c:ext xmlns:c16="http://schemas.microsoft.com/office/drawing/2014/chart" uri="{C3380CC4-5D6E-409C-BE32-E72D297353CC}">
                <c16:uniqueId val="{0000002D-FA3E-4872-B6E1-C4ABDF5766E2}"/>
              </c:ext>
            </c:extLst>
          </c:dPt>
          <c:dPt>
            <c:idx val="22"/>
            <c:invertIfNegative val="1"/>
            <c:bubble3D val="0"/>
            <c:spPr>
              <a:solidFill>
                <a:srgbClr val="00A097"/>
              </a:solidFill>
            </c:spPr>
            <c:extLst>
              <c:ext xmlns:c16="http://schemas.microsoft.com/office/drawing/2014/chart" uri="{C3380CC4-5D6E-409C-BE32-E72D297353CC}">
                <c16:uniqueId val="{0000002F-FA3E-4872-B6E1-C4ABDF5766E2}"/>
              </c:ext>
            </c:extLst>
          </c:dPt>
          <c:dPt>
            <c:idx val="23"/>
            <c:invertIfNegative val="1"/>
            <c:bubble3D val="0"/>
            <c:spPr>
              <a:solidFill>
                <a:srgbClr val="00A097"/>
              </a:solidFill>
            </c:spPr>
            <c:extLst>
              <c:ext xmlns:c16="http://schemas.microsoft.com/office/drawing/2014/chart" uri="{C3380CC4-5D6E-409C-BE32-E72D297353CC}">
                <c16:uniqueId val="{00000031-FA3E-4872-B6E1-C4ABDF5766E2}"/>
              </c:ext>
            </c:extLst>
          </c:dPt>
          <c:dPt>
            <c:idx val="24"/>
            <c:invertIfNegative val="1"/>
            <c:bubble3D val="0"/>
            <c:spPr>
              <a:solidFill>
                <a:srgbClr val="00A097"/>
              </a:solidFill>
            </c:spPr>
            <c:extLst>
              <c:ext xmlns:c16="http://schemas.microsoft.com/office/drawing/2014/chart" uri="{C3380CC4-5D6E-409C-BE32-E72D297353CC}">
                <c16:uniqueId val="{00000033-FA3E-4872-B6E1-C4ABDF5766E2}"/>
              </c:ext>
            </c:extLst>
          </c:dPt>
          <c:dPt>
            <c:idx val="25"/>
            <c:invertIfNegative val="1"/>
            <c:bubble3D val="0"/>
            <c:spPr>
              <a:solidFill>
                <a:srgbClr val="00A097"/>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7ECAC4"/>
              </a:solidFill>
            </c:spPr>
            <c:extLst>
              <c:ext xmlns:c16="http://schemas.microsoft.com/office/drawing/2014/chart" uri="{C3380CC4-5D6E-409C-BE32-E72D297353CC}">
                <c16:uniqueId val="{0000003F-FA3E-4872-B6E1-C4ABDF5766E2}"/>
              </c:ext>
            </c:extLst>
          </c:dPt>
          <c:dPt>
            <c:idx val="31"/>
            <c:invertIfNegative val="1"/>
            <c:bubble3D val="0"/>
            <c:spPr>
              <a:solidFill>
                <a:srgbClr val="7ECAC4"/>
              </a:solidFill>
            </c:spPr>
            <c:extLst>
              <c:ext xmlns:c16="http://schemas.microsoft.com/office/drawing/2014/chart" uri="{C3380CC4-5D6E-409C-BE32-E72D297353CC}">
                <c16:uniqueId val="{00000041-FA3E-4872-B6E1-C4ABDF5766E2}"/>
              </c:ext>
            </c:extLst>
          </c:dPt>
          <c:dPt>
            <c:idx val="32"/>
            <c:invertIfNegative val="1"/>
            <c:bubble3D val="0"/>
            <c:spPr>
              <a:solidFill>
                <a:srgbClr val="7ECAC4"/>
              </a:solidFill>
            </c:spPr>
            <c:extLst>
              <c:ext xmlns:c16="http://schemas.microsoft.com/office/drawing/2014/chart" uri="{C3380CC4-5D6E-409C-BE32-E72D297353CC}">
                <c16:uniqueId val="{00000043-FA3E-4872-B6E1-C4ABDF5766E2}"/>
              </c:ext>
            </c:extLst>
          </c:dPt>
          <c:dPt>
            <c:idx val="33"/>
            <c:invertIfNegative val="1"/>
            <c:bubble3D val="0"/>
            <c:spPr>
              <a:solidFill>
                <a:srgbClr val="7ECAC4"/>
              </a:solidFill>
            </c:spPr>
            <c:extLst>
              <c:ext xmlns:c16="http://schemas.microsoft.com/office/drawing/2014/chart" uri="{C3380CC4-5D6E-409C-BE32-E72D297353CC}">
                <c16:uniqueId val="{00000045-FA3E-4872-B6E1-C4ABDF5766E2}"/>
              </c:ext>
            </c:extLst>
          </c:dPt>
          <c:dPt>
            <c:idx val="34"/>
            <c:invertIfNegative val="1"/>
            <c:bubble3D val="0"/>
            <c:spPr>
              <a:solidFill>
                <a:srgbClr val="7ECAC4"/>
              </a:solidFill>
            </c:spPr>
            <c:extLst>
              <c:ext xmlns:c16="http://schemas.microsoft.com/office/drawing/2014/chart" uri="{C3380CC4-5D6E-409C-BE32-E72D297353CC}">
                <c16:uniqueId val="{00000047-FA3E-4872-B6E1-C4ABDF5766E2}"/>
              </c:ext>
            </c:extLst>
          </c:dPt>
          <c:dPt>
            <c:idx val="35"/>
            <c:invertIfNegative val="1"/>
            <c:bubble3D val="0"/>
            <c:spPr>
              <a:solidFill>
                <a:srgbClr val="7ECAC4"/>
              </a:solidFill>
            </c:spPr>
            <c:extLst>
              <c:ext xmlns:c16="http://schemas.microsoft.com/office/drawing/2014/chart" uri="{C3380CC4-5D6E-409C-BE32-E72D297353CC}">
                <c16:uniqueId val="{00000049-FA3E-4872-B6E1-C4ABDF5766E2}"/>
              </c:ext>
            </c:extLst>
          </c:dPt>
          <c:dPt>
            <c:idx val="36"/>
            <c:invertIfNegative val="1"/>
            <c:bubble3D val="0"/>
            <c:spPr>
              <a:solidFill>
                <a:srgbClr val="7ECAC4"/>
              </a:solidFill>
            </c:spPr>
            <c:extLst>
              <c:ext xmlns:c16="http://schemas.microsoft.com/office/drawing/2014/chart" uri="{C3380CC4-5D6E-409C-BE32-E72D297353CC}">
                <c16:uniqueId val="{0000004B-FA3E-4872-B6E1-C4ABDF5766E2}"/>
              </c:ext>
            </c:extLst>
          </c:dPt>
          <c:dPt>
            <c:idx val="37"/>
            <c:invertIfNegative val="1"/>
            <c:bubble3D val="0"/>
            <c:spPr>
              <a:solidFill>
                <a:srgbClr val="7ECAC4"/>
              </a:solidFill>
            </c:spPr>
            <c:extLst>
              <c:ext xmlns:c16="http://schemas.microsoft.com/office/drawing/2014/chart" uri="{C3380CC4-5D6E-409C-BE32-E72D297353CC}">
                <c16:uniqueId val="{0000004D-FA3E-4872-B6E1-C4ABDF5766E2}"/>
              </c:ext>
            </c:extLst>
          </c:dPt>
          <c:dPt>
            <c:idx val="38"/>
            <c:invertIfNegative val="1"/>
            <c:bubble3D val="0"/>
            <c:spPr>
              <a:solidFill>
                <a:srgbClr val="7ECAC4"/>
              </a:solidFill>
            </c:spPr>
            <c:extLst>
              <c:ext xmlns:c16="http://schemas.microsoft.com/office/drawing/2014/chart" uri="{C3380CC4-5D6E-409C-BE32-E72D297353CC}">
                <c16:uniqueId val="{0000004F-FA3E-4872-B6E1-C4ABDF5766E2}"/>
              </c:ext>
            </c:extLst>
          </c:dPt>
          <c:dPt>
            <c:idx val="39"/>
            <c:invertIfNegative val="1"/>
            <c:bubble3D val="0"/>
            <c:spPr>
              <a:solidFill>
                <a:srgbClr val="7ECAC4"/>
              </a:solidFill>
            </c:spPr>
            <c:extLst>
              <c:ext xmlns:c16="http://schemas.microsoft.com/office/drawing/2014/chart" uri="{C3380CC4-5D6E-409C-BE32-E72D297353CC}">
                <c16:uniqueId val="{00000051-FA3E-4872-B6E1-C4ABDF5766E2}"/>
              </c:ext>
            </c:extLst>
          </c:dPt>
          <c:dPt>
            <c:idx val="40"/>
            <c:invertIfNegative val="1"/>
            <c:bubble3D val="0"/>
            <c:spPr>
              <a:solidFill>
                <a:srgbClr val="7ECAC4"/>
              </a:solidFill>
            </c:spPr>
            <c:extLst>
              <c:ext xmlns:c16="http://schemas.microsoft.com/office/drawing/2014/chart" uri="{C3380CC4-5D6E-409C-BE32-E72D297353CC}">
                <c16:uniqueId val="{00000053-FA3E-4872-B6E1-C4ABDF5766E2}"/>
              </c:ext>
            </c:extLst>
          </c:dPt>
          <c:dPt>
            <c:idx val="41"/>
            <c:invertIfNegative val="1"/>
            <c:bubble3D val="0"/>
            <c:spPr>
              <a:solidFill>
                <a:srgbClr val="7ECAC4"/>
              </a:solidFill>
            </c:spPr>
            <c:extLst>
              <c:ext xmlns:c16="http://schemas.microsoft.com/office/drawing/2014/chart" uri="{C3380CC4-5D6E-409C-BE32-E72D297353CC}">
                <c16:uniqueId val="{00000055-FA3E-4872-B6E1-C4ABDF5766E2}"/>
              </c:ext>
            </c:extLst>
          </c:dPt>
          <c:dPt>
            <c:idx val="42"/>
            <c:invertIfNegative val="1"/>
            <c:bubble3D val="0"/>
            <c:spPr>
              <a:solidFill>
                <a:srgbClr val="7ECAC4"/>
              </a:solidFill>
            </c:spPr>
            <c:extLst>
              <c:ext xmlns:c16="http://schemas.microsoft.com/office/drawing/2014/chart" uri="{C3380CC4-5D6E-409C-BE32-E72D297353CC}">
                <c16:uniqueId val="{00000057-FA3E-4872-B6E1-C4ABDF5766E2}"/>
              </c:ext>
            </c:extLst>
          </c:dPt>
          <c:dPt>
            <c:idx val="43"/>
            <c:invertIfNegative val="1"/>
            <c:bubble3D val="0"/>
            <c:spPr>
              <a:solidFill>
                <a:srgbClr val="7ECAC4"/>
              </a:solidFill>
            </c:spPr>
            <c:extLst>
              <c:ext xmlns:c16="http://schemas.microsoft.com/office/drawing/2014/chart" uri="{C3380CC4-5D6E-409C-BE32-E72D297353CC}">
                <c16:uniqueId val="{00000059-FA3E-4872-B6E1-C4ABDF5766E2}"/>
              </c:ext>
            </c:extLst>
          </c:dPt>
          <c:dPt>
            <c:idx val="44"/>
            <c:spPr>
              <a:solidFill>
                <a:srgbClr val="AEABAB"/>
              </a:solidFill>
            </c:spPr>
          </c:dPt>
          <c:dPt>
            <c:idx val="45"/>
            <c:spPr>
              <a:solidFill>
                <a:srgbClr val="AEABAB"/>
              </a:solidFill>
            </c:spPr>
          </c:dPt>
          <c:dPt>
            <c:idx val="46"/>
            <c:spPr>
              <a:solidFill>
                <a:srgbClr val="AEABAB"/>
              </a:solidFill>
            </c:spPr>
          </c:dPt>
          <c:dPt>
            <c:idx val="47"/>
            <c:spPr>
              <a:solidFill>
                <a:srgbClr val="AEABAB"/>
              </a:solidFill>
            </c:spPr>
          </c:dPt>
          <c:dPt>
            <c:idx val="48"/>
            <c:spPr>
              <a:solidFill>
                <a:srgbClr val="AEABAB"/>
              </a:solidFill>
            </c:spPr>
          </c:dPt>
          <c:dPt>
            <c:idx val="49"/>
            <c:spPr>
              <a:solidFill>
                <a:srgbClr val="AEABAB"/>
              </a:solidFill>
            </c:spPr>
          </c:dPt>
          <c:dPt>
            <c:idx val="50"/>
            <c:spPr>
              <a:solidFill>
                <a:srgbClr val="AEABAB"/>
              </a:solidFill>
            </c:spPr>
          </c:dPt>
          <c:dPt>
            <c:idx val="51"/>
            <c:spPr>
              <a:solidFill>
                <a:srgbClr val="AEABAB"/>
              </a:solidFill>
            </c:spPr>
          </c:dPt>
          <c:dPt>
            <c:idx val="52"/>
            <c:spPr>
              <a:solidFill>
                <a:srgbClr val="AEABAB"/>
              </a:solidFill>
            </c:spPr>
          </c:dPt>
          <c:dPt>
            <c:idx val="53"/>
            <c:spPr>
              <a:solidFill>
                <a:srgbClr val="AEABAB"/>
              </a:solidFill>
            </c:spPr>
          </c:dPt>
          <c:dPt>
            <c:idx val="54"/>
            <c:spPr>
              <a:solidFill>
                <a:srgbClr val="AEABAB"/>
              </a:solidFill>
            </c:spPr>
          </c:dPt>
          <c:dPt>
            <c:idx val="55"/>
            <c:spPr>
              <a:solidFill>
                <a:srgbClr val="AEABAB"/>
              </a:solidFill>
            </c:spPr>
          </c:dPt>
          <c:dPt>
            <c:idx val="56"/>
            <c:spPr>
              <a:solidFill>
                <a:srgbClr val="AEABAB"/>
              </a:solidFill>
            </c:spPr>
          </c:dPt>
          <c:dPt>
            <c:idx val="57"/>
            <c:spPr>
              <a:solidFill>
                <a:srgbClr val="AEABAB"/>
              </a:solidFill>
            </c:spPr>
          </c:dPt>
          <c:dPt>
            <c:idx val="58"/>
            <c:spPr>
              <a:solidFill>
                <a:srgbClr val="AEABAB"/>
              </a:solidFill>
            </c:spPr>
          </c:dPt>
          <c:dPt>
            <c:idx val="59"/>
            <c:spPr>
              <a:solidFill>
                <a:srgbClr val="AEABAB"/>
              </a:solidFill>
            </c:spPr>
          </c:dPt>
          <c:dPt>
            <c:idx val="60"/>
            <c:spPr>
              <a:solidFill>
                <a:srgbClr val="AEABAB"/>
              </a:solidFill>
            </c:spPr>
          </c:dPt>
          <c:dPt>
            <c:idx val="61"/>
            <c:spPr>
              <a:solidFill>
                <a:srgbClr val="AEABAB"/>
              </a:solidFill>
            </c:spPr>
          </c:dPt>
          <c:dPt>
            <c:idx val="62"/>
            <c:spPr>
              <a:solidFill>
                <a:srgbClr val="AEABAB"/>
              </a:solidFill>
            </c:spPr>
          </c:dPt>
          <c:dPt>
            <c:idx val="63"/>
            <c:spPr>
              <a:solidFill>
                <a:srgbClr val="AEABAB"/>
              </a:solidFill>
            </c:spPr>
          </c:dPt>
          <c:dPt>
            <c:idx val="64"/>
            <c:spPr>
              <a:solidFill>
                <a:srgbClr val="AEABAB"/>
              </a:solidFill>
            </c:spPr>
          </c:dPt>
          <c:dPt>
            <c:idx val="65"/>
            <c:spPr>
              <a:solidFill>
                <a:srgbClr val="AEABAB"/>
              </a:solidFill>
            </c:spPr>
          </c:dPt>
          <c:dPt>
            <c:idx val="66"/>
            <c:spPr>
              <a:solidFill>
                <a:srgbClr val="AEABAB"/>
              </a:solidFill>
            </c:spPr>
          </c:dPt>
          <c:dPt>
            <c:idx val="67"/>
            <c:spPr>
              <a:solidFill>
                <a:srgbClr val="AEABAB"/>
              </a:solidFill>
            </c:spPr>
          </c:dPt>
          <c:dPt>
            <c:idx val="68"/>
            <c:spPr>
              <a:solidFill>
                <a:srgbClr val="AEABAB"/>
              </a:solidFill>
            </c:spPr>
          </c:dPt>
          <c:dPt>
            <c:idx val="69"/>
            <c:spPr>
              <a:solidFill>
                <a:srgbClr val="AEABAB"/>
              </a:solidFill>
            </c:spPr>
          </c:dPt>
          <c:dPt>
            <c:idx val="70"/>
            <c:spPr>
              <a:solidFill>
                <a:srgbClr val="AEABAB"/>
              </a:solidFill>
            </c:spPr>
          </c:dPt>
          <c:dPt>
            <c:idx val="71"/>
            <c:spPr>
              <a:solidFill>
                <a:srgbClr val="AEABAB"/>
              </a:solidFill>
            </c:spPr>
          </c:dPt>
          <c:dPt>
            <c:idx val="72"/>
            <c:spPr>
              <a:solidFill>
                <a:srgbClr val="AEABAB"/>
              </a:solidFill>
            </c:spPr>
          </c:dPt>
          <c:dPt>
            <c:idx val="73"/>
            <c:spPr>
              <a:solidFill>
                <a:srgbClr val="AEABAB"/>
              </a:solidFill>
            </c:spPr>
          </c:dPt>
          <c:dPt>
            <c:idx val="74"/>
            <c:spPr>
              <a:solidFill>
                <a:srgbClr val="AEABAB"/>
              </a:solidFill>
            </c:spPr>
          </c:dPt>
          <c:dPt>
            <c:idx val="75"/>
            <c:spPr>
              <a:solidFill>
                <a:srgbClr val="AEABAB"/>
              </a:solidFill>
            </c:spPr>
          </c:dPt>
          <c:dPt>
            <c:idx val="76"/>
            <c:spPr>
              <a:solidFill>
                <a:srgbClr val="AEABAB"/>
              </a:solidFill>
            </c:spPr>
          </c:dPt>
          <c:dPt>
            <c:idx val="77"/>
            <c:spPr>
              <a:solidFill>
                <a:srgbClr val="AEABAB"/>
              </a:solidFill>
            </c:spPr>
          </c:dPt>
          <c:dPt>
            <c:idx val="78"/>
            <c:spPr>
              <a:solidFill>
                <a:srgbClr val="AEABAB"/>
              </a:solidFill>
            </c:spPr>
          </c:dPt>
          <c:dPt>
            <c:idx val="79"/>
            <c:spPr>
              <a:solidFill>
                <a:srgbClr val="AEABAB"/>
              </a:solidFill>
            </c:spPr>
          </c:dPt>
          <c:dPt>
            <c:idx val="80"/>
            <c:spPr>
              <a:solidFill>
                <a:srgbClr val="AEABAB"/>
              </a:solidFill>
            </c:spPr>
          </c:dPt>
          <c:dPt>
            <c:idx val="81"/>
            <c:spPr>
              <a:solidFill>
                <a:srgbClr val="AEABAB"/>
              </a:solidFill>
            </c:spPr>
          </c:dPt>
          <c:cat>
            <c:strRef>
              <c:f>Sheet1!$A$2:$A$83</c:f>
              <c:strCache>
                <c:ptCount val="82"/>
                <c:pt idx="0">
                  <c:v>Mini Babybel Rouge Filet St Paulin Ferme 1X264Gr 12P</c:v>
                </c:pt>
                <c:pt idx="1">
                  <c:v>La Vache Qui Rit Nature Fromage Fondu Boite Ronde 1X512Gr 32P</c:v>
                </c:pt>
                <c:pt idx="2">
                  <c:v>La Vache Qui Rit Nature Fromage Fondu Boite Ronde 1X192Gr 12P</c:v>
                </c:pt>
                <c:pt idx="3">
                  <c:v>Mini Babybel Rouge Filet St Paulin Ferme 1X132Gr 6P</c:v>
                </c:pt>
                <c:pt idx="4">
                  <c:v>La Vache Qui Rit Nature Fromage Fondu Boite Ronde 1X384Gr 24P</c:v>
                </c:pt>
                <c:pt idx="5">
                  <c:v>Kiri Creme Fromage Blanc Frais Carre 1X216Gr 12P</c:v>
                </c:pt>
                <c:pt idx="6">
                  <c:v>Apericube Edition Limitee Best Of Foot Fromage Fondu Cube Assortis 1X250Gr 48P</c:v>
                </c:pt>
                <c:pt idx="7">
                  <c:v>Kiri Creme Fromage Blanc Frais Carre 1X432Gr 24P</c:v>
                </c:pt>
                <c:pt idx="8">
                  <c:v>Apericube Cocktail Fromage Fondu Cube Assortis 1X250Gr 48P</c:v>
                </c:pt>
                <c:pt idx="9">
                  <c:v>Apericube Long Drink Fromage Fondu Cube Assortis 1X250Gr 48P</c:v>
                </c:pt>
                <c:pt idx="10">
                  <c:v>Boursin Classique Fromage Frais A Tartiner Afh Boite 1X250Gr 1P</c:v>
                </c:pt>
                <c:pt idx="11">
                  <c:v>Boursin Classique Fromage Frais A Tartiner Afh 1X160Gr 10P</c:v>
                </c:pt>
                <c:pt idx="12">
                  <c:v>Kiri Gouter Fromage Blanc Dips Boite 1X280Gr 8P</c:v>
                </c:pt>
                <c:pt idx="13">
                  <c:v>Apericube Tonic Fromage Fondu Cube Assortis 1X250Gr 48P</c:v>
                </c:pt>
                <c:pt idx="14">
                  <c:v>Kiri Creme Fromage Blanc Frais Carre 1X144Gr 8P</c:v>
                </c:pt>
                <c:pt idx="15">
                  <c:v>Boursin Classique Fromage Frais A Tartiner Afh Boite 1X150Gr 1P</c:v>
                </c:pt>
                <c:pt idx="16">
                  <c:v>Port Salut St Paulin 1X320Gr 1P</c:v>
                </c:pt>
                <c:pt idx="17">
                  <c:v>Boursin Aperitif Roules Fromage Frais Roule Afh Et Jambon Fume Boite 1X100Gr 20P</c:v>
                </c:pt>
                <c:pt idx="18">
                  <c:v>Apericube Incontournable Fromage Fondu Cube Assortis 1X250Gr 48P</c:v>
                </c:pt>
                <c:pt idx="19">
                  <c:v>Mini Babybel Rouge Filet St Paulin Ferme 1X440Gr 20P</c:v>
                </c:pt>
                <c:pt idx="20">
                  <c:v>Kiri Gouter Fromage Blanc Dips Boite 1X175Gr 5P</c:v>
                </c:pt>
                <c:pt idx="21">
                  <c:v>Apericube Edition Limitee Saison Fromage Fondu Cube Assortis 1X250Gr 48P</c:v>
                </c:pt>
                <c:pt idx="22">
                  <c:v>Apericube Nature Fromage Fondu Cube 1X125Gr 24P</c:v>
                </c:pt>
                <c:pt idx="23">
                  <c:v>Babybel St Paulin 1X200Gr 1P</c:v>
                </c:pt>
                <c:pt idx="24">
                  <c:v>Cousteron St Paulin 1X320Gr 1P</c:v>
                </c:pt>
                <c:pt idx="25">
                  <c:v>Apericube Edition Voyage Fromage Fondu Cube Assortis 1X250Gr 48P</c:v>
                </c:pt>
                <c:pt idx="26">
                  <c:v>Boursin Aperitif Roules Fromage Frais Roule Ciboulette &amp; Echalote Jambon Fume Boite 1X100Gr 20P</c:v>
                </c:pt>
                <c:pt idx="27">
                  <c:v>Apericube Campagne Fromage Fondu Cube Assortis 1X125Gr 24P</c:v>
                </c:pt>
                <c:pt idx="28">
                  <c:v>La Vache Qui Rit Pik Et Croq' Fromage Fondu Dips Boite 1X175Gr 5P</c:v>
                </c:pt>
                <c:pt idx="29">
                  <c:v>La Vache Qui Rit Pik Et Croq' Fromage Fondu Dips Boite 1X280Gr 8P</c:v>
                </c:pt>
                <c:pt idx="30">
                  <c:v>Boursin Onctueux Fromage Frais A Tartiner Afh 1X125Gr 1P</c:v>
                </c:pt>
                <c:pt idx="31">
                  <c:v>Boursin Salade &amp; Aperitif Fromage Frais Des Afh 1X120Gr 1P</c:v>
                </c:pt>
                <c:pt idx="32">
                  <c:v>Apericube Saveurs De L'Authentique Fromage Fondu Cube Assortis 1X250Gr 48P</c:v>
                </c:pt>
                <c:pt idx="33">
                  <c:v>Boursin Classique Fromage Frais A Tartiner Afh Boite 1X96Gr 6P</c:v>
                </c:pt>
                <c:pt idx="34">
                  <c:v>Boursin Classique Fromage Frais A Tartiner Figue Et 3 Noix Boite 1X150Gr 1P</c:v>
                </c:pt>
                <c:pt idx="35">
                  <c:v>La Vache Qui Rit Allegee Fromage Fondu Boite Ronde Allege 1X267Gr 16P</c:v>
                </c:pt>
                <c:pt idx="36">
                  <c:v>Boursin Classique Fromage Frais A Tartiner Ciboulette &amp; Echalote Boite 1X150Gr 1P</c:v>
                </c:pt>
                <c:pt idx="37">
                  <c:v>Boursin Classique Fromage Frais A Tartiner Afh 1X256Gr 16P</c:v>
                </c:pt>
                <c:pt idx="38">
                  <c:v>Boursin Cuisine Sauce Fromage Afh 1X240Gr 1P</c:v>
                </c:pt>
                <c:pt idx="39">
                  <c:v>Boursin Aperitif Roules Fromage Frais Roule Basilic &amp; Jambon Fume Tomate Boite 1X100Gr 20P</c:v>
                </c:pt>
                <c:pt idx="40">
                  <c:v>Boursin Classique Fromage Frais A Tartiner Poivre Boite 1X150Gr 1P</c:v>
                </c:pt>
                <c:pt idx="41">
                  <c:v>Babybel Mini Rolls St Paulin Ferme Sachet 1X85Gr 5P</c:v>
                </c:pt>
                <c:pt idx="42">
                  <c:v>Mini Babybel Aros St Paulin Ferme Assortis Filet 1X180Gr 9P</c:v>
                </c:pt>
                <c:pt idx="43">
                  <c:v>Kiri Delicieusement Fouette Fromage Frais A Tartiner 1X125Gr 1P</c:v>
                </c:pt>
                <c:pt idx="44">
                  <c:v>Apericube Long Drink Fromage Fondu Cube Assortis 1X125Gr 24P</c:v>
                </c:pt>
                <c:pt idx="45">
                  <c:v>Boursin Classique Fromage Frais A Tartiner Ciboulette &amp; Echalote 1X160Gr 10P</c:v>
                </c:pt>
                <c:pt idx="46">
                  <c:v>La Vache Qui Rit Aro Fromage Fondu Boite Ronde Jambon 1X133Gr 8P</c:v>
                </c:pt>
                <c:pt idx="47">
                  <c:v>Kiri Bio Fromage Blanc Frais Carre 1X144Gr 8P</c:v>
                </c:pt>
                <c:pt idx="48">
                  <c:v>Kiri Chevre Fromage Blanc Frais Carre 1X144Gr 8P</c:v>
                </c:pt>
                <c:pt idx="49">
                  <c:v>Apericube Soiree Match Aperitif 250G</c:v>
                </c:pt>
                <c:pt idx="50">
                  <c:v>Mini Babybel Aros Soft Cheese Enfant 180G</c:v>
                </c:pt>
                <c:pt idx="51">
                  <c:v>Boursin Salade &amp; Aperitif Fromage Frais Des Ciboulette Echalote 1X120Gr 1P</c:v>
                </c:pt>
                <c:pt idx="52">
                  <c:v>Mini Babybel Rouge Filet St Paulin Ferme 1X396Gr 12+6P</c:v>
                </c:pt>
                <c:pt idx="53">
                  <c:v>Kiri Delicieusement Fouette Fromage Frais A Tartiner 1X160Gr 10P</c:v>
                </c:pt>
                <c:pt idx="54">
                  <c:v>Kiri Creme Fromage Blanc Frais Carre 1X432Gr 18+6P</c:v>
                </c:pt>
                <c:pt idx="55">
                  <c:v>Mini Babybel Aros St Paulin Ferme Raclette Filet 1X132Gr 6P</c:v>
                </c:pt>
                <c:pt idx="56">
                  <c:v>Boursin Salade &amp; Aperitif Fromage Frais Des Figue Noix 1X120Gr 1P</c:v>
                </c:pt>
                <c:pt idx="57">
                  <c:v>Apericube Hot Chalenge Aperitif 250G</c:v>
                </c:pt>
                <c:pt idx="58">
                  <c:v>Nurishh Les Tranches Vegetales Cheddar Vegetal Tranche Boite 1X160Gr 8P</c:v>
                </c:pt>
                <c:pt idx="59">
                  <c:v>Boursin Salade &amp; Aperitif Fromage Frais Des Citron Romarin 1X120Gr 1P</c:v>
                </c:pt>
                <c:pt idx="60">
                  <c:v>Apericube Best Of Des Saveurs Fromage Fondu Cube Assortis 1X125Gr 24P</c:v>
                </c:pt>
                <c:pt idx="61">
                  <c:v>Nurishh Le Rape Vegetal Specialite Vegetale Sachet 1X150Gr 1P</c:v>
                </c:pt>
                <c:pt idx="62">
                  <c:v>Boursin Salade &amp; Aperitif Fromage Frais Des Noisette Et 3 Noix 1X120Gr 1P</c:v>
                </c:pt>
                <c:pt idx="63">
                  <c:v>Boursin Classique Fromage Frais A Tartiner Afh Boite 1X80Gr 1P</c:v>
                </c:pt>
                <c:pt idx="64">
                  <c:v>Mini Babybel Aros Soft Cheese Enfant 110G</c:v>
                </c:pt>
                <c:pt idx="65">
                  <c:v>Apericube Fromages Du Monde Aperitif 250G</c:v>
                </c:pt>
                <c:pt idx="66">
                  <c:v>Boursin Aperitif Roules Fromage Frais Roule Jambon Fume &amp; Trio De Noix Boite 1X100Gr 20P</c:v>
                </c:pt>
                <c:pt idx="67">
                  <c:v>Nurishh Le Rape Vegetal Specialite Vegetale Emmental Sachet 1X150Gr 1P</c:v>
                </c:pt>
                <c:pt idx="68">
                  <c:v>Nurishh Des Vegetaux Feta Vegetale Sachet 1X150Gr 1P</c:v>
                </c:pt>
                <c:pt idx="69">
                  <c:v>Apericube Montagne Aperitif 250G</c:v>
                </c:pt>
                <c:pt idx="70">
                  <c:v>Nurishh Le Coeur Fleuri Vegetal Camembert Boite 1X140Gr 1P</c:v>
                </c:pt>
                <c:pt idx="71">
                  <c:v>Nurishh Le Palet Vegetal Specialite Vegetale Ovale Saveur Chevre Boite 1X140Gr 1P</c:v>
                </c:pt>
                <c:pt idx="72">
                  <c:v>Boursin Aperitif Roules Aperitif 100G</c:v>
                </c:pt>
                <c:pt idx="73">
                  <c:v>Boursin Salade &amp; Aperitif Soft Cheese Salade 120G</c:v>
                </c:pt>
                <c:pt idx="74">
                  <c:v>Boursin Classique Fromage Frais A Tartiner Truffe Boite 1X150Gr 1P</c:v>
                </c:pt>
                <c:pt idx="75">
                  <c:v>La Vache Qui Rit Nature Fromage Fondu Boite Ronde 1X512Gr 24+8P</c:v>
                </c:pt>
                <c:pt idx="76">
                  <c:v>Mini Babybel Bio St Paulin Ferme Filet 1X100Gr 5P</c:v>
                </c:pt>
                <c:pt idx="77">
                  <c:v>Mini Babybel Rouge Filet St Paulin Ferme Sachet 1X40Gr 1P</c:v>
                </c:pt>
                <c:pt idx="78">
                  <c:v>Kiri Delicieusement Fouette Fromage Frais A Tartiner 1X210Gr 1P</c:v>
                </c:pt>
                <c:pt idx="79">
                  <c:v>Limiano Queijo Flamengo Tranche Sachet 1X200Gr 1P</c:v>
                </c:pt>
                <c:pt idx="80">
                  <c:v>Limiano Queijo Flamengo Bloc 1X600Gr 1P</c:v>
                </c:pt>
                <c:pt idx="81">
                  <c:v>La Vache Qui Rit Nature Fromage Fondu Boite Ronde 1X128Gr 8P</c:v>
                </c:pt>
              </c:strCache>
            </c:strRef>
          </c:cat>
          <c:val>
            <c:numRef>
              <c:f>Sheet1!$C$2:$C$83</c:f>
              <c:numCache>
                <c:formatCode>General</c:formatCode>
                <c:ptCount val="82"/>
                <c:pt idx="0">
                  <c:v>0.09175776526186093</c:v>
                </c:pt>
                <c:pt idx="1">
                  <c:v>0.1621327904560429</c:v>
                </c:pt>
                <c:pt idx="2">
                  <c:v>0.21723077544066388</c:v>
                </c:pt>
                <c:pt idx="3">
                  <c:v>0.2635158605556231</c:v>
                </c:pt>
                <c:pt idx="4">
                  <c:v>0.309064150669849</c:v>
                </c:pt>
                <c:pt idx="5">
                  <c:v>0.3494448700111833</c:v>
                </c:pt>
                <c:pt idx="6">
                  <c:v>0.38548608421951003</c:v>
                </c:pt>
                <c:pt idx="7">
                  <c:v>0.4204873079456253</c:v>
                </c:pt>
                <c:pt idx="8">
                  <c:v>0.4526790193333614</c:v>
                </c:pt>
                <c:pt idx="9">
                  <c:v>0.4801469967937913</c:v>
                </c:pt>
                <c:pt idx="10">
                  <c:v>0.5054814423232569</c:v>
                </c:pt>
                <c:pt idx="11">
                  <c:v>0.5298255118413325</c:v>
                </c:pt>
                <c:pt idx="12">
                  <c:v>0.5538639240446935</c:v>
                </c:pt>
                <c:pt idx="13">
                  <c:v>0.5764173145655193</c:v>
                </c:pt>
                <c:pt idx="14">
                  <c:v>0.5988703427264297</c:v>
                </c:pt>
                <c:pt idx="15">
                  <c:v>0.620699698342555</c:v>
                </c:pt>
                <c:pt idx="16">
                  <c:v>0.6416637439506238</c:v>
                </c:pt>
                <c:pt idx="17">
                  <c:v>0.6611023304371532</c:v>
                </c:pt>
                <c:pt idx="18">
                  <c:v>0.6802703224516486</c:v>
                </c:pt>
                <c:pt idx="19">
                  <c:v>0.6979689047062623</c:v>
                </c:pt>
                <c:pt idx="20">
                  <c:v>0.7155645530820849</c:v>
                </c:pt>
                <c:pt idx="21">
                  <c:v>0.7321086696089881</c:v>
                </c:pt>
                <c:pt idx="22">
                  <c:v>0.7475277892832598</c:v>
                </c:pt>
                <c:pt idx="23">
                  <c:v>0.7627196281257087</c:v>
                </c:pt>
                <c:pt idx="24">
                  <c:v>0.7773572376203122</c:v>
                </c:pt>
                <c:pt idx="25">
                  <c:v>0.7915046619930999</c:v>
                </c:pt>
                <c:pt idx="26">
                  <c:v>0.804156193617773</c:v>
                </c:pt>
                <c:pt idx="27">
                  <c:v>0.8164012180760862</c:v>
                </c:pt>
                <c:pt idx="28">
                  <c:v>0.8283505666128567</c:v>
                </c:pt>
                <c:pt idx="29">
                  <c:v>0.8400849800458667</c:v>
                </c:pt>
                <c:pt idx="30">
                  <c:v>0.8505727065031422</c:v>
                </c:pt>
                <c:pt idx="31">
                  <c:v>0.8605666525870931</c:v>
                </c:pt>
                <c:pt idx="32">
                  <c:v>0.8703049336332416</c:v>
                </c:pt>
                <c:pt idx="33">
                  <c:v>0.8799539305690391</c:v>
                </c:pt>
                <c:pt idx="34">
                  <c:v>0.8888947482686549</c:v>
                </c:pt>
                <c:pt idx="35">
                  <c:v>0.8969485138290557</c:v>
                </c:pt>
                <c:pt idx="36">
                  <c:v>0.9044817844693276</c:v>
                </c:pt>
                <c:pt idx="37">
                  <c:v>0.9110409978838715</c:v>
                </c:pt>
                <c:pt idx="38">
                  <c:v>0.9173235719289294</c:v>
                </c:pt>
                <c:pt idx="39">
                  <c:v>0.9235043698880551</c:v>
                </c:pt>
                <c:pt idx="40">
                  <c:v>0.9296627554148936</c:v>
                </c:pt>
                <c:pt idx="41">
                  <c:v>0.9357193892303863</c:v>
                </c:pt>
                <c:pt idx="42">
                  <c:v>0.9411465737240934</c:v>
                </c:pt>
                <c:pt idx="43">
                  <c:v>0.9458711607619271</c:v>
                </c:pt>
                <c:pt idx="44">
                  <c:v>0.9503796427158486</c:v>
                </c:pt>
                <c:pt idx="45">
                  <c:v>0.9547867873263948</c:v>
                </c:pt>
                <c:pt idx="46">
                  <c:v>0.9590513284186205</c:v>
                </c:pt>
                <c:pt idx="47">
                  <c:v>0.962859808810131</c:v>
                </c:pt>
                <c:pt idx="48">
                  <c:v>0.9663241687894292</c:v>
                </c:pt>
                <c:pt idx="49">
                  <c:v>0.9694813480423564</c:v>
                </c:pt>
                <c:pt idx="50">
                  <c:v>0.9725923008919857</c:v>
                </c:pt>
                <c:pt idx="51">
                  <c:v>0.9751672322098852</c:v>
                </c:pt>
                <c:pt idx="52">
                  <c:v>0.9777295496792708</c:v>
                </c:pt>
                <c:pt idx="53">
                  <c:v>0.9802069582765823</c:v>
                </c:pt>
                <c:pt idx="54">
                  <c:v>0.9826535330219709</c:v>
                </c:pt>
                <c:pt idx="55">
                  <c:v>0.9846007699883128</c:v>
                </c:pt>
                <c:pt idx="56">
                  <c:v>0.9863313168806663</c:v>
                </c:pt>
                <c:pt idx="57">
                  <c:v>0.9876393790652089</c:v>
                </c:pt>
                <c:pt idx="58">
                  <c:v>0.9888064830160198</c:v>
                </c:pt>
                <c:pt idx="59">
                  <c:v>0.9897898025846179</c:v>
                </c:pt>
                <c:pt idx="60">
                  <c:v>0.9907704409487009</c:v>
                </c:pt>
                <c:pt idx="61">
                  <c:v>0.9916491447920394</c:v>
                </c:pt>
                <c:pt idx="62">
                  <c:v>0.9924925054849523</c:v>
                </c:pt>
                <c:pt idx="63">
                  <c:v>0.9932052305815164</c:v>
                </c:pt>
                <c:pt idx="64">
                  <c:v>0.9938959332391776</c:v>
                </c:pt>
                <c:pt idx="65">
                  <c:v>0.9944799848936063</c:v>
                </c:pt>
                <c:pt idx="66">
                  <c:v>0.9950398447709334</c:v>
                </c:pt>
                <c:pt idx="67">
                  <c:v>0.9955817405780097</c:v>
                </c:pt>
                <c:pt idx="68">
                  <c:v>0.9961143740422159</c:v>
                </c:pt>
                <c:pt idx="69">
                  <c:v>0.9966331871158763</c:v>
                </c:pt>
                <c:pt idx="70">
                  <c:v>0.9971461381014834</c:v>
                </c:pt>
                <c:pt idx="71">
                  <c:v>0.9976388216184155</c:v>
                </c:pt>
                <c:pt idx="72">
                  <c:v>0.9981106648638898</c:v>
                </c:pt>
                <c:pt idx="73">
                  <c:v>0.9985398769575748</c:v>
                </c:pt>
                <c:pt idx="74">
                  <c:v>0.9989364149180562</c:v>
                </c:pt>
                <c:pt idx="75">
                  <c:v>0.9992383063591566</c:v>
                </c:pt>
                <c:pt idx="76">
                  <c:v>0.999477018872048</c:v>
                </c:pt>
                <c:pt idx="77">
                  <c:v>0.9996612663714043</c:v>
                </c:pt>
                <c:pt idx="78">
                  <c:v>0.9998338018819471</c:v>
                </c:pt>
                <c:pt idx="79">
                  <c:v>0.9999314342881744</c:v>
                </c:pt>
                <c:pt idx="80">
                  <c:v>0.9999767832063584</c:v>
                </c:pt>
                <c:pt idx="81">
                  <c:v>0.9999879102050958</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83</c:f>
              <c:strCache>
                <c:ptCount val="82"/>
                <c:pt idx="0">
                  <c:v>Mini Babybel Rouge Filet St Paulin Ferme 1X264Gr 12P</c:v>
                </c:pt>
                <c:pt idx="1">
                  <c:v>La Vache Qui Rit Nature Fromage Fondu Boite Ronde 1X512Gr 32P</c:v>
                </c:pt>
                <c:pt idx="2">
                  <c:v>La Vache Qui Rit Nature Fromage Fondu Boite Ronde 1X192Gr 12P</c:v>
                </c:pt>
                <c:pt idx="3">
                  <c:v>Mini Babybel Rouge Filet St Paulin Ferme 1X132Gr 6P</c:v>
                </c:pt>
                <c:pt idx="4">
                  <c:v>La Vache Qui Rit Nature Fromage Fondu Boite Ronde 1X384Gr 24P</c:v>
                </c:pt>
                <c:pt idx="5">
                  <c:v>Kiri Creme Fromage Blanc Frais Carre 1X216Gr 12P</c:v>
                </c:pt>
                <c:pt idx="6">
                  <c:v>Apericube Edition Limitee Best Of Foot Fromage Fondu Cube Assortis 1X250Gr 48P</c:v>
                </c:pt>
                <c:pt idx="7">
                  <c:v>Kiri Creme Fromage Blanc Frais Carre 1X432Gr 24P</c:v>
                </c:pt>
                <c:pt idx="8">
                  <c:v>Apericube Cocktail Fromage Fondu Cube Assortis 1X250Gr 48P</c:v>
                </c:pt>
                <c:pt idx="9">
                  <c:v>Apericube Long Drink Fromage Fondu Cube Assortis 1X250Gr 48P</c:v>
                </c:pt>
                <c:pt idx="10">
                  <c:v>Boursin Classique Fromage Frais A Tartiner Afh Boite 1X250Gr 1P</c:v>
                </c:pt>
                <c:pt idx="11">
                  <c:v>Boursin Classique Fromage Frais A Tartiner Afh 1X160Gr 10P</c:v>
                </c:pt>
                <c:pt idx="12">
                  <c:v>Kiri Gouter Fromage Blanc Dips Boite 1X280Gr 8P</c:v>
                </c:pt>
                <c:pt idx="13">
                  <c:v>Apericube Tonic Fromage Fondu Cube Assortis 1X250Gr 48P</c:v>
                </c:pt>
                <c:pt idx="14">
                  <c:v>Kiri Creme Fromage Blanc Frais Carre 1X144Gr 8P</c:v>
                </c:pt>
                <c:pt idx="15">
                  <c:v>Boursin Classique Fromage Frais A Tartiner Afh Boite 1X150Gr 1P</c:v>
                </c:pt>
                <c:pt idx="16">
                  <c:v>Port Salut St Paulin 1X320Gr 1P</c:v>
                </c:pt>
                <c:pt idx="17">
                  <c:v>Boursin Aperitif Roules Fromage Frais Roule Afh Et Jambon Fume Boite 1X100Gr 20P</c:v>
                </c:pt>
                <c:pt idx="18">
                  <c:v>Apericube Incontournable Fromage Fondu Cube Assortis 1X250Gr 48P</c:v>
                </c:pt>
                <c:pt idx="19">
                  <c:v>Mini Babybel Rouge Filet St Paulin Ferme 1X440Gr 20P</c:v>
                </c:pt>
                <c:pt idx="20">
                  <c:v>Kiri Gouter Fromage Blanc Dips Boite 1X175Gr 5P</c:v>
                </c:pt>
                <c:pt idx="21">
                  <c:v>Apericube Edition Limitee Saison Fromage Fondu Cube Assortis 1X250Gr 48P</c:v>
                </c:pt>
                <c:pt idx="22">
                  <c:v>Apericube Nature Fromage Fondu Cube 1X125Gr 24P</c:v>
                </c:pt>
                <c:pt idx="23">
                  <c:v>Babybel St Paulin 1X200Gr 1P</c:v>
                </c:pt>
                <c:pt idx="24">
                  <c:v>Cousteron St Paulin 1X320Gr 1P</c:v>
                </c:pt>
                <c:pt idx="25">
                  <c:v>Apericube Edition Voyage Fromage Fondu Cube Assortis 1X250Gr 48P</c:v>
                </c:pt>
                <c:pt idx="26">
                  <c:v>Boursin Aperitif Roules Fromage Frais Roule Ciboulette &amp; Echalote Jambon Fume Boite 1X100Gr 20P</c:v>
                </c:pt>
                <c:pt idx="27">
                  <c:v>Apericube Campagne Fromage Fondu Cube Assortis 1X125Gr 24P</c:v>
                </c:pt>
                <c:pt idx="28">
                  <c:v>La Vache Qui Rit Pik Et Croq' Fromage Fondu Dips Boite 1X175Gr 5P</c:v>
                </c:pt>
                <c:pt idx="29">
                  <c:v>La Vache Qui Rit Pik Et Croq' Fromage Fondu Dips Boite 1X280Gr 8P</c:v>
                </c:pt>
                <c:pt idx="30">
                  <c:v>Boursin Onctueux Fromage Frais A Tartiner Afh 1X125Gr 1P</c:v>
                </c:pt>
                <c:pt idx="31">
                  <c:v>Boursin Salade &amp; Aperitif Fromage Frais Des Afh 1X120Gr 1P</c:v>
                </c:pt>
                <c:pt idx="32">
                  <c:v>Apericube Saveurs De L'Authentique Fromage Fondu Cube Assortis 1X250Gr 48P</c:v>
                </c:pt>
                <c:pt idx="33">
                  <c:v>Boursin Classique Fromage Frais A Tartiner Afh Boite 1X96Gr 6P</c:v>
                </c:pt>
                <c:pt idx="34">
                  <c:v>Boursin Classique Fromage Frais A Tartiner Figue Et 3 Noix Boite 1X150Gr 1P</c:v>
                </c:pt>
                <c:pt idx="35">
                  <c:v>La Vache Qui Rit Allegee Fromage Fondu Boite Ronde Allege 1X267Gr 16P</c:v>
                </c:pt>
                <c:pt idx="36">
                  <c:v>Boursin Classique Fromage Frais A Tartiner Ciboulette &amp; Echalote Boite 1X150Gr 1P</c:v>
                </c:pt>
                <c:pt idx="37">
                  <c:v>Boursin Classique Fromage Frais A Tartiner Afh 1X256Gr 16P</c:v>
                </c:pt>
                <c:pt idx="38">
                  <c:v>Boursin Cuisine Sauce Fromage Afh 1X240Gr 1P</c:v>
                </c:pt>
                <c:pt idx="39">
                  <c:v>Boursin Aperitif Roules Fromage Frais Roule Basilic &amp; Jambon Fume Tomate Boite 1X100Gr 20P</c:v>
                </c:pt>
                <c:pt idx="40">
                  <c:v>Boursin Classique Fromage Frais A Tartiner Poivre Boite 1X150Gr 1P</c:v>
                </c:pt>
                <c:pt idx="41">
                  <c:v>Babybel Mini Rolls St Paulin Ferme Sachet 1X85Gr 5P</c:v>
                </c:pt>
                <c:pt idx="42">
                  <c:v>Mini Babybel Aros St Paulin Ferme Assortis Filet 1X180Gr 9P</c:v>
                </c:pt>
                <c:pt idx="43">
                  <c:v>Kiri Delicieusement Fouette Fromage Frais A Tartiner 1X125Gr 1P</c:v>
                </c:pt>
                <c:pt idx="44">
                  <c:v>Apericube Long Drink Fromage Fondu Cube Assortis 1X125Gr 24P</c:v>
                </c:pt>
                <c:pt idx="45">
                  <c:v>Boursin Classique Fromage Frais A Tartiner Ciboulette &amp; Echalote 1X160Gr 10P</c:v>
                </c:pt>
                <c:pt idx="46">
                  <c:v>La Vache Qui Rit Aro Fromage Fondu Boite Ronde Jambon 1X133Gr 8P</c:v>
                </c:pt>
                <c:pt idx="47">
                  <c:v>Kiri Bio Fromage Blanc Frais Carre 1X144Gr 8P</c:v>
                </c:pt>
                <c:pt idx="48">
                  <c:v>Kiri Chevre Fromage Blanc Frais Carre 1X144Gr 8P</c:v>
                </c:pt>
                <c:pt idx="49">
                  <c:v>Apericube Soiree Match Aperitif 250G</c:v>
                </c:pt>
                <c:pt idx="50">
                  <c:v>Mini Babybel Aros Soft Cheese Enfant 180G</c:v>
                </c:pt>
                <c:pt idx="51">
                  <c:v>Boursin Salade &amp; Aperitif Fromage Frais Des Ciboulette Echalote 1X120Gr 1P</c:v>
                </c:pt>
                <c:pt idx="52">
                  <c:v>Mini Babybel Rouge Filet St Paulin Ferme 1X396Gr 12+6P</c:v>
                </c:pt>
                <c:pt idx="53">
                  <c:v>Kiri Delicieusement Fouette Fromage Frais A Tartiner 1X160Gr 10P</c:v>
                </c:pt>
                <c:pt idx="54">
                  <c:v>Kiri Creme Fromage Blanc Frais Carre 1X432Gr 18+6P</c:v>
                </c:pt>
                <c:pt idx="55">
                  <c:v>Mini Babybel Aros St Paulin Ferme Raclette Filet 1X132Gr 6P</c:v>
                </c:pt>
                <c:pt idx="56">
                  <c:v>Boursin Salade &amp; Aperitif Fromage Frais Des Figue Noix 1X120Gr 1P</c:v>
                </c:pt>
                <c:pt idx="57">
                  <c:v>Apericube Hot Chalenge Aperitif 250G</c:v>
                </c:pt>
                <c:pt idx="58">
                  <c:v>Nurishh Les Tranches Vegetales Cheddar Vegetal Tranche Boite 1X160Gr 8P</c:v>
                </c:pt>
                <c:pt idx="59">
                  <c:v>Boursin Salade &amp; Aperitif Fromage Frais Des Citron Romarin 1X120Gr 1P</c:v>
                </c:pt>
                <c:pt idx="60">
                  <c:v>Apericube Best Of Des Saveurs Fromage Fondu Cube Assortis 1X125Gr 24P</c:v>
                </c:pt>
                <c:pt idx="61">
                  <c:v>Nurishh Le Rape Vegetal Specialite Vegetale Sachet 1X150Gr 1P</c:v>
                </c:pt>
                <c:pt idx="62">
                  <c:v>Boursin Salade &amp; Aperitif Fromage Frais Des Noisette Et 3 Noix 1X120Gr 1P</c:v>
                </c:pt>
                <c:pt idx="63">
                  <c:v>Boursin Classique Fromage Frais A Tartiner Afh Boite 1X80Gr 1P</c:v>
                </c:pt>
                <c:pt idx="64">
                  <c:v>Mini Babybel Aros Soft Cheese Enfant 110G</c:v>
                </c:pt>
                <c:pt idx="65">
                  <c:v>Apericube Fromages Du Monde Aperitif 250G</c:v>
                </c:pt>
                <c:pt idx="66">
                  <c:v>Boursin Aperitif Roules Fromage Frais Roule Jambon Fume &amp; Trio De Noix Boite 1X100Gr 20P</c:v>
                </c:pt>
                <c:pt idx="67">
                  <c:v>Nurishh Le Rape Vegetal Specialite Vegetale Emmental Sachet 1X150Gr 1P</c:v>
                </c:pt>
                <c:pt idx="68">
                  <c:v>Nurishh Des Vegetaux Feta Vegetale Sachet 1X150Gr 1P</c:v>
                </c:pt>
                <c:pt idx="69">
                  <c:v>Apericube Montagne Aperitif 250G</c:v>
                </c:pt>
                <c:pt idx="70">
                  <c:v>Nurishh Le Coeur Fleuri Vegetal Camembert Boite 1X140Gr 1P</c:v>
                </c:pt>
                <c:pt idx="71">
                  <c:v>Nurishh Le Palet Vegetal Specialite Vegetale Ovale Saveur Chevre Boite 1X140Gr 1P</c:v>
                </c:pt>
                <c:pt idx="72">
                  <c:v>Boursin Aperitif Roules Aperitif 100G</c:v>
                </c:pt>
                <c:pt idx="73">
                  <c:v>Boursin Salade &amp; Aperitif Soft Cheese Salade 120G</c:v>
                </c:pt>
                <c:pt idx="74">
                  <c:v>Boursin Classique Fromage Frais A Tartiner Truffe Boite 1X150Gr 1P</c:v>
                </c:pt>
                <c:pt idx="75">
                  <c:v>La Vache Qui Rit Nature Fromage Fondu Boite Ronde 1X512Gr 24+8P</c:v>
                </c:pt>
                <c:pt idx="76">
                  <c:v>Mini Babybel Bio St Paulin Ferme Filet 1X100Gr 5P</c:v>
                </c:pt>
                <c:pt idx="77">
                  <c:v>Mini Babybel Rouge Filet St Paulin Ferme Sachet 1X40Gr 1P</c:v>
                </c:pt>
                <c:pt idx="78">
                  <c:v>Kiri Delicieusement Fouette Fromage Frais A Tartiner 1X210Gr 1P</c:v>
                </c:pt>
                <c:pt idx="79">
                  <c:v>Limiano Queijo Flamengo Tranche Sachet 1X200Gr 1P</c:v>
                </c:pt>
                <c:pt idx="80">
                  <c:v>Limiano Queijo Flamengo Bloc 1X600Gr 1P</c:v>
                </c:pt>
                <c:pt idx="81">
                  <c:v>La Vache Qui Rit Nature Fromage Fondu Boite Ronde 1X128Gr 8P</c:v>
                </c:pt>
              </c:strCache>
            </c:strRef>
          </c:cat>
          <c:val>
            <c:numRef>
              <c:f>Sheet1!$D$2:$D$83</c:f>
              <c:numCache>
                <c:formatCode>General</c:formatCode>
                <c:ptCount val="82"/>
                <c:pt idx="0">
                  <c:v>75289.7</c:v>
                </c:pt>
                <c:pt idx="1">
                  <c:v>58923.051020408166</c:v>
                </c:pt>
                <c:pt idx="2">
                  <c:v>45209.37</c:v>
                </c:pt>
                <c:pt idx="3">
                  <c:v>37978.15</c:v>
                </c:pt>
                <c:pt idx="4">
                  <c:v>38529.47422680412</c:v>
                </c:pt>
                <c:pt idx="5">
                  <c:v>33468.14141414141</c:v>
                </c:pt>
                <c:pt idx="6">
                  <c:v>30176.30612244898</c:v>
                </c:pt>
                <c:pt idx="7">
                  <c:v>32269.03370786517</c:v>
                </c:pt>
                <c:pt idx="8">
                  <c:v>26953.224489795917</c:v>
                </c:pt>
                <c:pt idx="9">
                  <c:v>23477.302083333332</c:v>
                </c:pt>
                <c:pt idx="10">
                  <c:v>20997.565656565657</c:v>
                </c:pt>
                <c:pt idx="11">
                  <c:v>20176.727272727272</c:v>
                </c:pt>
                <c:pt idx="12">
                  <c:v>20546.0</c:v>
                </c:pt>
                <c:pt idx="13">
                  <c:v>19276.729166666668</c:v>
                </c:pt>
                <c:pt idx="14">
                  <c:v>18609.40404040404</c:v>
                </c:pt>
                <c:pt idx="15">
                  <c:v>17911.57</c:v>
                </c:pt>
                <c:pt idx="16">
                  <c:v>17375.31313131313</c:v>
                </c:pt>
                <c:pt idx="17">
                  <c:v>16275.387755102041</c:v>
                </c:pt>
                <c:pt idx="18">
                  <c:v>17283.351648351647</c:v>
                </c:pt>
                <c:pt idx="19">
                  <c:v>16135.733333333334</c:v>
                </c:pt>
                <c:pt idx="20">
                  <c:v>14583.535353535353</c:v>
                </c:pt>
                <c:pt idx="21">
                  <c:v>14596.655913978495</c:v>
                </c:pt>
                <c:pt idx="22">
                  <c:v>13178.958333333334</c:v>
                </c:pt>
                <c:pt idx="23">
                  <c:v>12591.222222222223</c:v>
                </c:pt>
                <c:pt idx="24">
                  <c:v>12382.01030927835</c:v>
                </c:pt>
                <c:pt idx="25">
                  <c:v>12756.417582417582</c:v>
                </c:pt>
                <c:pt idx="26">
                  <c:v>10927.284210526315</c:v>
                </c:pt>
                <c:pt idx="27">
                  <c:v>10688.691489361701</c:v>
                </c:pt>
                <c:pt idx="28">
                  <c:v>10108.0</c:v>
                </c:pt>
                <c:pt idx="29">
                  <c:v>10818.426966292134</c:v>
                </c:pt>
                <c:pt idx="30">
                  <c:v>8871.60824742268</c:v>
                </c:pt>
                <c:pt idx="31">
                  <c:v>8367.65306122449</c:v>
                </c:pt>
                <c:pt idx="32">
                  <c:v>9184.505747126437</c:v>
                </c:pt>
                <c:pt idx="33">
                  <c:v>8247.145833333334</c:v>
                </c:pt>
                <c:pt idx="34">
                  <c:v>7410.282828282829</c:v>
                </c:pt>
                <c:pt idx="35">
                  <c:v>7595.781609195402</c:v>
                </c:pt>
                <c:pt idx="36">
                  <c:v>6243.686868686868</c:v>
                </c:pt>
                <c:pt idx="37">
                  <c:v>6186.218390804598</c:v>
                </c:pt>
                <c:pt idx="38">
                  <c:v>5857.977272727273</c:v>
                </c:pt>
                <c:pt idx="39">
                  <c:v>5635.011111111111</c:v>
                </c:pt>
                <c:pt idx="40">
                  <c:v>5263.666666666667</c:v>
                </c:pt>
                <c:pt idx="41">
                  <c:v>6135.3456790123455</c:v>
                </c:pt>
                <c:pt idx="42">
                  <c:v>5239.0</c:v>
                </c:pt>
                <c:pt idx="43">
                  <c:v>4455.919540229885</c:v>
                </c:pt>
                <c:pt idx="44">
                  <c:v>4682.696202531645</c:v>
                </c:pt>
                <c:pt idx="45">
                  <c:v>4356.843373493976</c:v>
                </c:pt>
                <c:pt idx="46">
                  <c:v>5071.260869565217</c:v>
                </c:pt>
                <c:pt idx="47">
                  <c:v>5208.266666666666</c:v>
                </c:pt>
                <c:pt idx="48">
                  <c:v>4180.294117647059</c:v>
                </c:pt>
                <c:pt idx="49">
                  <c:v>3238.1875</c:v>
                </c:pt>
                <c:pt idx="50">
                  <c:v>3496.7397260273974</c:v>
                </c:pt>
                <c:pt idx="51">
                  <c:v>2456.7441860465115</c:v>
                </c:pt>
                <c:pt idx="52">
                  <c:v>2362.303370786517</c:v>
                </c:pt>
                <c:pt idx="53">
                  <c:v>2162.531914893617</c:v>
                </c:pt>
                <c:pt idx="54">
                  <c:v>2418.6506024096384</c:v>
                </c:pt>
                <c:pt idx="55">
                  <c:v>2075.012987012987</c:v>
                </c:pt>
                <c:pt idx="56">
                  <c:v>1613.590909090909</c:v>
                </c:pt>
                <c:pt idx="57">
                  <c:v>2146.6</c:v>
                </c:pt>
                <c:pt idx="58">
                  <c:v>1182.2716049382716</c:v>
                </c:pt>
                <c:pt idx="59">
                  <c:v>1204.2388059701493</c:v>
                </c:pt>
                <c:pt idx="60">
                  <c:v>1200.955223880597</c:v>
                </c:pt>
                <c:pt idx="61">
                  <c:v>2884.0</c:v>
                </c:pt>
                <c:pt idx="62">
                  <c:v>833.7349397590361</c:v>
                </c:pt>
                <c:pt idx="63">
                  <c:v>2016.586206896552</c:v>
                </c:pt>
                <c:pt idx="64">
                  <c:v>960.5762711864406</c:v>
                </c:pt>
                <c:pt idx="65">
                  <c:v>1996.7916666666667</c:v>
                </c:pt>
                <c:pt idx="66">
                  <c:v>574.225</c:v>
                </c:pt>
                <c:pt idx="67">
                  <c:v>2615.529411764706</c:v>
                </c:pt>
                <c:pt idx="68">
                  <c:v>624.3428571428572</c:v>
                </c:pt>
                <c:pt idx="69">
                  <c:v>1850.8695652173913</c:v>
                </c:pt>
                <c:pt idx="70">
                  <c:v>3006.3571428571427</c:v>
                </c:pt>
                <c:pt idx="71">
                  <c:v>2887.571428571428</c:v>
                </c:pt>
                <c:pt idx="72">
                  <c:v>553.0857142857143</c:v>
                </c:pt>
                <c:pt idx="73">
                  <c:v>880.45</c:v>
                </c:pt>
                <c:pt idx="74">
                  <c:v>464.8142857142857</c:v>
                </c:pt>
                <c:pt idx="75">
                  <c:v>990.84</c:v>
                </c:pt>
                <c:pt idx="76">
                  <c:v>631.8387096774194</c:v>
                </c:pt>
                <c:pt idx="77">
                  <c:v>1679.7777777777778</c:v>
                </c:pt>
                <c:pt idx="78">
                  <c:v>372.55263157894734</c:v>
                </c:pt>
                <c:pt idx="79">
                  <c:v>8011.0</c:v>
                </c:pt>
                <c:pt idx="80">
                  <c:v>3721.0</c:v>
                </c:pt>
                <c:pt idx="81">
                  <c:v>76.08333333333333</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84</c:f>
              <c:strCache>
                <c:ptCount val="83"/>
                <c:pt idx="0">
                  <c:v>Mini Babybel Rouge Filet St Paulin Ferme 1X264Gr 12P</c:v>
                </c:pt>
                <c:pt idx="1">
                  <c:v>La Vache Qui Rit Nature Fromage Fondu Boite Ronde 1X512Gr 32P</c:v>
                </c:pt>
                <c:pt idx="2">
                  <c:v>La Vache Qui Rit Nature Fromage Fondu Boite Ronde 1X192Gr 12P</c:v>
                </c:pt>
                <c:pt idx="3">
                  <c:v>La Vache Qui Rit Nature Fromage Fondu Boite Ronde 1X384Gr 24P</c:v>
                </c:pt>
                <c:pt idx="4">
                  <c:v>Mini Babybel Rouge Filet St Paulin Ferme 1X132Gr 6P</c:v>
                </c:pt>
                <c:pt idx="5">
                  <c:v>Kiri Creme Fromage Blanc Frais Carre 1X432Gr 24P</c:v>
                </c:pt>
                <c:pt idx="6">
                  <c:v>Kiri Creme Fromage Blanc Frais Carre 1X216Gr 12P</c:v>
                </c:pt>
                <c:pt idx="7">
                  <c:v>Apericube Edition Limitee Best Of Foot Fromage Fondu Cube Assortis 1X250Gr 48P</c:v>
                </c:pt>
                <c:pt idx="8">
                  <c:v>Apericube Cocktail Fromage Fondu Cube Assortis 1X250Gr 48P</c:v>
                </c:pt>
                <c:pt idx="9">
                  <c:v>Apericube Long Drink Fromage Fondu Cube Assortis 1X250Gr 48P</c:v>
                </c:pt>
                <c:pt idx="10">
                  <c:v>Boursin Classique Fromage Frais A Tartiner Afh Boite 1X250Gr 1P</c:v>
                </c:pt>
                <c:pt idx="11">
                  <c:v>Apericube Incontournable Fromage Fondu Cube Assortis 1X250Gr 48P</c:v>
                </c:pt>
                <c:pt idx="12">
                  <c:v>Apericube Tonic Fromage Fondu Cube Assortis 1X250Gr 48P</c:v>
                </c:pt>
                <c:pt idx="13">
                  <c:v>Kiri Gouter Fromage Blanc Dips Boite 1X280Gr 8P</c:v>
                </c:pt>
                <c:pt idx="14">
                  <c:v>Boursin Classique Fromage Frais A Tartiner Afh 1X160Gr 10P</c:v>
                </c:pt>
                <c:pt idx="15">
                  <c:v>Mini Babybel Rouge Filet St Paulin Ferme 1X440Gr 20P</c:v>
                </c:pt>
                <c:pt idx="16">
                  <c:v>Boursin Aperitif Roules Fromage Frais Roule Afh Et Jambon Fume Boite 1X100Gr 20P</c:v>
                </c:pt>
                <c:pt idx="17">
                  <c:v>Port Salut St Paulin 1X320Gr 1P</c:v>
                </c:pt>
                <c:pt idx="18">
                  <c:v>Boursin Classique Fromage Frais A Tartiner Afh Boite 1X150Gr 1P</c:v>
                </c:pt>
                <c:pt idx="19">
                  <c:v>Kiri Creme Fromage Blanc Frais Carre 1X144Gr 8P</c:v>
                </c:pt>
                <c:pt idx="20">
                  <c:v>Apericube Edition Limitee Saison Fromage Fondu Cube Assortis 1X250Gr 48P</c:v>
                </c:pt>
                <c:pt idx="21">
                  <c:v>Apericube Nature Fromage Fondu Cube 1X125Gr 24P</c:v>
                </c:pt>
                <c:pt idx="22">
                  <c:v>Kiri Gouter Fromage Blanc Dips Boite 1X175Gr 5P</c:v>
                </c:pt>
                <c:pt idx="23">
                  <c:v>Apericube Edition Voyage Fromage Fondu Cube Assortis 1X250Gr 48P</c:v>
                </c:pt>
                <c:pt idx="24">
                  <c:v>La Vache Qui Rit Pik Et Croq' Fromage Fondu Dips Boite 1X280Gr 8P</c:v>
                </c:pt>
                <c:pt idx="25">
                  <c:v>Babybel St Paulin 1X200Gr 1P</c:v>
                </c:pt>
                <c:pt idx="26">
                  <c:v>La Vache Qui Rit Pik Et Croq' Fromage Fondu Dips Boite 1X175Gr 5P</c:v>
                </c:pt>
                <c:pt idx="27">
                  <c:v>Boursin Aperitif Roules Fromage Frais Roule Ciboulette &amp; Echalote Jambon Fume Boite 1X100Gr 20P</c:v>
                </c:pt>
                <c:pt idx="28">
                  <c:v>Cousteron St Paulin 1X320Gr 1P</c:v>
                </c:pt>
                <c:pt idx="29">
                  <c:v>Apericube Saveurs De L'Authentique Fromage Fondu Cube Assortis 1X250Gr 48P</c:v>
                </c:pt>
                <c:pt idx="30">
                  <c:v>Apericube Campagne Fromage Fondu Cube Assortis 1X125Gr 24P</c:v>
                </c:pt>
                <c:pt idx="31">
                  <c:v>Boursin Salade &amp; Aperitif Fromage Frais Des Afh 1X120Gr 1P</c:v>
                </c:pt>
                <c:pt idx="32">
                  <c:v>Boursin Classique Fromage Frais A Tartiner Afh 1X256Gr 16P</c:v>
                </c:pt>
                <c:pt idx="33">
                  <c:v>Boursin Onctueux Fromage Frais A Tartiner Afh 1X125Gr 1P</c:v>
                </c:pt>
                <c:pt idx="34">
                  <c:v>Boursin Classique Fromage Frais A Tartiner Afh Boite 1X96Gr 6P</c:v>
                </c:pt>
                <c:pt idx="35">
                  <c:v>Boursin Classique Fromage Frais A Tartiner Figue Et 3 Noix Boite 1X150Gr 1P</c:v>
                </c:pt>
                <c:pt idx="36">
                  <c:v>La Vache Qui Rit Allegee Fromage Fondu Boite Ronde Allege 1X267Gr 16P</c:v>
                </c:pt>
                <c:pt idx="37">
                  <c:v>Babybel Mini Rolls St Paulin Ferme Sachet 1X85Gr 5P</c:v>
                </c:pt>
                <c:pt idx="38">
                  <c:v>Boursin Aperitif Roules Fromage Frais Roule Basilic &amp; Jambon Fume Tomate Boite 1X100Gr 20P</c:v>
                </c:pt>
                <c:pt idx="39">
                  <c:v>Apericube Long Drink Fromage Fondu Cube Assortis 1X125Gr 24P</c:v>
                </c:pt>
                <c:pt idx="40">
                  <c:v>Boursin Classique Fromage Frais A Tartiner Ciboulette &amp; Echalote Boite 1X150Gr 1P</c:v>
                </c:pt>
                <c:pt idx="41">
                  <c:v>Mini Babybel Aros St Paulin Ferme Assortis Filet 1X180Gr 9P</c:v>
                </c:pt>
                <c:pt idx="42">
                  <c:v>Boursin Classique Fromage Frais A Tartiner Poivre Boite 1X150Gr 1P</c:v>
                </c:pt>
                <c:pt idx="43">
                  <c:v>Boursin Cuisine Sauce Fromage Afh 1X240Gr 1P</c:v>
                </c:pt>
                <c:pt idx="44">
                  <c:v>Kiri Delicieusement Fouette Fromage Frais A Tartiner 1X125Gr 1P</c:v>
                </c:pt>
                <c:pt idx="45">
                  <c:v>La Vache Qui Rit Aro Fromage Fondu Boite Ronde Jambon 1X133Gr 8P</c:v>
                </c:pt>
                <c:pt idx="46">
                  <c:v>Boursin Classique Fromage Frais A Tartiner Ciboulette &amp; Echalote 1X160Gr 10P</c:v>
                </c:pt>
                <c:pt idx="47">
                  <c:v>Kiri Bio Fromage Blanc Frais Carre 1X144Gr 8P</c:v>
                </c:pt>
                <c:pt idx="48">
                  <c:v>Mini Babybel Aros Soft Cheese Enfant 180G</c:v>
                </c:pt>
                <c:pt idx="49">
                  <c:v>Apericube Soiree Match Aperitif 250G</c:v>
                </c:pt>
                <c:pt idx="50">
                  <c:v>Kiri Chevre Fromage Blanc Frais Carre 1X144Gr 8P</c:v>
                </c:pt>
                <c:pt idx="51">
                  <c:v>Kiri Delicieusement Fouette Fromage Frais A Tartiner 1X160Gr 10P</c:v>
                </c:pt>
                <c:pt idx="52">
                  <c:v>Boursin Salade &amp; Aperitif Fromage Frais Des Ciboulette Echalote 1X120Gr 1P</c:v>
                </c:pt>
                <c:pt idx="53">
                  <c:v>Mini Babybel Rouge Filet St Paulin Ferme 1X396Gr 12+6P</c:v>
                </c:pt>
                <c:pt idx="54">
                  <c:v>Mini Babybel Aros St Paulin Ferme Raclette Filet 1X132Gr 6P</c:v>
                </c:pt>
                <c:pt idx="55">
                  <c:v>Kiri Creme Fromage Blanc Frais Carre 1X432Gr 18+6P</c:v>
                </c:pt>
                <c:pt idx="56">
                  <c:v>Boursin Salade &amp; Aperitif Fromage Frais Des Figue Noix 1X120Gr 1P</c:v>
                </c:pt>
                <c:pt idx="57">
                  <c:v>Nurishh Les Tranches Vegetales Cheddar Vegetal Tranche Boite 1X160Gr 8P</c:v>
                </c:pt>
                <c:pt idx="58">
                  <c:v>Apericube Best Of Des Saveurs Fromage Fondu Cube Assortis 1X125Gr 24P</c:v>
                </c:pt>
                <c:pt idx="59">
                  <c:v>Nurishh Le Rape Vegetal Specialite Vegetale Sachet 1X150Gr 1P</c:v>
                </c:pt>
                <c:pt idx="60">
                  <c:v>Apericube Hot Chalenge Aperitif 250G</c:v>
                </c:pt>
                <c:pt idx="61">
                  <c:v>Apericube Fromages Du Monde Aperitif 250G</c:v>
                </c:pt>
                <c:pt idx="62">
                  <c:v>Nurishh Le Rape Vegetal Specialite Vegetale Emmental Sachet 1X150Gr 1P</c:v>
                </c:pt>
                <c:pt idx="63">
                  <c:v>Boursin Classique Fromage Frais A Tartiner Afh Boite 1X80Gr 1P</c:v>
                </c:pt>
                <c:pt idx="64">
                  <c:v>Nurishh Le Coeur Fleuri Vegetal Camembert Boite 1X140Gr 1P</c:v>
                </c:pt>
                <c:pt idx="65">
                  <c:v>Nurishh Le Palet Vegetal Specialite Vegetale Ovale Saveur Chevre Boite 1X140Gr 1P</c:v>
                </c:pt>
                <c:pt idx="66">
                  <c:v>Apericube Montagne Aperitif 250G</c:v>
                </c:pt>
                <c:pt idx="67">
                  <c:v>Boursin Salade &amp; Aperitif Fromage Frais Des Citron Romarin 1X120Gr 1P</c:v>
                </c:pt>
                <c:pt idx="68">
                  <c:v>Mini Babybel Aros Soft Cheese Enfant 110G</c:v>
                </c:pt>
                <c:pt idx="69">
                  <c:v>Nurishh Des Vegetaux Feta Vegetale Sachet 1X150Gr 1P</c:v>
                </c:pt>
                <c:pt idx="70">
                  <c:v>Boursin Salade &amp; Aperitif Fromage Frais Des Noisette Et 3 Noix 1X120Gr 1P</c:v>
                </c:pt>
                <c:pt idx="71">
                  <c:v>Boursin Aperitif Roules Fromage Frais Roule Jambon Fume &amp; Trio De Noix Boite 1X100Gr 20P</c:v>
                </c:pt>
                <c:pt idx="72">
                  <c:v>Boursin Classique Fromage Frais A Tartiner Truffe Boite 1X150Gr 1P</c:v>
                </c:pt>
                <c:pt idx="73">
                  <c:v>Boursin Salade &amp; Aperitif Soft Cheese Salade 120G</c:v>
                </c:pt>
                <c:pt idx="74">
                  <c:v>Boursin Aperitif Roules Aperitif 100G</c:v>
                </c:pt>
                <c:pt idx="75">
                  <c:v>La Vache Qui Rit Nature Fromage Fondu Boite Ronde 1X512Gr 24+8P</c:v>
                </c:pt>
                <c:pt idx="76">
                  <c:v>Mini Babybel Rouge Filet St Paulin Ferme Sachet 1X40Gr 1P</c:v>
                </c:pt>
                <c:pt idx="77">
                  <c:v>Mini Babybel Bio St Paulin Ferme Filet 1X100Gr 5P</c:v>
                </c:pt>
                <c:pt idx="78">
                  <c:v>Kiri Delicieusement Fouette Fromage Frais A Tartiner 1X210Gr 1P</c:v>
                </c:pt>
                <c:pt idx="79">
                  <c:v>Limiano Queijo Flamengo Bloc 1X600Gr 1P</c:v>
                </c:pt>
                <c:pt idx="80">
                  <c:v>Limiano Queijo Flamengo Tranche Sachet 1X200Gr 1P</c:v>
                </c:pt>
                <c:pt idx="81">
                  <c:v>La Vache Qui Rit Nature Fromage Fondu Boite Ronde 1X128Gr 8P</c:v>
                </c:pt>
                <c:pt idx="82">
                  <c:v>Apericube Carrement Toque Fromage Fondu Cube Assortis 1X250Gr 48P</c:v>
                </c:pt>
              </c:strCache>
            </c:strRef>
          </c:cat>
          <c:val>
            <c:numRef>
              <c:f>Sheet1!$B$2:$B$84</c:f>
              <c:numCache>
                <c:formatCode>General</c:formatCode>
                <c:ptCount val="83"/>
                <c:pt idx="0">
                  <c:v>1.0</c:v>
                </c:pt>
                <c:pt idx="1">
                  <c:v>0.99</c:v>
                </c:pt>
                <c:pt idx="2">
                  <c:v>1.0</c:v>
                </c:pt>
                <c:pt idx="3">
                  <c:v>1.0</c:v>
                </c:pt>
                <c:pt idx="4">
                  <c:v>1.0</c:v>
                </c:pt>
                <c:pt idx="5">
                  <c:v>0.99</c:v>
                </c:pt>
                <c:pt idx="6">
                  <c:v>1.0</c:v>
                </c:pt>
                <c:pt idx="7">
                  <c:v>1.0</c:v>
                </c:pt>
                <c:pt idx="8">
                  <c:v>1.0</c:v>
                </c:pt>
                <c:pt idx="9">
                  <c:v>0.99</c:v>
                </c:pt>
                <c:pt idx="10">
                  <c:v>1.0</c:v>
                </c:pt>
                <c:pt idx="11">
                  <c:v>1.0</c:v>
                </c:pt>
                <c:pt idx="12">
                  <c:v>0.99</c:v>
                </c:pt>
                <c:pt idx="13">
                  <c:v>0.99</c:v>
                </c:pt>
                <c:pt idx="14">
                  <c:v>1.0</c:v>
                </c:pt>
                <c:pt idx="15">
                  <c:v>0.98</c:v>
                </c:pt>
                <c:pt idx="16">
                  <c:v>0.99</c:v>
                </c:pt>
                <c:pt idx="17">
                  <c:v>1.0</c:v>
                </c:pt>
                <c:pt idx="18">
                  <c:v>1.0</c:v>
                </c:pt>
                <c:pt idx="19">
                  <c:v>1.0</c:v>
                </c:pt>
                <c:pt idx="20">
                  <c:v>0.99</c:v>
                </c:pt>
                <c:pt idx="21">
                  <c:v>0.99</c:v>
                </c:pt>
                <c:pt idx="22">
                  <c:v>1.0</c:v>
                </c:pt>
                <c:pt idx="23">
                  <c:v>0.99</c:v>
                </c:pt>
                <c:pt idx="24">
                  <c:v>0.98</c:v>
                </c:pt>
                <c:pt idx="25">
                  <c:v>1.0</c:v>
                </c:pt>
                <c:pt idx="26">
                  <c:v>0.99</c:v>
                </c:pt>
                <c:pt idx="27">
                  <c:v>0.99</c:v>
                </c:pt>
                <c:pt idx="28">
                  <c:v>1.0</c:v>
                </c:pt>
                <c:pt idx="29">
                  <c:v>0.98</c:v>
                </c:pt>
                <c:pt idx="30">
                  <c:v>0.99</c:v>
                </c:pt>
                <c:pt idx="31">
                  <c:v>1.0</c:v>
                </c:pt>
                <c:pt idx="32">
                  <c:v>0.99</c:v>
                </c:pt>
                <c:pt idx="33">
                  <c:v>0.99</c:v>
                </c:pt>
                <c:pt idx="34">
                  <c:v>0.99</c:v>
                </c:pt>
                <c:pt idx="35">
                  <c:v>1.0</c:v>
                </c:pt>
                <c:pt idx="36">
                  <c:v>0.97</c:v>
                </c:pt>
                <c:pt idx="37">
                  <c:v>0.97</c:v>
                </c:pt>
                <c:pt idx="38">
                  <c:v>0.98</c:v>
                </c:pt>
                <c:pt idx="39">
                  <c:v>0.98</c:v>
                </c:pt>
                <c:pt idx="40">
                  <c:v>1.0</c:v>
                </c:pt>
                <c:pt idx="41">
                  <c:v>0.97</c:v>
                </c:pt>
                <c:pt idx="42">
                  <c:v>0.99</c:v>
                </c:pt>
                <c:pt idx="43">
                  <c:v>0.96</c:v>
                </c:pt>
                <c:pt idx="44">
                  <c:v>0.99</c:v>
                </c:pt>
                <c:pt idx="45">
                  <c:v>0.92</c:v>
                </c:pt>
                <c:pt idx="46">
                  <c:v>0.98</c:v>
                </c:pt>
                <c:pt idx="47">
                  <c:v>0.87</c:v>
                </c:pt>
                <c:pt idx="48">
                  <c:v>0.95</c:v>
                </c:pt>
                <c:pt idx="49">
                  <c:v>0.96</c:v>
                </c:pt>
                <c:pt idx="50">
                  <c:v>0.88</c:v>
                </c:pt>
                <c:pt idx="51">
                  <c:v>0.98</c:v>
                </c:pt>
                <c:pt idx="52">
                  <c:v>0.95</c:v>
                </c:pt>
                <c:pt idx="53">
                  <c:v>0.92</c:v>
                </c:pt>
                <c:pt idx="54">
                  <c:v>0.95</c:v>
                </c:pt>
                <c:pt idx="55">
                  <c:v>0.94</c:v>
                </c:pt>
                <c:pt idx="56">
                  <c:v>0.97</c:v>
                </c:pt>
                <c:pt idx="57">
                  <c:v>0.89</c:v>
                </c:pt>
                <c:pt idx="58">
                  <c:v>0.88</c:v>
                </c:pt>
                <c:pt idx="59">
                  <c:v>0.85</c:v>
                </c:pt>
                <c:pt idx="60">
                  <c:v>0.8</c:v>
                </c:pt>
                <c:pt idx="61">
                  <c:v>0.7</c:v>
                </c:pt>
                <c:pt idx="62">
                  <c:v>0.84</c:v>
                </c:pt>
                <c:pt idx="63">
                  <c:v>0.7</c:v>
                </c:pt>
                <c:pt idx="64">
                  <c:v>0.75</c:v>
                </c:pt>
                <c:pt idx="65">
                  <c:v>0.73</c:v>
                </c:pt>
                <c:pt idx="66">
                  <c:v>0.68</c:v>
                </c:pt>
                <c:pt idx="67">
                  <c:v>0.93</c:v>
                </c:pt>
                <c:pt idx="68">
                  <c:v>0.9</c:v>
                </c:pt>
                <c:pt idx="69">
                  <c:v>0.82</c:v>
                </c:pt>
                <c:pt idx="70">
                  <c:v>0.99</c:v>
                </c:pt>
                <c:pt idx="71">
                  <c:v>0.96</c:v>
                </c:pt>
                <c:pt idx="72">
                  <c:v>0.92</c:v>
                </c:pt>
                <c:pt idx="73">
                  <c:v>0.73</c:v>
                </c:pt>
                <c:pt idx="74">
                  <c:v>0.86</c:v>
                </c:pt>
                <c:pt idx="75">
                  <c:v>0.32</c:v>
                </c:pt>
                <c:pt idx="76">
                  <c:v>0.24</c:v>
                </c:pt>
                <c:pt idx="77">
                  <c:v>0.55</c:v>
                </c:pt>
                <c:pt idx="78">
                  <c:v>0.64</c:v>
                </c:pt>
                <c:pt idx="79">
                  <c:v>0.03</c:v>
                </c:pt>
                <c:pt idx="80">
                  <c:v>0.02</c:v>
                </c:pt>
                <c:pt idx="81">
                  <c:v>0.13</c:v>
                </c:pt>
                <c:pt idx="82">
                  <c:v>0.01</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00A097"/>
              </a:solidFill>
            </c:spPr>
            <c:extLst>
              <c:ext xmlns:c16="http://schemas.microsoft.com/office/drawing/2014/chart" uri="{C3380CC4-5D6E-409C-BE32-E72D297353CC}">
                <c16:uniqueId val="{00000023-FA3E-4872-B6E1-C4ABDF5766E2}"/>
              </c:ext>
            </c:extLst>
          </c:dPt>
          <c:dPt>
            <c:idx val="17"/>
            <c:invertIfNegative val="1"/>
            <c:bubble3D val="0"/>
            <c:spPr>
              <a:solidFill>
                <a:srgbClr val="00A097"/>
              </a:solidFill>
            </c:spPr>
            <c:extLst>
              <c:ext xmlns:c16="http://schemas.microsoft.com/office/drawing/2014/chart" uri="{C3380CC4-5D6E-409C-BE32-E72D297353CC}">
                <c16:uniqueId val="{00000025-FA3E-4872-B6E1-C4ABDF5766E2}"/>
              </c:ext>
            </c:extLst>
          </c:dPt>
          <c:dPt>
            <c:idx val="18"/>
            <c:invertIfNegative val="1"/>
            <c:bubble3D val="0"/>
            <c:spPr>
              <a:solidFill>
                <a:srgbClr val="00A097"/>
              </a:solidFill>
            </c:spPr>
            <c:extLst>
              <c:ext xmlns:c16="http://schemas.microsoft.com/office/drawing/2014/chart" uri="{C3380CC4-5D6E-409C-BE32-E72D297353CC}">
                <c16:uniqueId val="{00000027-FA3E-4872-B6E1-C4ABDF5766E2}"/>
              </c:ext>
            </c:extLst>
          </c:dPt>
          <c:dPt>
            <c:idx val="19"/>
            <c:invertIfNegative val="1"/>
            <c:bubble3D val="0"/>
            <c:spPr>
              <a:solidFill>
                <a:srgbClr val="00A097"/>
              </a:solidFill>
            </c:spPr>
            <c:extLst>
              <c:ext xmlns:c16="http://schemas.microsoft.com/office/drawing/2014/chart" uri="{C3380CC4-5D6E-409C-BE32-E72D297353CC}">
                <c16:uniqueId val="{00000029-FA3E-4872-B6E1-C4ABDF5766E2}"/>
              </c:ext>
            </c:extLst>
          </c:dPt>
          <c:dPt>
            <c:idx val="20"/>
            <c:invertIfNegative val="1"/>
            <c:bubble3D val="0"/>
            <c:spPr>
              <a:solidFill>
                <a:srgbClr val="00A097"/>
              </a:solidFill>
            </c:spPr>
            <c:extLst>
              <c:ext xmlns:c16="http://schemas.microsoft.com/office/drawing/2014/chart" uri="{C3380CC4-5D6E-409C-BE32-E72D297353CC}">
                <c16:uniqueId val="{0000002B-FA3E-4872-B6E1-C4ABDF5766E2}"/>
              </c:ext>
            </c:extLst>
          </c:dPt>
          <c:dPt>
            <c:idx val="21"/>
            <c:invertIfNegative val="1"/>
            <c:bubble3D val="0"/>
            <c:spPr>
              <a:solidFill>
                <a:srgbClr val="00A097"/>
              </a:solidFill>
            </c:spPr>
            <c:extLst>
              <c:ext xmlns:c16="http://schemas.microsoft.com/office/drawing/2014/chart" uri="{C3380CC4-5D6E-409C-BE32-E72D297353CC}">
                <c16:uniqueId val="{0000002D-FA3E-4872-B6E1-C4ABDF5766E2}"/>
              </c:ext>
            </c:extLst>
          </c:dPt>
          <c:dPt>
            <c:idx val="22"/>
            <c:invertIfNegative val="1"/>
            <c:bubble3D val="0"/>
            <c:spPr>
              <a:solidFill>
                <a:srgbClr val="00A097"/>
              </a:solidFill>
            </c:spPr>
            <c:extLst>
              <c:ext xmlns:c16="http://schemas.microsoft.com/office/drawing/2014/chart" uri="{C3380CC4-5D6E-409C-BE32-E72D297353CC}">
                <c16:uniqueId val="{0000002F-FA3E-4872-B6E1-C4ABDF5766E2}"/>
              </c:ext>
            </c:extLst>
          </c:dPt>
          <c:dPt>
            <c:idx val="23"/>
            <c:invertIfNegative val="1"/>
            <c:bubble3D val="0"/>
            <c:spPr>
              <a:solidFill>
                <a:srgbClr val="00A097"/>
              </a:solidFill>
            </c:spPr>
            <c:extLst>
              <c:ext xmlns:c16="http://schemas.microsoft.com/office/drawing/2014/chart" uri="{C3380CC4-5D6E-409C-BE32-E72D297353CC}">
                <c16:uniqueId val="{00000031-FA3E-4872-B6E1-C4ABDF5766E2}"/>
              </c:ext>
            </c:extLst>
          </c:dPt>
          <c:dPt>
            <c:idx val="24"/>
            <c:invertIfNegative val="1"/>
            <c:bubble3D val="0"/>
            <c:spPr>
              <a:solidFill>
                <a:srgbClr val="00A097"/>
              </a:solidFill>
            </c:spPr>
            <c:extLst>
              <c:ext xmlns:c16="http://schemas.microsoft.com/office/drawing/2014/chart" uri="{C3380CC4-5D6E-409C-BE32-E72D297353CC}">
                <c16:uniqueId val="{00000033-FA3E-4872-B6E1-C4ABDF5766E2}"/>
              </c:ext>
            </c:extLst>
          </c:dPt>
          <c:dPt>
            <c:idx val="25"/>
            <c:invertIfNegative val="1"/>
            <c:bubble3D val="0"/>
            <c:spPr>
              <a:solidFill>
                <a:srgbClr val="00A097"/>
              </a:solidFill>
            </c:spPr>
            <c:extLst>
              <c:ext xmlns:c16="http://schemas.microsoft.com/office/drawing/2014/chart" uri="{C3380CC4-5D6E-409C-BE32-E72D297353CC}">
                <c16:uniqueId val="{00000035-FA3E-4872-B6E1-C4ABDF5766E2}"/>
              </c:ext>
            </c:extLst>
          </c:dPt>
          <c:dPt>
            <c:idx val="26"/>
            <c:invertIfNegative val="1"/>
            <c:bubble3D val="0"/>
            <c:spPr>
              <a:solidFill>
                <a:srgbClr val="00A097"/>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7ECAC4"/>
              </a:solidFill>
            </c:spPr>
            <c:extLst>
              <c:ext xmlns:c16="http://schemas.microsoft.com/office/drawing/2014/chart" uri="{C3380CC4-5D6E-409C-BE32-E72D297353CC}">
                <c16:uniqueId val="{0000003F-FA3E-4872-B6E1-C4ABDF5766E2}"/>
              </c:ext>
            </c:extLst>
          </c:dPt>
          <c:dPt>
            <c:idx val="31"/>
            <c:invertIfNegative val="1"/>
            <c:bubble3D val="0"/>
            <c:spPr>
              <a:solidFill>
                <a:srgbClr val="7ECAC4"/>
              </a:solidFill>
            </c:spPr>
            <c:extLst>
              <c:ext xmlns:c16="http://schemas.microsoft.com/office/drawing/2014/chart" uri="{C3380CC4-5D6E-409C-BE32-E72D297353CC}">
                <c16:uniqueId val="{00000041-FA3E-4872-B6E1-C4ABDF5766E2}"/>
              </c:ext>
            </c:extLst>
          </c:dPt>
          <c:dPt>
            <c:idx val="32"/>
            <c:invertIfNegative val="1"/>
            <c:bubble3D val="0"/>
            <c:spPr>
              <a:solidFill>
                <a:srgbClr val="7ECAC4"/>
              </a:solidFill>
            </c:spPr>
            <c:extLst>
              <c:ext xmlns:c16="http://schemas.microsoft.com/office/drawing/2014/chart" uri="{C3380CC4-5D6E-409C-BE32-E72D297353CC}">
                <c16:uniqueId val="{00000043-FA3E-4872-B6E1-C4ABDF5766E2}"/>
              </c:ext>
            </c:extLst>
          </c:dPt>
          <c:dPt>
            <c:idx val="33"/>
            <c:invertIfNegative val="1"/>
            <c:bubble3D val="0"/>
            <c:spPr>
              <a:solidFill>
                <a:srgbClr val="7ECAC4"/>
              </a:solidFill>
            </c:spPr>
            <c:extLst>
              <c:ext xmlns:c16="http://schemas.microsoft.com/office/drawing/2014/chart" uri="{C3380CC4-5D6E-409C-BE32-E72D297353CC}">
                <c16:uniqueId val="{00000045-FA3E-4872-B6E1-C4ABDF5766E2}"/>
              </c:ext>
            </c:extLst>
          </c:dPt>
          <c:dPt>
            <c:idx val="34"/>
            <c:invertIfNegative val="1"/>
            <c:bubble3D val="0"/>
            <c:spPr>
              <a:solidFill>
                <a:srgbClr val="7ECAC4"/>
              </a:solidFill>
            </c:spPr>
            <c:extLst>
              <c:ext xmlns:c16="http://schemas.microsoft.com/office/drawing/2014/chart" uri="{C3380CC4-5D6E-409C-BE32-E72D297353CC}">
                <c16:uniqueId val="{00000047-FA3E-4872-B6E1-C4ABDF5766E2}"/>
              </c:ext>
            </c:extLst>
          </c:dPt>
          <c:dPt>
            <c:idx val="35"/>
            <c:invertIfNegative val="1"/>
            <c:bubble3D val="0"/>
            <c:spPr>
              <a:solidFill>
                <a:srgbClr val="7ECAC4"/>
              </a:solidFill>
            </c:spPr>
            <c:extLst>
              <c:ext xmlns:c16="http://schemas.microsoft.com/office/drawing/2014/chart" uri="{C3380CC4-5D6E-409C-BE32-E72D297353CC}">
                <c16:uniqueId val="{00000049-FA3E-4872-B6E1-C4ABDF5766E2}"/>
              </c:ext>
            </c:extLst>
          </c:dPt>
          <c:dPt>
            <c:idx val="36"/>
            <c:invertIfNegative val="1"/>
            <c:bubble3D val="0"/>
            <c:spPr>
              <a:solidFill>
                <a:srgbClr val="7ECAC4"/>
              </a:solidFill>
            </c:spPr>
            <c:extLst>
              <c:ext xmlns:c16="http://schemas.microsoft.com/office/drawing/2014/chart" uri="{C3380CC4-5D6E-409C-BE32-E72D297353CC}">
                <c16:uniqueId val="{0000004B-FA3E-4872-B6E1-C4ABDF5766E2}"/>
              </c:ext>
            </c:extLst>
          </c:dPt>
          <c:dPt>
            <c:idx val="37"/>
            <c:invertIfNegative val="1"/>
            <c:bubble3D val="0"/>
            <c:spPr>
              <a:solidFill>
                <a:srgbClr val="7ECAC4"/>
              </a:solidFill>
            </c:spPr>
            <c:extLst>
              <c:ext xmlns:c16="http://schemas.microsoft.com/office/drawing/2014/chart" uri="{C3380CC4-5D6E-409C-BE32-E72D297353CC}">
                <c16:uniqueId val="{0000004D-FA3E-4872-B6E1-C4ABDF5766E2}"/>
              </c:ext>
            </c:extLst>
          </c:dPt>
          <c:dPt>
            <c:idx val="38"/>
            <c:invertIfNegative val="1"/>
            <c:bubble3D val="0"/>
            <c:spPr>
              <a:solidFill>
                <a:srgbClr val="7ECAC4"/>
              </a:solidFill>
            </c:spPr>
            <c:extLst>
              <c:ext xmlns:c16="http://schemas.microsoft.com/office/drawing/2014/chart" uri="{C3380CC4-5D6E-409C-BE32-E72D297353CC}">
                <c16:uniqueId val="{0000004F-FA3E-4872-B6E1-C4ABDF5766E2}"/>
              </c:ext>
            </c:extLst>
          </c:dPt>
          <c:dPt>
            <c:idx val="39"/>
            <c:invertIfNegative val="1"/>
            <c:bubble3D val="0"/>
            <c:spPr>
              <a:solidFill>
                <a:srgbClr val="7ECAC4"/>
              </a:solidFill>
            </c:spPr>
            <c:extLst>
              <c:ext xmlns:c16="http://schemas.microsoft.com/office/drawing/2014/chart" uri="{C3380CC4-5D6E-409C-BE32-E72D297353CC}">
                <c16:uniqueId val="{00000051-FA3E-4872-B6E1-C4ABDF5766E2}"/>
              </c:ext>
            </c:extLst>
          </c:dPt>
          <c:dPt>
            <c:idx val="40"/>
            <c:invertIfNegative val="1"/>
            <c:bubble3D val="0"/>
            <c:spPr>
              <a:solidFill>
                <a:srgbClr val="7ECAC4"/>
              </a:solidFill>
            </c:spPr>
            <c:extLst>
              <c:ext xmlns:c16="http://schemas.microsoft.com/office/drawing/2014/chart" uri="{C3380CC4-5D6E-409C-BE32-E72D297353CC}">
                <c16:uniqueId val="{00000053-FA3E-4872-B6E1-C4ABDF5766E2}"/>
              </c:ext>
            </c:extLst>
          </c:dPt>
          <c:dPt>
            <c:idx val="41"/>
            <c:invertIfNegative val="1"/>
            <c:bubble3D val="0"/>
            <c:spPr>
              <a:solidFill>
                <a:srgbClr val="7ECAC4"/>
              </a:solidFill>
            </c:spPr>
            <c:extLst>
              <c:ext xmlns:c16="http://schemas.microsoft.com/office/drawing/2014/chart" uri="{C3380CC4-5D6E-409C-BE32-E72D297353CC}">
                <c16:uniqueId val="{00000055-FA3E-4872-B6E1-C4ABDF5766E2}"/>
              </c:ext>
            </c:extLst>
          </c:dPt>
          <c:dPt>
            <c:idx val="42"/>
            <c:invertIfNegative val="1"/>
            <c:bubble3D val="0"/>
            <c:spPr>
              <a:solidFill>
                <a:srgbClr val="7ECAC4"/>
              </a:solidFill>
            </c:spPr>
            <c:extLst>
              <c:ext xmlns:c16="http://schemas.microsoft.com/office/drawing/2014/chart" uri="{C3380CC4-5D6E-409C-BE32-E72D297353CC}">
                <c16:uniqueId val="{00000057-FA3E-4872-B6E1-C4ABDF5766E2}"/>
              </c:ext>
            </c:extLst>
          </c:dPt>
          <c:dPt>
            <c:idx val="43"/>
            <c:invertIfNegative val="1"/>
            <c:bubble3D val="0"/>
            <c:spPr>
              <a:solidFill>
                <a:srgbClr val="7ECAC4"/>
              </a:solidFill>
            </c:spPr>
            <c:extLst>
              <c:ext xmlns:c16="http://schemas.microsoft.com/office/drawing/2014/chart" uri="{C3380CC4-5D6E-409C-BE32-E72D297353CC}">
                <c16:uniqueId val="{00000059-FA3E-4872-B6E1-C4ABDF5766E2}"/>
              </c:ext>
            </c:extLst>
          </c:dPt>
          <c:dPt>
            <c:idx val="44"/>
            <c:spPr>
              <a:solidFill>
                <a:srgbClr val="7ECAC4"/>
              </a:solidFill>
            </c:spPr>
          </c:dPt>
          <c:dPt>
            <c:idx val="45"/>
            <c:spPr>
              <a:solidFill>
                <a:srgbClr val="7ECAC4"/>
              </a:solidFill>
            </c:spPr>
          </c:dPt>
          <c:dPt>
            <c:idx val="46"/>
            <c:spPr>
              <a:solidFill>
                <a:srgbClr val="7ECAC4"/>
              </a:solidFill>
            </c:spPr>
          </c:dPt>
          <c:dPt>
            <c:idx val="47"/>
            <c:spPr>
              <a:solidFill>
                <a:srgbClr val="AEABAB"/>
              </a:solidFill>
            </c:spPr>
          </c:dPt>
          <c:dPt>
            <c:idx val="48"/>
            <c:spPr>
              <a:solidFill>
                <a:srgbClr val="AEABAB"/>
              </a:solidFill>
            </c:spPr>
          </c:dPt>
          <c:dPt>
            <c:idx val="49"/>
            <c:spPr>
              <a:solidFill>
                <a:srgbClr val="AEABAB"/>
              </a:solidFill>
            </c:spPr>
          </c:dPt>
          <c:dPt>
            <c:idx val="50"/>
            <c:spPr>
              <a:solidFill>
                <a:srgbClr val="AEABAB"/>
              </a:solidFill>
            </c:spPr>
          </c:dPt>
          <c:dPt>
            <c:idx val="51"/>
            <c:spPr>
              <a:solidFill>
                <a:srgbClr val="AEABAB"/>
              </a:solidFill>
            </c:spPr>
          </c:dPt>
          <c:dPt>
            <c:idx val="52"/>
            <c:spPr>
              <a:solidFill>
                <a:srgbClr val="AEABAB"/>
              </a:solidFill>
            </c:spPr>
          </c:dPt>
          <c:dPt>
            <c:idx val="53"/>
            <c:spPr>
              <a:solidFill>
                <a:srgbClr val="AEABAB"/>
              </a:solidFill>
            </c:spPr>
          </c:dPt>
          <c:dPt>
            <c:idx val="54"/>
            <c:spPr>
              <a:solidFill>
                <a:srgbClr val="AEABAB"/>
              </a:solidFill>
            </c:spPr>
          </c:dPt>
          <c:dPt>
            <c:idx val="55"/>
            <c:spPr>
              <a:solidFill>
                <a:srgbClr val="AEABAB"/>
              </a:solidFill>
            </c:spPr>
          </c:dPt>
          <c:dPt>
            <c:idx val="56"/>
            <c:spPr>
              <a:solidFill>
                <a:srgbClr val="AEABAB"/>
              </a:solidFill>
            </c:spPr>
          </c:dPt>
          <c:dPt>
            <c:idx val="57"/>
            <c:spPr>
              <a:solidFill>
                <a:srgbClr val="AEABAB"/>
              </a:solidFill>
            </c:spPr>
          </c:dPt>
          <c:dPt>
            <c:idx val="58"/>
            <c:spPr>
              <a:solidFill>
                <a:srgbClr val="AEABAB"/>
              </a:solidFill>
            </c:spPr>
          </c:dPt>
          <c:dPt>
            <c:idx val="59"/>
            <c:spPr>
              <a:solidFill>
                <a:srgbClr val="AEABAB"/>
              </a:solidFill>
            </c:spPr>
          </c:dPt>
          <c:dPt>
            <c:idx val="60"/>
            <c:spPr>
              <a:solidFill>
                <a:srgbClr val="AEABAB"/>
              </a:solidFill>
            </c:spPr>
          </c:dPt>
          <c:dPt>
            <c:idx val="61"/>
            <c:spPr>
              <a:solidFill>
                <a:srgbClr val="AEABAB"/>
              </a:solidFill>
            </c:spPr>
          </c:dPt>
          <c:dPt>
            <c:idx val="62"/>
            <c:spPr>
              <a:solidFill>
                <a:srgbClr val="AEABAB"/>
              </a:solidFill>
            </c:spPr>
          </c:dPt>
          <c:dPt>
            <c:idx val="63"/>
            <c:spPr>
              <a:solidFill>
                <a:srgbClr val="AEABAB"/>
              </a:solidFill>
            </c:spPr>
          </c:dPt>
          <c:dPt>
            <c:idx val="64"/>
            <c:spPr>
              <a:solidFill>
                <a:srgbClr val="AEABAB"/>
              </a:solidFill>
            </c:spPr>
          </c:dPt>
          <c:dPt>
            <c:idx val="65"/>
            <c:spPr>
              <a:solidFill>
                <a:srgbClr val="AEABAB"/>
              </a:solidFill>
            </c:spPr>
          </c:dPt>
          <c:dPt>
            <c:idx val="66"/>
            <c:spPr>
              <a:solidFill>
                <a:srgbClr val="AEABAB"/>
              </a:solidFill>
            </c:spPr>
          </c:dPt>
          <c:dPt>
            <c:idx val="67"/>
            <c:spPr>
              <a:solidFill>
                <a:srgbClr val="AEABAB"/>
              </a:solidFill>
            </c:spPr>
          </c:dPt>
          <c:dPt>
            <c:idx val="68"/>
            <c:spPr>
              <a:solidFill>
                <a:srgbClr val="AEABAB"/>
              </a:solidFill>
            </c:spPr>
          </c:dPt>
          <c:dPt>
            <c:idx val="69"/>
            <c:spPr>
              <a:solidFill>
                <a:srgbClr val="AEABAB"/>
              </a:solidFill>
            </c:spPr>
          </c:dPt>
          <c:dPt>
            <c:idx val="70"/>
            <c:spPr>
              <a:solidFill>
                <a:srgbClr val="AEABAB"/>
              </a:solidFill>
            </c:spPr>
          </c:dPt>
          <c:dPt>
            <c:idx val="71"/>
            <c:spPr>
              <a:solidFill>
                <a:srgbClr val="AEABAB"/>
              </a:solidFill>
            </c:spPr>
          </c:dPt>
          <c:dPt>
            <c:idx val="72"/>
            <c:spPr>
              <a:solidFill>
                <a:srgbClr val="AEABAB"/>
              </a:solidFill>
            </c:spPr>
          </c:dPt>
          <c:dPt>
            <c:idx val="73"/>
            <c:spPr>
              <a:solidFill>
                <a:srgbClr val="AEABAB"/>
              </a:solidFill>
            </c:spPr>
          </c:dPt>
          <c:dPt>
            <c:idx val="74"/>
            <c:spPr>
              <a:solidFill>
                <a:srgbClr val="AEABAB"/>
              </a:solidFill>
            </c:spPr>
          </c:dPt>
          <c:dPt>
            <c:idx val="75"/>
            <c:spPr>
              <a:solidFill>
                <a:srgbClr val="AEABAB"/>
              </a:solidFill>
            </c:spPr>
          </c:dPt>
          <c:dPt>
            <c:idx val="76"/>
            <c:spPr>
              <a:solidFill>
                <a:srgbClr val="AEABAB"/>
              </a:solidFill>
            </c:spPr>
          </c:dPt>
          <c:dPt>
            <c:idx val="77"/>
            <c:spPr>
              <a:solidFill>
                <a:srgbClr val="AEABAB"/>
              </a:solidFill>
            </c:spPr>
          </c:dPt>
          <c:dPt>
            <c:idx val="78"/>
            <c:spPr>
              <a:solidFill>
                <a:srgbClr val="AEABAB"/>
              </a:solidFill>
            </c:spPr>
          </c:dPt>
          <c:dPt>
            <c:idx val="79"/>
            <c:spPr>
              <a:solidFill>
                <a:srgbClr val="AEABAB"/>
              </a:solidFill>
            </c:spPr>
          </c:dPt>
          <c:dPt>
            <c:idx val="80"/>
            <c:spPr>
              <a:solidFill>
                <a:srgbClr val="AEABAB"/>
              </a:solidFill>
            </c:spPr>
          </c:dPt>
          <c:dPt>
            <c:idx val="81"/>
            <c:spPr>
              <a:solidFill>
                <a:srgbClr val="AEABAB"/>
              </a:solidFill>
            </c:spPr>
          </c:dPt>
          <c:dPt>
            <c:idx val="82"/>
            <c:spPr>
              <a:solidFill>
                <a:srgbClr val="AEABAB"/>
              </a:solidFill>
            </c:spPr>
          </c:dPt>
          <c:cat>
            <c:strRef>
              <c:f>Sheet1!$A$2:$A$84</c:f>
              <c:strCache>
                <c:ptCount val="83"/>
                <c:pt idx="0">
                  <c:v>Mini Babybel Rouge Filet St Paulin Ferme 1X264Gr 12P</c:v>
                </c:pt>
                <c:pt idx="1">
                  <c:v>La Vache Qui Rit Nature Fromage Fondu Boite Ronde 1X512Gr 32P</c:v>
                </c:pt>
                <c:pt idx="2">
                  <c:v>La Vache Qui Rit Nature Fromage Fondu Boite Ronde 1X192Gr 12P</c:v>
                </c:pt>
                <c:pt idx="3">
                  <c:v>La Vache Qui Rit Nature Fromage Fondu Boite Ronde 1X384Gr 24P</c:v>
                </c:pt>
                <c:pt idx="4">
                  <c:v>Mini Babybel Rouge Filet St Paulin Ferme 1X132Gr 6P</c:v>
                </c:pt>
                <c:pt idx="5">
                  <c:v>Kiri Creme Fromage Blanc Frais Carre 1X432Gr 24P</c:v>
                </c:pt>
                <c:pt idx="6">
                  <c:v>Kiri Creme Fromage Blanc Frais Carre 1X216Gr 12P</c:v>
                </c:pt>
                <c:pt idx="7">
                  <c:v>Apericube Edition Limitee Best Of Foot Fromage Fondu Cube Assortis 1X250Gr 48P</c:v>
                </c:pt>
                <c:pt idx="8">
                  <c:v>Apericube Cocktail Fromage Fondu Cube Assortis 1X250Gr 48P</c:v>
                </c:pt>
                <c:pt idx="9">
                  <c:v>Apericube Long Drink Fromage Fondu Cube Assortis 1X250Gr 48P</c:v>
                </c:pt>
                <c:pt idx="10">
                  <c:v>Boursin Classique Fromage Frais A Tartiner Afh Boite 1X250Gr 1P</c:v>
                </c:pt>
                <c:pt idx="11">
                  <c:v>Apericube Incontournable Fromage Fondu Cube Assortis 1X250Gr 48P</c:v>
                </c:pt>
                <c:pt idx="12">
                  <c:v>Apericube Tonic Fromage Fondu Cube Assortis 1X250Gr 48P</c:v>
                </c:pt>
                <c:pt idx="13">
                  <c:v>Kiri Gouter Fromage Blanc Dips Boite 1X280Gr 8P</c:v>
                </c:pt>
                <c:pt idx="14">
                  <c:v>Boursin Classique Fromage Frais A Tartiner Afh 1X160Gr 10P</c:v>
                </c:pt>
                <c:pt idx="15">
                  <c:v>Mini Babybel Rouge Filet St Paulin Ferme 1X440Gr 20P</c:v>
                </c:pt>
                <c:pt idx="16">
                  <c:v>Boursin Aperitif Roules Fromage Frais Roule Afh Et Jambon Fume Boite 1X100Gr 20P</c:v>
                </c:pt>
                <c:pt idx="17">
                  <c:v>Port Salut St Paulin 1X320Gr 1P</c:v>
                </c:pt>
                <c:pt idx="18">
                  <c:v>Boursin Classique Fromage Frais A Tartiner Afh Boite 1X150Gr 1P</c:v>
                </c:pt>
                <c:pt idx="19">
                  <c:v>Kiri Creme Fromage Blanc Frais Carre 1X144Gr 8P</c:v>
                </c:pt>
                <c:pt idx="20">
                  <c:v>Apericube Edition Limitee Saison Fromage Fondu Cube Assortis 1X250Gr 48P</c:v>
                </c:pt>
                <c:pt idx="21">
                  <c:v>Apericube Nature Fromage Fondu Cube 1X125Gr 24P</c:v>
                </c:pt>
                <c:pt idx="22">
                  <c:v>Kiri Gouter Fromage Blanc Dips Boite 1X175Gr 5P</c:v>
                </c:pt>
                <c:pt idx="23">
                  <c:v>Apericube Edition Voyage Fromage Fondu Cube Assortis 1X250Gr 48P</c:v>
                </c:pt>
                <c:pt idx="24">
                  <c:v>La Vache Qui Rit Pik Et Croq' Fromage Fondu Dips Boite 1X280Gr 8P</c:v>
                </c:pt>
                <c:pt idx="25">
                  <c:v>Babybel St Paulin 1X200Gr 1P</c:v>
                </c:pt>
                <c:pt idx="26">
                  <c:v>La Vache Qui Rit Pik Et Croq' Fromage Fondu Dips Boite 1X175Gr 5P</c:v>
                </c:pt>
                <c:pt idx="27">
                  <c:v>Boursin Aperitif Roules Fromage Frais Roule Ciboulette &amp; Echalote Jambon Fume Boite 1X100Gr 20P</c:v>
                </c:pt>
                <c:pt idx="28">
                  <c:v>Cousteron St Paulin 1X320Gr 1P</c:v>
                </c:pt>
                <c:pt idx="29">
                  <c:v>Apericube Saveurs De L'Authentique Fromage Fondu Cube Assortis 1X250Gr 48P</c:v>
                </c:pt>
                <c:pt idx="30">
                  <c:v>Apericube Campagne Fromage Fondu Cube Assortis 1X125Gr 24P</c:v>
                </c:pt>
                <c:pt idx="31">
                  <c:v>Boursin Salade &amp; Aperitif Fromage Frais Des Afh 1X120Gr 1P</c:v>
                </c:pt>
                <c:pt idx="32">
                  <c:v>Boursin Classique Fromage Frais A Tartiner Afh 1X256Gr 16P</c:v>
                </c:pt>
                <c:pt idx="33">
                  <c:v>Boursin Onctueux Fromage Frais A Tartiner Afh 1X125Gr 1P</c:v>
                </c:pt>
                <c:pt idx="34">
                  <c:v>Boursin Classique Fromage Frais A Tartiner Afh Boite 1X96Gr 6P</c:v>
                </c:pt>
                <c:pt idx="35">
                  <c:v>Boursin Classique Fromage Frais A Tartiner Figue Et 3 Noix Boite 1X150Gr 1P</c:v>
                </c:pt>
                <c:pt idx="36">
                  <c:v>La Vache Qui Rit Allegee Fromage Fondu Boite Ronde Allege 1X267Gr 16P</c:v>
                </c:pt>
                <c:pt idx="37">
                  <c:v>Babybel Mini Rolls St Paulin Ferme Sachet 1X85Gr 5P</c:v>
                </c:pt>
                <c:pt idx="38">
                  <c:v>Boursin Aperitif Roules Fromage Frais Roule Basilic &amp; Jambon Fume Tomate Boite 1X100Gr 20P</c:v>
                </c:pt>
                <c:pt idx="39">
                  <c:v>Apericube Long Drink Fromage Fondu Cube Assortis 1X125Gr 24P</c:v>
                </c:pt>
                <c:pt idx="40">
                  <c:v>Boursin Classique Fromage Frais A Tartiner Ciboulette &amp; Echalote Boite 1X150Gr 1P</c:v>
                </c:pt>
                <c:pt idx="41">
                  <c:v>Mini Babybel Aros St Paulin Ferme Assortis Filet 1X180Gr 9P</c:v>
                </c:pt>
                <c:pt idx="42">
                  <c:v>Boursin Classique Fromage Frais A Tartiner Poivre Boite 1X150Gr 1P</c:v>
                </c:pt>
                <c:pt idx="43">
                  <c:v>Boursin Cuisine Sauce Fromage Afh 1X240Gr 1P</c:v>
                </c:pt>
                <c:pt idx="44">
                  <c:v>Kiri Delicieusement Fouette Fromage Frais A Tartiner 1X125Gr 1P</c:v>
                </c:pt>
                <c:pt idx="45">
                  <c:v>La Vache Qui Rit Aro Fromage Fondu Boite Ronde Jambon 1X133Gr 8P</c:v>
                </c:pt>
                <c:pt idx="46">
                  <c:v>Boursin Classique Fromage Frais A Tartiner Ciboulette &amp; Echalote 1X160Gr 10P</c:v>
                </c:pt>
                <c:pt idx="47">
                  <c:v>Kiri Bio Fromage Blanc Frais Carre 1X144Gr 8P</c:v>
                </c:pt>
                <c:pt idx="48">
                  <c:v>Mini Babybel Aros Soft Cheese Enfant 180G</c:v>
                </c:pt>
                <c:pt idx="49">
                  <c:v>Apericube Soiree Match Aperitif 250G</c:v>
                </c:pt>
                <c:pt idx="50">
                  <c:v>Kiri Chevre Fromage Blanc Frais Carre 1X144Gr 8P</c:v>
                </c:pt>
                <c:pt idx="51">
                  <c:v>Kiri Delicieusement Fouette Fromage Frais A Tartiner 1X160Gr 10P</c:v>
                </c:pt>
                <c:pt idx="52">
                  <c:v>Boursin Salade &amp; Aperitif Fromage Frais Des Ciboulette Echalote 1X120Gr 1P</c:v>
                </c:pt>
                <c:pt idx="53">
                  <c:v>Mini Babybel Rouge Filet St Paulin Ferme 1X396Gr 12+6P</c:v>
                </c:pt>
                <c:pt idx="54">
                  <c:v>Mini Babybel Aros St Paulin Ferme Raclette Filet 1X132Gr 6P</c:v>
                </c:pt>
                <c:pt idx="55">
                  <c:v>Kiri Creme Fromage Blanc Frais Carre 1X432Gr 18+6P</c:v>
                </c:pt>
                <c:pt idx="56">
                  <c:v>Boursin Salade &amp; Aperitif Fromage Frais Des Figue Noix 1X120Gr 1P</c:v>
                </c:pt>
                <c:pt idx="57">
                  <c:v>Nurishh Les Tranches Vegetales Cheddar Vegetal Tranche Boite 1X160Gr 8P</c:v>
                </c:pt>
                <c:pt idx="58">
                  <c:v>Apericube Best Of Des Saveurs Fromage Fondu Cube Assortis 1X125Gr 24P</c:v>
                </c:pt>
                <c:pt idx="59">
                  <c:v>Nurishh Le Rape Vegetal Specialite Vegetale Sachet 1X150Gr 1P</c:v>
                </c:pt>
                <c:pt idx="60">
                  <c:v>Apericube Hot Chalenge Aperitif 250G</c:v>
                </c:pt>
                <c:pt idx="61">
                  <c:v>Apericube Fromages Du Monde Aperitif 250G</c:v>
                </c:pt>
                <c:pt idx="62">
                  <c:v>Nurishh Le Rape Vegetal Specialite Vegetale Emmental Sachet 1X150Gr 1P</c:v>
                </c:pt>
                <c:pt idx="63">
                  <c:v>Boursin Classique Fromage Frais A Tartiner Afh Boite 1X80Gr 1P</c:v>
                </c:pt>
                <c:pt idx="64">
                  <c:v>Nurishh Le Coeur Fleuri Vegetal Camembert Boite 1X140Gr 1P</c:v>
                </c:pt>
                <c:pt idx="65">
                  <c:v>Nurishh Le Palet Vegetal Specialite Vegetale Ovale Saveur Chevre Boite 1X140Gr 1P</c:v>
                </c:pt>
                <c:pt idx="66">
                  <c:v>Apericube Montagne Aperitif 250G</c:v>
                </c:pt>
                <c:pt idx="67">
                  <c:v>Boursin Salade &amp; Aperitif Fromage Frais Des Citron Romarin 1X120Gr 1P</c:v>
                </c:pt>
                <c:pt idx="68">
                  <c:v>Mini Babybel Aros Soft Cheese Enfant 110G</c:v>
                </c:pt>
                <c:pt idx="69">
                  <c:v>Nurishh Des Vegetaux Feta Vegetale Sachet 1X150Gr 1P</c:v>
                </c:pt>
                <c:pt idx="70">
                  <c:v>Boursin Salade &amp; Aperitif Fromage Frais Des Noisette Et 3 Noix 1X120Gr 1P</c:v>
                </c:pt>
                <c:pt idx="71">
                  <c:v>Boursin Aperitif Roules Fromage Frais Roule Jambon Fume &amp; Trio De Noix Boite 1X100Gr 20P</c:v>
                </c:pt>
                <c:pt idx="72">
                  <c:v>Boursin Classique Fromage Frais A Tartiner Truffe Boite 1X150Gr 1P</c:v>
                </c:pt>
                <c:pt idx="73">
                  <c:v>Boursin Salade &amp; Aperitif Soft Cheese Salade 120G</c:v>
                </c:pt>
                <c:pt idx="74">
                  <c:v>Boursin Aperitif Roules Aperitif 100G</c:v>
                </c:pt>
                <c:pt idx="75">
                  <c:v>La Vache Qui Rit Nature Fromage Fondu Boite Ronde 1X512Gr 24+8P</c:v>
                </c:pt>
                <c:pt idx="76">
                  <c:v>Mini Babybel Rouge Filet St Paulin Ferme Sachet 1X40Gr 1P</c:v>
                </c:pt>
                <c:pt idx="77">
                  <c:v>Mini Babybel Bio St Paulin Ferme Filet 1X100Gr 5P</c:v>
                </c:pt>
                <c:pt idx="78">
                  <c:v>Kiri Delicieusement Fouette Fromage Frais A Tartiner 1X210Gr 1P</c:v>
                </c:pt>
                <c:pt idx="79">
                  <c:v>Limiano Queijo Flamengo Bloc 1X600Gr 1P</c:v>
                </c:pt>
                <c:pt idx="80">
                  <c:v>Limiano Queijo Flamengo Tranche Sachet 1X200Gr 1P</c:v>
                </c:pt>
                <c:pt idx="81">
                  <c:v>La Vache Qui Rit Nature Fromage Fondu Boite Ronde 1X128Gr 8P</c:v>
                </c:pt>
                <c:pt idx="82">
                  <c:v>Apericube Carrement Toque Fromage Fondu Cube Assortis 1X250Gr 48P</c:v>
                </c:pt>
              </c:strCache>
            </c:strRef>
          </c:cat>
          <c:val>
            <c:numRef>
              <c:f>Sheet1!$C$2:$C$84</c:f>
              <c:numCache>
                <c:formatCode>General</c:formatCode>
                <c:ptCount val="83"/>
                <c:pt idx="0">
                  <c:v>0.08971624168750679</c:v>
                </c:pt>
                <c:pt idx="1">
                  <c:v>0.16127144294093698</c:v>
                </c:pt>
                <c:pt idx="2">
                  <c:v>0.2099823148264436</c:v>
                </c:pt>
                <c:pt idx="3">
                  <c:v>0.2538177171214563</c:v>
                </c:pt>
                <c:pt idx="4">
                  <c:v>0.29372666434203326</c:v>
                </c:pt>
                <c:pt idx="5">
                  <c:v>0.3311024188202726</c:v>
                </c:pt>
                <c:pt idx="6">
                  <c:v>0.3680457510115254</c:v>
                </c:pt>
                <c:pt idx="7">
                  <c:v>0.4042940329898112</c:v>
                </c:pt>
                <c:pt idx="8">
                  <c:v>0.4364181142821657</c:v>
                </c:pt>
                <c:pt idx="9">
                  <c:v>0.4656824411635663</c:v>
                </c:pt>
                <c:pt idx="10">
                  <c:v>0.4916032419909233</c:v>
                </c:pt>
                <c:pt idx="11">
                  <c:v>0.515615642733946</c:v>
                </c:pt>
                <c:pt idx="12">
                  <c:v>0.5395968038440685</c:v>
                </c:pt>
                <c:pt idx="13">
                  <c:v>0.5631435190472596</c:v>
                </c:pt>
                <c:pt idx="14">
                  <c:v>0.5853593879460296</c:v>
                </c:pt>
                <c:pt idx="15">
                  <c:v>0.60652189942533</c:v>
                </c:pt>
                <c:pt idx="16">
                  <c:v>0.62728797110979</c:v>
                </c:pt>
                <c:pt idx="17">
                  <c:v>0.6473385034293403</c:v>
                </c:pt>
                <c:pt idx="18">
                  <c:v>0.6663136082243963</c:v>
                </c:pt>
                <c:pt idx="19">
                  <c:v>0.68474916535163</c:v>
                </c:pt>
                <c:pt idx="20">
                  <c:v>0.7031597434201682</c:v>
                </c:pt>
                <c:pt idx="21">
                  <c:v>0.7199253714259553</c:v>
                </c:pt>
                <c:pt idx="22">
                  <c:v>0.7360464764792758</c:v>
                </c:pt>
                <c:pt idx="23">
                  <c:v>0.7510156991170568</c:v>
                </c:pt>
                <c:pt idx="24">
                  <c:v>0.765029014283342</c:v>
                </c:pt>
                <c:pt idx="25">
                  <c:v>0.7786833266237685</c:v>
                </c:pt>
                <c:pt idx="26">
                  <c:v>0.791779183097512</c:v>
                </c:pt>
                <c:pt idx="27">
                  <c:v>0.8046791911034584</c:v>
                </c:pt>
                <c:pt idx="28">
                  <c:v>0.8175019221227571</c:v>
                </c:pt>
                <c:pt idx="29">
                  <c:v>0.8301250103868617</c:v>
                </c:pt>
                <c:pt idx="30">
                  <c:v>0.8411469093695247</c:v>
                </c:pt>
                <c:pt idx="31">
                  <c:v>0.8501861034729997</c:v>
                </c:pt>
                <c:pt idx="32">
                  <c:v>0.8591454278267725</c:v>
                </c:pt>
                <c:pt idx="33">
                  <c:v>0.8678449067319891</c:v>
                </c:pt>
                <c:pt idx="34">
                  <c:v>0.8763831284228425</c:v>
                </c:pt>
                <c:pt idx="35">
                  <c:v>0.8836971232851244</c:v>
                </c:pt>
                <c:pt idx="36">
                  <c:v>0.8908734487530264</c:v>
                </c:pt>
                <c:pt idx="37">
                  <c:v>0.8977574243770065</c:v>
                </c:pt>
                <c:pt idx="38">
                  <c:v>0.9042060055222059</c:v>
                </c:pt>
                <c:pt idx="39">
                  <c:v>0.9104852982113856</c:v>
                </c:pt>
                <c:pt idx="40">
                  <c:v>0.9167009101104227</c:v>
                </c:pt>
                <c:pt idx="41">
                  <c:v>0.9229153204851174</c:v>
                </c:pt>
                <c:pt idx="42">
                  <c:v>0.92847989590499</c:v>
                </c:pt>
                <c:pt idx="43">
                  <c:v>0.9334562935402384</c:v>
                </c:pt>
                <c:pt idx="44">
                  <c:v>0.9382925554942989</c:v>
                </c:pt>
                <c:pt idx="45">
                  <c:v>0.9430507816042323</c:v>
                </c:pt>
                <c:pt idx="46">
                  <c:v>0.9476669748892795</c:v>
                </c:pt>
                <c:pt idx="47">
                  <c:v>0.9515087541166437</c:v>
                </c:pt>
                <c:pt idx="48">
                  <c:v>0.9550794315095079</c:v>
                </c:pt>
                <c:pt idx="49">
                  <c:v>0.9586239915574576</c:v>
                </c:pt>
                <c:pt idx="50">
                  <c:v>0.9620444151694092</c:v>
                </c:pt>
                <c:pt idx="51">
                  <c:v>0.9649865056168733</c:v>
                </c:pt>
                <c:pt idx="52">
                  <c:v>0.967822482493474</c:v>
                </c:pt>
                <c:pt idx="53">
                  <c:v>0.9705232562625028</c:v>
                </c:pt>
                <c:pt idx="54">
                  <c:v>0.9731170311269424</c:v>
                </c:pt>
                <c:pt idx="55">
                  <c:v>0.9755505605869912</c:v>
                </c:pt>
                <c:pt idx="56">
                  <c:v>0.9774528265733674</c:v>
                </c:pt>
                <c:pt idx="57">
                  <c:v>0.9793491481761554</c:v>
                </c:pt>
                <c:pt idx="58">
                  <c:v>0.9812149257653993</c:v>
                </c:pt>
                <c:pt idx="59">
                  <c:v>0.9828185813336489</c:v>
                </c:pt>
                <c:pt idx="60">
                  <c:v>0.9844157866133239</c:v>
                </c:pt>
                <c:pt idx="61">
                  <c:v>0.985871464973099</c:v>
                </c:pt>
                <c:pt idx="62">
                  <c:v>0.9873261947610249</c:v>
                </c:pt>
                <c:pt idx="63">
                  <c:v>0.988683284886607</c:v>
                </c:pt>
                <c:pt idx="64">
                  <c:v>0.9899645525023767</c:v>
                </c:pt>
                <c:pt idx="65">
                  <c:v>0.9912346269703259</c:v>
                </c:pt>
                <c:pt idx="66">
                  <c:v>0.9923985246292886</c:v>
                </c:pt>
                <c:pt idx="67">
                  <c:v>0.9935582485721147</c:v>
                </c:pt>
                <c:pt idx="68">
                  <c:v>0.9947072220339833</c:v>
                </c:pt>
                <c:pt idx="69">
                  <c:v>0.995683239228682</c:v>
                </c:pt>
                <c:pt idx="70">
                  <c:v>0.9965449851346142</c:v>
                </c:pt>
                <c:pt idx="71">
                  <c:v>0.9971523240705923</c:v>
                </c:pt>
                <c:pt idx="72">
                  <c:v>0.9976479844808585</c:v>
                </c:pt>
                <c:pt idx="73">
                  <c:v>0.9981392814606184</c:v>
                </c:pt>
                <c:pt idx="74">
                  <c:v>0.9985916869945612</c:v>
                </c:pt>
                <c:pt idx="75">
                  <c:v>0.9989505633441734</c:v>
                </c:pt>
                <c:pt idx="76">
                  <c:v>0.9993048865489095</c:v>
                </c:pt>
                <c:pt idx="77">
                  <c:v>0.9995786443845872</c:v>
                </c:pt>
                <c:pt idx="78">
                  <c:v>0.999814206393804</c:v>
                </c:pt>
                <c:pt idx="79">
                  <c:v>0.9999411253072263</c:v>
                </c:pt>
                <c:pt idx="80">
                  <c:v>0.999988300947193</c:v>
                </c:pt>
                <c:pt idx="81">
                  <c:v>0.9999946879976442</c:v>
                </c:pt>
                <c:pt idx="82">
                  <c:v>0.9999999999999998</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84</c:f>
              <c:strCache>
                <c:ptCount val="83"/>
                <c:pt idx="0">
                  <c:v>Mini Babybel Rouge Filet St Paulin Ferme 1X264Gr 12P</c:v>
                </c:pt>
                <c:pt idx="1">
                  <c:v>La Vache Qui Rit Nature Fromage Fondu Boite Ronde 1X512Gr 32P</c:v>
                </c:pt>
                <c:pt idx="2">
                  <c:v>La Vache Qui Rit Nature Fromage Fondu Boite Ronde 1X192Gr 12P</c:v>
                </c:pt>
                <c:pt idx="3">
                  <c:v>La Vache Qui Rit Nature Fromage Fondu Boite Ronde 1X384Gr 24P</c:v>
                </c:pt>
                <c:pt idx="4">
                  <c:v>Mini Babybel Rouge Filet St Paulin Ferme 1X132Gr 6P</c:v>
                </c:pt>
                <c:pt idx="5">
                  <c:v>Kiri Creme Fromage Blanc Frais Carre 1X432Gr 24P</c:v>
                </c:pt>
                <c:pt idx="6">
                  <c:v>Kiri Creme Fromage Blanc Frais Carre 1X216Gr 12P</c:v>
                </c:pt>
                <c:pt idx="7">
                  <c:v>Apericube Edition Limitee Best Of Foot Fromage Fondu Cube Assortis 1X250Gr 48P</c:v>
                </c:pt>
                <c:pt idx="8">
                  <c:v>Apericube Cocktail Fromage Fondu Cube Assortis 1X250Gr 48P</c:v>
                </c:pt>
                <c:pt idx="9">
                  <c:v>Apericube Long Drink Fromage Fondu Cube Assortis 1X250Gr 48P</c:v>
                </c:pt>
                <c:pt idx="10">
                  <c:v>Boursin Classique Fromage Frais A Tartiner Afh Boite 1X250Gr 1P</c:v>
                </c:pt>
                <c:pt idx="11">
                  <c:v>Apericube Incontournable Fromage Fondu Cube Assortis 1X250Gr 48P</c:v>
                </c:pt>
                <c:pt idx="12">
                  <c:v>Apericube Tonic Fromage Fondu Cube Assortis 1X250Gr 48P</c:v>
                </c:pt>
                <c:pt idx="13">
                  <c:v>Kiri Gouter Fromage Blanc Dips Boite 1X280Gr 8P</c:v>
                </c:pt>
                <c:pt idx="14">
                  <c:v>Boursin Classique Fromage Frais A Tartiner Afh 1X160Gr 10P</c:v>
                </c:pt>
                <c:pt idx="15">
                  <c:v>Mini Babybel Rouge Filet St Paulin Ferme 1X440Gr 20P</c:v>
                </c:pt>
                <c:pt idx="16">
                  <c:v>Boursin Aperitif Roules Fromage Frais Roule Afh Et Jambon Fume Boite 1X100Gr 20P</c:v>
                </c:pt>
                <c:pt idx="17">
                  <c:v>Port Salut St Paulin 1X320Gr 1P</c:v>
                </c:pt>
                <c:pt idx="18">
                  <c:v>Boursin Classique Fromage Frais A Tartiner Afh Boite 1X150Gr 1P</c:v>
                </c:pt>
                <c:pt idx="19">
                  <c:v>Kiri Creme Fromage Blanc Frais Carre 1X144Gr 8P</c:v>
                </c:pt>
                <c:pt idx="20">
                  <c:v>Apericube Edition Limitee Saison Fromage Fondu Cube Assortis 1X250Gr 48P</c:v>
                </c:pt>
                <c:pt idx="21">
                  <c:v>Apericube Nature Fromage Fondu Cube 1X125Gr 24P</c:v>
                </c:pt>
                <c:pt idx="22">
                  <c:v>Kiri Gouter Fromage Blanc Dips Boite 1X175Gr 5P</c:v>
                </c:pt>
                <c:pt idx="23">
                  <c:v>Apericube Edition Voyage Fromage Fondu Cube Assortis 1X250Gr 48P</c:v>
                </c:pt>
                <c:pt idx="24">
                  <c:v>La Vache Qui Rit Pik Et Croq' Fromage Fondu Dips Boite 1X280Gr 8P</c:v>
                </c:pt>
                <c:pt idx="25">
                  <c:v>Babybel St Paulin 1X200Gr 1P</c:v>
                </c:pt>
                <c:pt idx="26">
                  <c:v>La Vache Qui Rit Pik Et Croq' Fromage Fondu Dips Boite 1X175Gr 5P</c:v>
                </c:pt>
                <c:pt idx="27">
                  <c:v>Boursin Aperitif Roules Fromage Frais Roule Ciboulette &amp; Echalote Jambon Fume Boite 1X100Gr 20P</c:v>
                </c:pt>
                <c:pt idx="28">
                  <c:v>Cousteron St Paulin 1X320Gr 1P</c:v>
                </c:pt>
                <c:pt idx="29">
                  <c:v>Apericube Saveurs De L'Authentique Fromage Fondu Cube Assortis 1X250Gr 48P</c:v>
                </c:pt>
                <c:pt idx="30">
                  <c:v>Apericube Campagne Fromage Fondu Cube Assortis 1X125Gr 24P</c:v>
                </c:pt>
                <c:pt idx="31">
                  <c:v>Boursin Salade &amp; Aperitif Fromage Frais Des Afh 1X120Gr 1P</c:v>
                </c:pt>
                <c:pt idx="32">
                  <c:v>Boursin Classique Fromage Frais A Tartiner Afh 1X256Gr 16P</c:v>
                </c:pt>
                <c:pt idx="33">
                  <c:v>Boursin Onctueux Fromage Frais A Tartiner Afh 1X125Gr 1P</c:v>
                </c:pt>
                <c:pt idx="34">
                  <c:v>Boursin Classique Fromage Frais A Tartiner Afh Boite 1X96Gr 6P</c:v>
                </c:pt>
                <c:pt idx="35">
                  <c:v>Boursin Classique Fromage Frais A Tartiner Figue Et 3 Noix Boite 1X150Gr 1P</c:v>
                </c:pt>
                <c:pt idx="36">
                  <c:v>La Vache Qui Rit Allegee Fromage Fondu Boite Ronde Allege 1X267Gr 16P</c:v>
                </c:pt>
                <c:pt idx="37">
                  <c:v>Babybel Mini Rolls St Paulin Ferme Sachet 1X85Gr 5P</c:v>
                </c:pt>
                <c:pt idx="38">
                  <c:v>Boursin Aperitif Roules Fromage Frais Roule Basilic &amp; Jambon Fume Tomate Boite 1X100Gr 20P</c:v>
                </c:pt>
                <c:pt idx="39">
                  <c:v>Apericube Long Drink Fromage Fondu Cube Assortis 1X125Gr 24P</c:v>
                </c:pt>
                <c:pt idx="40">
                  <c:v>Boursin Classique Fromage Frais A Tartiner Ciboulette &amp; Echalote Boite 1X150Gr 1P</c:v>
                </c:pt>
                <c:pt idx="41">
                  <c:v>Mini Babybel Aros St Paulin Ferme Assortis Filet 1X180Gr 9P</c:v>
                </c:pt>
                <c:pt idx="42">
                  <c:v>Boursin Classique Fromage Frais A Tartiner Poivre Boite 1X150Gr 1P</c:v>
                </c:pt>
                <c:pt idx="43">
                  <c:v>Boursin Cuisine Sauce Fromage Afh 1X240Gr 1P</c:v>
                </c:pt>
                <c:pt idx="44">
                  <c:v>Kiri Delicieusement Fouette Fromage Frais A Tartiner 1X125Gr 1P</c:v>
                </c:pt>
                <c:pt idx="45">
                  <c:v>La Vache Qui Rit Aro Fromage Fondu Boite Ronde Jambon 1X133Gr 8P</c:v>
                </c:pt>
                <c:pt idx="46">
                  <c:v>Boursin Classique Fromage Frais A Tartiner Ciboulette &amp; Echalote 1X160Gr 10P</c:v>
                </c:pt>
                <c:pt idx="47">
                  <c:v>Kiri Bio Fromage Blanc Frais Carre 1X144Gr 8P</c:v>
                </c:pt>
                <c:pt idx="48">
                  <c:v>Mini Babybel Aros Soft Cheese Enfant 180G</c:v>
                </c:pt>
                <c:pt idx="49">
                  <c:v>Apericube Soiree Match Aperitif 250G</c:v>
                </c:pt>
                <c:pt idx="50">
                  <c:v>Kiri Chevre Fromage Blanc Frais Carre 1X144Gr 8P</c:v>
                </c:pt>
                <c:pt idx="51">
                  <c:v>Kiri Delicieusement Fouette Fromage Frais A Tartiner 1X160Gr 10P</c:v>
                </c:pt>
                <c:pt idx="52">
                  <c:v>Boursin Salade &amp; Aperitif Fromage Frais Des Ciboulette Echalote 1X120Gr 1P</c:v>
                </c:pt>
                <c:pt idx="53">
                  <c:v>Mini Babybel Rouge Filet St Paulin Ferme 1X396Gr 12+6P</c:v>
                </c:pt>
                <c:pt idx="54">
                  <c:v>Mini Babybel Aros St Paulin Ferme Raclette Filet 1X132Gr 6P</c:v>
                </c:pt>
                <c:pt idx="55">
                  <c:v>Kiri Creme Fromage Blanc Frais Carre 1X432Gr 18+6P</c:v>
                </c:pt>
                <c:pt idx="56">
                  <c:v>Boursin Salade &amp; Aperitif Fromage Frais Des Figue Noix 1X120Gr 1P</c:v>
                </c:pt>
                <c:pt idx="57">
                  <c:v>Nurishh Les Tranches Vegetales Cheddar Vegetal Tranche Boite 1X160Gr 8P</c:v>
                </c:pt>
                <c:pt idx="58">
                  <c:v>Apericube Best Of Des Saveurs Fromage Fondu Cube Assortis 1X125Gr 24P</c:v>
                </c:pt>
                <c:pt idx="59">
                  <c:v>Nurishh Le Rape Vegetal Specialite Vegetale Sachet 1X150Gr 1P</c:v>
                </c:pt>
                <c:pt idx="60">
                  <c:v>Apericube Hot Chalenge Aperitif 250G</c:v>
                </c:pt>
                <c:pt idx="61">
                  <c:v>Apericube Fromages Du Monde Aperitif 250G</c:v>
                </c:pt>
                <c:pt idx="62">
                  <c:v>Nurishh Le Rape Vegetal Specialite Vegetale Emmental Sachet 1X150Gr 1P</c:v>
                </c:pt>
                <c:pt idx="63">
                  <c:v>Boursin Classique Fromage Frais A Tartiner Afh Boite 1X80Gr 1P</c:v>
                </c:pt>
                <c:pt idx="64">
                  <c:v>Nurishh Le Coeur Fleuri Vegetal Camembert Boite 1X140Gr 1P</c:v>
                </c:pt>
                <c:pt idx="65">
                  <c:v>Nurishh Le Palet Vegetal Specialite Vegetale Ovale Saveur Chevre Boite 1X140Gr 1P</c:v>
                </c:pt>
                <c:pt idx="66">
                  <c:v>Apericube Montagne Aperitif 250G</c:v>
                </c:pt>
                <c:pt idx="67">
                  <c:v>Boursin Salade &amp; Aperitif Fromage Frais Des Citron Romarin 1X120Gr 1P</c:v>
                </c:pt>
                <c:pt idx="68">
                  <c:v>Mini Babybel Aros Soft Cheese Enfant 110G</c:v>
                </c:pt>
                <c:pt idx="69">
                  <c:v>Nurishh Des Vegetaux Feta Vegetale Sachet 1X150Gr 1P</c:v>
                </c:pt>
                <c:pt idx="70">
                  <c:v>Boursin Salade &amp; Aperitif Fromage Frais Des Noisette Et 3 Noix 1X120Gr 1P</c:v>
                </c:pt>
                <c:pt idx="71">
                  <c:v>Boursin Aperitif Roules Fromage Frais Roule Jambon Fume &amp; Trio De Noix Boite 1X100Gr 20P</c:v>
                </c:pt>
                <c:pt idx="72">
                  <c:v>Boursin Classique Fromage Frais A Tartiner Truffe Boite 1X150Gr 1P</c:v>
                </c:pt>
                <c:pt idx="73">
                  <c:v>Boursin Salade &amp; Aperitif Soft Cheese Salade 120G</c:v>
                </c:pt>
                <c:pt idx="74">
                  <c:v>Boursin Aperitif Roules Aperitif 100G</c:v>
                </c:pt>
                <c:pt idx="75">
                  <c:v>La Vache Qui Rit Nature Fromage Fondu Boite Ronde 1X512Gr 24+8P</c:v>
                </c:pt>
                <c:pt idx="76">
                  <c:v>Mini Babybel Rouge Filet St Paulin Ferme Sachet 1X40Gr 1P</c:v>
                </c:pt>
                <c:pt idx="77">
                  <c:v>Mini Babybel Bio St Paulin Ferme Filet 1X100Gr 5P</c:v>
                </c:pt>
                <c:pt idx="78">
                  <c:v>Kiri Delicieusement Fouette Fromage Frais A Tartiner 1X210Gr 1P</c:v>
                </c:pt>
                <c:pt idx="79">
                  <c:v>Limiano Queijo Flamengo Bloc 1X600Gr 1P</c:v>
                </c:pt>
                <c:pt idx="80">
                  <c:v>Limiano Queijo Flamengo Tranche Sachet 1X200Gr 1P</c:v>
                </c:pt>
                <c:pt idx="81">
                  <c:v>La Vache Qui Rit Nature Fromage Fondu Boite Ronde 1X128Gr 8P</c:v>
                </c:pt>
                <c:pt idx="82">
                  <c:v>Apericube Carrement Toque Fromage Fondu Cube Assortis 1X250Gr 48P</c:v>
                </c:pt>
              </c:strCache>
            </c:strRef>
          </c:cat>
          <c:val>
            <c:numRef>
              <c:f>Sheet1!$D$2:$D$84</c:f>
              <c:numCache>
                <c:formatCode>General</c:formatCode>
                <c:ptCount val="83"/>
                <c:pt idx="0">
                  <c:v>14187.05</c:v>
                </c:pt>
                <c:pt idx="1">
                  <c:v>11429.494949494949</c:v>
                </c:pt>
                <c:pt idx="2">
                  <c:v>7702.77</c:v>
                </c:pt>
                <c:pt idx="3">
                  <c:v>6931.8</c:v>
                </c:pt>
                <c:pt idx="4">
                  <c:v>6310.9</c:v>
                </c:pt>
                <c:pt idx="5">
                  <c:v>5970.020202020202</c:v>
                </c:pt>
                <c:pt idx="6">
                  <c:v>5841.94</c:v>
                </c:pt>
                <c:pt idx="7">
                  <c:v>5732.03</c:v>
                </c:pt>
                <c:pt idx="8">
                  <c:v>5079.86</c:v>
                </c:pt>
                <c:pt idx="9">
                  <c:v>4674.383838383838</c:v>
                </c:pt>
                <c:pt idx="10">
                  <c:v>4098.92</c:v>
                </c:pt>
                <c:pt idx="11">
                  <c:v>3797.14</c:v>
                </c:pt>
                <c:pt idx="12">
                  <c:v>3830.5050505050503</c:v>
                </c:pt>
                <c:pt idx="13">
                  <c:v>3761.1111111111113</c:v>
                </c:pt>
                <c:pt idx="14">
                  <c:v>3513.05</c:v>
                </c:pt>
                <c:pt idx="15">
                  <c:v>3414.7755102040815</c:v>
                </c:pt>
                <c:pt idx="16">
                  <c:v>3316.959595959596</c:v>
                </c:pt>
                <c:pt idx="17">
                  <c:v>3170.64</c:v>
                </c:pt>
                <c:pt idx="18">
                  <c:v>3000.58</c:v>
                </c:pt>
                <c:pt idx="19">
                  <c:v>2915.26</c:v>
                </c:pt>
                <c:pt idx="20">
                  <c:v>2940.717171717172</c:v>
                </c:pt>
                <c:pt idx="21">
                  <c:v>2677.969696969697</c:v>
                </c:pt>
                <c:pt idx="22">
                  <c:v>2549.27</c:v>
                </c:pt>
                <c:pt idx="23">
                  <c:v>2391.030303030303</c:v>
                </c:pt>
                <c:pt idx="24">
                  <c:v>2261.183673469388</c:v>
                </c:pt>
                <c:pt idx="25">
                  <c:v>2159.19</c:v>
                </c:pt>
                <c:pt idx="26">
                  <c:v>2091.7979797979797</c:v>
                </c:pt>
                <c:pt idx="27">
                  <c:v>2060.5151515151515</c:v>
                </c:pt>
                <c:pt idx="28">
                  <c:v>2027.69</c:v>
                </c:pt>
                <c:pt idx="29">
                  <c:v>2036.857142857143</c:v>
                </c:pt>
                <c:pt idx="30">
                  <c:v>1760.5252525252524</c:v>
                </c:pt>
                <c:pt idx="31">
                  <c:v>1429.39</c:v>
                </c:pt>
                <c:pt idx="32">
                  <c:v>1431.0707070707072</c:v>
                </c:pt>
                <c:pt idx="33">
                  <c:v>1389.5656565656566</c:v>
                </c:pt>
                <c:pt idx="34">
                  <c:v>1363.8080808080808</c:v>
                </c:pt>
                <c:pt idx="35">
                  <c:v>1156.58</c:v>
                </c:pt>
                <c:pt idx="36">
                  <c:v>1169.9072164948454</c:v>
                </c:pt>
                <c:pt idx="37">
                  <c:v>1122.2474226804125</c:v>
                </c:pt>
                <c:pt idx="38">
                  <c:v>1040.5408163265306</c:v>
                </c:pt>
                <c:pt idx="39">
                  <c:v>1013.2244897959183</c:v>
                </c:pt>
                <c:pt idx="40">
                  <c:v>982.89</c:v>
                </c:pt>
                <c:pt idx="41">
                  <c:v>1013.0927835051547</c:v>
                </c:pt>
                <c:pt idx="42">
                  <c:v>888.8282828282828</c:v>
                </c:pt>
                <c:pt idx="43">
                  <c:v>819.71875</c:v>
                </c:pt>
                <c:pt idx="44">
                  <c:v>772.4949494949495</c:v>
                </c:pt>
                <c:pt idx="45">
                  <c:v>817.8586956521739</c:v>
                </c:pt>
                <c:pt idx="46">
                  <c:v>744.8673469387755</c:v>
                </c:pt>
                <c:pt idx="47">
                  <c:v>698.2873563218391</c:v>
                </c:pt>
                <c:pt idx="48">
                  <c:v>594.3578947368421</c:v>
                </c:pt>
                <c:pt idx="49">
                  <c:v>583.8645833333334</c:v>
                </c:pt>
                <c:pt idx="50">
                  <c:v>614.6363636363636</c:v>
                </c:pt>
                <c:pt idx="51">
                  <c:v>474.734693877551</c:v>
                </c:pt>
                <c:pt idx="52">
                  <c:v>472.06315789473683</c:v>
                </c:pt>
                <c:pt idx="53">
                  <c:v>464.2173913043478</c:v>
                </c:pt>
                <c:pt idx="54">
                  <c:v>431.7473684210526</c:v>
                </c:pt>
                <c:pt idx="55">
                  <c:v>409.3829787234043</c:v>
                </c:pt>
                <c:pt idx="56">
                  <c:v>310.11340206185565</c:v>
                </c:pt>
                <c:pt idx="57">
                  <c:v>336.9325842696629</c:v>
                </c:pt>
                <c:pt idx="58">
                  <c:v>335.27272727272725</c:v>
                </c:pt>
                <c:pt idx="59">
                  <c:v>298.3411764705882</c:v>
                </c:pt>
                <c:pt idx="60">
                  <c:v>315.7125</c:v>
                </c:pt>
                <c:pt idx="61">
                  <c:v>328.84285714285716</c:v>
                </c:pt>
                <c:pt idx="62">
                  <c:v>273.85714285714283</c:v>
                </c:pt>
                <c:pt idx="63">
                  <c:v>306.57142857142856</c:v>
                </c:pt>
                <c:pt idx="64">
                  <c:v>270.14666666666665</c:v>
                </c:pt>
                <c:pt idx="65">
                  <c:v>275.1232876712329</c:v>
                </c:pt>
                <c:pt idx="66">
                  <c:v>270.6617647058824</c:v>
                </c:pt>
                <c:pt idx="67">
                  <c:v>197.19354838709677</c:v>
                </c:pt>
                <c:pt idx="68">
                  <c:v>201.87777777777777</c:v>
                </c:pt>
                <c:pt idx="69">
                  <c:v>188.21951219512195</c:v>
                </c:pt>
                <c:pt idx="70">
                  <c:v>137.64646464646464</c:v>
                </c:pt>
                <c:pt idx="71">
                  <c:v>100.04166666666667</c:v>
                </c:pt>
                <c:pt idx="72">
                  <c:v>85.19565217391305</c:v>
                </c:pt>
                <c:pt idx="73">
                  <c:v>106.42465753424658</c:v>
                </c:pt>
                <c:pt idx="74">
                  <c:v>83.18604651162791</c:v>
                </c:pt>
                <c:pt idx="75">
                  <c:v>177.34375</c:v>
                </c:pt>
                <c:pt idx="76">
                  <c:v>233.45833333333334</c:v>
                </c:pt>
                <c:pt idx="77">
                  <c:v>78.7090909090909</c:v>
                </c:pt>
                <c:pt idx="78">
                  <c:v>58.203125</c:v>
                </c:pt>
                <c:pt idx="79">
                  <c:v>669.0</c:v>
                </c:pt>
                <c:pt idx="80">
                  <c:v>373.0</c:v>
                </c:pt>
                <c:pt idx="81">
                  <c:v>7.769230769230769</c:v>
                </c:pt>
                <c:pt idx="82">
                  <c:v>20.0</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President</c:v>
                </c:pt>
                <c:pt idx="2">
                  <c:v>Soignon</c:v>
                </c:pt>
                <c:pt idx="3">
                  <c:v>St Moret</c:v>
                </c:pt>
                <c:pt idx="4">
                  <c:v>Caprice Des Dieux</c:v>
                </c:pt>
                <c:pt idx="5">
                  <c:v>Coeur De Lion</c:v>
                </c:pt>
                <c:pt idx="6">
                  <c:v>La Vache Qui Rit</c:v>
                </c:pt>
                <c:pt idx="7">
                  <c:v>Kiri</c:v>
                </c:pt>
                <c:pt idx="8">
                  <c:v>Boursin</c:v>
                </c:pt>
                <c:pt idx="9">
                  <c:v>Others</c:v>
                </c:pt>
              </c:strCache>
            </c:strRef>
          </c:cat>
          <c:val>
            <c:numRef>
              <c:f>Sheet1!$B$2:$B$11</c:f>
              <c:numCache>
                <c:formatCode>General</c:formatCode>
                <c:ptCount val="10"/>
                <c:pt idx="0">
                  <c:v>0.3381671645586492</c:v>
                </c:pt>
                <c:pt idx="1">
                  <c:v>0.055784651928815585</c:v>
                </c:pt>
                <c:pt idx="2">
                  <c:v>0.04565363602727563</c:v>
                </c:pt>
                <c:pt idx="3">
                  <c:v>0.04140376384304079</c:v>
                </c:pt>
                <c:pt idx="4">
                  <c:v>0.03938792704030259</c:v>
                </c:pt>
                <c:pt idx="5">
                  <c:v>0.03638109937486275</c:v>
                </c:pt>
                <c:pt idx="6">
                  <c:v>0.03469814228096974</c:v>
                </c:pt>
                <c:pt idx="7">
                  <c:v>0.025743092448033984</c:v>
                </c:pt>
                <c:pt idx="8">
                  <c:v>0.021010312525655186</c:v>
                </c:pt>
                <c:pt idx="9">
                  <c:v>0.3617702099723945</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President</c:v>
                </c:pt>
                <c:pt idx="2">
                  <c:v>Soignon</c:v>
                </c:pt>
                <c:pt idx="3">
                  <c:v>St Moret</c:v>
                </c:pt>
                <c:pt idx="4">
                  <c:v>Caprice Des Dieux</c:v>
                </c:pt>
                <c:pt idx="5">
                  <c:v>Coeur De Lion</c:v>
                </c:pt>
                <c:pt idx="6">
                  <c:v>La Vache Qui Rit</c:v>
                </c:pt>
                <c:pt idx="7">
                  <c:v>Kiri</c:v>
                </c:pt>
                <c:pt idx="8">
                  <c:v>Boursin</c:v>
                </c:pt>
                <c:pt idx="9">
                  <c:v>Others</c:v>
                </c:pt>
              </c:strCache>
            </c:strRef>
          </c:cat>
          <c:val>
            <c:numRef>
              <c:f>Sheet1!$C$2:$C$11</c:f>
              <c:numCache>
                <c:formatCode>General</c:formatCode>
                <c:ptCount val="10"/>
                <c:pt idx="0">
                  <c:v>0.18947336153516037</c:v>
                </c:pt>
                <c:pt idx="1">
                  <c:v>0.04282386119796458</c:v>
                </c:pt>
                <c:pt idx="2">
                  <c:v>0.035405554533750244</c:v>
                </c:pt>
                <c:pt idx="3">
                  <c:v>0.033780884065967756</c:v>
                </c:pt>
                <c:pt idx="4">
                  <c:v>0.026178652443136538</c:v>
                </c:pt>
                <c:pt idx="5">
                  <c:v>0.02029305376739624</c:v>
                </c:pt>
                <c:pt idx="6">
                  <c:v>0.02314389062595795</c:v>
                </c:pt>
                <c:pt idx="7">
                  <c:v>0.025688185886824852</c:v>
                </c:pt>
                <c:pt idx="8">
                  <c:v>0.040616761694561965</c:v>
                </c:pt>
                <c:pt idx="9">
                  <c:v>0.5625957942492795</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President</c:v>
                </c:pt>
                <c:pt idx="2">
                  <c:v>Soignon</c:v>
                </c:pt>
                <c:pt idx="3">
                  <c:v>St Moret</c:v>
                </c:pt>
                <c:pt idx="4">
                  <c:v>Caprice Des Dieux</c:v>
                </c:pt>
                <c:pt idx="5">
                  <c:v>Coeur De Lion</c:v>
                </c:pt>
                <c:pt idx="6">
                  <c:v>La Vache Qui Rit</c:v>
                </c:pt>
                <c:pt idx="7">
                  <c:v>Kiri</c:v>
                </c:pt>
                <c:pt idx="8">
                  <c:v>Boursin</c:v>
                </c:pt>
                <c:pt idx="9">
                  <c:v>Others</c:v>
                </c:pt>
              </c:strCache>
            </c:strRef>
          </c:cat>
          <c:val>
            <c:numRef>
              <c:f>Sheet1!$D$2:$D$11</c:f>
              <c:numCache>
                <c:formatCode>General</c:formatCode>
                <c:ptCount val="10"/>
                <c:pt idx="0">
                  <c:v>56.02949706321931</c:v>
                </c:pt>
                <c:pt idx="1">
                  <c:v>76.76638594538562</c:v>
                </c:pt>
                <c:pt idx="2">
                  <c:v>77.55254042109001</c:v>
                </c:pt>
                <c:pt idx="3">
                  <c:v>81.58892074167238</c:v>
                </c:pt>
                <c:pt idx="4">
                  <c:v>66.46364612270649</c:v>
                </c:pt>
                <c:pt idx="5">
                  <c:v>55.779110901243335</c:v>
                </c:pt>
                <c:pt idx="6">
                  <c:v>66.70066206585146</c:v>
                </c:pt>
                <c:pt idx="7">
                  <c:v>99.78671342100812</c:v>
                </c:pt>
                <c:pt idx="8">
                  <c:v>193.31821763700952</c:v>
                </c:pt>
                <c:pt idx="9">
                  <c:v>155.51191854415248</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83</c:f>
              <c:strCache>
                <c:ptCount val="82"/>
                <c:pt idx="0">
                  <c:v>Mini Babybel Rouge Filet St Paulin Ferme 1X264Gr 12P</c:v>
                </c:pt>
                <c:pt idx="1">
                  <c:v>La Vache Qui Rit Nature Fromage Fondu Boite Ronde 1X192Gr 12P</c:v>
                </c:pt>
                <c:pt idx="2">
                  <c:v>Mini Babybel Rouge Filet St Paulin Ferme 1X132Gr 6P</c:v>
                </c:pt>
                <c:pt idx="3">
                  <c:v>La Vache Qui Rit Nature Fromage Fondu Boite Ronde 1X512Gr 32P</c:v>
                </c:pt>
                <c:pt idx="4">
                  <c:v>Kiri Creme Fromage Blanc Frais Carre 1X216Gr 12P</c:v>
                </c:pt>
                <c:pt idx="5">
                  <c:v>La Vache Qui Rit Nature Fromage Fondu Boite Ronde 1X384Gr 24P</c:v>
                </c:pt>
                <c:pt idx="6">
                  <c:v>Kiri Creme Fromage Blanc Frais Carre 1X144Gr 8P</c:v>
                </c:pt>
                <c:pt idx="7">
                  <c:v>Boursin Classique Fromage Frais A Tartiner Afh Boite 1X150Gr 1P</c:v>
                </c:pt>
                <c:pt idx="8">
                  <c:v>Boursin Classique Fromage Frais A Tartiner Afh 1X160Gr 10P</c:v>
                </c:pt>
                <c:pt idx="9">
                  <c:v>Apericube Edition Limitee Best Of Foot Fromage Fondu Cube Assortis 1X250Gr 48P</c:v>
                </c:pt>
                <c:pt idx="10">
                  <c:v>Kiri Gouter Fromage Blanc Dips Boite 1X175Gr 5P</c:v>
                </c:pt>
                <c:pt idx="11">
                  <c:v>Apericube Cocktail Fromage Fondu Cube Assortis 1X250Gr 48P</c:v>
                </c:pt>
                <c:pt idx="12">
                  <c:v>Kiri Creme Fromage Blanc Frais Carre 1X432Gr 24P</c:v>
                </c:pt>
                <c:pt idx="13">
                  <c:v>Babybel St Paulin 1X200Gr 1P</c:v>
                </c:pt>
                <c:pt idx="14">
                  <c:v>Boursin Aperitif Roules Fromage Frais Roule Afh Et Jambon Fume Boite 1X100Gr 20P</c:v>
                </c:pt>
                <c:pt idx="15">
                  <c:v>Boursin Classique Fromage Frais A Tartiner Afh Boite 1X250Gr 1P</c:v>
                </c:pt>
                <c:pt idx="16">
                  <c:v>Kiri Gouter Fromage Blanc Dips Boite 1X280Gr 8P</c:v>
                </c:pt>
                <c:pt idx="17">
                  <c:v>Port Salut St Paulin 1X320Gr 1P</c:v>
                </c:pt>
                <c:pt idx="18">
                  <c:v>Apericube Long Drink Fromage Fondu Cube Assortis 1X250Gr 48P</c:v>
                </c:pt>
                <c:pt idx="19">
                  <c:v>Boursin Onctueux Fromage Frais A Tartiner Afh 1X125Gr 1P</c:v>
                </c:pt>
                <c:pt idx="20">
                  <c:v>Apericube Tonic Fromage Fondu Cube Assortis 1X250Gr 48P</c:v>
                </c:pt>
                <c:pt idx="21">
                  <c:v>La Vache Qui Rit Pik Et Croq' Fromage Fondu Dips Boite 1X175Gr 5P</c:v>
                </c:pt>
                <c:pt idx="22">
                  <c:v>Cousteron St Paulin 1X320Gr 1P</c:v>
                </c:pt>
                <c:pt idx="23">
                  <c:v>Boursin Classique Fromage Frais A Tartiner Figue Et 3 Noix Boite 1X150Gr 1P</c:v>
                </c:pt>
                <c:pt idx="24">
                  <c:v>Apericube Campagne Fromage Fondu Cube Assortis 1X125Gr 24P</c:v>
                </c:pt>
                <c:pt idx="25">
                  <c:v>Boursin Classique Fromage Frais A Tartiner Afh Boite 1X96Gr 6P</c:v>
                </c:pt>
                <c:pt idx="26">
                  <c:v>Apericube Nature Fromage Fondu Cube 1X125Gr 24P</c:v>
                </c:pt>
                <c:pt idx="27">
                  <c:v>Boursin Salade &amp; Aperitif Fromage Frais Des Afh 1X120Gr 1P</c:v>
                </c:pt>
                <c:pt idx="28">
                  <c:v>Boursin Classique Fromage Frais A Tartiner Ciboulette &amp; Echalote Boite 1X150Gr 1P</c:v>
                </c:pt>
                <c:pt idx="29">
                  <c:v>Boursin Cuisine Sauce Fromage Afh 1X240Gr 1P</c:v>
                </c:pt>
                <c:pt idx="30">
                  <c:v>Apericube Edition Limitee Saison Fromage Fondu Cube Assortis 1X250Gr 48P</c:v>
                </c:pt>
                <c:pt idx="31">
                  <c:v>Apericube Edition Voyage Fromage Fondu Cube Assortis 1X250Gr 48P</c:v>
                </c:pt>
                <c:pt idx="32">
                  <c:v>Apericube Incontournable Fromage Fondu Cube Assortis 1X250Gr 48P</c:v>
                </c:pt>
                <c:pt idx="33">
                  <c:v>Mini Babybel Rouge Filet St Paulin Ferme 1X440Gr 20P</c:v>
                </c:pt>
                <c:pt idx="34">
                  <c:v>Boursin Aperitif Roules Fromage Frais Roule Ciboulette &amp; Echalote Jambon Fume Boite 1X100Gr 20P</c:v>
                </c:pt>
                <c:pt idx="35">
                  <c:v>La Vache Qui Rit Allegee Fromage Fondu Boite Ronde Allege 1X267Gr 16P</c:v>
                </c:pt>
                <c:pt idx="36">
                  <c:v>Boursin Classique Fromage Frais A Tartiner Poivre Boite 1X150Gr 1P</c:v>
                </c:pt>
                <c:pt idx="37">
                  <c:v>La Vache Qui Rit Pik Et Croq' Fromage Fondu Dips Boite 1X280Gr 8P</c:v>
                </c:pt>
                <c:pt idx="38">
                  <c:v>Babybel Mini Rolls St Paulin Ferme Sachet 1X85Gr 5P</c:v>
                </c:pt>
                <c:pt idx="39">
                  <c:v>Apericube Saveurs De L'Authentique Fromage Fondu Cube Assortis 1X250Gr 48P</c:v>
                </c:pt>
                <c:pt idx="40">
                  <c:v>Kiri Bio Fromage Blanc Frais Carre 1X144Gr 8P</c:v>
                </c:pt>
                <c:pt idx="41">
                  <c:v>Boursin Classique Fromage Frais A Tartiner Afh 1X256Gr 16P</c:v>
                </c:pt>
                <c:pt idx="42">
                  <c:v>Kiri Delicieusement Fouette Fromage Frais A Tartiner 1X125Gr 1P</c:v>
                </c:pt>
                <c:pt idx="43">
                  <c:v>Boursin Aperitif Roules Fromage Frais Roule Basilic &amp; Jambon Fume Tomate Boite 1X100Gr 20P</c:v>
                </c:pt>
                <c:pt idx="44">
                  <c:v>Mini Babybel Aros St Paulin Ferme Assortis Filet 1X180Gr 9P</c:v>
                </c:pt>
                <c:pt idx="45">
                  <c:v>Kiri Creme Fromage Blanc Frais Carre 1X432Gr 18+6P</c:v>
                </c:pt>
                <c:pt idx="46">
                  <c:v>Boursin Classique Fromage Frais A Tartiner Ciboulette &amp; Echalote 1X160Gr 10P</c:v>
                </c:pt>
                <c:pt idx="47">
                  <c:v>La Vache Qui Rit Aro Fromage Fondu Boite Ronde Jambon 1X133Gr 8P</c:v>
                </c:pt>
                <c:pt idx="48">
                  <c:v>Kiri Chevre Fromage Blanc Frais Carre 1X144Gr 8P</c:v>
                </c:pt>
                <c:pt idx="49">
                  <c:v>Mini Babybel Rouge Filet St Paulin Ferme 1X396Gr 12+6P</c:v>
                </c:pt>
                <c:pt idx="50">
                  <c:v>Mini Babybel Aros Soft Cheese Enfant 180G</c:v>
                </c:pt>
                <c:pt idx="51">
                  <c:v>Apericube Long Drink Fromage Fondu Cube Assortis 1X125Gr 24P</c:v>
                </c:pt>
                <c:pt idx="52">
                  <c:v>Kiri Delicieusement Fouette Fromage Frais A Tartiner 1X160Gr 10P</c:v>
                </c:pt>
                <c:pt idx="53">
                  <c:v>Mini Babybel Aros St Paulin Ferme Raclette Filet 1X132Gr 6P</c:v>
                </c:pt>
                <c:pt idx="54">
                  <c:v>Boursin Salade &amp; Aperitif Fromage Frais Des Ciboulette Echalote 1X120Gr 1P</c:v>
                </c:pt>
                <c:pt idx="55">
                  <c:v>Apericube Soiree Match Aperitif 250G</c:v>
                </c:pt>
                <c:pt idx="56">
                  <c:v>Nurishh Le Rape Vegetal Specialite Vegetale Sachet 1X150Gr 1P</c:v>
                </c:pt>
                <c:pt idx="57">
                  <c:v>Boursin Salade &amp; Aperitif Fromage Frais Des Figue Noix 1X120Gr 1P</c:v>
                </c:pt>
                <c:pt idx="58">
                  <c:v>Nurishh Les Tranches Vegetales Cheddar Vegetal Tranche Boite 1X160Gr 8P</c:v>
                </c:pt>
                <c:pt idx="59">
                  <c:v>Nurishh Le Rape Vegetal Specialite Vegetale Emmental Sachet 1X150Gr 1P</c:v>
                </c:pt>
                <c:pt idx="60">
                  <c:v>Boursin Classique Fromage Frais A Tartiner Afh Boite 1X80Gr 1P</c:v>
                </c:pt>
                <c:pt idx="61">
                  <c:v>Apericube Best Of Des Saveurs Fromage Fondu Cube Assortis 1X125Gr 24P</c:v>
                </c:pt>
                <c:pt idx="62">
                  <c:v>Nurishh Le Palet Vegetal Specialite Vegetale Ovale Saveur Chevre Boite 1X140Gr 1P</c:v>
                </c:pt>
                <c:pt idx="63">
                  <c:v>Nurishh Le Coeur Fleuri Vegetal Camembert Boite 1X140Gr 1P</c:v>
                </c:pt>
                <c:pt idx="64">
                  <c:v>Boursin Salade &amp; Aperitif Fromage Frais Des Citron Romarin 1X120Gr 1P</c:v>
                </c:pt>
                <c:pt idx="65">
                  <c:v>Apericube Hot Chalenge Aperitif 250G</c:v>
                </c:pt>
                <c:pt idx="66">
                  <c:v>Mini Babybel Rouge Filet St Paulin Ferme Sachet 1X40Gr 1P</c:v>
                </c:pt>
                <c:pt idx="67">
                  <c:v>Mini Babybel Aros Soft Cheese Enfant 110G</c:v>
                </c:pt>
                <c:pt idx="68">
                  <c:v>Nurishh Des Vegetaux Feta Vegetale Sachet 1X150Gr 1P</c:v>
                </c:pt>
                <c:pt idx="69">
                  <c:v>Boursin Salade &amp; Aperitif Fromage Frais Des Noisette Et 3 Noix 1X120Gr 1P</c:v>
                </c:pt>
                <c:pt idx="70">
                  <c:v>Boursin Classique Fromage Frais A Tartiner Truffe Boite 1X150Gr 1P</c:v>
                </c:pt>
                <c:pt idx="71">
                  <c:v>Boursin Salade &amp; Aperitif Soft Cheese Salade 120G</c:v>
                </c:pt>
                <c:pt idx="72">
                  <c:v>Apericube Fromages Du Monde Aperitif 250G</c:v>
                </c:pt>
                <c:pt idx="73">
                  <c:v>Apericube Montagne Aperitif 250G</c:v>
                </c:pt>
                <c:pt idx="74">
                  <c:v>Boursin Aperitif Roules Fromage Frais Roule Jambon Fume &amp; Trio De Noix Boite 1X100Gr 20P</c:v>
                </c:pt>
                <c:pt idx="75">
                  <c:v>Boursin Aperitif Roules Aperitif 100G</c:v>
                </c:pt>
                <c:pt idx="76">
                  <c:v>Mini Babybel Bio St Paulin Ferme Filet 1X100Gr 5P</c:v>
                </c:pt>
                <c:pt idx="77">
                  <c:v>Toastinette Fromage Fondu Tranche A Chaud Sachet 1X200Gr 10P</c:v>
                </c:pt>
                <c:pt idx="78">
                  <c:v>La Vache Qui Rit Nature Fromage Fondu Boite Ronde 1X128Gr 8P</c:v>
                </c:pt>
                <c:pt idx="79">
                  <c:v>Kiri Delicieusement Fouette Fromage Frais A Tartiner 1X210Gr 1P</c:v>
                </c:pt>
                <c:pt idx="80">
                  <c:v>Toastinette Fromage Fondu Tranche A Chaud Sachet 1X340Gr 20P</c:v>
                </c:pt>
                <c:pt idx="81">
                  <c:v>Toastinette Cheddar Fondu Tranche A Chaud Sachet 1X340Gr 20P</c:v>
                </c:pt>
              </c:strCache>
            </c:strRef>
          </c:cat>
          <c:val>
            <c:numRef>
              <c:f>Sheet1!$B$2:$B$83</c:f>
              <c:numCache>
                <c:formatCode>General</c:formatCode>
                <c:ptCount val="82"/>
                <c:pt idx="0">
                  <c:v>0.88</c:v>
                </c:pt>
                <c:pt idx="1">
                  <c:v>0.98</c:v>
                </c:pt>
                <c:pt idx="2">
                  <c:v>0.98</c:v>
                </c:pt>
                <c:pt idx="3">
                  <c:v>0.68</c:v>
                </c:pt>
                <c:pt idx="4">
                  <c:v>0.85</c:v>
                </c:pt>
                <c:pt idx="5">
                  <c:v>0.68</c:v>
                </c:pt>
                <c:pt idx="6">
                  <c:v>0.92</c:v>
                </c:pt>
                <c:pt idx="7">
                  <c:v>0.98</c:v>
                </c:pt>
                <c:pt idx="8">
                  <c:v>0.9</c:v>
                </c:pt>
                <c:pt idx="9">
                  <c:v>0.75</c:v>
                </c:pt>
                <c:pt idx="10">
                  <c:v>0.9</c:v>
                </c:pt>
                <c:pt idx="11">
                  <c:v>0.82</c:v>
                </c:pt>
                <c:pt idx="12">
                  <c:v>0.52</c:v>
                </c:pt>
                <c:pt idx="13">
                  <c:v>0.93</c:v>
                </c:pt>
                <c:pt idx="14">
                  <c:v>0.85</c:v>
                </c:pt>
                <c:pt idx="15">
                  <c:v>0.89</c:v>
                </c:pt>
                <c:pt idx="16">
                  <c:v>0.68</c:v>
                </c:pt>
                <c:pt idx="17">
                  <c:v>0.81</c:v>
                </c:pt>
                <c:pt idx="18">
                  <c:v>0.71</c:v>
                </c:pt>
                <c:pt idx="19">
                  <c:v>0.81</c:v>
                </c:pt>
                <c:pt idx="20">
                  <c:v>0.7</c:v>
                </c:pt>
                <c:pt idx="21">
                  <c:v>0.82</c:v>
                </c:pt>
                <c:pt idx="22">
                  <c:v>0.81</c:v>
                </c:pt>
                <c:pt idx="23">
                  <c:v>0.89</c:v>
                </c:pt>
                <c:pt idx="24">
                  <c:v>0.71</c:v>
                </c:pt>
                <c:pt idx="25">
                  <c:v>0.74</c:v>
                </c:pt>
                <c:pt idx="26">
                  <c:v>0.75</c:v>
                </c:pt>
                <c:pt idx="27">
                  <c:v>0.85</c:v>
                </c:pt>
                <c:pt idx="28">
                  <c:v>0.83</c:v>
                </c:pt>
                <c:pt idx="29">
                  <c:v>0.73</c:v>
                </c:pt>
                <c:pt idx="30">
                  <c:v>0.46</c:v>
                </c:pt>
                <c:pt idx="31">
                  <c:v>0.45</c:v>
                </c:pt>
                <c:pt idx="32">
                  <c:v>0.41</c:v>
                </c:pt>
                <c:pt idx="33">
                  <c:v>0.39</c:v>
                </c:pt>
                <c:pt idx="34">
                  <c:v>0.56</c:v>
                </c:pt>
                <c:pt idx="35">
                  <c:v>0.5</c:v>
                </c:pt>
                <c:pt idx="36">
                  <c:v>0.75</c:v>
                </c:pt>
                <c:pt idx="37">
                  <c:v>0.42</c:v>
                </c:pt>
                <c:pt idx="38">
                  <c:v>0.41</c:v>
                </c:pt>
                <c:pt idx="39">
                  <c:v>0.45</c:v>
                </c:pt>
                <c:pt idx="40">
                  <c:v>0.31</c:v>
                </c:pt>
                <c:pt idx="41">
                  <c:v>0.64</c:v>
                </c:pt>
                <c:pt idx="42">
                  <c:v>0.44</c:v>
                </c:pt>
                <c:pt idx="43">
                  <c:v>0.57</c:v>
                </c:pt>
                <c:pt idx="44">
                  <c:v>0.36</c:v>
                </c:pt>
                <c:pt idx="45">
                  <c:v>0.59</c:v>
                </c:pt>
                <c:pt idx="46">
                  <c:v>0.46</c:v>
                </c:pt>
                <c:pt idx="47">
                  <c:v>0.33</c:v>
                </c:pt>
                <c:pt idx="48">
                  <c:v>0.38</c:v>
                </c:pt>
                <c:pt idx="49">
                  <c:v>0.73</c:v>
                </c:pt>
                <c:pt idx="50">
                  <c:v>0.3</c:v>
                </c:pt>
                <c:pt idx="51">
                  <c:v>0.37</c:v>
                </c:pt>
                <c:pt idx="52">
                  <c:v>0.5</c:v>
                </c:pt>
                <c:pt idx="53">
                  <c:v>0.29</c:v>
                </c:pt>
                <c:pt idx="54">
                  <c:v>0.43</c:v>
                </c:pt>
                <c:pt idx="55">
                  <c:v>0.33</c:v>
                </c:pt>
                <c:pt idx="56">
                  <c:v>0.16</c:v>
                </c:pt>
                <c:pt idx="57">
                  <c:v>0.47</c:v>
                </c:pt>
                <c:pt idx="58">
                  <c:v>0.14</c:v>
                </c:pt>
                <c:pt idx="59">
                  <c:v>0.13</c:v>
                </c:pt>
                <c:pt idx="60">
                  <c:v>0.12</c:v>
                </c:pt>
                <c:pt idx="61">
                  <c:v>0.4</c:v>
                </c:pt>
                <c:pt idx="62">
                  <c:v>0.08</c:v>
                </c:pt>
                <c:pt idx="63">
                  <c:v>0.09</c:v>
                </c:pt>
                <c:pt idx="64">
                  <c:v>0.28</c:v>
                </c:pt>
                <c:pt idx="65">
                  <c:v>0.16</c:v>
                </c:pt>
                <c:pt idx="66">
                  <c:v>0.13</c:v>
                </c:pt>
                <c:pt idx="67">
                  <c:v>0.19</c:v>
                </c:pt>
                <c:pt idx="68">
                  <c:v>0.11</c:v>
                </c:pt>
                <c:pt idx="69">
                  <c:v>0.41</c:v>
                </c:pt>
                <c:pt idx="70">
                  <c:v>0.33</c:v>
                </c:pt>
                <c:pt idx="71">
                  <c:v>0.14</c:v>
                </c:pt>
                <c:pt idx="72">
                  <c:v>0.09</c:v>
                </c:pt>
                <c:pt idx="73">
                  <c:v>0.07</c:v>
                </c:pt>
                <c:pt idx="74">
                  <c:v>0.18</c:v>
                </c:pt>
                <c:pt idx="75">
                  <c:v>0.17</c:v>
                </c:pt>
                <c:pt idx="76">
                  <c:v>0.05</c:v>
                </c:pt>
                <c:pt idx="77">
                  <c:v>0.01</c:v>
                </c:pt>
                <c:pt idx="78">
                  <c:v>0.04</c:v>
                </c:pt>
                <c:pt idx="79">
                  <c:v>0.01</c:v>
                </c:pt>
                <c:pt idx="80">
                  <c:v>0.01</c:v>
                </c:pt>
                <c:pt idx="81">
                  <c:v>0.01</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00A097"/>
              </a:solidFill>
            </c:spPr>
            <c:extLst>
              <c:ext xmlns:c16="http://schemas.microsoft.com/office/drawing/2014/chart" uri="{C3380CC4-5D6E-409C-BE32-E72D297353CC}">
                <c16:uniqueId val="{00000023-FA3E-4872-B6E1-C4ABDF5766E2}"/>
              </c:ext>
            </c:extLst>
          </c:dPt>
          <c:dPt>
            <c:idx val="17"/>
            <c:invertIfNegative val="1"/>
            <c:bubble3D val="0"/>
            <c:spPr>
              <a:solidFill>
                <a:srgbClr val="00A097"/>
              </a:solidFill>
            </c:spPr>
            <c:extLst>
              <c:ext xmlns:c16="http://schemas.microsoft.com/office/drawing/2014/chart" uri="{C3380CC4-5D6E-409C-BE32-E72D297353CC}">
                <c16:uniqueId val="{00000025-FA3E-4872-B6E1-C4ABDF5766E2}"/>
              </c:ext>
            </c:extLst>
          </c:dPt>
          <c:dPt>
            <c:idx val="18"/>
            <c:invertIfNegative val="1"/>
            <c:bubble3D val="0"/>
            <c:spPr>
              <a:solidFill>
                <a:srgbClr val="00A097"/>
              </a:solidFill>
            </c:spPr>
            <c:extLst>
              <c:ext xmlns:c16="http://schemas.microsoft.com/office/drawing/2014/chart" uri="{C3380CC4-5D6E-409C-BE32-E72D297353CC}">
                <c16:uniqueId val="{00000027-FA3E-4872-B6E1-C4ABDF5766E2}"/>
              </c:ext>
            </c:extLst>
          </c:dPt>
          <c:dPt>
            <c:idx val="19"/>
            <c:invertIfNegative val="1"/>
            <c:bubble3D val="0"/>
            <c:spPr>
              <a:solidFill>
                <a:srgbClr val="00A097"/>
              </a:solidFill>
            </c:spPr>
            <c:extLst>
              <c:ext xmlns:c16="http://schemas.microsoft.com/office/drawing/2014/chart" uri="{C3380CC4-5D6E-409C-BE32-E72D297353CC}">
                <c16:uniqueId val="{00000029-FA3E-4872-B6E1-C4ABDF5766E2}"/>
              </c:ext>
            </c:extLst>
          </c:dPt>
          <c:dPt>
            <c:idx val="20"/>
            <c:invertIfNegative val="1"/>
            <c:bubble3D val="0"/>
            <c:spPr>
              <a:solidFill>
                <a:srgbClr val="00A097"/>
              </a:solidFill>
            </c:spPr>
            <c:extLst>
              <c:ext xmlns:c16="http://schemas.microsoft.com/office/drawing/2014/chart" uri="{C3380CC4-5D6E-409C-BE32-E72D297353CC}">
                <c16:uniqueId val="{0000002B-FA3E-4872-B6E1-C4ABDF5766E2}"/>
              </c:ext>
            </c:extLst>
          </c:dPt>
          <c:dPt>
            <c:idx val="21"/>
            <c:invertIfNegative val="1"/>
            <c:bubble3D val="0"/>
            <c:spPr>
              <a:solidFill>
                <a:srgbClr val="00A097"/>
              </a:solidFill>
            </c:spPr>
            <c:extLst>
              <c:ext xmlns:c16="http://schemas.microsoft.com/office/drawing/2014/chart" uri="{C3380CC4-5D6E-409C-BE32-E72D297353CC}">
                <c16:uniqueId val="{0000002D-FA3E-4872-B6E1-C4ABDF5766E2}"/>
              </c:ext>
            </c:extLst>
          </c:dPt>
          <c:dPt>
            <c:idx val="22"/>
            <c:invertIfNegative val="1"/>
            <c:bubble3D val="0"/>
            <c:spPr>
              <a:solidFill>
                <a:srgbClr val="00A097"/>
              </a:solidFill>
            </c:spPr>
            <c:extLst>
              <c:ext xmlns:c16="http://schemas.microsoft.com/office/drawing/2014/chart" uri="{C3380CC4-5D6E-409C-BE32-E72D297353CC}">
                <c16:uniqueId val="{0000002F-FA3E-4872-B6E1-C4ABDF5766E2}"/>
              </c:ext>
            </c:extLst>
          </c:dPt>
          <c:dPt>
            <c:idx val="23"/>
            <c:invertIfNegative val="1"/>
            <c:bubble3D val="0"/>
            <c:spPr>
              <a:solidFill>
                <a:srgbClr val="00A097"/>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7ECAC4"/>
              </a:solidFill>
            </c:spPr>
            <c:extLst>
              <c:ext xmlns:c16="http://schemas.microsoft.com/office/drawing/2014/chart" uri="{C3380CC4-5D6E-409C-BE32-E72D297353CC}">
                <c16:uniqueId val="{0000003F-FA3E-4872-B6E1-C4ABDF5766E2}"/>
              </c:ext>
            </c:extLst>
          </c:dPt>
          <c:dPt>
            <c:idx val="31"/>
            <c:invertIfNegative val="1"/>
            <c:bubble3D val="0"/>
            <c:spPr>
              <a:solidFill>
                <a:srgbClr val="7ECAC4"/>
              </a:solidFill>
            </c:spPr>
            <c:extLst>
              <c:ext xmlns:c16="http://schemas.microsoft.com/office/drawing/2014/chart" uri="{C3380CC4-5D6E-409C-BE32-E72D297353CC}">
                <c16:uniqueId val="{00000041-FA3E-4872-B6E1-C4ABDF5766E2}"/>
              </c:ext>
            </c:extLst>
          </c:dPt>
          <c:dPt>
            <c:idx val="32"/>
            <c:invertIfNegative val="1"/>
            <c:bubble3D val="0"/>
            <c:spPr>
              <a:solidFill>
                <a:srgbClr val="7ECAC4"/>
              </a:solidFill>
            </c:spPr>
            <c:extLst>
              <c:ext xmlns:c16="http://schemas.microsoft.com/office/drawing/2014/chart" uri="{C3380CC4-5D6E-409C-BE32-E72D297353CC}">
                <c16:uniqueId val="{00000043-FA3E-4872-B6E1-C4ABDF5766E2}"/>
              </c:ext>
            </c:extLst>
          </c:dPt>
          <c:dPt>
            <c:idx val="33"/>
            <c:invertIfNegative val="1"/>
            <c:bubble3D val="0"/>
            <c:spPr>
              <a:solidFill>
                <a:srgbClr val="7ECAC4"/>
              </a:solidFill>
            </c:spPr>
            <c:extLst>
              <c:ext xmlns:c16="http://schemas.microsoft.com/office/drawing/2014/chart" uri="{C3380CC4-5D6E-409C-BE32-E72D297353CC}">
                <c16:uniqueId val="{00000045-FA3E-4872-B6E1-C4ABDF5766E2}"/>
              </c:ext>
            </c:extLst>
          </c:dPt>
          <c:dPt>
            <c:idx val="34"/>
            <c:invertIfNegative val="1"/>
            <c:bubble3D val="0"/>
            <c:spPr>
              <a:solidFill>
                <a:srgbClr val="7ECAC4"/>
              </a:solidFill>
            </c:spPr>
            <c:extLst>
              <c:ext xmlns:c16="http://schemas.microsoft.com/office/drawing/2014/chart" uri="{C3380CC4-5D6E-409C-BE32-E72D297353CC}">
                <c16:uniqueId val="{00000047-FA3E-4872-B6E1-C4ABDF5766E2}"/>
              </c:ext>
            </c:extLst>
          </c:dPt>
          <c:dPt>
            <c:idx val="35"/>
            <c:invertIfNegative val="1"/>
            <c:bubble3D val="0"/>
            <c:spPr>
              <a:solidFill>
                <a:srgbClr val="7ECAC4"/>
              </a:solidFill>
            </c:spPr>
            <c:extLst>
              <c:ext xmlns:c16="http://schemas.microsoft.com/office/drawing/2014/chart" uri="{C3380CC4-5D6E-409C-BE32-E72D297353CC}">
                <c16:uniqueId val="{00000049-FA3E-4872-B6E1-C4ABDF5766E2}"/>
              </c:ext>
            </c:extLst>
          </c:dPt>
          <c:dPt>
            <c:idx val="36"/>
            <c:invertIfNegative val="1"/>
            <c:bubble3D val="0"/>
            <c:spPr>
              <a:solidFill>
                <a:srgbClr val="7ECAC4"/>
              </a:solidFill>
            </c:spPr>
            <c:extLst>
              <c:ext xmlns:c16="http://schemas.microsoft.com/office/drawing/2014/chart" uri="{C3380CC4-5D6E-409C-BE32-E72D297353CC}">
                <c16:uniqueId val="{0000004B-FA3E-4872-B6E1-C4ABDF5766E2}"/>
              </c:ext>
            </c:extLst>
          </c:dPt>
          <c:dPt>
            <c:idx val="37"/>
            <c:invertIfNegative val="1"/>
            <c:bubble3D val="0"/>
            <c:spPr>
              <a:solidFill>
                <a:srgbClr val="7ECAC4"/>
              </a:solidFill>
            </c:spPr>
            <c:extLst>
              <c:ext xmlns:c16="http://schemas.microsoft.com/office/drawing/2014/chart" uri="{C3380CC4-5D6E-409C-BE32-E72D297353CC}">
                <c16:uniqueId val="{0000004D-FA3E-4872-B6E1-C4ABDF5766E2}"/>
              </c:ext>
            </c:extLst>
          </c:dPt>
          <c:dPt>
            <c:idx val="38"/>
            <c:invertIfNegative val="1"/>
            <c:bubble3D val="0"/>
            <c:spPr>
              <a:solidFill>
                <a:srgbClr val="7ECAC4"/>
              </a:solidFill>
            </c:spPr>
            <c:extLst>
              <c:ext xmlns:c16="http://schemas.microsoft.com/office/drawing/2014/chart" uri="{C3380CC4-5D6E-409C-BE32-E72D297353CC}">
                <c16:uniqueId val="{0000004F-FA3E-4872-B6E1-C4ABDF5766E2}"/>
              </c:ext>
            </c:extLst>
          </c:dPt>
          <c:dPt>
            <c:idx val="39"/>
            <c:invertIfNegative val="1"/>
            <c:bubble3D val="0"/>
            <c:spPr>
              <a:solidFill>
                <a:srgbClr val="7ECAC4"/>
              </a:solidFill>
            </c:spPr>
            <c:extLst>
              <c:ext xmlns:c16="http://schemas.microsoft.com/office/drawing/2014/chart" uri="{C3380CC4-5D6E-409C-BE32-E72D297353CC}">
                <c16:uniqueId val="{00000051-FA3E-4872-B6E1-C4ABDF5766E2}"/>
              </c:ext>
            </c:extLst>
          </c:dPt>
          <c:dPt>
            <c:idx val="40"/>
            <c:invertIfNegative val="1"/>
            <c:bubble3D val="0"/>
            <c:spPr>
              <a:solidFill>
                <a:srgbClr val="7ECAC4"/>
              </a:solidFill>
            </c:spPr>
            <c:extLst>
              <c:ext xmlns:c16="http://schemas.microsoft.com/office/drawing/2014/chart" uri="{C3380CC4-5D6E-409C-BE32-E72D297353CC}">
                <c16:uniqueId val="{00000053-FA3E-4872-B6E1-C4ABDF5766E2}"/>
              </c:ext>
            </c:extLst>
          </c:dPt>
          <c:dPt>
            <c:idx val="41"/>
            <c:invertIfNegative val="1"/>
            <c:bubble3D val="0"/>
            <c:spPr>
              <a:solidFill>
                <a:srgbClr val="7ECAC4"/>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dPt>
            <c:idx val="44"/>
            <c:spPr>
              <a:solidFill>
                <a:srgbClr val="AEABAB"/>
              </a:solidFill>
            </c:spPr>
          </c:dPt>
          <c:dPt>
            <c:idx val="45"/>
            <c:spPr>
              <a:solidFill>
                <a:srgbClr val="AEABAB"/>
              </a:solidFill>
            </c:spPr>
          </c:dPt>
          <c:dPt>
            <c:idx val="46"/>
            <c:spPr>
              <a:solidFill>
                <a:srgbClr val="AEABAB"/>
              </a:solidFill>
            </c:spPr>
          </c:dPt>
          <c:dPt>
            <c:idx val="47"/>
            <c:spPr>
              <a:solidFill>
                <a:srgbClr val="AEABAB"/>
              </a:solidFill>
            </c:spPr>
          </c:dPt>
          <c:dPt>
            <c:idx val="48"/>
            <c:spPr>
              <a:solidFill>
                <a:srgbClr val="AEABAB"/>
              </a:solidFill>
            </c:spPr>
          </c:dPt>
          <c:dPt>
            <c:idx val="49"/>
            <c:spPr>
              <a:solidFill>
                <a:srgbClr val="AEABAB"/>
              </a:solidFill>
            </c:spPr>
          </c:dPt>
          <c:dPt>
            <c:idx val="50"/>
            <c:spPr>
              <a:solidFill>
                <a:srgbClr val="AEABAB"/>
              </a:solidFill>
            </c:spPr>
          </c:dPt>
          <c:dPt>
            <c:idx val="51"/>
            <c:spPr>
              <a:solidFill>
                <a:srgbClr val="AEABAB"/>
              </a:solidFill>
            </c:spPr>
          </c:dPt>
          <c:dPt>
            <c:idx val="52"/>
            <c:spPr>
              <a:solidFill>
                <a:srgbClr val="AEABAB"/>
              </a:solidFill>
            </c:spPr>
          </c:dPt>
          <c:dPt>
            <c:idx val="53"/>
            <c:spPr>
              <a:solidFill>
                <a:srgbClr val="AEABAB"/>
              </a:solidFill>
            </c:spPr>
          </c:dPt>
          <c:dPt>
            <c:idx val="54"/>
            <c:spPr>
              <a:solidFill>
                <a:srgbClr val="AEABAB"/>
              </a:solidFill>
            </c:spPr>
          </c:dPt>
          <c:dPt>
            <c:idx val="55"/>
            <c:spPr>
              <a:solidFill>
                <a:srgbClr val="AEABAB"/>
              </a:solidFill>
            </c:spPr>
          </c:dPt>
          <c:dPt>
            <c:idx val="56"/>
            <c:spPr>
              <a:solidFill>
                <a:srgbClr val="AEABAB"/>
              </a:solidFill>
            </c:spPr>
          </c:dPt>
          <c:dPt>
            <c:idx val="57"/>
            <c:spPr>
              <a:solidFill>
                <a:srgbClr val="AEABAB"/>
              </a:solidFill>
            </c:spPr>
          </c:dPt>
          <c:dPt>
            <c:idx val="58"/>
            <c:spPr>
              <a:solidFill>
                <a:srgbClr val="AEABAB"/>
              </a:solidFill>
            </c:spPr>
          </c:dPt>
          <c:dPt>
            <c:idx val="59"/>
            <c:spPr>
              <a:solidFill>
                <a:srgbClr val="AEABAB"/>
              </a:solidFill>
            </c:spPr>
          </c:dPt>
          <c:dPt>
            <c:idx val="60"/>
            <c:spPr>
              <a:solidFill>
                <a:srgbClr val="AEABAB"/>
              </a:solidFill>
            </c:spPr>
          </c:dPt>
          <c:dPt>
            <c:idx val="61"/>
            <c:spPr>
              <a:solidFill>
                <a:srgbClr val="AEABAB"/>
              </a:solidFill>
            </c:spPr>
          </c:dPt>
          <c:dPt>
            <c:idx val="62"/>
            <c:spPr>
              <a:solidFill>
                <a:srgbClr val="AEABAB"/>
              </a:solidFill>
            </c:spPr>
          </c:dPt>
          <c:dPt>
            <c:idx val="63"/>
            <c:spPr>
              <a:solidFill>
                <a:srgbClr val="AEABAB"/>
              </a:solidFill>
            </c:spPr>
          </c:dPt>
          <c:dPt>
            <c:idx val="64"/>
            <c:spPr>
              <a:solidFill>
                <a:srgbClr val="AEABAB"/>
              </a:solidFill>
            </c:spPr>
          </c:dPt>
          <c:dPt>
            <c:idx val="65"/>
            <c:spPr>
              <a:solidFill>
                <a:srgbClr val="AEABAB"/>
              </a:solidFill>
            </c:spPr>
          </c:dPt>
          <c:dPt>
            <c:idx val="66"/>
            <c:spPr>
              <a:solidFill>
                <a:srgbClr val="AEABAB"/>
              </a:solidFill>
            </c:spPr>
          </c:dPt>
          <c:dPt>
            <c:idx val="67"/>
            <c:spPr>
              <a:solidFill>
                <a:srgbClr val="AEABAB"/>
              </a:solidFill>
            </c:spPr>
          </c:dPt>
          <c:dPt>
            <c:idx val="68"/>
            <c:spPr>
              <a:solidFill>
                <a:srgbClr val="AEABAB"/>
              </a:solidFill>
            </c:spPr>
          </c:dPt>
          <c:dPt>
            <c:idx val="69"/>
            <c:spPr>
              <a:solidFill>
                <a:srgbClr val="AEABAB"/>
              </a:solidFill>
            </c:spPr>
          </c:dPt>
          <c:dPt>
            <c:idx val="70"/>
            <c:spPr>
              <a:solidFill>
                <a:srgbClr val="AEABAB"/>
              </a:solidFill>
            </c:spPr>
          </c:dPt>
          <c:dPt>
            <c:idx val="71"/>
            <c:spPr>
              <a:solidFill>
                <a:srgbClr val="AEABAB"/>
              </a:solidFill>
            </c:spPr>
          </c:dPt>
          <c:dPt>
            <c:idx val="72"/>
            <c:spPr>
              <a:solidFill>
                <a:srgbClr val="AEABAB"/>
              </a:solidFill>
            </c:spPr>
          </c:dPt>
          <c:dPt>
            <c:idx val="73"/>
            <c:spPr>
              <a:solidFill>
                <a:srgbClr val="AEABAB"/>
              </a:solidFill>
            </c:spPr>
          </c:dPt>
          <c:dPt>
            <c:idx val="74"/>
            <c:spPr>
              <a:solidFill>
                <a:srgbClr val="AEABAB"/>
              </a:solidFill>
            </c:spPr>
          </c:dPt>
          <c:dPt>
            <c:idx val="75"/>
            <c:spPr>
              <a:solidFill>
                <a:srgbClr val="AEABAB"/>
              </a:solidFill>
            </c:spPr>
          </c:dPt>
          <c:dPt>
            <c:idx val="76"/>
            <c:spPr>
              <a:solidFill>
                <a:srgbClr val="AEABAB"/>
              </a:solidFill>
            </c:spPr>
          </c:dPt>
          <c:dPt>
            <c:idx val="77"/>
            <c:spPr>
              <a:solidFill>
                <a:srgbClr val="AEABAB"/>
              </a:solidFill>
            </c:spPr>
          </c:dPt>
          <c:dPt>
            <c:idx val="78"/>
            <c:spPr>
              <a:solidFill>
                <a:srgbClr val="AEABAB"/>
              </a:solidFill>
            </c:spPr>
          </c:dPt>
          <c:dPt>
            <c:idx val="79"/>
            <c:spPr>
              <a:solidFill>
                <a:srgbClr val="AEABAB"/>
              </a:solidFill>
            </c:spPr>
          </c:dPt>
          <c:dPt>
            <c:idx val="80"/>
            <c:spPr>
              <a:solidFill>
                <a:srgbClr val="AEABAB"/>
              </a:solidFill>
            </c:spPr>
          </c:dPt>
          <c:dPt>
            <c:idx val="81"/>
            <c:spPr>
              <a:solidFill>
                <a:srgbClr val="AEABAB"/>
              </a:solidFill>
            </c:spPr>
          </c:dPt>
          <c:cat>
            <c:strRef>
              <c:f>Sheet1!$A$2:$A$83</c:f>
              <c:strCache>
                <c:ptCount val="82"/>
                <c:pt idx="0">
                  <c:v>Mini Babybel Rouge Filet St Paulin Ferme 1X264Gr 12P</c:v>
                </c:pt>
                <c:pt idx="1">
                  <c:v>La Vache Qui Rit Nature Fromage Fondu Boite Ronde 1X192Gr 12P</c:v>
                </c:pt>
                <c:pt idx="2">
                  <c:v>Mini Babybel Rouge Filet St Paulin Ferme 1X132Gr 6P</c:v>
                </c:pt>
                <c:pt idx="3">
                  <c:v>La Vache Qui Rit Nature Fromage Fondu Boite Ronde 1X512Gr 32P</c:v>
                </c:pt>
                <c:pt idx="4">
                  <c:v>Kiri Creme Fromage Blanc Frais Carre 1X216Gr 12P</c:v>
                </c:pt>
                <c:pt idx="5">
                  <c:v>La Vache Qui Rit Nature Fromage Fondu Boite Ronde 1X384Gr 24P</c:v>
                </c:pt>
                <c:pt idx="6">
                  <c:v>Kiri Creme Fromage Blanc Frais Carre 1X144Gr 8P</c:v>
                </c:pt>
                <c:pt idx="7">
                  <c:v>Boursin Classique Fromage Frais A Tartiner Afh Boite 1X150Gr 1P</c:v>
                </c:pt>
                <c:pt idx="8">
                  <c:v>Boursin Classique Fromage Frais A Tartiner Afh 1X160Gr 10P</c:v>
                </c:pt>
                <c:pt idx="9">
                  <c:v>Apericube Edition Limitee Best Of Foot Fromage Fondu Cube Assortis 1X250Gr 48P</c:v>
                </c:pt>
                <c:pt idx="10">
                  <c:v>Kiri Gouter Fromage Blanc Dips Boite 1X175Gr 5P</c:v>
                </c:pt>
                <c:pt idx="11">
                  <c:v>Apericube Cocktail Fromage Fondu Cube Assortis 1X250Gr 48P</c:v>
                </c:pt>
                <c:pt idx="12">
                  <c:v>Kiri Creme Fromage Blanc Frais Carre 1X432Gr 24P</c:v>
                </c:pt>
                <c:pt idx="13">
                  <c:v>Babybel St Paulin 1X200Gr 1P</c:v>
                </c:pt>
                <c:pt idx="14">
                  <c:v>Boursin Aperitif Roules Fromage Frais Roule Afh Et Jambon Fume Boite 1X100Gr 20P</c:v>
                </c:pt>
                <c:pt idx="15">
                  <c:v>Boursin Classique Fromage Frais A Tartiner Afh Boite 1X250Gr 1P</c:v>
                </c:pt>
                <c:pt idx="16">
                  <c:v>Kiri Gouter Fromage Blanc Dips Boite 1X280Gr 8P</c:v>
                </c:pt>
                <c:pt idx="17">
                  <c:v>Port Salut St Paulin 1X320Gr 1P</c:v>
                </c:pt>
                <c:pt idx="18">
                  <c:v>Apericube Long Drink Fromage Fondu Cube Assortis 1X250Gr 48P</c:v>
                </c:pt>
                <c:pt idx="19">
                  <c:v>Boursin Onctueux Fromage Frais A Tartiner Afh 1X125Gr 1P</c:v>
                </c:pt>
                <c:pt idx="20">
                  <c:v>Apericube Tonic Fromage Fondu Cube Assortis 1X250Gr 48P</c:v>
                </c:pt>
                <c:pt idx="21">
                  <c:v>La Vache Qui Rit Pik Et Croq' Fromage Fondu Dips Boite 1X175Gr 5P</c:v>
                </c:pt>
                <c:pt idx="22">
                  <c:v>Cousteron St Paulin 1X320Gr 1P</c:v>
                </c:pt>
                <c:pt idx="23">
                  <c:v>Boursin Classique Fromage Frais A Tartiner Figue Et 3 Noix Boite 1X150Gr 1P</c:v>
                </c:pt>
                <c:pt idx="24">
                  <c:v>Apericube Campagne Fromage Fondu Cube Assortis 1X125Gr 24P</c:v>
                </c:pt>
                <c:pt idx="25">
                  <c:v>Boursin Classique Fromage Frais A Tartiner Afh Boite 1X96Gr 6P</c:v>
                </c:pt>
                <c:pt idx="26">
                  <c:v>Apericube Nature Fromage Fondu Cube 1X125Gr 24P</c:v>
                </c:pt>
                <c:pt idx="27">
                  <c:v>Boursin Salade &amp; Aperitif Fromage Frais Des Afh 1X120Gr 1P</c:v>
                </c:pt>
                <c:pt idx="28">
                  <c:v>Boursin Classique Fromage Frais A Tartiner Ciboulette &amp; Echalote Boite 1X150Gr 1P</c:v>
                </c:pt>
                <c:pt idx="29">
                  <c:v>Boursin Cuisine Sauce Fromage Afh 1X240Gr 1P</c:v>
                </c:pt>
                <c:pt idx="30">
                  <c:v>Apericube Edition Limitee Saison Fromage Fondu Cube Assortis 1X250Gr 48P</c:v>
                </c:pt>
                <c:pt idx="31">
                  <c:v>Apericube Edition Voyage Fromage Fondu Cube Assortis 1X250Gr 48P</c:v>
                </c:pt>
                <c:pt idx="32">
                  <c:v>Apericube Incontournable Fromage Fondu Cube Assortis 1X250Gr 48P</c:v>
                </c:pt>
                <c:pt idx="33">
                  <c:v>Mini Babybel Rouge Filet St Paulin Ferme 1X440Gr 20P</c:v>
                </c:pt>
                <c:pt idx="34">
                  <c:v>Boursin Aperitif Roules Fromage Frais Roule Ciboulette &amp; Echalote Jambon Fume Boite 1X100Gr 20P</c:v>
                </c:pt>
                <c:pt idx="35">
                  <c:v>La Vache Qui Rit Allegee Fromage Fondu Boite Ronde Allege 1X267Gr 16P</c:v>
                </c:pt>
                <c:pt idx="36">
                  <c:v>Boursin Classique Fromage Frais A Tartiner Poivre Boite 1X150Gr 1P</c:v>
                </c:pt>
                <c:pt idx="37">
                  <c:v>La Vache Qui Rit Pik Et Croq' Fromage Fondu Dips Boite 1X280Gr 8P</c:v>
                </c:pt>
                <c:pt idx="38">
                  <c:v>Babybel Mini Rolls St Paulin Ferme Sachet 1X85Gr 5P</c:v>
                </c:pt>
                <c:pt idx="39">
                  <c:v>Apericube Saveurs De L'Authentique Fromage Fondu Cube Assortis 1X250Gr 48P</c:v>
                </c:pt>
                <c:pt idx="40">
                  <c:v>Kiri Bio Fromage Blanc Frais Carre 1X144Gr 8P</c:v>
                </c:pt>
                <c:pt idx="41">
                  <c:v>Boursin Classique Fromage Frais A Tartiner Afh 1X256Gr 16P</c:v>
                </c:pt>
                <c:pt idx="42">
                  <c:v>Kiri Delicieusement Fouette Fromage Frais A Tartiner 1X125Gr 1P</c:v>
                </c:pt>
                <c:pt idx="43">
                  <c:v>Boursin Aperitif Roules Fromage Frais Roule Basilic &amp; Jambon Fume Tomate Boite 1X100Gr 20P</c:v>
                </c:pt>
                <c:pt idx="44">
                  <c:v>Mini Babybel Aros St Paulin Ferme Assortis Filet 1X180Gr 9P</c:v>
                </c:pt>
                <c:pt idx="45">
                  <c:v>Kiri Creme Fromage Blanc Frais Carre 1X432Gr 18+6P</c:v>
                </c:pt>
                <c:pt idx="46">
                  <c:v>Boursin Classique Fromage Frais A Tartiner Ciboulette &amp; Echalote 1X160Gr 10P</c:v>
                </c:pt>
                <c:pt idx="47">
                  <c:v>La Vache Qui Rit Aro Fromage Fondu Boite Ronde Jambon 1X133Gr 8P</c:v>
                </c:pt>
                <c:pt idx="48">
                  <c:v>Kiri Chevre Fromage Blanc Frais Carre 1X144Gr 8P</c:v>
                </c:pt>
                <c:pt idx="49">
                  <c:v>Mini Babybel Rouge Filet St Paulin Ferme 1X396Gr 12+6P</c:v>
                </c:pt>
                <c:pt idx="50">
                  <c:v>Mini Babybel Aros Soft Cheese Enfant 180G</c:v>
                </c:pt>
                <c:pt idx="51">
                  <c:v>Apericube Long Drink Fromage Fondu Cube Assortis 1X125Gr 24P</c:v>
                </c:pt>
                <c:pt idx="52">
                  <c:v>Kiri Delicieusement Fouette Fromage Frais A Tartiner 1X160Gr 10P</c:v>
                </c:pt>
                <c:pt idx="53">
                  <c:v>Mini Babybel Aros St Paulin Ferme Raclette Filet 1X132Gr 6P</c:v>
                </c:pt>
                <c:pt idx="54">
                  <c:v>Boursin Salade &amp; Aperitif Fromage Frais Des Ciboulette Echalote 1X120Gr 1P</c:v>
                </c:pt>
                <c:pt idx="55">
                  <c:v>Apericube Soiree Match Aperitif 250G</c:v>
                </c:pt>
                <c:pt idx="56">
                  <c:v>Nurishh Le Rape Vegetal Specialite Vegetale Sachet 1X150Gr 1P</c:v>
                </c:pt>
                <c:pt idx="57">
                  <c:v>Boursin Salade &amp; Aperitif Fromage Frais Des Figue Noix 1X120Gr 1P</c:v>
                </c:pt>
                <c:pt idx="58">
                  <c:v>Nurishh Les Tranches Vegetales Cheddar Vegetal Tranche Boite 1X160Gr 8P</c:v>
                </c:pt>
                <c:pt idx="59">
                  <c:v>Nurishh Le Rape Vegetal Specialite Vegetale Emmental Sachet 1X150Gr 1P</c:v>
                </c:pt>
                <c:pt idx="60">
                  <c:v>Boursin Classique Fromage Frais A Tartiner Afh Boite 1X80Gr 1P</c:v>
                </c:pt>
                <c:pt idx="61">
                  <c:v>Apericube Best Of Des Saveurs Fromage Fondu Cube Assortis 1X125Gr 24P</c:v>
                </c:pt>
                <c:pt idx="62">
                  <c:v>Nurishh Le Palet Vegetal Specialite Vegetale Ovale Saveur Chevre Boite 1X140Gr 1P</c:v>
                </c:pt>
                <c:pt idx="63">
                  <c:v>Nurishh Le Coeur Fleuri Vegetal Camembert Boite 1X140Gr 1P</c:v>
                </c:pt>
                <c:pt idx="64">
                  <c:v>Boursin Salade &amp; Aperitif Fromage Frais Des Citron Romarin 1X120Gr 1P</c:v>
                </c:pt>
                <c:pt idx="65">
                  <c:v>Apericube Hot Chalenge Aperitif 250G</c:v>
                </c:pt>
                <c:pt idx="66">
                  <c:v>Mini Babybel Rouge Filet St Paulin Ferme Sachet 1X40Gr 1P</c:v>
                </c:pt>
                <c:pt idx="67">
                  <c:v>Mini Babybel Aros Soft Cheese Enfant 110G</c:v>
                </c:pt>
                <c:pt idx="68">
                  <c:v>Nurishh Des Vegetaux Feta Vegetale Sachet 1X150Gr 1P</c:v>
                </c:pt>
                <c:pt idx="69">
                  <c:v>Boursin Salade &amp; Aperitif Fromage Frais Des Noisette Et 3 Noix 1X120Gr 1P</c:v>
                </c:pt>
                <c:pt idx="70">
                  <c:v>Boursin Classique Fromage Frais A Tartiner Truffe Boite 1X150Gr 1P</c:v>
                </c:pt>
                <c:pt idx="71">
                  <c:v>Boursin Salade &amp; Aperitif Soft Cheese Salade 120G</c:v>
                </c:pt>
                <c:pt idx="72">
                  <c:v>Apericube Fromages Du Monde Aperitif 250G</c:v>
                </c:pt>
                <c:pt idx="73">
                  <c:v>Apericube Montagne Aperitif 250G</c:v>
                </c:pt>
                <c:pt idx="74">
                  <c:v>Boursin Aperitif Roules Fromage Frais Roule Jambon Fume &amp; Trio De Noix Boite 1X100Gr 20P</c:v>
                </c:pt>
                <c:pt idx="75">
                  <c:v>Boursin Aperitif Roules Aperitif 100G</c:v>
                </c:pt>
                <c:pt idx="76">
                  <c:v>Mini Babybel Bio St Paulin Ferme Filet 1X100Gr 5P</c:v>
                </c:pt>
                <c:pt idx="77">
                  <c:v>Toastinette Fromage Fondu Tranche A Chaud Sachet 1X200Gr 10P</c:v>
                </c:pt>
                <c:pt idx="78">
                  <c:v>La Vache Qui Rit Nature Fromage Fondu Boite Ronde 1X128Gr 8P</c:v>
                </c:pt>
                <c:pt idx="79">
                  <c:v>Kiri Delicieusement Fouette Fromage Frais A Tartiner 1X210Gr 1P</c:v>
                </c:pt>
                <c:pt idx="80">
                  <c:v>Toastinette Fromage Fondu Tranche A Chaud Sachet 1X340Gr 20P</c:v>
                </c:pt>
                <c:pt idx="81">
                  <c:v>Toastinette Cheddar Fondu Tranche A Chaud Sachet 1X340Gr 20P</c:v>
                </c:pt>
              </c:strCache>
            </c:strRef>
          </c:cat>
          <c:val>
            <c:numRef>
              <c:f>Sheet1!$C$2:$C$83</c:f>
              <c:numCache>
                <c:formatCode>General</c:formatCode>
                <c:ptCount val="82"/>
                <c:pt idx="0">
                  <c:v>0.08795021450049366</c:v>
                </c:pt>
                <c:pt idx="1">
                  <c:v>0.1644034522673531</c:v>
                </c:pt>
                <c:pt idx="2">
                  <c:v>0.23685421669245416</c:v>
                </c:pt>
                <c:pt idx="3">
                  <c:v>0.2902846594072633</c:v>
                </c:pt>
                <c:pt idx="4">
                  <c:v>0.3395824019904915</c:v>
                </c:pt>
                <c:pt idx="5">
                  <c:v>0.3821424689873826</c:v>
                </c:pt>
                <c:pt idx="6">
                  <c:v>0.4174034167429621</c:v>
                </c:pt>
                <c:pt idx="7">
                  <c:v>0.44903463346742334</c:v>
                </c:pt>
                <c:pt idx="8">
                  <c:v>0.4799547468500242</c:v>
                </c:pt>
                <c:pt idx="9">
                  <c:v>0.5107120987282621</c:v>
                </c:pt>
                <c:pt idx="10">
                  <c:v>0.5389166186266694</c:v>
                </c:pt>
                <c:pt idx="11">
                  <c:v>0.5657163423102182</c:v>
                </c:pt>
                <c:pt idx="12">
                  <c:v>0.5894921841063877</c:v>
                </c:pt>
                <c:pt idx="13">
                  <c:v>0.61256008810049</c:v>
                </c:pt>
                <c:pt idx="14">
                  <c:v>0.6345058961695916</c:v>
                </c:pt>
                <c:pt idx="15">
                  <c:v>0.6555651772332974</c:v>
                </c:pt>
                <c:pt idx="16">
                  <c:v>0.6761930655685295</c:v>
                </c:pt>
                <c:pt idx="17">
                  <c:v>0.6966627648457665</c:v>
                </c:pt>
                <c:pt idx="18">
                  <c:v>0.7146372273810755</c:v>
                </c:pt>
                <c:pt idx="19">
                  <c:v>0.7314880112214872</c:v>
                </c:pt>
                <c:pt idx="20">
                  <c:v>0.7473862313791522</c:v>
                </c:pt>
                <c:pt idx="21">
                  <c:v>0.7627325924328829</c:v>
                </c:pt>
                <c:pt idx="22">
                  <c:v>0.7770600893315333</c:v>
                </c:pt>
                <c:pt idx="23">
                  <c:v>0.7912196367578263</c:v>
                </c:pt>
                <c:pt idx="24">
                  <c:v>0.804918686075881</c:v>
                </c:pt>
                <c:pt idx="25">
                  <c:v>0.8178704921394373</c:v>
                </c:pt>
                <c:pt idx="26">
                  <c:v>0.8300359253593856</c:v>
                </c:pt>
                <c:pt idx="27">
                  <c:v>0.841488848330899</c:v>
                </c:pt>
                <c:pt idx="28">
                  <c:v>0.8523738207045297</c:v>
                </c:pt>
                <c:pt idx="29">
                  <c:v>0.8624599339387019</c:v>
                </c:pt>
                <c:pt idx="30">
                  <c:v>0.8725324177654316</c:v>
                </c:pt>
                <c:pt idx="31">
                  <c:v>0.881858273859289</c:v>
                </c:pt>
                <c:pt idx="32">
                  <c:v>0.8910345581979217</c:v>
                </c:pt>
                <c:pt idx="33">
                  <c:v>0.8996950354135973</c:v>
                </c:pt>
                <c:pt idx="34">
                  <c:v>0.9082598429821919</c:v>
                </c:pt>
                <c:pt idx="35">
                  <c:v>0.9163729456086402</c:v>
                </c:pt>
                <c:pt idx="36">
                  <c:v>0.923955556524758</c:v>
                </c:pt>
                <c:pt idx="37">
                  <c:v>0.929728885585785</c:v>
                </c:pt>
                <c:pt idx="38">
                  <c:v>0.9350692391484418</c:v>
                </c:pt>
                <c:pt idx="39">
                  <c:v>0.940105612959298</c:v>
                </c:pt>
                <c:pt idx="40">
                  <c:v>0.9448834676870492</c:v>
                </c:pt>
                <c:pt idx="41">
                  <c:v>0.9494210931171669</c:v>
                </c:pt>
                <c:pt idx="42">
                  <c:v>0.95379674842787</c:v>
                </c:pt>
                <c:pt idx="43">
                  <c:v>0.958007356011026</c:v>
                </c:pt>
                <c:pt idx="44">
                  <c:v>0.9617470016182944</c:v>
                </c:pt>
                <c:pt idx="45">
                  <c:v>0.9648280390852717</c:v>
                </c:pt>
                <c:pt idx="46">
                  <c:v>0.9678863901837316</c:v>
                </c:pt>
                <c:pt idx="47">
                  <c:v>0.9707461036601731</c:v>
                </c:pt>
                <c:pt idx="48">
                  <c:v>0.9735182372023383</c:v>
                </c:pt>
                <c:pt idx="49">
                  <c:v>0.9760738829953184</c:v>
                </c:pt>
                <c:pt idx="50">
                  <c:v>0.9785100296611081</c:v>
                </c:pt>
                <c:pt idx="51">
                  <c:v>0.9805877668769877</c:v>
                </c:pt>
                <c:pt idx="52">
                  <c:v>0.9824484008220558</c:v>
                </c:pt>
                <c:pt idx="53">
                  <c:v>0.9841256093224446</c:v>
                </c:pt>
                <c:pt idx="54">
                  <c:v>0.9857449587899481</c:v>
                </c:pt>
                <c:pt idx="55">
                  <c:v>0.9873552512963767</c:v>
                </c:pt>
                <c:pt idx="56">
                  <c:v>0.988692076337344</c:v>
                </c:pt>
                <c:pt idx="57">
                  <c:v>0.9899019280599428</c:v>
                </c:pt>
                <c:pt idx="58">
                  <c:v>0.9908721660065345</c:v>
                </c:pt>
                <c:pt idx="59">
                  <c:v>0.9917984381226662</c:v>
                </c:pt>
                <c:pt idx="60">
                  <c:v>0.9925733798503545</c:v>
                </c:pt>
                <c:pt idx="61">
                  <c:v>0.9932781521126287</c:v>
                </c:pt>
                <c:pt idx="62">
                  <c:v>0.9939503017287015</c:v>
                </c:pt>
                <c:pt idx="63">
                  <c:v>0.9946223634131133</c:v>
                </c:pt>
                <c:pt idx="64">
                  <c:v>0.9952823784599791</c:v>
                </c:pt>
                <c:pt idx="65">
                  <c:v>0.9959309623909254</c:v>
                </c:pt>
                <c:pt idx="66">
                  <c:v>0.9965653893244635</c:v>
                </c:pt>
                <c:pt idx="67">
                  <c:v>0.9971649073886163</c:v>
                </c:pt>
                <c:pt idx="68">
                  <c:v>0.9977609961179933</c:v>
                </c:pt>
                <c:pt idx="69">
                  <c:v>0.9982322218888637</c:v>
                </c:pt>
                <c:pt idx="70">
                  <c:v>0.9985980175982911</c:v>
                </c:pt>
                <c:pt idx="71">
                  <c:v>0.9988636591459306</c:v>
                </c:pt>
                <c:pt idx="72">
                  <c:v>0.999119452347547</c:v>
                </c:pt>
                <c:pt idx="73">
                  <c:v>0.9993530867706115</c:v>
                </c:pt>
                <c:pt idx="74">
                  <c:v>0.9995811814990381</c:v>
                </c:pt>
                <c:pt idx="75">
                  <c:v>0.9997938881868037</c:v>
                </c:pt>
                <c:pt idx="76">
                  <c:v>0.9999217408217814</c:v>
                </c:pt>
                <c:pt idx="77">
                  <c:v>0.9999872499091668</c:v>
                </c:pt>
                <c:pt idx="78">
                  <c:v>0.9999911189022472</c:v>
                </c:pt>
                <c:pt idx="79">
                  <c:v>0.999996834460207</c:v>
                </c:pt>
                <c:pt idx="80">
                  <c:v>0.9999989448200691</c:v>
                </c:pt>
                <c:pt idx="81">
                  <c:v>1.000000000000000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83</c:f>
              <c:strCache>
                <c:ptCount val="82"/>
                <c:pt idx="0">
                  <c:v>Mini Babybel Rouge Filet St Paulin Ferme 1X264Gr 12P</c:v>
                </c:pt>
                <c:pt idx="1">
                  <c:v>La Vache Qui Rit Nature Fromage Fondu Boite Ronde 1X192Gr 12P</c:v>
                </c:pt>
                <c:pt idx="2">
                  <c:v>Mini Babybel Rouge Filet St Paulin Ferme 1X132Gr 6P</c:v>
                </c:pt>
                <c:pt idx="3">
                  <c:v>La Vache Qui Rit Nature Fromage Fondu Boite Ronde 1X512Gr 32P</c:v>
                </c:pt>
                <c:pt idx="4">
                  <c:v>Kiri Creme Fromage Blanc Frais Carre 1X216Gr 12P</c:v>
                </c:pt>
                <c:pt idx="5">
                  <c:v>La Vache Qui Rit Nature Fromage Fondu Boite Ronde 1X384Gr 24P</c:v>
                </c:pt>
                <c:pt idx="6">
                  <c:v>Kiri Creme Fromage Blanc Frais Carre 1X144Gr 8P</c:v>
                </c:pt>
                <c:pt idx="7">
                  <c:v>Boursin Classique Fromage Frais A Tartiner Afh Boite 1X150Gr 1P</c:v>
                </c:pt>
                <c:pt idx="8">
                  <c:v>Boursin Classique Fromage Frais A Tartiner Afh 1X160Gr 10P</c:v>
                </c:pt>
                <c:pt idx="9">
                  <c:v>Apericube Edition Limitee Best Of Foot Fromage Fondu Cube Assortis 1X250Gr 48P</c:v>
                </c:pt>
                <c:pt idx="10">
                  <c:v>Kiri Gouter Fromage Blanc Dips Boite 1X175Gr 5P</c:v>
                </c:pt>
                <c:pt idx="11">
                  <c:v>Apericube Cocktail Fromage Fondu Cube Assortis 1X250Gr 48P</c:v>
                </c:pt>
                <c:pt idx="12">
                  <c:v>Kiri Creme Fromage Blanc Frais Carre 1X432Gr 24P</c:v>
                </c:pt>
                <c:pt idx="13">
                  <c:v>Babybel St Paulin 1X200Gr 1P</c:v>
                </c:pt>
                <c:pt idx="14">
                  <c:v>Boursin Aperitif Roules Fromage Frais Roule Afh Et Jambon Fume Boite 1X100Gr 20P</c:v>
                </c:pt>
                <c:pt idx="15">
                  <c:v>Boursin Classique Fromage Frais A Tartiner Afh Boite 1X250Gr 1P</c:v>
                </c:pt>
                <c:pt idx="16">
                  <c:v>Kiri Gouter Fromage Blanc Dips Boite 1X280Gr 8P</c:v>
                </c:pt>
                <c:pt idx="17">
                  <c:v>Port Salut St Paulin 1X320Gr 1P</c:v>
                </c:pt>
                <c:pt idx="18">
                  <c:v>Apericube Long Drink Fromage Fondu Cube Assortis 1X250Gr 48P</c:v>
                </c:pt>
                <c:pt idx="19">
                  <c:v>Boursin Onctueux Fromage Frais A Tartiner Afh 1X125Gr 1P</c:v>
                </c:pt>
                <c:pt idx="20">
                  <c:v>Apericube Tonic Fromage Fondu Cube Assortis 1X250Gr 48P</c:v>
                </c:pt>
                <c:pt idx="21">
                  <c:v>La Vache Qui Rit Pik Et Croq' Fromage Fondu Dips Boite 1X175Gr 5P</c:v>
                </c:pt>
                <c:pt idx="22">
                  <c:v>Cousteron St Paulin 1X320Gr 1P</c:v>
                </c:pt>
                <c:pt idx="23">
                  <c:v>Boursin Classique Fromage Frais A Tartiner Figue Et 3 Noix Boite 1X150Gr 1P</c:v>
                </c:pt>
                <c:pt idx="24">
                  <c:v>Apericube Campagne Fromage Fondu Cube Assortis 1X125Gr 24P</c:v>
                </c:pt>
                <c:pt idx="25">
                  <c:v>Boursin Classique Fromage Frais A Tartiner Afh Boite 1X96Gr 6P</c:v>
                </c:pt>
                <c:pt idx="26">
                  <c:v>Apericube Nature Fromage Fondu Cube 1X125Gr 24P</c:v>
                </c:pt>
                <c:pt idx="27">
                  <c:v>Boursin Salade &amp; Aperitif Fromage Frais Des Afh 1X120Gr 1P</c:v>
                </c:pt>
                <c:pt idx="28">
                  <c:v>Boursin Classique Fromage Frais A Tartiner Ciboulette &amp; Echalote Boite 1X150Gr 1P</c:v>
                </c:pt>
                <c:pt idx="29">
                  <c:v>Boursin Cuisine Sauce Fromage Afh 1X240Gr 1P</c:v>
                </c:pt>
                <c:pt idx="30">
                  <c:v>Apericube Edition Limitee Saison Fromage Fondu Cube Assortis 1X250Gr 48P</c:v>
                </c:pt>
                <c:pt idx="31">
                  <c:v>Apericube Edition Voyage Fromage Fondu Cube Assortis 1X250Gr 48P</c:v>
                </c:pt>
                <c:pt idx="32">
                  <c:v>Apericube Incontournable Fromage Fondu Cube Assortis 1X250Gr 48P</c:v>
                </c:pt>
                <c:pt idx="33">
                  <c:v>Mini Babybel Rouge Filet St Paulin Ferme 1X440Gr 20P</c:v>
                </c:pt>
                <c:pt idx="34">
                  <c:v>Boursin Aperitif Roules Fromage Frais Roule Ciboulette &amp; Echalote Jambon Fume Boite 1X100Gr 20P</c:v>
                </c:pt>
                <c:pt idx="35">
                  <c:v>La Vache Qui Rit Allegee Fromage Fondu Boite Ronde Allege 1X267Gr 16P</c:v>
                </c:pt>
                <c:pt idx="36">
                  <c:v>Boursin Classique Fromage Frais A Tartiner Poivre Boite 1X150Gr 1P</c:v>
                </c:pt>
                <c:pt idx="37">
                  <c:v>La Vache Qui Rit Pik Et Croq' Fromage Fondu Dips Boite 1X280Gr 8P</c:v>
                </c:pt>
                <c:pt idx="38">
                  <c:v>Babybel Mini Rolls St Paulin Ferme Sachet 1X85Gr 5P</c:v>
                </c:pt>
                <c:pt idx="39">
                  <c:v>Apericube Saveurs De L'Authentique Fromage Fondu Cube Assortis 1X250Gr 48P</c:v>
                </c:pt>
                <c:pt idx="40">
                  <c:v>Kiri Bio Fromage Blanc Frais Carre 1X144Gr 8P</c:v>
                </c:pt>
                <c:pt idx="41">
                  <c:v>Boursin Classique Fromage Frais A Tartiner Afh 1X256Gr 16P</c:v>
                </c:pt>
                <c:pt idx="42">
                  <c:v>Kiri Delicieusement Fouette Fromage Frais A Tartiner 1X125Gr 1P</c:v>
                </c:pt>
                <c:pt idx="43">
                  <c:v>Boursin Aperitif Roules Fromage Frais Roule Basilic &amp; Jambon Fume Tomate Boite 1X100Gr 20P</c:v>
                </c:pt>
                <c:pt idx="44">
                  <c:v>Mini Babybel Aros St Paulin Ferme Assortis Filet 1X180Gr 9P</c:v>
                </c:pt>
                <c:pt idx="45">
                  <c:v>Kiri Creme Fromage Blanc Frais Carre 1X432Gr 18+6P</c:v>
                </c:pt>
                <c:pt idx="46">
                  <c:v>Boursin Classique Fromage Frais A Tartiner Ciboulette &amp; Echalote 1X160Gr 10P</c:v>
                </c:pt>
                <c:pt idx="47">
                  <c:v>La Vache Qui Rit Aro Fromage Fondu Boite Ronde Jambon 1X133Gr 8P</c:v>
                </c:pt>
                <c:pt idx="48">
                  <c:v>Kiri Chevre Fromage Blanc Frais Carre 1X144Gr 8P</c:v>
                </c:pt>
                <c:pt idx="49">
                  <c:v>Mini Babybel Rouge Filet St Paulin Ferme 1X396Gr 12+6P</c:v>
                </c:pt>
                <c:pt idx="50">
                  <c:v>Mini Babybel Aros Soft Cheese Enfant 180G</c:v>
                </c:pt>
                <c:pt idx="51">
                  <c:v>Apericube Long Drink Fromage Fondu Cube Assortis 1X125Gr 24P</c:v>
                </c:pt>
                <c:pt idx="52">
                  <c:v>Kiri Delicieusement Fouette Fromage Frais A Tartiner 1X160Gr 10P</c:v>
                </c:pt>
                <c:pt idx="53">
                  <c:v>Mini Babybel Aros St Paulin Ferme Raclette Filet 1X132Gr 6P</c:v>
                </c:pt>
                <c:pt idx="54">
                  <c:v>Boursin Salade &amp; Aperitif Fromage Frais Des Ciboulette Echalote 1X120Gr 1P</c:v>
                </c:pt>
                <c:pt idx="55">
                  <c:v>Apericube Soiree Match Aperitif 250G</c:v>
                </c:pt>
                <c:pt idx="56">
                  <c:v>Nurishh Le Rape Vegetal Specialite Vegetale Sachet 1X150Gr 1P</c:v>
                </c:pt>
                <c:pt idx="57">
                  <c:v>Boursin Salade &amp; Aperitif Fromage Frais Des Figue Noix 1X120Gr 1P</c:v>
                </c:pt>
                <c:pt idx="58">
                  <c:v>Nurishh Les Tranches Vegetales Cheddar Vegetal Tranche Boite 1X160Gr 8P</c:v>
                </c:pt>
                <c:pt idx="59">
                  <c:v>Nurishh Le Rape Vegetal Specialite Vegetale Emmental Sachet 1X150Gr 1P</c:v>
                </c:pt>
                <c:pt idx="60">
                  <c:v>Boursin Classique Fromage Frais A Tartiner Afh Boite 1X80Gr 1P</c:v>
                </c:pt>
                <c:pt idx="61">
                  <c:v>Apericube Best Of Des Saveurs Fromage Fondu Cube Assortis 1X125Gr 24P</c:v>
                </c:pt>
                <c:pt idx="62">
                  <c:v>Nurishh Le Palet Vegetal Specialite Vegetale Ovale Saveur Chevre Boite 1X140Gr 1P</c:v>
                </c:pt>
                <c:pt idx="63">
                  <c:v>Nurishh Le Coeur Fleuri Vegetal Camembert Boite 1X140Gr 1P</c:v>
                </c:pt>
                <c:pt idx="64">
                  <c:v>Boursin Salade &amp; Aperitif Fromage Frais Des Citron Romarin 1X120Gr 1P</c:v>
                </c:pt>
                <c:pt idx="65">
                  <c:v>Apericube Hot Chalenge Aperitif 250G</c:v>
                </c:pt>
                <c:pt idx="66">
                  <c:v>Mini Babybel Rouge Filet St Paulin Ferme Sachet 1X40Gr 1P</c:v>
                </c:pt>
                <c:pt idx="67">
                  <c:v>Mini Babybel Aros Soft Cheese Enfant 110G</c:v>
                </c:pt>
                <c:pt idx="68">
                  <c:v>Nurishh Des Vegetaux Feta Vegetale Sachet 1X150Gr 1P</c:v>
                </c:pt>
                <c:pt idx="69">
                  <c:v>Boursin Salade &amp; Aperitif Fromage Frais Des Noisette Et 3 Noix 1X120Gr 1P</c:v>
                </c:pt>
                <c:pt idx="70">
                  <c:v>Boursin Classique Fromage Frais A Tartiner Truffe Boite 1X150Gr 1P</c:v>
                </c:pt>
                <c:pt idx="71">
                  <c:v>Boursin Salade &amp; Aperitif Soft Cheese Salade 120G</c:v>
                </c:pt>
                <c:pt idx="72">
                  <c:v>Apericube Fromages Du Monde Aperitif 250G</c:v>
                </c:pt>
                <c:pt idx="73">
                  <c:v>Apericube Montagne Aperitif 250G</c:v>
                </c:pt>
                <c:pt idx="74">
                  <c:v>Boursin Aperitif Roules Fromage Frais Roule Jambon Fume &amp; Trio De Noix Boite 1X100Gr 20P</c:v>
                </c:pt>
                <c:pt idx="75">
                  <c:v>Boursin Aperitif Roules Aperitif 100G</c:v>
                </c:pt>
                <c:pt idx="76">
                  <c:v>Mini Babybel Bio St Paulin Ferme Filet 1X100Gr 5P</c:v>
                </c:pt>
                <c:pt idx="77">
                  <c:v>Toastinette Fromage Fondu Tranche A Chaud Sachet 1X200Gr 10P</c:v>
                </c:pt>
                <c:pt idx="78">
                  <c:v>La Vache Qui Rit Nature Fromage Fondu Boite Ronde 1X128Gr 8P</c:v>
                </c:pt>
                <c:pt idx="79">
                  <c:v>Kiri Delicieusement Fouette Fromage Frais A Tartiner 1X210Gr 1P</c:v>
                </c:pt>
                <c:pt idx="80">
                  <c:v>Toastinette Fromage Fondu Tranche A Chaud Sachet 1X340Gr 20P</c:v>
                </c:pt>
                <c:pt idx="81">
                  <c:v>Toastinette Cheddar Fondu Tranche A Chaud Sachet 1X340Gr 20P</c:v>
                </c:pt>
              </c:strCache>
            </c:strRef>
          </c:cat>
          <c:val>
            <c:numRef>
              <c:f>Sheet1!$D$2:$D$83</c:f>
              <c:numCache>
                <c:formatCode>General</c:formatCode>
                <c:ptCount val="82"/>
                <c:pt idx="0">
                  <c:v>11366.03409090909</c:v>
                </c:pt>
                <c:pt idx="1">
                  <c:v>8872.061224489797</c:v>
                </c:pt>
                <c:pt idx="2">
                  <c:v>8407.591836734693</c:v>
                </c:pt>
                <c:pt idx="3">
                  <c:v>8935.823529411764</c:v>
                </c:pt>
                <c:pt idx="4">
                  <c:v>6595.729411764706</c:v>
                </c:pt>
                <c:pt idx="5">
                  <c:v>7117.838235294118</c:v>
                </c:pt>
                <c:pt idx="6">
                  <c:v>4358.739130434783</c:v>
                </c:pt>
                <c:pt idx="7">
                  <c:v>3670.6632653061224</c:v>
                </c:pt>
                <c:pt idx="8">
                  <c:v>3907.088888888889</c:v>
                </c:pt>
                <c:pt idx="9">
                  <c:v>4663.826666666667</c:v>
                </c:pt>
                <c:pt idx="10">
                  <c:v>3563.9444444444443</c:v>
                </c:pt>
                <c:pt idx="11">
                  <c:v>3716.817073170732</c:v>
                </c:pt>
                <c:pt idx="12">
                  <c:v>5199.807692307692</c:v>
                </c:pt>
                <c:pt idx="13">
                  <c:v>2820.8494623655915</c:v>
                </c:pt>
                <c:pt idx="14">
                  <c:v>2936.211764705882</c:v>
                </c:pt>
                <c:pt idx="15">
                  <c:v>2690.9662921348313</c:v>
                </c:pt>
                <c:pt idx="16">
                  <c:v>3449.8529411764707</c:v>
                </c:pt>
                <c:pt idx="17">
                  <c:v>2873.962962962963</c:v>
                </c:pt>
                <c:pt idx="18">
                  <c:v>2879.0704225352115</c:v>
                </c:pt>
                <c:pt idx="19">
                  <c:v>2365.864197530864</c:v>
                </c:pt>
                <c:pt idx="20">
                  <c:v>2582.885714285714</c:v>
                </c:pt>
                <c:pt idx="21">
                  <c:v>2128.3658536585367</c:v>
                </c:pt>
                <c:pt idx="22">
                  <c:v>2011.5925925925926</c:v>
                </c:pt>
                <c:pt idx="23">
                  <c:v>1809.314606741573</c:v>
                </c:pt>
                <c:pt idx="24">
                  <c:v>2194.2535211267605</c:v>
                </c:pt>
                <c:pt idx="25">
                  <c:v>1990.4594594594594</c:v>
                </c:pt>
                <c:pt idx="26">
                  <c:v>1844.68</c:v>
                </c:pt>
                <c:pt idx="27">
                  <c:v>1532.3294117647058</c:v>
                </c:pt>
                <c:pt idx="28">
                  <c:v>1491.433734939759</c:v>
                </c:pt>
                <c:pt idx="29">
                  <c:v>1571.2876712328766</c:v>
                </c:pt>
                <c:pt idx="30">
                  <c:v>2490.195652173913</c:v>
                </c:pt>
                <c:pt idx="31">
                  <c:v>2356.8444444444444</c:v>
                </c:pt>
                <c:pt idx="32">
                  <c:v>2545.2926829268295</c:v>
                </c:pt>
                <c:pt idx="33">
                  <c:v>2525.4102564102564</c:v>
                </c:pt>
                <c:pt idx="34">
                  <c:v>1739.3392857142856</c:v>
                </c:pt>
                <c:pt idx="35">
                  <c:v>1845.32</c:v>
                </c:pt>
                <c:pt idx="36">
                  <c:v>1149.7733333333333</c:v>
                </c:pt>
                <c:pt idx="37">
                  <c:v>1563.2619047619048</c:v>
                </c:pt>
                <c:pt idx="38">
                  <c:v>1481.2926829268292</c:v>
                </c:pt>
                <c:pt idx="39">
                  <c:v>1272.8</c:v>
                </c:pt>
                <c:pt idx="40">
                  <c:v>1752.774193548387</c:v>
                </c:pt>
                <c:pt idx="41">
                  <c:v>806.3125</c:v>
                </c:pt>
                <c:pt idx="42">
                  <c:v>1130.9545454545455</c:v>
                </c:pt>
                <c:pt idx="43">
                  <c:v>840.0877192982457</c:v>
                </c:pt>
                <c:pt idx="44">
                  <c:v>1181.361111111111</c:v>
                </c:pt>
                <c:pt idx="45">
                  <c:v>593.8813559322034</c:v>
                </c:pt>
                <c:pt idx="46">
                  <c:v>756.1086956521739</c:v>
                </c:pt>
                <c:pt idx="47">
                  <c:v>985.5151515151515</c:v>
                </c:pt>
                <c:pt idx="48">
                  <c:v>829.6315789473684</c:v>
                </c:pt>
                <c:pt idx="49">
                  <c:v>398.13698630136986</c:v>
                </c:pt>
                <c:pt idx="50">
                  <c:v>923.5</c:v>
                </c:pt>
                <c:pt idx="51">
                  <c:v>638.6216216216217</c:v>
                </c:pt>
                <c:pt idx="52">
                  <c:v>423.2</c:v>
                </c:pt>
                <c:pt idx="53">
                  <c:v>657.7241379310345</c:v>
                </c:pt>
                <c:pt idx="54">
                  <c:v>428.27906976744185</c:v>
                </c:pt>
                <c:pt idx="55">
                  <c:v>554.939393939394</c:v>
                </c:pt>
                <c:pt idx="56">
                  <c:v>950.1875</c:v>
                </c:pt>
                <c:pt idx="57">
                  <c:v>292.74468085106383</c:v>
                </c:pt>
                <c:pt idx="58">
                  <c:v>788.142857142857</c:v>
                </c:pt>
                <c:pt idx="59">
                  <c:v>810.3076923076923</c:v>
                </c:pt>
                <c:pt idx="60">
                  <c:v>734.4166666666666</c:v>
                </c:pt>
                <c:pt idx="61">
                  <c:v>200.375</c:v>
                </c:pt>
                <c:pt idx="62">
                  <c:v>955.5</c:v>
                </c:pt>
                <c:pt idx="63">
                  <c:v>849.2222222222222</c:v>
                </c:pt>
                <c:pt idx="64">
                  <c:v>268.07142857142856</c:v>
                </c:pt>
                <c:pt idx="65">
                  <c:v>461.0</c:v>
                </c:pt>
                <c:pt idx="66">
                  <c:v>555.0</c:v>
                </c:pt>
                <c:pt idx="67">
                  <c:v>358.8421052631579</c:v>
                </c:pt>
                <c:pt idx="68">
                  <c:v>616.2727272727273</c:v>
                </c:pt>
                <c:pt idx="69">
                  <c:v>130.70731707317074</c:v>
                </c:pt>
                <c:pt idx="70">
                  <c:v>126.06060606060606</c:v>
                </c:pt>
                <c:pt idx="71">
                  <c:v>215.78571428571425</c:v>
                </c:pt>
                <c:pt idx="72">
                  <c:v>323.22222222222223</c:v>
                </c:pt>
                <c:pt idx="73">
                  <c:v>379.5714285714285</c:v>
                </c:pt>
                <c:pt idx="74">
                  <c:v>144.11111111111111</c:v>
                </c:pt>
                <c:pt idx="75">
                  <c:v>142.2941176470588</c:v>
                </c:pt>
                <c:pt idx="76">
                  <c:v>64.2</c:v>
                </c:pt>
                <c:pt idx="77">
                  <c:v>139.0</c:v>
                </c:pt>
                <c:pt idx="78">
                  <c:v>11.0</c:v>
                </c:pt>
                <c:pt idx="79">
                  <c:v>25.0</c:v>
                </c:pt>
                <c:pt idx="80">
                  <c:v>24.0</c:v>
                </c:pt>
                <c:pt idx="81">
                  <c:v>12.0</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64</c:f>
              <c:strCache>
                <c:ptCount val="63"/>
                <c:pt idx="0">
                  <c:v>La Vache Qui Rit Nature Fromage Fondu Boite Ronde 1X512Gr 32P</c:v>
                </c:pt>
                <c:pt idx="1">
                  <c:v>Mini Babybel Rouge Filet St Paulin Ferme 1X264Gr 12P</c:v>
                </c:pt>
                <c:pt idx="2">
                  <c:v>Mini Babybel Rouge Filet St Paulin Ferme 1X132Gr 6P</c:v>
                </c:pt>
                <c:pt idx="3">
                  <c:v>La Vache Qui Rit Nature Fromage Fondu Boite Ronde 1X384Gr 24P</c:v>
                </c:pt>
                <c:pt idx="4">
                  <c:v>La Vache Qui Rit Nature Fromage Fondu Boite Ronde 1X192Gr 12P</c:v>
                </c:pt>
                <c:pt idx="5">
                  <c:v>Kiri Creme Fromage Blanc Frais Carre 1X432Gr 24P</c:v>
                </c:pt>
                <c:pt idx="6">
                  <c:v>Kiri Creme Fromage Blanc Frais Carre 1X144Gr 8P</c:v>
                </c:pt>
                <c:pt idx="7">
                  <c:v>Kiri Creme Fromage Blanc Frais Carre 1X216Gr 12P</c:v>
                </c:pt>
                <c:pt idx="8">
                  <c:v>Boursin Classique Fromage Frais A Tartiner Afh Boite 1X150Gr 1P</c:v>
                </c:pt>
                <c:pt idx="9">
                  <c:v>Boursin Classique Fromage Frais A Tartiner Afh 1X160Gr 10P</c:v>
                </c:pt>
                <c:pt idx="10">
                  <c:v>Kiri Gouter Fromage Blanc Dips Boite 1X175Gr 5P</c:v>
                </c:pt>
                <c:pt idx="11">
                  <c:v>Boursin Classique Fromage Frais A Tartiner Afh Boite 1X250Gr 1P</c:v>
                </c:pt>
                <c:pt idx="12">
                  <c:v>Boursin Salade &amp; Aperitif Fromage Frais Des Afh 1X120Gr 1P</c:v>
                </c:pt>
                <c:pt idx="13">
                  <c:v>Kiri Gouter Fromage Blanc Dips Boite 1X280Gr 8P</c:v>
                </c:pt>
                <c:pt idx="14">
                  <c:v>La Vache Qui Rit Pik Et Croq' Fromage Fondu Dips Boite 1X175Gr 5P</c:v>
                </c:pt>
                <c:pt idx="15">
                  <c:v>Mini Babybel Rouge Filet St Paulin Ferme 1X440Gr 20P</c:v>
                </c:pt>
                <c:pt idx="16">
                  <c:v>La Vache Qui Rit Nature Fromage Fondu Boite Ronde 1X128Gr 8P</c:v>
                </c:pt>
                <c:pt idx="17">
                  <c:v>Mini Babybel Rouge Filet Soft Cheese Enfant 352G</c:v>
                </c:pt>
                <c:pt idx="18">
                  <c:v>La Vache Qui Rit Nature Fromage Fondu Boite Ronde 1X512Gr 24+8P</c:v>
                </c:pt>
                <c:pt idx="19">
                  <c:v>Kiri Creme Fromage Blanc Frais Carre 1X432Gr 18+6P</c:v>
                </c:pt>
                <c:pt idx="20">
                  <c:v>Mini Babybel Rouge Filet Soft Cheese Enfant 484G</c:v>
                </c:pt>
                <c:pt idx="21">
                  <c:v>Boursin Classique Fromage Frais A Tartiner Afh Boite 1X96Gr 6P</c:v>
                </c:pt>
                <c:pt idx="22">
                  <c:v>Mini Babybel Rouge Filet St Paulin Ferme 1X396Gr 12+6P</c:v>
                </c:pt>
                <c:pt idx="23">
                  <c:v>Kiri Delicieusement Fouette Fromage Frais A Tartiner 1X125Gr 1P</c:v>
                </c:pt>
                <c:pt idx="24">
                  <c:v>Boursin Classique Fromage Frais A Tartiner Ciboulette &amp; Echalote Boite 1X150Gr 1P</c:v>
                </c:pt>
                <c:pt idx="25">
                  <c:v>Boursin Onctueux Fromage Frais A Tartiner Afh 1X125Gr 1P</c:v>
                </c:pt>
                <c:pt idx="26">
                  <c:v>Mini Babybel Aros St Paulin Ferme Assortis Filet 1X180Gr 9P</c:v>
                </c:pt>
                <c:pt idx="27">
                  <c:v>Kiri Delicieusement Fouette Fromage Frais A Tartiner 1X210Gr 1P</c:v>
                </c:pt>
                <c:pt idx="28">
                  <c:v>Babybel Mini Rolls St Paulin Ferme Sachet 1X85Gr 5P</c:v>
                </c:pt>
                <c:pt idx="29">
                  <c:v>Boursin Salade &amp; Aperitif Fromage Frais Des Ciboulette Echalote 1X120Gr 1P</c:v>
                </c:pt>
                <c:pt idx="30">
                  <c:v>La Vache Qui Rit Pik Et Croq' Fromage Fondu Dips Boite 1X280Gr 8P</c:v>
                </c:pt>
                <c:pt idx="31">
                  <c:v>Boursin Classique Fromage Frais A Tartiner Figue Et 3 Noix Boite 1X150Gr 1P</c:v>
                </c:pt>
                <c:pt idx="32">
                  <c:v>Kiri Delicieusement Fouette Fromage Frais A Tartiner 1X160Gr 10P</c:v>
                </c:pt>
                <c:pt idx="33">
                  <c:v>La Vache Qui Rit Allegee Fromage Fondu Boite Ronde Allege 1X267Gr 16P</c:v>
                </c:pt>
                <c:pt idx="34">
                  <c:v>Boursin Salade &amp; Aperitif Fromage Frais Des Figue Noix 1X120Gr 1P</c:v>
                </c:pt>
                <c:pt idx="35">
                  <c:v>Kiri Bio Fromage Blanc Frais Carre 1X144Gr 8P</c:v>
                </c:pt>
                <c:pt idx="36">
                  <c:v>Mini Babybel Aros Soft Cheese Enfant 180G</c:v>
                </c:pt>
                <c:pt idx="37">
                  <c:v>Boursin Salade &amp; Aperitif Fromage Frais Des Citron Romarin 1X120Gr 1P</c:v>
                </c:pt>
                <c:pt idx="38">
                  <c:v>Mini Babybel Aros St Paulin Ferme Raclette Filet 1X132Gr 6P</c:v>
                </c:pt>
                <c:pt idx="39">
                  <c:v>La Vache Qui Rit Bio Fromage Fondu Boite Ronde 1X128Gr 8P</c:v>
                </c:pt>
                <c:pt idx="40">
                  <c:v>Mini Babybel Aros Soft Cheese Enfant 110G</c:v>
                </c:pt>
                <c:pt idx="41">
                  <c:v>Boursin Classique Fromage Frais A Tartiner Afh Boite 1X80Gr 1P</c:v>
                </c:pt>
                <c:pt idx="42">
                  <c:v>Boursin Salade &amp; Aperitif Fromage Frais Des Noisette Et 3 Noix 1X120Gr 1P</c:v>
                </c:pt>
                <c:pt idx="43">
                  <c:v>Boursin Classique Fromage Frais A Tartiner Afh 1X256Gr 16P</c:v>
                </c:pt>
                <c:pt idx="44">
                  <c:v>Boursin Salade &amp; Aperitif Soft Cheese Salade 120G</c:v>
                </c:pt>
                <c:pt idx="45">
                  <c:v>Boursin Classique Fromage Frais A Tartiner 3 Noix Boite 1X150Gr 1P</c:v>
                </c:pt>
                <c:pt idx="46">
                  <c:v>Boursin Classique Fromage Frais A Tartiner Poivre Boite 1X150Gr 1P</c:v>
                </c:pt>
                <c:pt idx="47">
                  <c:v>Mini Babybel Aros St Paulin Ferme Emmental Filet 1X120Gr 6P</c:v>
                </c:pt>
                <c:pt idx="48">
                  <c:v>Boursin Onctueux Fromage Frais A Tartiner Afh 1X210Gr 1P</c:v>
                </c:pt>
                <c:pt idx="49">
                  <c:v>Boursin Classique Fromage Frais A Tartiner Truffe Boite 1X150Gr 1P</c:v>
                </c:pt>
                <c:pt idx="50">
                  <c:v>Boursin Classique Fromage Frais A Tartiner Afh Boite 1X320Gr 16+4P</c:v>
                </c:pt>
                <c:pt idx="51">
                  <c:v>Boursin Classique Fromage Frais A Tartiner 3 Noix 1X160Gr 10P</c:v>
                </c:pt>
                <c:pt idx="52">
                  <c:v>Mini Babybel Rouge Filet St Paulin Ferme Sachet 1X40Gr 1P</c:v>
                </c:pt>
                <c:pt idx="53">
                  <c:v>Mini Babybel Aros Soft Cheese Enfant 120G</c:v>
                </c:pt>
                <c:pt idx="54">
                  <c:v>La Vache Qui Rit Aro Fromage Fondu Boite Ronde Jambon 1X133Gr 8P</c:v>
                </c:pt>
                <c:pt idx="55">
                  <c:v>La Vache Qui Rit Pik Et Croq' Fromage Fondu Dips Boite 1X35Gr 1P</c:v>
                </c:pt>
                <c:pt idx="56">
                  <c:v>Kiri Chevre Fromage Blanc Frais Carre 1X144Gr 8P</c:v>
                </c:pt>
                <c:pt idx="57">
                  <c:v>Boursin Classique Fromage Frais A Tartiner Citron &amp; Romarin Boite 1X150Gr 1P</c:v>
                </c:pt>
                <c:pt idx="58">
                  <c:v>Mini Babybel Bio St Paulin Ferme Filet 1X100Gr 5P</c:v>
                </c:pt>
                <c:pt idx="59">
                  <c:v>Boursin Classique Fromage Frais A Tartiner Ciboulette &amp; Echalote 1X160Gr 10P</c:v>
                </c:pt>
                <c:pt idx="60">
                  <c:v>Mini Babybel Rouge Filet St Paulin Ferme 1X110Gr 5P</c:v>
                </c:pt>
                <c:pt idx="61">
                  <c:v>Limiano Queijo Flamengo Autre Sachet 1X450Gr 1P</c:v>
                </c:pt>
                <c:pt idx="62">
                  <c:v>Mini Babybel Rouge Filet St Paulin Ferme 1X396Gr 18P</c:v>
                </c:pt>
              </c:strCache>
            </c:strRef>
          </c:cat>
          <c:val>
            <c:numRef>
              <c:f>Sheet1!$B$2:$B$64</c:f>
              <c:numCache>
                <c:formatCode>General</c:formatCode>
                <c:ptCount val="63"/>
                <c:pt idx="0">
                  <c:v>0.827</c:v>
                </c:pt>
                <c:pt idx="1">
                  <c:v>0.868</c:v>
                </c:pt>
                <c:pt idx="2">
                  <c:v>0.99</c:v>
                </c:pt>
                <c:pt idx="3">
                  <c:v>0.898</c:v>
                </c:pt>
                <c:pt idx="4">
                  <c:v>0.981</c:v>
                </c:pt>
                <c:pt idx="5">
                  <c:v>0.778</c:v>
                </c:pt>
                <c:pt idx="6">
                  <c:v>0.99</c:v>
                </c:pt>
                <c:pt idx="7">
                  <c:v>0.834</c:v>
                </c:pt>
                <c:pt idx="8">
                  <c:v>0.968</c:v>
                </c:pt>
                <c:pt idx="9">
                  <c:v>0.915</c:v>
                </c:pt>
                <c:pt idx="10">
                  <c:v>0.949</c:v>
                </c:pt>
                <c:pt idx="11">
                  <c:v>0.817</c:v>
                </c:pt>
                <c:pt idx="12">
                  <c:v>0.962</c:v>
                </c:pt>
                <c:pt idx="13">
                  <c:v>0.732</c:v>
                </c:pt>
                <c:pt idx="14">
                  <c:v>0.908</c:v>
                </c:pt>
                <c:pt idx="15">
                  <c:v>0.82</c:v>
                </c:pt>
                <c:pt idx="16">
                  <c:v>0.694</c:v>
                </c:pt>
                <c:pt idx="17">
                  <c:v>0.808</c:v>
                </c:pt>
                <c:pt idx="18">
                  <c:v>0.725</c:v>
                </c:pt>
                <c:pt idx="19">
                  <c:v>0.716</c:v>
                </c:pt>
                <c:pt idx="20">
                  <c:v>0.443</c:v>
                </c:pt>
                <c:pt idx="21">
                  <c:v>0.821</c:v>
                </c:pt>
                <c:pt idx="22">
                  <c:v>0.736</c:v>
                </c:pt>
                <c:pt idx="23">
                  <c:v>0.774</c:v>
                </c:pt>
                <c:pt idx="24">
                  <c:v>0.793</c:v>
                </c:pt>
                <c:pt idx="25">
                  <c:v>0.774</c:v>
                </c:pt>
                <c:pt idx="26">
                  <c:v>0.692</c:v>
                </c:pt>
                <c:pt idx="27">
                  <c:v>0.643</c:v>
                </c:pt>
                <c:pt idx="28">
                  <c:v>0.618</c:v>
                </c:pt>
                <c:pt idx="29">
                  <c:v>0.817</c:v>
                </c:pt>
                <c:pt idx="30">
                  <c:v>0.434</c:v>
                </c:pt>
                <c:pt idx="31">
                  <c:v>0.694</c:v>
                </c:pt>
                <c:pt idx="32">
                  <c:v>0.689</c:v>
                </c:pt>
                <c:pt idx="33">
                  <c:v>0.495</c:v>
                </c:pt>
                <c:pt idx="34">
                  <c:v>0.801</c:v>
                </c:pt>
                <c:pt idx="35">
                  <c:v>0.502</c:v>
                </c:pt>
                <c:pt idx="36">
                  <c:v>0.697</c:v>
                </c:pt>
                <c:pt idx="37">
                  <c:v>0.707</c:v>
                </c:pt>
                <c:pt idx="38">
                  <c:v>0.423</c:v>
                </c:pt>
                <c:pt idx="39">
                  <c:v>0.482</c:v>
                </c:pt>
                <c:pt idx="40">
                  <c:v>0.645</c:v>
                </c:pt>
                <c:pt idx="41">
                  <c:v>0.447</c:v>
                </c:pt>
                <c:pt idx="42">
                  <c:v>0.738</c:v>
                </c:pt>
                <c:pt idx="43">
                  <c:v>0.265</c:v>
                </c:pt>
                <c:pt idx="44">
                  <c:v>0.698</c:v>
                </c:pt>
                <c:pt idx="45">
                  <c:v>0.537</c:v>
                </c:pt>
                <c:pt idx="46">
                  <c:v>0.402</c:v>
                </c:pt>
                <c:pt idx="47">
                  <c:v>0.319</c:v>
                </c:pt>
                <c:pt idx="48">
                  <c:v>0.281</c:v>
                </c:pt>
                <c:pt idx="49">
                  <c:v>0.511</c:v>
                </c:pt>
                <c:pt idx="50">
                  <c:v>0.528</c:v>
                </c:pt>
                <c:pt idx="51">
                  <c:v>0.379</c:v>
                </c:pt>
                <c:pt idx="52">
                  <c:v>0.128</c:v>
                </c:pt>
                <c:pt idx="53">
                  <c:v>0.31</c:v>
                </c:pt>
                <c:pt idx="54">
                  <c:v>0.037</c:v>
                </c:pt>
                <c:pt idx="55">
                  <c:v>0.008</c:v>
                </c:pt>
                <c:pt idx="56">
                  <c:v>0.267</c:v>
                </c:pt>
                <c:pt idx="57">
                  <c:v>0.324</c:v>
                </c:pt>
                <c:pt idx="58">
                  <c:v>0.316</c:v>
                </c:pt>
                <c:pt idx="59">
                  <c:v>0.075</c:v>
                </c:pt>
                <c:pt idx="60">
                  <c:v>0.023</c:v>
                </c:pt>
                <c:pt idx="61">
                  <c:v>0.005</c:v>
                </c:pt>
                <c:pt idx="62">
                  <c:v>0.005</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7ECAC4"/>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AEABAB"/>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dPt>
            <c:idx val="44"/>
            <c:spPr>
              <a:solidFill>
                <a:srgbClr val="AEABAB"/>
              </a:solidFill>
            </c:spPr>
          </c:dPt>
          <c:dPt>
            <c:idx val="45"/>
            <c:spPr>
              <a:solidFill>
                <a:srgbClr val="AEABAB"/>
              </a:solidFill>
            </c:spPr>
          </c:dPt>
          <c:dPt>
            <c:idx val="46"/>
            <c:spPr>
              <a:solidFill>
                <a:srgbClr val="AEABAB"/>
              </a:solidFill>
            </c:spPr>
          </c:dPt>
          <c:dPt>
            <c:idx val="47"/>
            <c:spPr>
              <a:solidFill>
                <a:srgbClr val="AEABAB"/>
              </a:solidFill>
            </c:spPr>
          </c:dPt>
          <c:dPt>
            <c:idx val="48"/>
            <c:spPr>
              <a:solidFill>
                <a:srgbClr val="AEABAB"/>
              </a:solidFill>
            </c:spPr>
          </c:dPt>
          <c:dPt>
            <c:idx val="49"/>
            <c:spPr>
              <a:solidFill>
                <a:srgbClr val="AEABAB"/>
              </a:solidFill>
            </c:spPr>
          </c:dPt>
          <c:dPt>
            <c:idx val="50"/>
            <c:spPr>
              <a:solidFill>
                <a:srgbClr val="AEABAB"/>
              </a:solidFill>
            </c:spPr>
          </c:dPt>
          <c:dPt>
            <c:idx val="51"/>
            <c:spPr>
              <a:solidFill>
                <a:srgbClr val="AEABAB"/>
              </a:solidFill>
            </c:spPr>
          </c:dPt>
          <c:dPt>
            <c:idx val="52"/>
            <c:spPr>
              <a:solidFill>
                <a:srgbClr val="AEABAB"/>
              </a:solidFill>
            </c:spPr>
          </c:dPt>
          <c:dPt>
            <c:idx val="53"/>
            <c:spPr>
              <a:solidFill>
                <a:srgbClr val="AEABAB"/>
              </a:solidFill>
            </c:spPr>
          </c:dPt>
          <c:dPt>
            <c:idx val="54"/>
            <c:spPr>
              <a:solidFill>
                <a:srgbClr val="AEABAB"/>
              </a:solidFill>
            </c:spPr>
          </c:dPt>
          <c:dPt>
            <c:idx val="55"/>
            <c:spPr>
              <a:solidFill>
                <a:srgbClr val="AEABAB"/>
              </a:solidFill>
            </c:spPr>
          </c:dPt>
          <c:dPt>
            <c:idx val="56"/>
            <c:spPr>
              <a:solidFill>
                <a:srgbClr val="AEABAB"/>
              </a:solidFill>
            </c:spPr>
          </c:dPt>
          <c:dPt>
            <c:idx val="57"/>
            <c:spPr>
              <a:solidFill>
                <a:srgbClr val="AEABAB"/>
              </a:solidFill>
            </c:spPr>
          </c:dPt>
          <c:dPt>
            <c:idx val="58"/>
            <c:spPr>
              <a:solidFill>
                <a:srgbClr val="AEABAB"/>
              </a:solidFill>
            </c:spPr>
          </c:dPt>
          <c:dPt>
            <c:idx val="59"/>
            <c:spPr>
              <a:solidFill>
                <a:srgbClr val="AEABAB"/>
              </a:solidFill>
            </c:spPr>
          </c:dPt>
          <c:dPt>
            <c:idx val="60"/>
            <c:spPr>
              <a:solidFill>
                <a:srgbClr val="AEABAB"/>
              </a:solidFill>
            </c:spPr>
          </c:dPt>
          <c:dPt>
            <c:idx val="61"/>
            <c:spPr>
              <a:solidFill>
                <a:srgbClr val="AEABAB"/>
              </a:solidFill>
            </c:spPr>
          </c:dPt>
          <c:dPt>
            <c:idx val="62"/>
            <c:spPr>
              <a:solidFill>
                <a:srgbClr val="AEABAB"/>
              </a:solidFill>
            </c:spPr>
          </c:dPt>
          <c:cat>
            <c:strRef>
              <c:f>Sheet1!$A$2:$A$64</c:f>
              <c:strCache>
                <c:ptCount val="63"/>
                <c:pt idx="0">
                  <c:v>La Vache Qui Rit Nature Fromage Fondu Boite Ronde 1X512Gr 32P</c:v>
                </c:pt>
                <c:pt idx="1">
                  <c:v>Mini Babybel Rouge Filet St Paulin Ferme 1X264Gr 12P</c:v>
                </c:pt>
                <c:pt idx="2">
                  <c:v>Mini Babybel Rouge Filet St Paulin Ferme 1X132Gr 6P</c:v>
                </c:pt>
                <c:pt idx="3">
                  <c:v>La Vache Qui Rit Nature Fromage Fondu Boite Ronde 1X384Gr 24P</c:v>
                </c:pt>
                <c:pt idx="4">
                  <c:v>La Vache Qui Rit Nature Fromage Fondu Boite Ronde 1X192Gr 12P</c:v>
                </c:pt>
                <c:pt idx="5">
                  <c:v>Kiri Creme Fromage Blanc Frais Carre 1X432Gr 24P</c:v>
                </c:pt>
                <c:pt idx="6">
                  <c:v>Kiri Creme Fromage Blanc Frais Carre 1X144Gr 8P</c:v>
                </c:pt>
                <c:pt idx="7">
                  <c:v>Kiri Creme Fromage Blanc Frais Carre 1X216Gr 12P</c:v>
                </c:pt>
                <c:pt idx="8">
                  <c:v>Boursin Classique Fromage Frais A Tartiner Afh Boite 1X150Gr 1P</c:v>
                </c:pt>
                <c:pt idx="9">
                  <c:v>Boursin Classique Fromage Frais A Tartiner Afh 1X160Gr 10P</c:v>
                </c:pt>
                <c:pt idx="10">
                  <c:v>Kiri Gouter Fromage Blanc Dips Boite 1X175Gr 5P</c:v>
                </c:pt>
                <c:pt idx="11">
                  <c:v>Boursin Classique Fromage Frais A Tartiner Afh Boite 1X250Gr 1P</c:v>
                </c:pt>
                <c:pt idx="12">
                  <c:v>Boursin Salade &amp; Aperitif Fromage Frais Des Afh 1X120Gr 1P</c:v>
                </c:pt>
                <c:pt idx="13">
                  <c:v>Kiri Gouter Fromage Blanc Dips Boite 1X280Gr 8P</c:v>
                </c:pt>
                <c:pt idx="14">
                  <c:v>La Vache Qui Rit Pik Et Croq' Fromage Fondu Dips Boite 1X175Gr 5P</c:v>
                </c:pt>
                <c:pt idx="15">
                  <c:v>Mini Babybel Rouge Filet St Paulin Ferme 1X440Gr 20P</c:v>
                </c:pt>
                <c:pt idx="16">
                  <c:v>La Vache Qui Rit Nature Fromage Fondu Boite Ronde 1X128Gr 8P</c:v>
                </c:pt>
                <c:pt idx="17">
                  <c:v>Mini Babybel Rouge Filet Soft Cheese Enfant 352G</c:v>
                </c:pt>
                <c:pt idx="18">
                  <c:v>La Vache Qui Rit Nature Fromage Fondu Boite Ronde 1X512Gr 24+8P</c:v>
                </c:pt>
                <c:pt idx="19">
                  <c:v>Kiri Creme Fromage Blanc Frais Carre 1X432Gr 18+6P</c:v>
                </c:pt>
                <c:pt idx="20">
                  <c:v>Mini Babybel Rouge Filet Soft Cheese Enfant 484G</c:v>
                </c:pt>
                <c:pt idx="21">
                  <c:v>Boursin Classique Fromage Frais A Tartiner Afh Boite 1X96Gr 6P</c:v>
                </c:pt>
                <c:pt idx="22">
                  <c:v>Mini Babybel Rouge Filet St Paulin Ferme 1X396Gr 12+6P</c:v>
                </c:pt>
                <c:pt idx="23">
                  <c:v>Kiri Delicieusement Fouette Fromage Frais A Tartiner 1X125Gr 1P</c:v>
                </c:pt>
                <c:pt idx="24">
                  <c:v>Boursin Classique Fromage Frais A Tartiner Ciboulette &amp; Echalote Boite 1X150Gr 1P</c:v>
                </c:pt>
                <c:pt idx="25">
                  <c:v>Boursin Onctueux Fromage Frais A Tartiner Afh 1X125Gr 1P</c:v>
                </c:pt>
                <c:pt idx="26">
                  <c:v>Mini Babybel Aros St Paulin Ferme Assortis Filet 1X180Gr 9P</c:v>
                </c:pt>
                <c:pt idx="27">
                  <c:v>Kiri Delicieusement Fouette Fromage Frais A Tartiner 1X210Gr 1P</c:v>
                </c:pt>
                <c:pt idx="28">
                  <c:v>Babybel Mini Rolls St Paulin Ferme Sachet 1X85Gr 5P</c:v>
                </c:pt>
                <c:pt idx="29">
                  <c:v>Boursin Salade &amp; Aperitif Fromage Frais Des Ciboulette Echalote 1X120Gr 1P</c:v>
                </c:pt>
                <c:pt idx="30">
                  <c:v>La Vache Qui Rit Pik Et Croq' Fromage Fondu Dips Boite 1X280Gr 8P</c:v>
                </c:pt>
                <c:pt idx="31">
                  <c:v>Boursin Classique Fromage Frais A Tartiner Figue Et 3 Noix Boite 1X150Gr 1P</c:v>
                </c:pt>
                <c:pt idx="32">
                  <c:v>Kiri Delicieusement Fouette Fromage Frais A Tartiner 1X160Gr 10P</c:v>
                </c:pt>
                <c:pt idx="33">
                  <c:v>La Vache Qui Rit Allegee Fromage Fondu Boite Ronde Allege 1X267Gr 16P</c:v>
                </c:pt>
                <c:pt idx="34">
                  <c:v>Boursin Salade &amp; Aperitif Fromage Frais Des Figue Noix 1X120Gr 1P</c:v>
                </c:pt>
                <c:pt idx="35">
                  <c:v>Kiri Bio Fromage Blanc Frais Carre 1X144Gr 8P</c:v>
                </c:pt>
                <c:pt idx="36">
                  <c:v>Mini Babybel Aros Soft Cheese Enfant 180G</c:v>
                </c:pt>
                <c:pt idx="37">
                  <c:v>Boursin Salade &amp; Aperitif Fromage Frais Des Citron Romarin 1X120Gr 1P</c:v>
                </c:pt>
                <c:pt idx="38">
                  <c:v>Mini Babybel Aros St Paulin Ferme Raclette Filet 1X132Gr 6P</c:v>
                </c:pt>
                <c:pt idx="39">
                  <c:v>La Vache Qui Rit Bio Fromage Fondu Boite Ronde 1X128Gr 8P</c:v>
                </c:pt>
                <c:pt idx="40">
                  <c:v>Mini Babybel Aros Soft Cheese Enfant 110G</c:v>
                </c:pt>
                <c:pt idx="41">
                  <c:v>Boursin Classique Fromage Frais A Tartiner Afh Boite 1X80Gr 1P</c:v>
                </c:pt>
                <c:pt idx="42">
                  <c:v>Boursin Salade &amp; Aperitif Fromage Frais Des Noisette Et 3 Noix 1X120Gr 1P</c:v>
                </c:pt>
                <c:pt idx="43">
                  <c:v>Boursin Classique Fromage Frais A Tartiner Afh 1X256Gr 16P</c:v>
                </c:pt>
                <c:pt idx="44">
                  <c:v>Boursin Salade &amp; Aperitif Soft Cheese Salade 120G</c:v>
                </c:pt>
                <c:pt idx="45">
                  <c:v>Boursin Classique Fromage Frais A Tartiner 3 Noix Boite 1X150Gr 1P</c:v>
                </c:pt>
                <c:pt idx="46">
                  <c:v>Boursin Classique Fromage Frais A Tartiner Poivre Boite 1X150Gr 1P</c:v>
                </c:pt>
                <c:pt idx="47">
                  <c:v>Mini Babybel Aros St Paulin Ferme Emmental Filet 1X120Gr 6P</c:v>
                </c:pt>
                <c:pt idx="48">
                  <c:v>Boursin Onctueux Fromage Frais A Tartiner Afh 1X210Gr 1P</c:v>
                </c:pt>
                <c:pt idx="49">
                  <c:v>Boursin Classique Fromage Frais A Tartiner Truffe Boite 1X150Gr 1P</c:v>
                </c:pt>
                <c:pt idx="50">
                  <c:v>Boursin Classique Fromage Frais A Tartiner Afh Boite 1X320Gr 16+4P</c:v>
                </c:pt>
                <c:pt idx="51">
                  <c:v>Boursin Classique Fromage Frais A Tartiner 3 Noix 1X160Gr 10P</c:v>
                </c:pt>
                <c:pt idx="52">
                  <c:v>Mini Babybel Rouge Filet St Paulin Ferme Sachet 1X40Gr 1P</c:v>
                </c:pt>
                <c:pt idx="53">
                  <c:v>Mini Babybel Aros Soft Cheese Enfant 120G</c:v>
                </c:pt>
                <c:pt idx="54">
                  <c:v>La Vache Qui Rit Aro Fromage Fondu Boite Ronde Jambon 1X133Gr 8P</c:v>
                </c:pt>
                <c:pt idx="55">
                  <c:v>La Vache Qui Rit Pik Et Croq' Fromage Fondu Dips Boite 1X35Gr 1P</c:v>
                </c:pt>
                <c:pt idx="56">
                  <c:v>Kiri Chevre Fromage Blanc Frais Carre 1X144Gr 8P</c:v>
                </c:pt>
                <c:pt idx="57">
                  <c:v>Boursin Classique Fromage Frais A Tartiner Citron &amp; Romarin Boite 1X150Gr 1P</c:v>
                </c:pt>
                <c:pt idx="58">
                  <c:v>Mini Babybel Bio St Paulin Ferme Filet 1X100Gr 5P</c:v>
                </c:pt>
                <c:pt idx="59">
                  <c:v>Boursin Classique Fromage Frais A Tartiner Ciboulette &amp; Echalote 1X160Gr 10P</c:v>
                </c:pt>
                <c:pt idx="60">
                  <c:v>Mini Babybel Rouge Filet St Paulin Ferme 1X110Gr 5P</c:v>
                </c:pt>
                <c:pt idx="61">
                  <c:v>Limiano Queijo Flamengo Autre Sachet 1X450Gr 1P</c:v>
                </c:pt>
                <c:pt idx="62">
                  <c:v>Mini Babybel Rouge Filet St Paulin Ferme 1X396Gr 18P</c:v>
                </c:pt>
              </c:strCache>
            </c:strRef>
          </c:cat>
          <c:val>
            <c:numRef>
              <c:f>Sheet1!$C$2:$C$64</c:f>
              <c:numCache>
                <c:formatCode>General</c:formatCode>
                <c:ptCount val="63"/>
                <c:pt idx="0">
                  <c:v>0.12962986226544976</c:v>
                </c:pt>
                <c:pt idx="1">
                  <c:v>0.2240985175273642</c:v>
                </c:pt>
                <c:pt idx="2">
                  <c:v>0.30227511759609893</c:v>
                </c:pt>
                <c:pt idx="3">
                  <c:v>0.37389824248562403</c:v>
                </c:pt>
                <c:pt idx="4">
                  <c:v>0.44349460395171175</c:v>
                </c:pt>
                <c:pt idx="5">
                  <c:v>0.5128504301208546</c:v>
                </c:pt>
                <c:pt idx="6">
                  <c:v>0.564580381289736</c:v>
                </c:pt>
                <c:pt idx="7">
                  <c:v>0.6037321720406313</c:v>
                </c:pt>
                <c:pt idx="8">
                  <c:v>0.640956438523249</c:v>
                </c:pt>
                <c:pt idx="9">
                  <c:v>0.6772442799130344</c:v>
                </c:pt>
                <c:pt idx="10">
                  <c:v>0.7130672601725253</c:v>
                </c:pt>
                <c:pt idx="11">
                  <c:v>0.7361808819299713</c:v>
                </c:pt>
                <c:pt idx="12">
                  <c:v>0.7580183479518416</c:v>
                </c:pt>
                <c:pt idx="13">
                  <c:v>0.7781990644138563</c:v>
                </c:pt>
                <c:pt idx="14">
                  <c:v>0.7976746473047982</c:v>
                </c:pt>
                <c:pt idx="15">
                  <c:v>0.8166020655653745</c:v>
                </c:pt>
                <c:pt idx="16">
                  <c:v>0.8333826389438255</c:v>
                </c:pt>
                <c:pt idx="17">
                  <c:v>0.8496858764764179</c:v>
                </c:pt>
                <c:pt idx="18">
                  <c:v>0.8650622284045506</c:v>
                </c:pt>
                <c:pt idx="19">
                  <c:v>0.877906990689317</c:v>
                </c:pt>
                <c:pt idx="20">
                  <c:v>0.888840032932811</c:v>
                </c:pt>
                <c:pt idx="21">
                  <c:v>0.8995097042499034</c:v>
                </c:pt>
                <c:pt idx="22">
                  <c:v>0.9088209348989937</c:v>
                </c:pt>
                <c:pt idx="23">
                  <c:v>0.9166968394514073</c:v>
                </c:pt>
                <c:pt idx="24">
                  <c:v>0.9242455537906833</c:v>
                </c:pt>
                <c:pt idx="25">
                  <c:v>0.9307435882234611</c:v>
                </c:pt>
                <c:pt idx="26">
                  <c:v>0.9368186870844868</c:v>
                </c:pt>
                <c:pt idx="27">
                  <c:v>0.9420451876692815</c:v>
                </c:pt>
                <c:pt idx="28">
                  <c:v>0.9471884176110259</c:v>
                </c:pt>
                <c:pt idx="29">
                  <c:v>0.9520487157466517</c:v>
                </c:pt>
                <c:pt idx="30">
                  <c:v>0.9568998139164533</c:v>
                </c:pt>
                <c:pt idx="31">
                  <c:v>0.9617489735220275</c:v>
                </c:pt>
                <c:pt idx="32">
                  <c:v>0.965985283975619</c:v>
                </c:pt>
                <c:pt idx="33">
                  <c:v>0.9699830086488332</c:v>
                </c:pt>
                <c:pt idx="34">
                  <c:v>0.973686652033537</c:v>
                </c:pt>
                <c:pt idx="35">
                  <c:v>0.9769676884166966</c:v>
                </c:pt>
                <c:pt idx="36">
                  <c:v>0.9798839352025818</c:v>
                </c:pt>
                <c:pt idx="37">
                  <c:v>0.9817609582298882</c:v>
                </c:pt>
                <c:pt idx="38">
                  <c:v>0.9835006498625861</c:v>
                </c:pt>
                <c:pt idx="39">
                  <c:v>0.9852326200953957</c:v>
                </c:pt>
                <c:pt idx="40">
                  <c:v>0.9868993472372345</c:v>
                </c:pt>
                <c:pt idx="41">
                  <c:v>0.9884500671909648</c:v>
                </c:pt>
                <c:pt idx="42">
                  <c:v>0.9898664347866393</c:v>
                </c:pt>
                <c:pt idx="43">
                  <c:v>0.9912484887002571</c:v>
                </c:pt>
                <c:pt idx="44">
                  <c:v>0.992566405709271</c:v>
                </c:pt>
                <c:pt idx="45">
                  <c:v>0.9936146322915493</c:v>
                </c:pt>
                <c:pt idx="46">
                  <c:v>0.9945680882734969</c:v>
                </c:pt>
                <c:pt idx="47">
                  <c:v>0.9955010743314853</c:v>
                </c:pt>
                <c:pt idx="48">
                  <c:v>0.9961961207971722</c:v>
                </c:pt>
                <c:pt idx="49">
                  <c:v>0.9967316683315501</c:v>
                </c:pt>
                <c:pt idx="50">
                  <c:v>0.9972593192285956</c:v>
                </c:pt>
                <c:pt idx="51">
                  <c:v>0.9977592826094459</c:v>
                </c:pt>
                <c:pt idx="52">
                  <c:v>0.9982140566343544</c:v>
                </c:pt>
                <c:pt idx="53">
                  <c:v>0.9985845743055884</c:v>
                </c:pt>
                <c:pt idx="54">
                  <c:v>0.9989136483212521</c:v>
                </c:pt>
                <c:pt idx="55">
                  <c:v>0.9991711487932705</c:v>
                </c:pt>
                <c:pt idx="56">
                  <c:v>0.9993577000050391</c:v>
                </c:pt>
                <c:pt idx="57">
                  <c:v>0.9995360479139477</c:v>
                </c:pt>
                <c:pt idx="58">
                  <c:v>0.9997065977565861</c:v>
                </c:pt>
                <c:pt idx="59">
                  <c:v>0.9998578057663129</c:v>
                </c:pt>
                <c:pt idx="60">
                  <c:v>0.99999057003503</c:v>
                </c:pt>
                <c:pt idx="61">
                  <c:v>0.9999973495336553</c:v>
                </c:pt>
                <c:pt idx="62">
                  <c:v>0.9999998576195764</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64</c:f>
              <c:strCache>
                <c:ptCount val="63"/>
                <c:pt idx="0">
                  <c:v>La Vache Qui Rit Nature Fromage Fondu Boite Ronde 1X512Gr 32P</c:v>
                </c:pt>
                <c:pt idx="1">
                  <c:v>Mini Babybel Rouge Filet St Paulin Ferme 1X264Gr 12P</c:v>
                </c:pt>
                <c:pt idx="2">
                  <c:v>Mini Babybel Rouge Filet St Paulin Ferme 1X132Gr 6P</c:v>
                </c:pt>
                <c:pt idx="3">
                  <c:v>La Vache Qui Rit Nature Fromage Fondu Boite Ronde 1X384Gr 24P</c:v>
                </c:pt>
                <c:pt idx="4">
                  <c:v>La Vache Qui Rit Nature Fromage Fondu Boite Ronde 1X192Gr 12P</c:v>
                </c:pt>
                <c:pt idx="5">
                  <c:v>Kiri Creme Fromage Blanc Frais Carre 1X432Gr 24P</c:v>
                </c:pt>
                <c:pt idx="6">
                  <c:v>Kiri Creme Fromage Blanc Frais Carre 1X144Gr 8P</c:v>
                </c:pt>
                <c:pt idx="7">
                  <c:v>Kiri Creme Fromage Blanc Frais Carre 1X216Gr 12P</c:v>
                </c:pt>
                <c:pt idx="8">
                  <c:v>Boursin Classique Fromage Frais A Tartiner Afh Boite 1X150Gr 1P</c:v>
                </c:pt>
                <c:pt idx="9">
                  <c:v>Boursin Classique Fromage Frais A Tartiner Afh 1X160Gr 10P</c:v>
                </c:pt>
                <c:pt idx="10">
                  <c:v>Kiri Gouter Fromage Blanc Dips Boite 1X175Gr 5P</c:v>
                </c:pt>
                <c:pt idx="11">
                  <c:v>Boursin Classique Fromage Frais A Tartiner Afh Boite 1X250Gr 1P</c:v>
                </c:pt>
                <c:pt idx="12">
                  <c:v>Boursin Salade &amp; Aperitif Fromage Frais Des Afh 1X120Gr 1P</c:v>
                </c:pt>
                <c:pt idx="13">
                  <c:v>Kiri Gouter Fromage Blanc Dips Boite 1X280Gr 8P</c:v>
                </c:pt>
                <c:pt idx="14">
                  <c:v>La Vache Qui Rit Pik Et Croq' Fromage Fondu Dips Boite 1X175Gr 5P</c:v>
                </c:pt>
                <c:pt idx="15">
                  <c:v>Mini Babybel Rouge Filet St Paulin Ferme 1X440Gr 20P</c:v>
                </c:pt>
                <c:pt idx="16">
                  <c:v>La Vache Qui Rit Nature Fromage Fondu Boite Ronde 1X128Gr 8P</c:v>
                </c:pt>
                <c:pt idx="17">
                  <c:v>Mini Babybel Rouge Filet Soft Cheese Enfant 352G</c:v>
                </c:pt>
                <c:pt idx="18">
                  <c:v>La Vache Qui Rit Nature Fromage Fondu Boite Ronde 1X512Gr 24+8P</c:v>
                </c:pt>
                <c:pt idx="19">
                  <c:v>Kiri Creme Fromage Blanc Frais Carre 1X432Gr 18+6P</c:v>
                </c:pt>
                <c:pt idx="20">
                  <c:v>Mini Babybel Rouge Filet Soft Cheese Enfant 484G</c:v>
                </c:pt>
                <c:pt idx="21">
                  <c:v>Boursin Classique Fromage Frais A Tartiner Afh Boite 1X96Gr 6P</c:v>
                </c:pt>
                <c:pt idx="22">
                  <c:v>Mini Babybel Rouge Filet St Paulin Ferme 1X396Gr 12+6P</c:v>
                </c:pt>
                <c:pt idx="23">
                  <c:v>Kiri Delicieusement Fouette Fromage Frais A Tartiner 1X125Gr 1P</c:v>
                </c:pt>
                <c:pt idx="24">
                  <c:v>Boursin Classique Fromage Frais A Tartiner Ciboulette &amp; Echalote Boite 1X150Gr 1P</c:v>
                </c:pt>
                <c:pt idx="25">
                  <c:v>Boursin Onctueux Fromage Frais A Tartiner Afh 1X125Gr 1P</c:v>
                </c:pt>
                <c:pt idx="26">
                  <c:v>Mini Babybel Aros St Paulin Ferme Assortis Filet 1X180Gr 9P</c:v>
                </c:pt>
                <c:pt idx="27">
                  <c:v>Kiri Delicieusement Fouette Fromage Frais A Tartiner 1X210Gr 1P</c:v>
                </c:pt>
                <c:pt idx="28">
                  <c:v>Babybel Mini Rolls St Paulin Ferme Sachet 1X85Gr 5P</c:v>
                </c:pt>
                <c:pt idx="29">
                  <c:v>Boursin Salade &amp; Aperitif Fromage Frais Des Ciboulette Echalote 1X120Gr 1P</c:v>
                </c:pt>
                <c:pt idx="30">
                  <c:v>La Vache Qui Rit Pik Et Croq' Fromage Fondu Dips Boite 1X280Gr 8P</c:v>
                </c:pt>
                <c:pt idx="31">
                  <c:v>Boursin Classique Fromage Frais A Tartiner Figue Et 3 Noix Boite 1X150Gr 1P</c:v>
                </c:pt>
                <c:pt idx="32">
                  <c:v>Kiri Delicieusement Fouette Fromage Frais A Tartiner 1X160Gr 10P</c:v>
                </c:pt>
                <c:pt idx="33">
                  <c:v>La Vache Qui Rit Allegee Fromage Fondu Boite Ronde Allege 1X267Gr 16P</c:v>
                </c:pt>
                <c:pt idx="34">
                  <c:v>Boursin Salade &amp; Aperitif Fromage Frais Des Figue Noix 1X120Gr 1P</c:v>
                </c:pt>
                <c:pt idx="35">
                  <c:v>Kiri Bio Fromage Blanc Frais Carre 1X144Gr 8P</c:v>
                </c:pt>
                <c:pt idx="36">
                  <c:v>Mini Babybel Aros Soft Cheese Enfant 180G</c:v>
                </c:pt>
                <c:pt idx="37">
                  <c:v>Boursin Salade &amp; Aperitif Fromage Frais Des Citron Romarin 1X120Gr 1P</c:v>
                </c:pt>
                <c:pt idx="38">
                  <c:v>Mini Babybel Aros St Paulin Ferme Raclette Filet 1X132Gr 6P</c:v>
                </c:pt>
                <c:pt idx="39">
                  <c:v>La Vache Qui Rit Bio Fromage Fondu Boite Ronde 1X128Gr 8P</c:v>
                </c:pt>
                <c:pt idx="40">
                  <c:v>Mini Babybel Aros Soft Cheese Enfant 110G</c:v>
                </c:pt>
                <c:pt idx="41">
                  <c:v>Boursin Classique Fromage Frais A Tartiner Afh Boite 1X80Gr 1P</c:v>
                </c:pt>
                <c:pt idx="42">
                  <c:v>Boursin Salade &amp; Aperitif Fromage Frais Des Noisette Et 3 Noix 1X120Gr 1P</c:v>
                </c:pt>
                <c:pt idx="43">
                  <c:v>Boursin Classique Fromage Frais A Tartiner Afh 1X256Gr 16P</c:v>
                </c:pt>
                <c:pt idx="44">
                  <c:v>Boursin Salade &amp; Aperitif Soft Cheese Salade 120G</c:v>
                </c:pt>
                <c:pt idx="45">
                  <c:v>Boursin Classique Fromage Frais A Tartiner 3 Noix Boite 1X150Gr 1P</c:v>
                </c:pt>
                <c:pt idx="46">
                  <c:v>Boursin Classique Fromage Frais A Tartiner Poivre Boite 1X150Gr 1P</c:v>
                </c:pt>
                <c:pt idx="47">
                  <c:v>Mini Babybel Aros St Paulin Ferme Emmental Filet 1X120Gr 6P</c:v>
                </c:pt>
                <c:pt idx="48">
                  <c:v>Boursin Onctueux Fromage Frais A Tartiner Afh 1X210Gr 1P</c:v>
                </c:pt>
                <c:pt idx="49">
                  <c:v>Boursin Classique Fromage Frais A Tartiner Truffe Boite 1X150Gr 1P</c:v>
                </c:pt>
                <c:pt idx="50">
                  <c:v>Boursin Classique Fromage Frais A Tartiner Afh Boite 1X320Gr 16+4P</c:v>
                </c:pt>
                <c:pt idx="51">
                  <c:v>Boursin Classique Fromage Frais A Tartiner 3 Noix 1X160Gr 10P</c:v>
                </c:pt>
                <c:pt idx="52">
                  <c:v>Mini Babybel Rouge Filet St Paulin Ferme Sachet 1X40Gr 1P</c:v>
                </c:pt>
                <c:pt idx="53">
                  <c:v>Mini Babybel Aros Soft Cheese Enfant 120G</c:v>
                </c:pt>
                <c:pt idx="54">
                  <c:v>La Vache Qui Rit Aro Fromage Fondu Boite Ronde Jambon 1X133Gr 8P</c:v>
                </c:pt>
                <c:pt idx="55">
                  <c:v>La Vache Qui Rit Pik Et Croq' Fromage Fondu Dips Boite 1X35Gr 1P</c:v>
                </c:pt>
                <c:pt idx="56">
                  <c:v>Kiri Chevre Fromage Blanc Frais Carre 1X144Gr 8P</c:v>
                </c:pt>
                <c:pt idx="57">
                  <c:v>Boursin Classique Fromage Frais A Tartiner Citron &amp; Romarin Boite 1X150Gr 1P</c:v>
                </c:pt>
                <c:pt idx="58">
                  <c:v>Mini Babybel Bio St Paulin Ferme Filet 1X100Gr 5P</c:v>
                </c:pt>
                <c:pt idx="59">
                  <c:v>Boursin Classique Fromage Frais A Tartiner Ciboulette &amp; Echalote 1X160Gr 10P</c:v>
                </c:pt>
                <c:pt idx="60">
                  <c:v>Mini Babybel Rouge Filet St Paulin Ferme 1X110Gr 5P</c:v>
                </c:pt>
                <c:pt idx="61">
                  <c:v>Limiano Queijo Flamengo Autre Sachet 1X450Gr 1P</c:v>
                </c:pt>
                <c:pt idx="62">
                  <c:v>Mini Babybel Rouge Filet St Paulin Ferme 1X396Gr 18P</c:v>
                </c:pt>
              </c:strCache>
            </c:strRef>
          </c:cat>
          <c:val>
            <c:numRef>
              <c:f>Sheet1!$D$2:$D$64</c:f>
              <c:numCache>
                <c:formatCode>General</c:formatCode>
                <c:ptCount val="63"/>
                <c:pt idx="0">
                  <c:v>143117.46070133013</c:v>
                </c:pt>
                <c:pt idx="1">
                  <c:v>99371.32488479263</c:v>
                </c:pt>
                <c:pt idx="2">
                  <c:v>72099.898989899</c:v>
                </c:pt>
                <c:pt idx="3">
                  <c:v>72823.24053452116</c:v>
                </c:pt>
                <c:pt idx="4">
                  <c:v>64775.47400611621</c:v>
                </c:pt>
                <c:pt idx="5">
                  <c:v>81394.7557840617</c:v>
                </c:pt>
                <c:pt idx="6">
                  <c:v>47708.9595959596</c:v>
                </c:pt>
                <c:pt idx="7">
                  <c:v>42862.6139088729</c:v>
                </c:pt>
                <c:pt idx="8">
                  <c:v>35111.05371900827</c:v>
                </c:pt>
                <c:pt idx="9">
                  <c:v>36210.3825136612</c:v>
                </c:pt>
                <c:pt idx="10">
                  <c:v>34465.81664910432</c:v>
                </c:pt>
                <c:pt idx="11">
                  <c:v>25830.86903304774</c:v>
                </c:pt>
                <c:pt idx="12">
                  <c:v>20726.22661122661</c:v>
                </c:pt>
                <c:pt idx="13">
                  <c:v>25172.049180327867</c:v>
                </c:pt>
                <c:pt idx="14">
                  <c:v>19583.832599118945</c:v>
                </c:pt>
                <c:pt idx="15">
                  <c:v>21075.146341463416</c:v>
                </c:pt>
                <c:pt idx="16">
                  <c:v>22077.017291066284</c:v>
                </c:pt>
                <c:pt idx="17">
                  <c:v>18422.797029702968</c:v>
                </c:pt>
                <c:pt idx="18">
                  <c:v>19364.593103448275</c:v>
                </c:pt>
                <c:pt idx="19">
                  <c:v>16379.706703910615</c:v>
                </c:pt>
                <c:pt idx="20">
                  <c:v>22533.589164785553</c:v>
                </c:pt>
                <c:pt idx="21">
                  <c:v>11865.90742996346</c:v>
                </c:pt>
                <c:pt idx="22">
                  <c:v>11551.073369565218</c:v>
                </c:pt>
                <c:pt idx="23">
                  <c:v>9290.78811369509</c:v>
                </c:pt>
                <c:pt idx="24">
                  <c:v>8691.462799495586</c:v>
                </c:pt>
                <c:pt idx="25">
                  <c:v>7665.387596899224</c:v>
                </c:pt>
                <c:pt idx="26">
                  <c:v>8015.679190751446</c:v>
                </c:pt>
                <c:pt idx="27">
                  <c:v>7421.524105754277</c:v>
                </c:pt>
                <c:pt idx="28">
                  <c:v>7598.721682847897</c:v>
                </c:pt>
                <c:pt idx="29">
                  <c:v>5431.676866585068</c:v>
                </c:pt>
                <c:pt idx="30">
                  <c:v>10205.714285714286</c:v>
                </c:pt>
                <c:pt idx="31">
                  <c:v>6379.6974063400585</c:v>
                </c:pt>
                <c:pt idx="32">
                  <c:v>5613.860667634253</c:v>
                </c:pt>
                <c:pt idx="33">
                  <c:v>7373.959595959596</c:v>
                </c:pt>
                <c:pt idx="34">
                  <c:v>4221.722846441947</c:v>
                </c:pt>
                <c:pt idx="35">
                  <c:v>5967.609561752988</c:v>
                </c:pt>
                <c:pt idx="36">
                  <c:v>3820.186513629843</c:v>
                </c:pt>
                <c:pt idx="37">
                  <c:v>2424.059405940594</c:v>
                </c:pt>
                <c:pt idx="38">
                  <c:v>3755.1300236406623</c:v>
                </c:pt>
                <c:pt idx="39">
                  <c:v>3280.850622406639</c:v>
                </c:pt>
                <c:pt idx="40">
                  <c:v>2359.3798449612405</c:v>
                </c:pt>
                <c:pt idx="41">
                  <c:v>3167.51677852349</c:v>
                </c:pt>
                <c:pt idx="42">
                  <c:v>1752.3170731707319</c:v>
                </c:pt>
                <c:pt idx="43">
                  <c:v>4761.811320754717</c:v>
                </c:pt>
                <c:pt idx="44">
                  <c:v>1723.9541547277938</c:v>
                </c:pt>
                <c:pt idx="45">
                  <c:v>1782.2718808193667</c:v>
                </c:pt>
                <c:pt idx="46">
                  <c:v>2165.547263681592</c:v>
                </c:pt>
                <c:pt idx="47">
                  <c:v>2670.4075235109717</c:v>
                </c:pt>
                <c:pt idx="48">
                  <c:v>2258.3985765124553</c:v>
                </c:pt>
                <c:pt idx="49">
                  <c:v>956.9080234833659</c:v>
                </c:pt>
                <c:pt idx="50">
                  <c:v>912.4431818181818</c:v>
                </c:pt>
                <c:pt idx="51">
                  <c:v>1204.4591029023748</c:v>
                </c:pt>
                <c:pt idx="52">
                  <c:v>3243.984375</c:v>
                </c:pt>
                <c:pt idx="53">
                  <c:v>1091.2903225806451</c:v>
                </c:pt>
                <c:pt idx="54">
                  <c:v>8120.540540540541</c:v>
                </c:pt>
                <c:pt idx="55">
                  <c:v>29388.75</c:v>
                </c:pt>
                <c:pt idx="56">
                  <c:v>637.9400749063669</c:v>
                </c:pt>
                <c:pt idx="57">
                  <c:v>502.5925925925926</c:v>
                </c:pt>
                <c:pt idx="58">
                  <c:v>492.7848101265823</c:v>
                </c:pt>
                <c:pt idx="59">
                  <c:v>1840.8</c:v>
                </c:pt>
                <c:pt idx="60">
                  <c:v>1634.7826086956522</c:v>
                </c:pt>
                <c:pt idx="61">
                  <c:v>1238.0</c:v>
                </c:pt>
                <c:pt idx="62">
                  <c:v>56.0</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50</c:f>
              <c:strCache>
                <c:ptCount val="49"/>
                <c:pt idx="0">
                  <c:v>Mini Babybel Rouge Filet St Paulin Ferme 1X264Gr 12P</c:v>
                </c:pt>
                <c:pt idx="1">
                  <c:v>La Vache Qui Rit Nature Fromage Fondu Boite Ronde 1X512Gr 32P</c:v>
                </c:pt>
                <c:pt idx="2">
                  <c:v>La Vache Qui Rit Nature Fromage Fondu Boite Ronde 1X192Gr 12P</c:v>
                </c:pt>
                <c:pt idx="3">
                  <c:v>Mini Babybel Rouge Filet St Paulin Ferme 1X132Gr 6P</c:v>
                </c:pt>
                <c:pt idx="4">
                  <c:v>La Vache Qui Rit Nature Fromage Fondu Boite Ronde 1X384Gr 24P</c:v>
                </c:pt>
                <c:pt idx="5">
                  <c:v>Kiri Creme Fromage Blanc Frais Carre 1X216Gr 12P</c:v>
                </c:pt>
                <c:pt idx="6">
                  <c:v>Kiri Creme Fromage Blanc Frais Carre 1X432Gr 24P</c:v>
                </c:pt>
                <c:pt idx="7">
                  <c:v>Boursin Classique Fromage Frais A Tartiner Afh Boite 1X250Gr 1P</c:v>
                </c:pt>
                <c:pt idx="8">
                  <c:v>Boursin Classique Fromage Frais A Tartiner Afh 1X160Gr 10P</c:v>
                </c:pt>
                <c:pt idx="9">
                  <c:v>Kiri Gouter Fromage Blanc Dips Boite 1X280Gr 8P</c:v>
                </c:pt>
                <c:pt idx="10">
                  <c:v>Kiri Creme Fromage Blanc Frais Carre 1X144Gr 8P</c:v>
                </c:pt>
                <c:pt idx="11">
                  <c:v>Boursin Classique Fromage Frais A Tartiner Afh Boite 1X150Gr 1P</c:v>
                </c:pt>
                <c:pt idx="12">
                  <c:v>Kiri Gouter Fromage Blanc Dips Boite 1X175Gr 5P</c:v>
                </c:pt>
                <c:pt idx="13">
                  <c:v>Mini Babybel Rouge Filet St Paulin Ferme 1X440Gr 20P</c:v>
                </c:pt>
                <c:pt idx="14">
                  <c:v>La Vache Qui Rit Pik Et Croq' Fromage Fondu Dips Boite 1X175Gr 5P</c:v>
                </c:pt>
                <c:pt idx="15">
                  <c:v>La Vache Qui Rit Pik Et Croq' Fromage Fondu Dips Boite 1X280Gr 8P</c:v>
                </c:pt>
                <c:pt idx="16">
                  <c:v>Boursin Onctueux Fromage Frais A Tartiner Afh 1X125Gr 1P</c:v>
                </c:pt>
                <c:pt idx="17">
                  <c:v>Boursin Salade &amp; Aperitif Fromage Frais Des Afh 1X120Gr 1P</c:v>
                </c:pt>
                <c:pt idx="18">
                  <c:v>Boursin Classique Fromage Frais A Tartiner Afh Boite 1X96Gr 6P</c:v>
                </c:pt>
                <c:pt idx="19">
                  <c:v>Boursin Classique Fromage Frais A Tartiner Figue Et 3 Noix Boite 1X150Gr 1P</c:v>
                </c:pt>
                <c:pt idx="20">
                  <c:v>La Vache Qui Rit Allegee Fromage Fondu Boite Ronde Allege 1X267Gr 16P</c:v>
                </c:pt>
                <c:pt idx="21">
                  <c:v>Boursin Classique Fromage Frais A Tartiner Ciboulette &amp; Echalote Boite 1X150Gr 1P</c:v>
                </c:pt>
                <c:pt idx="22">
                  <c:v>Boursin Classique Fromage Frais A Tartiner Afh 1X256Gr 16P</c:v>
                </c:pt>
                <c:pt idx="23">
                  <c:v>Boursin Classique Fromage Frais A Tartiner Poivre Boite 1X150Gr 1P</c:v>
                </c:pt>
                <c:pt idx="24">
                  <c:v>Babybel Mini Rolls St Paulin Ferme Sachet 1X85Gr 5P</c:v>
                </c:pt>
                <c:pt idx="25">
                  <c:v>Mini Babybel Aros St Paulin Ferme Assortis Filet 1X180Gr 9P</c:v>
                </c:pt>
                <c:pt idx="26">
                  <c:v>Kiri Delicieusement Fouette Fromage Frais A Tartiner 1X125Gr 1P</c:v>
                </c:pt>
                <c:pt idx="27">
                  <c:v>Boursin Classique Fromage Frais A Tartiner Ciboulette &amp; Echalote 1X160Gr 10P</c:v>
                </c:pt>
                <c:pt idx="28">
                  <c:v>La Vache Qui Rit Aro Fromage Fondu Boite Ronde Jambon 1X133Gr 8P</c:v>
                </c:pt>
                <c:pt idx="29">
                  <c:v>Kiri Bio Fromage Blanc Frais Carre 1X144Gr 8P</c:v>
                </c:pt>
                <c:pt idx="30">
                  <c:v>Kiri Chevre Fromage Blanc Frais Carre 1X144Gr 8P</c:v>
                </c:pt>
                <c:pt idx="31">
                  <c:v>Mini Babybel Aros Soft Cheese Enfant 180G</c:v>
                </c:pt>
                <c:pt idx="32">
                  <c:v>Mini Babybel Rouge Filet St Paulin Ferme 1X396Gr 12+6P</c:v>
                </c:pt>
                <c:pt idx="33">
                  <c:v>Boursin Salade &amp; Aperitif Fromage Frais Des Ciboulette Echalote 1X120Gr 1P</c:v>
                </c:pt>
                <c:pt idx="34">
                  <c:v>Kiri Creme Fromage Blanc Frais Carre 1X432Gr 18+6P</c:v>
                </c:pt>
                <c:pt idx="35">
                  <c:v>Kiri Delicieusement Fouette Fromage Frais A Tartiner 1X160Gr 10P</c:v>
                </c:pt>
                <c:pt idx="36">
                  <c:v>Mini Babybel Aros St Paulin Ferme Raclette Filet 1X132Gr 6P</c:v>
                </c:pt>
                <c:pt idx="37">
                  <c:v>Boursin Salade &amp; Aperitif Fromage Frais Des Figue Noix 1X120Gr 1P</c:v>
                </c:pt>
                <c:pt idx="38">
                  <c:v>Boursin Salade &amp; Aperitif Fromage Frais Des Citron Romarin 1X120Gr 1P</c:v>
                </c:pt>
                <c:pt idx="39">
                  <c:v>Boursin Classique Fromage Frais A Tartiner Afh Boite 1X80Gr 1P</c:v>
                </c:pt>
                <c:pt idx="40">
                  <c:v>Boursin Salade &amp; Aperitif Fromage Frais Des Noisette Et 3 Noix 1X120Gr 1P</c:v>
                </c:pt>
                <c:pt idx="41">
                  <c:v>Mini Babybel Aros Soft Cheese Enfant 110G</c:v>
                </c:pt>
                <c:pt idx="42">
                  <c:v>Boursin Salade &amp; Aperitif Soft Cheese Salade 120G</c:v>
                </c:pt>
                <c:pt idx="43">
                  <c:v>Boursin Classique Fromage Frais A Tartiner Truffe Boite 1X150Gr 1P</c:v>
                </c:pt>
                <c:pt idx="44">
                  <c:v>La Vache Qui Rit Nature Fromage Fondu Boite Ronde 1X512Gr 24+8P</c:v>
                </c:pt>
                <c:pt idx="45">
                  <c:v>Mini Babybel Rouge Filet St Paulin Ferme Sachet 1X40Gr 1P</c:v>
                </c:pt>
                <c:pt idx="46">
                  <c:v>Mini Babybel Bio St Paulin Ferme Filet 1X100Gr 5P</c:v>
                </c:pt>
                <c:pt idx="47">
                  <c:v>Kiri Delicieusement Fouette Fromage Frais A Tartiner 1X210Gr 1P</c:v>
                </c:pt>
                <c:pt idx="48">
                  <c:v>La Vache Qui Rit Nature Fromage Fondu Boite Ronde 1X128Gr 8P</c:v>
                </c:pt>
              </c:strCache>
            </c:strRef>
          </c:cat>
          <c:val>
            <c:numRef>
              <c:f>Sheet1!$B$2:$B$50</c:f>
              <c:numCache>
                <c:formatCode>General</c:formatCode>
                <c:ptCount val="49"/>
                <c:pt idx="0">
                  <c:v>0.986</c:v>
                </c:pt>
                <c:pt idx="1">
                  <c:v>0.947</c:v>
                </c:pt>
                <c:pt idx="2">
                  <c:v>0.998</c:v>
                </c:pt>
                <c:pt idx="3">
                  <c:v>0.998</c:v>
                </c:pt>
                <c:pt idx="4">
                  <c:v>0.941</c:v>
                </c:pt>
                <c:pt idx="5">
                  <c:v>0.975</c:v>
                </c:pt>
                <c:pt idx="6">
                  <c:v>0.861</c:v>
                </c:pt>
                <c:pt idx="7">
                  <c:v>0.98</c:v>
                </c:pt>
                <c:pt idx="8">
                  <c:v>0.981</c:v>
                </c:pt>
                <c:pt idx="9">
                  <c:v>0.932</c:v>
                </c:pt>
                <c:pt idx="10">
                  <c:v>0.983</c:v>
                </c:pt>
                <c:pt idx="11">
                  <c:v>0.998</c:v>
                </c:pt>
                <c:pt idx="12">
                  <c:v>0.981</c:v>
                </c:pt>
                <c:pt idx="13">
                  <c:v>0.852</c:v>
                </c:pt>
                <c:pt idx="14">
                  <c:v>0.955</c:v>
                </c:pt>
                <c:pt idx="15">
                  <c:v>0.848</c:v>
                </c:pt>
                <c:pt idx="16">
                  <c:v>0.954</c:v>
                </c:pt>
                <c:pt idx="17">
                  <c:v>0.968</c:v>
                </c:pt>
                <c:pt idx="18">
                  <c:v>0.939</c:v>
                </c:pt>
                <c:pt idx="19">
                  <c:v>0.98</c:v>
                </c:pt>
                <c:pt idx="20">
                  <c:v>0.841</c:v>
                </c:pt>
                <c:pt idx="21">
                  <c:v>0.973</c:v>
                </c:pt>
                <c:pt idx="22">
                  <c:v>0.86</c:v>
                </c:pt>
                <c:pt idx="23">
                  <c:v>0.94</c:v>
                </c:pt>
                <c:pt idx="24">
                  <c:v>0.785</c:v>
                </c:pt>
                <c:pt idx="25">
                  <c:v>0.81</c:v>
                </c:pt>
                <c:pt idx="26">
                  <c:v>0.837</c:v>
                </c:pt>
                <c:pt idx="27">
                  <c:v>0.808</c:v>
                </c:pt>
                <c:pt idx="28">
                  <c:v>0.679</c:v>
                </c:pt>
                <c:pt idx="29">
                  <c:v>0.603</c:v>
                </c:pt>
                <c:pt idx="30">
                  <c:v>0.672</c:v>
                </c:pt>
                <c:pt idx="31">
                  <c:v>0.71</c:v>
                </c:pt>
                <c:pt idx="32">
                  <c:v>0.876</c:v>
                </c:pt>
                <c:pt idx="33">
                  <c:v>0.823</c:v>
                </c:pt>
                <c:pt idx="34">
                  <c:v>0.817</c:v>
                </c:pt>
                <c:pt idx="35">
                  <c:v>0.895</c:v>
                </c:pt>
                <c:pt idx="36">
                  <c:v>0.739</c:v>
                </c:pt>
                <c:pt idx="37">
                  <c:v>0.845</c:v>
                </c:pt>
                <c:pt idx="38">
                  <c:v>0.66</c:v>
                </c:pt>
                <c:pt idx="39">
                  <c:v>0.325</c:v>
                </c:pt>
                <c:pt idx="40">
                  <c:v>0.803</c:v>
                </c:pt>
                <c:pt idx="41">
                  <c:v>0.585</c:v>
                </c:pt>
                <c:pt idx="42">
                  <c:v>0.414</c:v>
                </c:pt>
                <c:pt idx="43">
                  <c:v>0.687</c:v>
                </c:pt>
                <c:pt idx="44">
                  <c:v>0.231</c:v>
                </c:pt>
                <c:pt idx="45">
                  <c:v>0.114</c:v>
                </c:pt>
                <c:pt idx="46">
                  <c:v>0.312</c:v>
                </c:pt>
                <c:pt idx="47">
                  <c:v>0.372</c:v>
                </c:pt>
                <c:pt idx="48">
                  <c:v>0.112</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7ECAC4"/>
              </a:solidFill>
            </c:spPr>
            <c:extLst>
              <c:ext xmlns:c16="http://schemas.microsoft.com/office/drawing/2014/chart" uri="{C3380CC4-5D6E-409C-BE32-E72D297353CC}">
                <c16:uniqueId val="{0000001F-FA3E-4872-B6E1-C4ABDF5766E2}"/>
              </c:ext>
            </c:extLst>
          </c:dPt>
          <c:dPt>
            <c:idx val="15"/>
            <c:invertIfNegative val="1"/>
            <c:bubble3D val="0"/>
            <c:spPr>
              <a:solidFill>
                <a:srgbClr val="7ECAC4"/>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AEABAB"/>
              </a:solidFill>
            </c:spPr>
            <c:extLst>
              <c:ext xmlns:c16="http://schemas.microsoft.com/office/drawing/2014/chart" uri="{C3380CC4-5D6E-409C-BE32-E72D297353CC}">
                <c16:uniqueId val="{00000039-FA3E-4872-B6E1-C4ABDF5766E2}"/>
              </c:ext>
            </c:extLst>
          </c:dPt>
          <c:dPt>
            <c:idx val="28"/>
            <c:invertIfNegative val="1"/>
            <c:bubble3D val="0"/>
            <c:spPr>
              <a:solidFill>
                <a:srgbClr val="AEABAB"/>
              </a:solidFill>
            </c:spPr>
            <c:extLst>
              <c:ext xmlns:c16="http://schemas.microsoft.com/office/drawing/2014/chart" uri="{C3380CC4-5D6E-409C-BE32-E72D297353CC}">
                <c16:uniqueId val="{0000003B-FA3E-4872-B6E1-C4ABDF5766E2}"/>
              </c:ext>
            </c:extLst>
          </c:dPt>
          <c:dPt>
            <c:idx val="29"/>
            <c:invertIfNegative val="1"/>
            <c:bubble3D val="0"/>
            <c:spPr>
              <a:solidFill>
                <a:srgbClr val="AEABAB"/>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dPt>
            <c:idx val="44"/>
            <c:spPr>
              <a:solidFill>
                <a:srgbClr val="AEABAB"/>
              </a:solidFill>
            </c:spPr>
          </c:dPt>
          <c:dPt>
            <c:idx val="45"/>
            <c:spPr>
              <a:solidFill>
                <a:srgbClr val="AEABAB"/>
              </a:solidFill>
            </c:spPr>
          </c:dPt>
          <c:dPt>
            <c:idx val="46"/>
            <c:spPr>
              <a:solidFill>
                <a:srgbClr val="AEABAB"/>
              </a:solidFill>
            </c:spPr>
          </c:dPt>
          <c:dPt>
            <c:idx val="47"/>
            <c:spPr>
              <a:solidFill>
                <a:srgbClr val="AEABAB"/>
              </a:solidFill>
            </c:spPr>
          </c:dPt>
          <c:dPt>
            <c:idx val="48"/>
            <c:spPr>
              <a:solidFill>
                <a:srgbClr val="AEABAB"/>
              </a:solidFill>
            </c:spPr>
          </c:dPt>
          <c:cat>
            <c:strRef>
              <c:f>Sheet1!$A$2:$A$50</c:f>
              <c:strCache>
                <c:ptCount val="49"/>
                <c:pt idx="0">
                  <c:v>Mini Babybel Rouge Filet St Paulin Ferme 1X264Gr 12P</c:v>
                </c:pt>
                <c:pt idx="1">
                  <c:v>La Vache Qui Rit Nature Fromage Fondu Boite Ronde 1X512Gr 32P</c:v>
                </c:pt>
                <c:pt idx="2">
                  <c:v>La Vache Qui Rit Nature Fromage Fondu Boite Ronde 1X192Gr 12P</c:v>
                </c:pt>
                <c:pt idx="3">
                  <c:v>Mini Babybel Rouge Filet St Paulin Ferme 1X132Gr 6P</c:v>
                </c:pt>
                <c:pt idx="4">
                  <c:v>La Vache Qui Rit Nature Fromage Fondu Boite Ronde 1X384Gr 24P</c:v>
                </c:pt>
                <c:pt idx="5">
                  <c:v>Kiri Creme Fromage Blanc Frais Carre 1X216Gr 12P</c:v>
                </c:pt>
                <c:pt idx="6">
                  <c:v>Kiri Creme Fromage Blanc Frais Carre 1X432Gr 24P</c:v>
                </c:pt>
                <c:pt idx="7">
                  <c:v>Boursin Classique Fromage Frais A Tartiner Afh Boite 1X250Gr 1P</c:v>
                </c:pt>
                <c:pt idx="8">
                  <c:v>Boursin Classique Fromage Frais A Tartiner Afh 1X160Gr 10P</c:v>
                </c:pt>
                <c:pt idx="9">
                  <c:v>Kiri Gouter Fromage Blanc Dips Boite 1X280Gr 8P</c:v>
                </c:pt>
                <c:pt idx="10">
                  <c:v>Kiri Creme Fromage Blanc Frais Carre 1X144Gr 8P</c:v>
                </c:pt>
                <c:pt idx="11">
                  <c:v>Boursin Classique Fromage Frais A Tartiner Afh Boite 1X150Gr 1P</c:v>
                </c:pt>
                <c:pt idx="12">
                  <c:v>Kiri Gouter Fromage Blanc Dips Boite 1X175Gr 5P</c:v>
                </c:pt>
                <c:pt idx="13">
                  <c:v>Mini Babybel Rouge Filet St Paulin Ferme 1X440Gr 20P</c:v>
                </c:pt>
                <c:pt idx="14">
                  <c:v>La Vache Qui Rit Pik Et Croq' Fromage Fondu Dips Boite 1X175Gr 5P</c:v>
                </c:pt>
                <c:pt idx="15">
                  <c:v>La Vache Qui Rit Pik Et Croq' Fromage Fondu Dips Boite 1X280Gr 8P</c:v>
                </c:pt>
                <c:pt idx="16">
                  <c:v>Boursin Onctueux Fromage Frais A Tartiner Afh 1X125Gr 1P</c:v>
                </c:pt>
                <c:pt idx="17">
                  <c:v>Boursin Salade &amp; Aperitif Fromage Frais Des Afh 1X120Gr 1P</c:v>
                </c:pt>
                <c:pt idx="18">
                  <c:v>Boursin Classique Fromage Frais A Tartiner Afh Boite 1X96Gr 6P</c:v>
                </c:pt>
                <c:pt idx="19">
                  <c:v>Boursin Classique Fromage Frais A Tartiner Figue Et 3 Noix Boite 1X150Gr 1P</c:v>
                </c:pt>
                <c:pt idx="20">
                  <c:v>La Vache Qui Rit Allegee Fromage Fondu Boite Ronde Allege 1X267Gr 16P</c:v>
                </c:pt>
                <c:pt idx="21">
                  <c:v>Boursin Classique Fromage Frais A Tartiner Ciboulette &amp; Echalote Boite 1X150Gr 1P</c:v>
                </c:pt>
                <c:pt idx="22">
                  <c:v>Boursin Classique Fromage Frais A Tartiner Afh 1X256Gr 16P</c:v>
                </c:pt>
                <c:pt idx="23">
                  <c:v>Boursin Classique Fromage Frais A Tartiner Poivre Boite 1X150Gr 1P</c:v>
                </c:pt>
                <c:pt idx="24">
                  <c:v>Babybel Mini Rolls St Paulin Ferme Sachet 1X85Gr 5P</c:v>
                </c:pt>
                <c:pt idx="25">
                  <c:v>Mini Babybel Aros St Paulin Ferme Assortis Filet 1X180Gr 9P</c:v>
                </c:pt>
                <c:pt idx="26">
                  <c:v>Kiri Delicieusement Fouette Fromage Frais A Tartiner 1X125Gr 1P</c:v>
                </c:pt>
                <c:pt idx="27">
                  <c:v>Boursin Classique Fromage Frais A Tartiner Ciboulette &amp; Echalote 1X160Gr 10P</c:v>
                </c:pt>
                <c:pt idx="28">
                  <c:v>La Vache Qui Rit Aro Fromage Fondu Boite Ronde Jambon 1X133Gr 8P</c:v>
                </c:pt>
                <c:pt idx="29">
                  <c:v>Kiri Bio Fromage Blanc Frais Carre 1X144Gr 8P</c:v>
                </c:pt>
                <c:pt idx="30">
                  <c:v>Kiri Chevre Fromage Blanc Frais Carre 1X144Gr 8P</c:v>
                </c:pt>
                <c:pt idx="31">
                  <c:v>Mini Babybel Aros Soft Cheese Enfant 180G</c:v>
                </c:pt>
                <c:pt idx="32">
                  <c:v>Mini Babybel Rouge Filet St Paulin Ferme 1X396Gr 12+6P</c:v>
                </c:pt>
                <c:pt idx="33">
                  <c:v>Boursin Salade &amp; Aperitif Fromage Frais Des Ciboulette Echalote 1X120Gr 1P</c:v>
                </c:pt>
                <c:pt idx="34">
                  <c:v>Kiri Creme Fromage Blanc Frais Carre 1X432Gr 18+6P</c:v>
                </c:pt>
                <c:pt idx="35">
                  <c:v>Kiri Delicieusement Fouette Fromage Frais A Tartiner 1X160Gr 10P</c:v>
                </c:pt>
                <c:pt idx="36">
                  <c:v>Mini Babybel Aros St Paulin Ferme Raclette Filet 1X132Gr 6P</c:v>
                </c:pt>
                <c:pt idx="37">
                  <c:v>Boursin Salade &amp; Aperitif Fromage Frais Des Figue Noix 1X120Gr 1P</c:v>
                </c:pt>
                <c:pt idx="38">
                  <c:v>Boursin Salade &amp; Aperitif Fromage Frais Des Citron Romarin 1X120Gr 1P</c:v>
                </c:pt>
                <c:pt idx="39">
                  <c:v>Boursin Classique Fromage Frais A Tartiner Afh Boite 1X80Gr 1P</c:v>
                </c:pt>
                <c:pt idx="40">
                  <c:v>Boursin Salade &amp; Aperitif Fromage Frais Des Noisette Et 3 Noix 1X120Gr 1P</c:v>
                </c:pt>
                <c:pt idx="41">
                  <c:v>Mini Babybel Aros Soft Cheese Enfant 110G</c:v>
                </c:pt>
                <c:pt idx="42">
                  <c:v>Boursin Salade &amp; Aperitif Soft Cheese Salade 120G</c:v>
                </c:pt>
                <c:pt idx="43">
                  <c:v>Boursin Classique Fromage Frais A Tartiner Truffe Boite 1X150Gr 1P</c:v>
                </c:pt>
                <c:pt idx="44">
                  <c:v>La Vache Qui Rit Nature Fromage Fondu Boite Ronde 1X512Gr 24+8P</c:v>
                </c:pt>
                <c:pt idx="45">
                  <c:v>Mini Babybel Rouge Filet St Paulin Ferme Sachet 1X40Gr 1P</c:v>
                </c:pt>
                <c:pt idx="46">
                  <c:v>Mini Babybel Bio St Paulin Ferme Filet 1X100Gr 5P</c:v>
                </c:pt>
                <c:pt idx="47">
                  <c:v>Kiri Delicieusement Fouette Fromage Frais A Tartiner 1X210Gr 1P</c:v>
                </c:pt>
                <c:pt idx="48">
                  <c:v>La Vache Qui Rit Nature Fromage Fondu Boite Ronde 1X128Gr 8P</c:v>
                </c:pt>
              </c:strCache>
            </c:strRef>
          </c:cat>
          <c:val>
            <c:numRef>
              <c:f>Sheet1!$C$2:$C$50</c:f>
              <c:numCache>
                <c:formatCode>General</c:formatCode>
                <c:ptCount val="49"/>
                <c:pt idx="0">
                  <c:v>0.1328643831102645</c:v>
                </c:pt>
                <c:pt idx="1">
                  <c:v>0.23321654053376434</c:v>
                </c:pt>
                <c:pt idx="2">
                  <c:v>0.3154987878657313</c:v>
                </c:pt>
                <c:pt idx="3">
                  <c:v>0.3856560596676368</c:v>
                </c:pt>
                <c:pt idx="4">
                  <c:v>0.4512950225330452</c:v>
                </c:pt>
                <c:pt idx="5">
                  <c:v>0.5108386217360689</c:v>
                </c:pt>
                <c:pt idx="6">
                  <c:v>0.5607016147895514</c:v>
                </c:pt>
                <c:pt idx="7">
                  <c:v>0.5971388606716532</c:v>
                </c:pt>
                <c:pt idx="8">
                  <c:v>0.6332060373423448</c:v>
                </c:pt>
                <c:pt idx="9">
                  <c:v>0.6676560243809738</c:v>
                </c:pt>
                <c:pt idx="10">
                  <c:v>0.701511734331336</c:v>
                </c:pt>
                <c:pt idx="11">
                  <c:v>0.7342465918820027</c:v>
                </c:pt>
                <c:pt idx="12">
                  <c:v>0.761218477587246</c:v>
                </c:pt>
                <c:pt idx="13">
                  <c:v>0.7863993581299917</c:v>
                </c:pt>
                <c:pt idx="14">
                  <c:v>0.804591489361759</c:v>
                </c:pt>
                <c:pt idx="15">
                  <c:v>0.8212877839589688</c:v>
                </c:pt>
                <c:pt idx="16">
                  <c:v>0.8371781082023981</c:v>
                </c:pt>
                <c:pt idx="17">
                  <c:v>0.8517791603566602</c:v>
                </c:pt>
                <c:pt idx="18">
                  <c:v>0.8661240436255878</c:v>
                </c:pt>
                <c:pt idx="19">
                  <c:v>0.8796177196265207</c:v>
                </c:pt>
                <c:pt idx="20">
                  <c:v>0.8911917984926931</c:v>
                </c:pt>
                <c:pt idx="21">
                  <c:v>0.9024135850393417</c:v>
                </c:pt>
                <c:pt idx="22">
                  <c:v>0.9121832759889443</c:v>
                </c:pt>
                <c:pt idx="23">
                  <c:v>0.9212592274055936</c:v>
                </c:pt>
                <c:pt idx="24">
                  <c:v>0.9301617506170257</c:v>
                </c:pt>
                <c:pt idx="25">
                  <c:v>0.9379899138109233</c:v>
                </c:pt>
                <c:pt idx="26">
                  <c:v>0.9448536372128499</c:v>
                </c:pt>
                <c:pt idx="27">
                  <c:v>0.9511229098979637</c:v>
                </c:pt>
                <c:pt idx="28">
                  <c:v>0.9572357299072272</c:v>
                </c:pt>
                <c:pt idx="29">
                  <c:v>0.9629465464086865</c:v>
                </c:pt>
                <c:pt idx="30">
                  <c:v>0.9678865990830462</c:v>
                </c:pt>
                <c:pt idx="31">
                  <c:v>0.9724200537711578</c:v>
                </c:pt>
                <c:pt idx="32">
                  <c:v>0.9761866846645564</c:v>
                </c:pt>
                <c:pt idx="33">
                  <c:v>0.9798534791440928</c:v>
                </c:pt>
                <c:pt idx="34">
                  <c:v>0.9835166274241665</c:v>
                </c:pt>
                <c:pt idx="35">
                  <c:v>0.987135607273385</c:v>
                </c:pt>
                <c:pt idx="36">
                  <c:v>0.9900721468011723</c:v>
                </c:pt>
                <c:pt idx="37">
                  <c:v>0.9925541802200996</c:v>
                </c:pt>
                <c:pt idx="38">
                  <c:v>0.9939769860170652</c:v>
                </c:pt>
                <c:pt idx="39">
                  <c:v>0.9951623881676898</c:v>
                </c:pt>
                <c:pt idx="40">
                  <c:v>0.9963402040864651</c:v>
                </c:pt>
                <c:pt idx="41">
                  <c:v>0.9974308718312671</c:v>
                </c:pt>
                <c:pt idx="42">
                  <c:v>0.9980453566110622</c:v>
                </c:pt>
                <c:pt idx="43">
                  <c:v>0.9986401679410086</c:v>
                </c:pt>
                <c:pt idx="44">
                  <c:v>0.9990490230983528</c:v>
                </c:pt>
                <c:pt idx="45">
                  <c:v>0.9994221374873363</c:v>
                </c:pt>
                <c:pt idx="46">
                  <c:v>0.9997458478770054</c:v>
                </c:pt>
                <c:pt idx="47">
                  <c:v>0.9999850145208888</c:v>
                </c:pt>
                <c:pt idx="48">
                  <c:v>0.9999991452133123</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50</c:f>
              <c:strCache>
                <c:ptCount val="49"/>
                <c:pt idx="0">
                  <c:v>Mini Babybel Rouge Filet St Paulin Ferme 1X264Gr 12P</c:v>
                </c:pt>
                <c:pt idx="1">
                  <c:v>La Vache Qui Rit Nature Fromage Fondu Boite Ronde 1X512Gr 32P</c:v>
                </c:pt>
                <c:pt idx="2">
                  <c:v>La Vache Qui Rit Nature Fromage Fondu Boite Ronde 1X192Gr 12P</c:v>
                </c:pt>
                <c:pt idx="3">
                  <c:v>Mini Babybel Rouge Filet St Paulin Ferme 1X132Gr 6P</c:v>
                </c:pt>
                <c:pt idx="4">
                  <c:v>La Vache Qui Rit Nature Fromage Fondu Boite Ronde 1X384Gr 24P</c:v>
                </c:pt>
                <c:pt idx="5">
                  <c:v>Kiri Creme Fromage Blanc Frais Carre 1X216Gr 12P</c:v>
                </c:pt>
                <c:pt idx="6">
                  <c:v>Kiri Creme Fromage Blanc Frais Carre 1X432Gr 24P</c:v>
                </c:pt>
                <c:pt idx="7">
                  <c:v>Boursin Classique Fromage Frais A Tartiner Afh Boite 1X250Gr 1P</c:v>
                </c:pt>
                <c:pt idx="8">
                  <c:v>Boursin Classique Fromage Frais A Tartiner Afh 1X160Gr 10P</c:v>
                </c:pt>
                <c:pt idx="9">
                  <c:v>Kiri Gouter Fromage Blanc Dips Boite 1X280Gr 8P</c:v>
                </c:pt>
                <c:pt idx="10">
                  <c:v>Kiri Creme Fromage Blanc Frais Carre 1X144Gr 8P</c:v>
                </c:pt>
                <c:pt idx="11">
                  <c:v>Boursin Classique Fromage Frais A Tartiner Afh Boite 1X150Gr 1P</c:v>
                </c:pt>
                <c:pt idx="12">
                  <c:v>Kiri Gouter Fromage Blanc Dips Boite 1X175Gr 5P</c:v>
                </c:pt>
                <c:pt idx="13">
                  <c:v>Mini Babybel Rouge Filet St Paulin Ferme 1X440Gr 20P</c:v>
                </c:pt>
                <c:pt idx="14">
                  <c:v>La Vache Qui Rit Pik Et Croq' Fromage Fondu Dips Boite 1X175Gr 5P</c:v>
                </c:pt>
                <c:pt idx="15">
                  <c:v>La Vache Qui Rit Pik Et Croq' Fromage Fondu Dips Boite 1X280Gr 8P</c:v>
                </c:pt>
                <c:pt idx="16">
                  <c:v>Boursin Onctueux Fromage Frais A Tartiner Afh 1X125Gr 1P</c:v>
                </c:pt>
                <c:pt idx="17">
                  <c:v>Boursin Salade &amp; Aperitif Fromage Frais Des Afh 1X120Gr 1P</c:v>
                </c:pt>
                <c:pt idx="18">
                  <c:v>Boursin Classique Fromage Frais A Tartiner Afh Boite 1X96Gr 6P</c:v>
                </c:pt>
                <c:pt idx="19">
                  <c:v>Boursin Classique Fromage Frais A Tartiner Figue Et 3 Noix Boite 1X150Gr 1P</c:v>
                </c:pt>
                <c:pt idx="20">
                  <c:v>La Vache Qui Rit Allegee Fromage Fondu Boite Ronde Allege 1X267Gr 16P</c:v>
                </c:pt>
                <c:pt idx="21">
                  <c:v>Boursin Classique Fromage Frais A Tartiner Ciboulette &amp; Echalote Boite 1X150Gr 1P</c:v>
                </c:pt>
                <c:pt idx="22">
                  <c:v>Boursin Classique Fromage Frais A Tartiner Afh 1X256Gr 16P</c:v>
                </c:pt>
                <c:pt idx="23">
                  <c:v>Boursin Classique Fromage Frais A Tartiner Poivre Boite 1X150Gr 1P</c:v>
                </c:pt>
                <c:pt idx="24">
                  <c:v>Babybel Mini Rolls St Paulin Ferme Sachet 1X85Gr 5P</c:v>
                </c:pt>
                <c:pt idx="25">
                  <c:v>Mini Babybel Aros St Paulin Ferme Assortis Filet 1X180Gr 9P</c:v>
                </c:pt>
                <c:pt idx="26">
                  <c:v>Kiri Delicieusement Fouette Fromage Frais A Tartiner 1X125Gr 1P</c:v>
                </c:pt>
                <c:pt idx="27">
                  <c:v>Boursin Classique Fromage Frais A Tartiner Ciboulette &amp; Echalote 1X160Gr 10P</c:v>
                </c:pt>
                <c:pt idx="28">
                  <c:v>La Vache Qui Rit Aro Fromage Fondu Boite Ronde Jambon 1X133Gr 8P</c:v>
                </c:pt>
                <c:pt idx="29">
                  <c:v>Kiri Bio Fromage Blanc Frais Carre 1X144Gr 8P</c:v>
                </c:pt>
                <c:pt idx="30">
                  <c:v>Kiri Chevre Fromage Blanc Frais Carre 1X144Gr 8P</c:v>
                </c:pt>
                <c:pt idx="31">
                  <c:v>Mini Babybel Aros Soft Cheese Enfant 180G</c:v>
                </c:pt>
                <c:pt idx="32">
                  <c:v>Mini Babybel Rouge Filet St Paulin Ferme 1X396Gr 12+6P</c:v>
                </c:pt>
                <c:pt idx="33">
                  <c:v>Boursin Salade &amp; Aperitif Fromage Frais Des Ciboulette Echalote 1X120Gr 1P</c:v>
                </c:pt>
                <c:pt idx="34">
                  <c:v>Kiri Creme Fromage Blanc Frais Carre 1X432Gr 18+6P</c:v>
                </c:pt>
                <c:pt idx="35">
                  <c:v>Kiri Delicieusement Fouette Fromage Frais A Tartiner 1X160Gr 10P</c:v>
                </c:pt>
                <c:pt idx="36">
                  <c:v>Mini Babybel Aros St Paulin Ferme Raclette Filet 1X132Gr 6P</c:v>
                </c:pt>
                <c:pt idx="37">
                  <c:v>Boursin Salade &amp; Aperitif Fromage Frais Des Figue Noix 1X120Gr 1P</c:v>
                </c:pt>
                <c:pt idx="38">
                  <c:v>Boursin Salade &amp; Aperitif Fromage Frais Des Citron Romarin 1X120Gr 1P</c:v>
                </c:pt>
                <c:pt idx="39">
                  <c:v>Boursin Classique Fromage Frais A Tartiner Afh Boite 1X80Gr 1P</c:v>
                </c:pt>
                <c:pt idx="40">
                  <c:v>Boursin Salade &amp; Aperitif Fromage Frais Des Noisette Et 3 Noix 1X120Gr 1P</c:v>
                </c:pt>
                <c:pt idx="41">
                  <c:v>Mini Babybel Aros Soft Cheese Enfant 110G</c:v>
                </c:pt>
                <c:pt idx="42">
                  <c:v>Boursin Salade &amp; Aperitif Soft Cheese Salade 120G</c:v>
                </c:pt>
                <c:pt idx="43">
                  <c:v>Boursin Classique Fromage Frais A Tartiner Truffe Boite 1X150Gr 1P</c:v>
                </c:pt>
                <c:pt idx="44">
                  <c:v>La Vache Qui Rit Nature Fromage Fondu Boite Ronde 1X512Gr 24+8P</c:v>
                </c:pt>
                <c:pt idx="45">
                  <c:v>Mini Babybel Rouge Filet St Paulin Ferme Sachet 1X40Gr 1P</c:v>
                </c:pt>
                <c:pt idx="46">
                  <c:v>Mini Babybel Bio St Paulin Ferme Filet 1X100Gr 5P</c:v>
                </c:pt>
                <c:pt idx="47">
                  <c:v>Kiri Delicieusement Fouette Fromage Frais A Tartiner 1X210Gr 1P</c:v>
                </c:pt>
                <c:pt idx="48">
                  <c:v>La Vache Qui Rit Nature Fromage Fondu Boite Ronde 1X128Gr 8P</c:v>
                </c:pt>
              </c:strCache>
            </c:strRef>
          </c:cat>
          <c:val>
            <c:numRef>
              <c:f>Sheet1!$D$2:$D$50</c:f>
              <c:numCache>
                <c:formatCode>General</c:formatCode>
                <c:ptCount val="49"/>
                <c:pt idx="0">
                  <c:v>100891.33874239352</c:v>
                </c:pt>
                <c:pt idx="1">
                  <c:v>79341.23548046463</c:v>
                </c:pt>
                <c:pt idx="2">
                  <c:v>61730.22044088176</c:v>
                </c:pt>
                <c:pt idx="3">
                  <c:v>52633.75751503006</c:v>
                </c:pt>
                <c:pt idx="4">
                  <c:v>52226.90754516472</c:v>
                </c:pt>
                <c:pt idx="5">
                  <c:v>45724.89230769231</c:v>
                </c:pt>
                <c:pt idx="6">
                  <c:v>43360.813008130084</c:v>
                </c:pt>
                <c:pt idx="7">
                  <c:v>27838.23469387755</c:v>
                </c:pt>
                <c:pt idx="8">
                  <c:v>27527.410805300715</c:v>
                </c:pt>
                <c:pt idx="9">
                  <c:v>27675.493562231757</c:v>
                </c:pt>
                <c:pt idx="10">
                  <c:v>25786.988809766022</c:v>
                </c:pt>
                <c:pt idx="11">
                  <c:v>24558.517034068136</c:v>
                </c:pt>
                <c:pt idx="12">
                  <c:v>20585.647298674823</c:v>
                </c:pt>
                <c:pt idx="13">
                  <c:v>22128.57981220657</c:v>
                </c:pt>
                <c:pt idx="14">
                  <c:v>14262.722513089006</c:v>
                </c:pt>
                <c:pt idx="15">
                  <c:v>14741.662735849057</c:v>
                </c:pt>
                <c:pt idx="16">
                  <c:v>12471.153039832287</c:v>
                </c:pt>
                <c:pt idx="17">
                  <c:v>11293.564049586777</c:v>
                </c:pt>
                <c:pt idx="18">
                  <c:v>11438.093716719915</c:v>
                </c:pt>
                <c:pt idx="19">
                  <c:v>10309.234693877552</c:v>
                </c:pt>
                <c:pt idx="20">
                  <c:v>10304.161712247325</c:v>
                </c:pt>
                <c:pt idx="21">
                  <c:v>8635.179856115108</c:v>
                </c:pt>
                <c:pt idx="22">
                  <c:v>8505.593023255815</c:v>
                </c:pt>
                <c:pt idx="23">
                  <c:v>7229.13829787234</c:v>
                </c:pt>
                <c:pt idx="24">
                  <c:v>8491.133757961783</c:v>
                </c:pt>
                <c:pt idx="25">
                  <c:v>7235.975308641975</c:v>
                </c:pt>
                <c:pt idx="26">
                  <c:v>6139.832735961768</c:v>
                </c:pt>
                <c:pt idx="27">
                  <c:v>5809.356435643564</c:v>
                </c:pt>
                <c:pt idx="28">
                  <c:v>6740.530191458026</c:v>
                </c:pt>
                <c:pt idx="29">
                  <c:v>7090.928689883914</c:v>
                </c:pt>
                <c:pt idx="30">
                  <c:v>5504.077380952381</c:v>
                </c:pt>
                <c:pt idx="31">
                  <c:v>4780.718309859155</c:v>
                </c:pt>
                <c:pt idx="32">
                  <c:v>3219.3721461187215</c:v>
                </c:pt>
                <c:pt idx="33">
                  <c:v>3335.868772782503</c:v>
                </c:pt>
                <c:pt idx="34">
                  <c:v>3357.02570379437</c:v>
                </c:pt>
                <c:pt idx="35">
                  <c:v>3027.5083798882683</c:v>
                </c:pt>
                <c:pt idx="36">
                  <c:v>2975.182679296346</c:v>
                </c:pt>
                <c:pt idx="37">
                  <c:v>2199.242603550296</c:v>
                </c:pt>
                <c:pt idx="38">
                  <c:v>1614.0757575757575</c:v>
                </c:pt>
                <c:pt idx="39">
                  <c:v>2730.892307692308</c:v>
                </c:pt>
                <c:pt idx="40">
                  <c:v>1098.206724782067</c:v>
                </c:pt>
                <c:pt idx="41">
                  <c:v>1395.91452991453</c:v>
                </c:pt>
                <c:pt idx="42">
                  <c:v>1111.304347826087</c:v>
                </c:pt>
                <c:pt idx="43">
                  <c:v>648.2532751091703</c:v>
                </c:pt>
                <c:pt idx="44">
                  <c:v>1325.1948051948052</c:v>
                </c:pt>
                <c:pt idx="45">
                  <c:v>2450.5263157894738</c:v>
                </c:pt>
                <c:pt idx="46">
                  <c:v>776.8269230769231</c:v>
                </c:pt>
                <c:pt idx="47">
                  <c:v>481.37096774193543</c:v>
                </c:pt>
                <c:pt idx="48">
                  <c:v>94.46428571428571</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63</c:f>
              <c:strCache>
                <c:ptCount val="62"/>
                <c:pt idx="0">
                  <c:v>La Vache Qui Rit Nature Fromage Fondu Boite Ronde 1X512Gr 32P</c:v>
                </c:pt>
                <c:pt idx="1">
                  <c:v>Mini Babybel Rouge Filet St Paulin Ferme 1X264Gr 12P</c:v>
                </c:pt>
                <c:pt idx="2">
                  <c:v>Kiri Creme Fromage Blanc Frais Carre 1X432Gr 24P</c:v>
                </c:pt>
                <c:pt idx="3">
                  <c:v>La Vache Qui Rit Nature Fromage Fondu Boite Ronde 1X384Gr 24P</c:v>
                </c:pt>
                <c:pt idx="4">
                  <c:v>Mini Babybel Rouge Filet St Paulin Ferme 1X132Gr 6P</c:v>
                </c:pt>
                <c:pt idx="5">
                  <c:v>Kiri Creme Fromage Blanc Frais Carre 1X216Gr 12P</c:v>
                </c:pt>
                <c:pt idx="6">
                  <c:v>La Vache Qui Rit Nature Fromage Fondu Boite Ronde 1X192Gr 12P</c:v>
                </c:pt>
                <c:pt idx="7">
                  <c:v>Kiri Gouter Fromage Blanc Dips Boite 1X175Gr 5P</c:v>
                </c:pt>
                <c:pt idx="8">
                  <c:v>Boursin Classique Fromage Frais A Tartiner Afh 1X160Gr 10P</c:v>
                </c:pt>
                <c:pt idx="9">
                  <c:v>Kiri Creme Fromage Blanc Frais Carre 1X144Gr 8P</c:v>
                </c:pt>
                <c:pt idx="10">
                  <c:v>Boursin Classique Fromage Frais A Tartiner Afh Boite 1X250Gr 1P</c:v>
                </c:pt>
                <c:pt idx="11">
                  <c:v>Kiri Gouter Fromage Blanc Dips Boite 1X280Gr 8P</c:v>
                </c:pt>
                <c:pt idx="12">
                  <c:v>Mini Babybel Rouge Filet Soft Cheese Enfant 484G</c:v>
                </c:pt>
                <c:pt idx="13">
                  <c:v>Mini Babybel Rouge Filet St Paulin Ferme 1X440Gr 20P</c:v>
                </c:pt>
                <c:pt idx="14">
                  <c:v>Boursin Classique Fromage Frais A Tartiner Afh Boite 1X150Gr 1P</c:v>
                </c:pt>
                <c:pt idx="15">
                  <c:v>La Vache Qui Rit Nature Fromage Fondu Boite Ronde 1X512Gr 24+8P</c:v>
                </c:pt>
                <c:pt idx="16">
                  <c:v>Kiri Creme Fromage Blanc Frais Carre 1X432Gr 18+6P</c:v>
                </c:pt>
                <c:pt idx="17">
                  <c:v>La Vache Qui Rit Nature Fromage Fondu Boite Ronde 1X128Gr 8P</c:v>
                </c:pt>
                <c:pt idx="18">
                  <c:v>Mini Babybel Rouge Filet Soft Cheese Enfant 352G</c:v>
                </c:pt>
                <c:pt idx="19">
                  <c:v>La Vache Qui Rit Pik Et Croq' Fromage Fondu Dips Boite 1X175Gr 5P</c:v>
                </c:pt>
                <c:pt idx="20">
                  <c:v>Boursin Salade &amp; Aperitif Fromage Frais Des Afh 1X120Gr 1P</c:v>
                </c:pt>
                <c:pt idx="21">
                  <c:v>Mini Babybel Rouge Filet St Paulin Ferme 1X396Gr 12+6P</c:v>
                </c:pt>
                <c:pt idx="22">
                  <c:v>La Vache Qui Rit Pik Et Croq' Fromage Fondu Dips Boite 1X280Gr 8P</c:v>
                </c:pt>
                <c:pt idx="23">
                  <c:v>Boursin Classique Fromage Frais A Tartiner Afh Boite 1X96Gr 6P</c:v>
                </c:pt>
                <c:pt idx="24">
                  <c:v>Boursin Classique Fromage Frais A Tartiner Figue Et 3 Noix Boite 1X150Gr 1P</c:v>
                </c:pt>
                <c:pt idx="25">
                  <c:v>Kiri Delicieusement Fouette Fromage Frais A Tartiner 1X210Gr 1P</c:v>
                </c:pt>
                <c:pt idx="26">
                  <c:v>Boursin Classique Fromage Frais A Tartiner Ciboulette &amp; Echalote Boite 1X150Gr 1P</c:v>
                </c:pt>
                <c:pt idx="27">
                  <c:v>Mini Babybel Aros St Paulin Ferme Assortis Filet 1X180Gr 9P</c:v>
                </c:pt>
                <c:pt idx="28">
                  <c:v>Boursin Salade &amp; Aperitif Fromage Frais Des Ciboulette Echalote 1X120Gr 1P</c:v>
                </c:pt>
                <c:pt idx="29">
                  <c:v>Babybel Mini Rolls St Paulin Ferme Sachet 1X85Gr 5P</c:v>
                </c:pt>
                <c:pt idx="30">
                  <c:v>La Vache Qui Rit Allegee Fromage Fondu Boite Ronde Allege 1X267Gr 16P</c:v>
                </c:pt>
                <c:pt idx="31">
                  <c:v>Boursin Onctueux Fromage Frais A Tartiner Afh 1X125Gr 1P</c:v>
                </c:pt>
                <c:pt idx="32">
                  <c:v>Kiri Delicieusement Fouette Fromage Frais A Tartiner 1X125Gr 1P</c:v>
                </c:pt>
                <c:pt idx="33">
                  <c:v>Boursin Salade &amp; Aperitif Fromage Frais Des Figue Noix 1X120Gr 1P</c:v>
                </c:pt>
                <c:pt idx="34">
                  <c:v>Mini Babybel Aros Soft Cheese Enfant 180G</c:v>
                </c:pt>
                <c:pt idx="35">
                  <c:v>Kiri Bio Fromage Blanc Frais Carre 1X144Gr 8P</c:v>
                </c:pt>
                <c:pt idx="36">
                  <c:v>Boursin Classique Fromage Frais A Tartiner Afh 1X256Gr 16P</c:v>
                </c:pt>
                <c:pt idx="37">
                  <c:v>Kiri Delicieusement Fouette Fromage Frais A Tartiner 1X160Gr 10P</c:v>
                </c:pt>
                <c:pt idx="38">
                  <c:v>Boursin Classique Fromage Frais A Tartiner Afh Boite 1X80Gr 1P</c:v>
                </c:pt>
                <c:pt idx="39">
                  <c:v>Mini Babybel Aros St Paulin Ferme Raclette Filet 1X132Gr 6P</c:v>
                </c:pt>
                <c:pt idx="40">
                  <c:v>Mini Babybel Aros Soft Cheese Enfant 110G</c:v>
                </c:pt>
                <c:pt idx="41">
                  <c:v>Boursin Classique Fromage Frais A Tartiner Poivre Boite 1X150Gr 1P</c:v>
                </c:pt>
                <c:pt idx="42">
                  <c:v>Mini Babybel Aros St Paulin Ferme Emmental Filet 1X120Gr 6P</c:v>
                </c:pt>
                <c:pt idx="43">
                  <c:v>La Vache Qui Rit Bio Fromage Fondu Boite Ronde 1X128Gr 8P</c:v>
                </c:pt>
                <c:pt idx="44">
                  <c:v>Boursin Salade &amp; Aperitif Fromage Frais Des Citron Romarin 1X120Gr 1P</c:v>
                </c:pt>
                <c:pt idx="45">
                  <c:v>Boursin Salade &amp; Aperitif Fromage Frais Des Noisette Et 3 Noix 1X120Gr 1P</c:v>
                </c:pt>
                <c:pt idx="46">
                  <c:v>Boursin Onctueux Fromage Frais A Tartiner Afh 1X210Gr 1P</c:v>
                </c:pt>
                <c:pt idx="47">
                  <c:v>Boursin Classique Fromage Frais A Tartiner 3 Noix Boite 1X150Gr 1P</c:v>
                </c:pt>
                <c:pt idx="48">
                  <c:v>Boursin Salade &amp; Aperitif Soft Cheese Salade 120G</c:v>
                </c:pt>
                <c:pt idx="49">
                  <c:v>Mini Babybel Aros Soft Cheese Enfant 120G</c:v>
                </c:pt>
                <c:pt idx="50">
                  <c:v>Boursin Classique Fromage Frais A Tartiner Truffe Boite 1X150Gr 1P</c:v>
                </c:pt>
                <c:pt idx="51">
                  <c:v>La Vache Qui Rit Aro Fromage Fondu Boite Ronde Jambon 1X133Gr 8P</c:v>
                </c:pt>
                <c:pt idx="52">
                  <c:v>Boursin Classique Fromage Frais A Tartiner Afh Boite 1X320Gr 16+4P</c:v>
                </c:pt>
                <c:pt idx="53">
                  <c:v>Boursin Classique Fromage Frais A Tartiner 3 Noix 1X160Gr 10P</c:v>
                </c:pt>
                <c:pt idx="54">
                  <c:v>Boursin Classique Fromage Frais A Tartiner Citron &amp; Romarin Boite 1X150Gr 1P</c:v>
                </c:pt>
                <c:pt idx="55">
                  <c:v>Kiri Chevre Fromage Blanc Frais Carre 1X144Gr 8P</c:v>
                </c:pt>
                <c:pt idx="56">
                  <c:v>Boursin Classique Fromage Frais A Tartiner Ciboulette &amp; Echalote 1X160Gr 10P</c:v>
                </c:pt>
                <c:pt idx="57">
                  <c:v>Mini Babybel Rouge Filet St Paulin Ferme Sachet 1X40Gr 1P</c:v>
                </c:pt>
                <c:pt idx="58">
                  <c:v>Mini Babybel Bio St Paulin Ferme Filet 1X100Gr 5P</c:v>
                </c:pt>
                <c:pt idx="59">
                  <c:v>Mini Babybel Rouge Filet St Paulin Ferme 1X110Gr 5P</c:v>
                </c:pt>
                <c:pt idx="60">
                  <c:v>Limiano Queijo Flamengo Autre Sachet 1X450Gr 1P</c:v>
                </c:pt>
                <c:pt idx="61">
                  <c:v>Mini Babybel Rouge Filet St Paulin Ferme 1X396Gr 18P</c:v>
                </c:pt>
              </c:strCache>
            </c:strRef>
          </c:cat>
          <c:val>
            <c:numRef>
              <c:f>Sheet1!$B$2:$B$63</c:f>
              <c:numCache>
                <c:formatCode>General</c:formatCode>
                <c:ptCount val="62"/>
                <c:pt idx="0">
                  <c:v>0.99</c:v>
                </c:pt>
                <c:pt idx="1">
                  <c:v>1.0</c:v>
                </c:pt>
                <c:pt idx="2">
                  <c:v>0.99</c:v>
                </c:pt>
                <c:pt idx="3">
                  <c:v>1.0</c:v>
                </c:pt>
                <c:pt idx="4">
                  <c:v>1.0</c:v>
                </c:pt>
                <c:pt idx="5">
                  <c:v>1.0</c:v>
                </c:pt>
                <c:pt idx="6">
                  <c:v>1.0</c:v>
                </c:pt>
                <c:pt idx="7">
                  <c:v>1.0</c:v>
                </c:pt>
                <c:pt idx="8">
                  <c:v>1.0</c:v>
                </c:pt>
                <c:pt idx="9">
                  <c:v>1.0</c:v>
                </c:pt>
                <c:pt idx="10">
                  <c:v>1.0</c:v>
                </c:pt>
                <c:pt idx="11">
                  <c:v>0.99</c:v>
                </c:pt>
                <c:pt idx="12">
                  <c:v>0.97</c:v>
                </c:pt>
                <c:pt idx="13">
                  <c:v>1.0</c:v>
                </c:pt>
                <c:pt idx="14">
                  <c:v>1.0</c:v>
                </c:pt>
                <c:pt idx="15">
                  <c:v>0.94</c:v>
                </c:pt>
                <c:pt idx="16">
                  <c:v>0.98</c:v>
                </c:pt>
                <c:pt idx="17">
                  <c:v>0.94</c:v>
                </c:pt>
                <c:pt idx="18">
                  <c:v>0.99</c:v>
                </c:pt>
                <c:pt idx="19">
                  <c:v>1.0</c:v>
                </c:pt>
                <c:pt idx="20">
                  <c:v>1.0</c:v>
                </c:pt>
                <c:pt idx="21">
                  <c:v>0.94</c:v>
                </c:pt>
                <c:pt idx="22">
                  <c:v>0.95</c:v>
                </c:pt>
                <c:pt idx="23">
                  <c:v>1.0</c:v>
                </c:pt>
                <c:pt idx="24">
                  <c:v>0.98</c:v>
                </c:pt>
                <c:pt idx="25">
                  <c:v>0.96</c:v>
                </c:pt>
                <c:pt idx="26">
                  <c:v>0.97</c:v>
                </c:pt>
                <c:pt idx="27">
                  <c:v>0.96</c:v>
                </c:pt>
                <c:pt idx="28">
                  <c:v>1.0</c:v>
                </c:pt>
                <c:pt idx="29">
                  <c:v>0.92</c:v>
                </c:pt>
                <c:pt idx="30">
                  <c:v>0.86</c:v>
                </c:pt>
                <c:pt idx="31">
                  <c:v>0.99</c:v>
                </c:pt>
                <c:pt idx="32">
                  <c:v>0.98</c:v>
                </c:pt>
                <c:pt idx="33">
                  <c:v>1.0</c:v>
                </c:pt>
                <c:pt idx="34">
                  <c:v>0.96</c:v>
                </c:pt>
                <c:pt idx="35">
                  <c:v>0.75</c:v>
                </c:pt>
                <c:pt idx="36">
                  <c:v>0.58</c:v>
                </c:pt>
                <c:pt idx="37">
                  <c:v>0.89</c:v>
                </c:pt>
                <c:pt idx="38">
                  <c:v>0.94</c:v>
                </c:pt>
                <c:pt idx="39">
                  <c:v>0.88</c:v>
                </c:pt>
                <c:pt idx="40">
                  <c:v>0.94</c:v>
                </c:pt>
                <c:pt idx="41">
                  <c:v>0.88</c:v>
                </c:pt>
                <c:pt idx="42">
                  <c:v>0.7</c:v>
                </c:pt>
                <c:pt idx="43">
                  <c:v>0.82</c:v>
                </c:pt>
                <c:pt idx="44">
                  <c:v>0.95</c:v>
                </c:pt>
                <c:pt idx="45">
                  <c:v>0.96</c:v>
                </c:pt>
                <c:pt idx="46">
                  <c:v>0.59</c:v>
                </c:pt>
                <c:pt idx="47">
                  <c:v>0.67</c:v>
                </c:pt>
                <c:pt idx="48">
                  <c:v>0.94</c:v>
                </c:pt>
                <c:pt idx="49">
                  <c:v>0.68</c:v>
                </c:pt>
                <c:pt idx="50">
                  <c:v>0.66</c:v>
                </c:pt>
                <c:pt idx="51">
                  <c:v>0.08</c:v>
                </c:pt>
                <c:pt idx="52">
                  <c:v>0.85</c:v>
                </c:pt>
                <c:pt idx="53">
                  <c:v>0.49</c:v>
                </c:pt>
                <c:pt idx="54">
                  <c:v>0.71</c:v>
                </c:pt>
                <c:pt idx="55">
                  <c:v>0.56</c:v>
                </c:pt>
                <c:pt idx="56">
                  <c:v>0.14</c:v>
                </c:pt>
                <c:pt idx="57">
                  <c:v>0.21</c:v>
                </c:pt>
                <c:pt idx="58">
                  <c:v>0.67</c:v>
                </c:pt>
                <c:pt idx="59">
                  <c:v>0.05</c:v>
                </c:pt>
                <c:pt idx="60">
                  <c:v>0.01</c:v>
                </c:pt>
                <c:pt idx="61">
                  <c:v>0.01</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7ECAC4"/>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dPt>
            <c:idx val="44"/>
            <c:spPr>
              <a:solidFill>
                <a:srgbClr val="AEABAB"/>
              </a:solidFill>
            </c:spPr>
          </c:dPt>
          <c:dPt>
            <c:idx val="45"/>
            <c:spPr>
              <a:solidFill>
                <a:srgbClr val="AEABAB"/>
              </a:solidFill>
            </c:spPr>
          </c:dPt>
          <c:dPt>
            <c:idx val="46"/>
            <c:spPr>
              <a:solidFill>
                <a:srgbClr val="AEABAB"/>
              </a:solidFill>
            </c:spPr>
          </c:dPt>
          <c:dPt>
            <c:idx val="47"/>
            <c:spPr>
              <a:solidFill>
                <a:srgbClr val="AEABAB"/>
              </a:solidFill>
            </c:spPr>
          </c:dPt>
          <c:dPt>
            <c:idx val="48"/>
            <c:spPr>
              <a:solidFill>
                <a:srgbClr val="AEABAB"/>
              </a:solidFill>
            </c:spPr>
          </c:dPt>
          <c:dPt>
            <c:idx val="49"/>
            <c:spPr>
              <a:solidFill>
                <a:srgbClr val="AEABAB"/>
              </a:solidFill>
            </c:spPr>
          </c:dPt>
          <c:dPt>
            <c:idx val="50"/>
            <c:spPr>
              <a:solidFill>
                <a:srgbClr val="AEABAB"/>
              </a:solidFill>
            </c:spPr>
          </c:dPt>
          <c:dPt>
            <c:idx val="51"/>
            <c:spPr>
              <a:solidFill>
                <a:srgbClr val="AEABAB"/>
              </a:solidFill>
            </c:spPr>
          </c:dPt>
          <c:dPt>
            <c:idx val="52"/>
            <c:spPr>
              <a:solidFill>
                <a:srgbClr val="AEABAB"/>
              </a:solidFill>
            </c:spPr>
          </c:dPt>
          <c:dPt>
            <c:idx val="53"/>
            <c:spPr>
              <a:solidFill>
                <a:srgbClr val="AEABAB"/>
              </a:solidFill>
            </c:spPr>
          </c:dPt>
          <c:dPt>
            <c:idx val="54"/>
            <c:spPr>
              <a:solidFill>
                <a:srgbClr val="AEABAB"/>
              </a:solidFill>
            </c:spPr>
          </c:dPt>
          <c:dPt>
            <c:idx val="55"/>
            <c:spPr>
              <a:solidFill>
                <a:srgbClr val="AEABAB"/>
              </a:solidFill>
            </c:spPr>
          </c:dPt>
          <c:dPt>
            <c:idx val="56"/>
            <c:spPr>
              <a:solidFill>
                <a:srgbClr val="AEABAB"/>
              </a:solidFill>
            </c:spPr>
          </c:dPt>
          <c:dPt>
            <c:idx val="57"/>
            <c:spPr>
              <a:solidFill>
                <a:srgbClr val="AEABAB"/>
              </a:solidFill>
            </c:spPr>
          </c:dPt>
          <c:dPt>
            <c:idx val="58"/>
            <c:spPr>
              <a:solidFill>
                <a:srgbClr val="AEABAB"/>
              </a:solidFill>
            </c:spPr>
          </c:dPt>
          <c:dPt>
            <c:idx val="59"/>
            <c:spPr>
              <a:solidFill>
                <a:srgbClr val="AEABAB"/>
              </a:solidFill>
            </c:spPr>
          </c:dPt>
          <c:dPt>
            <c:idx val="60"/>
            <c:spPr>
              <a:solidFill>
                <a:srgbClr val="AEABAB"/>
              </a:solidFill>
            </c:spPr>
          </c:dPt>
          <c:dPt>
            <c:idx val="61"/>
            <c:spPr>
              <a:solidFill>
                <a:srgbClr val="AEABAB"/>
              </a:solidFill>
            </c:spPr>
          </c:dPt>
          <c:cat>
            <c:strRef>
              <c:f>Sheet1!$A$2:$A$63</c:f>
              <c:strCache>
                <c:ptCount val="62"/>
                <c:pt idx="0">
                  <c:v>La Vache Qui Rit Nature Fromage Fondu Boite Ronde 1X512Gr 32P</c:v>
                </c:pt>
                <c:pt idx="1">
                  <c:v>Mini Babybel Rouge Filet St Paulin Ferme 1X264Gr 12P</c:v>
                </c:pt>
                <c:pt idx="2">
                  <c:v>Kiri Creme Fromage Blanc Frais Carre 1X432Gr 24P</c:v>
                </c:pt>
                <c:pt idx="3">
                  <c:v>La Vache Qui Rit Nature Fromage Fondu Boite Ronde 1X384Gr 24P</c:v>
                </c:pt>
                <c:pt idx="4">
                  <c:v>Mini Babybel Rouge Filet St Paulin Ferme 1X132Gr 6P</c:v>
                </c:pt>
                <c:pt idx="5">
                  <c:v>Kiri Creme Fromage Blanc Frais Carre 1X216Gr 12P</c:v>
                </c:pt>
                <c:pt idx="6">
                  <c:v>La Vache Qui Rit Nature Fromage Fondu Boite Ronde 1X192Gr 12P</c:v>
                </c:pt>
                <c:pt idx="7">
                  <c:v>Kiri Gouter Fromage Blanc Dips Boite 1X175Gr 5P</c:v>
                </c:pt>
                <c:pt idx="8">
                  <c:v>Boursin Classique Fromage Frais A Tartiner Afh 1X160Gr 10P</c:v>
                </c:pt>
                <c:pt idx="9">
                  <c:v>Kiri Creme Fromage Blanc Frais Carre 1X144Gr 8P</c:v>
                </c:pt>
                <c:pt idx="10">
                  <c:v>Boursin Classique Fromage Frais A Tartiner Afh Boite 1X250Gr 1P</c:v>
                </c:pt>
                <c:pt idx="11">
                  <c:v>Kiri Gouter Fromage Blanc Dips Boite 1X280Gr 8P</c:v>
                </c:pt>
                <c:pt idx="12">
                  <c:v>Mini Babybel Rouge Filet Soft Cheese Enfant 484G</c:v>
                </c:pt>
                <c:pt idx="13">
                  <c:v>Mini Babybel Rouge Filet St Paulin Ferme 1X440Gr 20P</c:v>
                </c:pt>
                <c:pt idx="14">
                  <c:v>Boursin Classique Fromage Frais A Tartiner Afh Boite 1X150Gr 1P</c:v>
                </c:pt>
                <c:pt idx="15">
                  <c:v>La Vache Qui Rit Nature Fromage Fondu Boite Ronde 1X512Gr 24+8P</c:v>
                </c:pt>
                <c:pt idx="16">
                  <c:v>Kiri Creme Fromage Blanc Frais Carre 1X432Gr 18+6P</c:v>
                </c:pt>
                <c:pt idx="17">
                  <c:v>La Vache Qui Rit Nature Fromage Fondu Boite Ronde 1X128Gr 8P</c:v>
                </c:pt>
                <c:pt idx="18">
                  <c:v>Mini Babybel Rouge Filet Soft Cheese Enfant 352G</c:v>
                </c:pt>
                <c:pt idx="19">
                  <c:v>La Vache Qui Rit Pik Et Croq' Fromage Fondu Dips Boite 1X175Gr 5P</c:v>
                </c:pt>
                <c:pt idx="20">
                  <c:v>Boursin Salade &amp; Aperitif Fromage Frais Des Afh 1X120Gr 1P</c:v>
                </c:pt>
                <c:pt idx="21">
                  <c:v>Mini Babybel Rouge Filet St Paulin Ferme 1X396Gr 12+6P</c:v>
                </c:pt>
                <c:pt idx="22">
                  <c:v>La Vache Qui Rit Pik Et Croq' Fromage Fondu Dips Boite 1X280Gr 8P</c:v>
                </c:pt>
                <c:pt idx="23">
                  <c:v>Boursin Classique Fromage Frais A Tartiner Afh Boite 1X96Gr 6P</c:v>
                </c:pt>
                <c:pt idx="24">
                  <c:v>Boursin Classique Fromage Frais A Tartiner Figue Et 3 Noix Boite 1X150Gr 1P</c:v>
                </c:pt>
                <c:pt idx="25">
                  <c:v>Kiri Delicieusement Fouette Fromage Frais A Tartiner 1X210Gr 1P</c:v>
                </c:pt>
                <c:pt idx="26">
                  <c:v>Boursin Classique Fromage Frais A Tartiner Ciboulette &amp; Echalote Boite 1X150Gr 1P</c:v>
                </c:pt>
                <c:pt idx="27">
                  <c:v>Mini Babybel Aros St Paulin Ferme Assortis Filet 1X180Gr 9P</c:v>
                </c:pt>
                <c:pt idx="28">
                  <c:v>Boursin Salade &amp; Aperitif Fromage Frais Des Ciboulette Echalote 1X120Gr 1P</c:v>
                </c:pt>
                <c:pt idx="29">
                  <c:v>Babybel Mini Rolls St Paulin Ferme Sachet 1X85Gr 5P</c:v>
                </c:pt>
                <c:pt idx="30">
                  <c:v>La Vache Qui Rit Allegee Fromage Fondu Boite Ronde Allege 1X267Gr 16P</c:v>
                </c:pt>
                <c:pt idx="31">
                  <c:v>Boursin Onctueux Fromage Frais A Tartiner Afh 1X125Gr 1P</c:v>
                </c:pt>
                <c:pt idx="32">
                  <c:v>Kiri Delicieusement Fouette Fromage Frais A Tartiner 1X125Gr 1P</c:v>
                </c:pt>
                <c:pt idx="33">
                  <c:v>Boursin Salade &amp; Aperitif Fromage Frais Des Figue Noix 1X120Gr 1P</c:v>
                </c:pt>
                <c:pt idx="34">
                  <c:v>Mini Babybel Aros Soft Cheese Enfant 180G</c:v>
                </c:pt>
                <c:pt idx="35">
                  <c:v>Kiri Bio Fromage Blanc Frais Carre 1X144Gr 8P</c:v>
                </c:pt>
                <c:pt idx="36">
                  <c:v>Boursin Classique Fromage Frais A Tartiner Afh 1X256Gr 16P</c:v>
                </c:pt>
                <c:pt idx="37">
                  <c:v>Kiri Delicieusement Fouette Fromage Frais A Tartiner 1X160Gr 10P</c:v>
                </c:pt>
                <c:pt idx="38">
                  <c:v>Boursin Classique Fromage Frais A Tartiner Afh Boite 1X80Gr 1P</c:v>
                </c:pt>
                <c:pt idx="39">
                  <c:v>Mini Babybel Aros St Paulin Ferme Raclette Filet 1X132Gr 6P</c:v>
                </c:pt>
                <c:pt idx="40">
                  <c:v>Mini Babybel Aros Soft Cheese Enfant 110G</c:v>
                </c:pt>
                <c:pt idx="41">
                  <c:v>Boursin Classique Fromage Frais A Tartiner Poivre Boite 1X150Gr 1P</c:v>
                </c:pt>
                <c:pt idx="42">
                  <c:v>Mini Babybel Aros St Paulin Ferme Emmental Filet 1X120Gr 6P</c:v>
                </c:pt>
                <c:pt idx="43">
                  <c:v>La Vache Qui Rit Bio Fromage Fondu Boite Ronde 1X128Gr 8P</c:v>
                </c:pt>
                <c:pt idx="44">
                  <c:v>Boursin Salade &amp; Aperitif Fromage Frais Des Citron Romarin 1X120Gr 1P</c:v>
                </c:pt>
                <c:pt idx="45">
                  <c:v>Boursin Salade &amp; Aperitif Fromage Frais Des Noisette Et 3 Noix 1X120Gr 1P</c:v>
                </c:pt>
                <c:pt idx="46">
                  <c:v>Boursin Onctueux Fromage Frais A Tartiner Afh 1X210Gr 1P</c:v>
                </c:pt>
                <c:pt idx="47">
                  <c:v>Boursin Classique Fromage Frais A Tartiner 3 Noix Boite 1X150Gr 1P</c:v>
                </c:pt>
                <c:pt idx="48">
                  <c:v>Boursin Salade &amp; Aperitif Soft Cheese Salade 120G</c:v>
                </c:pt>
                <c:pt idx="49">
                  <c:v>Mini Babybel Aros Soft Cheese Enfant 120G</c:v>
                </c:pt>
                <c:pt idx="50">
                  <c:v>Boursin Classique Fromage Frais A Tartiner Truffe Boite 1X150Gr 1P</c:v>
                </c:pt>
                <c:pt idx="51">
                  <c:v>La Vache Qui Rit Aro Fromage Fondu Boite Ronde Jambon 1X133Gr 8P</c:v>
                </c:pt>
                <c:pt idx="52">
                  <c:v>Boursin Classique Fromage Frais A Tartiner Afh Boite 1X320Gr 16+4P</c:v>
                </c:pt>
                <c:pt idx="53">
                  <c:v>Boursin Classique Fromage Frais A Tartiner 3 Noix 1X160Gr 10P</c:v>
                </c:pt>
                <c:pt idx="54">
                  <c:v>Boursin Classique Fromage Frais A Tartiner Citron &amp; Romarin Boite 1X150Gr 1P</c:v>
                </c:pt>
                <c:pt idx="55">
                  <c:v>Kiri Chevre Fromage Blanc Frais Carre 1X144Gr 8P</c:v>
                </c:pt>
                <c:pt idx="56">
                  <c:v>Boursin Classique Fromage Frais A Tartiner Ciboulette &amp; Echalote 1X160Gr 10P</c:v>
                </c:pt>
                <c:pt idx="57">
                  <c:v>Mini Babybel Rouge Filet St Paulin Ferme Sachet 1X40Gr 1P</c:v>
                </c:pt>
                <c:pt idx="58">
                  <c:v>Mini Babybel Bio St Paulin Ferme Filet 1X100Gr 5P</c:v>
                </c:pt>
                <c:pt idx="59">
                  <c:v>Mini Babybel Rouge Filet St Paulin Ferme 1X110Gr 5P</c:v>
                </c:pt>
                <c:pt idx="60">
                  <c:v>Limiano Queijo Flamengo Autre Sachet 1X450Gr 1P</c:v>
                </c:pt>
                <c:pt idx="61">
                  <c:v>Mini Babybel Rouge Filet St Paulin Ferme 1X396Gr 18P</c:v>
                </c:pt>
              </c:strCache>
            </c:strRef>
          </c:cat>
          <c:val>
            <c:numRef>
              <c:f>Sheet1!$C$2:$C$63</c:f>
              <c:numCache>
                <c:formatCode>General</c:formatCode>
                <c:ptCount val="62"/>
                <c:pt idx="0">
                  <c:v>0.17861172846176618</c:v>
                </c:pt>
                <c:pt idx="1">
                  <c:v>0.2807210148007205</c:v>
                </c:pt>
                <c:pt idx="2">
                  <c:v>0.3792898105416576</c:v>
                </c:pt>
                <c:pt idx="3">
                  <c:v>0.4430905365349627</c:v>
                </c:pt>
                <c:pt idx="4">
                  <c:v>0.4881140064398208</c:v>
                </c:pt>
                <c:pt idx="5">
                  <c:v>0.5306085420093083</c:v>
                </c:pt>
                <c:pt idx="6">
                  <c:v>0.5670839268912005</c:v>
                </c:pt>
                <c:pt idx="7">
                  <c:v>0.5996486437353791</c:v>
                </c:pt>
                <c:pt idx="8">
                  <c:v>0.6308110541841058</c:v>
                </c:pt>
                <c:pt idx="9">
                  <c:v>0.6565693981583115</c:v>
                </c:pt>
                <c:pt idx="10">
                  <c:v>0.6817109981267929</c:v>
                </c:pt>
                <c:pt idx="11">
                  <c:v>0.7057645603344674</c:v>
                </c:pt>
                <c:pt idx="12">
                  <c:v>0.7275313213792737</c:v>
                </c:pt>
                <c:pt idx="13">
                  <c:v>0.7488607270608139</c:v>
                </c:pt>
                <c:pt idx="14">
                  <c:v>0.7700950222556355</c:v>
                </c:pt>
                <c:pt idx="15">
                  <c:v>0.7903139392968402</c:v>
                </c:pt>
                <c:pt idx="16">
                  <c:v>0.8079461350112032</c:v>
                </c:pt>
                <c:pt idx="17">
                  <c:v>0.8248066363402166</c:v>
                </c:pt>
                <c:pt idx="18">
                  <c:v>0.8406963118446384</c:v>
                </c:pt>
                <c:pt idx="19">
                  <c:v>0.8565117771461053</c:v>
                </c:pt>
                <c:pt idx="20">
                  <c:v>0.870801084945305</c:v>
                </c:pt>
                <c:pt idx="21">
                  <c:v>0.8839656211516287</c:v>
                </c:pt>
                <c:pt idx="22">
                  <c:v>0.8936280822240312</c:v>
                </c:pt>
                <c:pt idx="23">
                  <c:v>0.9029685435223402</c:v>
                </c:pt>
                <c:pt idx="24">
                  <c:v>0.9110437405157045</c:v>
                </c:pt>
                <c:pt idx="25">
                  <c:v>0.9182374347362977</c:v>
                </c:pt>
                <c:pt idx="26">
                  <c:v>0.9253248803879162</c:v>
                </c:pt>
                <c:pt idx="27">
                  <c:v>0.9318287997261865</c:v>
                </c:pt>
                <c:pt idx="28">
                  <c:v>0.9378169166591028</c:v>
                </c:pt>
                <c:pt idx="29">
                  <c:v>0.9437201657731011</c:v>
                </c:pt>
                <c:pt idx="30">
                  <c:v>0.9495761107965754</c:v>
                </c:pt>
                <c:pt idx="31">
                  <c:v>0.9553231428470842</c:v>
                </c:pt>
                <c:pt idx="32">
                  <c:v>0.9600883420270069</c:v>
                </c:pt>
                <c:pt idx="33">
                  <c:v>0.9635014872178931</c:v>
                </c:pt>
                <c:pt idx="34">
                  <c:v>0.9668074229072177</c:v>
                </c:pt>
                <c:pt idx="35">
                  <c:v>0.969905404049003</c:v>
                </c:pt>
                <c:pt idx="36">
                  <c:v>0.9726610529567328</c:v>
                </c:pt>
                <c:pt idx="37">
                  <c:v>0.9753873715811875</c:v>
                </c:pt>
                <c:pt idx="38">
                  <c:v>0.9780171819987974</c:v>
                </c:pt>
                <c:pt idx="39">
                  <c:v>0.9805383633553424</c:v>
                </c:pt>
                <c:pt idx="40">
                  <c:v>0.9825989304121447</c:v>
                </c:pt>
                <c:pt idx="41">
                  <c:v>0.9845001573745503</c:v>
                </c:pt>
                <c:pt idx="42">
                  <c:v>0.9863507606611319</c:v>
                </c:pt>
                <c:pt idx="43">
                  <c:v>0.9881411091066444</c:v>
                </c:pt>
                <c:pt idx="44">
                  <c:v>0.9898935007149774</c:v>
                </c:pt>
                <c:pt idx="45">
                  <c:v>0.991378447312896</c:v>
                </c:pt>
                <c:pt idx="46">
                  <c:v>0.9926995549047614</c:v>
                </c:pt>
                <c:pt idx="47">
                  <c:v>0.9939750400381296</c:v>
                </c:pt>
                <c:pt idx="48">
                  <c:v>0.99519415773953</c:v>
                </c:pt>
                <c:pt idx="49">
                  <c:v>0.9959329838625348</c:v>
                </c:pt>
                <c:pt idx="50">
                  <c:v>0.9966249863613089</c:v>
                </c:pt>
                <c:pt idx="51">
                  <c:v>0.997281172281847</c:v>
                </c:pt>
                <c:pt idx="52">
                  <c:v>0.9979003186190384</c:v>
                </c:pt>
                <c:pt idx="53">
                  <c:v>0.9984620492341671</c:v>
                </c:pt>
                <c:pt idx="54">
                  <c:v>0.9988173322187679</c:v>
                </c:pt>
                <c:pt idx="55">
                  <c:v>0.9991416688061975</c:v>
                </c:pt>
                <c:pt idx="56">
                  <c:v>0.9994365222347132</c:v>
                </c:pt>
                <c:pt idx="57">
                  <c:v>0.9996800968060958</c:v>
                </c:pt>
                <c:pt idx="58">
                  <c:v>0.9999061343577689</c:v>
                </c:pt>
                <c:pt idx="59">
                  <c:v>0.9999866561406692</c:v>
                </c:pt>
                <c:pt idx="60">
                  <c:v>0.999997466632271</c:v>
                </c:pt>
                <c:pt idx="61">
                  <c:v>0.9999999999999999</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63</c:f>
              <c:strCache>
                <c:ptCount val="62"/>
                <c:pt idx="0">
                  <c:v>La Vache Qui Rit Nature Fromage Fondu Boite Ronde 1X512Gr 32P</c:v>
                </c:pt>
                <c:pt idx="1">
                  <c:v>Mini Babybel Rouge Filet St Paulin Ferme 1X264Gr 12P</c:v>
                </c:pt>
                <c:pt idx="2">
                  <c:v>Kiri Creme Fromage Blanc Frais Carre 1X432Gr 24P</c:v>
                </c:pt>
                <c:pt idx="3">
                  <c:v>La Vache Qui Rit Nature Fromage Fondu Boite Ronde 1X384Gr 24P</c:v>
                </c:pt>
                <c:pt idx="4">
                  <c:v>Mini Babybel Rouge Filet St Paulin Ferme 1X132Gr 6P</c:v>
                </c:pt>
                <c:pt idx="5">
                  <c:v>Kiri Creme Fromage Blanc Frais Carre 1X216Gr 12P</c:v>
                </c:pt>
                <c:pt idx="6">
                  <c:v>La Vache Qui Rit Nature Fromage Fondu Boite Ronde 1X192Gr 12P</c:v>
                </c:pt>
                <c:pt idx="7">
                  <c:v>Kiri Gouter Fromage Blanc Dips Boite 1X175Gr 5P</c:v>
                </c:pt>
                <c:pt idx="8">
                  <c:v>Boursin Classique Fromage Frais A Tartiner Afh 1X160Gr 10P</c:v>
                </c:pt>
                <c:pt idx="9">
                  <c:v>Kiri Creme Fromage Blanc Frais Carre 1X144Gr 8P</c:v>
                </c:pt>
                <c:pt idx="10">
                  <c:v>Boursin Classique Fromage Frais A Tartiner Afh Boite 1X250Gr 1P</c:v>
                </c:pt>
                <c:pt idx="11">
                  <c:v>Kiri Gouter Fromage Blanc Dips Boite 1X280Gr 8P</c:v>
                </c:pt>
                <c:pt idx="12">
                  <c:v>Mini Babybel Rouge Filet Soft Cheese Enfant 484G</c:v>
                </c:pt>
                <c:pt idx="13">
                  <c:v>Mini Babybel Rouge Filet St Paulin Ferme 1X440Gr 20P</c:v>
                </c:pt>
                <c:pt idx="14">
                  <c:v>Boursin Classique Fromage Frais A Tartiner Afh Boite 1X150Gr 1P</c:v>
                </c:pt>
                <c:pt idx="15">
                  <c:v>La Vache Qui Rit Nature Fromage Fondu Boite Ronde 1X512Gr 24+8P</c:v>
                </c:pt>
                <c:pt idx="16">
                  <c:v>Kiri Creme Fromage Blanc Frais Carre 1X432Gr 18+6P</c:v>
                </c:pt>
                <c:pt idx="17">
                  <c:v>La Vache Qui Rit Nature Fromage Fondu Boite Ronde 1X128Gr 8P</c:v>
                </c:pt>
                <c:pt idx="18">
                  <c:v>Mini Babybel Rouge Filet Soft Cheese Enfant 352G</c:v>
                </c:pt>
                <c:pt idx="19">
                  <c:v>La Vache Qui Rit Pik Et Croq' Fromage Fondu Dips Boite 1X175Gr 5P</c:v>
                </c:pt>
                <c:pt idx="20">
                  <c:v>Boursin Salade &amp; Aperitif Fromage Frais Des Afh 1X120Gr 1P</c:v>
                </c:pt>
                <c:pt idx="21">
                  <c:v>Mini Babybel Rouge Filet St Paulin Ferme 1X396Gr 12+6P</c:v>
                </c:pt>
                <c:pt idx="22">
                  <c:v>La Vache Qui Rit Pik Et Croq' Fromage Fondu Dips Boite 1X280Gr 8P</c:v>
                </c:pt>
                <c:pt idx="23">
                  <c:v>Boursin Classique Fromage Frais A Tartiner Afh Boite 1X96Gr 6P</c:v>
                </c:pt>
                <c:pt idx="24">
                  <c:v>Boursin Classique Fromage Frais A Tartiner Figue Et 3 Noix Boite 1X150Gr 1P</c:v>
                </c:pt>
                <c:pt idx="25">
                  <c:v>Kiri Delicieusement Fouette Fromage Frais A Tartiner 1X210Gr 1P</c:v>
                </c:pt>
                <c:pt idx="26">
                  <c:v>Boursin Classique Fromage Frais A Tartiner Ciboulette &amp; Echalote Boite 1X150Gr 1P</c:v>
                </c:pt>
                <c:pt idx="27">
                  <c:v>Mini Babybel Aros St Paulin Ferme Assortis Filet 1X180Gr 9P</c:v>
                </c:pt>
                <c:pt idx="28">
                  <c:v>Boursin Salade &amp; Aperitif Fromage Frais Des Ciboulette Echalote 1X120Gr 1P</c:v>
                </c:pt>
                <c:pt idx="29">
                  <c:v>Babybel Mini Rolls St Paulin Ferme Sachet 1X85Gr 5P</c:v>
                </c:pt>
                <c:pt idx="30">
                  <c:v>La Vache Qui Rit Allegee Fromage Fondu Boite Ronde Allege 1X267Gr 16P</c:v>
                </c:pt>
                <c:pt idx="31">
                  <c:v>Boursin Onctueux Fromage Frais A Tartiner Afh 1X125Gr 1P</c:v>
                </c:pt>
                <c:pt idx="32">
                  <c:v>Kiri Delicieusement Fouette Fromage Frais A Tartiner 1X125Gr 1P</c:v>
                </c:pt>
                <c:pt idx="33">
                  <c:v>Boursin Salade &amp; Aperitif Fromage Frais Des Figue Noix 1X120Gr 1P</c:v>
                </c:pt>
                <c:pt idx="34">
                  <c:v>Mini Babybel Aros Soft Cheese Enfant 180G</c:v>
                </c:pt>
                <c:pt idx="35">
                  <c:v>Kiri Bio Fromage Blanc Frais Carre 1X144Gr 8P</c:v>
                </c:pt>
                <c:pt idx="36">
                  <c:v>Boursin Classique Fromage Frais A Tartiner Afh 1X256Gr 16P</c:v>
                </c:pt>
                <c:pt idx="37">
                  <c:v>Kiri Delicieusement Fouette Fromage Frais A Tartiner 1X160Gr 10P</c:v>
                </c:pt>
                <c:pt idx="38">
                  <c:v>Boursin Classique Fromage Frais A Tartiner Afh Boite 1X80Gr 1P</c:v>
                </c:pt>
                <c:pt idx="39">
                  <c:v>Mini Babybel Aros St Paulin Ferme Raclette Filet 1X132Gr 6P</c:v>
                </c:pt>
                <c:pt idx="40">
                  <c:v>Mini Babybel Aros Soft Cheese Enfant 110G</c:v>
                </c:pt>
                <c:pt idx="41">
                  <c:v>Boursin Classique Fromage Frais A Tartiner Poivre Boite 1X150Gr 1P</c:v>
                </c:pt>
                <c:pt idx="42">
                  <c:v>Mini Babybel Aros St Paulin Ferme Emmental Filet 1X120Gr 6P</c:v>
                </c:pt>
                <c:pt idx="43">
                  <c:v>La Vache Qui Rit Bio Fromage Fondu Boite Ronde 1X128Gr 8P</c:v>
                </c:pt>
                <c:pt idx="44">
                  <c:v>Boursin Salade &amp; Aperitif Fromage Frais Des Citron Romarin 1X120Gr 1P</c:v>
                </c:pt>
                <c:pt idx="45">
                  <c:v>Boursin Salade &amp; Aperitif Fromage Frais Des Noisette Et 3 Noix 1X120Gr 1P</c:v>
                </c:pt>
                <c:pt idx="46">
                  <c:v>Boursin Onctueux Fromage Frais A Tartiner Afh 1X210Gr 1P</c:v>
                </c:pt>
                <c:pt idx="47">
                  <c:v>Boursin Classique Fromage Frais A Tartiner 3 Noix Boite 1X150Gr 1P</c:v>
                </c:pt>
                <c:pt idx="48">
                  <c:v>Boursin Salade &amp; Aperitif Soft Cheese Salade 120G</c:v>
                </c:pt>
                <c:pt idx="49">
                  <c:v>Mini Babybel Aros Soft Cheese Enfant 120G</c:v>
                </c:pt>
                <c:pt idx="50">
                  <c:v>Boursin Classique Fromage Frais A Tartiner Truffe Boite 1X150Gr 1P</c:v>
                </c:pt>
                <c:pt idx="51">
                  <c:v>La Vache Qui Rit Aro Fromage Fondu Boite Ronde Jambon 1X133Gr 8P</c:v>
                </c:pt>
                <c:pt idx="52">
                  <c:v>Boursin Classique Fromage Frais A Tartiner Afh Boite 1X320Gr 16+4P</c:v>
                </c:pt>
                <c:pt idx="53">
                  <c:v>Boursin Classique Fromage Frais A Tartiner 3 Noix 1X160Gr 10P</c:v>
                </c:pt>
                <c:pt idx="54">
                  <c:v>Boursin Classique Fromage Frais A Tartiner Citron &amp; Romarin Boite 1X150Gr 1P</c:v>
                </c:pt>
                <c:pt idx="55">
                  <c:v>Kiri Chevre Fromage Blanc Frais Carre 1X144Gr 8P</c:v>
                </c:pt>
                <c:pt idx="56">
                  <c:v>Boursin Classique Fromage Frais A Tartiner Ciboulette &amp; Echalote 1X160Gr 10P</c:v>
                </c:pt>
                <c:pt idx="57">
                  <c:v>Mini Babybel Rouge Filet St Paulin Ferme Sachet 1X40Gr 1P</c:v>
                </c:pt>
                <c:pt idx="58">
                  <c:v>Mini Babybel Bio St Paulin Ferme Filet 1X100Gr 5P</c:v>
                </c:pt>
                <c:pt idx="59">
                  <c:v>Mini Babybel Rouge Filet St Paulin Ferme 1X110Gr 5P</c:v>
                </c:pt>
                <c:pt idx="60">
                  <c:v>Limiano Queijo Flamengo Autre Sachet 1X450Gr 1P</c:v>
                </c:pt>
                <c:pt idx="61">
                  <c:v>Mini Babybel Rouge Filet St Paulin Ferme 1X396Gr 18P</c:v>
                </c:pt>
              </c:strCache>
            </c:strRef>
          </c:cat>
          <c:val>
            <c:numRef>
              <c:f>Sheet1!$D$2:$D$63</c:f>
              <c:numCache>
                <c:formatCode>General</c:formatCode>
                <c:ptCount val="62"/>
                <c:pt idx="0">
                  <c:v>82610.36363636363</c:v>
                </c:pt>
                <c:pt idx="1">
                  <c:v>46754.67</c:v>
                </c:pt>
                <c:pt idx="2">
                  <c:v>45589.41414141414</c:v>
                </c:pt>
                <c:pt idx="3">
                  <c:v>29213.62</c:v>
                </c:pt>
                <c:pt idx="4">
                  <c:v>20615.73</c:v>
                </c:pt>
                <c:pt idx="5">
                  <c:v>19457.76</c:v>
                </c:pt>
                <c:pt idx="6">
                  <c:v>16701.66</c:v>
                </c:pt>
                <c:pt idx="7">
                  <c:v>14911.01</c:v>
                </c:pt>
                <c:pt idx="8">
                  <c:v>14268.91</c:v>
                </c:pt>
                <c:pt idx="9">
                  <c:v>11794.45</c:v>
                </c:pt>
                <c:pt idx="10">
                  <c:v>11512.05</c:v>
                </c:pt>
                <c:pt idx="11">
                  <c:v>11125.10101010101</c:v>
                </c:pt>
                <c:pt idx="12">
                  <c:v>10275.0</c:v>
                </c:pt>
                <c:pt idx="13">
                  <c:v>9766.49</c:v>
                </c:pt>
                <c:pt idx="14">
                  <c:v>9722.94</c:v>
                </c:pt>
                <c:pt idx="15">
                  <c:v>9848.946808510638</c:v>
                </c:pt>
                <c:pt idx="16">
                  <c:v>8238.34693877551</c:v>
                </c:pt>
                <c:pt idx="17">
                  <c:v>8213.010638297872</c:v>
                </c:pt>
                <c:pt idx="18">
                  <c:v>7349.19191919192</c:v>
                </c:pt>
                <c:pt idx="19">
                  <c:v>7241.72</c:v>
                </c:pt>
                <c:pt idx="20">
                  <c:v>6542.91</c:v>
                </c:pt>
                <c:pt idx="21">
                  <c:v>6412.648936170212</c:v>
                </c:pt>
                <c:pt idx="22">
                  <c:v>4657.1894736842105</c:v>
                </c:pt>
                <c:pt idx="23">
                  <c:v>4276.89</c:v>
                </c:pt>
                <c:pt idx="24">
                  <c:v>3773.0</c:v>
                </c:pt>
                <c:pt idx="25">
                  <c:v>3431.15625</c:v>
                </c:pt>
                <c:pt idx="26">
                  <c:v>3345.6288659793813</c:v>
                </c:pt>
                <c:pt idx="27">
                  <c:v>3102.15625</c:v>
                </c:pt>
                <c:pt idx="28">
                  <c:v>2741.89</c:v>
                </c:pt>
                <c:pt idx="29">
                  <c:v>2938.0760869565215</c:v>
                </c:pt>
                <c:pt idx="30">
                  <c:v>3117.8720930232557</c:v>
                </c:pt>
                <c:pt idx="31">
                  <c:v>2658.080808080808</c:v>
                </c:pt>
                <c:pt idx="32">
                  <c:v>2226.4591836734694</c:v>
                </c:pt>
                <c:pt idx="33">
                  <c:v>1562.84</c:v>
                </c:pt>
                <c:pt idx="34">
                  <c:v>1576.8229166666667</c:v>
                </c:pt>
                <c:pt idx="35">
                  <c:v>1891.3733333333332</c:v>
                </c:pt>
                <c:pt idx="36">
                  <c:v>2175.4827586206898</c:v>
                </c:pt>
                <c:pt idx="37">
                  <c:v>1402.6404494382023</c:v>
                </c:pt>
                <c:pt idx="38">
                  <c:v>1281.0212765957447</c:v>
                </c:pt>
                <c:pt idx="39">
                  <c:v>1311.840909090909</c:v>
                </c:pt>
                <c:pt idx="40">
                  <c:v>1003.7340425531914</c:v>
                </c:pt>
                <c:pt idx="41">
                  <c:v>989.2613636363636</c:v>
                </c:pt>
                <c:pt idx="42">
                  <c:v>1210.5285714285715</c:v>
                </c:pt>
                <c:pt idx="43">
                  <c:v>999.7317073170732</c:v>
                </c:pt>
                <c:pt idx="44">
                  <c:v>844.6315789473684</c:v>
                </c:pt>
                <c:pt idx="45">
                  <c:v>708.2708333333334</c:v>
                </c:pt>
                <c:pt idx="46">
                  <c:v>1025.2881355932204</c:v>
                </c:pt>
                <c:pt idx="47">
                  <c:v>871.6865671641791</c:v>
                </c:pt>
                <c:pt idx="48">
                  <c:v>593.8510638297872</c:v>
                </c:pt>
                <c:pt idx="49">
                  <c:v>497.5</c:v>
                </c:pt>
                <c:pt idx="50">
                  <c:v>480.09090909090907</c:v>
                </c:pt>
                <c:pt idx="51">
                  <c:v>3755.75</c:v>
                </c:pt>
                <c:pt idx="52">
                  <c:v>333.52941176470586</c:v>
                </c:pt>
                <c:pt idx="53">
                  <c:v>524.9183673469388</c:v>
                </c:pt>
                <c:pt idx="54">
                  <c:v>229.1267605633803</c:v>
                </c:pt>
                <c:pt idx="55">
                  <c:v>265.19642857142856</c:v>
                </c:pt>
                <c:pt idx="56">
                  <c:v>964.3571428571428</c:v>
                </c:pt>
                <c:pt idx="57">
                  <c:v>531.0952380952381</c:v>
                </c:pt>
                <c:pt idx="58">
                  <c:v>154.47761194029852</c:v>
                </c:pt>
                <c:pt idx="59">
                  <c:v>737.4</c:v>
                </c:pt>
                <c:pt idx="60">
                  <c:v>495.0</c:v>
                </c:pt>
                <c:pt idx="61">
                  <c:v>28.0</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9</c:f>
              <c:strCache>
                <c:ptCount val="48"/>
                <c:pt idx="0">
                  <c:v>La Vache Qui Rit Nature Fromage Fondu Boite Ronde 1X512Gr 32P</c:v>
                </c:pt>
                <c:pt idx="1">
                  <c:v>Mini Babybel Rouge Filet St Paulin Ferme 1X264Gr 12P</c:v>
                </c:pt>
                <c:pt idx="2">
                  <c:v>La Vache Qui Rit Nature Fromage Fondu Boite Ronde 1X384Gr 24P</c:v>
                </c:pt>
                <c:pt idx="3">
                  <c:v>La Vache Qui Rit Nature Fromage Fondu Boite Ronde 1X192Gr 12P</c:v>
                </c:pt>
                <c:pt idx="4">
                  <c:v>Mini Babybel Rouge Filet St Paulin Ferme 1X132Gr 6P</c:v>
                </c:pt>
                <c:pt idx="5">
                  <c:v>Kiri Creme Fromage Blanc Frais Carre 1X432Gr 24P</c:v>
                </c:pt>
                <c:pt idx="6">
                  <c:v>Kiri Creme Fromage Blanc Frais Carre 1X216Gr 12P</c:v>
                </c:pt>
                <c:pt idx="7">
                  <c:v>Boursin Classique Fromage Frais A Tartiner Afh 1X160Gr 10P</c:v>
                </c:pt>
                <c:pt idx="8">
                  <c:v>Kiri Creme Fromage Blanc Frais Carre 1X144Gr 8P</c:v>
                </c:pt>
                <c:pt idx="9">
                  <c:v>Boursin Classique Fromage Frais A Tartiner Afh Boite 1X150Gr 1P</c:v>
                </c:pt>
                <c:pt idx="10">
                  <c:v>Boursin Classique Fromage Frais A Tartiner Afh Boite 1X250Gr 1P</c:v>
                </c:pt>
                <c:pt idx="11">
                  <c:v>Kiri Gouter Fromage Blanc Dips Boite 1X175Gr 5P</c:v>
                </c:pt>
                <c:pt idx="12">
                  <c:v>Mini Babybel Rouge Filet Soft Cheese Enfant 352G</c:v>
                </c:pt>
                <c:pt idx="13">
                  <c:v>Boursin Salade &amp; Aperitif Fromage Frais Des Afh 1X120Gr 1P</c:v>
                </c:pt>
                <c:pt idx="14">
                  <c:v>Mini Babybel Rouge Filet St Paulin Ferme 1X440Gr 20P</c:v>
                </c:pt>
                <c:pt idx="15">
                  <c:v>Kiri Gouter Fromage Blanc Dips Boite 1X280Gr 8P</c:v>
                </c:pt>
                <c:pt idx="16">
                  <c:v>La Vache Qui Rit Nature Fromage Fondu Boite Ronde 1X128Gr 8P</c:v>
                </c:pt>
                <c:pt idx="17">
                  <c:v>La Vache Qui Rit Pik Et Croq' Fromage Fondu Dips Boite 1X175Gr 5P</c:v>
                </c:pt>
                <c:pt idx="18">
                  <c:v>Boursin Classique Fromage Frais A Tartiner Afh Boite 1X96Gr 6P</c:v>
                </c:pt>
                <c:pt idx="19">
                  <c:v>La Vache Qui Rit Nature Fromage Fondu Boite Ronde 1X512Gr 24+8P</c:v>
                </c:pt>
                <c:pt idx="20">
                  <c:v>Kiri Creme Fromage Blanc Frais Carre 1X432Gr 18+6P</c:v>
                </c:pt>
                <c:pt idx="21">
                  <c:v>Boursin Onctueux Fromage Frais A Tartiner Afh 1X125Gr 1P</c:v>
                </c:pt>
                <c:pt idx="22">
                  <c:v>Boursin Classique Fromage Frais A Tartiner Ciboulette &amp; Echalote Boite 1X150Gr 1P</c:v>
                </c:pt>
                <c:pt idx="23">
                  <c:v>Mini Babybel Aros St Paulin Ferme Assortis Filet 1X180Gr 9P</c:v>
                </c:pt>
                <c:pt idx="24">
                  <c:v>Mini Babybel Rouge Filet St Paulin Ferme 1X396Gr 12+6P</c:v>
                </c:pt>
                <c:pt idx="25">
                  <c:v>Boursin Salade &amp; Aperitif Fromage Frais Des Figue Noix 1X120Gr 1P</c:v>
                </c:pt>
                <c:pt idx="26">
                  <c:v>Boursin Salade &amp; Aperitif Fromage Frais Des Ciboulette Echalote 1X120Gr 1P</c:v>
                </c:pt>
                <c:pt idx="27">
                  <c:v>Babybel Mini Rolls St Paulin Ferme Sachet 1X85Gr 5P</c:v>
                </c:pt>
                <c:pt idx="28">
                  <c:v>Kiri Bio Fromage Blanc Frais Carre 1X144Gr 8P</c:v>
                </c:pt>
                <c:pt idx="29">
                  <c:v>Kiri Delicieusement Fouette Fromage Frais A Tartiner 1X160Gr 10P</c:v>
                </c:pt>
                <c:pt idx="30">
                  <c:v>Kiri Delicieusement Fouette Fromage Frais A Tartiner 1X210Gr 1P</c:v>
                </c:pt>
                <c:pt idx="31">
                  <c:v>Kiri Delicieusement Fouette Fromage Frais A Tartiner 1X125Gr 1P</c:v>
                </c:pt>
                <c:pt idx="32">
                  <c:v>Mini Babybel Aros Soft Cheese Enfant 180G</c:v>
                </c:pt>
                <c:pt idx="33">
                  <c:v>La Vache Qui Rit Allegee Fromage Fondu Boite Ronde Allege 1X267Gr 16P</c:v>
                </c:pt>
                <c:pt idx="34">
                  <c:v>Boursin Salade &amp; Aperitif Fromage Frais Des Citron Romarin 1X120Gr 1P</c:v>
                </c:pt>
                <c:pt idx="35">
                  <c:v>Boursin Classique Fromage Frais A Tartiner Figue Et 3 Noix Boite 1X150Gr 1P</c:v>
                </c:pt>
                <c:pt idx="36">
                  <c:v>Boursin Salade &amp; Aperitif Soft Cheese Salade 120G</c:v>
                </c:pt>
                <c:pt idx="37">
                  <c:v>Boursin Salade &amp; Aperitif Fromage Frais Des Noisette Et 3 Noix 1X120Gr 1P</c:v>
                </c:pt>
                <c:pt idx="38">
                  <c:v>Mini Babybel Aros Soft Cheese Enfant 110G</c:v>
                </c:pt>
                <c:pt idx="39">
                  <c:v>La Vache Qui Rit Bio Fromage Fondu Boite Ronde 1X128Gr 8P</c:v>
                </c:pt>
                <c:pt idx="40">
                  <c:v>Boursin Classique Fromage Frais A Tartiner 3 Noix Boite 1X150Gr 1P</c:v>
                </c:pt>
                <c:pt idx="41">
                  <c:v>Boursin Classique Fromage Frais A Tartiner 3 Noix 1X160Gr 10P</c:v>
                </c:pt>
                <c:pt idx="42">
                  <c:v>Boursin Classique Fromage Frais A Tartiner Afh Boite 1X320Gr 16+4P</c:v>
                </c:pt>
                <c:pt idx="43">
                  <c:v>Boursin Classique Fromage Frais A Tartiner Truffe Boite 1X150Gr 1P</c:v>
                </c:pt>
                <c:pt idx="44">
                  <c:v>Mini Babybel Rouge Filet St Paulin Ferme Sachet 1X40Gr 1P</c:v>
                </c:pt>
                <c:pt idx="45">
                  <c:v>Boursin Onctueux Fromage Frais A Tartiner Afh 1X210Gr 1P</c:v>
                </c:pt>
                <c:pt idx="46">
                  <c:v>Kiri Chevre Fromage Blanc Frais Carre 1X144Gr 8P</c:v>
                </c:pt>
                <c:pt idx="47">
                  <c:v>Boursin Classique Fromage Frais A Tartiner Ciboulette &amp; Echalote 1X160Gr 10P</c:v>
                </c:pt>
              </c:strCache>
            </c:strRef>
          </c:cat>
          <c:val>
            <c:numRef>
              <c:f>Sheet1!$B$2:$B$49</c:f>
              <c:numCache>
                <c:formatCode>General</c:formatCode>
                <c:ptCount val="48"/>
                <c:pt idx="0">
                  <c:v>0.99</c:v>
                </c:pt>
                <c:pt idx="1">
                  <c:v>1.0</c:v>
                </c:pt>
                <c:pt idx="2">
                  <c:v>0.96</c:v>
                </c:pt>
                <c:pt idx="3">
                  <c:v>0.99</c:v>
                </c:pt>
                <c:pt idx="4">
                  <c:v>0.99</c:v>
                </c:pt>
                <c:pt idx="5">
                  <c:v>0.86</c:v>
                </c:pt>
                <c:pt idx="6">
                  <c:v>0.97</c:v>
                </c:pt>
                <c:pt idx="7">
                  <c:v>0.98</c:v>
                </c:pt>
                <c:pt idx="8">
                  <c:v>0.99</c:v>
                </c:pt>
                <c:pt idx="9">
                  <c:v>0.99</c:v>
                </c:pt>
                <c:pt idx="10">
                  <c:v>0.95</c:v>
                </c:pt>
                <c:pt idx="11">
                  <c:v>0.99</c:v>
                </c:pt>
                <c:pt idx="12">
                  <c:v>0.94</c:v>
                </c:pt>
                <c:pt idx="13">
                  <c:v>0.99</c:v>
                </c:pt>
                <c:pt idx="14">
                  <c:v>0.96</c:v>
                </c:pt>
                <c:pt idx="15">
                  <c:v>0.73</c:v>
                </c:pt>
                <c:pt idx="16">
                  <c:v>0.66</c:v>
                </c:pt>
                <c:pt idx="17">
                  <c:v>0.97</c:v>
                </c:pt>
                <c:pt idx="18">
                  <c:v>0.91</c:v>
                </c:pt>
                <c:pt idx="19">
                  <c:v>0.78</c:v>
                </c:pt>
                <c:pt idx="20">
                  <c:v>0.71</c:v>
                </c:pt>
                <c:pt idx="21">
                  <c:v>0.85</c:v>
                </c:pt>
                <c:pt idx="22">
                  <c:v>0.89</c:v>
                </c:pt>
                <c:pt idx="23">
                  <c:v>0.67</c:v>
                </c:pt>
                <c:pt idx="24">
                  <c:v>0.81</c:v>
                </c:pt>
                <c:pt idx="25">
                  <c:v>0.91</c:v>
                </c:pt>
                <c:pt idx="26">
                  <c:v>0.95</c:v>
                </c:pt>
                <c:pt idx="27">
                  <c:v>0.45</c:v>
                </c:pt>
                <c:pt idx="28">
                  <c:v>0.42</c:v>
                </c:pt>
                <c:pt idx="29">
                  <c:v>0.63</c:v>
                </c:pt>
                <c:pt idx="30">
                  <c:v>0.54</c:v>
                </c:pt>
                <c:pt idx="31">
                  <c:v>0.62</c:v>
                </c:pt>
                <c:pt idx="32">
                  <c:v>0.66</c:v>
                </c:pt>
                <c:pt idx="33">
                  <c:v>0.27</c:v>
                </c:pt>
                <c:pt idx="34">
                  <c:v>0.72</c:v>
                </c:pt>
                <c:pt idx="35">
                  <c:v>0.65</c:v>
                </c:pt>
                <c:pt idx="36">
                  <c:v>0.71</c:v>
                </c:pt>
                <c:pt idx="37">
                  <c:v>0.79</c:v>
                </c:pt>
                <c:pt idx="38">
                  <c:v>0.57</c:v>
                </c:pt>
                <c:pt idx="39">
                  <c:v>0.25</c:v>
                </c:pt>
                <c:pt idx="40">
                  <c:v>0.61</c:v>
                </c:pt>
                <c:pt idx="41">
                  <c:v>0.41</c:v>
                </c:pt>
                <c:pt idx="42">
                  <c:v>0.37</c:v>
                </c:pt>
                <c:pt idx="43">
                  <c:v>0.51</c:v>
                </c:pt>
                <c:pt idx="44">
                  <c:v>0.06</c:v>
                </c:pt>
                <c:pt idx="45">
                  <c:v>0.03</c:v>
                </c:pt>
                <c:pt idx="46">
                  <c:v>0.03</c:v>
                </c:pt>
                <c:pt idx="47">
                  <c:v>0.03</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7ECAC4"/>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AEABAB"/>
              </a:solidFill>
            </c:spPr>
            <c:extLst>
              <c:ext xmlns:c16="http://schemas.microsoft.com/office/drawing/2014/chart" uri="{C3380CC4-5D6E-409C-BE32-E72D297353CC}">
                <c16:uniqueId val="{00000037-FA3E-4872-B6E1-C4ABDF5766E2}"/>
              </c:ext>
            </c:extLst>
          </c:dPt>
          <c:dPt>
            <c:idx val="27"/>
            <c:invertIfNegative val="1"/>
            <c:bubble3D val="0"/>
            <c:spPr>
              <a:solidFill>
                <a:srgbClr val="AEABAB"/>
              </a:solidFill>
            </c:spPr>
            <c:extLst>
              <c:ext xmlns:c16="http://schemas.microsoft.com/office/drawing/2014/chart" uri="{C3380CC4-5D6E-409C-BE32-E72D297353CC}">
                <c16:uniqueId val="{00000039-FA3E-4872-B6E1-C4ABDF5766E2}"/>
              </c:ext>
            </c:extLst>
          </c:dPt>
          <c:dPt>
            <c:idx val="28"/>
            <c:invertIfNegative val="1"/>
            <c:bubble3D val="0"/>
            <c:spPr>
              <a:solidFill>
                <a:srgbClr val="AEABAB"/>
              </a:solidFill>
            </c:spPr>
            <c:extLst>
              <c:ext xmlns:c16="http://schemas.microsoft.com/office/drawing/2014/chart" uri="{C3380CC4-5D6E-409C-BE32-E72D297353CC}">
                <c16:uniqueId val="{0000003B-FA3E-4872-B6E1-C4ABDF5766E2}"/>
              </c:ext>
            </c:extLst>
          </c:dPt>
          <c:dPt>
            <c:idx val="29"/>
            <c:invertIfNegative val="1"/>
            <c:bubble3D val="0"/>
            <c:spPr>
              <a:solidFill>
                <a:srgbClr val="AEABAB"/>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dPt>
            <c:idx val="44"/>
            <c:spPr>
              <a:solidFill>
                <a:srgbClr val="AEABAB"/>
              </a:solidFill>
            </c:spPr>
          </c:dPt>
          <c:dPt>
            <c:idx val="45"/>
            <c:spPr>
              <a:solidFill>
                <a:srgbClr val="AEABAB"/>
              </a:solidFill>
            </c:spPr>
          </c:dPt>
          <c:dPt>
            <c:idx val="46"/>
            <c:spPr>
              <a:solidFill>
                <a:srgbClr val="AEABAB"/>
              </a:solidFill>
            </c:spPr>
          </c:dPt>
          <c:dPt>
            <c:idx val="47"/>
            <c:spPr>
              <a:solidFill>
                <a:srgbClr val="AEABAB"/>
              </a:solidFill>
            </c:spPr>
          </c:dPt>
          <c:cat>
            <c:strRef>
              <c:f>Sheet1!$A$2:$A$49</c:f>
              <c:strCache>
                <c:ptCount val="48"/>
                <c:pt idx="0">
                  <c:v>La Vache Qui Rit Nature Fromage Fondu Boite Ronde 1X512Gr 32P</c:v>
                </c:pt>
                <c:pt idx="1">
                  <c:v>Mini Babybel Rouge Filet St Paulin Ferme 1X264Gr 12P</c:v>
                </c:pt>
                <c:pt idx="2">
                  <c:v>La Vache Qui Rit Nature Fromage Fondu Boite Ronde 1X384Gr 24P</c:v>
                </c:pt>
                <c:pt idx="3">
                  <c:v>La Vache Qui Rit Nature Fromage Fondu Boite Ronde 1X192Gr 12P</c:v>
                </c:pt>
                <c:pt idx="4">
                  <c:v>Mini Babybel Rouge Filet St Paulin Ferme 1X132Gr 6P</c:v>
                </c:pt>
                <c:pt idx="5">
                  <c:v>Kiri Creme Fromage Blanc Frais Carre 1X432Gr 24P</c:v>
                </c:pt>
                <c:pt idx="6">
                  <c:v>Kiri Creme Fromage Blanc Frais Carre 1X216Gr 12P</c:v>
                </c:pt>
                <c:pt idx="7">
                  <c:v>Boursin Classique Fromage Frais A Tartiner Afh 1X160Gr 10P</c:v>
                </c:pt>
                <c:pt idx="8">
                  <c:v>Kiri Creme Fromage Blanc Frais Carre 1X144Gr 8P</c:v>
                </c:pt>
                <c:pt idx="9">
                  <c:v>Boursin Classique Fromage Frais A Tartiner Afh Boite 1X150Gr 1P</c:v>
                </c:pt>
                <c:pt idx="10">
                  <c:v>Boursin Classique Fromage Frais A Tartiner Afh Boite 1X250Gr 1P</c:v>
                </c:pt>
                <c:pt idx="11">
                  <c:v>Kiri Gouter Fromage Blanc Dips Boite 1X175Gr 5P</c:v>
                </c:pt>
                <c:pt idx="12">
                  <c:v>Mini Babybel Rouge Filet Soft Cheese Enfant 352G</c:v>
                </c:pt>
                <c:pt idx="13">
                  <c:v>Boursin Salade &amp; Aperitif Fromage Frais Des Afh 1X120Gr 1P</c:v>
                </c:pt>
                <c:pt idx="14">
                  <c:v>Mini Babybel Rouge Filet St Paulin Ferme 1X440Gr 20P</c:v>
                </c:pt>
                <c:pt idx="15">
                  <c:v>Kiri Gouter Fromage Blanc Dips Boite 1X280Gr 8P</c:v>
                </c:pt>
                <c:pt idx="16">
                  <c:v>La Vache Qui Rit Nature Fromage Fondu Boite Ronde 1X128Gr 8P</c:v>
                </c:pt>
                <c:pt idx="17">
                  <c:v>La Vache Qui Rit Pik Et Croq' Fromage Fondu Dips Boite 1X175Gr 5P</c:v>
                </c:pt>
                <c:pt idx="18">
                  <c:v>Boursin Classique Fromage Frais A Tartiner Afh Boite 1X96Gr 6P</c:v>
                </c:pt>
                <c:pt idx="19">
                  <c:v>La Vache Qui Rit Nature Fromage Fondu Boite Ronde 1X512Gr 24+8P</c:v>
                </c:pt>
                <c:pt idx="20">
                  <c:v>Kiri Creme Fromage Blanc Frais Carre 1X432Gr 18+6P</c:v>
                </c:pt>
                <c:pt idx="21">
                  <c:v>Boursin Onctueux Fromage Frais A Tartiner Afh 1X125Gr 1P</c:v>
                </c:pt>
                <c:pt idx="22">
                  <c:v>Boursin Classique Fromage Frais A Tartiner Ciboulette &amp; Echalote Boite 1X150Gr 1P</c:v>
                </c:pt>
                <c:pt idx="23">
                  <c:v>Mini Babybel Aros St Paulin Ferme Assortis Filet 1X180Gr 9P</c:v>
                </c:pt>
                <c:pt idx="24">
                  <c:v>Mini Babybel Rouge Filet St Paulin Ferme 1X396Gr 12+6P</c:v>
                </c:pt>
                <c:pt idx="25">
                  <c:v>Boursin Salade &amp; Aperitif Fromage Frais Des Figue Noix 1X120Gr 1P</c:v>
                </c:pt>
                <c:pt idx="26">
                  <c:v>Boursin Salade &amp; Aperitif Fromage Frais Des Ciboulette Echalote 1X120Gr 1P</c:v>
                </c:pt>
                <c:pt idx="27">
                  <c:v>Babybel Mini Rolls St Paulin Ferme Sachet 1X85Gr 5P</c:v>
                </c:pt>
                <c:pt idx="28">
                  <c:v>Kiri Bio Fromage Blanc Frais Carre 1X144Gr 8P</c:v>
                </c:pt>
                <c:pt idx="29">
                  <c:v>Kiri Delicieusement Fouette Fromage Frais A Tartiner 1X160Gr 10P</c:v>
                </c:pt>
                <c:pt idx="30">
                  <c:v>Kiri Delicieusement Fouette Fromage Frais A Tartiner 1X210Gr 1P</c:v>
                </c:pt>
                <c:pt idx="31">
                  <c:v>Kiri Delicieusement Fouette Fromage Frais A Tartiner 1X125Gr 1P</c:v>
                </c:pt>
                <c:pt idx="32">
                  <c:v>Mini Babybel Aros Soft Cheese Enfant 180G</c:v>
                </c:pt>
                <c:pt idx="33">
                  <c:v>La Vache Qui Rit Allegee Fromage Fondu Boite Ronde Allege 1X267Gr 16P</c:v>
                </c:pt>
                <c:pt idx="34">
                  <c:v>Boursin Salade &amp; Aperitif Fromage Frais Des Citron Romarin 1X120Gr 1P</c:v>
                </c:pt>
                <c:pt idx="35">
                  <c:v>Boursin Classique Fromage Frais A Tartiner Figue Et 3 Noix Boite 1X150Gr 1P</c:v>
                </c:pt>
                <c:pt idx="36">
                  <c:v>Boursin Salade &amp; Aperitif Soft Cheese Salade 120G</c:v>
                </c:pt>
                <c:pt idx="37">
                  <c:v>Boursin Salade &amp; Aperitif Fromage Frais Des Noisette Et 3 Noix 1X120Gr 1P</c:v>
                </c:pt>
                <c:pt idx="38">
                  <c:v>Mini Babybel Aros Soft Cheese Enfant 110G</c:v>
                </c:pt>
                <c:pt idx="39">
                  <c:v>La Vache Qui Rit Bio Fromage Fondu Boite Ronde 1X128Gr 8P</c:v>
                </c:pt>
                <c:pt idx="40">
                  <c:v>Boursin Classique Fromage Frais A Tartiner 3 Noix Boite 1X150Gr 1P</c:v>
                </c:pt>
                <c:pt idx="41">
                  <c:v>Boursin Classique Fromage Frais A Tartiner 3 Noix 1X160Gr 10P</c:v>
                </c:pt>
                <c:pt idx="42">
                  <c:v>Boursin Classique Fromage Frais A Tartiner Afh Boite 1X320Gr 16+4P</c:v>
                </c:pt>
                <c:pt idx="43">
                  <c:v>Boursin Classique Fromage Frais A Tartiner Truffe Boite 1X150Gr 1P</c:v>
                </c:pt>
                <c:pt idx="44">
                  <c:v>Mini Babybel Rouge Filet St Paulin Ferme Sachet 1X40Gr 1P</c:v>
                </c:pt>
                <c:pt idx="45">
                  <c:v>Boursin Onctueux Fromage Frais A Tartiner Afh 1X210Gr 1P</c:v>
                </c:pt>
                <c:pt idx="46">
                  <c:v>Kiri Chevre Fromage Blanc Frais Carre 1X144Gr 8P</c:v>
                </c:pt>
                <c:pt idx="47">
                  <c:v>Boursin Classique Fromage Frais A Tartiner Ciboulette &amp; Echalote 1X160Gr 10P</c:v>
                </c:pt>
              </c:strCache>
            </c:strRef>
          </c:cat>
          <c:val>
            <c:numRef>
              <c:f>Sheet1!$C$2:$C$49</c:f>
              <c:numCache>
                <c:formatCode>General</c:formatCode>
                <c:ptCount val="48"/>
                <c:pt idx="0">
                  <c:v>0.11940511162381386</c:v>
                </c:pt>
                <c:pt idx="1">
                  <c:v>0.23452758599749657</c:v>
                </c:pt>
                <c:pt idx="2">
                  <c:v>0.30958506885009013</c:v>
                </c:pt>
                <c:pt idx="3">
                  <c:v>0.37201252753884245</c:v>
                </c:pt>
                <c:pt idx="4">
                  <c:v>0.43379368122074863</c:v>
                </c:pt>
                <c:pt idx="5">
                  <c:v>0.4932371950820518</c:v>
                </c:pt>
                <c:pt idx="6">
                  <c:v>0.5451713537241625</c:v>
                </c:pt>
                <c:pt idx="7">
                  <c:v>0.5839947489843766</c:v>
                </c:pt>
                <c:pt idx="8">
                  <c:v>0.6226398577187192</c:v>
                </c:pt>
                <c:pt idx="9">
                  <c:v>0.6587281964032099</c:v>
                </c:pt>
                <c:pt idx="10">
                  <c:v>0.6900571154554699</c:v>
                </c:pt>
                <c:pt idx="11">
                  <c:v>0.7205009131952271</c:v>
                </c:pt>
                <c:pt idx="12">
                  <c:v>0.7453783910779039</c:v>
                </c:pt>
                <c:pt idx="13">
                  <c:v>0.7700355941920057</c:v>
                </c:pt>
                <c:pt idx="14">
                  <c:v>0.7945982583577776</c:v>
                </c:pt>
                <c:pt idx="15">
                  <c:v>0.8183665795301627</c:v>
                </c:pt>
                <c:pt idx="16">
                  <c:v>0.8390495169896889</c:v>
                </c:pt>
                <c:pt idx="17">
                  <c:v>0.8590354299996641</c:v>
                </c:pt>
                <c:pt idx="18">
                  <c:v>0.875480301840527</c:v>
                </c:pt>
                <c:pt idx="19">
                  <c:v>0.8911057162250777</c:v>
                </c:pt>
                <c:pt idx="20">
                  <c:v>0.9030556551213932</c:v>
                </c:pt>
                <c:pt idx="21">
                  <c:v>0.9138498709074093</c:v>
                </c:pt>
                <c:pt idx="22">
                  <c:v>0.9242070361765008</c:v>
                </c:pt>
                <c:pt idx="23">
                  <c:v>0.9326027880520165</c:v>
                </c:pt>
                <c:pt idx="24">
                  <c:v>0.9406909531589431</c:v>
                </c:pt>
                <c:pt idx="25">
                  <c:v>0.9466385027149616</c:v>
                </c:pt>
                <c:pt idx="26">
                  <c:v>0.9521832725315891</c:v>
                </c:pt>
                <c:pt idx="27">
                  <c:v>0.957576538042574</c:v>
                </c:pt>
                <c:pt idx="28">
                  <c:v>0.9627341919580152</c:v>
                </c:pt>
                <c:pt idx="29">
                  <c:v>0.9675885429520591</c:v>
                </c:pt>
                <c:pt idx="30">
                  <c:v>0.9724221941348636</c:v>
                </c:pt>
                <c:pt idx="31">
                  <c:v>0.9771984221446252</c:v>
                </c:pt>
                <c:pt idx="32">
                  <c:v>0.9805051270620141</c:v>
                </c:pt>
                <c:pt idx="33">
                  <c:v>0.9836713152512904</c:v>
                </c:pt>
                <c:pt idx="34">
                  <c:v>0.9866504203124465</c:v>
                </c:pt>
                <c:pt idx="35">
                  <c:v>0.9890355094633942</c:v>
                </c:pt>
                <c:pt idx="36">
                  <c:v>0.9911450589468817</c:v>
                </c:pt>
                <c:pt idx="37">
                  <c:v>0.9931505207539477</c:v>
                </c:pt>
                <c:pt idx="38">
                  <c:v>0.9950392395497589</c:v>
                </c:pt>
                <c:pt idx="39">
                  <c:v>0.9965987888354045</c:v>
                </c:pt>
                <c:pt idx="40">
                  <c:v>0.9978187042513322</c:v>
                </c:pt>
                <c:pt idx="41">
                  <c:v>0.998470372242449</c:v>
                </c:pt>
                <c:pt idx="42">
                  <c:v>0.999118737420082</c:v>
                </c:pt>
                <c:pt idx="43">
                  <c:v>0.9995322104268904</c:v>
                </c:pt>
                <c:pt idx="44">
                  <c:v>0.9997462719819813</c:v>
                </c:pt>
                <c:pt idx="45">
                  <c:v>0.9998433616179521</c:v>
                </c:pt>
                <c:pt idx="46">
                  <c:v>0.9999105624269518</c:v>
                </c:pt>
                <c:pt idx="47">
                  <c:v>0.9999878351820205</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49</c:f>
              <c:strCache>
                <c:ptCount val="48"/>
                <c:pt idx="0">
                  <c:v>La Vache Qui Rit Nature Fromage Fondu Boite Ronde 1X512Gr 32P</c:v>
                </c:pt>
                <c:pt idx="1">
                  <c:v>Mini Babybel Rouge Filet St Paulin Ferme 1X264Gr 12P</c:v>
                </c:pt>
                <c:pt idx="2">
                  <c:v>La Vache Qui Rit Nature Fromage Fondu Boite Ronde 1X384Gr 24P</c:v>
                </c:pt>
                <c:pt idx="3">
                  <c:v>La Vache Qui Rit Nature Fromage Fondu Boite Ronde 1X192Gr 12P</c:v>
                </c:pt>
                <c:pt idx="4">
                  <c:v>Mini Babybel Rouge Filet St Paulin Ferme 1X132Gr 6P</c:v>
                </c:pt>
                <c:pt idx="5">
                  <c:v>Kiri Creme Fromage Blanc Frais Carre 1X432Gr 24P</c:v>
                </c:pt>
                <c:pt idx="6">
                  <c:v>Kiri Creme Fromage Blanc Frais Carre 1X216Gr 12P</c:v>
                </c:pt>
                <c:pt idx="7">
                  <c:v>Boursin Classique Fromage Frais A Tartiner Afh 1X160Gr 10P</c:v>
                </c:pt>
                <c:pt idx="8">
                  <c:v>Kiri Creme Fromage Blanc Frais Carre 1X144Gr 8P</c:v>
                </c:pt>
                <c:pt idx="9">
                  <c:v>Boursin Classique Fromage Frais A Tartiner Afh Boite 1X150Gr 1P</c:v>
                </c:pt>
                <c:pt idx="10">
                  <c:v>Boursin Classique Fromage Frais A Tartiner Afh Boite 1X250Gr 1P</c:v>
                </c:pt>
                <c:pt idx="11">
                  <c:v>Kiri Gouter Fromage Blanc Dips Boite 1X175Gr 5P</c:v>
                </c:pt>
                <c:pt idx="12">
                  <c:v>Mini Babybel Rouge Filet Soft Cheese Enfant 352G</c:v>
                </c:pt>
                <c:pt idx="13">
                  <c:v>Boursin Salade &amp; Aperitif Fromage Frais Des Afh 1X120Gr 1P</c:v>
                </c:pt>
                <c:pt idx="14">
                  <c:v>Mini Babybel Rouge Filet St Paulin Ferme 1X440Gr 20P</c:v>
                </c:pt>
                <c:pt idx="15">
                  <c:v>Kiri Gouter Fromage Blanc Dips Boite 1X280Gr 8P</c:v>
                </c:pt>
                <c:pt idx="16">
                  <c:v>La Vache Qui Rit Nature Fromage Fondu Boite Ronde 1X128Gr 8P</c:v>
                </c:pt>
                <c:pt idx="17">
                  <c:v>La Vache Qui Rit Pik Et Croq' Fromage Fondu Dips Boite 1X175Gr 5P</c:v>
                </c:pt>
                <c:pt idx="18">
                  <c:v>Boursin Classique Fromage Frais A Tartiner Afh Boite 1X96Gr 6P</c:v>
                </c:pt>
                <c:pt idx="19">
                  <c:v>La Vache Qui Rit Nature Fromage Fondu Boite Ronde 1X512Gr 24+8P</c:v>
                </c:pt>
                <c:pt idx="20">
                  <c:v>Kiri Creme Fromage Blanc Frais Carre 1X432Gr 18+6P</c:v>
                </c:pt>
                <c:pt idx="21">
                  <c:v>Boursin Onctueux Fromage Frais A Tartiner Afh 1X125Gr 1P</c:v>
                </c:pt>
                <c:pt idx="22">
                  <c:v>Boursin Classique Fromage Frais A Tartiner Ciboulette &amp; Echalote Boite 1X150Gr 1P</c:v>
                </c:pt>
                <c:pt idx="23">
                  <c:v>Mini Babybel Aros St Paulin Ferme Assortis Filet 1X180Gr 9P</c:v>
                </c:pt>
                <c:pt idx="24">
                  <c:v>Mini Babybel Rouge Filet St Paulin Ferme 1X396Gr 12+6P</c:v>
                </c:pt>
                <c:pt idx="25">
                  <c:v>Boursin Salade &amp; Aperitif Fromage Frais Des Figue Noix 1X120Gr 1P</c:v>
                </c:pt>
                <c:pt idx="26">
                  <c:v>Boursin Salade &amp; Aperitif Fromage Frais Des Ciboulette Echalote 1X120Gr 1P</c:v>
                </c:pt>
                <c:pt idx="27">
                  <c:v>Babybel Mini Rolls St Paulin Ferme Sachet 1X85Gr 5P</c:v>
                </c:pt>
                <c:pt idx="28">
                  <c:v>Kiri Bio Fromage Blanc Frais Carre 1X144Gr 8P</c:v>
                </c:pt>
                <c:pt idx="29">
                  <c:v>Kiri Delicieusement Fouette Fromage Frais A Tartiner 1X160Gr 10P</c:v>
                </c:pt>
                <c:pt idx="30">
                  <c:v>Kiri Delicieusement Fouette Fromage Frais A Tartiner 1X210Gr 1P</c:v>
                </c:pt>
                <c:pt idx="31">
                  <c:v>Kiri Delicieusement Fouette Fromage Frais A Tartiner 1X125Gr 1P</c:v>
                </c:pt>
                <c:pt idx="32">
                  <c:v>Mini Babybel Aros Soft Cheese Enfant 180G</c:v>
                </c:pt>
                <c:pt idx="33">
                  <c:v>La Vache Qui Rit Allegee Fromage Fondu Boite Ronde Allege 1X267Gr 16P</c:v>
                </c:pt>
                <c:pt idx="34">
                  <c:v>Boursin Salade &amp; Aperitif Fromage Frais Des Citron Romarin 1X120Gr 1P</c:v>
                </c:pt>
                <c:pt idx="35">
                  <c:v>Boursin Classique Fromage Frais A Tartiner Figue Et 3 Noix Boite 1X150Gr 1P</c:v>
                </c:pt>
                <c:pt idx="36">
                  <c:v>Boursin Salade &amp; Aperitif Soft Cheese Salade 120G</c:v>
                </c:pt>
                <c:pt idx="37">
                  <c:v>Boursin Salade &amp; Aperitif Fromage Frais Des Noisette Et 3 Noix 1X120Gr 1P</c:v>
                </c:pt>
                <c:pt idx="38">
                  <c:v>Mini Babybel Aros Soft Cheese Enfant 110G</c:v>
                </c:pt>
                <c:pt idx="39">
                  <c:v>La Vache Qui Rit Bio Fromage Fondu Boite Ronde 1X128Gr 8P</c:v>
                </c:pt>
                <c:pt idx="40">
                  <c:v>Boursin Classique Fromage Frais A Tartiner 3 Noix Boite 1X150Gr 1P</c:v>
                </c:pt>
                <c:pt idx="41">
                  <c:v>Boursin Classique Fromage Frais A Tartiner 3 Noix 1X160Gr 10P</c:v>
                </c:pt>
                <c:pt idx="42">
                  <c:v>Boursin Classique Fromage Frais A Tartiner Afh Boite 1X320Gr 16+4P</c:v>
                </c:pt>
                <c:pt idx="43">
                  <c:v>Boursin Classique Fromage Frais A Tartiner Truffe Boite 1X150Gr 1P</c:v>
                </c:pt>
                <c:pt idx="44">
                  <c:v>Mini Babybel Rouge Filet St Paulin Ferme Sachet 1X40Gr 1P</c:v>
                </c:pt>
                <c:pt idx="45">
                  <c:v>Boursin Onctueux Fromage Frais A Tartiner Afh 1X210Gr 1P</c:v>
                </c:pt>
                <c:pt idx="46">
                  <c:v>Kiri Chevre Fromage Blanc Frais Carre 1X144Gr 8P</c:v>
                </c:pt>
                <c:pt idx="47">
                  <c:v>Boursin Classique Fromage Frais A Tartiner Ciboulette &amp; Echalote 1X160Gr 10P</c:v>
                </c:pt>
              </c:strCache>
            </c:strRef>
          </c:cat>
          <c:val>
            <c:numRef>
              <c:f>Sheet1!$D$2:$D$49</c:f>
              <c:numCache>
                <c:formatCode>General</c:formatCode>
                <c:ptCount val="48"/>
                <c:pt idx="0">
                  <c:v>36882.89898989899</c:v>
                </c:pt>
                <c:pt idx="1">
                  <c:v>35204.44</c:v>
                </c:pt>
                <c:pt idx="2">
                  <c:v>23908.927083333332</c:v>
                </c:pt>
                <c:pt idx="3">
                  <c:v>19283.141414141413</c:v>
                </c:pt>
                <c:pt idx="4">
                  <c:v>19083.50505050505</c:v>
                </c:pt>
                <c:pt idx="5">
                  <c:v>21137.0</c:v>
                </c:pt>
                <c:pt idx="6">
                  <c:v>16372.639175257733</c:v>
                </c:pt>
                <c:pt idx="7">
                  <c:v>12114.479591836734</c:v>
                </c:pt>
                <c:pt idx="8">
                  <c:v>11937.040404040405</c:v>
                </c:pt>
                <c:pt idx="9">
                  <c:v>11147.282828282829</c:v>
                </c:pt>
                <c:pt idx="10">
                  <c:v>10084.61052631579</c:v>
                </c:pt>
                <c:pt idx="11">
                  <c:v>9403.747474747475</c:v>
                </c:pt>
                <c:pt idx="12">
                  <c:v>8093.117021276596</c:v>
                </c:pt>
                <c:pt idx="13">
                  <c:v>7616.333333333333</c:v>
                </c:pt>
                <c:pt idx="14">
                  <c:v>7824.229166666667</c:v>
                </c:pt>
                <c:pt idx="15">
                  <c:v>9956.643835616438</c:v>
                </c:pt>
                <c:pt idx="16">
                  <c:v>9583.09090909091</c:v>
                </c:pt>
                <c:pt idx="17">
                  <c:v>6300.711340206186</c:v>
                </c:pt>
                <c:pt idx="18">
                  <c:v>5526.197802197802</c:v>
                </c:pt>
                <c:pt idx="19">
                  <c:v>6125.961538461538</c:v>
                </c:pt>
                <c:pt idx="20">
                  <c:v>5146.887323943662</c:v>
                </c:pt>
                <c:pt idx="21">
                  <c:v>3883.3764705882354</c:v>
                </c:pt>
                <c:pt idx="22">
                  <c:v>3558.674157303371</c:v>
                </c:pt>
                <c:pt idx="23">
                  <c:v>3831.9701492537315</c:v>
                </c:pt>
                <c:pt idx="24">
                  <c:v>3053.5308641975307</c:v>
                </c:pt>
                <c:pt idx="25">
                  <c:v>1998.6373626373627</c:v>
                </c:pt>
                <c:pt idx="26">
                  <c:v>1784.8315789473684</c:v>
                </c:pt>
                <c:pt idx="27">
                  <c:v>3665.0222222222224</c:v>
                </c:pt>
                <c:pt idx="28">
                  <c:v>3755.2619047619046</c:v>
                </c:pt>
                <c:pt idx="29">
                  <c:v>2356.285714285714</c:v>
                </c:pt>
                <c:pt idx="30">
                  <c:v>2737.277777777778</c:v>
                </c:pt>
                <c:pt idx="31">
                  <c:v>2355.7580645161293</c:v>
                </c:pt>
                <c:pt idx="32">
                  <c:v>1532.1060606060605</c:v>
                </c:pt>
                <c:pt idx="33">
                  <c:v>3586.0</c:v>
                </c:pt>
                <c:pt idx="34">
                  <c:v>1265.2916666666667</c:v>
                </c:pt>
                <c:pt idx="35">
                  <c:v>1122.0923076923077</c:v>
                </c:pt>
                <c:pt idx="36">
                  <c:v>908.5915492957746</c:v>
                </c:pt>
                <c:pt idx="37">
                  <c:v>776.2911392405064</c:v>
                </c:pt>
                <c:pt idx="38">
                  <c:v>1013.2807017543861</c:v>
                </c:pt>
                <c:pt idx="39">
                  <c:v>1907.64</c:v>
                </c:pt>
                <c:pt idx="40">
                  <c:v>611.5573770491803</c:v>
                </c:pt>
                <c:pt idx="41">
                  <c:v>486.0487804878049</c:v>
                </c:pt>
                <c:pt idx="42">
                  <c:v>535.8648648648649</c:v>
                </c:pt>
                <c:pt idx="43">
                  <c:v>247.92156862745097</c:v>
                </c:pt>
                <c:pt idx="44">
                  <c:v>1091.0</c:v>
                </c:pt>
                <c:pt idx="45">
                  <c:v>989.6666666666666</c:v>
                </c:pt>
                <c:pt idx="46">
                  <c:v>685.0</c:v>
                </c:pt>
                <c:pt idx="47">
                  <c:v>101.66666666666667</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27</c:f>
              <c:strCache>
                <c:ptCount val="26"/>
                <c:pt idx="0">
                  <c:v>Mini Babybel Rouge Filet St Paulin Ferme 1X132Gr 6P</c:v>
                </c:pt>
                <c:pt idx="1">
                  <c:v>La Vache Qui Rit Nature Fromage Fondu Boite Ronde 1X192Gr 12P</c:v>
                </c:pt>
                <c:pt idx="2">
                  <c:v>Kiri Creme Fromage Blanc Frais Carre 1X144Gr 8P</c:v>
                </c:pt>
                <c:pt idx="3">
                  <c:v>La Vache Qui Rit Nature Fromage Fondu Boite Ronde 1X384Gr 24P</c:v>
                </c:pt>
                <c:pt idx="4">
                  <c:v>Boursin Classique Fromage Frais A Tartiner Afh Boite 1X150Gr 1P</c:v>
                </c:pt>
                <c:pt idx="5">
                  <c:v>Kiri Gouter Fromage Blanc Dips Boite 1X175Gr 5P</c:v>
                </c:pt>
                <c:pt idx="6">
                  <c:v>Boursin Classique Fromage Frais A Tartiner Afh 1X160Gr 10P</c:v>
                </c:pt>
                <c:pt idx="7">
                  <c:v>Boursin Salade &amp; Aperitif Fromage Frais Des Afh 1X120Gr 1P</c:v>
                </c:pt>
                <c:pt idx="8">
                  <c:v>La Vache Qui Rit Pik Et Croq' Fromage Fondu Dips Boite 1X175Gr 5P</c:v>
                </c:pt>
                <c:pt idx="9">
                  <c:v>Mini Babybel Rouge Filet St Paulin Ferme 1X264Gr 12P</c:v>
                </c:pt>
                <c:pt idx="10">
                  <c:v>Kiri Delicieusement Fouette Fromage Frais A Tartiner 1X125Gr 1P</c:v>
                </c:pt>
                <c:pt idx="11">
                  <c:v>La Vache Qui Rit Nature Fromage Fondu Boite Ronde 1X128Gr 8P</c:v>
                </c:pt>
                <c:pt idx="12">
                  <c:v>Kiri Delicieusement Fouette Fromage Frais A Tartiner 1X160Gr 10P</c:v>
                </c:pt>
                <c:pt idx="13">
                  <c:v>Boursin Classique Fromage Frais A Tartiner Ciboulette &amp; Echalote Boite 1X150Gr 1P</c:v>
                </c:pt>
                <c:pt idx="14">
                  <c:v>Boursin Classique Fromage Frais A Tartiner Afh Boite 1X96Gr 6P</c:v>
                </c:pt>
                <c:pt idx="15">
                  <c:v>Mini Babybel Aros St Paulin Ferme Raclette Filet 1X132Gr 6P</c:v>
                </c:pt>
                <c:pt idx="16">
                  <c:v>Kiri Creme Fromage Blanc Frais Carre 1X216Gr 12P</c:v>
                </c:pt>
                <c:pt idx="17">
                  <c:v>Babybel Mini Rolls St Paulin Ferme Sachet 1X85Gr 5P</c:v>
                </c:pt>
                <c:pt idx="18">
                  <c:v>La Vache Qui Rit Bio Fromage Fondu Boite Ronde 1X128Gr 8P</c:v>
                </c:pt>
                <c:pt idx="19">
                  <c:v>Mini Babybel Rouge Filet St Paulin Ferme Sachet 1X40Gr 1P</c:v>
                </c:pt>
                <c:pt idx="20">
                  <c:v>La Vache Qui Rit Pik Et Croq' Fromage Fondu Dips Boite 1X35Gr 1P</c:v>
                </c:pt>
                <c:pt idx="21">
                  <c:v>Boursin Classique Fromage Frais A Tartiner Afh Boite 1X80Gr 1P</c:v>
                </c:pt>
                <c:pt idx="22">
                  <c:v>Kiri Gouter Fromage Blanc Dips Boite 1X280Gr 8P</c:v>
                </c:pt>
                <c:pt idx="23">
                  <c:v>Mini Babybel Aros Soft Cheese Enfant 180G</c:v>
                </c:pt>
                <c:pt idx="24">
                  <c:v>Mini Babybel Bio St Paulin Ferme Filet 1X100Gr 5P</c:v>
                </c:pt>
                <c:pt idx="25">
                  <c:v>Boursin Classique Fromage Frais A Tartiner Truffe Boite 1X150Gr 1P</c:v>
                </c:pt>
              </c:strCache>
            </c:strRef>
          </c:cat>
          <c:val>
            <c:numRef>
              <c:f>Sheet1!$B$2:$B$27</c:f>
              <c:numCache>
                <c:formatCode>General</c:formatCode>
                <c:ptCount val="26"/>
                <c:pt idx="0">
                  <c:v>0.96</c:v>
                </c:pt>
                <c:pt idx="1">
                  <c:v>0.91</c:v>
                </c:pt>
                <c:pt idx="2">
                  <c:v>0.96</c:v>
                </c:pt>
                <c:pt idx="3">
                  <c:v>0.47</c:v>
                </c:pt>
                <c:pt idx="4">
                  <c:v>0.83</c:v>
                </c:pt>
                <c:pt idx="5">
                  <c:v>0.71</c:v>
                </c:pt>
                <c:pt idx="6">
                  <c:v>0.53</c:v>
                </c:pt>
                <c:pt idx="7">
                  <c:v>0.79</c:v>
                </c:pt>
                <c:pt idx="8">
                  <c:v>0.51</c:v>
                </c:pt>
                <c:pt idx="9">
                  <c:v>0.2</c:v>
                </c:pt>
                <c:pt idx="10">
                  <c:v>0.56</c:v>
                </c:pt>
                <c:pt idx="11">
                  <c:v>0.09</c:v>
                </c:pt>
                <c:pt idx="12">
                  <c:v>0.27</c:v>
                </c:pt>
                <c:pt idx="13">
                  <c:v>0.08</c:v>
                </c:pt>
                <c:pt idx="14">
                  <c:v>0.12</c:v>
                </c:pt>
                <c:pt idx="15">
                  <c:v>0.13</c:v>
                </c:pt>
                <c:pt idx="16">
                  <c:v>0.06</c:v>
                </c:pt>
                <c:pt idx="17">
                  <c:v>0.17</c:v>
                </c:pt>
                <c:pt idx="18">
                  <c:v>0.08</c:v>
                </c:pt>
                <c:pt idx="19">
                  <c:v>0.06</c:v>
                </c:pt>
                <c:pt idx="20">
                  <c:v>0.05</c:v>
                </c:pt>
                <c:pt idx="21">
                  <c:v>0.11</c:v>
                </c:pt>
                <c:pt idx="22">
                  <c:v>0.02</c:v>
                </c:pt>
                <c:pt idx="23">
                  <c:v>0.05</c:v>
                </c:pt>
                <c:pt idx="24">
                  <c:v>0.06</c:v>
                </c:pt>
                <c:pt idx="25">
                  <c:v>0.1</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7ECAC4"/>
              </a:solidFill>
            </c:spPr>
            <c:extLst>
              <c:ext xmlns:c16="http://schemas.microsoft.com/office/drawing/2014/chart" uri="{C3380CC4-5D6E-409C-BE32-E72D297353CC}">
                <c16:uniqueId val="{0000000F-FA3E-4872-B6E1-C4ABDF5766E2}"/>
              </c:ext>
            </c:extLst>
          </c:dPt>
          <c:dPt>
            <c:idx val="7"/>
            <c:invertIfNegative val="1"/>
            <c:bubble3D val="0"/>
            <c:spPr>
              <a:solidFill>
                <a:srgbClr val="7ECAC4"/>
              </a:solidFill>
            </c:spPr>
            <c:extLst>
              <c:ext xmlns:c16="http://schemas.microsoft.com/office/drawing/2014/chart" uri="{C3380CC4-5D6E-409C-BE32-E72D297353CC}">
                <c16:uniqueId val="{00000011-FA3E-4872-B6E1-C4ABDF5766E2}"/>
              </c:ext>
            </c:extLst>
          </c:dPt>
          <c:dPt>
            <c:idx val="8"/>
            <c:invertIfNegative val="1"/>
            <c:bubble3D val="0"/>
            <c:spPr>
              <a:solidFill>
                <a:srgbClr val="7ECAC4"/>
              </a:solidFill>
            </c:spPr>
            <c:extLst>
              <c:ext xmlns:c16="http://schemas.microsoft.com/office/drawing/2014/chart" uri="{C3380CC4-5D6E-409C-BE32-E72D297353CC}">
                <c16:uniqueId val="{00000013-FA3E-4872-B6E1-C4ABDF5766E2}"/>
              </c:ext>
            </c:extLst>
          </c:dPt>
          <c:dPt>
            <c:idx val="9"/>
            <c:invertIfNegative val="1"/>
            <c:bubble3D val="0"/>
            <c:spPr>
              <a:solidFill>
                <a:srgbClr val="7ECAC4"/>
              </a:solidFill>
            </c:spPr>
            <c:extLst>
              <c:ext xmlns:c16="http://schemas.microsoft.com/office/drawing/2014/chart" uri="{C3380CC4-5D6E-409C-BE32-E72D297353CC}">
                <c16:uniqueId val="{00000015-FA3E-4872-B6E1-C4ABDF5766E2}"/>
              </c:ext>
            </c:extLst>
          </c:dPt>
          <c:dPt>
            <c:idx val="10"/>
            <c:invertIfNegative val="1"/>
            <c:bubble3D val="0"/>
            <c:spPr>
              <a:solidFill>
                <a:srgbClr val="AEABAB"/>
              </a:solidFill>
            </c:spPr>
            <c:extLst>
              <c:ext xmlns:c16="http://schemas.microsoft.com/office/drawing/2014/chart" uri="{C3380CC4-5D6E-409C-BE32-E72D297353CC}">
                <c16:uniqueId val="{00000017-FA3E-4872-B6E1-C4ABDF5766E2}"/>
              </c:ext>
            </c:extLst>
          </c:dPt>
          <c:dPt>
            <c:idx val="11"/>
            <c:invertIfNegative val="1"/>
            <c:bubble3D val="0"/>
            <c:spPr>
              <a:solidFill>
                <a:srgbClr val="AEABAB"/>
              </a:solidFill>
            </c:spPr>
            <c:extLst>
              <c:ext xmlns:c16="http://schemas.microsoft.com/office/drawing/2014/chart" uri="{C3380CC4-5D6E-409C-BE32-E72D297353CC}">
                <c16:uniqueId val="{00000019-FA3E-4872-B6E1-C4ABDF5766E2}"/>
              </c:ext>
            </c:extLst>
          </c:dPt>
          <c:dPt>
            <c:idx val="12"/>
            <c:invertIfNegative val="1"/>
            <c:bubble3D val="0"/>
            <c:spPr>
              <a:solidFill>
                <a:srgbClr val="AEABAB"/>
              </a:solidFill>
            </c:spPr>
            <c:extLst>
              <c:ext xmlns:c16="http://schemas.microsoft.com/office/drawing/2014/chart" uri="{C3380CC4-5D6E-409C-BE32-E72D297353CC}">
                <c16:uniqueId val="{0000001B-FA3E-4872-B6E1-C4ABDF5766E2}"/>
              </c:ext>
            </c:extLst>
          </c:dPt>
          <c:dPt>
            <c:idx val="13"/>
            <c:invertIfNegative val="1"/>
            <c:bubble3D val="0"/>
            <c:spPr>
              <a:solidFill>
                <a:srgbClr val="AEABAB"/>
              </a:solidFill>
            </c:spPr>
            <c:extLst>
              <c:ext xmlns:c16="http://schemas.microsoft.com/office/drawing/2014/chart" uri="{C3380CC4-5D6E-409C-BE32-E72D297353CC}">
                <c16:uniqueId val="{0000001D-FA3E-4872-B6E1-C4ABDF5766E2}"/>
              </c:ext>
            </c:extLst>
          </c:dPt>
          <c:dPt>
            <c:idx val="14"/>
            <c:invertIfNegative val="1"/>
            <c:bubble3D val="0"/>
            <c:spPr>
              <a:solidFill>
                <a:srgbClr val="AEABAB"/>
              </a:solidFill>
            </c:spPr>
            <c:extLst>
              <c:ext xmlns:c16="http://schemas.microsoft.com/office/drawing/2014/chart" uri="{C3380CC4-5D6E-409C-BE32-E72D297353CC}">
                <c16:uniqueId val="{0000001F-FA3E-4872-B6E1-C4ABDF5766E2}"/>
              </c:ext>
            </c:extLst>
          </c:dPt>
          <c:dPt>
            <c:idx val="15"/>
            <c:invertIfNegative val="1"/>
            <c:bubble3D val="0"/>
            <c:spPr>
              <a:solidFill>
                <a:srgbClr val="AEABAB"/>
              </a:solidFill>
            </c:spPr>
            <c:extLst>
              <c:ext xmlns:c16="http://schemas.microsoft.com/office/drawing/2014/chart" uri="{C3380CC4-5D6E-409C-BE32-E72D297353CC}">
                <c16:uniqueId val="{00000021-FA3E-4872-B6E1-C4ABDF5766E2}"/>
              </c:ext>
            </c:extLst>
          </c:dPt>
          <c:dPt>
            <c:idx val="16"/>
            <c:invertIfNegative val="1"/>
            <c:bubble3D val="0"/>
            <c:spPr>
              <a:solidFill>
                <a:srgbClr val="AEABAB"/>
              </a:solidFill>
            </c:spPr>
            <c:extLst>
              <c:ext xmlns:c16="http://schemas.microsoft.com/office/drawing/2014/chart" uri="{C3380CC4-5D6E-409C-BE32-E72D297353CC}">
                <c16:uniqueId val="{00000023-FA3E-4872-B6E1-C4ABDF5766E2}"/>
              </c:ext>
            </c:extLst>
          </c:dPt>
          <c:dPt>
            <c:idx val="17"/>
            <c:invertIfNegative val="1"/>
            <c:bubble3D val="0"/>
            <c:spPr>
              <a:solidFill>
                <a:srgbClr val="AEABAB"/>
              </a:solidFill>
            </c:spPr>
            <c:extLst>
              <c:ext xmlns:c16="http://schemas.microsoft.com/office/drawing/2014/chart" uri="{C3380CC4-5D6E-409C-BE32-E72D297353CC}">
                <c16:uniqueId val="{00000025-FA3E-4872-B6E1-C4ABDF5766E2}"/>
              </c:ext>
            </c:extLst>
          </c:dPt>
          <c:dPt>
            <c:idx val="18"/>
            <c:invertIfNegative val="1"/>
            <c:bubble3D val="0"/>
            <c:spPr>
              <a:solidFill>
                <a:srgbClr val="AEABAB"/>
              </a:solidFill>
            </c:spPr>
            <c:extLst>
              <c:ext xmlns:c16="http://schemas.microsoft.com/office/drawing/2014/chart" uri="{C3380CC4-5D6E-409C-BE32-E72D297353CC}">
                <c16:uniqueId val="{00000027-FA3E-4872-B6E1-C4ABDF5766E2}"/>
              </c:ext>
            </c:extLst>
          </c:dPt>
          <c:dPt>
            <c:idx val="19"/>
            <c:invertIfNegative val="1"/>
            <c:bubble3D val="0"/>
            <c:spPr>
              <a:solidFill>
                <a:srgbClr val="AEABAB"/>
              </a:solidFill>
            </c:spPr>
            <c:extLst>
              <c:ext xmlns:c16="http://schemas.microsoft.com/office/drawing/2014/chart" uri="{C3380CC4-5D6E-409C-BE32-E72D297353CC}">
                <c16:uniqueId val="{00000029-FA3E-4872-B6E1-C4ABDF5766E2}"/>
              </c:ext>
            </c:extLst>
          </c:dPt>
          <c:dPt>
            <c:idx val="20"/>
            <c:invertIfNegative val="1"/>
            <c:bubble3D val="0"/>
            <c:spPr>
              <a:solidFill>
                <a:srgbClr val="AEABAB"/>
              </a:solidFill>
            </c:spPr>
            <c:extLst>
              <c:ext xmlns:c16="http://schemas.microsoft.com/office/drawing/2014/chart" uri="{C3380CC4-5D6E-409C-BE32-E72D297353CC}">
                <c16:uniqueId val="{0000002B-FA3E-4872-B6E1-C4ABDF5766E2}"/>
              </c:ext>
            </c:extLst>
          </c:dPt>
          <c:dPt>
            <c:idx val="21"/>
            <c:invertIfNegative val="1"/>
            <c:bubble3D val="0"/>
            <c:spPr>
              <a:solidFill>
                <a:srgbClr val="AEABAB"/>
              </a:solidFill>
            </c:spPr>
            <c:extLst>
              <c:ext xmlns:c16="http://schemas.microsoft.com/office/drawing/2014/chart" uri="{C3380CC4-5D6E-409C-BE32-E72D297353CC}">
                <c16:uniqueId val="{0000002D-FA3E-4872-B6E1-C4ABDF5766E2}"/>
              </c:ext>
            </c:extLst>
          </c:dPt>
          <c:dPt>
            <c:idx val="22"/>
            <c:invertIfNegative val="1"/>
            <c:bubble3D val="0"/>
            <c:spPr>
              <a:solidFill>
                <a:srgbClr val="AEABAB"/>
              </a:solidFill>
            </c:spPr>
            <c:extLst>
              <c:ext xmlns:c16="http://schemas.microsoft.com/office/drawing/2014/chart" uri="{C3380CC4-5D6E-409C-BE32-E72D297353CC}">
                <c16:uniqueId val="{0000002F-FA3E-4872-B6E1-C4ABDF5766E2}"/>
              </c:ext>
            </c:extLst>
          </c:dPt>
          <c:dPt>
            <c:idx val="23"/>
            <c:invertIfNegative val="1"/>
            <c:bubble3D val="0"/>
            <c:spPr>
              <a:solidFill>
                <a:srgbClr val="AEABAB"/>
              </a:solidFill>
            </c:spPr>
            <c:extLst>
              <c:ext xmlns:c16="http://schemas.microsoft.com/office/drawing/2014/chart" uri="{C3380CC4-5D6E-409C-BE32-E72D297353CC}">
                <c16:uniqueId val="{00000031-FA3E-4872-B6E1-C4ABDF5766E2}"/>
              </c:ext>
            </c:extLst>
          </c:dPt>
          <c:dPt>
            <c:idx val="24"/>
            <c:invertIfNegative val="1"/>
            <c:bubble3D val="0"/>
            <c:spPr>
              <a:solidFill>
                <a:srgbClr val="AEABAB"/>
              </a:solidFill>
            </c:spPr>
            <c:extLst>
              <c:ext xmlns:c16="http://schemas.microsoft.com/office/drawing/2014/chart" uri="{C3380CC4-5D6E-409C-BE32-E72D297353CC}">
                <c16:uniqueId val="{00000033-FA3E-4872-B6E1-C4ABDF5766E2}"/>
              </c:ext>
            </c:extLst>
          </c:dPt>
          <c:dPt>
            <c:idx val="25"/>
            <c:invertIfNegative val="1"/>
            <c:bubble3D val="0"/>
            <c:spPr>
              <a:solidFill>
                <a:srgbClr val="AEABAB"/>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27</c:f>
              <c:strCache>
                <c:ptCount val="26"/>
                <c:pt idx="0">
                  <c:v>Mini Babybel Rouge Filet St Paulin Ferme 1X132Gr 6P</c:v>
                </c:pt>
                <c:pt idx="1">
                  <c:v>La Vache Qui Rit Nature Fromage Fondu Boite Ronde 1X192Gr 12P</c:v>
                </c:pt>
                <c:pt idx="2">
                  <c:v>Kiri Creme Fromage Blanc Frais Carre 1X144Gr 8P</c:v>
                </c:pt>
                <c:pt idx="3">
                  <c:v>La Vache Qui Rit Nature Fromage Fondu Boite Ronde 1X384Gr 24P</c:v>
                </c:pt>
                <c:pt idx="4">
                  <c:v>Boursin Classique Fromage Frais A Tartiner Afh Boite 1X150Gr 1P</c:v>
                </c:pt>
                <c:pt idx="5">
                  <c:v>Kiri Gouter Fromage Blanc Dips Boite 1X175Gr 5P</c:v>
                </c:pt>
                <c:pt idx="6">
                  <c:v>Boursin Classique Fromage Frais A Tartiner Afh 1X160Gr 10P</c:v>
                </c:pt>
                <c:pt idx="7">
                  <c:v>Boursin Salade &amp; Aperitif Fromage Frais Des Afh 1X120Gr 1P</c:v>
                </c:pt>
                <c:pt idx="8">
                  <c:v>La Vache Qui Rit Pik Et Croq' Fromage Fondu Dips Boite 1X175Gr 5P</c:v>
                </c:pt>
                <c:pt idx="9">
                  <c:v>Mini Babybel Rouge Filet St Paulin Ferme 1X264Gr 12P</c:v>
                </c:pt>
                <c:pt idx="10">
                  <c:v>Kiri Delicieusement Fouette Fromage Frais A Tartiner 1X125Gr 1P</c:v>
                </c:pt>
                <c:pt idx="11">
                  <c:v>La Vache Qui Rit Nature Fromage Fondu Boite Ronde 1X128Gr 8P</c:v>
                </c:pt>
                <c:pt idx="12">
                  <c:v>Kiri Delicieusement Fouette Fromage Frais A Tartiner 1X160Gr 10P</c:v>
                </c:pt>
                <c:pt idx="13">
                  <c:v>Boursin Classique Fromage Frais A Tartiner Ciboulette &amp; Echalote Boite 1X150Gr 1P</c:v>
                </c:pt>
                <c:pt idx="14">
                  <c:v>Boursin Classique Fromage Frais A Tartiner Afh Boite 1X96Gr 6P</c:v>
                </c:pt>
                <c:pt idx="15">
                  <c:v>Mini Babybel Aros St Paulin Ferme Raclette Filet 1X132Gr 6P</c:v>
                </c:pt>
                <c:pt idx="16">
                  <c:v>Kiri Creme Fromage Blanc Frais Carre 1X216Gr 12P</c:v>
                </c:pt>
                <c:pt idx="17">
                  <c:v>Babybel Mini Rolls St Paulin Ferme Sachet 1X85Gr 5P</c:v>
                </c:pt>
                <c:pt idx="18">
                  <c:v>La Vache Qui Rit Bio Fromage Fondu Boite Ronde 1X128Gr 8P</c:v>
                </c:pt>
                <c:pt idx="19">
                  <c:v>Mini Babybel Rouge Filet St Paulin Ferme Sachet 1X40Gr 1P</c:v>
                </c:pt>
                <c:pt idx="20">
                  <c:v>La Vache Qui Rit Pik Et Croq' Fromage Fondu Dips Boite 1X35Gr 1P</c:v>
                </c:pt>
                <c:pt idx="21">
                  <c:v>Boursin Classique Fromage Frais A Tartiner Afh Boite 1X80Gr 1P</c:v>
                </c:pt>
                <c:pt idx="22">
                  <c:v>Kiri Gouter Fromage Blanc Dips Boite 1X280Gr 8P</c:v>
                </c:pt>
                <c:pt idx="23">
                  <c:v>Mini Babybel Aros Soft Cheese Enfant 180G</c:v>
                </c:pt>
                <c:pt idx="24">
                  <c:v>Mini Babybel Bio St Paulin Ferme Filet 1X100Gr 5P</c:v>
                </c:pt>
                <c:pt idx="25">
                  <c:v>Boursin Classique Fromage Frais A Tartiner Truffe Boite 1X150Gr 1P</c:v>
                </c:pt>
              </c:strCache>
            </c:strRef>
          </c:cat>
          <c:val>
            <c:numRef>
              <c:f>Sheet1!$C$2:$C$27</c:f>
              <c:numCache>
                <c:formatCode>General</c:formatCode>
                <c:ptCount val="26"/>
                <c:pt idx="0">
                  <c:v>0.21338262325414978</c:v>
                </c:pt>
                <c:pt idx="1">
                  <c:v>0.39919580049231895</c:v>
                </c:pt>
                <c:pt idx="2">
                  <c:v>0.5573371605465134</c:v>
                </c:pt>
                <c:pt idx="3">
                  <c:v>0.645909846686957</c:v>
                </c:pt>
                <c:pt idx="4">
                  <c:v>0.7344803233777316</c:v>
                </c:pt>
                <c:pt idx="5">
                  <c:v>0.7913056280842745</c:v>
                </c:pt>
                <c:pt idx="6">
                  <c:v>0.8381151626764228</c:v>
                </c:pt>
                <c:pt idx="7">
                  <c:v>0.8773198384611088</c:v>
                </c:pt>
                <c:pt idx="8">
                  <c:v>0.9069713895014717</c:v>
                </c:pt>
                <c:pt idx="9">
                  <c:v>0.9357290507681988</c:v>
                </c:pt>
                <c:pt idx="10">
                  <c:v>0.9594877986824448</c:v>
                </c:pt>
                <c:pt idx="11">
                  <c:v>0.9680335482837731</c:v>
                </c:pt>
                <c:pt idx="12">
                  <c:v>0.9756336534267961</c:v>
                </c:pt>
                <c:pt idx="13">
                  <c:v>0.9788463941044919</c:v>
                </c:pt>
                <c:pt idx="14">
                  <c:v>0.981766750942665</c:v>
                </c:pt>
                <c:pt idx="15">
                  <c:v>0.9846707712438919</c:v>
                </c:pt>
                <c:pt idx="16">
                  <c:v>0.9874037935313472</c:v>
                </c:pt>
                <c:pt idx="17">
                  <c:v>0.9897051027440962</c:v>
                </c:pt>
                <c:pt idx="18">
                  <c:v>0.9916111213251662</c:v>
                </c:pt>
                <c:pt idx="19">
                  <c:v>0.9932062100800985</c:v>
                </c:pt>
                <c:pt idx="20">
                  <c:v>0.994780342539686</c:v>
                </c:pt>
                <c:pt idx="21">
                  <c:v>0.9961905740056505</c:v>
                </c:pt>
                <c:pt idx="22">
                  <c:v>0.9971529567190234</c:v>
                </c:pt>
                <c:pt idx="23">
                  <c:v>0.9980751006672135</c:v>
                </c:pt>
                <c:pt idx="24">
                  <c:v>0.9988251753533076</c:v>
                </c:pt>
                <c:pt idx="25">
                  <c:v>0.9994369920525424</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27</c:f>
              <c:strCache>
                <c:ptCount val="26"/>
                <c:pt idx="0">
                  <c:v>Mini Babybel Rouge Filet St Paulin Ferme 1X132Gr 6P</c:v>
                </c:pt>
                <c:pt idx="1">
                  <c:v>La Vache Qui Rit Nature Fromage Fondu Boite Ronde 1X192Gr 12P</c:v>
                </c:pt>
                <c:pt idx="2">
                  <c:v>Kiri Creme Fromage Blanc Frais Carre 1X144Gr 8P</c:v>
                </c:pt>
                <c:pt idx="3">
                  <c:v>La Vache Qui Rit Nature Fromage Fondu Boite Ronde 1X384Gr 24P</c:v>
                </c:pt>
                <c:pt idx="4">
                  <c:v>Boursin Classique Fromage Frais A Tartiner Afh Boite 1X150Gr 1P</c:v>
                </c:pt>
                <c:pt idx="5">
                  <c:v>Kiri Gouter Fromage Blanc Dips Boite 1X175Gr 5P</c:v>
                </c:pt>
                <c:pt idx="6">
                  <c:v>Boursin Classique Fromage Frais A Tartiner Afh 1X160Gr 10P</c:v>
                </c:pt>
                <c:pt idx="7">
                  <c:v>Boursin Salade &amp; Aperitif Fromage Frais Des Afh 1X120Gr 1P</c:v>
                </c:pt>
                <c:pt idx="8">
                  <c:v>La Vache Qui Rit Pik Et Croq' Fromage Fondu Dips Boite 1X175Gr 5P</c:v>
                </c:pt>
                <c:pt idx="9">
                  <c:v>Mini Babybel Rouge Filet St Paulin Ferme 1X264Gr 12P</c:v>
                </c:pt>
                <c:pt idx="10">
                  <c:v>Kiri Delicieusement Fouette Fromage Frais A Tartiner 1X125Gr 1P</c:v>
                </c:pt>
                <c:pt idx="11">
                  <c:v>La Vache Qui Rit Nature Fromage Fondu Boite Ronde 1X128Gr 8P</c:v>
                </c:pt>
                <c:pt idx="12">
                  <c:v>Kiri Delicieusement Fouette Fromage Frais A Tartiner 1X160Gr 10P</c:v>
                </c:pt>
                <c:pt idx="13">
                  <c:v>Boursin Classique Fromage Frais A Tartiner Ciboulette &amp; Echalote Boite 1X150Gr 1P</c:v>
                </c:pt>
                <c:pt idx="14">
                  <c:v>Boursin Classique Fromage Frais A Tartiner Afh Boite 1X96Gr 6P</c:v>
                </c:pt>
                <c:pt idx="15">
                  <c:v>Mini Babybel Aros St Paulin Ferme Raclette Filet 1X132Gr 6P</c:v>
                </c:pt>
                <c:pt idx="16">
                  <c:v>Kiri Creme Fromage Blanc Frais Carre 1X216Gr 12P</c:v>
                </c:pt>
                <c:pt idx="17">
                  <c:v>Babybel Mini Rolls St Paulin Ferme Sachet 1X85Gr 5P</c:v>
                </c:pt>
                <c:pt idx="18">
                  <c:v>La Vache Qui Rit Bio Fromage Fondu Boite Ronde 1X128Gr 8P</c:v>
                </c:pt>
                <c:pt idx="19">
                  <c:v>Mini Babybel Rouge Filet St Paulin Ferme Sachet 1X40Gr 1P</c:v>
                </c:pt>
                <c:pt idx="20">
                  <c:v>La Vache Qui Rit Pik Et Croq' Fromage Fondu Dips Boite 1X35Gr 1P</c:v>
                </c:pt>
                <c:pt idx="21">
                  <c:v>Boursin Classique Fromage Frais A Tartiner Afh Boite 1X80Gr 1P</c:v>
                </c:pt>
                <c:pt idx="22">
                  <c:v>Kiri Gouter Fromage Blanc Dips Boite 1X280Gr 8P</c:v>
                </c:pt>
                <c:pt idx="23">
                  <c:v>Mini Babybel Aros Soft Cheese Enfant 180G</c:v>
                </c:pt>
                <c:pt idx="24">
                  <c:v>Mini Babybel Bio St Paulin Ferme Filet 1X100Gr 5P</c:v>
                </c:pt>
                <c:pt idx="25">
                  <c:v>Boursin Classique Fromage Frais A Tartiner Truffe Boite 1X150Gr 1P</c:v>
                </c:pt>
              </c:strCache>
            </c:strRef>
          </c:cat>
          <c:val>
            <c:numRef>
              <c:f>Sheet1!$D$2:$D$27</c:f>
              <c:numCache>
                <c:formatCode>General</c:formatCode>
                <c:ptCount val="26"/>
                <c:pt idx="0">
                  <c:v>33198.4375</c:v>
                </c:pt>
                <c:pt idx="1">
                  <c:v>30497.54945054945</c:v>
                </c:pt>
                <c:pt idx="2">
                  <c:v>24603.90625</c:v>
                </c:pt>
                <c:pt idx="3">
                  <c:v>28146.978723404256</c:v>
                </c:pt>
                <c:pt idx="4">
                  <c:v>15938.253012048193</c:v>
                </c:pt>
                <c:pt idx="5">
                  <c:v>11954.0</c:v>
                </c:pt>
                <c:pt idx="6">
                  <c:v>13191.32075471698</c:v>
                </c:pt>
                <c:pt idx="7">
                  <c:v>7412.088607594937</c:v>
                </c:pt>
                <c:pt idx="8">
                  <c:v>8683.745098039215</c:v>
                </c:pt>
                <c:pt idx="9">
                  <c:v>21476.0</c:v>
                </c:pt>
                <c:pt idx="10">
                  <c:v>6336.732142857142</c:v>
                </c:pt>
                <c:pt idx="11">
                  <c:v>14182.0</c:v>
                </c:pt>
                <c:pt idx="12">
                  <c:v>4204.222222222223</c:v>
                </c:pt>
                <c:pt idx="13">
                  <c:v>5998.125</c:v>
                </c:pt>
                <c:pt idx="14">
                  <c:v>3634.8333333333335</c:v>
                </c:pt>
                <c:pt idx="15">
                  <c:v>3336.4615384615386</c:v>
                </c:pt>
                <c:pt idx="16">
                  <c:v>6803.333333333333</c:v>
                </c:pt>
                <c:pt idx="17">
                  <c:v>2021.8823529411766</c:v>
                </c:pt>
                <c:pt idx="18">
                  <c:v>3558.5</c:v>
                </c:pt>
                <c:pt idx="19">
                  <c:v>3970.6666666666665</c:v>
                </c:pt>
                <c:pt idx="20">
                  <c:v>4702.2</c:v>
                </c:pt>
                <c:pt idx="21">
                  <c:v>1914.8181818181818</c:v>
                </c:pt>
                <c:pt idx="22">
                  <c:v>7187.0</c:v>
                </c:pt>
                <c:pt idx="23">
                  <c:v>2754.6</c:v>
                </c:pt>
                <c:pt idx="24">
                  <c:v>870.3333333333334</c:v>
                </c:pt>
                <c:pt idx="25">
                  <c:v>456.8</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50</c:f>
              <c:strCache>
                <c:ptCount val="49"/>
                <c:pt idx="0">
                  <c:v>Mini Babybel Rouge Filet St Paulin Ferme 1X264Gr 12P</c:v>
                </c:pt>
                <c:pt idx="1">
                  <c:v>La Vache Qui Rit Nature Fromage Fondu Boite Ronde 1X512Gr 32P</c:v>
                </c:pt>
                <c:pt idx="2">
                  <c:v>La Vache Qui Rit Nature Fromage Fondu Boite Ronde 1X192Gr 12P</c:v>
                </c:pt>
                <c:pt idx="3">
                  <c:v>Mini Babybel Rouge Filet St Paulin Ferme 1X132Gr 6P</c:v>
                </c:pt>
                <c:pt idx="4">
                  <c:v>La Vache Qui Rit Nature Fromage Fondu Boite Ronde 1X384Gr 24P</c:v>
                </c:pt>
                <c:pt idx="5">
                  <c:v>Kiri Creme Fromage Blanc Frais Carre 1X216Gr 12P</c:v>
                </c:pt>
                <c:pt idx="6">
                  <c:v>Kiri Creme Fromage Blanc Frais Carre 1X432Gr 24P</c:v>
                </c:pt>
                <c:pt idx="7">
                  <c:v>Boursin Classique Fromage Frais A Tartiner Afh Boite 1X250Gr 1P</c:v>
                </c:pt>
                <c:pt idx="8">
                  <c:v>Boursin Classique Fromage Frais A Tartiner Afh 1X160Gr 10P</c:v>
                </c:pt>
                <c:pt idx="9">
                  <c:v>Kiri Gouter Fromage Blanc Dips Boite 1X280Gr 8P</c:v>
                </c:pt>
                <c:pt idx="10">
                  <c:v>Kiri Creme Fromage Blanc Frais Carre 1X144Gr 8P</c:v>
                </c:pt>
                <c:pt idx="11">
                  <c:v>Boursin Classique Fromage Frais A Tartiner Afh Boite 1X150Gr 1P</c:v>
                </c:pt>
                <c:pt idx="12">
                  <c:v>Mini Babybel Rouge Filet St Paulin Ferme 1X440Gr 20P</c:v>
                </c:pt>
                <c:pt idx="13">
                  <c:v>Kiri Gouter Fromage Blanc Dips Boite 1X175Gr 5P</c:v>
                </c:pt>
                <c:pt idx="14">
                  <c:v>La Vache Qui Rit Pik Et Croq' Fromage Fondu Dips Boite 1X175Gr 5P</c:v>
                </c:pt>
                <c:pt idx="15">
                  <c:v>La Vache Qui Rit Pik Et Croq' Fromage Fondu Dips Boite 1X280Gr 8P</c:v>
                </c:pt>
                <c:pt idx="16">
                  <c:v>Boursin Onctueux Fromage Frais A Tartiner Afh 1X125Gr 1P</c:v>
                </c:pt>
                <c:pt idx="17">
                  <c:v>Boursin Salade &amp; Aperitif Fromage Frais Des Afh 1X120Gr 1P</c:v>
                </c:pt>
                <c:pt idx="18">
                  <c:v>Boursin Classique Fromage Frais A Tartiner Afh Boite 1X96Gr 6P</c:v>
                </c:pt>
                <c:pt idx="19">
                  <c:v>Boursin Classique Fromage Frais A Tartiner Figue Et 3 Noix Boite 1X150Gr 1P</c:v>
                </c:pt>
                <c:pt idx="20">
                  <c:v>La Vache Qui Rit Allegee Fromage Fondu Boite Ronde Allege 1X267Gr 16P</c:v>
                </c:pt>
                <c:pt idx="21">
                  <c:v>Boursin Classique Fromage Frais A Tartiner Ciboulette &amp; Echalote Boite 1X150Gr 1P</c:v>
                </c:pt>
                <c:pt idx="22">
                  <c:v>Boursin Classique Fromage Frais A Tartiner Afh 1X256Gr 16P</c:v>
                </c:pt>
                <c:pt idx="23">
                  <c:v>Boursin Classique Fromage Frais A Tartiner Poivre Boite 1X150Gr 1P</c:v>
                </c:pt>
                <c:pt idx="24">
                  <c:v>Babybel Mini Rolls St Paulin Ferme Sachet 1X85Gr 5P</c:v>
                </c:pt>
                <c:pt idx="25">
                  <c:v>Mini Babybel Aros St Paulin Ferme Assortis Filet 1X180Gr 9P</c:v>
                </c:pt>
                <c:pt idx="26">
                  <c:v>Kiri Delicieusement Fouette Fromage Frais A Tartiner 1X125Gr 1P</c:v>
                </c:pt>
                <c:pt idx="27">
                  <c:v>Boursin Classique Fromage Frais A Tartiner Ciboulette &amp; Echalote 1X160Gr 10P</c:v>
                </c:pt>
                <c:pt idx="28">
                  <c:v>La Vache Qui Rit Aro Fromage Fondu Boite Ronde Jambon 1X133Gr 8P</c:v>
                </c:pt>
                <c:pt idx="29">
                  <c:v>Kiri Bio Fromage Blanc Frais Carre 1X144Gr 8P</c:v>
                </c:pt>
                <c:pt idx="30">
                  <c:v>Kiri Chevre Fromage Blanc Frais Carre 1X144Gr 8P</c:v>
                </c:pt>
                <c:pt idx="31">
                  <c:v>Mini Babybel Aros Soft Cheese Enfant 180G</c:v>
                </c:pt>
                <c:pt idx="32">
                  <c:v>Boursin Salade &amp; Aperitif Fromage Frais Des Ciboulette Echalote 1X120Gr 1P</c:v>
                </c:pt>
                <c:pt idx="33">
                  <c:v>Mini Babybel Rouge Filet St Paulin Ferme 1X396Gr 12+6P</c:v>
                </c:pt>
                <c:pt idx="34">
                  <c:v>Kiri Delicieusement Fouette Fromage Frais A Tartiner 1X160Gr 10P</c:v>
                </c:pt>
                <c:pt idx="35">
                  <c:v>Kiri Creme Fromage Blanc Frais Carre 1X432Gr 18+6P</c:v>
                </c:pt>
                <c:pt idx="36">
                  <c:v>Mini Babybel Aros St Paulin Ferme Raclette Filet 1X132Gr 6P</c:v>
                </c:pt>
                <c:pt idx="37">
                  <c:v>Boursin Salade &amp; Aperitif Fromage Frais Des Figue Noix 1X120Gr 1P</c:v>
                </c:pt>
                <c:pt idx="38">
                  <c:v>Boursin Salade &amp; Aperitif Fromage Frais Des Citron Romarin 1X120Gr 1P</c:v>
                </c:pt>
                <c:pt idx="39">
                  <c:v>Boursin Salade &amp; Aperitif Fromage Frais Des Noisette Et 3 Noix 1X120Gr 1P</c:v>
                </c:pt>
                <c:pt idx="40">
                  <c:v>Boursin Classique Fromage Frais A Tartiner Afh Boite 1X80Gr 1P</c:v>
                </c:pt>
                <c:pt idx="41">
                  <c:v>Mini Babybel Aros Soft Cheese Enfant 110G</c:v>
                </c:pt>
                <c:pt idx="42">
                  <c:v>Boursin Salade &amp; Aperitif Soft Cheese Salade 120G</c:v>
                </c:pt>
                <c:pt idx="43">
                  <c:v>Boursin Classique Fromage Frais A Tartiner Truffe Boite 1X150Gr 1P</c:v>
                </c:pt>
                <c:pt idx="44">
                  <c:v>La Vache Qui Rit Nature Fromage Fondu Boite Ronde 1X512Gr 24+8P</c:v>
                </c:pt>
                <c:pt idx="45">
                  <c:v>Mini Babybel Bio St Paulin Ferme Filet 1X100Gr 5P</c:v>
                </c:pt>
                <c:pt idx="46">
                  <c:v>Mini Babybel Rouge Filet St Paulin Ferme Sachet 1X40Gr 1P</c:v>
                </c:pt>
                <c:pt idx="47">
                  <c:v>Kiri Delicieusement Fouette Fromage Frais A Tartiner 1X210Gr 1P</c:v>
                </c:pt>
                <c:pt idx="48">
                  <c:v>La Vache Qui Rit Nature Fromage Fondu Boite Ronde 1X128Gr 8P</c:v>
                </c:pt>
              </c:strCache>
            </c:strRef>
          </c:cat>
          <c:val>
            <c:numRef>
              <c:f>Sheet1!$B$2:$B$50</c:f>
              <c:numCache>
                <c:formatCode>General</c:formatCode>
                <c:ptCount val="49"/>
                <c:pt idx="0">
                  <c:v>1.0</c:v>
                </c:pt>
                <c:pt idx="1">
                  <c:v>0.98</c:v>
                </c:pt>
                <c:pt idx="2">
                  <c:v>1.0</c:v>
                </c:pt>
                <c:pt idx="3">
                  <c:v>1.0</c:v>
                </c:pt>
                <c:pt idx="4">
                  <c:v>0.97</c:v>
                </c:pt>
                <c:pt idx="5">
                  <c:v>0.99</c:v>
                </c:pt>
                <c:pt idx="6">
                  <c:v>0.89</c:v>
                </c:pt>
                <c:pt idx="7">
                  <c:v>0.99</c:v>
                </c:pt>
                <c:pt idx="8">
                  <c:v>0.99</c:v>
                </c:pt>
                <c:pt idx="9">
                  <c:v>0.96</c:v>
                </c:pt>
                <c:pt idx="10">
                  <c:v>0.99</c:v>
                </c:pt>
                <c:pt idx="11">
                  <c:v>1.0</c:v>
                </c:pt>
                <c:pt idx="12">
                  <c:v>0.9</c:v>
                </c:pt>
                <c:pt idx="13">
                  <c:v>0.99</c:v>
                </c:pt>
                <c:pt idx="14">
                  <c:v>0.97</c:v>
                </c:pt>
                <c:pt idx="15">
                  <c:v>0.89</c:v>
                </c:pt>
                <c:pt idx="16">
                  <c:v>0.97</c:v>
                </c:pt>
                <c:pt idx="17">
                  <c:v>0.98</c:v>
                </c:pt>
                <c:pt idx="18">
                  <c:v>0.96</c:v>
                </c:pt>
                <c:pt idx="19">
                  <c:v>0.99</c:v>
                </c:pt>
                <c:pt idx="20">
                  <c:v>0.87</c:v>
                </c:pt>
                <c:pt idx="21">
                  <c:v>0.99</c:v>
                </c:pt>
                <c:pt idx="22">
                  <c:v>0.87</c:v>
                </c:pt>
                <c:pt idx="23">
                  <c:v>0.96</c:v>
                </c:pt>
                <c:pt idx="24">
                  <c:v>0.81</c:v>
                </c:pt>
                <c:pt idx="25">
                  <c:v>0.85</c:v>
                </c:pt>
                <c:pt idx="26">
                  <c:v>0.87</c:v>
                </c:pt>
                <c:pt idx="27">
                  <c:v>0.83</c:v>
                </c:pt>
                <c:pt idx="28">
                  <c:v>0.69</c:v>
                </c:pt>
                <c:pt idx="29">
                  <c:v>0.6</c:v>
                </c:pt>
                <c:pt idx="30">
                  <c:v>0.68</c:v>
                </c:pt>
                <c:pt idx="31">
                  <c:v>0.73</c:v>
                </c:pt>
                <c:pt idx="32">
                  <c:v>0.86</c:v>
                </c:pt>
                <c:pt idx="33">
                  <c:v>0.89</c:v>
                </c:pt>
                <c:pt idx="34">
                  <c:v>0.94</c:v>
                </c:pt>
                <c:pt idx="35">
                  <c:v>0.83</c:v>
                </c:pt>
                <c:pt idx="36">
                  <c:v>0.77</c:v>
                </c:pt>
                <c:pt idx="37">
                  <c:v>0.88</c:v>
                </c:pt>
                <c:pt idx="38">
                  <c:v>0.67</c:v>
                </c:pt>
                <c:pt idx="39">
                  <c:v>0.83</c:v>
                </c:pt>
                <c:pt idx="40">
                  <c:v>0.29</c:v>
                </c:pt>
                <c:pt idx="41">
                  <c:v>0.59</c:v>
                </c:pt>
                <c:pt idx="42">
                  <c:v>0.4</c:v>
                </c:pt>
                <c:pt idx="43">
                  <c:v>0.7</c:v>
                </c:pt>
                <c:pt idx="44">
                  <c:v>0.25</c:v>
                </c:pt>
                <c:pt idx="45">
                  <c:v>0.31</c:v>
                </c:pt>
                <c:pt idx="46">
                  <c:v>0.09</c:v>
                </c:pt>
                <c:pt idx="47">
                  <c:v>0.38</c:v>
                </c:pt>
                <c:pt idx="48">
                  <c:v>0.12</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7ECAC4"/>
              </a:solidFill>
            </c:spPr>
            <c:extLst>
              <c:ext xmlns:c16="http://schemas.microsoft.com/office/drawing/2014/chart" uri="{C3380CC4-5D6E-409C-BE32-E72D297353CC}">
                <c16:uniqueId val="{0000001F-FA3E-4872-B6E1-C4ABDF5766E2}"/>
              </c:ext>
            </c:extLst>
          </c:dPt>
          <c:dPt>
            <c:idx val="15"/>
            <c:invertIfNegative val="1"/>
            <c:bubble3D val="0"/>
            <c:spPr>
              <a:solidFill>
                <a:srgbClr val="7ECAC4"/>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AEABAB"/>
              </a:solidFill>
            </c:spPr>
            <c:extLst>
              <c:ext xmlns:c16="http://schemas.microsoft.com/office/drawing/2014/chart" uri="{C3380CC4-5D6E-409C-BE32-E72D297353CC}">
                <c16:uniqueId val="{00000039-FA3E-4872-B6E1-C4ABDF5766E2}"/>
              </c:ext>
            </c:extLst>
          </c:dPt>
          <c:dPt>
            <c:idx val="28"/>
            <c:invertIfNegative val="1"/>
            <c:bubble3D val="0"/>
            <c:spPr>
              <a:solidFill>
                <a:srgbClr val="AEABAB"/>
              </a:solidFill>
            </c:spPr>
            <c:extLst>
              <c:ext xmlns:c16="http://schemas.microsoft.com/office/drawing/2014/chart" uri="{C3380CC4-5D6E-409C-BE32-E72D297353CC}">
                <c16:uniqueId val="{0000003B-FA3E-4872-B6E1-C4ABDF5766E2}"/>
              </c:ext>
            </c:extLst>
          </c:dPt>
          <c:dPt>
            <c:idx val="29"/>
            <c:invertIfNegative val="1"/>
            <c:bubble3D val="0"/>
            <c:spPr>
              <a:solidFill>
                <a:srgbClr val="AEABAB"/>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dPt>
            <c:idx val="44"/>
            <c:spPr>
              <a:solidFill>
                <a:srgbClr val="AEABAB"/>
              </a:solidFill>
            </c:spPr>
          </c:dPt>
          <c:dPt>
            <c:idx val="45"/>
            <c:spPr>
              <a:solidFill>
                <a:srgbClr val="AEABAB"/>
              </a:solidFill>
            </c:spPr>
          </c:dPt>
          <c:dPt>
            <c:idx val="46"/>
            <c:spPr>
              <a:solidFill>
                <a:srgbClr val="AEABAB"/>
              </a:solidFill>
            </c:spPr>
          </c:dPt>
          <c:dPt>
            <c:idx val="47"/>
            <c:spPr>
              <a:solidFill>
                <a:srgbClr val="AEABAB"/>
              </a:solidFill>
            </c:spPr>
          </c:dPt>
          <c:dPt>
            <c:idx val="48"/>
            <c:spPr>
              <a:solidFill>
                <a:srgbClr val="AEABAB"/>
              </a:solidFill>
            </c:spPr>
          </c:dPt>
          <c:cat>
            <c:strRef>
              <c:f>Sheet1!$A$2:$A$50</c:f>
              <c:strCache>
                <c:ptCount val="49"/>
                <c:pt idx="0">
                  <c:v>Mini Babybel Rouge Filet St Paulin Ferme 1X264Gr 12P</c:v>
                </c:pt>
                <c:pt idx="1">
                  <c:v>La Vache Qui Rit Nature Fromage Fondu Boite Ronde 1X512Gr 32P</c:v>
                </c:pt>
                <c:pt idx="2">
                  <c:v>La Vache Qui Rit Nature Fromage Fondu Boite Ronde 1X192Gr 12P</c:v>
                </c:pt>
                <c:pt idx="3">
                  <c:v>Mini Babybel Rouge Filet St Paulin Ferme 1X132Gr 6P</c:v>
                </c:pt>
                <c:pt idx="4">
                  <c:v>La Vache Qui Rit Nature Fromage Fondu Boite Ronde 1X384Gr 24P</c:v>
                </c:pt>
                <c:pt idx="5">
                  <c:v>Kiri Creme Fromage Blanc Frais Carre 1X216Gr 12P</c:v>
                </c:pt>
                <c:pt idx="6">
                  <c:v>Kiri Creme Fromage Blanc Frais Carre 1X432Gr 24P</c:v>
                </c:pt>
                <c:pt idx="7">
                  <c:v>Boursin Classique Fromage Frais A Tartiner Afh Boite 1X250Gr 1P</c:v>
                </c:pt>
                <c:pt idx="8">
                  <c:v>Boursin Classique Fromage Frais A Tartiner Afh 1X160Gr 10P</c:v>
                </c:pt>
                <c:pt idx="9">
                  <c:v>Kiri Gouter Fromage Blanc Dips Boite 1X280Gr 8P</c:v>
                </c:pt>
                <c:pt idx="10">
                  <c:v>Kiri Creme Fromage Blanc Frais Carre 1X144Gr 8P</c:v>
                </c:pt>
                <c:pt idx="11">
                  <c:v>Boursin Classique Fromage Frais A Tartiner Afh Boite 1X150Gr 1P</c:v>
                </c:pt>
                <c:pt idx="12">
                  <c:v>Mini Babybel Rouge Filet St Paulin Ferme 1X440Gr 20P</c:v>
                </c:pt>
                <c:pt idx="13">
                  <c:v>Kiri Gouter Fromage Blanc Dips Boite 1X175Gr 5P</c:v>
                </c:pt>
                <c:pt idx="14">
                  <c:v>La Vache Qui Rit Pik Et Croq' Fromage Fondu Dips Boite 1X175Gr 5P</c:v>
                </c:pt>
                <c:pt idx="15">
                  <c:v>La Vache Qui Rit Pik Et Croq' Fromage Fondu Dips Boite 1X280Gr 8P</c:v>
                </c:pt>
                <c:pt idx="16">
                  <c:v>Boursin Onctueux Fromage Frais A Tartiner Afh 1X125Gr 1P</c:v>
                </c:pt>
                <c:pt idx="17">
                  <c:v>Boursin Salade &amp; Aperitif Fromage Frais Des Afh 1X120Gr 1P</c:v>
                </c:pt>
                <c:pt idx="18">
                  <c:v>Boursin Classique Fromage Frais A Tartiner Afh Boite 1X96Gr 6P</c:v>
                </c:pt>
                <c:pt idx="19">
                  <c:v>Boursin Classique Fromage Frais A Tartiner Figue Et 3 Noix Boite 1X150Gr 1P</c:v>
                </c:pt>
                <c:pt idx="20">
                  <c:v>La Vache Qui Rit Allegee Fromage Fondu Boite Ronde Allege 1X267Gr 16P</c:v>
                </c:pt>
                <c:pt idx="21">
                  <c:v>Boursin Classique Fromage Frais A Tartiner Ciboulette &amp; Echalote Boite 1X150Gr 1P</c:v>
                </c:pt>
                <c:pt idx="22">
                  <c:v>Boursin Classique Fromage Frais A Tartiner Afh 1X256Gr 16P</c:v>
                </c:pt>
                <c:pt idx="23">
                  <c:v>Boursin Classique Fromage Frais A Tartiner Poivre Boite 1X150Gr 1P</c:v>
                </c:pt>
                <c:pt idx="24">
                  <c:v>Babybel Mini Rolls St Paulin Ferme Sachet 1X85Gr 5P</c:v>
                </c:pt>
                <c:pt idx="25">
                  <c:v>Mini Babybel Aros St Paulin Ferme Assortis Filet 1X180Gr 9P</c:v>
                </c:pt>
                <c:pt idx="26">
                  <c:v>Kiri Delicieusement Fouette Fromage Frais A Tartiner 1X125Gr 1P</c:v>
                </c:pt>
                <c:pt idx="27">
                  <c:v>Boursin Classique Fromage Frais A Tartiner Ciboulette &amp; Echalote 1X160Gr 10P</c:v>
                </c:pt>
                <c:pt idx="28">
                  <c:v>La Vache Qui Rit Aro Fromage Fondu Boite Ronde Jambon 1X133Gr 8P</c:v>
                </c:pt>
                <c:pt idx="29">
                  <c:v>Kiri Bio Fromage Blanc Frais Carre 1X144Gr 8P</c:v>
                </c:pt>
                <c:pt idx="30">
                  <c:v>Kiri Chevre Fromage Blanc Frais Carre 1X144Gr 8P</c:v>
                </c:pt>
                <c:pt idx="31">
                  <c:v>Mini Babybel Aros Soft Cheese Enfant 180G</c:v>
                </c:pt>
                <c:pt idx="32">
                  <c:v>Boursin Salade &amp; Aperitif Fromage Frais Des Ciboulette Echalote 1X120Gr 1P</c:v>
                </c:pt>
                <c:pt idx="33">
                  <c:v>Mini Babybel Rouge Filet St Paulin Ferme 1X396Gr 12+6P</c:v>
                </c:pt>
                <c:pt idx="34">
                  <c:v>Kiri Delicieusement Fouette Fromage Frais A Tartiner 1X160Gr 10P</c:v>
                </c:pt>
                <c:pt idx="35">
                  <c:v>Kiri Creme Fromage Blanc Frais Carre 1X432Gr 18+6P</c:v>
                </c:pt>
                <c:pt idx="36">
                  <c:v>Mini Babybel Aros St Paulin Ferme Raclette Filet 1X132Gr 6P</c:v>
                </c:pt>
                <c:pt idx="37">
                  <c:v>Boursin Salade &amp; Aperitif Fromage Frais Des Figue Noix 1X120Gr 1P</c:v>
                </c:pt>
                <c:pt idx="38">
                  <c:v>Boursin Salade &amp; Aperitif Fromage Frais Des Citron Romarin 1X120Gr 1P</c:v>
                </c:pt>
                <c:pt idx="39">
                  <c:v>Boursin Salade &amp; Aperitif Fromage Frais Des Noisette Et 3 Noix 1X120Gr 1P</c:v>
                </c:pt>
                <c:pt idx="40">
                  <c:v>Boursin Classique Fromage Frais A Tartiner Afh Boite 1X80Gr 1P</c:v>
                </c:pt>
                <c:pt idx="41">
                  <c:v>Mini Babybel Aros Soft Cheese Enfant 110G</c:v>
                </c:pt>
                <c:pt idx="42">
                  <c:v>Boursin Salade &amp; Aperitif Soft Cheese Salade 120G</c:v>
                </c:pt>
                <c:pt idx="43">
                  <c:v>Boursin Classique Fromage Frais A Tartiner Truffe Boite 1X150Gr 1P</c:v>
                </c:pt>
                <c:pt idx="44">
                  <c:v>La Vache Qui Rit Nature Fromage Fondu Boite Ronde 1X512Gr 24+8P</c:v>
                </c:pt>
                <c:pt idx="45">
                  <c:v>Mini Babybel Bio St Paulin Ferme Filet 1X100Gr 5P</c:v>
                </c:pt>
                <c:pt idx="46">
                  <c:v>Mini Babybel Rouge Filet St Paulin Ferme Sachet 1X40Gr 1P</c:v>
                </c:pt>
                <c:pt idx="47">
                  <c:v>Kiri Delicieusement Fouette Fromage Frais A Tartiner 1X210Gr 1P</c:v>
                </c:pt>
                <c:pt idx="48">
                  <c:v>La Vache Qui Rit Nature Fromage Fondu Boite Ronde 1X128Gr 8P</c:v>
                </c:pt>
              </c:strCache>
            </c:strRef>
          </c:cat>
          <c:val>
            <c:numRef>
              <c:f>Sheet1!$C$2:$C$50</c:f>
              <c:numCache>
                <c:formatCode>General</c:formatCode>
                <c:ptCount val="49"/>
                <c:pt idx="0">
                  <c:v>0.13439107809616438</c:v>
                </c:pt>
                <c:pt idx="1">
                  <c:v>0.23746437636034917</c:v>
                </c:pt>
                <c:pt idx="2">
                  <c:v>0.31816247947868265</c:v>
                </c:pt>
                <c:pt idx="3">
                  <c:v>0.38595295443870836</c:v>
                </c:pt>
                <c:pt idx="4">
                  <c:v>0.4526642981208326</c:v>
                </c:pt>
                <c:pt idx="5">
                  <c:v>0.5118070681206618</c:v>
                </c:pt>
                <c:pt idx="6">
                  <c:v>0.5630708731818868</c:v>
                </c:pt>
                <c:pt idx="7">
                  <c:v>0.6001764351793585</c:v>
                </c:pt>
                <c:pt idx="8">
                  <c:v>0.6358314638131259</c:v>
                </c:pt>
                <c:pt idx="9">
                  <c:v>0.6710388178992923</c:v>
                </c:pt>
                <c:pt idx="10">
                  <c:v>0.7039241726423693</c:v>
                </c:pt>
                <c:pt idx="11">
                  <c:v>0.7358960785298269</c:v>
                </c:pt>
                <c:pt idx="12">
                  <c:v>0.7618179342243641</c:v>
                </c:pt>
                <c:pt idx="13">
                  <c:v>0.7875890299815392</c:v>
                </c:pt>
                <c:pt idx="14">
                  <c:v>0.8050903916136636</c:v>
                </c:pt>
                <c:pt idx="15">
                  <c:v>0.8222769530734796</c:v>
                </c:pt>
                <c:pt idx="16">
                  <c:v>0.8376375807146234</c:v>
                </c:pt>
                <c:pt idx="17">
                  <c:v>0.8522750033330158</c:v>
                </c:pt>
                <c:pt idx="18">
                  <c:v>0.8664072034476084</c:v>
                </c:pt>
                <c:pt idx="19">
                  <c:v>0.8795021837610845</c:v>
                </c:pt>
                <c:pt idx="20">
                  <c:v>0.8912979618438133</c:v>
                </c:pt>
                <c:pt idx="21">
                  <c:v>0.9023314080055315</c:v>
                </c:pt>
                <c:pt idx="22">
                  <c:v>0.9119382217692248</c:v>
                </c:pt>
                <c:pt idx="23">
                  <c:v>0.9209579714102685</c:v>
                </c:pt>
                <c:pt idx="24">
                  <c:v>0.9298286925505976</c:v>
                </c:pt>
                <c:pt idx="25">
                  <c:v>0.937777504000556</c:v>
                </c:pt>
                <c:pt idx="26">
                  <c:v>0.9446972708863518</c:v>
                </c:pt>
                <c:pt idx="27">
                  <c:v>0.9511521024076594</c:v>
                </c:pt>
                <c:pt idx="28">
                  <c:v>0.9573980726896735</c:v>
                </c:pt>
                <c:pt idx="29">
                  <c:v>0.9629760832728925</c:v>
                </c:pt>
                <c:pt idx="30">
                  <c:v>0.9680500851429512</c:v>
                </c:pt>
                <c:pt idx="31">
                  <c:v>0.972606476704743</c:v>
                </c:pt>
                <c:pt idx="32">
                  <c:v>0.9763777956208972</c:v>
                </c:pt>
                <c:pt idx="33">
                  <c:v>0.9801306399295249</c:v>
                </c:pt>
                <c:pt idx="34">
                  <c:v>0.9837591242471981</c:v>
                </c:pt>
                <c:pt idx="35">
                  <c:v>0.9873424484131397</c:v>
                </c:pt>
                <c:pt idx="36">
                  <c:v>0.9901944280191007</c:v>
                </c:pt>
                <c:pt idx="37">
                  <c:v>0.9927290370725759</c:v>
                </c:pt>
                <c:pt idx="38">
                  <c:v>0.9941692353659827</c:v>
                </c:pt>
                <c:pt idx="39">
                  <c:v>0.9954044458402248</c:v>
                </c:pt>
                <c:pt idx="40">
                  <c:v>0.9964483236399958</c:v>
                </c:pt>
                <c:pt idx="41">
                  <c:v>0.9974599467385102</c:v>
                </c:pt>
                <c:pt idx="42">
                  <c:v>0.9980885831905603</c:v>
                </c:pt>
                <c:pt idx="43">
                  <c:v>0.9986693641616645</c:v>
                </c:pt>
                <c:pt idx="44">
                  <c:v>0.9991115231018011</c:v>
                </c:pt>
                <c:pt idx="45">
                  <c:v>0.9994611483555436</c:v>
                </c:pt>
                <c:pt idx="46">
                  <c:v>0.9997310025744683</c:v>
                </c:pt>
                <c:pt idx="47">
                  <c:v>0.99998370307568</c:v>
                </c:pt>
                <c:pt idx="48">
                  <c:v>1.0000000000000004</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50</c:f>
              <c:strCache>
                <c:ptCount val="49"/>
                <c:pt idx="0">
                  <c:v>Mini Babybel Rouge Filet St Paulin Ferme 1X264Gr 12P</c:v>
                </c:pt>
                <c:pt idx="1">
                  <c:v>La Vache Qui Rit Nature Fromage Fondu Boite Ronde 1X512Gr 32P</c:v>
                </c:pt>
                <c:pt idx="2">
                  <c:v>La Vache Qui Rit Nature Fromage Fondu Boite Ronde 1X192Gr 12P</c:v>
                </c:pt>
                <c:pt idx="3">
                  <c:v>Mini Babybel Rouge Filet St Paulin Ferme 1X132Gr 6P</c:v>
                </c:pt>
                <c:pt idx="4">
                  <c:v>La Vache Qui Rit Nature Fromage Fondu Boite Ronde 1X384Gr 24P</c:v>
                </c:pt>
                <c:pt idx="5">
                  <c:v>Kiri Creme Fromage Blanc Frais Carre 1X216Gr 12P</c:v>
                </c:pt>
                <c:pt idx="6">
                  <c:v>Kiri Creme Fromage Blanc Frais Carre 1X432Gr 24P</c:v>
                </c:pt>
                <c:pt idx="7">
                  <c:v>Boursin Classique Fromage Frais A Tartiner Afh Boite 1X250Gr 1P</c:v>
                </c:pt>
                <c:pt idx="8">
                  <c:v>Boursin Classique Fromage Frais A Tartiner Afh 1X160Gr 10P</c:v>
                </c:pt>
                <c:pt idx="9">
                  <c:v>Kiri Gouter Fromage Blanc Dips Boite 1X280Gr 8P</c:v>
                </c:pt>
                <c:pt idx="10">
                  <c:v>Kiri Creme Fromage Blanc Frais Carre 1X144Gr 8P</c:v>
                </c:pt>
                <c:pt idx="11">
                  <c:v>Boursin Classique Fromage Frais A Tartiner Afh Boite 1X150Gr 1P</c:v>
                </c:pt>
                <c:pt idx="12">
                  <c:v>Mini Babybel Rouge Filet St Paulin Ferme 1X440Gr 20P</c:v>
                </c:pt>
                <c:pt idx="13">
                  <c:v>Kiri Gouter Fromage Blanc Dips Boite 1X175Gr 5P</c:v>
                </c:pt>
                <c:pt idx="14">
                  <c:v>La Vache Qui Rit Pik Et Croq' Fromage Fondu Dips Boite 1X175Gr 5P</c:v>
                </c:pt>
                <c:pt idx="15">
                  <c:v>La Vache Qui Rit Pik Et Croq' Fromage Fondu Dips Boite 1X280Gr 8P</c:v>
                </c:pt>
                <c:pt idx="16">
                  <c:v>Boursin Onctueux Fromage Frais A Tartiner Afh 1X125Gr 1P</c:v>
                </c:pt>
                <c:pt idx="17">
                  <c:v>Boursin Salade &amp; Aperitif Fromage Frais Des Afh 1X120Gr 1P</c:v>
                </c:pt>
                <c:pt idx="18">
                  <c:v>Boursin Classique Fromage Frais A Tartiner Afh Boite 1X96Gr 6P</c:v>
                </c:pt>
                <c:pt idx="19">
                  <c:v>Boursin Classique Fromage Frais A Tartiner Figue Et 3 Noix Boite 1X150Gr 1P</c:v>
                </c:pt>
                <c:pt idx="20">
                  <c:v>La Vache Qui Rit Allegee Fromage Fondu Boite Ronde Allege 1X267Gr 16P</c:v>
                </c:pt>
                <c:pt idx="21">
                  <c:v>Boursin Classique Fromage Frais A Tartiner Ciboulette &amp; Echalote Boite 1X150Gr 1P</c:v>
                </c:pt>
                <c:pt idx="22">
                  <c:v>Boursin Classique Fromage Frais A Tartiner Afh 1X256Gr 16P</c:v>
                </c:pt>
                <c:pt idx="23">
                  <c:v>Boursin Classique Fromage Frais A Tartiner Poivre Boite 1X150Gr 1P</c:v>
                </c:pt>
                <c:pt idx="24">
                  <c:v>Babybel Mini Rolls St Paulin Ferme Sachet 1X85Gr 5P</c:v>
                </c:pt>
                <c:pt idx="25">
                  <c:v>Mini Babybel Aros St Paulin Ferme Assortis Filet 1X180Gr 9P</c:v>
                </c:pt>
                <c:pt idx="26">
                  <c:v>Kiri Delicieusement Fouette Fromage Frais A Tartiner 1X125Gr 1P</c:v>
                </c:pt>
                <c:pt idx="27">
                  <c:v>Boursin Classique Fromage Frais A Tartiner Ciboulette &amp; Echalote 1X160Gr 10P</c:v>
                </c:pt>
                <c:pt idx="28">
                  <c:v>La Vache Qui Rit Aro Fromage Fondu Boite Ronde Jambon 1X133Gr 8P</c:v>
                </c:pt>
                <c:pt idx="29">
                  <c:v>Kiri Bio Fromage Blanc Frais Carre 1X144Gr 8P</c:v>
                </c:pt>
                <c:pt idx="30">
                  <c:v>Kiri Chevre Fromage Blanc Frais Carre 1X144Gr 8P</c:v>
                </c:pt>
                <c:pt idx="31">
                  <c:v>Mini Babybel Aros Soft Cheese Enfant 180G</c:v>
                </c:pt>
                <c:pt idx="32">
                  <c:v>Boursin Salade &amp; Aperitif Fromage Frais Des Ciboulette Echalote 1X120Gr 1P</c:v>
                </c:pt>
                <c:pt idx="33">
                  <c:v>Mini Babybel Rouge Filet St Paulin Ferme 1X396Gr 12+6P</c:v>
                </c:pt>
                <c:pt idx="34">
                  <c:v>Kiri Delicieusement Fouette Fromage Frais A Tartiner 1X160Gr 10P</c:v>
                </c:pt>
                <c:pt idx="35">
                  <c:v>Kiri Creme Fromage Blanc Frais Carre 1X432Gr 18+6P</c:v>
                </c:pt>
                <c:pt idx="36">
                  <c:v>Mini Babybel Aros St Paulin Ferme Raclette Filet 1X132Gr 6P</c:v>
                </c:pt>
                <c:pt idx="37">
                  <c:v>Boursin Salade &amp; Aperitif Fromage Frais Des Figue Noix 1X120Gr 1P</c:v>
                </c:pt>
                <c:pt idx="38">
                  <c:v>Boursin Salade &amp; Aperitif Fromage Frais Des Citron Romarin 1X120Gr 1P</c:v>
                </c:pt>
                <c:pt idx="39">
                  <c:v>Boursin Salade &amp; Aperitif Fromage Frais Des Noisette Et 3 Noix 1X120Gr 1P</c:v>
                </c:pt>
                <c:pt idx="40">
                  <c:v>Boursin Classique Fromage Frais A Tartiner Afh Boite 1X80Gr 1P</c:v>
                </c:pt>
                <c:pt idx="41">
                  <c:v>Mini Babybel Aros Soft Cheese Enfant 110G</c:v>
                </c:pt>
                <c:pt idx="42">
                  <c:v>Boursin Salade &amp; Aperitif Soft Cheese Salade 120G</c:v>
                </c:pt>
                <c:pt idx="43">
                  <c:v>Boursin Classique Fromage Frais A Tartiner Truffe Boite 1X150Gr 1P</c:v>
                </c:pt>
                <c:pt idx="44">
                  <c:v>La Vache Qui Rit Nature Fromage Fondu Boite Ronde 1X512Gr 24+8P</c:v>
                </c:pt>
                <c:pt idx="45">
                  <c:v>Mini Babybel Bio St Paulin Ferme Filet 1X100Gr 5P</c:v>
                </c:pt>
                <c:pt idx="46">
                  <c:v>Mini Babybel Rouge Filet St Paulin Ferme Sachet 1X40Gr 1P</c:v>
                </c:pt>
                <c:pt idx="47">
                  <c:v>Kiri Delicieusement Fouette Fromage Frais A Tartiner 1X210Gr 1P</c:v>
                </c:pt>
                <c:pt idx="48">
                  <c:v>La Vache Qui Rit Nature Fromage Fondu Boite Ronde 1X128Gr 8P</c:v>
                </c:pt>
              </c:strCache>
            </c:strRef>
          </c:cat>
          <c:val>
            <c:numRef>
              <c:f>Sheet1!$D$2:$D$50</c:f>
              <c:numCache>
                <c:formatCode>General</c:formatCode>
                <c:ptCount val="49"/>
                <c:pt idx="0">
                  <c:v>75289.7</c:v>
                </c:pt>
                <c:pt idx="1">
                  <c:v>58923.051020408166</c:v>
                </c:pt>
                <c:pt idx="2">
                  <c:v>45209.37</c:v>
                </c:pt>
                <c:pt idx="3">
                  <c:v>37978.15</c:v>
                </c:pt>
                <c:pt idx="4">
                  <c:v>38529.47422680412</c:v>
                </c:pt>
                <c:pt idx="5">
                  <c:v>33468.14141414141</c:v>
                </c:pt>
                <c:pt idx="6">
                  <c:v>32269.03370786517</c:v>
                </c:pt>
                <c:pt idx="7">
                  <c:v>20997.565656565657</c:v>
                </c:pt>
                <c:pt idx="8">
                  <c:v>20176.727272727272</c:v>
                </c:pt>
                <c:pt idx="9">
                  <c:v>20546.0</c:v>
                </c:pt>
                <c:pt idx="10">
                  <c:v>18609.40404040404</c:v>
                </c:pt>
                <c:pt idx="11">
                  <c:v>17911.57</c:v>
                </c:pt>
                <c:pt idx="12">
                  <c:v>16135.733333333334</c:v>
                </c:pt>
                <c:pt idx="13">
                  <c:v>14583.535353535353</c:v>
                </c:pt>
                <c:pt idx="14">
                  <c:v>10108.0</c:v>
                </c:pt>
                <c:pt idx="15">
                  <c:v>10818.426966292134</c:v>
                </c:pt>
                <c:pt idx="16">
                  <c:v>8871.60824742268</c:v>
                </c:pt>
                <c:pt idx="17">
                  <c:v>8367.65306122449</c:v>
                </c:pt>
                <c:pt idx="18">
                  <c:v>8247.145833333334</c:v>
                </c:pt>
                <c:pt idx="19">
                  <c:v>7410.282828282829</c:v>
                </c:pt>
                <c:pt idx="20">
                  <c:v>7595.781609195402</c:v>
                </c:pt>
                <c:pt idx="21">
                  <c:v>6243.686868686868</c:v>
                </c:pt>
                <c:pt idx="22">
                  <c:v>6186.218390804598</c:v>
                </c:pt>
                <c:pt idx="23">
                  <c:v>5263.666666666667</c:v>
                </c:pt>
                <c:pt idx="24">
                  <c:v>6135.3456790123455</c:v>
                </c:pt>
                <c:pt idx="25">
                  <c:v>5239.0</c:v>
                </c:pt>
                <c:pt idx="26">
                  <c:v>4455.919540229885</c:v>
                </c:pt>
                <c:pt idx="27">
                  <c:v>4356.843373493976</c:v>
                </c:pt>
                <c:pt idx="28">
                  <c:v>5071.260869565217</c:v>
                </c:pt>
                <c:pt idx="29">
                  <c:v>5208.266666666666</c:v>
                </c:pt>
                <c:pt idx="30">
                  <c:v>4180.294117647059</c:v>
                </c:pt>
                <c:pt idx="31">
                  <c:v>3496.7397260273974</c:v>
                </c:pt>
                <c:pt idx="32">
                  <c:v>2456.7441860465115</c:v>
                </c:pt>
                <c:pt idx="33">
                  <c:v>2362.303370786517</c:v>
                </c:pt>
                <c:pt idx="34">
                  <c:v>2162.531914893617</c:v>
                </c:pt>
                <c:pt idx="35">
                  <c:v>2418.6506024096384</c:v>
                </c:pt>
                <c:pt idx="36">
                  <c:v>2075.012987012987</c:v>
                </c:pt>
                <c:pt idx="37">
                  <c:v>1613.590909090909</c:v>
                </c:pt>
                <c:pt idx="38">
                  <c:v>1204.2388059701493</c:v>
                </c:pt>
                <c:pt idx="39">
                  <c:v>833.7349397590361</c:v>
                </c:pt>
                <c:pt idx="40">
                  <c:v>2016.586206896552</c:v>
                </c:pt>
                <c:pt idx="41">
                  <c:v>960.5762711864406</c:v>
                </c:pt>
                <c:pt idx="42">
                  <c:v>880.45</c:v>
                </c:pt>
                <c:pt idx="43">
                  <c:v>464.8142857142857</c:v>
                </c:pt>
                <c:pt idx="44">
                  <c:v>990.84</c:v>
                </c:pt>
                <c:pt idx="45">
                  <c:v>631.8387096774194</c:v>
                </c:pt>
                <c:pt idx="46">
                  <c:v>1679.7777777777778</c:v>
                </c:pt>
                <c:pt idx="47">
                  <c:v>372.55263157894734</c:v>
                </c:pt>
                <c:pt idx="48">
                  <c:v>76.08333333333333</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50</c:f>
              <c:strCache>
                <c:ptCount val="49"/>
                <c:pt idx="0">
                  <c:v>Mini Babybel Rouge Filet St Paulin Ferme 1X264Gr 12P</c:v>
                </c:pt>
                <c:pt idx="1">
                  <c:v>La Vache Qui Rit Nature Fromage Fondu Boite Ronde 1X512Gr 32P</c:v>
                </c:pt>
                <c:pt idx="2">
                  <c:v>La Vache Qui Rit Nature Fromage Fondu Boite Ronde 1X192Gr 12P</c:v>
                </c:pt>
                <c:pt idx="3">
                  <c:v>La Vache Qui Rit Nature Fromage Fondu Boite Ronde 1X384Gr 24P</c:v>
                </c:pt>
                <c:pt idx="4">
                  <c:v>Mini Babybel Rouge Filet St Paulin Ferme 1X132Gr 6P</c:v>
                </c:pt>
                <c:pt idx="5">
                  <c:v>Kiri Creme Fromage Blanc Frais Carre 1X432Gr 24P</c:v>
                </c:pt>
                <c:pt idx="6">
                  <c:v>Kiri Creme Fromage Blanc Frais Carre 1X216Gr 12P</c:v>
                </c:pt>
                <c:pt idx="7">
                  <c:v>Boursin Classique Fromage Frais A Tartiner Afh Boite 1X250Gr 1P</c:v>
                </c:pt>
                <c:pt idx="8">
                  <c:v>Kiri Gouter Fromage Blanc Dips Boite 1X280Gr 8P</c:v>
                </c:pt>
                <c:pt idx="9">
                  <c:v>Boursin Classique Fromage Frais A Tartiner Afh 1X160Gr 10P</c:v>
                </c:pt>
                <c:pt idx="10">
                  <c:v>Mini Babybel Rouge Filet St Paulin Ferme 1X440Gr 20P</c:v>
                </c:pt>
                <c:pt idx="11">
                  <c:v>Boursin Classique Fromage Frais A Tartiner Afh Boite 1X150Gr 1P</c:v>
                </c:pt>
                <c:pt idx="12">
                  <c:v>Kiri Creme Fromage Blanc Frais Carre 1X144Gr 8P</c:v>
                </c:pt>
                <c:pt idx="13">
                  <c:v>Kiri Gouter Fromage Blanc Dips Boite 1X175Gr 5P</c:v>
                </c:pt>
                <c:pt idx="14">
                  <c:v>La Vache Qui Rit Pik Et Croq' Fromage Fondu Dips Boite 1X280Gr 8P</c:v>
                </c:pt>
                <c:pt idx="15">
                  <c:v>La Vache Qui Rit Pik Et Croq' Fromage Fondu Dips Boite 1X175Gr 5P</c:v>
                </c:pt>
                <c:pt idx="16">
                  <c:v>Boursin Salade &amp; Aperitif Fromage Frais Des Afh 1X120Gr 1P</c:v>
                </c:pt>
                <c:pt idx="17">
                  <c:v>Boursin Classique Fromage Frais A Tartiner Afh 1X256Gr 16P</c:v>
                </c:pt>
                <c:pt idx="18">
                  <c:v>Boursin Onctueux Fromage Frais A Tartiner Afh 1X125Gr 1P</c:v>
                </c:pt>
                <c:pt idx="19">
                  <c:v>Boursin Classique Fromage Frais A Tartiner Afh Boite 1X96Gr 6P</c:v>
                </c:pt>
                <c:pt idx="20">
                  <c:v>Boursin Classique Fromage Frais A Tartiner Figue Et 3 Noix Boite 1X150Gr 1P</c:v>
                </c:pt>
                <c:pt idx="21">
                  <c:v>La Vache Qui Rit Allegee Fromage Fondu Boite Ronde Allege 1X267Gr 16P</c:v>
                </c:pt>
                <c:pt idx="22">
                  <c:v>Babybel Mini Rolls St Paulin Ferme Sachet 1X85Gr 5P</c:v>
                </c:pt>
                <c:pt idx="23">
                  <c:v>Boursin Classique Fromage Frais A Tartiner Ciboulette &amp; Echalote Boite 1X150Gr 1P</c:v>
                </c:pt>
                <c:pt idx="24">
                  <c:v>Mini Babybel Aros St Paulin Ferme Assortis Filet 1X180Gr 9P</c:v>
                </c:pt>
                <c:pt idx="25">
                  <c:v>Boursin Classique Fromage Frais A Tartiner Poivre Boite 1X150Gr 1P</c:v>
                </c:pt>
                <c:pt idx="26">
                  <c:v>Kiri Delicieusement Fouette Fromage Frais A Tartiner 1X125Gr 1P</c:v>
                </c:pt>
                <c:pt idx="27">
                  <c:v>La Vache Qui Rit Aro Fromage Fondu Boite Ronde Jambon 1X133Gr 8P</c:v>
                </c:pt>
                <c:pt idx="28">
                  <c:v>Boursin Classique Fromage Frais A Tartiner Ciboulette &amp; Echalote 1X160Gr 10P</c:v>
                </c:pt>
                <c:pt idx="29">
                  <c:v>Kiri Bio Fromage Blanc Frais Carre 1X144Gr 8P</c:v>
                </c:pt>
                <c:pt idx="30">
                  <c:v>Mini Babybel Aros Soft Cheese Enfant 180G</c:v>
                </c:pt>
                <c:pt idx="31">
                  <c:v>Kiri Chevre Fromage Blanc Frais Carre 1X144Gr 8P</c:v>
                </c:pt>
                <c:pt idx="32">
                  <c:v>Kiri Delicieusement Fouette Fromage Frais A Tartiner 1X160Gr 10P</c:v>
                </c:pt>
                <c:pt idx="33">
                  <c:v>Boursin Salade &amp; Aperitif Fromage Frais Des Ciboulette Echalote 1X120Gr 1P</c:v>
                </c:pt>
                <c:pt idx="34">
                  <c:v>Mini Babybel Rouge Filet St Paulin Ferme 1X396Gr 12+6P</c:v>
                </c:pt>
                <c:pt idx="35">
                  <c:v>Mini Babybel Aros St Paulin Ferme Raclette Filet 1X132Gr 6P</c:v>
                </c:pt>
                <c:pt idx="36">
                  <c:v>Kiri Creme Fromage Blanc Frais Carre 1X432Gr 18+6P</c:v>
                </c:pt>
                <c:pt idx="37">
                  <c:v>Boursin Salade &amp; Aperitif Fromage Frais Des Figue Noix 1X120Gr 1P</c:v>
                </c:pt>
                <c:pt idx="38">
                  <c:v>Boursin Classique Fromage Frais A Tartiner Afh Boite 1X80Gr 1P</c:v>
                </c:pt>
                <c:pt idx="39">
                  <c:v>Boursin Salade &amp; Aperitif Fromage Frais Des Citron Romarin 1X120Gr 1P</c:v>
                </c:pt>
                <c:pt idx="40">
                  <c:v>Mini Babybel Aros Soft Cheese Enfant 110G</c:v>
                </c:pt>
                <c:pt idx="41">
                  <c:v>Boursin Salade &amp; Aperitif Fromage Frais Des Noisette Et 3 Noix 1X120Gr 1P</c:v>
                </c:pt>
                <c:pt idx="42">
                  <c:v>Boursin Classique Fromage Frais A Tartiner Truffe Boite 1X150Gr 1P</c:v>
                </c:pt>
                <c:pt idx="43">
                  <c:v>Boursin Salade &amp; Aperitif Soft Cheese Salade 120G</c:v>
                </c:pt>
                <c:pt idx="44">
                  <c:v>La Vache Qui Rit Nature Fromage Fondu Boite Ronde 1X512Gr 24+8P</c:v>
                </c:pt>
                <c:pt idx="45">
                  <c:v>Mini Babybel Rouge Filet St Paulin Ferme Sachet 1X40Gr 1P</c:v>
                </c:pt>
                <c:pt idx="46">
                  <c:v>Mini Babybel Bio St Paulin Ferme Filet 1X100Gr 5P</c:v>
                </c:pt>
                <c:pt idx="47">
                  <c:v>Kiri Delicieusement Fouette Fromage Frais A Tartiner 1X210Gr 1P</c:v>
                </c:pt>
                <c:pt idx="48">
                  <c:v>La Vache Qui Rit Nature Fromage Fondu Boite Ronde 1X128Gr 8P</c:v>
                </c:pt>
              </c:strCache>
            </c:strRef>
          </c:cat>
          <c:val>
            <c:numRef>
              <c:f>Sheet1!$B$2:$B$50</c:f>
              <c:numCache>
                <c:formatCode>General</c:formatCode>
                <c:ptCount val="49"/>
                <c:pt idx="0">
                  <c:v>1.0</c:v>
                </c:pt>
                <c:pt idx="1">
                  <c:v>0.99</c:v>
                </c:pt>
                <c:pt idx="2">
                  <c:v>1.0</c:v>
                </c:pt>
                <c:pt idx="3">
                  <c:v>1.0</c:v>
                </c:pt>
                <c:pt idx="4">
                  <c:v>1.0</c:v>
                </c:pt>
                <c:pt idx="5">
                  <c:v>0.99</c:v>
                </c:pt>
                <c:pt idx="6">
                  <c:v>1.0</c:v>
                </c:pt>
                <c:pt idx="7">
                  <c:v>1.0</c:v>
                </c:pt>
                <c:pt idx="8">
                  <c:v>0.99</c:v>
                </c:pt>
                <c:pt idx="9">
                  <c:v>1.0</c:v>
                </c:pt>
                <c:pt idx="10">
                  <c:v>0.98</c:v>
                </c:pt>
                <c:pt idx="11">
                  <c:v>1.0</c:v>
                </c:pt>
                <c:pt idx="12">
                  <c:v>1.0</c:v>
                </c:pt>
                <c:pt idx="13">
                  <c:v>1.0</c:v>
                </c:pt>
                <c:pt idx="14">
                  <c:v>0.98</c:v>
                </c:pt>
                <c:pt idx="15">
                  <c:v>0.99</c:v>
                </c:pt>
                <c:pt idx="16">
                  <c:v>1.0</c:v>
                </c:pt>
                <c:pt idx="17">
                  <c:v>0.99</c:v>
                </c:pt>
                <c:pt idx="18">
                  <c:v>0.99</c:v>
                </c:pt>
                <c:pt idx="19">
                  <c:v>0.99</c:v>
                </c:pt>
                <c:pt idx="20">
                  <c:v>1.0</c:v>
                </c:pt>
                <c:pt idx="21">
                  <c:v>0.97</c:v>
                </c:pt>
                <c:pt idx="22">
                  <c:v>0.97</c:v>
                </c:pt>
                <c:pt idx="23">
                  <c:v>1.0</c:v>
                </c:pt>
                <c:pt idx="24">
                  <c:v>0.97</c:v>
                </c:pt>
                <c:pt idx="25">
                  <c:v>0.99</c:v>
                </c:pt>
                <c:pt idx="26">
                  <c:v>0.99</c:v>
                </c:pt>
                <c:pt idx="27">
                  <c:v>0.92</c:v>
                </c:pt>
                <c:pt idx="28">
                  <c:v>0.98</c:v>
                </c:pt>
                <c:pt idx="29">
                  <c:v>0.87</c:v>
                </c:pt>
                <c:pt idx="30">
                  <c:v>0.95</c:v>
                </c:pt>
                <c:pt idx="31">
                  <c:v>0.88</c:v>
                </c:pt>
                <c:pt idx="32">
                  <c:v>0.98</c:v>
                </c:pt>
                <c:pt idx="33">
                  <c:v>0.95</c:v>
                </c:pt>
                <c:pt idx="34">
                  <c:v>0.92</c:v>
                </c:pt>
                <c:pt idx="35">
                  <c:v>0.95</c:v>
                </c:pt>
                <c:pt idx="36">
                  <c:v>0.94</c:v>
                </c:pt>
                <c:pt idx="37">
                  <c:v>0.97</c:v>
                </c:pt>
                <c:pt idx="38">
                  <c:v>0.7</c:v>
                </c:pt>
                <c:pt idx="39">
                  <c:v>0.93</c:v>
                </c:pt>
                <c:pt idx="40">
                  <c:v>0.9</c:v>
                </c:pt>
                <c:pt idx="41">
                  <c:v>0.99</c:v>
                </c:pt>
                <c:pt idx="42">
                  <c:v>0.92</c:v>
                </c:pt>
                <c:pt idx="43">
                  <c:v>0.73</c:v>
                </c:pt>
                <c:pt idx="44">
                  <c:v>0.32</c:v>
                </c:pt>
                <c:pt idx="45">
                  <c:v>0.24</c:v>
                </c:pt>
                <c:pt idx="46">
                  <c:v>0.55</c:v>
                </c:pt>
                <c:pt idx="47">
                  <c:v>0.64</c:v>
                </c:pt>
                <c:pt idx="48">
                  <c:v>0.13</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7ECAC4"/>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AEABAB"/>
              </a:solidFill>
            </c:spPr>
            <c:extLst>
              <c:ext xmlns:c16="http://schemas.microsoft.com/office/drawing/2014/chart" uri="{C3380CC4-5D6E-409C-BE32-E72D297353CC}">
                <c16:uniqueId val="{0000003B-FA3E-4872-B6E1-C4ABDF5766E2}"/>
              </c:ext>
            </c:extLst>
          </c:dPt>
          <c:dPt>
            <c:idx val="29"/>
            <c:invertIfNegative val="1"/>
            <c:bubble3D val="0"/>
            <c:spPr>
              <a:solidFill>
                <a:srgbClr val="AEABAB"/>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dPt>
            <c:idx val="44"/>
            <c:spPr>
              <a:solidFill>
                <a:srgbClr val="AEABAB"/>
              </a:solidFill>
            </c:spPr>
          </c:dPt>
          <c:dPt>
            <c:idx val="45"/>
            <c:spPr>
              <a:solidFill>
                <a:srgbClr val="AEABAB"/>
              </a:solidFill>
            </c:spPr>
          </c:dPt>
          <c:dPt>
            <c:idx val="46"/>
            <c:spPr>
              <a:solidFill>
                <a:srgbClr val="AEABAB"/>
              </a:solidFill>
            </c:spPr>
          </c:dPt>
          <c:dPt>
            <c:idx val="47"/>
            <c:spPr>
              <a:solidFill>
                <a:srgbClr val="AEABAB"/>
              </a:solidFill>
            </c:spPr>
          </c:dPt>
          <c:dPt>
            <c:idx val="48"/>
            <c:spPr>
              <a:solidFill>
                <a:srgbClr val="AEABAB"/>
              </a:solidFill>
            </c:spPr>
          </c:dPt>
          <c:cat>
            <c:strRef>
              <c:f>Sheet1!$A$2:$A$50</c:f>
              <c:strCache>
                <c:ptCount val="49"/>
                <c:pt idx="0">
                  <c:v>Mini Babybel Rouge Filet St Paulin Ferme 1X264Gr 12P</c:v>
                </c:pt>
                <c:pt idx="1">
                  <c:v>La Vache Qui Rit Nature Fromage Fondu Boite Ronde 1X512Gr 32P</c:v>
                </c:pt>
                <c:pt idx="2">
                  <c:v>La Vache Qui Rit Nature Fromage Fondu Boite Ronde 1X192Gr 12P</c:v>
                </c:pt>
                <c:pt idx="3">
                  <c:v>La Vache Qui Rit Nature Fromage Fondu Boite Ronde 1X384Gr 24P</c:v>
                </c:pt>
                <c:pt idx="4">
                  <c:v>Mini Babybel Rouge Filet St Paulin Ferme 1X132Gr 6P</c:v>
                </c:pt>
                <c:pt idx="5">
                  <c:v>Kiri Creme Fromage Blanc Frais Carre 1X432Gr 24P</c:v>
                </c:pt>
                <c:pt idx="6">
                  <c:v>Kiri Creme Fromage Blanc Frais Carre 1X216Gr 12P</c:v>
                </c:pt>
                <c:pt idx="7">
                  <c:v>Boursin Classique Fromage Frais A Tartiner Afh Boite 1X250Gr 1P</c:v>
                </c:pt>
                <c:pt idx="8">
                  <c:v>Kiri Gouter Fromage Blanc Dips Boite 1X280Gr 8P</c:v>
                </c:pt>
                <c:pt idx="9">
                  <c:v>Boursin Classique Fromage Frais A Tartiner Afh 1X160Gr 10P</c:v>
                </c:pt>
                <c:pt idx="10">
                  <c:v>Mini Babybel Rouge Filet St Paulin Ferme 1X440Gr 20P</c:v>
                </c:pt>
                <c:pt idx="11">
                  <c:v>Boursin Classique Fromage Frais A Tartiner Afh Boite 1X150Gr 1P</c:v>
                </c:pt>
                <c:pt idx="12">
                  <c:v>Kiri Creme Fromage Blanc Frais Carre 1X144Gr 8P</c:v>
                </c:pt>
                <c:pt idx="13">
                  <c:v>Kiri Gouter Fromage Blanc Dips Boite 1X175Gr 5P</c:v>
                </c:pt>
                <c:pt idx="14">
                  <c:v>La Vache Qui Rit Pik Et Croq' Fromage Fondu Dips Boite 1X280Gr 8P</c:v>
                </c:pt>
                <c:pt idx="15">
                  <c:v>La Vache Qui Rit Pik Et Croq' Fromage Fondu Dips Boite 1X175Gr 5P</c:v>
                </c:pt>
                <c:pt idx="16">
                  <c:v>Boursin Salade &amp; Aperitif Fromage Frais Des Afh 1X120Gr 1P</c:v>
                </c:pt>
                <c:pt idx="17">
                  <c:v>Boursin Classique Fromage Frais A Tartiner Afh 1X256Gr 16P</c:v>
                </c:pt>
                <c:pt idx="18">
                  <c:v>Boursin Onctueux Fromage Frais A Tartiner Afh 1X125Gr 1P</c:v>
                </c:pt>
                <c:pt idx="19">
                  <c:v>Boursin Classique Fromage Frais A Tartiner Afh Boite 1X96Gr 6P</c:v>
                </c:pt>
                <c:pt idx="20">
                  <c:v>Boursin Classique Fromage Frais A Tartiner Figue Et 3 Noix Boite 1X150Gr 1P</c:v>
                </c:pt>
                <c:pt idx="21">
                  <c:v>La Vache Qui Rit Allegee Fromage Fondu Boite Ronde Allege 1X267Gr 16P</c:v>
                </c:pt>
                <c:pt idx="22">
                  <c:v>Babybel Mini Rolls St Paulin Ferme Sachet 1X85Gr 5P</c:v>
                </c:pt>
                <c:pt idx="23">
                  <c:v>Boursin Classique Fromage Frais A Tartiner Ciboulette &amp; Echalote Boite 1X150Gr 1P</c:v>
                </c:pt>
                <c:pt idx="24">
                  <c:v>Mini Babybel Aros St Paulin Ferme Assortis Filet 1X180Gr 9P</c:v>
                </c:pt>
                <c:pt idx="25">
                  <c:v>Boursin Classique Fromage Frais A Tartiner Poivre Boite 1X150Gr 1P</c:v>
                </c:pt>
                <c:pt idx="26">
                  <c:v>Kiri Delicieusement Fouette Fromage Frais A Tartiner 1X125Gr 1P</c:v>
                </c:pt>
                <c:pt idx="27">
                  <c:v>La Vache Qui Rit Aro Fromage Fondu Boite Ronde Jambon 1X133Gr 8P</c:v>
                </c:pt>
                <c:pt idx="28">
                  <c:v>Boursin Classique Fromage Frais A Tartiner Ciboulette &amp; Echalote 1X160Gr 10P</c:v>
                </c:pt>
                <c:pt idx="29">
                  <c:v>Kiri Bio Fromage Blanc Frais Carre 1X144Gr 8P</c:v>
                </c:pt>
                <c:pt idx="30">
                  <c:v>Mini Babybel Aros Soft Cheese Enfant 180G</c:v>
                </c:pt>
                <c:pt idx="31">
                  <c:v>Kiri Chevre Fromage Blanc Frais Carre 1X144Gr 8P</c:v>
                </c:pt>
                <c:pt idx="32">
                  <c:v>Kiri Delicieusement Fouette Fromage Frais A Tartiner 1X160Gr 10P</c:v>
                </c:pt>
                <c:pt idx="33">
                  <c:v>Boursin Salade &amp; Aperitif Fromage Frais Des Ciboulette Echalote 1X120Gr 1P</c:v>
                </c:pt>
                <c:pt idx="34">
                  <c:v>Mini Babybel Rouge Filet St Paulin Ferme 1X396Gr 12+6P</c:v>
                </c:pt>
                <c:pt idx="35">
                  <c:v>Mini Babybel Aros St Paulin Ferme Raclette Filet 1X132Gr 6P</c:v>
                </c:pt>
                <c:pt idx="36">
                  <c:v>Kiri Creme Fromage Blanc Frais Carre 1X432Gr 18+6P</c:v>
                </c:pt>
                <c:pt idx="37">
                  <c:v>Boursin Salade &amp; Aperitif Fromage Frais Des Figue Noix 1X120Gr 1P</c:v>
                </c:pt>
                <c:pt idx="38">
                  <c:v>Boursin Classique Fromage Frais A Tartiner Afh Boite 1X80Gr 1P</c:v>
                </c:pt>
                <c:pt idx="39">
                  <c:v>Boursin Salade &amp; Aperitif Fromage Frais Des Citron Romarin 1X120Gr 1P</c:v>
                </c:pt>
                <c:pt idx="40">
                  <c:v>Mini Babybel Aros Soft Cheese Enfant 110G</c:v>
                </c:pt>
                <c:pt idx="41">
                  <c:v>Boursin Salade &amp; Aperitif Fromage Frais Des Noisette Et 3 Noix 1X120Gr 1P</c:v>
                </c:pt>
                <c:pt idx="42">
                  <c:v>Boursin Classique Fromage Frais A Tartiner Truffe Boite 1X150Gr 1P</c:v>
                </c:pt>
                <c:pt idx="43">
                  <c:v>Boursin Salade &amp; Aperitif Soft Cheese Salade 120G</c:v>
                </c:pt>
                <c:pt idx="44">
                  <c:v>La Vache Qui Rit Nature Fromage Fondu Boite Ronde 1X512Gr 24+8P</c:v>
                </c:pt>
                <c:pt idx="45">
                  <c:v>Mini Babybel Rouge Filet St Paulin Ferme Sachet 1X40Gr 1P</c:v>
                </c:pt>
                <c:pt idx="46">
                  <c:v>Mini Babybel Bio St Paulin Ferme Filet 1X100Gr 5P</c:v>
                </c:pt>
                <c:pt idx="47">
                  <c:v>Kiri Delicieusement Fouette Fromage Frais A Tartiner 1X210Gr 1P</c:v>
                </c:pt>
                <c:pt idx="48">
                  <c:v>La Vache Qui Rit Nature Fromage Fondu Boite Ronde 1X128Gr 8P</c:v>
                </c:pt>
              </c:strCache>
            </c:strRef>
          </c:cat>
          <c:val>
            <c:numRef>
              <c:f>Sheet1!$C$2:$C$50</c:f>
              <c:numCache>
                <c:formatCode>General</c:formatCode>
                <c:ptCount val="49"/>
                <c:pt idx="0">
                  <c:v>0.1352498442968706</c:v>
                </c:pt>
                <c:pt idx="1">
                  <c:v>0.2431213918129469</c:v>
                </c:pt>
                <c:pt idx="2">
                  <c:v>0.31655444823796874</c:v>
                </c:pt>
                <c:pt idx="3">
                  <c:v>0.3826375924220696</c:v>
                </c:pt>
                <c:pt idx="4">
                  <c:v>0.4428014913561764</c:v>
                </c:pt>
                <c:pt idx="5">
                  <c:v>0.4991465285375975</c:v>
                </c:pt>
                <c:pt idx="6">
                  <c:v>0.5548396765417041</c:v>
                </c:pt>
                <c:pt idx="7">
                  <c:v>0.5939160378560949</c:v>
                </c:pt>
                <c:pt idx="8">
                  <c:v>0.6294133960270605</c:v>
                </c:pt>
                <c:pt idx="9">
                  <c:v>0.6629044646781981</c:v>
                </c:pt>
                <c:pt idx="10">
                  <c:v>0.6948075663760558</c:v>
                </c:pt>
                <c:pt idx="11">
                  <c:v>0.723413088863134</c:v>
                </c:pt>
                <c:pt idx="12">
                  <c:v>0.7512052275448822</c:v>
                </c:pt>
                <c:pt idx="13">
                  <c:v>0.7755082623950225</c:v>
                </c:pt>
                <c:pt idx="14">
                  <c:v>0.7966337426723242</c:v>
                </c:pt>
                <c:pt idx="15">
                  <c:v>0.8163761272806469</c:v>
                </c:pt>
                <c:pt idx="16">
                  <c:v>0.8300029753526212</c:v>
                </c:pt>
                <c:pt idx="17">
                  <c:v>0.8435094174534128</c:v>
                </c:pt>
                <c:pt idx="18">
                  <c:v>0.8566241349812904</c:v>
                </c:pt>
                <c:pt idx="19">
                  <c:v>0.8694957525673499</c:v>
                </c:pt>
                <c:pt idx="20">
                  <c:v>0.8805218125951129</c:v>
                </c:pt>
                <c:pt idx="21">
                  <c:v>0.8913403320058806</c:v>
                </c:pt>
                <c:pt idx="22">
                  <c:v>0.9017181255221287</c:v>
                </c:pt>
                <c:pt idx="23">
                  <c:v>0.9110883412795238</c:v>
                </c:pt>
                <c:pt idx="24">
                  <c:v>0.9204567457040189</c:v>
                </c:pt>
                <c:pt idx="25">
                  <c:v>0.9288455050296425</c:v>
                </c:pt>
                <c:pt idx="26">
                  <c:v>0.936136310618043</c:v>
                </c:pt>
                <c:pt idx="27">
                  <c:v>0.9433094749012657</c:v>
                </c:pt>
                <c:pt idx="28">
                  <c:v>0.9502685205690674</c:v>
                </c:pt>
                <c:pt idx="29">
                  <c:v>0.9560601145162793</c:v>
                </c:pt>
                <c:pt idx="30">
                  <c:v>0.9614430145613052</c:v>
                </c:pt>
                <c:pt idx="31">
                  <c:v>0.966599402660543</c:v>
                </c:pt>
                <c:pt idx="32">
                  <c:v>0.9710346895990309</c:v>
                </c:pt>
                <c:pt idx="33">
                  <c:v>0.9753100072424716</c:v>
                </c:pt>
                <c:pt idx="34">
                  <c:v>0.9793815022680271</c:v>
                </c:pt>
                <c:pt idx="35">
                  <c:v>0.983291693332188</c:v>
                </c:pt>
                <c:pt idx="36">
                  <c:v>0.9869603097874992</c:v>
                </c:pt>
                <c:pt idx="37">
                  <c:v>0.9898280311011578</c:v>
                </c:pt>
                <c:pt idx="38">
                  <c:v>0.9918738839448503</c:v>
                </c:pt>
                <c:pt idx="39">
                  <c:v>0.9936222015264197</c:v>
                </c:pt>
                <c:pt idx="40">
                  <c:v>0.9953543124452011</c:v>
                </c:pt>
                <c:pt idx="41">
                  <c:v>0.9966534194676149</c:v>
                </c:pt>
                <c:pt idx="42">
                  <c:v>0.9974006419554463</c:v>
                </c:pt>
                <c:pt idx="43">
                  <c:v>0.9981412864448521</c:v>
                </c:pt>
                <c:pt idx="44">
                  <c:v>0.9986823029820355</c:v>
                </c:pt>
                <c:pt idx="45">
                  <c:v>0.9992164555208617</c:v>
                </c:pt>
                <c:pt idx="46">
                  <c:v>0.9996291534220894</c:v>
                </c:pt>
                <c:pt idx="47">
                  <c:v>0.9999842700037648</c:v>
                </c:pt>
                <c:pt idx="48">
                  <c:v>0.9999938986681269</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50</c:f>
              <c:strCache>
                <c:ptCount val="49"/>
                <c:pt idx="0">
                  <c:v>Mini Babybel Rouge Filet St Paulin Ferme 1X264Gr 12P</c:v>
                </c:pt>
                <c:pt idx="1">
                  <c:v>La Vache Qui Rit Nature Fromage Fondu Boite Ronde 1X512Gr 32P</c:v>
                </c:pt>
                <c:pt idx="2">
                  <c:v>La Vache Qui Rit Nature Fromage Fondu Boite Ronde 1X192Gr 12P</c:v>
                </c:pt>
                <c:pt idx="3">
                  <c:v>La Vache Qui Rit Nature Fromage Fondu Boite Ronde 1X384Gr 24P</c:v>
                </c:pt>
                <c:pt idx="4">
                  <c:v>Mini Babybel Rouge Filet St Paulin Ferme 1X132Gr 6P</c:v>
                </c:pt>
                <c:pt idx="5">
                  <c:v>Kiri Creme Fromage Blanc Frais Carre 1X432Gr 24P</c:v>
                </c:pt>
                <c:pt idx="6">
                  <c:v>Kiri Creme Fromage Blanc Frais Carre 1X216Gr 12P</c:v>
                </c:pt>
                <c:pt idx="7">
                  <c:v>Boursin Classique Fromage Frais A Tartiner Afh Boite 1X250Gr 1P</c:v>
                </c:pt>
                <c:pt idx="8">
                  <c:v>Kiri Gouter Fromage Blanc Dips Boite 1X280Gr 8P</c:v>
                </c:pt>
                <c:pt idx="9">
                  <c:v>Boursin Classique Fromage Frais A Tartiner Afh 1X160Gr 10P</c:v>
                </c:pt>
                <c:pt idx="10">
                  <c:v>Mini Babybel Rouge Filet St Paulin Ferme 1X440Gr 20P</c:v>
                </c:pt>
                <c:pt idx="11">
                  <c:v>Boursin Classique Fromage Frais A Tartiner Afh Boite 1X150Gr 1P</c:v>
                </c:pt>
                <c:pt idx="12">
                  <c:v>Kiri Creme Fromage Blanc Frais Carre 1X144Gr 8P</c:v>
                </c:pt>
                <c:pt idx="13">
                  <c:v>Kiri Gouter Fromage Blanc Dips Boite 1X175Gr 5P</c:v>
                </c:pt>
                <c:pt idx="14">
                  <c:v>La Vache Qui Rit Pik Et Croq' Fromage Fondu Dips Boite 1X280Gr 8P</c:v>
                </c:pt>
                <c:pt idx="15">
                  <c:v>La Vache Qui Rit Pik Et Croq' Fromage Fondu Dips Boite 1X175Gr 5P</c:v>
                </c:pt>
                <c:pt idx="16">
                  <c:v>Boursin Salade &amp; Aperitif Fromage Frais Des Afh 1X120Gr 1P</c:v>
                </c:pt>
                <c:pt idx="17">
                  <c:v>Boursin Classique Fromage Frais A Tartiner Afh 1X256Gr 16P</c:v>
                </c:pt>
                <c:pt idx="18">
                  <c:v>Boursin Onctueux Fromage Frais A Tartiner Afh 1X125Gr 1P</c:v>
                </c:pt>
                <c:pt idx="19">
                  <c:v>Boursin Classique Fromage Frais A Tartiner Afh Boite 1X96Gr 6P</c:v>
                </c:pt>
                <c:pt idx="20">
                  <c:v>Boursin Classique Fromage Frais A Tartiner Figue Et 3 Noix Boite 1X150Gr 1P</c:v>
                </c:pt>
                <c:pt idx="21">
                  <c:v>La Vache Qui Rit Allegee Fromage Fondu Boite Ronde Allege 1X267Gr 16P</c:v>
                </c:pt>
                <c:pt idx="22">
                  <c:v>Babybel Mini Rolls St Paulin Ferme Sachet 1X85Gr 5P</c:v>
                </c:pt>
                <c:pt idx="23">
                  <c:v>Boursin Classique Fromage Frais A Tartiner Ciboulette &amp; Echalote Boite 1X150Gr 1P</c:v>
                </c:pt>
                <c:pt idx="24">
                  <c:v>Mini Babybel Aros St Paulin Ferme Assortis Filet 1X180Gr 9P</c:v>
                </c:pt>
                <c:pt idx="25">
                  <c:v>Boursin Classique Fromage Frais A Tartiner Poivre Boite 1X150Gr 1P</c:v>
                </c:pt>
                <c:pt idx="26">
                  <c:v>Kiri Delicieusement Fouette Fromage Frais A Tartiner 1X125Gr 1P</c:v>
                </c:pt>
                <c:pt idx="27">
                  <c:v>La Vache Qui Rit Aro Fromage Fondu Boite Ronde Jambon 1X133Gr 8P</c:v>
                </c:pt>
                <c:pt idx="28">
                  <c:v>Boursin Classique Fromage Frais A Tartiner Ciboulette &amp; Echalote 1X160Gr 10P</c:v>
                </c:pt>
                <c:pt idx="29">
                  <c:v>Kiri Bio Fromage Blanc Frais Carre 1X144Gr 8P</c:v>
                </c:pt>
                <c:pt idx="30">
                  <c:v>Mini Babybel Aros Soft Cheese Enfant 180G</c:v>
                </c:pt>
                <c:pt idx="31">
                  <c:v>Kiri Chevre Fromage Blanc Frais Carre 1X144Gr 8P</c:v>
                </c:pt>
                <c:pt idx="32">
                  <c:v>Kiri Delicieusement Fouette Fromage Frais A Tartiner 1X160Gr 10P</c:v>
                </c:pt>
                <c:pt idx="33">
                  <c:v>Boursin Salade &amp; Aperitif Fromage Frais Des Ciboulette Echalote 1X120Gr 1P</c:v>
                </c:pt>
                <c:pt idx="34">
                  <c:v>Mini Babybel Rouge Filet St Paulin Ferme 1X396Gr 12+6P</c:v>
                </c:pt>
                <c:pt idx="35">
                  <c:v>Mini Babybel Aros St Paulin Ferme Raclette Filet 1X132Gr 6P</c:v>
                </c:pt>
                <c:pt idx="36">
                  <c:v>Kiri Creme Fromage Blanc Frais Carre 1X432Gr 18+6P</c:v>
                </c:pt>
                <c:pt idx="37">
                  <c:v>Boursin Salade &amp; Aperitif Fromage Frais Des Figue Noix 1X120Gr 1P</c:v>
                </c:pt>
                <c:pt idx="38">
                  <c:v>Boursin Classique Fromage Frais A Tartiner Afh Boite 1X80Gr 1P</c:v>
                </c:pt>
                <c:pt idx="39">
                  <c:v>Boursin Salade &amp; Aperitif Fromage Frais Des Citron Romarin 1X120Gr 1P</c:v>
                </c:pt>
                <c:pt idx="40">
                  <c:v>Mini Babybel Aros Soft Cheese Enfant 110G</c:v>
                </c:pt>
                <c:pt idx="41">
                  <c:v>Boursin Salade &amp; Aperitif Fromage Frais Des Noisette Et 3 Noix 1X120Gr 1P</c:v>
                </c:pt>
                <c:pt idx="42">
                  <c:v>Boursin Classique Fromage Frais A Tartiner Truffe Boite 1X150Gr 1P</c:v>
                </c:pt>
                <c:pt idx="43">
                  <c:v>Boursin Salade &amp; Aperitif Soft Cheese Salade 120G</c:v>
                </c:pt>
                <c:pt idx="44">
                  <c:v>La Vache Qui Rit Nature Fromage Fondu Boite Ronde 1X512Gr 24+8P</c:v>
                </c:pt>
                <c:pt idx="45">
                  <c:v>Mini Babybel Rouge Filet St Paulin Ferme Sachet 1X40Gr 1P</c:v>
                </c:pt>
                <c:pt idx="46">
                  <c:v>Mini Babybel Bio St Paulin Ferme Filet 1X100Gr 5P</c:v>
                </c:pt>
                <c:pt idx="47">
                  <c:v>Kiri Delicieusement Fouette Fromage Frais A Tartiner 1X210Gr 1P</c:v>
                </c:pt>
                <c:pt idx="48">
                  <c:v>La Vache Qui Rit Nature Fromage Fondu Boite Ronde 1X128Gr 8P</c:v>
                </c:pt>
              </c:strCache>
            </c:strRef>
          </c:cat>
          <c:val>
            <c:numRef>
              <c:f>Sheet1!$D$2:$D$50</c:f>
              <c:numCache>
                <c:formatCode>General</c:formatCode>
                <c:ptCount val="49"/>
                <c:pt idx="0">
                  <c:v>14187.05</c:v>
                </c:pt>
                <c:pt idx="1">
                  <c:v>11429.494949494949</c:v>
                </c:pt>
                <c:pt idx="2">
                  <c:v>7702.77</c:v>
                </c:pt>
                <c:pt idx="3">
                  <c:v>6931.8</c:v>
                </c:pt>
                <c:pt idx="4">
                  <c:v>6310.9</c:v>
                </c:pt>
                <c:pt idx="5">
                  <c:v>5970.020202020202</c:v>
                </c:pt>
                <c:pt idx="6">
                  <c:v>5841.94</c:v>
                </c:pt>
                <c:pt idx="7">
                  <c:v>4098.92</c:v>
                </c:pt>
                <c:pt idx="8">
                  <c:v>3761.1111111111113</c:v>
                </c:pt>
                <c:pt idx="9">
                  <c:v>3513.05</c:v>
                </c:pt>
                <c:pt idx="10">
                  <c:v>3414.7755102040815</c:v>
                </c:pt>
                <c:pt idx="11">
                  <c:v>3000.58</c:v>
                </c:pt>
                <c:pt idx="12">
                  <c:v>2915.26</c:v>
                </c:pt>
                <c:pt idx="13">
                  <c:v>2549.27</c:v>
                </c:pt>
                <c:pt idx="14">
                  <c:v>2261.183673469388</c:v>
                </c:pt>
                <c:pt idx="15">
                  <c:v>2091.7979797979797</c:v>
                </c:pt>
                <c:pt idx="16">
                  <c:v>1429.39</c:v>
                </c:pt>
                <c:pt idx="17">
                  <c:v>1431.0707070707072</c:v>
                </c:pt>
                <c:pt idx="18">
                  <c:v>1389.5656565656566</c:v>
                </c:pt>
                <c:pt idx="19">
                  <c:v>1363.8080808080808</c:v>
                </c:pt>
                <c:pt idx="20">
                  <c:v>1156.58</c:v>
                </c:pt>
                <c:pt idx="21">
                  <c:v>1169.9072164948454</c:v>
                </c:pt>
                <c:pt idx="22">
                  <c:v>1122.2474226804125</c:v>
                </c:pt>
                <c:pt idx="23">
                  <c:v>982.89</c:v>
                </c:pt>
                <c:pt idx="24">
                  <c:v>1013.0927835051547</c:v>
                </c:pt>
                <c:pt idx="25">
                  <c:v>888.8282828282828</c:v>
                </c:pt>
                <c:pt idx="26">
                  <c:v>772.4949494949495</c:v>
                </c:pt>
                <c:pt idx="27">
                  <c:v>817.8586956521739</c:v>
                </c:pt>
                <c:pt idx="28">
                  <c:v>744.8673469387755</c:v>
                </c:pt>
                <c:pt idx="29">
                  <c:v>698.2873563218391</c:v>
                </c:pt>
                <c:pt idx="30">
                  <c:v>594.3578947368421</c:v>
                </c:pt>
                <c:pt idx="31">
                  <c:v>614.6363636363636</c:v>
                </c:pt>
                <c:pt idx="32">
                  <c:v>474.734693877551</c:v>
                </c:pt>
                <c:pt idx="33">
                  <c:v>472.06315789473683</c:v>
                </c:pt>
                <c:pt idx="34">
                  <c:v>464.2173913043478</c:v>
                </c:pt>
                <c:pt idx="35">
                  <c:v>431.7473684210526</c:v>
                </c:pt>
                <c:pt idx="36">
                  <c:v>409.3829787234043</c:v>
                </c:pt>
                <c:pt idx="37">
                  <c:v>310.11340206185565</c:v>
                </c:pt>
                <c:pt idx="38">
                  <c:v>306.57142857142856</c:v>
                </c:pt>
                <c:pt idx="39">
                  <c:v>197.19354838709677</c:v>
                </c:pt>
                <c:pt idx="40">
                  <c:v>201.87777777777777</c:v>
                </c:pt>
                <c:pt idx="41">
                  <c:v>137.64646464646464</c:v>
                </c:pt>
                <c:pt idx="42">
                  <c:v>85.19565217391305</c:v>
                </c:pt>
                <c:pt idx="43">
                  <c:v>106.42465753424658</c:v>
                </c:pt>
                <c:pt idx="44">
                  <c:v>177.34375</c:v>
                </c:pt>
                <c:pt idx="45">
                  <c:v>233.45833333333334</c:v>
                </c:pt>
                <c:pt idx="46">
                  <c:v>78.7090909090909</c:v>
                </c:pt>
                <c:pt idx="47">
                  <c:v>58.203125</c:v>
                </c:pt>
                <c:pt idx="48">
                  <c:v>7.76923076923076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9</c:f>
              <c:strCache>
                <c:ptCount val="48"/>
                <c:pt idx="0">
                  <c:v>Mini Babybel Rouge Filet St Paulin Ferme 1X264Gr 12P</c:v>
                </c:pt>
                <c:pt idx="1">
                  <c:v>La Vache Qui Rit Nature Fromage Fondu Boite Ronde 1X192Gr 12P</c:v>
                </c:pt>
                <c:pt idx="2">
                  <c:v>Mini Babybel Rouge Filet St Paulin Ferme 1X132Gr 6P</c:v>
                </c:pt>
                <c:pt idx="3">
                  <c:v>La Vache Qui Rit Nature Fromage Fondu Boite Ronde 1X512Gr 32P</c:v>
                </c:pt>
                <c:pt idx="4">
                  <c:v>Kiri Creme Fromage Blanc Frais Carre 1X216Gr 12P</c:v>
                </c:pt>
                <c:pt idx="5">
                  <c:v>La Vache Qui Rit Nature Fromage Fondu Boite Ronde 1X384Gr 24P</c:v>
                </c:pt>
                <c:pt idx="6">
                  <c:v>Kiri Creme Fromage Blanc Frais Carre 1X144Gr 8P</c:v>
                </c:pt>
                <c:pt idx="7">
                  <c:v>Boursin Classique Fromage Frais A Tartiner Afh Boite 1X150Gr 1P</c:v>
                </c:pt>
                <c:pt idx="8">
                  <c:v>Boursin Classique Fromage Frais A Tartiner Afh 1X160Gr 10P</c:v>
                </c:pt>
                <c:pt idx="9">
                  <c:v>Kiri Gouter Fromage Blanc Dips Boite 1X175Gr 5P</c:v>
                </c:pt>
                <c:pt idx="10">
                  <c:v>Kiri Creme Fromage Blanc Frais Carre 1X432Gr 24P</c:v>
                </c:pt>
                <c:pt idx="11">
                  <c:v>Boursin Classique Fromage Frais A Tartiner Afh Boite 1X250Gr 1P</c:v>
                </c:pt>
                <c:pt idx="12">
                  <c:v>Kiri Gouter Fromage Blanc Dips Boite 1X280Gr 8P</c:v>
                </c:pt>
                <c:pt idx="13">
                  <c:v>Boursin Onctueux Fromage Frais A Tartiner Afh 1X125Gr 1P</c:v>
                </c:pt>
                <c:pt idx="14">
                  <c:v>La Vache Qui Rit Pik Et Croq' Fromage Fondu Dips Boite 1X175Gr 5P</c:v>
                </c:pt>
                <c:pt idx="15">
                  <c:v>Boursin Classique Fromage Frais A Tartiner Figue Et 3 Noix Boite 1X150Gr 1P</c:v>
                </c:pt>
                <c:pt idx="16">
                  <c:v>Boursin Classique Fromage Frais A Tartiner Afh Boite 1X96Gr 6P</c:v>
                </c:pt>
                <c:pt idx="17">
                  <c:v>Boursin Salade &amp; Aperitif Fromage Frais Des Afh 1X120Gr 1P</c:v>
                </c:pt>
                <c:pt idx="18">
                  <c:v>Boursin Classique Fromage Frais A Tartiner Ciboulette &amp; Echalote Boite 1X150Gr 1P</c:v>
                </c:pt>
                <c:pt idx="19">
                  <c:v>Mini Babybel Rouge Filet St Paulin Ferme 1X440Gr 20P</c:v>
                </c:pt>
                <c:pt idx="20">
                  <c:v>La Vache Qui Rit Allegee Fromage Fondu Boite Ronde Allege 1X267Gr 16P</c:v>
                </c:pt>
                <c:pt idx="21">
                  <c:v>Boursin Classique Fromage Frais A Tartiner Poivre Boite 1X150Gr 1P</c:v>
                </c:pt>
                <c:pt idx="22">
                  <c:v>La Vache Qui Rit Pik Et Croq' Fromage Fondu Dips Boite 1X280Gr 8P</c:v>
                </c:pt>
                <c:pt idx="23">
                  <c:v>Babybel Mini Rolls St Paulin Ferme Sachet 1X85Gr 5P</c:v>
                </c:pt>
                <c:pt idx="24">
                  <c:v>Kiri Bio Fromage Blanc Frais Carre 1X144Gr 8P</c:v>
                </c:pt>
                <c:pt idx="25">
                  <c:v>Boursin Classique Fromage Frais A Tartiner Afh 1X256Gr 16P</c:v>
                </c:pt>
                <c:pt idx="26">
                  <c:v>Kiri Delicieusement Fouette Fromage Frais A Tartiner 1X125Gr 1P</c:v>
                </c:pt>
                <c:pt idx="27">
                  <c:v>Mini Babybel Aros St Paulin Ferme Assortis Filet 1X180Gr 9P</c:v>
                </c:pt>
                <c:pt idx="28">
                  <c:v>Kiri Creme Fromage Blanc Frais Carre 1X432Gr 18+6P</c:v>
                </c:pt>
                <c:pt idx="29">
                  <c:v>Boursin Classique Fromage Frais A Tartiner Ciboulette &amp; Echalote 1X160Gr 10P</c:v>
                </c:pt>
                <c:pt idx="30">
                  <c:v>La Vache Qui Rit Aro Fromage Fondu Boite Ronde Jambon 1X133Gr 8P</c:v>
                </c:pt>
                <c:pt idx="31">
                  <c:v>Kiri Chevre Fromage Blanc Frais Carre 1X144Gr 8P</c:v>
                </c:pt>
                <c:pt idx="32">
                  <c:v>Mini Babybel Rouge Filet St Paulin Ferme 1X396Gr 12+6P</c:v>
                </c:pt>
                <c:pt idx="33">
                  <c:v>Mini Babybel Aros Soft Cheese Enfant 180G</c:v>
                </c:pt>
                <c:pt idx="34">
                  <c:v>Kiri Delicieusement Fouette Fromage Frais A Tartiner 1X160Gr 10P</c:v>
                </c:pt>
                <c:pt idx="35">
                  <c:v>Mini Babybel Aros St Paulin Ferme Raclette Filet 1X132Gr 6P</c:v>
                </c:pt>
                <c:pt idx="36">
                  <c:v>Boursin Salade &amp; Aperitif Fromage Frais Des Ciboulette Echalote 1X120Gr 1P</c:v>
                </c:pt>
                <c:pt idx="37">
                  <c:v>Boursin Salade &amp; Aperitif Fromage Frais Des Figue Noix 1X120Gr 1P</c:v>
                </c:pt>
                <c:pt idx="38">
                  <c:v>Boursin Classique Fromage Frais A Tartiner Afh Boite 1X80Gr 1P</c:v>
                </c:pt>
                <c:pt idx="39">
                  <c:v>Boursin Salade &amp; Aperitif Fromage Frais Des Citron Romarin 1X120Gr 1P</c:v>
                </c:pt>
                <c:pt idx="40">
                  <c:v>Mini Babybel Rouge Filet St Paulin Ferme Sachet 1X40Gr 1P</c:v>
                </c:pt>
                <c:pt idx="41">
                  <c:v>Mini Babybel Aros Soft Cheese Enfant 110G</c:v>
                </c:pt>
                <c:pt idx="42">
                  <c:v>Boursin Salade &amp; Aperitif Fromage Frais Des Noisette Et 3 Noix 1X120Gr 1P</c:v>
                </c:pt>
                <c:pt idx="43">
                  <c:v>Boursin Classique Fromage Frais A Tartiner Truffe Boite 1X150Gr 1P</c:v>
                </c:pt>
                <c:pt idx="44">
                  <c:v>Boursin Salade &amp; Aperitif Soft Cheese Salade 120G</c:v>
                </c:pt>
                <c:pt idx="45">
                  <c:v>Mini Babybel Bio St Paulin Ferme Filet 1X100Gr 5P</c:v>
                </c:pt>
                <c:pt idx="46">
                  <c:v>La Vache Qui Rit Nature Fromage Fondu Boite Ronde 1X128Gr 8P</c:v>
                </c:pt>
                <c:pt idx="47">
                  <c:v>Kiri Delicieusement Fouette Fromage Frais A Tartiner 1X210Gr 1P</c:v>
                </c:pt>
              </c:strCache>
            </c:strRef>
          </c:cat>
          <c:val>
            <c:numRef>
              <c:f>Sheet1!$B$2:$B$49</c:f>
              <c:numCache>
                <c:formatCode>General</c:formatCode>
                <c:ptCount val="48"/>
                <c:pt idx="0">
                  <c:v>0.88</c:v>
                </c:pt>
                <c:pt idx="1">
                  <c:v>0.98</c:v>
                </c:pt>
                <c:pt idx="2">
                  <c:v>0.98</c:v>
                </c:pt>
                <c:pt idx="3">
                  <c:v>0.68</c:v>
                </c:pt>
                <c:pt idx="4">
                  <c:v>0.85</c:v>
                </c:pt>
                <c:pt idx="5">
                  <c:v>0.68</c:v>
                </c:pt>
                <c:pt idx="6">
                  <c:v>0.92</c:v>
                </c:pt>
                <c:pt idx="7">
                  <c:v>0.98</c:v>
                </c:pt>
                <c:pt idx="8">
                  <c:v>0.9</c:v>
                </c:pt>
                <c:pt idx="9">
                  <c:v>0.9</c:v>
                </c:pt>
                <c:pt idx="10">
                  <c:v>0.52</c:v>
                </c:pt>
                <c:pt idx="11">
                  <c:v>0.89</c:v>
                </c:pt>
                <c:pt idx="12">
                  <c:v>0.68</c:v>
                </c:pt>
                <c:pt idx="13">
                  <c:v>0.81</c:v>
                </c:pt>
                <c:pt idx="14">
                  <c:v>0.82</c:v>
                </c:pt>
                <c:pt idx="15">
                  <c:v>0.89</c:v>
                </c:pt>
                <c:pt idx="16">
                  <c:v>0.74</c:v>
                </c:pt>
                <c:pt idx="17">
                  <c:v>0.85</c:v>
                </c:pt>
                <c:pt idx="18">
                  <c:v>0.83</c:v>
                </c:pt>
                <c:pt idx="19">
                  <c:v>0.39</c:v>
                </c:pt>
                <c:pt idx="20">
                  <c:v>0.5</c:v>
                </c:pt>
                <c:pt idx="21">
                  <c:v>0.75</c:v>
                </c:pt>
                <c:pt idx="22">
                  <c:v>0.42</c:v>
                </c:pt>
                <c:pt idx="23">
                  <c:v>0.41</c:v>
                </c:pt>
                <c:pt idx="24">
                  <c:v>0.31</c:v>
                </c:pt>
                <c:pt idx="25">
                  <c:v>0.64</c:v>
                </c:pt>
                <c:pt idx="26">
                  <c:v>0.44</c:v>
                </c:pt>
                <c:pt idx="27">
                  <c:v>0.36</c:v>
                </c:pt>
                <c:pt idx="28">
                  <c:v>0.59</c:v>
                </c:pt>
                <c:pt idx="29">
                  <c:v>0.46</c:v>
                </c:pt>
                <c:pt idx="30">
                  <c:v>0.33</c:v>
                </c:pt>
                <c:pt idx="31">
                  <c:v>0.38</c:v>
                </c:pt>
                <c:pt idx="32">
                  <c:v>0.73</c:v>
                </c:pt>
                <c:pt idx="33">
                  <c:v>0.3</c:v>
                </c:pt>
                <c:pt idx="34">
                  <c:v>0.5</c:v>
                </c:pt>
                <c:pt idx="35">
                  <c:v>0.29</c:v>
                </c:pt>
                <c:pt idx="36">
                  <c:v>0.43</c:v>
                </c:pt>
                <c:pt idx="37">
                  <c:v>0.47</c:v>
                </c:pt>
                <c:pt idx="38">
                  <c:v>0.12</c:v>
                </c:pt>
                <c:pt idx="39">
                  <c:v>0.28</c:v>
                </c:pt>
                <c:pt idx="40">
                  <c:v>0.13</c:v>
                </c:pt>
                <c:pt idx="41">
                  <c:v>0.19</c:v>
                </c:pt>
                <c:pt idx="42">
                  <c:v>0.41</c:v>
                </c:pt>
                <c:pt idx="43">
                  <c:v>0.33</c:v>
                </c:pt>
                <c:pt idx="44">
                  <c:v>0.14</c:v>
                </c:pt>
                <c:pt idx="45">
                  <c:v>0.05</c:v>
                </c:pt>
                <c:pt idx="46">
                  <c:v>0.04</c:v>
                </c:pt>
                <c:pt idx="47">
                  <c:v>0.01</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7ECAC4"/>
              </a:solidFill>
            </c:spPr>
            <c:extLst>
              <c:ext xmlns:c16="http://schemas.microsoft.com/office/drawing/2014/chart" uri="{C3380CC4-5D6E-409C-BE32-E72D297353CC}">
                <c16:uniqueId val="{0000001D-FA3E-4872-B6E1-C4ABDF5766E2}"/>
              </c:ext>
            </c:extLst>
          </c:dPt>
          <c:dPt>
            <c:idx val="14"/>
            <c:invertIfNegative val="1"/>
            <c:bubble3D val="0"/>
            <c:spPr>
              <a:solidFill>
                <a:srgbClr val="7ECAC4"/>
              </a:solidFill>
            </c:spPr>
            <c:extLst>
              <c:ext xmlns:c16="http://schemas.microsoft.com/office/drawing/2014/chart" uri="{C3380CC4-5D6E-409C-BE32-E72D297353CC}">
                <c16:uniqueId val="{0000001F-FA3E-4872-B6E1-C4ABDF5766E2}"/>
              </c:ext>
            </c:extLst>
          </c:dPt>
          <c:dPt>
            <c:idx val="15"/>
            <c:invertIfNegative val="1"/>
            <c:bubble3D val="0"/>
            <c:spPr>
              <a:solidFill>
                <a:srgbClr val="7ECAC4"/>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AEABAB"/>
              </a:solidFill>
            </c:spPr>
            <c:extLst>
              <c:ext xmlns:c16="http://schemas.microsoft.com/office/drawing/2014/chart" uri="{C3380CC4-5D6E-409C-BE32-E72D297353CC}">
                <c16:uniqueId val="{00000035-FA3E-4872-B6E1-C4ABDF5766E2}"/>
              </c:ext>
            </c:extLst>
          </c:dPt>
          <c:dPt>
            <c:idx val="26"/>
            <c:invertIfNegative val="1"/>
            <c:bubble3D val="0"/>
            <c:spPr>
              <a:solidFill>
                <a:srgbClr val="AEABAB"/>
              </a:solidFill>
            </c:spPr>
            <c:extLst>
              <c:ext xmlns:c16="http://schemas.microsoft.com/office/drawing/2014/chart" uri="{C3380CC4-5D6E-409C-BE32-E72D297353CC}">
                <c16:uniqueId val="{00000037-FA3E-4872-B6E1-C4ABDF5766E2}"/>
              </c:ext>
            </c:extLst>
          </c:dPt>
          <c:dPt>
            <c:idx val="27"/>
            <c:invertIfNegative val="1"/>
            <c:bubble3D val="0"/>
            <c:spPr>
              <a:solidFill>
                <a:srgbClr val="AEABAB"/>
              </a:solidFill>
            </c:spPr>
            <c:extLst>
              <c:ext xmlns:c16="http://schemas.microsoft.com/office/drawing/2014/chart" uri="{C3380CC4-5D6E-409C-BE32-E72D297353CC}">
                <c16:uniqueId val="{00000039-FA3E-4872-B6E1-C4ABDF5766E2}"/>
              </c:ext>
            </c:extLst>
          </c:dPt>
          <c:dPt>
            <c:idx val="28"/>
            <c:invertIfNegative val="1"/>
            <c:bubble3D val="0"/>
            <c:spPr>
              <a:solidFill>
                <a:srgbClr val="AEABAB"/>
              </a:solidFill>
            </c:spPr>
            <c:extLst>
              <c:ext xmlns:c16="http://schemas.microsoft.com/office/drawing/2014/chart" uri="{C3380CC4-5D6E-409C-BE32-E72D297353CC}">
                <c16:uniqueId val="{0000003B-FA3E-4872-B6E1-C4ABDF5766E2}"/>
              </c:ext>
            </c:extLst>
          </c:dPt>
          <c:dPt>
            <c:idx val="29"/>
            <c:invertIfNegative val="1"/>
            <c:bubble3D val="0"/>
            <c:spPr>
              <a:solidFill>
                <a:srgbClr val="AEABAB"/>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dPt>
            <c:idx val="44"/>
            <c:spPr>
              <a:solidFill>
                <a:srgbClr val="AEABAB"/>
              </a:solidFill>
            </c:spPr>
          </c:dPt>
          <c:dPt>
            <c:idx val="45"/>
            <c:spPr>
              <a:solidFill>
                <a:srgbClr val="AEABAB"/>
              </a:solidFill>
            </c:spPr>
          </c:dPt>
          <c:dPt>
            <c:idx val="46"/>
            <c:spPr>
              <a:solidFill>
                <a:srgbClr val="AEABAB"/>
              </a:solidFill>
            </c:spPr>
          </c:dPt>
          <c:dPt>
            <c:idx val="47"/>
            <c:spPr>
              <a:solidFill>
                <a:srgbClr val="AEABAB"/>
              </a:solidFill>
            </c:spPr>
          </c:dPt>
          <c:cat>
            <c:strRef>
              <c:f>Sheet1!$A$2:$A$49</c:f>
              <c:strCache>
                <c:ptCount val="48"/>
                <c:pt idx="0">
                  <c:v>Mini Babybel Rouge Filet St Paulin Ferme 1X264Gr 12P</c:v>
                </c:pt>
                <c:pt idx="1">
                  <c:v>La Vache Qui Rit Nature Fromage Fondu Boite Ronde 1X192Gr 12P</c:v>
                </c:pt>
                <c:pt idx="2">
                  <c:v>Mini Babybel Rouge Filet St Paulin Ferme 1X132Gr 6P</c:v>
                </c:pt>
                <c:pt idx="3">
                  <c:v>La Vache Qui Rit Nature Fromage Fondu Boite Ronde 1X512Gr 32P</c:v>
                </c:pt>
                <c:pt idx="4">
                  <c:v>Kiri Creme Fromage Blanc Frais Carre 1X216Gr 12P</c:v>
                </c:pt>
                <c:pt idx="5">
                  <c:v>La Vache Qui Rit Nature Fromage Fondu Boite Ronde 1X384Gr 24P</c:v>
                </c:pt>
                <c:pt idx="6">
                  <c:v>Kiri Creme Fromage Blanc Frais Carre 1X144Gr 8P</c:v>
                </c:pt>
                <c:pt idx="7">
                  <c:v>Boursin Classique Fromage Frais A Tartiner Afh Boite 1X150Gr 1P</c:v>
                </c:pt>
                <c:pt idx="8">
                  <c:v>Boursin Classique Fromage Frais A Tartiner Afh 1X160Gr 10P</c:v>
                </c:pt>
                <c:pt idx="9">
                  <c:v>Kiri Gouter Fromage Blanc Dips Boite 1X175Gr 5P</c:v>
                </c:pt>
                <c:pt idx="10">
                  <c:v>Kiri Creme Fromage Blanc Frais Carre 1X432Gr 24P</c:v>
                </c:pt>
                <c:pt idx="11">
                  <c:v>Boursin Classique Fromage Frais A Tartiner Afh Boite 1X250Gr 1P</c:v>
                </c:pt>
                <c:pt idx="12">
                  <c:v>Kiri Gouter Fromage Blanc Dips Boite 1X280Gr 8P</c:v>
                </c:pt>
                <c:pt idx="13">
                  <c:v>Boursin Onctueux Fromage Frais A Tartiner Afh 1X125Gr 1P</c:v>
                </c:pt>
                <c:pt idx="14">
                  <c:v>La Vache Qui Rit Pik Et Croq' Fromage Fondu Dips Boite 1X175Gr 5P</c:v>
                </c:pt>
                <c:pt idx="15">
                  <c:v>Boursin Classique Fromage Frais A Tartiner Figue Et 3 Noix Boite 1X150Gr 1P</c:v>
                </c:pt>
                <c:pt idx="16">
                  <c:v>Boursin Classique Fromage Frais A Tartiner Afh Boite 1X96Gr 6P</c:v>
                </c:pt>
                <c:pt idx="17">
                  <c:v>Boursin Salade &amp; Aperitif Fromage Frais Des Afh 1X120Gr 1P</c:v>
                </c:pt>
                <c:pt idx="18">
                  <c:v>Boursin Classique Fromage Frais A Tartiner Ciboulette &amp; Echalote Boite 1X150Gr 1P</c:v>
                </c:pt>
                <c:pt idx="19">
                  <c:v>Mini Babybel Rouge Filet St Paulin Ferme 1X440Gr 20P</c:v>
                </c:pt>
                <c:pt idx="20">
                  <c:v>La Vache Qui Rit Allegee Fromage Fondu Boite Ronde Allege 1X267Gr 16P</c:v>
                </c:pt>
                <c:pt idx="21">
                  <c:v>Boursin Classique Fromage Frais A Tartiner Poivre Boite 1X150Gr 1P</c:v>
                </c:pt>
                <c:pt idx="22">
                  <c:v>La Vache Qui Rit Pik Et Croq' Fromage Fondu Dips Boite 1X280Gr 8P</c:v>
                </c:pt>
                <c:pt idx="23">
                  <c:v>Babybel Mini Rolls St Paulin Ferme Sachet 1X85Gr 5P</c:v>
                </c:pt>
                <c:pt idx="24">
                  <c:v>Kiri Bio Fromage Blanc Frais Carre 1X144Gr 8P</c:v>
                </c:pt>
                <c:pt idx="25">
                  <c:v>Boursin Classique Fromage Frais A Tartiner Afh 1X256Gr 16P</c:v>
                </c:pt>
                <c:pt idx="26">
                  <c:v>Kiri Delicieusement Fouette Fromage Frais A Tartiner 1X125Gr 1P</c:v>
                </c:pt>
                <c:pt idx="27">
                  <c:v>Mini Babybel Aros St Paulin Ferme Assortis Filet 1X180Gr 9P</c:v>
                </c:pt>
                <c:pt idx="28">
                  <c:v>Kiri Creme Fromage Blanc Frais Carre 1X432Gr 18+6P</c:v>
                </c:pt>
                <c:pt idx="29">
                  <c:v>Boursin Classique Fromage Frais A Tartiner Ciboulette &amp; Echalote 1X160Gr 10P</c:v>
                </c:pt>
                <c:pt idx="30">
                  <c:v>La Vache Qui Rit Aro Fromage Fondu Boite Ronde Jambon 1X133Gr 8P</c:v>
                </c:pt>
                <c:pt idx="31">
                  <c:v>Kiri Chevre Fromage Blanc Frais Carre 1X144Gr 8P</c:v>
                </c:pt>
                <c:pt idx="32">
                  <c:v>Mini Babybel Rouge Filet St Paulin Ferme 1X396Gr 12+6P</c:v>
                </c:pt>
                <c:pt idx="33">
                  <c:v>Mini Babybel Aros Soft Cheese Enfant 180G</c:v>
                </c:pt>
                <c:pt idx="34">
                  <c:v>Kiri Delicieusement Fouette Fromage Frais A Tartiner 1X160Gr 10P</c:v>
                </c:pt>
                <c:pt idx="35">
                  <c:v>Mini Babybel Aros St Paulin Ferme Raclette Filet 1X132Gr 6P</c:v>
                </c:pt>
                <c:pt idx="36">
                  <c:v>Boursin Salade &amp; Aperitif Fromage Frais Des Ciboulette Echalote 1X120Gr 1P</c:v>
                </c:pt>
                <c:pt idx="37">
                  <c:v>Boursin Salade &amp; Aperitif Fromage Frais Des Figue Noix 1X120Gr 1P</c:v>
                </c:pt>
                <c:pt idx="38">
                  <c:v>Boursin Classique Fromage Frais A Tartiner Afh Boite 1X80Gr 1P</c:v>
                </c:pt>
                <c:pt idx="39">
                  <c:v>Boursin Salade &amp; Aperitif Fromage Frais Des Citron Romarin 1X120Gr 1P</c:v>
                </c:pt>
                <c:pt idx="40">
                  <c:v>Mini Babybel Rouge Filet St Paulin Ferme Sachet 1X40Gr 1P</c:v>
                </c:pt>
                <c:pt idx="41">
                  <c:v>Mini Babybel Aros Soft Cheese Enfant 110G</c:v>
                </c:pt>
                <c:pt idx="42">
                  <c:v>Boursin Salade &amp; Aperitif Fromage Frais Des Noisette Et 3 Noix 1X120Gr 1P</c:v>
                </c:pt>
                <c:pt idx="43">
                  <c:v>Boursin Classique Fromage Frais A Tartiner Truffe Boite 1X150Gr 1P</c:v>
                </c:pt>
                <c:pt idx="44">
                  <c:v>Boursin Salade &amp; Aperitif Soft Cheese Salade 120G</c:v>
                </c:pt>
                <c:pt idx="45">
                  <c:v>Mini Babybel Bio St Paulin Ferme Filet 1X100Gr 5P</c:v>
                </c:pt>
                <c:pt idx="46">
                  <c:v>La Vache Qui Rit Nature Fromage Fondu Boite Ronde 1X128Gr 8P</c:v>
                </c:pt>
                <c:pt idx="47">
                  <c:v>Kiri Delicieusement Fouette Fromage Frais A Tartiner 1X210Gr 1P</c:v>
                </c:pt>
              </c:strCache>
            </c:strRef>
          </c:cat>
          <c:val>
            <c:numRef>
              <c:f>Sheet1!$C$2:$C$49</c:f>
              <c:numCache>
                <c:formatCode>General</c:formatCode>
                <c:ptCount val="48"/>
                <c:pt idx="0">
                  <c:v>0.11964064660740202</c:v>
                </c:pt>
                <c:pt idx="1">
                  <c:v>0.223641698266067</c:v>
                </c:pt>
                <c:pt idx="2">
                  <c:v>0.3221980957944778</c:v>
                </c:pt>
                <c:pt idx="3">
                  <c:v>0.3948807237019246</c:v>
                </c:pt>
                <c:pt idx="4">
                  <c:v>0.46194154706023005</c:v>
                </c:pt>
                <c:pt idx="5">
                  <c:v>0.5198369594146117</c:v>
                </c:pt>
                <c:pt idx="6">
                  <c:v>0.5678032163865453</c:v>
                </c:pt>
                <c:pt idx="7">
                  <c:v>0.6108318689417038</c:v>
                </c:pt>
                <c:pt idx="8">
                  <c:v>0.6528931916943367</c:v>
                </c:pt>
                <c:pt idx="9">
                  <c:v>0.6912604318092297</c:v>
                </c:pt>
                <c:pt idx="10">
                  <c:v>0.7236032419124734</c:v>
                </c:pt>
                <c:pt idx="11">
                  <c:v>0.7522506536084919</c:v>
                </c:pt>
                <c:pt idx="12">
                  <c:v>0.7803112321140576</c:v>
                </c:pt>
                <c:pt idx="13">
                  <c:v>0.8032337307794487</c:v>
                </c:pt>
                <c:pt idx="14">
                  <c:v>0.8241097294335361</c:v>
                </c:pt>
                <c:pt idx="15">
                  <c:v>0.8433712789291359</c:v>
                </c:pt>
                <c:pt idx="16">
                  <c:v>0.860989910799202</c:v>
                </c:pt>
                <c:pt idx="17">
                  <c:v>0.876569578428653</c:v>
                </c:pt>
                <c:pt idx="18">
                  <c:v>0.8913766501394057</c:v>
                </c:pt>
                <c:pt idx="19">
                  <c:v>0.9031576912647379</c:v>
                </c:pt>
                <c:pt idx="20">
                  <c:v>0.9141941264767867</c:v>
                </c:pt>
                <c:pt idx="21">
                  <c:v>0.9245089219338414</c:v>
                </c:pt>
                <c:pt idx="22">
                  <c:v>0.932362510760901</c:v>
                </c:pt>
                <c:pt idx="23">
                  <c:v>0.9396271133201684</c:v>
                </c:pt>
                <c:pt idx="24">
                  <c:v>0.9461265361160183</c:v>
                </c:pt>
                <c:pt idx="25">
                  <c:v>0.9522991696178777</c:v>
                </c:pt>
                <c:pt idx="26">
                  <c:v>0.95825147153865</c:v>
                </c:pt>
                <c:pt idx="27">
                  <c:v>0.9633385952151204</c:v>
                </c:pt>
                <c:pt idx="28">
                  <c:v>0.9675297994874957</c:v>
                </c:pt>
                <c:pt idx="29">
                  <c:v>0.9716901429846698</c:v>
                </c:pt>
                <c:pt idx="30">
                  <c:v>0.9755802752757223</c:v>
                </c:pt>
                <c:pt idx="31">
                  <c:v>0.9793512706206495</c:v>
                </c:pt>
                <c:pt idx="32">
                  <c:v>0.9828277728316805</c:v>
                </c:pt>
                <c:pt idx="33">
                  <c:v>0.9861417177035706</c:v>
                </c:pt>
                <c:pt idx="34">
                  <c:v>0.9886727797316953</c:v>
                </c:pt>
                <c:pt idx="35">
                  <c:v>0.9909543240192402</c:v>
                </c:pt>
                <c:pt idx="36">
                  <c:v>0.9931571613684814</c:v>
                </c:pt>
                <c:pt idx="37">
                  <c:v>0.9948029497638012</c:v>
                </c:pt>
                <c:pt idx="38">
                  <c:v>0.9958571203523581</c:v>
                </c:pt>
                <c:pt idx="39">
                  <c:v>0.9967549536029774</c:v>
                </c:pt>
                <c:pt idx="40">
                  <c:v>0.9976179787699395</c:v>
                </c:pt>
                <c:pt idx="41">
                  <c:v>0.9984335166200224</c:v>
                </c:pt>
                <c:pt idx="42">
                  <c:v>0.9990745355901888</c:v>
                </c:pt>
                <c:pt idx="43">
                  <c:v>0.9995721356864552</c:v>
                </c:pt>
                <c:pt idx="44">
                  <c:v>0.9999334938332872</c:v>
                </c:pt>
                <c:pt idx="45">
                  <c:v>0.999971890379177</c:v>
                </c:pt>
                <c:pt idx="46">
                  <c:v>0.9999970096148058</c:v>
                </c:pt>
                <c:pt idx="47">
                  <c:v>0.9999999999999997</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49</c:f>
              <c:strCache>
                <c:ptCount val="48"/>
                <c:pt idx="0">
                  <c:v>Mini Babybel Rouge Filet St Paulin Ferme 1X264Gr 12P</c:v>
                </c:pt>
                <c:pt idx="1">
                  <c:v>La Vache Qui Rit Nature Fromage Fondu Boite Ronde 1X192Gr 12P</c:v>
                </c:pt>
                <c:pt idx="2">
                  <c:v>Mini Babybel Rouge Filet St Paulin Ferme 1X132Gr 6P</c:v>
                </c:pt>
                <c:pt idx="3">
                  <c:v>La Vache Qui Rit Nature Fromage Fondu Boite Ronde 1X512Gr 32P</c:v>
                </c:pt>
                <c:pt idx="4">
                  <c:v>Kiri Creme Fromage Blanc Frais Carre 1X216Gr 12P</c:v>
                </c:pt>
                <c:pt idx="5">
                  <c:v>La Vache Qui Rit Nature Fromage Fondu Boite Ronde 1X384Gr 24P</c:v>
                </c:pt>
                <c:pt idx="6">
                  <c:v>Kiri Creme Fromage Blanc Frais Carre 1X144Gr 8P</c:v>
                </c:pt>
                <c:pt idx="7">
                  <c:v>Boursin Classique Fromage Frais A Tartiner Afh Boite 1X150Gr 1P</c:v>
                </c:pt>
                <c:pt idx="8">
                  <c:v>Boursin Classique Fromage Frais A Tartiner Afh 1X160Gr 10P</c:v>
                </c:pt>
                <c:pt idx="9">
                  <c:v>Kiri Gouter Fromage Blanc Dips Boite 1X175Gr 5P</c:v>
                </c:pt>
                <c:pt idx="10">
                  <c:v>Kiri Creme Fromage Blanc Frais Carre 1X432Gr 24P</c:v>
                </c:pt>
                <c:pt idx="11">
                  <c:v>Boursin Classique Fromage Frais A Tartiner Afh Boite 1X250Gr 1P</c:v>
                </c:pt>
                <c:pt idx="12">
                  <c:v>Kiri Gouter Fromage Blanc Dips Boite 1X280Gr 8P</c:v>
                </c:pt>
                <c:pt idx="13">
                  <c:v>Boursin Onctueux Fromage Frais A Tartiner Afh 1X125Gr 1P</c:v>
                </c:pt>
                <c:pt idx="14">
                  <c:v>La Vache Qui Rit Pik Et Croq' Fromage Fondu Dips Boite 1X175Gr 5P</c:v>
                </c:pt>
                <c:pt idx="15">
                  <c:v>Boursin Classique Fromage Frais A Tartiner Figue Et 3 Noix Boite 1X150Gr 1P</c:v>
                </c:pt>
                <c:pt idx="16">
                  <c:v>Boursin Classique Fromage Frais A Tartiner Afh Boite 1X96Gr 6P</c:v>
                </c:pt>
                <c:pt idx="17">
                  <c:v>Boursin Salade &amp; Aperitif Fromage Frais Des Afh 1X120Gr 1P</c:v>
                </c:pt>
                <c:pt idx="18">
                  <c:v>Boursin Classique Fromage Frais A Tartiner Ciboulette &amp; Echalote Boite 1X150Gr 1P</c:v>
                </c:pt>
                <c:pt idx="19">
                  <c:v>Mini Babybel Rouge Filet St Paulin Ferme 1X440Gr 20P</c:v>
                </c:pt>
                <c:pt idx="20">
                  <c:v>La Vache Qui Rit Allegee Fromage Fondu Boite Ronde Allege 1X267Gr 16P</c:v>
                </c:pt>
                <c:pt idx="21">
                  <c:v>Boursin Classique Fromage Frais A Tartiner Poivre Boite 1X150Gr 1P</c:v>
                </c:pt>
                <c:pt idx="22">
                  <c:v>La Vache Qui Rit Pik Et Croq' Fromage Fondu Dips Boite 1X280Gr 8P</c:v>
                </c:pt>
                <c:pt idx="23">
                  <c:v>Babybel Mini Rolls St Paulin Ferme Sachet 1X85Gr 5P</c:v>
                </c:pt>
                <c:pt idx="24">
                  <c:v>Kiri Bio Fromage Blanc Frais Carre 1X144Gr 8P</c:v>
                </c:pt>
                <c:pt idx="25">
                  <c:v>Boursin Classique Fromage Frais A Tartiner Afh 1X256Gr 16P</c:v>
                </c:pt>
                <c:pt idx="26">
                  <c:v>Kiri Delicieusement Fouette Fromage Frais A Tartiner 1X125Gr 1P</c:v>
                </c:pt>
                <c:pt idx="27">
                  <c:v>Mini Babybel Aros St Paulin Ferme Assortis Filet 1X180Gr 9P</c:v>
                </c:pt>
                <c:pt idx="28">
                  <c:v>Kiri Creme Fromage Blanc Frais Carre 1X432Gr 18+6P</c:v>
                </c:pt>
                <c:pt idx="29">
                  <c:v>Boursin Classique Fromage Frais A Tartiner Ciboulette &amp; Echalote 1X160Gr 10P</c:v>
                </c:pt>
                <c:pt idx="30">
                  <c:v>La Vache Qui Rit Aro Fromage Fondu Boite Ronde Jambon 1X133Gr 8P</c:v>
                </c:pt>
                <c:pt idx="31">
                  <c:v>Kiri Chevre Fromage Blanc Frais Carre 1X144Gr 8P</c:v>
                </c:pt>
                <c:pt idx="32">
                  <c:v>Mini Babybel Rouge Filet St Paulin Ferme 1X396Gr 12+6P</c:v>
                </c:pt>
                <c:pt idx="33">
                  <c:v>Mini Babybel Aros Soft Cheese Enfant 180G</c:v>
                </c:pt>
                <c:pt idx="34">
                  <c:v>Kiri Delicieusement Fouette Fromage Frais A Tartiner 1X160Gr 10P</c:v>
                </c:pt>
                <c:pt idx="35">
                  <c:v>Mini Babybel Aros St Paulin Ferme Raclette Filet 1X132Gr 6P</c:v>
                </c:pt>
                <c:pt idx="36">
                  <c:v>Boursin Salade &amp; Aperitif Fromage Frais Des Ciboulette Echalote 1X120Gr 1P</c:v>
                </c:pt>
                <c:pt idx="37">
                  <c:v>Boursin Salade &amp; Aperitif Fromage Frais Des Figue Noix 1X120Gr 1P</c:v>
                </c:pt>
                <c:pt idx="38">
                  <c:v>Boursin Classique Fromage Frais A Tartiner Afh Boite 1X80Gr 1P</c:v>
                </c:pt>
                <c:pt idx="39">
                  <c:v>Boursin Salade &amp; Aperitif Fromage Frais Des Citron Romarin 1X120Gr 1P</c:v>
                </c:pt>
                <c:pt idx="40">
                  <c:v>Mini Babybel Rouge Filet St Paulin Ferme Sachet 1X40Gr 1P</c:v>
                </c:pt>
                <c:pt idx="41">
                  <c:v>Mini Babybel Aros Soft Cheese Enfant 110G</c:v>
                </c:pt>
                <c:pt idx="42">
                  <c:v>Boursin Salade &amp; Aperitif Fromage Frais Des Noisette Et 3 Noix 1X120Gr 1P</c:v>
                </c:pt>
                <c:pt idx="43">
                  <c:v>Boursin Classique Fromage Frais A Tartiner Truffe Boite 1X150Gr 1P</c:v>
                </c:pt>
                <c:pt idx="44">
                  <c:v>Boursin Salade &amp; Aperitif Soft Cheese Salade 120G</c:v>
                </c:pt>
                <c:pt idx="45">
                  <c:v>Mini Babybel Bio St Paulin Ferme Filet 1X100Gr 5P</c:v>
                </c:pt>
                <c:pt idx="46">
                  <c:v>La Vache Qui Rit Nature Fromage Fondu Boite Ronde 1X128Gr 8P</c:v>
                </c:pt>
                <c:pt idx="47">
                  <c:v>Kiri Delicieusement Fouette Fromage Frais A Tartiner 1X210Gr 1P</c:v>
                </c:pt>
              </c:strCache>
            </c:strRef>
          </c:cat>
          <c:val>
            <c:numRef>
              <c:f>Sheet1!$D$2:$D$49</c:f>
              <c:numCache>
                <c:formatCode>General</c:formatCode>
                <c:ptCount val="48"/>
                <c:pt idx="0">
                  <c:v>11366.03409090909</c:v>
                </c:pt>
                <c:pt idx="1">
                  <c:v>8872.061224489797</c:v>
                </c:pt>
                <c:pt idx="2">
                  <c:v>8407.591836734693</c:v>
                </c:pt>
                <c:pt idx="3">
                  <c:v>8935.823529411764</c:v>
                </c:pt>
                <c:pt idx="4">
                  <c:v>6595.729411764706</c:v>
                </c:pt>
                <c:pt idx="5">
                  <c:v>7117.838235294118</c:v>
                </c:pt>
                <c:pt idx="6">
                  <c:v>4358.739130434783</c:v>
                </c:pt>
                <c:pt idx="7">
                  <c:v>3670.6632653061224</c:v>
                </c:pt>
                <c:pt idx="8">
                  <c:v>3907.088888888889</c:v>
                </c:pt>
                <c:pt idx="9">
                  <c:v>3563.9444444444443</c:v>
                </c:pt>
                <c:pt idx="10">
                  <c:v>5199.807692307692</c:v>
                </c:pt>
                <c:pt idx="11">
                  <c:v>2690.9662921348313</c:v>
                </c:pt>
                <c:pt idx="12">
                  <c:v>3449.8529411764707</c:v>
                </c:pt>
                <c:pt idx="13">
                  <c:v>2365.864197530864</c:v>
                </c:pt>
                <c:pt idx="14">
                  <c:v>2128.3658536585367</c:v>
                </c:pt>
                <c:pt idx="15">
                  <c:v>1809.314606741573</c:v>
                </c:pt>
                <c:pt idx="16">
                  <c:v>1990.4594594594594</c:v>
                </c:pt>
                <c:pt idx="17">
                  <c:v>1532.3294117647058</c:v>
                </c:pt>
                <c:pt idx="18">
                  <c:v>1491.433734939759</c:v>
                </c:pt>
                <c:pt idx="19">
                  <c:v>2525.4102564102564</c:v>
                </c:pt>
                <c:pt idx="20">
                  <c:v>1845.32</c:v>
                </c:pt>
                <c:pt idx="21">
                  <c:v>1149.7733333333333</c:v>
                </c:pt>
                <c:pt idx="22">
                  <c:v>1563.2619047619048</c:v>
                </c:pt>
                <c:pt idx="23">
                  <c:v>1481.2926829268292</c:v>
                </c:pt>
                <c:pt idx="24">
                  <c:v>1752.774193548387</c:v>
                </c:pt>
                <c:pt idx="25">
                  <c:v>806.3125</c:v>
                </c:pt>
                <c:pt idx="26">
                  <c:v>1130.9545454545455</c:v>
                </c:pt>
                <c:pt idx="27">
                  <c:v>1181.361111111111</c:v>
                </c:pt>
                <c:pt idx="28">
                  <c:v>593.8813559322034</c:v>
                </c:pt>
                <c:pt idx="29">
                  <c:v>756.1086956521739</c:v>
                </c:pt>
                <c:pt idx="30">
                  <c:v>985.5151515151515</c:v>
                </c:pt>
                <c:pt idx="31">
                  <c:v>829.6315789473684</c:v>
                </c:pt>
                <c:pt idx="32">
                  <c:v>398.13698630136986</c:v>
                </c:pt>
                <c:pt idx="33">
                  <c:v>923.5</c:v>
                </c:pt>
                <c:pt idx="34">
                  <c:v>423.2</c:v>
                </c:pt>
                <c:pt idx="35">
                  <c:v>657.7241379310345</c:v>
                </c:pt>
                <c:pt idx="36">
                  <c:v>428.27906976744185</c:v>
                </c:pt>
                <c:pt idx="37">
                  <c:v>292.74468085106383</c:v>
                </c:pt>
                <c:pt idx="38">
                  <c:v>734.4166666666666</c:v>
                </c:pt>
                <c:pt idx="39">
                  <c:v>268.07142857142856</c:v>
                </c:pt>
                <c:pt idx="40">
                  <c:v>555.0</c:v>
                </c:pt>
                <c:pt idx="41">
                  <c:v>358.8421052631579</c:v>
                </c:pt>
                <c:pt idx="42">
                  <c:v>130.70731707317074</c:v>
                </c:pt>
                <c:pt idx="43">
                  <c:v>126.06060606060606</c:v>
                </c:pt>
                <c:pt idx="44">
                  <c:v>215.78571428571425</c:v>
                </c:pt>
                <c:pt idx="45">
                  <c:v>64.2</c:v>
                </c:pt>
                <c:pt idx="46">
                  <c:v>11.0</c:v>
                </c:pt>
                <c:pt idx="47">
                  <c:v>25.0</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31</c:f>
              <c:strCache>
                <c:ptCount val="30"/>
                <c:pt idx="0">
                  <c:v>Apericube Edition Limitee Best Of Foot Fromage Fondu Cube Assortis 1X250Gr 48P</c:v>
                </c:pt>
                <c:pt idx="1">
                  <c:v>Apericube Cocktail Fromage Fondu Cube Assortis 1X250Gr 48P</c:v>
                </c:pt>
                <c:pt idx="2">
                  <c:v>Apericube Long Drink Fromage Fondu Cube Assortis 1X250Gr 48P</c:v>
                </c:pt>
                <c:pt idx="3">
                  <c:v>Boursin Aperitif Roules Fromage Frais Roule Afh Et Jambon Fume Boite 1X100Gr 20P</c:v>
                </c:pt>
                <c:pt idx="4">
                  <c:v>Apericube Tonic Fromage Fondu Cube Assortis 1X250Gr 48P</c:v>
                </c:pt>
                <c:pt idx="5">
                  <c:v>Apericube Edition Limitee Saison Fromage Fondu Cube Assortis 1X250Gr 48P</c:v>
                </c:pt>
                <c:pt idx="6">
                  <c:v>Apericube Nature Fromage Fondu Cube 1X125Gr 24P</c:v>
                </c:pt>
                <c:pt idx="7">
                  <c:v>Apericube Incontournable Fromage Fondu Cube Assortis 1X250Gr 48P</c:v>
                </c:pt>
                <c:pt idx="8">
                  <c:v>Boursin Aperitif Roules Fromage Frais Roule Ciboulette &amp; Echalote Jambon Fume Boite 1X100Gr 20P</c:v>
                </c:pt>
                <c:pt idx="9">
                  <c:v>Apericube Campagne Fromage Fondu Cube Assortis 1X125Gr 24P</c:v>
                </c:pt>
                <c:pt idx="10">
                  <c:v>Apericube Carrement Toque Fromage Fondu Cube Assortis 1X250Gr 48P</c:v>
                </c:pt>
                <c:pt idx="11">
                  <c:v>Apericube Best Of Des Saveurs Fromage Fondu Cube Assortis 1X125Gr 24P</c:v>
                </c:pt>
                <c:pt idx="12">
                  <c:v>Apericube Edition Voyage Fromage Fondu Cube Assortis 1X250Gr 48P</c:v>
                </c:pt>
                <c:pt idx="13">
                  <c:v>Apericube Long Drink Fromage Fondu Cube Assortis 1X125Gr 24P</c:v>
                </c:pt>
                <c:pt idx="14">
                  <c:v>Apericube Vertical Soiree Apero Fromage Fondu Cube Assortis 1X125Gr 24P</c:v>
                </c:pt>
                <c:pt idx="15">
                  <c:v>Apericube Soiree Match Aperitif 250G</c:v>
                </c:pt>
                <c:pt idx="16">
                  <c:v>Apericube Charcut' Fromages Fromage Fondu Cube Assortis 1X250Gr 48P</c:v>
                </c:pt>
                <c:pt idx="17">
                  <c:v>Apericube Nature Fromage Fondu Cube 1X250Gr 48P</c:v>
                </c:pt>
                <c:pt idx="18">
                  <c:v>Apericube Selection Du Fromager Fromage Fondu Cube Assortis 1X250Gr 48P</c:v>
                </c:pt>
                <c:pt idx="19">
                  <c:v>Apericube Sucre Sale Fromage Fondu Cube Assortis 1X250Gr 48P</c:v>
                </c:pt>
                <c:pt idx="20">
                  <c:v>Apericube Vertical Nature Fromage Fondu Cube 1X125Gr 24P</c:v>
                </c:pt>
                <c:pt idx="21">
                  <c:v>Apericube Hot Chalenge Aperitif 250G</c:v>
                </c:pt>
                <c:pt idx="22">
                  <c:v>Apericube Fromages Du Monde Aperitif 250G</c:v>
                </c:pt>
                <c:pt idx="23">
                  <c:v>Apericube Jambon Fromage Fondu Cube 1X78Gr 15P</c:v>
                </c:pt>
                <c:pt idx="24">
                  <c:v>Apericube P'Tits Plaisirs Fromage Fondu Cube 3 Fromages &amp; Jambon Cru Olive Verte 1X78Gr 15P</c:v>
                </c:pt>
                <c:pt idx="25">
                  <c:v>Apericube Saveurs De L'Authentique Fromage Fondu Cube Assortis 1X250Gr 48P</c:v>
                </c:pt>
                <c:pt idx="26">
                  <c:v>Boursin Aperitif Roules Aperitif 100G</c:v>
                </c:pt>
                <c:pt idx="27">
                  <c:v>Boursin Aperitif Roules Fromage Frais Roule Jambon Fume &amp; Trio De Noix Boite 1X100Gr 20P</c:v>
                </c:pt>
                <c:pt idx="28">
                  <c:v>Apericube Montagne Aperitif 250G</c:v>
                </c:pt>
                <c:pt idx="29">
                  <c:v>Boursin Aperitif Roules Fromage Frais Roule Basilic &amp; Jambon Fume Tomate Boite 1X100Gr 20P</c:v>
                </c:pt>
              </c:strCache>
            </c:strRef>
          </c:cat>
          <c:val>
            <c:numRef>
              <c:f>Sheet1!$B$2:$B$31</c:f>
              <c:numCache>
                <c:formatCode>General</c:formatCode>
                <c:ptCount val="30"/>
                <c:pt idx="0">
                  <c:v>0.908</c:v>
                </c:pt>
                <c:pt idx="1">
                  <c:v>0.878</c:v>
                </c:pt>
                <c:pt idx="2">
                  <c:v>0.858</c:v>
                </c:pt>
                <c:pt idx="3">
                  <c:v>0.905</c:v>
                </c:pt>
                <c:pt idx="4">
                  <c:v>0.757</c:v>
                </c:pt>
                <c:pt idx="5">
                  <c:v>0.762</c:v>
                </c:pt>
                <c:pt idx="6">
                  <c:v>0.85</c:v>
                </c:pt>
                <c:pt idx="7">
                  <c:v>0.638</c:v>
                </c:pt>
                <c:pt idx="8">
                  <c:v>0.788</c:v>
                </c:pt>
                <c:pt idx="9">
                  <c:v>0.763</c:v>
                </c:pt>
                <c:pt idx="10">
                  <c:v>0.654</c:v>
                </c:pt>
                <c:pt idx="11">
                  <c:v>0.816</c:v>
                </c:pt>
                <c:pt idx="12">
                  <c:v>0.54</c:v>
                </c:pt>
                <c:pt idx="13">
                  <c:v>0.779</c:v>
                </c:pt>
                <c:pt idx="14">
                  <c:v>0.106</c:v>
                </c:pt>
                <c:pt idx="15">
                  <c:v>0.759</c:v>
                </c:pt>
                <c:pt idx="16">
                  <c:v>0.505</c:v>
                </c:pt>
                <c:pt idx="17">
                  <c:v>0.516</c:v>
                </c:pt>
                <c:pt idx="18">
                  <c:v>0.494</c:v>
                </c:pt>
                <c:pt idx="19">
                  <c:v>0.468</c:v>
                </c:pt>
                <c:pt idx="20">
                  <c:v>0.063</c:v>
                </c:pt>
                <c:pt idx="21">
                  <c:v>0.472</c:v>
                </c:pt>
                <c:pt idx="22">
                  <c:v>0.351</c:v>
                </c:pt>
                <c:pt idx="23">
                  <c:v>0.06</c:v>
                </c:pt>
                <c:pt idx="24">
                  <c:v>0.386</c:v>
                </c:pt>
                <c:pt idx="25">
                  <c:v>0.141</c:v>
                </c:pt>
                <c:pt idx="26">
                  <c:v>0.352</c:v>
                </c:pt>
                <c:pt idx="27">
                  <c:v>0.409</c:v>
                </c:pt>
                <c:pt idx="28">
                  <c:v>0.269</c:v>
                </c:pt>
                <c:pt idx="29">
                  <c:v>0.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7ECAC4"/>
              </a:solidFill>
            </c:spPr>
            <c:extLst>
              <c:ext xmlns:c16="http://schemas.microsoft.com/office/drawing/2014/chart" uri="{C3380CC4-5D6E-409C-BE32-E72D297353CC}">
                <c16:uniqueId val="{00000017-FA3E-4872-B6E1-C4ABDF5766E2}"/>
              </c:ext>
            </c:extLst>
          </c:dPt>
          <c:dPt>
            <c:idx val="11"/>
            <c:invertIfNegative val="1"/>
            <c:bubble3D val="0"/>
            <c:spPr>
              <a:solidFill>
                <a:srgbClr val="7ECAC4"/>
              </a:solidFill>
            </c:spPr>
            <c:extLst>
              <c:ext xmlns:c16="http://schemas.microsoft.com/office/drawing/2014/chart" uri="{C3380CC4-5D6E-409C-BE32-E72D297353CC}">
                <c16:uniqueId val="{00000019-FA3E-4872-B6E1-C4ABDF5766E2}"/>
              </c:ext>
            </c:extLst>
          </c:dPt>
          <c:dPt>
            <c:idx val="12"/>
            <c:invertIfNegative val="1"/>
            <c:bubble3D val="0"/>
            <c:spPr>
              <a:solidFill>
                <a:srgbClr val="7ECAC4"/>
              </a:solidFill>
            </c:spPr>
            <c:extLst>
              <c:ext xmlns:c16="http://schemas.microsoft.com/office/drawing/2014/chart" uri="{C3380CC4-5D6E-409C-BE32-E72D297353CC}">
                <c16:uniqueId val="{0000001B-FA3E-4872-B6E1-C4ABDF5766E2}"/>
              </c:ext>
            </c:extLst>
          </c:dPt>
          <c:dPt>
            <c:idx val="13"/>
            <c:invertIfNegative val="1"/>
            <c:bubble3D val="0"/>
            <c:spPr>
              <a:solidFill>
                <a:srgbClr val="7ECAC4"/>
              </a:solidFill>
            </c:spPr>
            <c:extLst>
              <c:ext xmlns:c16="http://schemas.microsoft.com/office/drawing/2014/chart" uri="{C3380CC4-5D6E-409C-BE32-E72D297353CC}">
                <c16:uniqueId val="{0000001D-FA3E-4872-B6E1-C4ABDF5766E2}"/>
              </c:ext>
            </c:extLst>
          </c:dPt>
          <c:dPt>
            <c:idx val="14"/>
            <c:invertIfNegative val="1"/>
            <c:bubble3D val="0"/>
            <c:spPr>
              <a:solidFill>
                <a:srgbClr val="7ECAC4"/>
              </a:solidFill>
            </c:spPr>
            <c:extLst>
              <c:ext xmlns:c16="http://schemas.microsoft.com/office/drawing/2014/chart" uri="{C3380CC4-5D6E-409C-BE32-E72D297353CC}">
                <c16:uniqueId val="{0000001F-FA3E-4872-B6E1-C4ABDF5766E2}"/>
              </c:ext>
            </c:extLst>
          </c:dPt>
          <c:dPt>
            <c:idx val="15"/>
            <c:invertIfNegative val="1"/>
            <c:bubble3D val="0"/>
            <c:spPr>
              <a:solidFill>
                <a:srgbClr val="7ECAC4"/>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AEABAB"/>
              </a:solidFill>
            </c:spPr>
            <c:extLst>
              <c:ext xmlns:c16="http://schemas.microsoft.com/office/drawing/2014/chart" uri="{C3380CC4-5D6E-409C-BE32-E72D297353CC}">
                <c16:uniqueId val="{00000025-FA3E-4872-B6E1-C4ABDF5766E2}"/>
              </c:ext>
            </c:extLst>
          </c:dPt>
          <c:dPt>
            <c:idx val="18"/>
            <c:invertIfNegative val="1"/>
            <c:bubble3D val="0"/>
            <c:spPr>
              <a:solidFill>
                <a:srgbClr val="AEABAB"/>
              </a:solidFill>
            </c:spPr>
            <c:extLst>
              <c:ext xmlns:c16="http://schemas.microsoft.com/office/drawing/2014/chart" uri="{C3380CC4-5D6E-409C-BE32-E72D297353CC}">
                <c16:uniqueId val="{00000027-FA3E-4872-B6E1-C4ABDF5766E2}"/>
              </c:ext>
            </c:extLst>
          </c:dPt>
          <c:dPt>
            <c:idx val="19"/>
            <c:invertIfNegative val="1"/>
            <c:bubble3D val="0"/>
            <c:spPr>
              <a:solidFill>
                <a:srgbClr val="AEABAB"/>
              </a:solidFill>
            </c:spPr>
            <c:extLst>
              <c:ext xmlns:c16="http://schemas.microsoft.com/office/drawing/2014/chart" uri="{C3380CC4-5D6E-409C-BE32-E72D297353CC}">
                <c16:uniqueId val="{00000029-FA3E-4872-B6E1-C4ABDF5766E2}"/>
              </c:ext>
            </c:extLst>
          </c:dPt>
          <c:dPt>
            <c:idx val="20"/>
            <c:invertIfNegative val="1"/>
            <c:bubble3D val="0"/>
            <c:spPr>
              <a:solidFill>
                <a:srgbClr val="AEABAB"/>
              </a:solidFill>
            </c:spPr>
            <c:extLst>
              <c:ext xmlns:c16="http://schemas.microsoft.com/office/drawing/2014/chart" uri="{C3380CC4-5D6E-409C-BE32-E72D297353CC}">
                <c16:uniqueId val="{0000002B-FA3E-4872-B6E1-C4ABDF5766E2}"/>
              </c:ext>
            </c:extLst>
          </c:dPt>
          <c:dPt>
            <c:idx val="21"/>
            <c:invertIfNegative val="1"/>
            <c:bubble3D val="0"/>
            <c:spPr>
              <a:solidFill>
                <a:srgbClr val="AEABAB"/>
              </a:solidFill>
            </c:spPr>
            <c:extLst>
              <c:ext xmlns:c16="http://schemas.microsoft.com/office/drawing/2014/chart" uri="{C3380CC4-5D6E-409C-BE32-E72D297353CC}">
                <c16:uniqueId val="{0000002D-FA3E-4872-B6E1-C4ABDF5766E2}"/>
              </c:ext>
            </c:extLst>
          </c:dPt>
          <c:dPt>
            <c:idx val="22"/>
            <c:invertIfNegative val="1"/>
            <c:bubble3D val="0"/>
            <c:spPr>
              <a:solidFill>
                <a:srgbClr val="AEABAB"/>
              </a:solidFill>
            </c:spPr>
            <c:extLst>
              <c:ext xmlns:c16="http://schemas.microsoft.com/office/drawing/2014/chart" uri="{C3380CC4-5D6E-409C-BE32-E72D297353CC}">
                <c16:uniqueId val="{0000002F-FA3E-4872-B6E1-C4ABDF5766E2}"/>
              </c:ext>
            </c:extLst>
          </c:dPt>
          <c:dPt>
            <c:idx val="23"/>
            <c:invertIfNegative val="1"/>
            <c:bubble3D val="0"/>
            <c:spPr>
              <a:solidFill>
                <a:srgbClr val="AEABAB"/>
              </a:solidFill>
            </c:spPr>
            <c:extLst>
              <c:ext xmlns:c16="http://schemas.microsoft.com/office/drawing/2014/chart" uri="{C3380CC4-5D6E-409C-BE32-E72D297353CC}">
                <c16:uniqueId val="{00000031-FA3E-4872-B6E1-C4ABDF5766E2}"/>
              </c:ext>
            </c:extLst>
          </c:dPt>
          <c:dPt>
            <c:idx val="24"/>
            <c:invertIfNegative val="1"/>
            <c:bubble3D val="0"/>
            <c:spPr>
              <a:solidFill>
                <a:srgbClr val="AEABAB"/>
              </a:solidFill>
            </c:spPr>
            <c:extLst>
              <c:ext xmlns:c16="http://schemas.microsoft.com/office/drawing/2014/chart" uri="{C3380CC4-5D6E-409C-BE32-E72D297353CC}">
                <c16:uniqueId val="{00000033-FA3E-4872-B6E1-C4ABDF5766E2}"/>
              </c:ext>
            </c:extLst>
          </c:dPt>
          <c:dPt>
            <c:idx val="25"/>
            <c:invertIfNegative val="1"/>
            <c:bubble3D val="0"/>
            <c:spPr>
              <a:solidFill>
                <a:srgbClr val="AEABAB"/>
              </a:solidFill>
            </c:spPr>
            <c:extLst>
              <c:ext xmlns:c16="http://schemas.microsoft.com/office/drawing/2014/chart" uri="{C3380CC4-5D6E-409C-BE32-E72D297353CC}">
                <c16:uniqueId val="{00000035-FA3E-4872-B6E1-C4ABDF5766E2}"/>
              </c:ext>
            </c:extLst>
          </c:dPt>
          <c:dPt>
            <c:idx val="26"/>
            <c:invertIfNegative val="1"/>
            <c:bubble3D val="0"/>
            <c:spPr>
              <a:solidFill>
                <a:srgbClr val="AEABAB"/>
              </a:solidFill>
            </c:spPr>
            <c:extLst>
              <c:ext xmlns:c16="http://schemas.microsoft.com/office/drawing/2014/chart" uri="{C3380CC4-5D6E-409C-BE32-E72D297353CC}">
                <c16:uniqueId val="{00000037-FA3E-4872-B6E1-C4ABDF5766E2}"/>
              </c:ext>
            </c:extLst>
          </c:dPt>
          <c:dPt>
            <c:idx val="27"/>
            <c:invertIfNegative val="1"/>
            <c:bubble3D val="0"/>
            <c:spPr>
              <a:solidFill>
                <a:srgbClr val="AEABAB"/>
              </a:solidFill>
            </c:spPr>
            <c:extLst>
              <c:ext xmlns:c16="http://schemas.microsoft.com/office/drawing/2014/chart" uri="{C3380CC4-5D6E-409C-BE32-E72D297353CC}">
                <c16:uniqueId val="{00000039-FA3E-4872-B6E1-C4ABDF5766E2}"/>
              </c:ext>
            </c:extLst>
          </c:dPt>
          <c:dPt>
            <c:idx val="28"/>
            <c:invertIfNegative val="1"/>
            <c:bubble3D val="0"/>
            <c:spPr>
              <a:solidFill>
                <a:srgbClr val="AEABAB"/>
              </a:solidFill>
            </c:spPr>
            <c:extLst>
              <c:ext xmlns:c16="http://schemas.microsoft.com/office/drawing/2014/chart" uri="{C3380CC4-5D6E-409C-BE32-E72D297353CC}">
                <c16:uniqueId val="{0000003B-FA3E-4872-B6E1-C4ABDF5766E2}"/>
              </c:ext>
            </c:extLst>
          </c:dPt>
          <c:dPt>
            <c:idx val="29"/>
            <c:invertIfNegative val="1"/>
            <c:bubble3D val="0"/>
            <c:spPr>
              <a:solidFill>
                <a:srgbClr val="AEABAB"/>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31</c:f>
              <c:strCache>
                <c:ptCount val="30"/>
                <c:pt idx="0">
                  <c:v>Apericube Edition Limitee Best Of Foot Fromage Fondu Cube Assortis 1X250Gr 48P</c:v>
                </c:pt>
                <c:pt idx="1">
                  <c:v>Apericube Cocktail Fromage Fondu Cube Assortis 1X250Gr 48P</c:v>
                </c:pt>
                <c:pt idx="2">
                  <c:v>Apericube Long Drink Fromage Fondu Cube Assortis 1X250Gr 48P</c:v>
                </c:pt>
                <c:pt idx="3">
                  <c:v>Boursin Aperitif Roules Fromage Frais Roule Afh Et Jambon Fume Boite 1X100Gr 20P</c:v>
                </c:pt>
                <c:pt idx="4">
                  <c:v>Apericube Tonic Fromage Fondu Cube Assortis 1X250Gr 48P</c:v>
                </c:pt>
                <c:pt idx="5">
                  <c:v>Apericube Edition Limitee Saison Fromage Fondu Cube Assortis 1X250Gr 48P</c:v>
                </c:pt>
                <c:pt idx="6">
                  <c:v>Apericube Nature Fromage Fondu Cube 1X125Gr 24P</c:v>
                </c:pt>
                <c:pt idx="7">
                  <c:v>Apericube Incontournable Fromage Fondu Cube Assortis 1X250Gr 48P</c:v>
                </c:pt>
                <c:pt idx="8">
                  <c:v>Boursin Aperitif Roules Fromage Frais Roule Ciboulette &amp; Echalote Jambon Fume Boite 1X100Gr 20P</c:v>
                </c:pt>
                <c:pt idx="9">
                  <c:v>Apericube Campagne Fromage Fondu Cube Assortis 1X125Gr 24P</c:v>
                </c:pt>
                <c:pt idx="10">
                  <c:v>Apericube Carrement Toque Fromage Fondu Cube Assortis 1X250Gr 48P</c:v>
                </c:pt>
                <c:pt idx="11">
                  <c:v>Apericube Best Of Des Saveurs Fromage Fondu Cube Assortis 1X125Gr 24P</c:v>
                </c:pt>
                <c:pt idx="12">
                  <c:v>Apericube Edition Voyage Fromage Fondu Cube Assortis 1X250Gr 48P</c:v>
                </c:pt>
                <c:pt idx="13">
                  <c:v>Apericube Long Drink Fromage Fondu Cube Assortis 1X125Gr 24P</c:v>
                </c:pt>
                <c:pt idx="14">
                  <c:v>Apericube Vertical Soiree Apero Fromage Fondu Cube Assortis 1X125Gr 24P</c:v>
                </c:pt>
                <c:pt idx="15">
                  <c:v>Apericube Soiree Match Aperitif 250G</c:v>
                </c:pt>
                <c:pt idx="16">
                  <c:v>Apericube Charcut' Fromages Fromage Fondu Cube Assortis 1X250Gr 48P</c:v>
                </c:pt>
                <c:pt idx="17">
                  <c:v>Apericube Nature Fromage Fondu Cube 1X250Gr 48P</c:v>
                </c:pt>
                <c:pt idx="18">
                  <c:v>Apericube Selection Du Fromager Fromage Fondu Cube Assortis 1X250Gr 48P</c:v>
                </c:pt>
                <c:pt idx="19">
                  <c:v>Apericube Sucre Sale Fromage Fondu Cube Assortis 1X250Gr 48P</c:v>
                </c:pt>
                <c:pt idx="20">
                  <c:v>Apericube Vertical Nature Fromage Fondu Cube 1X125Gr 24P</c:v>
                </c:pt>
                <c:pt idx="21">
                  <c:v>Apericube Hot Chalenge Aperitif 250G</c:v>
                </c:pt>
                <c:pt idx="22">
                  <c:v>Apericube Fromages Du Monde Aperitif 250G</c:v>
                </c:pt>
                <c:pt idx="23">
                  <c:v>Apericube Jambon Fromage Fondu Cube 1X78Gr 15P</c:v>
                </c:pt>
                <c:pt idx="24">
                  <c:v>Apericube P'Tits Plaisirs Fromage Fondu Cube 3 Fromages &amp; Jambon Cru Olive Verte 1X78Gr 15P</c:v>
                </c:pt>
                <c:pt idx="25">
                  <c:v>Apericube Saveurs De L'Authentique Fromage Fondu Cube Assortis 1X250Gr 48P</c:v>
                </c:pt>
                <c:pt idx="26">
                  <c:v>Boursin Aperitif Roules Aperitif 100G</c:v>
                </c:pt>
                <c:pt idx="27">
                  <c:v>Boursin Aperitif Roules Fromage Frais Roule Jambon Fume &amp; Trio De Noix Boite 1X100Gr 20P</c:v>
                </c:pt>
                <c:pt idx="28">
                  <c:v>Apericube Montagne Aperitif 250G</c:v>
                </c:pt>
                <c:pt idx="29">
                  <c:v>Boursin Aperitif Roules Fromage Frais Roule Basilic &amp; Jambon Fume Tomate Boite 1X100Gr 20P</c:v>
                </c:pt>
              </c:strCache>
            </c:strRef>
          </c:cat>
          <c:val>
            <c:numRef>
              <c:f>Sheet1!$C$2:$C$31</c:f>
              <c:numCache>
                <c:formatCode>General</c:formatCode>
                <c:ptCount val="30"/>
                <c:pt idx="0">
                  <c:v>0.15570798457017718</c:v>
                </c:pt>
                <c:pt idx="1">
                  <c:v>0.285227726648951</c:v>
                </c:pt>
                <c:pt idx="2">
                  <c:v>0.397102398287866</c:v>
                </c:pt>
                <c:pt idx="3">
                  <c:v>0.49128426449752627</c:v>
                </c:pt>
                <c:pt idx="4">
                  <c:v>0.556484183318759</c:v>
                </c:pt>
                <c:pt idx="5">
                  <c:v>0.6178012780677344</c:v>
                </c:pt>
                <c:pt idx="6">
                  <c:v>0.6754193504175786</c:v>
                </c:pt>
                <c:pt idx="7">
                  <c:v>0.7154164028551966</c:v>
                </c:pt>
                <c:pt idx="8">
                  <c:v>0.7521437915521368</c:v>
                </c:pt>
                <c:pt idx="9">
                  <c:v>0.7842584208328379</c:v>
                </c:pt>
                <c:pt idx="10">
                  <c:v>0.8160469952434866</c:v>
                </c:pt>
                <c:pt idx="11">
                  <c:v>0.847211061280598</c:v>
                </c:pt>
                <c:pt idx="12">
                  <c:v>0.8718068074194816</c:v>
                </c:pt>
                <c:pt idx="13">
                  <c:v>0.8944981690849466</c:v>
                </c:pt>
                <c:pt idx="14">
                  <c:v>0.9135324594999364</c:v>
                </c:pt>
                <c:pt idx="15">
                  <c:v>0.9286521513251877</c:v>
                </c:pt>
                <c:pt idx="16">
                  <c:v>0.9413817258746485</c:v>
                </c:pt>
                <c:pt idx="17">
                  <c:v>0.9527613593167864</c:v>
                </c:pt>
                <c:pt idx="18">
                  <c:v>0.9619405342101733</c:v>
                </c:pt>
                <c:pt idx="19">
                  <c:v>0.969815819082633</c:v>
                </c:pt>
                <c:pt idx="20">
                  <c:v>0.9771792340496315</c:v>
                </c:pt>
                <c:pt idx="21">
                  <c:v>0.982291051065896</c:v>
                </c:pt>
                <c:pt idx="22">
                  <c:v>0.9856239709888406</c:v>
                </c:pt>
                <c:pt idx="23">
                  <c:v>0.9888320624502517</c:v>
                </c:pt>
                <c:pt idx="24">
                  <c:v>0.9918874678374527</c:v>
                </c:pt>
                <c:pt idx="25">
                  <c:v>0.9943686623015997</c:v>
                </c:pt>
                <c:pt idx="26">
                  <c:v>0.9962872867373458</c:v>
                </c:pt>
                <c:pt idx="27">
                  <c:v>0.9981542226723044</c:v>
                </c:pt>
                <c:pt idx="28">
                  <c:v>0.9999924590430863</c:v>
                </c:pt>
                <c:pt idx="29">
                  <c:v>1.0</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31</c:f>
              <c:strCache>
                <c:ptCount val="30"/>
                <c:pt idx="0">
                  <c:v>Apericube Edition Limitee Best Of Foot Fromage Fondu Cube Assortis 1X250Gr 48P</c:v>
                </c:pt>
                <c:pt idx="1">
                  <c:v>Apericube Cocktail Fromage Fondu Cube Assortis 1X250Gr 48P</c:v>
                </c:pt>
                <c:pt idx="2">
                  <c:v>Apericube Long Drink Fromage Fondu Cube Assortis 1X250Gr 48P</c:v>
                </c:pt>
                <c:pt idx="3">
                  <c:v>Boursin Aperitif Roules Fromage Frais Roule Afh Et Jambon Fume Boite 1X100Gr 20P</c:v>
                </c:pt>
                <c:pt idx="4">
                  <c:v>Apericube Tonic Fromage Fondu Cube Assortis 1X250Gr 48P</c:v>
                </c:pt>
                <c:pt idx="5">
                  <c:v>Apericube Edition Limitee Saison Fromage Fondu Cube Assortis 1X250Gr 48P</c:v>
                </c:pt>
                <c:pt idx="6">
                  <c:v>Apericube Nature Fromage Fondu Cube 1X125Gr 24P</c:v>
                </c:pt>
                <c:pt idx="7">
                  <c:v>Apericube Incontournable Fromage Fondu Cube Assortis 1X250Gr 48P</c:v>
                </c:pt>
                <c:pt idx="8">
                  <c:v>Boursin Aperitif Roules Fromage Frais Roule Ciboulette &amp; Echalote Jambon Fume Boite 1X100Gr 20P</c:v>
                </c:pt>
                <c:pt idx="9">
                  <c:v>Apericube Campagne Fromage Fondu Cube Assortis 1X125Gr 24P</c:v>
                </c:pt>
                <c:pt idx="10">
                  <c:v>Apericube Carrement Toque Fromage Fondu Cube Assortis 1X250Gr 48P</c:v>
                </c:pt>
                <c:pt idx="11">
                  <c:v>Apericube Best Of Des Saveurs Fromage Fondu Cube Assortis 1X125Gr 24P</c:v>
                </c:pt>
                <c:pt idx="12">
                  <c:v>Apericube Edition Voyage Fromage Fondu Cube Assortis 1X250Gr 48P</c:v>
                </c:pt>
                <c:pt idx="13">
                  <c:v>Apericube Long Drink Fromage Fondu Cube Assortis 1X125Gr 24P</c:v>
                </c:pt>
                <c:pt idx="14">
                  <c:v>Apericube Vertical Soiree Apero Fromage Fondu Cube Assortis 1X125Gr 24P</c:v>
                </c:pt>
                <c:pt idx="15">
                  <c:v>Apericube Soiree Match Aperitif 250G</c:v>
                </c:pt>
                <c:pt idx="16">
                  <c:v>Apericube Charcut' Fromages Fromage Fondu Cube Assortis 1X250Gr 48P</c:v>
                </c:pt>
                <c:pt idx="17">
                  <c:v>Apericube Nature Fromage Fondu Cube 1X250Gr 48P</c:v>
                </c:pt>
                <c:pt idx="18">
                  <c:v>Apericube Selection Du Fromager Fromage Fondu Cube Assortis 1X250Gr 48P</c:v>
                </c:pt>
                <c:pt idx="19">
                  <c:v>Apericube Sucre Sale Fromage Fondu Cube Assortis 1X250Gr 48P</c:v>
                </c:pt>
                <c:pt idx="20">
                  <c:v>Apericube Vertical Nature Fromage Fondu Cube 1X125Gr 24P</c:v>
                </c:pt>
                <c:pt idx="21">
                  <c:v>Apericube Hot Chalenge Aperitif 250G</c:v>
                </c:pt>
                <c:pt idx="22">
                  <c:v>Apericube Fromages Du Monde Aperitif 250G</c:v>
                </c:pt>
                <c:pt idx="23">
                  <c:v>Apericube Jambon Fromage Fondu Cube 1X78Gr 15P</c:v>
                </c:pt>
                <c:pt idx="24">
                  <c:v>Apericube P'Tits Plaisirs Fromage Fondu Cube 3 Fromages &amp; Jambon Cru Olive Verte 1X78Gr 15P</c:v>
                </c:pt>
                <c:pt idx="25">
                  <c:v>Apericube Saveurs De L'Authentique Fromage Fondu Cube Assortis 1X250Gr 48P</c:v>
                </c:pt>
                <c:pt idx="26">
                  <c:v>Boursin Aperitif Roules Aperitif 100G</c:v>
                </c:pt>
                <c:pt idx="27">
                  <c:v>Boursin Aperitif Roules Fromage Frais Roule Jambon Fume &amp; Trio De Noix Boite 1X100Gr 20P</c:v>
                </c:pt>
                <c:pt idx="28">
                  <c:v>Apericube Montagne Aperitif 250G</c:v>
                </c:pt>
                <c:pt idx="29">
                  <c:v>Boursin Aperitif Roules Fromage Frais Roule Basilic &amp; Jambon Fume Tomate Boite 1X100Gr 20P</c:v>
                </c:pt>
              </c:strCache>
            </c:strRef>
          </c:cat>
          <c:val>
            <c:numRef>
              <c:f>Sheet1!$D$2:$D$31</c:f>
              <c:numCache>
                <c:formatCode>General</c:formatCode>
                <c:ptCount val="30"/>
                <c:pt idx="0">
                  <c:v>46845.27533039648</c:v>
                </c:pt>
                <c:pt idx="1">
                  <c:v>40297.88154897495</c:v>
                </c:pt>
                <c:pt idx="2">
                  <c:v>35619.28904428904</c:v>
                </c:pt>
                <c:pt idx="3">
                  <c:v>28428.861878453037</c:v>
                </c:pt>
                <c:pt idx="4">
                  <c:v>23528.375165125493</c:v>
                </c:pt>
                <c:pt idx="5">
                  <c:v>21982.007874015748</c:v>
                </c:pt>
                <c:pt idx="6">
                  <c:v>18517.423529411764</c:v>
                </c:pt>
                <c:pt idx="7">
                  <c:v>17125.689655172413</c:v>
                </c:pt>
                <c:pt idx="8">
                  <c:v>12732.23350253807</c:v>
                </c:pt>
                <c:pt idx="9">
                  <c:v>11497.916120576672</c:v>
                </c:pt>
                <c:pt idx="10">
                  <c:v>13278.042813455657</c:v>
                </c:pt>
                <c:pt idx="11">
                  <c:v>10432.892156862747</c:v>
                </c:pt>
                <c:pt idx="12">
                  <c:v>12442.481481481482</c:v>
                </c:pt>
                <c:pt idx="13">
                  <c:v>7957.265725288831</c:v>
                </c:pt>
                <c:pt idx="14">
                  <c:v>49053.67924528302</c:v>
                </c:pt>
                <c:pt idx="15">
                  <c:v>5441.791831357048</c:v>
                </c:pt>
                <c:pt idx="16">
                  <c:v>6885.940594059406</c:v>
                </c:pt>
                <c:pt idx="17">
                  <c:v>6024.476744186047</c:v>
                </c:pt>
                <c:pt idx="18">
                  <c:v>5075.951417004048</c:v>
                </c:pt>
                <c:pt idx="19">
                  <c:v>4596.858974358974</c:v>
                </c:pt>
                <c:pt idx="20">
                  <c:v>31928.57142857143</c:v>
                </c:pt>
                <c:pt idx="21">
                  <c:v>2958.5169491525426</c:v>
                </c:pt>
                <c:pt idx="22">
                  <c:v>2593.9316239316245</c:v>
                </c:pt>
                <c:pt idx="23">
                  <c:v>14606.166666666666</c:v>
                </c:pt>
                <c:pt idx="24">
                  <c:v>2162.3316062176164</c:v>
                </c:pt>
                <c:pt idx="25">
                  <c:v>4807.092198581561</c:v>
                </c:pt>
                <c:pt idx="26">
                  <c:v>1488.977272727273</c:v>
                </c:pt>
                <c:pt idx="27">
                  <c:v>1246.9437652811737</c:v>
                </c:pt>
                <c:pt idx="28">
                  <c:v>1866.7657992565055</c:v>
                </c:pt>
                <c:pt idx="29">
                  <c:v>63.33333333333334</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Soignon</c:v>
                </c:pt>
                <c:pt idx="2">
                  <c:v>President</c:v>
                </c:pt>
                <c:pt idx="3">
                  <c:v>St Moret</c:v>
                </c:pt>
                <c:pt idx="4">
                  <c:v>Caprice Des Dieux</c:v>
                </c:pt>
                <c:pt idx="5">
                  <c:v>La Vache Qui Rit</c:v>
                </c:pt>
                <c:pt idx="6">
                  <c:v>Coeur De Lion</c:v>
                </c:pt>
                <c:pt idx="7">
                  <c:v>Kiri</c:v>
                </c:pt>
                <c:pt idx="8">
                  <c:v>Boursin</c:v>
                </c:pt>
                <c:pt idx="9">
                  <c:v>Others</c:v>
                </c:pt>
              </c:strCache>
            </c:strRef>
          </c:cat>
          <c:val>
            <c:numRef>
              <c:f>Sheet1!$B$2:$B$11</c:f>
              <c:numCache>
                <c:formatCode>General</c:formatCode>
                <c:ptCount val="10"/>
                <c:pt idx="0">
                  <c:v>0.4453482332801038</c:v>
                </c:pt>
                <c:pt idx="1">
                  <c:v>0.05248620944867556</c:v>
                </c:pt>
                <c:pt idx="2">
                  <c:v>0.040587765429961294</c:v>
                </c:pt>
                <c:pt idx="3">
                  <c:v>0.04025883256762003</c:v>
                </c:pt>
                <c:pt idx="4">
                  <c:v>0.037794700872172404</c:v>
                </c:pt>
                <c:pt idx="5">
                  <c:v>0.03212089751056463</c:v>
                </c:pt>
                <c:pt idx="6">
                  <c:v>0.029899083446711328</c:v>
                </c:pt>
                <c:pt idx="7">
                  <c:v>0.025360558045659527</c:v>
                </c:pt>
                <c:pt idx="8">
                  <c:v>0.01850648215108488</c:v>
                </c:pt>
                <c:pt idx="9">
                  <c:v>0.2776372372474466</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Soignon</c:v>
                </c:pt>
                <c:pt idx="2">
                  <c:v>President</c:v>
                </c:pt>
                <c:pt idx="3">
                  <c:v>St Moret</c:v>
                </c:pt>
                <c:pt idx="4">
                  <c:v>Caprice Des Dieux</c:v>
                </c:pt>
                <c:pt idx="5">
                  <c:v>La Vache Qui Rit</c:v>
                </c:pt>
                <c:pt idx="6">
                  <c:v>Coeur De Lion</c:v>
                </c:pt>
                <c:pt idx="7">
                  <c:v>Kiri</c:v>
                </c:pt>
                <c:pt idx="8">
                  <c:v>Boursin</c:v>
                </c:pt>
                <c:pt idx="9">
                  <c:v>Others</c:v>
                </c:pt>
              </c:strCache>
            </c:strRef>
          </c:cat>
          <c:val>
            <c:numRef>
              <c:f>Sheet1!$C$2:$C$11</c:f>
              <c:numCache>
                <c:formatCode>General</c:formatCode>
                <c:ptCount val="10"/>
                <c:pt idx="0">
                  <c:v>0.33957457648707173</c:v>
                </c:pt>
                <c:pt idx="1">
                  <c:v>0.051585785250286606</c:v>
                </c:pt>
                <c:pt idx="2">
                  <c:v>0.05247739141510638</c:v>
                </c:pt>
                <c:pt idx="3">
                  <c:v>0.03451789580945103</c:v>
                </c:pt>
                <c:pt idx="4">
                  <c:v>0.025601834161253344</c:v>
                </c:pt>
                <c:pt idx="5">
                  <c:v>0.02687555725385302</c:v>
                </c:pt>
                <c:pt idx="6">
                  <c:v>0.022290154120494208</c:v>
                </c:pt>
                <c:pt idx="7">
                  <c:v>0.03286205578907146</c:v>
                </c:pt>
                <c:pt idx="8">
                  <c:v>0.032607311170551524</c:v>
                </c:pt>
                <c:pt idx="9">
                  <c:v>0.3816074385428607</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Soignon</c:v>
                </c:pt>
                <c:pt idx="2">
                  <c:v>President</c:v>
                </c:pt>
                <c:pt idx="3">
                  <c:v>St Moret</c:v>
                </c:pt>
                <c:pt idx="4">
                  <c:v>Caprice Des Dieux</c:v>
                </c:pt>
                <c:pt idx="5">
                  <c:v>La Vache Qui Rit</c:v>
                </c:pt>
                <c:pt idx="6">
                  <c:v>Coeur De Lion</c:v>
                </c:pt>
                <c:pt idx="7">
                  <c:v>Kiri</c:v>
                </c:pt>
                <c:pt idx="8">
                  <c:v>Boursin</c:v>
                </c:pt>
                <c:pt idx="9">
                  <c:v>Others</c:v>
                </c:pt>
              </c:strCache>
            </c:strRef>
          </c:cat>
          <c:val>
            <c:numRef>
              <c:f>Sheet1!$D$2:$D$11</c:f>
              <c:numCache>
                <c:formatCode>General</c:formatCode>
                <c:ptCount val="10"/>
                <c:pt idx="0">
                  <c:v>76.2492250134278</c:v>
                </c:pt>
                <c:pt idx="1">
                  <c:v>98.28445565445253</c:v>
                </c:pt>
                <c:pt idx="2">
                  <c:v>129.29362052626908</c:v>
                </c:pt>
                <c:pt idx="3">
                  <c:v>85.73993235266735</c:v>
                </c:pt>
                <c:pt idx="4">
                  <c:v>67.73921626696493</c:v>
                </c:pt>
                <c:pt idx="5">
                  <c:v>83.67000718150418</c:v>
                </c:pt>
                <c:pt idx="6">
                  <c:v>74.55129572858515</c:v>
                </c:pt>
                <c:pt idx="7">
                  <c:v>129.57938752730175</c:v>
                </c:pt>
                <c:pt idx="8">
                  <c:v>176.19400005008535</c:v>
                </c:pt>
                <c:pt idx="9">
                  <c:v>137.44821923967993</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23</c:f>
              <c:strCache>
                <c:ptCount val="22"/>
                <c:pt idx="0">
                  <c:v>Apericube Edition Limitee Best Of Foot Fromage Fondu Cube Assortis 1X250Gr 48P</c:v>
                </c:pt>
                <c:pt idx="1">
                  <c:v>Apericube Cocktail Fromage Fondu Cube Assortis 1X250Gr 48P</c:v>
                </c:pt>
                <c:pt idx="2">
                  <c:v>Apericube Long Drink Fromage Fondu Cube Assortis 1X250Gr 48P</c:v>
                </c:pt>
                <c:pt idx="3">
                  <c:v>Apericube Tonic Fromage Fondu Cube Assortis 1X250Gr 48P</c:v>
                </c:pt>
                <c:pt idx="4">
                  <c:v>Boursin Aperitif Roules Fromage Frais Roule Afh Et Jambon Fume Boite 1X100Gr 20P</c:v>
                </c:pt>
                <c:pt idx="5">
                  <c:v>Apericube Incontournable Fromage Fondu Cube Assortis 1X250Gr 48P</c:v>
                </c:pt>
                <c:pt idx="6">
                  <c:v>Apericube Edition Limitee Saison Fromage Fondu Cube Assortis 1X250Gr 48P</c:v>
                </c:pt>
                <c:pt idx="7">
                  <c:v>Apericube Nature Fromage Fondu Cube 1X125Gr 24P</c:v>
                </c:pt>
                <c:pt idx="8">
                  <c:v>Apericube Edition Voyage Fromage Fondu Cube Assortis 1X250Gr 48P</c:v>
                </c:pt>
                <c:pt idx="9">
                  <c:v>Boursin Aperitif Roules Fromage Frais Roule Ciboulette &amp; Echalote Jambon Fume Boite 1X100Gr 20P</c:v>
                </c:pt>
                <c:pt idx="10">
                  <c:v>Apericube Campagne Fromage Fondu Cube Assortis 1X125Gr 24P</c:v>
                </c:pt>
                <c:pt idx="11">
                  <c:v>Apericube Saveurs De L'Authentique Fromage Fondu Cube Assortis 1X250Gr 48P</c:v>
                </c:pt>
                <c:pt idx="12">
                  <c:v>Boursin Aperitif Roules Fromage Frais Roule Basilic &amp; Jambon Fume Tomate Boite 1X100Gr 20P</c:v>
                </c:pt>
                <c:pt idx="13">
                  <c:v>Apericube Long Drink Fromage Fondu Cube Assortis 1X125Gr 24P</c:v>
                </c:pt>
                <c:pt idx="14">
                  <c:v>Apericube Soiree Match Aperitif 250G</c:v>
                </c:pt>
                <c:pt idx="15">
                  <c:v>Apericube Hot Chalenge Aperitif 250G</c:v>
                </c:pt>
                <c:pt idx="16">
                  <c:v>Apericube Best Of Des Saveurs Fromage Fondu Cube Assortis 1X125Gr 24P</c:v>
                </c:pt>
                <c:pt idx="17">
                  <c:v>Apericube Fromages Du Monde Aperitif 250G</c:v>
                </c:pt>
                <c:pt idx="18">
                  <c:v>Apericube Montagne Aperitif 250G</c:v>
                </c:pt>
                <c:pt idx="19">
                  <c:v>Boursin Aperitif Roules Fromage Frais Roule Jambon Fume &amp; Trio De Noix Boite 1X100Gr 20P</c:v>
                </c:pt>
                <c:pt idx="20">
                  <c:v>Boursin Aperitif Roules Aperitif 100G</c:v>
                </c:pt>
                <c:pt idx="21">
                  <c:v>Apericube Carrement Toque Fromage Fondu Cube Assortis 1X250Gr 48P</c:v>
                </c:pt>
              </c:strCache>
            </c:strRef>
          </c:cat>
          <c:val>
            <c:numRef>
              <c:f>Sheet1!$B$2:$B$23</c:f>
              <c:numCache>
                <c:formatCode>General</c:formatCode>
                <c:ptCount val="22"/>
                <c:pt idx="0">
                  <c:v>0.956</c:v>
                </c:pt>
                <c:pt idx="1">
                  <c:v>0.964</c:v>
                </c:pt>
                <c:pt idx="2">
                  <c:v>0.935</c:v>
                </c:pt>
                <c:pt idx="3">
                  <c:v>0.934</c:v>
                </c:pt>
                <c:pt idx="4">
                  <c:v>0.966</c:v>
                </c:pt>
                <c:pt idx="5">
                  <c:v>0.865</c:v>
                </c:pt>
                <c:pt idx="6">
                  <c:v>0.884</c:v>
                </c:pt>
                <c:pt idx="7">
                  <c:v>0.94</c:v>
                </c:pt>
                <c:pt idx="8">
                  <c:v>0.868</c:v>
                </c:pt>
                <c:pt idx="9">
                  <c:v>0.911</c:v>
                </c:pt>
                <c:pt idx="10">
                  <c:v>0.92</c:v>
                </c:pt>
                <c:pt idx="11">
                  <c:v>0.836</c:v>
                </c:pt>
                <c:pt idx="12">
                  <c:v>0.873</c:v>
                </c:pt>
                <c:pt idx="13">
                  <c:v>0.767</c:v>
                </c:pt>
                <c:pt idx="14">
                  <c:v>0.767</c:v>
                </c:pt>
                <c:pt idx="15">
                  <c:v>0.501</c:v>
                </c:pt>
                <c:pt idx="16">
                  <c:v>0.667</c:v>
                </c:pt>
                <c:pt idx="17">
                  <c:v>0.284</c:v>
                </c:pt>
                <c:pt idx="18">
                  <c:v>0.271</c:v>
                </c:pt>
                <c:pt idx="19">
                  <c:v>0.75</c:v>
                </c:pt>
                <c:pt idx="20">
                  <c:v>0.661</c:v>
                </c:pt>
                <c:pt idx="21">
                  <c:v>0.001</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7ECAC4"/>
              </a:solidFill>
            </c:spPr>
            <c:extLst>
              <c:ext xmlns:c16="http://schemas.microsoft.com/office/drawing/2014/chart" uri="{C3380CC4-5D6E-409C-BE32-E72D297353CC}">
                <c16:uniqueId val="{00000015-FA3E-4872-B6E1-C4ABDF5766E2}"/>
              </c:ext>
            </c:extLst>
          </c:dPt>
          <c:dPt>
            <c:idx val="10"/>
            <c:invertIfNegative val="1"/>
            <c:bubble3D val="0"/>
            <c:spPr>
              <a:solidFill>
                <a:srgbClr val="7ECAC4"/>
              </a:solidFill>
            </c:spPr>
            <c:extLst>
              <c:ext xmlns:c16="http://schemas.microsoft.com/office/drawing/2014/chart" uri="{C3380CC4-5D6E-409C-BE32-E72D297353CC}">
                <c16:uniqueId val="{00000017-FA3E-4872-B6E1-C4ABDF5766E2}"/>
              </c:ext>
            </c:extLst>
          </c:dPt>
          <c:dPt>
            <c:idx val="11"/>
            <c:invertIfNegative val="1"/>
            <c:bubble3D val="0"/>
            <c:spPr>
              <a:solidFill>
                <a:srgbClr val="7ECAC4"/>
              </a:solidFill>
            </c:spPr>
            <c:extLst>
              <c:ext xmlns:c16="http://schemas.microsoft.com/office/drawing/2014/chart" uri="{C3380CC4-5D6E-409C-BE32-E72D297353CC}">
                <c16:uniqueId val="{00000019-FA3E-4872-B6E1-C4ABDF5766E2}"/>
              </c:ext>
            </c:extLst>
          </c:dPt>
          <c:dPt>
            <c:idx val="12"/>
            <c:invertIfNegative val="1"/>
            <c:bubble3D val="0"/>
            <c:spPr>
              <a:solidFill>
                <a:srgbClr val="AEABAB"/>
              </a:solidFill>
            </c:spPr>
            <c:extLst>
              <c:ext xmlns:c16="http://schemas.microsoft.com/office/drawing/2014/chart" uri="{C3380CC4-5D6E-409C-BE32-E72D297353CC}">
                <c16:uniqueId val="{0000001B-FA3E-4872-B6E1-C4ABDF5766E2}"/>
              </c:ext>
            </c:extLst>
          </c:dPt>
          <c:dPt>
            <c:idx val="13"/>
            <c:invertIfNegative val="1"/>
            <c:bubble3D val="0"/>
            <c:spPr>
              <a:solidFill>
                <a:srgbClr val="AEABAB"/>
              </a:solidFill>
            </c:spPr>
            <c:extLst>
              <c:ext xmlns:c16="http://schemas.microsoft.com/office/drawing/2014/chart" uri="{C3380CC4-5D6E-409C-BE32-E72D297353CC}">
                <c16:uniqueId val="{0000001D-FA3E-4872-B6E1-C4ABDF5766E2}"/>
              </c:ext>
            </c:extLst>
          </c:dPt>
          <c:dPt>
            <c:idx val="14"/>
            <c:invertIfNegative val="1"/>
            <c:bubble3D val="0"/>
            <c:spPr>
              <a:solidFill>
                <a:srgbClr val="AEABAB"/>
              </a:solidFill>
            </c:spPr>
            <c:extLst>
              <c:ext xmlns:c16="http://schemas.microsoft.com/office/drawing/2014/chart" uri="{C3380CC4-5D6E-409C-BE32-E72D297353CC}">
                <c16:uniqueId val="{0000001F-FA3E-4872-B6E1-C4ABDF5766E2}"/>
              </c:ext>
            </c:extLst>
          </c:dPt>
          <c:dPt>
            <c:idx val="15"/>
            <c:invertIfNegative val="1"/>
            <c:bubble3D val="0"/>
            <c:spPr>
              <a:solidFill>
                <a:srgbClr val="AEABAB"/>
              </a:solidFill>
            </c:spPr>
            <c:extLst>
              <c:ext xmlns:c16="http://schemas.microsoft.com/office/drawing/2014/chart" uri="{C3380CC4-5D6E-409C-BE32-E72D297353CC}">
                <c16:uniqueId val="{00000021-FA3E-4872-B6E1-C4ABDF5766E2}"/>
              </c:ext>
            </c:extLst>
          </c:dPt>
          <c:dPt>
            <c:idx val="16"/>
            <c:invertIfNegative val="1"/>
            <c:bubble3D val="0"/>
            <c:spPr>
              <a:solidFill>
                <a:srgbClr val="AEABAB"/>
              </a:solidFill>
            </c:spPr>
            <c:extLst>
              <c:ext xmlns:c16="http://schemas.microsoft.com/office/drawing/2014/chart" uri="{C3380CC4-5D6E-409C-BE32-E72D297353CC}">
                <c16:uniqueId val="{00000023-FA3E-4872-B6E1-C4ABDF5766E2}"/>
              </c:ext>
            </c:extLst>
          </c:dPt>
          <c:dPt>
            <c:idx val="17"/>
            <c:invertIfNegative val="1"/>
            <c:bubble3D val="0"/>
            <c:spPr>
              <a:solidFill>
                <a:srgbClr val="AEABAB"/>
              </a:solidFill>
            </c:spPr>
            <c:extLst>
              <c:ext xmlns:c16="http://schemas.microsoft.com/office/drawing/2014/chart" uri="{C3380CC4-5D6E-409C-BE32-E72D297353CC}">
                <c16:uniqueId val="{00000025-FA3E-4872-B6E1-C4ABDF5766E2}"/>
              </c:ext>
            </c:extLst>
          </c:dPt>
          <c:dPt>
            <c:idx val="18"/>
            <c:invertIfNegative val="1"/>
            <c:bubble3D val="0"/>
            <c:spPr>
              <a:solidFill>
                <a:srgbClr val="AEABAB"/>
              </a:solidFill>
            </c:spPr>
            <c:extLst>
              <c:ext xmlns:c16="http://schemas.microsoft.com/office/drawing/2014/chart" uri="{C3380CC4-5D6E-409C-BE32-E72D297353CC}">
                <c16:uniqueId val="{00000027-FA3E-4872-B6E1-C4ABDF5766E2}"/>
              </c:ext>
            </c:extLst>
          </c:dPt>
          <c:dPt>
            <c:idx val="19"/>
            <c:invertIfNegative val="1"/>
            <c:bubble3D val="0"/>
            <c:spPr>
              <a:solidFill>
                <a:srgbClr val="AEABAB"/>
              </a:solidFill>
            </c:spPr>
            <c:extLst>
              <c:ext xmlns:c16="http://schemas.microsoft.com/office/drawing/2014/chart" uri="{C3380CC4-5D6E-409C-BE32-E72D297353CC}">
                <c16:uniqueId val="{00000029-FA3E-4872-B6E1-C4ABDF5766E2}"/>
              </c:ext>
            </c:extLst>
          </c:dPt>
          <c:dPt>
            <c:idx val="20"/>
            <c:invertIfNegative val="1"/>
            <c:bubble3D val="0"/>
            <c:spPr>
              <a:solidFill>
                <a:srgbClr val="AEABAB"/>
              </a:solidFill>
            </c:spPr>
            <c:extLst>
              <c:ext xmlns:c16="http://schemas.microsoft.com/office/drawing/2014/chart" uri="{C3380CC4-5D6E-409C-BE32-E72D297353CC}">
                <c16:uniqueId val="{0000002B-FA3E-4872-B6E1-C4ABDF5766E2}"/>
              </c:ext>
            </c:extLst>
          </c:dPt>
          <c:dPt>
            <c:idx val="21"/>
            <c:invertIfNegative val="1"/>
            <c:bubble3D val="0"/>
            <c:spPr>
              <a:solidFill>
                <a:srgbClr val="AEABAB"/>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23</c:f>
              <c:strCache>
                <c:ptCount val="22"/>
                <c:pt idx="0">
                  <c:v>Apericube Edition Limitee Best Of Foot Fromage Fondu Cube Assortis 1X250Gr 48P</c:v>
                </c:pt>
                <c:pt idx="1">
                  <c:v>Apericube Cocktail Fromage Fondu Cube Assortis 1X250Gr 48P</c:v>
                </c:pt>
                <c:pt idx="2">
                  <c:v>Apericube Long Drink Fromage Fondu Cube Assortis 1X250Gr 48P</c:v>
                </c:pt>
                <c:pt idx="3">
                  <c:v>Apericube Tonic Fromage Fondu Cube Assortis 1X250Gr 48P</c:v>
                </c:pt>
                <c:pt idx="4">
                  <c:v>Boursin Aperitif Roules Fromage Frais Roule Afh Et Jambon Fume Boite 1X100Gr 20P</c:v>
                </c:pt>
                <c:pt idx="5">
                  <c:v>Apericube Incontournable Fromage Fondu Cube Assortis 1X250Gr 48P</c:v>
                </c:pt>
                <c:pt idx="6">
                  <c:v>Apericube Edition Limitee Saison Fromage Fondu Cube Assortis 1X250Gr 48P</c:v>
                </c:pt>
                <c:pt idx="7">
                  <c:v>Apericube Nature Fromage Fondu Cube 1X125Gr 24P</c:v>
                </c:pt>
                <c:pt idx="8">
                  <c:v>Apericube Edition Voyage Fromage Fondu Cube Assortis 1X250Gr 48P</c:v>
                </c:pt>
                <c:pt idx="9">
                  <c:v>Boursin Aperitif Roules Fromage Frais Roule Ciboulette &amp; Echalote Jambon Fume Boite 1X100Gr 20P</c:v>
                </c:pt>
                <c:pt idx="10">
                  <c:v>Apericube Campagne Fromage Fondu Cube Assortis 1X125Gr 24P</c:v>
                </c:pt>
                <c:pt idx="11">
                  <c:v>Apericube Saveurs De L'Authentique Fromage Fondu Cube Assortis 1X250Gr 48P</c:v>
                </c:pt>
                <c:pt idx="12">
                  <c:v>Boursin Aperitif Roules Fromage Frais Roule Basilic &amp; Jambon Fume Tomate Boite 1X100Gr 20P</c:v>
                </c:pt>
                <c:pt idx="13">
                  <c:v>Apericube Long Drink Fromage Fondu Cube Assortis 1X125Gr 24P</c:v>
                </c:pt>
                <c:pt idx="14">
                  <c:v>Apericube Soiree Match Aperitif 250G</c:v>
                </c:pt>
                <c:pt idx="15">
                  <c:v>Apericube Hot Chalenge Aperitif 250G</c:v>
                </c:pt>
                <c:pt idx="16">
                  <c:v>Apericube Best Of Des Saveurs Fromage Fondu Cube Assortis 1X125Gr 24P</c:v>
                </c:pt>
                <c:pt idx="17">
                  <c:v>Apericube Fromages Du Monde Aperitif 250G</c:v>
                </c:pt>
                <c:pt idx="18">
                  <c:v>Apericube Montagne Aperitif 250G</c:v>
                </c:pt>
                <c:pt idx="19">
                  <c:v>Boursin Aperitif Roules Fromage Frais Roule Jambon Fume &amp; Trio De Noix Boite 1X100Gr 20P</c:v>
                </c:pt>
                <c:pt idx="20">
                  <c:v>Boursin Aperitif Roules Aperitif 100G</c:v>
                </c:pt>
                <c:pt idx="21">
                  <c:v>Apericube Carrement Toque Fromage Fondu Cube Assortis 1X250Gr 48P</c:v>
                </c:pt>
              </c:strCache>
            </c:strRef>
          </c:cat>
          <c:val>
            <c:numRef>
              <c:f>Sheet1!$C$2:$C$23</c:f>
              <c:numCache>
                <c:formatCode>General</c:formatCode>
                <c:ptCount val="22"/>
                <c:pt idx="0">
                  <c:v>0.1408600399862417</c:v>
                </c:pt>
                <c:pt idx="1">
                  <c:v>0.2662524288057037</c:v>
                </c:pt>
                <c:pt idx="2">
                  <c:v>0.3722894437592512</c:v>
                </c:pt>
                <c:pt idx="3">
                  <c:v>0.45979770918585433</c:v>
                </c:pt>
                <c:pt idx="4">
                  <c:v>0.5386791471658866</c:v>
                </c:pt>
                <c:pt idx="5">
                  <c:v>0.6133463656172774</c:v>
                </c:pt>
                <c:pt idx="6">
                  <c:v>0.6773522682617601</c:v>
                </c:pt>
                <c:pt idx="7">
                  <c:v>0.7379269774630426</c:v>
                </c:pt>
                <c:pt idx="8">
                  <c:v>0.7925102484029553</c:v>
                </c:pt>
                <c:pt idx="9">
                  <c:v>0.841135768990969</c:v>
                </c:pt>
                <c:pt idx="10">
                  <c:v>0.8895919424909631</c:v>
                </c:pt>
                <c:pt idx="11">
                  <c:v>0.9279242820672686</c:v>
                </c:pt>
                <c:pt idx="12">
                  <c:v>0.9517747774483404</c:v>
                </c:pt>
                <c:pt idx="13">
                  <c:v>0.9696663245238359</c:v>
                </c:pt>
                <c:pt idx="14">
                  <c:v>0.9817699765582245</c:v>
                </c:pt>
                <c:pt idx="15">
                  <c:v>0.9868508611199596</c:v>
                </c:pt>
                <c:pt idx="16">
                  <c:v>0.9911338359293533</c:v>
                </c:pt>
                <c:pt idx="17">
                  <c:v>0.993814747354292</c:v>
                </c:pt>
                <c:pt idx="18">
                  <c:v>0.9961246924571572</c:v>
                </c:pt>
                <c:pt idx="19">
                  <c:v>0.9982351238203104</c:v>
                </c:pt>
                <c:pt idx="20">
                  <c:v>0.99998809306648</c:v>
                </c:pt>
                <c:pt idx="21">
                  <c:v>0.999997894505658</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23</c:f>
              <c:strCache>
                <c:ptCount val="22"/>
                <c:pt idx="0">
                  <c:v>Apericube Edition Limitee Best Of Foot Fromage Fondu Cube Assortis 1X250Gr 48P</c:v>
                </c:pt>
                <c:pt idx="1">
                  <c:v>Apericube Cocktail Fromage Fondu Cube Assortis 1X250Gr 48P</c:v>
                </c:pt>
                <c:pt idx="2">
                  <c:v>Apericube Long Drink Fromage Fondu Cube Assortis 1X250Gr 48P</c:v>
                </c:pt>
                <c:pt idx="3">
                  <c:v>Apericube Tonic Fromage Fondu Cube Assortis 1X250Gr 48P</c:v>
                </c:pt>
                <c:pt idx="4">
                  <c:v>Boursin Aperitif Roules Fromage Frais Roule Afh Et Jambon Fume Boite 1X100Gr 20P</c:v>
                </c:pt>
                <c:pt idx="5">
                  <c:v>Apericube Incontournable Fromage Fondu Cube Assortis 1X250Gr 48P</c:v>
                </c:pt>
                <c:pt idx="6">
                  <c:v>Apericube Edition Limitee Saison Fromage Fondu Cube Assortis 1X250Gr 48P</c:v>
                </c:pt>
                <c:pt idx="7">
                  <c:v>Apericube Nature Fromage Fondu Cube 1X125Gr 24P</c:v>
                </c:pt>
                <c:pt idx="8">
                  <c:v>Apericube Edition Voyage Fromage Fondu Cube Assortis 1X250Gr 48P</c:v>
                </c:pt>
                <c:pt idx="9">
                  <c:v>Boursin Aperitif Roules Fromage Frais Roule Ciboulette &amp; Echalote Jambon Fume Boite 1X100Gr 20P</c:v>
                </c:pt>
                <c:pt idx="10">
                  <c:v>Apericube Campagne Fromage Fondu Cube Assortis 1X125Gr 24P</c:v>
                </c:pt>
                <c:pt idx="11">
                  <c:v>Apericube Saveurs De L'Authentique Fromage Fondu Cube Assortis 1X250Gr 48P</c:v>
                </c:pt>
                <c:pt idx="12">
                  <c:v>Boursin Aperitif Roules Fromage Frais Roule Basilic &amp; Jambon Fume Tomate Boite 1X100Gr 20P</c:v>
                </c:pt>
                <c:pt idx="13">
                  <c:v>Apericube Long Drink Fromage Fondu Cube Assortis 1X125Gr 24P</c:v>
                </c:pt>
                <c:pt idx="14">
                  <c:v>Apericube Soiree Match Aperitif 250G</c:v>
                </c:pt>
                <c:pt idx="15">
                  <c:v>Apericube Hot Chalenge Aperitif 250G</c:v>
                </c:pt>
                <c:pt idx="16">
                  <c:v>Apericube Best Of Des Saveurs Fromage Fondu Cube Assortis 1X125Gr 24P</c:v>
                </c:pt>
                <c:pt idx="17">
                  <c:v>Apericube Fromages Du Monde Aperitif 250G</c:v>
                </c:pt>
                <c:pt idx="18">
                  <c:v>Apericube Montagne Aperitif 250G</c:v>
                </c:pt>
                <c:pt idx="19">
                  <c:v>Boursin Aperitif Roules Fromage Frais Roule Jambon Fume &amp; Trio De Noix Boite 1X100Gr 20P</c:v>
                </c:pt>
                <c:pt idx="20">
                  <c:v>Boursin Aperitif Roules Aperitif 100G</c:v>
                </c:pt>
                <c:pt idx="21">
                  <c:v>Apericube Carrement Toque Fromage Fondu Cube Assortis 1X250Gr 48P</c:v>
                </c:pt>
              </c:strCache>
            </c:strRef>
          </c:cat>
          <c:val>
            <c:numRef>
              <c:f>Sheet1!$D$2:$D$23</c:f>
              <c:numCache>
                <c:formatCode>General</c:formatCode>
                <c:ptCount val="22"/>
                <c:pt idx="0">
                  <c:v>40588.577405857744</c:v>
                </c:pt>
                <c:pt idx="1">
                  <c:v>35831.7531120332</c:v>
                </c:pt>
                <c:pt idx="2">
                  <c:v>31240.631016042782</c:v>
                </c:pt>
                <c:pt idx="3">
                  <c:v>25809.293361884367</c:v>
                </c:pt>
                <c:pt idx="4">
                  <c:v>22494.254658385096</c:v>
                </c:pt>
                <c:pt idx="5">
                  <c:v>23778.682080924857</c:v>
                </c:pt>
                <c:pt idx="6">
                  <c:v>19945.35067873303</c:v>
                </c:pt>
                <c:pt idx="7">
                  <c:v>17751.59574468085</c:v>
                </c:pt>
                <c:pt idx="8">
                  <c:v>17322.6267281106</c:v>
                </c:pt>
                <c:pt idx="9">
                  <c:v>14703.468715697034</c:v>
                </c:pt>
                <c:pt idx="10">
                  <c:v>14508.923913043478</c:v>
                </c:pt>
                <c:pt idx="11">
                  <c:v>12630.86124401914</c:v>
                </c:pt>
                <c:pt idx="12">
                  <c:v>7525.876288659794</c:v>
                </c:pt>
                <c:pt idx="13">
                  <c:v>6425.788787483702</c:v>
                </c:pt>
                <c:pt idx="14">
                  <c:v>4347.053455019556</c:v>
                </c:pt>
                <c:pt idx="15">
                  <c:v>2793.672654690619</c:v>
                </c:pt>
                <c:pt idx="16">
                  <c:v>1768.8605697151424</c:v>
                </c:pt>
                <c:pt idx="17">
                  <c:v>2600.387323943662</c:v>
                </c:pt>
                <c:pt idx="18">
                  <c:v>2348.0442804428044</c:v>
                </c:pt>
                <c:pt idx="19">
                  <c:v>775.1466666666666</c:v>
                </c:pt>
                <c:pt idx="20">
                  <c:v>730.5446293494704</c:v>
                </c:pt>
                <c:pt idx="21">
                  <c:v>1070.0</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29</c:f>
              <c:strCache>
                <c:ptCount val="28"/>
                <c:pt idx="0">
                  <c:v>Apericube Edition Limitee Best Of Foot Fromage Fondu Cube Assortis 1X250Gr 48P</c:v>
                </c:pt>
                <c:pt idx="1">
                  <c:v>Apericube Long Drink Fromage Fondu Cube Assortis 1X250Gr 48P</c:v>
                </c:pt>
                <c:pt idx="2">
                  <c:v>Apericube Cocktail Fromage Fondu Cube Assortis 1X250Gr 48P</c:v>
                </c:pt>
                <c:pt idx="3">
                  <c:v>Apericube Incontournable Fromage Fondu Cube Assortis 1X250Gr 48P</c:v>
                </c:pt>
                <c:pt idx="4">
                  <c:v>Apericube Tonic Fromage Fondu Cube Assortis 1X250Gr 48P</c:v>
                </c:pt>
                <c:pt idx="5">
                  <c:v>Apericube Edition Limitee Saison Fromage Fondu Cube Assortis 1X250Gr 48P</c:v>
                </c:pt>
                <c:pt idx="6">
                  <c:v>Boursin Aperitif Roules Fromage Frais Roule Afh Et Jambon Fume Boite 1X100Gr 20P</c:v>
                </c:pt>
                <c:pt idx="7">
                  <c:v>Apericube Carrement Toque Fromage Fondu Cube Assortis 1X250Gr 48P</c:v>
                </c:pt>
                <c:pt idx="8">
                  <c:v>Apericube Nature Fromage Fondu Cube 1X125Gr 24P</c:v>
                </c:pt>
                <c:pt idx="9">
                  <c:v>Apericube Edition Voyage Fromage Fondu Cube Assortis 1X250Gr 48P</c:v>
                </c:pt>
                <c:pt idx="10">
                  <c:v>Apericube Campagne Fromage Fondu Cube Assortis 1X125Gr 24P</c:v>
                </c:pt>
                <c:pt idx="11">
                  <c:v>Boursin Aperitif Roules Fromage Frais Roule Ciboulette &amp; Echalote Jambon Fume Boite 1X100Gr 20P</c:v>
                </c:pt>
                <c:pt idx="12">
                  <c:v>Apericube Best Of Des Saveurs Fromage Fondu Cube Assortis 1X125Gr 24P</c:v>
                </c:pt>
                <c:pt idx="13">
                  <c:v>Apericube Long Drink Fromage Fondu Cube Assortis 1X125Gr 24P</c:v>
                </c:pt>
                <c:pt idx="14">
                  <c:v>Apericube Charcut' Fromages Fromage Fondu Cube Assortis 1X250Gr 48P</c:v>
                </c:pt>
                <c:pt idx="15">
                  <c:v>Apericube Nature Fromage Fondu Cube 1X250Gr 48P</c:v>
                </c:pt>
                <c:pt idx="16">
                  <c:v>Apericube Soiree Match Aperitif 250G</c:v>
                </c:pt>
                <c:pt idx="17">
                  <c:v>Apericube Selection Du Fromager Fromage Fondu Cube Assortis 1X250Gr 48P</c:v>
                </c:pt>
                <c:pt idx="18">
                  <c:v>Apericube Sucre Sale Fromage Fondu Cube Assortis 1X250Gr 48P</c:v>
                </c:pt>
                <c:pt idx="19">
                  <c:v>Apericube Hot Chalenge Aperitif 250G</c:v>
                </c:pt>
                <c:pt idx="20">
                  <c:v>Apericube Fromages Du Monde Aperitif 250G</c:v>
                </c:pt>
                <c:pt idx="21">
                  <c:v>Apericube P'Tits Plaisirs Fromage Fondu Cube 3 Fromages &amp; Jambon Cru Olive Verte 1X78Gr 15P</c:v>
                </c:pt>
                <c:pt idx="22">
                  <c:v>Apericube Saveurs De L'Authentique Fromage Fondu Cube Assortis 1X250Gr 48P</c:v>
                </c:pt>
                <c:pt idx="23">
                  <c:v>Apericube Jambon Fromage Fondu Cube 1X78Gr 15P</c:v>
                </c:pt>
                <c:pt idx="24">
                  <c:v>Apericube Montagne Aperitif 250G</c:v>
                </c:pt>
                <c:pt idx="25">
                  <c:v>Boursin Aperitif Roules Aperitif 100G</c:v>
                </c:pt>
                <c:pt idx="26">
                  <c:v>Boursin Aperitif Roules Fromage Frais Roule Jambon Fume &amp; Trio De Noix Boite 1X100Gr 20P</c:v>
                </c:pt>
                <c:pt idx="27">
                  <c:v>Boursin Aperitif Roules Fromage Frais Roule Basilic &amp; Jambon Fume Tomate Boite 1X100Gr 20P</c:v>
                </c:pt>
              </c:strCache>
            </c:strRef>
          </c:cat>
          <c:val>
            <c:numRef>
              <c:f>Sheet1!$B$2:$B$29</c:f>
              <c:numCache>
                <c:formatCode>General</c:formatCode>
                <c:ptCount val="28"/>
                <c:pt idx="0">
                  <c:v>1.0</c:v>
                </c:pt>
                <c:pt idx="1">
                  <c:v>1.0</c:v>
                </c:pt>
                <c:pt idx="2">
                  <c:v>1.0</c:v>
                </c:pt>
                <c:pt idx="3">
                  <c:v>0.99</c:v>
                </c:pt>
                <c:pt idx="4">
                  <c:v>0.97</c:v>
                </c:pt>
                <c:pt idx="5">
                  <c:v>0.98</c:v>
                </c:pt>
                <c:pt idx="6">
                  <c:v>1.0</c:v>
                </c:pt>
                <c:pt idx="7">
                  <c:v>1.0</c:v>
                </c:pt>
                <c:pt idx="8">
                  <c:v>1.0</c:v>
                </c:pt>
                <c:pt idx="9">
                  <c:v>0.91</c:v>
                </c:pt>
                <c:pt idx="10">
                  <c:v>0.99</c:v>
                </c:pt>
                <c:pt idx="11">
                  <c:v>0.95</c:v>
                </c:pt>
                <c:pt idx="12">
                  <c:v>0.97</c:v>
                </c:pt>
                <c:pt idx="13">
                  <c:v>0.98</c:v>
                </c:pt>
                <c:pt idx="14">
                  <c:v>0.7</c:v>
                </c:pt>
                <c:pt idx="15">
                  <c:v>0.79</c:v>
                </c:pt>
                <c:pt idx="16">
                  <c:v>0.97</c:v>
                </c:pt>
                <c:pt idx="17">
                  <c:v>0.7</c:v>
                </c:pt>
                <c:pt idx="18">
                  <c:v>0.66</c:v>
                </c:pt>
                <c:pt idx="19">
                  <c:v>0.96</c:v>
                </c:pt>
                <c:pt idx="20">
                  <c:v>0.71</c:v>
                </c:pt>
                <c:pt idx="21">
                  <c:v>0.83</c:v>
                </c:pt>
                <c:pt idx="22">
                  <c:v>0.31</c:v>
                </c:pt>
                <c:pt idx="23">
                  <c:v>0.09</c:v>
                </c:pt>
                <c:pt idx="24">
                  <c:v>0.54</c:v>
                </c:pt>
                <c:pt idx="25">
                  <c:v>0.53</c:v>
                </c:pt>
                <c:pt idx="26">
                  <c:v>0.48</c:v>
                </c:pt>
                <c:pt idx="27">
                  <c:v>0.02</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7ECAC4"/>
              </a:solidFill>
            </c:spPr>
            <c:extLst>
              <c:ext xmlns:c16="http://schemas.microsoft.com/office/drawing/2014/chart" uri="{C3380CC4-5D6E-409C-BE32-E72D297353CC}">
                <c16:uniqueId val="{00000017-FA3E-4872-B6E1-C4ABDF5766E2}"/>
              </c:ext>
            </c:extLst>
          </c:dPt>
          <c:dPt>
            <c:idx val="11"/>
            <c:invertIfNegative val="1"/>
            <c:bubble3D val="0"/>
            <c:spPr>
              <a:solidFill>
                <a:srgbClr val="7ECAC4"/>
              </a:solidFill>
            </c:spPr>
            <c:extLst>
              <c:ext xmlns:c16="http://schemas.microsoft.com/office/drawing/2014/chart" uri="{C3380CC4-5D6E-409C-BE32-E72D297353CC}">
                <c16:uniqueId val="{00000019-FA3E-4872-B6E1-C4ABDF5766E2}"/>
              </c:ext>
            </c:extLst>
          </c:dPt>
          <c:dPt>
            <c:idx val="12"/>
            <c:invertIfNegative val="1"/>
            <c:bubble3D val="0"/>
            <c:spPr>
              <a:solidFill>
                <a:srgbClr val="7ECAC4"/>
              </a:solidFill>
            </c:spPr>
            <c:extLst>
              <c:ext xmlns:c16="http://schemas.microsoft.com/office/drawing/2014/chart" uri="{C3380CC4-5D6E-409C-BE32-E72D297353CC}">
                <c16:uniqueId val="{0000001B-FA3E-4872-B6E1-C4ABDF5766E2}"/>
              </c:ext>
            </c:extLst>
          </c:dPt>
          <c:dPt>
            <c:idx val="13"/>
            <c:invertIfNegative val="1"/>
            <c:bubble3D val="0"/>
            <c:spPr>
              <a:solidFill>
                <a:srgbClr val="7ECAC4"/>
              </a:solidFill>
            </c:spPr>
            <c:extLst>
              <c:ext xmlns:c16="http://schemas.microsoft.com/office/drawing/2014/chart" uri="{C3380CC4-5D6E-409C-BE32-E72D297353CC}">
                <c16:uniqueId val="{0000001D-FA3E-4872-B6E1-C4ABDF5766E2}"/>
              </c:ext>
            </c:extLst>
          </c:dPt>
          <c:dPt>
            <c:idx val="14"/>
            <c:invertIfNegative val="1"/>
            <c:bubble3D val="0"/>
            <c:spPr>
              <a:solidFill>
                <a:srgbClr val="7ECAC4"/>
              </a:solidFill>
            </c:spPr>
            <c:extLst>
              <c:ext xmlns:c16="http://schemas.microsoft.com/office/drawing/2014/chart" uri="{C3380CC4-5D6E-409C-BE32-E72D297353CC}">
                <c16:uniqueId val="{0000001F-FA3E-4872-B6E1-C4ABDF5766E2}"/>
              </c:ext>
            </c:extLst>
          </c:dPt>
          <c:dPt>
            <c:idx val="15"/>
            <c:invertIfNegative val="1"/>
            <c:bubble3D val="0"/>
            <c:spPr>
              <a:solidFill>
                <a:srgbClr val="7ECAC4"/>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AEABAB"/>
              </a:solidFill>
            </c:spPr>
            <c:extLst>
              <c:ext xmlns:c16="http://schemas.microsoft.com/office/drawing/2014/chart" uri="{C3380CC4-5D6E-409C-BE32-E72D297353CC}">
                <c16:uniqueId val="{00000027-FA3E-4872-B6E1-C4ABDF5766E2}"/>
              </c:ext>
            </c:extLst>
          </c:dPt>
          <c:dPt>
            <c:idx val="19"/>
            <c:invertIfNegative val="1"/>
            <c:bubble3D val="0"/>
            <c:spPr>
              <a:solidFill>
                <a:srgbClr val="AEABAB"/>
              </a:solidFill>
            </c:spPr>
            <c:extLst>
              <c:ext xmlns:c16="http://schemas.microsoft.com/office/drawing/2014/chart" uri="{C3380CC4-5D6E-409C-BE32-E72D297353CC}">
                <c16:uniqueId val="{00000029-FA3E-4872-B6E1-C4ABDF5766E2}"/>
              </c:ext>
            </c:extLst>
          </c:dPt>
          <c:dPt>
            <c:idx val="20"/>
            <c:invertIfNegative val="1"/>
            <c:bubble3D val="0"/>
            <c:spPr>
              <a:solidFill>
                <a:srgbClr val="AEABAB"/>
              </a:solidFill>
            </c:spPr>
            <c:extLst>
              <c:ext xmlns:c16="http://schemas.microsoft.com/office/drawing/2014/chart" uri="{C3380CC4-5D6E-409C-BE32-E72D297353CC}">
                <c16:uniqueId val="{0000002B-FA3E-4872-B6E1-C4ABDF5766E2}"/>
              </c:ext>
            </c:extLst>
          </c:dPt>
          <c:dPt>
            <c:idx val="21"/>
            <c:invertIfNegative val="1"/>
            <c:bubble3D val="0"/>
            <c:spPr>
              <a:solidFill>
                <a:srgbClr val="AEABAB"/>
              </a:solidFill>
            </c:spPr>
            <c:extLst>
              <c:ext xmlns:c16="http://schemas.microsoft.com/office/drawing/2014/chart" uri="{C3380CC4-5D6E-409C-BE32-E72D297353CC}">
                <c16:uniqueId val="{0000002D-FA3E-4872-B6E1-C4ABDF5766E2}"/>
              </c:ext>
            </c:extLst>
          </c:dPt>
          <c:dPt>
            <c:idx val="22"/>
            <c:invertIfNegative val="1"/>
            <c:bubble3D val="0"/>
            <c:spPr>
              <a:solidFill>
                <a:srgbClr val="AEABAB"/>
              </a:solidFill>
            </c:spPr>
            <c:extLst>
              <c:ext xmlns:c16="http://schemas.microsoft.com/office/drawing/2014/chart" uri="{C3380CC4-5D6E-409C-BE32-E72D297353CC}">
                <c16:uniqueId val="{0000002F-FA3E-4872-B6E1-C4ABDF5766E2}"/>
              </c:ext>
            </c:extLst>
          </c:dPt>
          <c:dPt>
            <c:idx val="23"/>
            <c:invertIfNegative val="1"/>
            <c:bubble3D val="0"/>
            <c:spPr>
              <a:solidFill>
                <a:srgbClr val="AEABAB"/>
              </a:solidFill>
            </c:spPr>
            <c:extLst>
              <c:ext xmlns:c16="http://schemas.microsoft.com/office/drawing/2014/chart" uri="{C3380CC4-5D6E-409C-BE32-E72D297353CC}">
                <c16:uniqueId val="{00000031-FA3E-4872-B6E1-C4ABDF5766E2}"/>
              </c:ext>
            </c:extLst>
          </c:dPt>
          <c:dPt>
            <c:idx val="24"/>
            <c:invertIfNegative val="1"/>
            <c:bubble3D val="0"/>
            <c:spPr>
              <a:solidFill>
                <a:srgbClr val="AEABAB"/>
              </a:solidFill>
            </c:spPr>
            <c:extLst>
              <c:ext xmlns:c16="http://schemas.microsoft.com/office/drawing/2014/chart" uri="{C3380CC4-5D6E-409C-BE32-E72D297353CC}">
                <c16:uniqueId val="{00000033-FA3E-4872-B6E1-C4ABDF5766E2}"/>
              </c:ext>
            </c:extLst>
          </c:dPt>
          <c:dPt>
            <c:idx val="25"/>
            <c:invertIfNegative val="1"/>
            <c:bubble3D val="0"/>
            <c:spPr>
              <a:solidFill>
                <a:srgbClr val="AEABAB"/>
              </a:solidFill>
            </c:spPr>
            <c:extLst>
              <c:ext xmlns:c16="http://schemas.microsoft.com/office/drawing/2014/chart" uri="{C3380CC4-5D6E-409C-BE32-E72D297353CC}">
                <c16:uniqueId val="{00000035-FA3E-4872-B6E1-C4ABDF5766E2}"/>
              </c:ext>
            </c:extLst>
          </c:dPt>
          <c:dPt>
            <c:idx val="26"/>
            <c:invertIfNegative val="1"/>
            <c:bubble3D val="0"/>
            <c:spPr>
              <a:solidFill>
                <a:srgbClr val="AEABAB"/>
              </a:solidFill>
            </c:spPr>
            <c:extLst>
              <c:ext xmlns:c16="http://schemas.microsoft.com/office/drawing/2014/chart" uri="{C3380CC4-5D6E-409C-BE32-E72D297353CC}">
                <c16:uniqueId val="{00000037-FA3E-4872-B6E1-C4ABDF5766E2}"/>
              </c:ext>
            </c:extLst>
          </c:dPt>
          <c:dPt>
            <c:idx val="27"/>
            <c:invertIfNegative val="1"/>
            <c:bubble3D val="0"/>
            <c:spPr>
              <a:solidFill>
                <a:srgbClr val="AEABAB"/>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29</c:f>
              <c:strCache>
                <c:ptCount val="28"/>
                <c:pt idx="0">
                  <c:v>Apericube Edition Limitee Best Of Foot Fromage Fondu Cube Assortis 1X250Gr 48P</c:v>
                </c:pt>
                <c:pt idx="1">
                  <c:v>Apericube Long Drink Fromage Fondu Cube Assortis 1X250Gr 48P</c:v>
                </c:pt>
                <c:pt idx="2">
                  <c:v>Apericube Cocktail Fromage Fondu Cube Assortis 1X250Gr 48P</c:v>
                </c:pt>
                <c:pt idx="3">
                  <c:v>Apericube Incontournable Fromage Fondu Cube Assortis 1X250Gr 48P</c:v>
                </c:pt>
                <c:pt idx="4">
                  <c:v>Apericube Tonic Fromage Fondu Cube Assortis 1X250Gr 48P</c:v>
                </c:pt>
                <c:pt idx="5">
                  <c:v>Apericube Edition Limitee Saison Fromage Fondu Cube Assortis 1X250Gr 48P</c:v>
                </c:pt>
                <c:pt idx="6">
                  <c:v>Boursin Aperitif Roules Fromage Frais Roule Afh Et Jambon Fume Boite 1X100Gr 20P</c:v>
                </c:pt>
                <c:pt idx="7">
                  <c:v>Apericube Carrement Toque Fromage Fondu Cube Assortis 1X250Gr 48P</c:v>
                </c:pt>
                <c:pt idx="8">
                  <c:v>Apericube Nature Fromage Fondu Cube 1X125Gr 24P</c:v>
                </c:pt>
                <c:pt idx="9">
                  <c:v>Apericube Edition Voyage Fromage Fondu Cube Assortis 1X250Gr 48P</c:v>
                </c:pt>
                <c:pt idx="10">
                  <c:v>Apericube Campagne Fromage Fondu Cube Assortis 1X125Gr 24P</c:v>
                </c:pt>
                <c:pt idx="11">
                  <c:v>Boursin Aperitif Roules Fromage Frais Roule Ciboulette &amp; Echalote Jambon Fume Boite 1X100Gr 20P</c:v>
                </c:pt>
                <c:pt idx="12">
                  <c:v>Apericube Best Of Des Saveurs Fromage Fondu Cube Assortis 1X125Gr 24P</c:v>
                </c:pt>
                <c:pt idx="13">
                  <c:v>Apericube Long Drink Fromage Fondu Cube Assortis 1X125Gr 24P</c:v>
                </c:pt>
                <c:pt idx="14">
                  <c:v>Apericube Charcut' Fromages Fromage Fondu Cube Assortis 1X250Gr 48P</c:v>
                </c:pt>
                <c:pt idx="15">
                  <c:v>Apericube Nature Fromage Fondu Cube 1X250Gr 48P</c:v>
                </c:pt>
                <c:pt idx="16">
                  <c:v>Apericube Soiree Match Aperitif 250G</c:v>
                </c:pt>
                <c:pt idx="17">
                  <c:v>Apericube Selection Du Fromager Fromage Fondu Cube Assortis 1X250Gr 48P</c:v>
                </c:pt>
                <c:pt idx="18">
                  <c:v>Apericube Sucre Sale Fromage Fondu Cube Assortis 1X250Gr 48P</c:v>
                </c:pt>
                <c:pt idx="19">
                  <c:v>Apericube Hot Chalenge Aperitif 250G</c:v>
                </c:pt>
                <c:pt idx="20">
                  <c:v>Apericube Fromages Du Monde Aperitif 250G</c:v>
                </c:pt>
                <c:pt idx="21">
                  <c:v>Apericube P'Tits Plaisirs Fromage Fondu Cube 3 Fromages &amp; Jambon Cru Olive Verte 1X78Gr 15P</c:v>
                </c:pt>
                <c:pt idx="22">
                  <c:v>Apericube Saveurs De L'Authentique Fromage Fondu Cube Assortis 1X250Gr 48P</c:v>
                </c:pt>
                <c:pt idx="23">
                  <c:v>Apericube Jambon Fromage Fondu Cube 1X78Gr 15P</c:v>
                </c:pt>
                <c:pt idx="24">
                  <c:v>Apericube Montagne Aperitif 250G</c:v>
                </c:pt>
                <c:pt idx="25">
                  <c:v>Boursin Aperitif Roules Aperitif 100G</c:v>
                </c:pt>
                <c:pt idx="26">
                  <c:v>Boursin Aperitif Roules Fromage Frais Roule Jambon Fume &amp; Trio De Noix Boite 1X100Gr 20P</c:v>
                </c:pt>
                <c:pt idx="27">
                  <c:v>Boursin Aperitif Roules Fromage Frais Roule Basilic &amp; Jambon Fume Tomate Boite 1X100Gr 20P</c:v>
                </c:pt>
              </c:strCache>
            </c:strRef>
          </c:cat>
          <c:val>
            <c:numRef>
              <c:f>Sheet1!$C$2:$C$29</c:f>
              <c:numCache>
                <c:formatCode>General</c:formatCode>
                <c:ptCount val="28"/>
                <c:pt idx="0">
                  <c:v>0.11603105427223168</c:v>
                </c:pt>
                <c:pt idx="1">
                  <c:v>0.22312987717568283</c:v>
                </c:pt>
                <c:pt idx="2">
                  <c:v>0.32511492298474176</c:v>
                </c:pt>
                <c:pt idx="3">
                  <c:v>0.40345036918752347</c:v>
                </c:pt>
                <c:pt idx="4">
                  <c:v>0.4764921882305151</c:v>
                </c:pt>
                <c:pt idx="5">
                  <c:v>0.5403628609856362</c:v>
                </c:pt>
                <c:pt idx="6">
                  <c:v>0.6035517933586318</c:v>
                </c:pt>
                <c:pt idx="7">
                  <c:v>0.6647376707750804</c:v>
                </c:pt>
                <c:pt idx="8">
                  <c:v>0.722749496299112</c:v>
                </c:pt>
                <c:pt idx="9">
                  <c:v>0.7697528079544101</c:v>
                </c:pt>
                <c:pt idx="10">
                  <c:v>0.804891567711578</c:v>
                </c:pt>
                <c:pt idx="11">
                  <c:v>0.8355284429458458</c:v>
                </c:pt>
                <c:pt idx="12">
                  <c:v>0.8606663320194755</c:v>
                </c:pt>
                <c:pt idx="13">
                  <c:v>0.8825157411053881</c:v>
                </c:pt>
                <c:pt idx="14">
                  <c:v>0.9019931410737474</c:v>
                </c:pt>
                <c:pt idx="15">
                  <c:v>0.9207092964699978</c:v>
                </c:pt>
                <c:pt idx="16">
                  <c:v>0.935432056185965</c:v>
                </c:pt>
                <c:pt idx="17">
                  <c:v>0.9485285206796996</c:v>
                </c:pt>
                <c:pt idx="18">
                  <c:v>0.9593057642629953</c:v>
                </c:pt>
                <c:pt idx="19">
                  <c:v>0.9696180531805779</c:v>
                </c:pt>
                <c:pt idx="20">
                  <c:v>0.9762288909535658</c:v>
                </c:pt>
                <c:pt idx="21">
                  <c:v>0.9827441305709865</c:v>
                </c:pt>
                <c:pt idx="22">
                  <c:v>0.9881930644986593</c:v>
                </c:pt>
                <c:pt idx="23">
                  <c:v>0.9919578453978259</c:v>
                </c:pt>
                <c:pt idx="24">
                  <c:v>0.9953980914809973</c:v>
                </c:pt>
                <c:pt idx="25">
                  <c:v>0.9979182455517487</c:v>
                </c:pt>
                <c:pt idx="26">
                  <c:v>0.9999939647629061</c:v>
                </c:pt>
                <c:pt idx="27">
                  <c:v>0.9999985515430975</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29</c:f>
              <c:strCache>
                <c:ptCount val="28"/>
                <c:pt idx="0">
                  <c:v>Apericube Edition Limitee Best Of Foot Fromage Fondu Cube Assortis 1X250Gr 48P</c:v>
                </c:pt>
                <c:pt idx="1">
                  <c:v>Apericube Long Drink Fromage Fondu Cube Assortis 1X250Gr 48P</c:v>
                </c:pt>
                <c:pt idx="2">
                  <c:v>Apericube Cocktail Fromage Fondu Cube Assortis 1X250Gr 48P</c:v>
                </c:pt>
                <c:pt idx="3">
                  <c:v>Apericube Incontournable Fromage Fondu Cube Assortis 1X250Gr 48P</c:v>
                </c:pt>
                <c:pt idx="4">
                  <c:v>Apericube Tonic Fromage Fondu Cube Assortis 1X250Gr 48P</c:v>
                </c:pt>
                <c:pt idx="5">
                  <c:v>Apericube Edition Limitee Saison Fromage Fondu Cube Assortis 1X250Gr 48P</c:v>
                </c:pt>
                <c:pt idx="6">
                  <c:v>Boursin Aperitif Roules Fromage Frais Roule Afh Et Jambon Fume Boite 1X100Gr 20P</c:v>
                </c:pt>
                <c:pt idx="7">
                  <c:v>Apericube Carrement Toque Fromage Fondu Cube Assortis 1X250Gr 48P</c:v>
                </c:pt>
                <c:pt idx="8">
                  <c:v>Apericube Nature Fromage Fondu Cube 1X125Gr 24P</c:v>
                </c:pt>
                <c:pt idx="9">
                  <c:v>Apericube Edition Voyage Fromage Fondu Cube Assortis 1X250Gr 48P</c:v>
                </c:pt>
                <c:pt idx="10">
                  <c:v>Apericube Campagne Fromage Fondu Cube Assortis 1X125Gr 24P</c:v>
                </c:pt>
                <c:pt idx="11">
                  <c:v>Boursin Aperitif Roules Fromage Frais Roule Ciboulette &amp; Echalote Jambon Fume Boite 1X100Gr 20P</c:v>
                </c:pt>
                <c:pt idx="12">
                  <c:v>Apericube Best Of Des Saveurs Fromage Fondu Cube Assortis 1X125Gr 24P</c:v>
                </c:pt>
                <c:pt idx="13">
                  <c:v>Apericube Long Drink Fromage Fondu Cube Assortis 1X125Gr 24P</c:v>
                </c:pt>
                <c:pt idx="14">
                  <c:v>Apericube Charcut' Fromages Fromage Fondu Cube Assortis 1X250Gr 48P</c:v>
                </c:pt>
                <c:pt idx="15">
                  <c:v>Apericube Nature Fromage Fondu Cube 1X250Gr 48P</c:v>
                </c:pt>
                <c:pt idx="16">
                  <c:v>Apericube Soiree Match Aperitif 250G</c:v>
                </c:pt>
                <c:pt idx="17">
                  <c:v>Apericube Selection Du Fromager Fromage Fondu Cube Assortis 1X250Gr 48P</c:v>
                </c:pt>
                <c:pt idx="18">
                  <c:v>Apericube Sucre Sale Fromage Fondu Cube Assortis 1X250Gr 48P</c:v>
                </c:pt>
                <c:pt idx="19">
                  <c:v>Apericube Hot Chalenge Aperitif 250G</c:v>
                </c:pt>
                <c:pt idx="20">
                  <c:v>Apericube Fromages Du Monde Aperitif 250G</c:v>
                </c:pt>
                <c:pt idx="21">
                  <c:v>Apericube P'Tits Plaisirs Fromage Fondu Cube 3 Fromages &amp; Jambon Cru Olive Verte 1X78Gr 15P</c:v>
                </c:pt>
                <c:pt idx="22">
                  <c:v>Apericube Saveurs De L'Authentique Fromage Fondu Cube Assortis 1X250Gr 48P</c:v>
                </c:pt>
                <c:pt idx="23">
                  <c:v>Apericube Jambon Fromage Fondu Cube 1X78Gr 15P</c:v>
                </c:pt>
                <c:pt idx="24">
                  <c:v>Apericube Montagne Aperitif 250G</c:v>
                </c:pt>
                <c:pt idx="25">
                  <c:v>Boursin Aperitif Roules Aperitif 100G</c:v>
                </c:pt>
                <c:pt idx="26">
                  <c:v>Boursin Aperitif Roules Fromage Frais Roule Jambon Fume &amp; Trio De Noix Boite 1X100Gr 20P</c:v>
                </c:pt>
                <c:pt idx="27">
                  <c:v>Boursin Aperitif Roules Fromage Frais Roule Basilic &amp; Jambon Fume Tomate Boite 1X100Gr 20P</c:v>
                </c:pt>
              </c:strCache>
            </c:strRef>
          </c:cat>
          <c:val>
            <c:numRef>
              <c:f>Sheet1!$D$2:$D$29</c:f>
              <c:numCache>
                <c:formatCode>General</c:formatCode>
                <c:ptCount val="28"/>
                <c:pt idx="0">
                  <c:v>14419.2</c:v>
                </c:pt>
                <c:pt idx="1">
                  <c:v>13309.19</c:v>
                </c:pt>
                <c:pt idx="2">
                  <c:v>12673.7</c:v>
                </c:pt>
                <c:pt idx="3">
                  <c:v>9833.09090909091</c:v>
                </c:pt>
                <c:pt idx="4">
                  <c:v>9357.649484536083</c:v>
                </c:pt>
                <c:pt idx="5">
                  <c:v>8099.2040816326535</c:v>
                </c:pt>
                <c:pt idx="6">
                  <c:v>7852.5</c:v>
                </c:pt>
                <c:pt idx="7">
                  <c:v>7603.58</c:v>
                </c:pt>
                <c:pt idx="8">
                  <c:v>7209.14</c:v>
                </c:pt>
                <c:pt idx="9">
                  <c:v>6418.802197802198</c:v>
                </c:pt>
                <c:pt idx="10">
                  <c:v>4410.80808080808</c:v>
                </c:pt>
                <c:pt idx="11">
                  <c:v>4007.6315789473683</c:v>
                </c:pt>
                <c:pt idx="12">
                  <c:v>3220.505154639175</c:v>
                </c:pt>
                <c:pt idx="13">
                  <c:v>2770.6428571428573</c:v>
                </c:pt>
                <c:pt idx="14">
                  <c:v>3457.8</c:v>
                </c:pt>
                <c:pt idx="15">
                  <c:v>2944.1265822784812</c:v>
                </c:pt>
                <c:pt idx="16">
                  <c:v>1886.1855670103093</c:v>
                </c:pt>
                <c:pt idx="17">
                  <c:v>2325.0</c:v>
                </c:pt>
                <c:pt idx="18">
                  <c:v>2029.2272727272727</c:v>
                </c:pt>
                <c:pt idx="19">
                  <c:v>1334.90625</c:v>
                </c:pt>
                <c:pt idx="20">
                  <c:v>1157.0845070422536</c:v>
                </c:pt>
                <c:pt idx="21">
                  <c:v>975.4819277108434</c:v>
                </c:pt>
                <c:pt idx="22">
                  <c:v>2184.3225806451615</c:v>
                </c:pt>
                <c:pt idx="23">
                  <c:v>5198.333333333333</c:v>
                </c:pt>
                <c:pt idx="24">
                  <c:v>791.7037037037037</c:v>
                </c:pt>
                <c:pt idx="25">
                  <c:v>590.9056603773585</c:v>
                </c:pt>
                <c:pt idx="26">
                  <c:v>537.3958333333334</c:v>
                </c:pt>
                <c:pt idx="27">
                  <c:v>28.5</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29</c:f>
              <c:strCache>
                <c:ptCount val="28"/>
                <c:pt idx="0">
                  <c:v>Apericube Edition Limitee Best Of Foot Fromage Fondu Cube Assortis 1X250Gr 48P</c:v>
                </c:pt>
                <c:pt idx="1">
                  <c:v>Apericube Cocktail Fromage Fondu Cube Assortis 1X250Gr 48P</c:v>
                </c:pt>
                <c:pt idx="2">
                  <c:v>Apericube Long Drink Fromage Fondu Cube Assortis 1X250Gr 48P</c:v>
                </c:pt>
                <c:pt idx="3">
                  <c:v>Boursin Aperitif Roules Fromage Frais Roule Afh Et Jambon Fume Boite 1X100Gr 20P</c:v>
                </c:pt>
                <c:pt idx="4">
                  <c:v>Apericube Edition Limitee Saison Fromage Fondu Cube Assortis 1X250Gr 48P</c:v>
                </c:pt>
                <c:pt idx="5">
                  <c:v>Apericube Tonic Fromage Fondu Cube Assortis 1X250Gr 48P</c:v>
                </c:pt>
                <c:pt idx="6">
                  <c:v>Apericube Nature Fromage Fondu Cube 1X125Gr 24P</c:v>
                </c:pt>
                <c:pt idx="7">
                  <c:v>Boursin Aperitif Roules Fromage Frais Roule Ciboulette &amp; Echalote Jambon Fume Boite 1X100Gr 20P</c:v>
                </c:pt>
                <c:pt idx="8">
                  <c:v>Apericube Campagne Fromage Fondu Cube Assortis 1X125Gr 24P</c:v>
                </c:pt>
                <c:pt idx="9">
                  <c:v>Apericube Best Of Des Saveurs Fromage Fondu Cube Assortis 1X125Gr 24P</c:v>
                </c:pt>
                <c:pt idx="10">
                  <c:v>Apericube Long Drink Fromage Fondu Cube Assortis 1X125Gr 24P</c:v>
                </c:pt>
                <c:pt idx="11">
                  <c:v>Apericube Soiree Match Aperitif 250G</c:v>
                </c:pt>
                <c:pt idx="12">
                  <c:v>Apericube Incontournable Fromage Fondu Cube Assortis 1X250Gr 48P</c:v>
                </c:pt>
                <c:pt idx="13">
                  <c:v>Apericube Carrement Toque Fromage Fondu Cube Assortis 1X250Gr 48P</c:v>
                </c:pt>
                <c:pt idx="14">
                  <c:v>Apericube Charcut' Fromages Fromage Fondu Cube Assortis 1X250Gr 48P</c:v>
                </c:pt>
                <c:pt idx="15">
                  <c:v>Apericube Selection Du Fromager Fromage Fondu Cube Assortis 1X250Gr 48P</c:v>
                </c:pt>
                <c:pt idx="16">
                  <c:v>Apericube Edition Voyage Fromage Fondu Cube Assortis 1X250Gr 48P</c:v>
                </c:pt>
                <c:pt idx="17">
                  <c:v>Apericube Sucre Sale Fromage Fondu Cube Assortis 1X250Gr 48P</c:v>
                </c:pt>
                <c:pt idx="18">
                  <c:v>Apericube Nature Fromage Fondu Cube 1X250Gr 48P</c:v>
                </c:pt>
                <c:pt idx="19">
                  <c:v>Apericube Jambon Fromage Fondu Cube 1X78Gr 15P</c:v>
                </c:pt>
                <c:pt idx="20">
                  <c:v>Boursin Aperitif Roules Fromage Frais Roule Jambon Fume &amp; Trio De Noix Boite 1X100Gr 20P</c:v>
                </c:pt>
                <c:pt idx="21">
                  <c:v>Boursin Aperitif Roules Aperitif 100G</c:v>
                </c:pt>
                <c:pt idx="22">
                  <c:v>Apericube Hot Chalenge Aperitif 250G</c:v>
                </c:pt>
                <c:pt idx="23">
                  <c:v>Apericube Fromages Du Monde Aperitif 250G</c:v>
                </c:pt>
                <c:pt idx="24">
                  <c:v>Apericube Montagne Aperitif 250G</c:v>
                </c:pt>
                <c:pt idx="25">
                  <c:v>Apericube P'Tits Plaisirs Fromage Fondu Cube 3 Fromages &amp; Jambon Cru Olive Verte 1X78Gr 15P</c:v>
                </c:pt>
                <c:pt idx="26">
                  <c:v>Apericube Vertical Soiree Apero Fromage Fondu Cube Assortis 1X125Gr 24P</c:v>
                </c:pt>
                <c:pt idx="27">
                  <c:v>Apericube Vertical Nature Fromage Fondu Cube 1X125Gr 24P</c:v>
                </c:pt>
              </c:strCache>
            </c:strRef>
          </c:cat>
          <c:val>
            <c:numRef>
              <c:f>Sheet1!$B$2:$B$29</c:f>
              <c:numCache>
                <c:formatCode>General</c:formatCode>
                <c:ptCount val="28"/>
                <c:pt idx="0">
                  <c:v>0.96</c:v>
                </c:pt>
                <c:pt idx="1">
                  <c:v>0.96</c:v>
                </c:pt>
                <c:pt idx="2">
                  <c:v>0.95</c:v>
                </c:pt>
                <c:pt idx="3">
                  <c:v>0.94</c:v>
                </c:pt>
                <c:pt idx="4">
                  <c:v>0.83</c:v>
                </c:pt>
                <c:pt idx="5">
                  <c:v>0.83</c:v>
                </c:pt>
                <c:pt idx="6">
                  <c:v>0.96</c:v>
                </c:pt>
                <c:pt idx="7">
                  <c:v>0.86</c:v>
                </c:pt>
                <c:pt idx="8">
                  <c:v>0.82</c:v>
                </c:pt>
                <c:pt idx="9">
                  <c:v>0.89</c:v>
                </c:pt>
                <c:pt idx="10">
                  <c:v>0.77</c:v>
                </c:pt>
                <c:pt idx="11">
                  <c:v>0.83</c:v>
                </c:pt>
                <c:pt idx="12">
                  <c:v>0.49</c:v>
                </c:pt>
                <c:pt idx="13">
                  <c:v>0.52</c:v>
                </c:pt>
                <c:pt idx="14">
                  <c:v>0.49</c:v>
                </c:pt>
                <c:pt idx="15">
                  <c:v>0.46</c:v>
                </c:pt>
                <c:pt idx="16">
                  <c:v>0.33</c:v>
                </c:pt>
                <c:pt idx="17">
                  <c:v>0.44</c:v>
                </c:pt>
                <c:pt idx="18">
                  <c:v>0.41</c:v>
                </c:pt>
                <c:pt idx="19">
                  <c:v>0.05</c:v>
                </c:pt>
                <c:pt idx="20">
                  <c:v>0.5</c:v>
                </c:pt>
                <c:pt idx="21">
                  <c:v>0.29</c:v>
                </c:pt>
                <c:pt idx="22">
                  <c:v>0.09</c:v>
                </c:pt>
                <c:pt idx="23">
                  <c:v>0.07</c:v>
                </c:pt>
                <c:pt idx="24">
                  <c:v>0.06</c:v>
                </c:pt>
                <c:pt idx="25">
                  <c:v>0.02</c:v>
                </c:pt>
                <c:pt idx="26">
                  <c:v>0.01</c:v>
                </c:pt>
                <c:pt idx="27">
                  <c:v>0.01</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7ECAC4"/>
              </a:solidFill>
            </c:spPr>
            <c:extLst>
              <c:ext xmlns:c16="http://schemas.microsoft.com/office/drawing/2014/chart" uri="{C3380CC4-5D6E-409C-BE32-E72D297353CC}">
                <c16:uniqueId val="{00000011-FA3E-4872-B6E1-C4ABDF5766E2}"/>
              </c:ext>
            </c:extLst>
          </c:dPt>
          <c:dPt>
            <c:idx val="8"/>
            <c:invertIfNegative val="1"/>
            <c:bubble3D val="0"/>
            <c:spPr>
              <a:solidFill>
                <a:srgbClr val="7ECAC4"/>
              </a:solidFill>
            </c:spPr>
            <c:extLst>
              <c:ext xmlns:c16="http://schemas.microsoft.com/office/drawing/2014/chart" uri="{C3380CC4-5D6E-409C-BE32-E72D297353CC}">
                <c16:uniqueId val="{00000013-FA3E-4872-B6E1-C4ABDF5766E2}"/>
              </c:ext>
            </c:extLst>
          </c:dPt>
          <c:dPt>
            <c:idx val="9"/>
            <c:invertIfNegative val="1"/>
            <c:bubble3D val="0"/>
            <c:spPr>
              <a:solidFill>
                <a:srgbClr val="7ECAC4"/>
              </a:solidFill>
            </c:spPr>
            <c:extLst>
              <c:ext xmlns:c16="http://schemas.microsoft.com/office/drawing/2014/chart" uri="{C3380CC4-5D6E-409C-BE32-E72D297353CC}">
                <c16:uniqueId val="{00000015-FA3E-4872-B6E1-C4ABDF5766E2}"/>
              </c:ext>
            </c:extLst>
          </c:dPt>
          <c:dPt>
            <c:idx val="10"/>
            <c:invertIfNegative val="1"/>
            <c:bubble3D val="0"/>
            <c:spPr>
              <a:solidFill>
                <a:srgbClr val="7ECAC4"/>
              </a:solidFill>
            </c:spPr>
            <c:extLst>
              <c:ext xmlns:c16="http://schemas.microsoft.com/office/drawing/2014/chart" uri="{C3380CC4-5D6E-409C-BE32-E72D297353CC}">
                <c16:uniqueId val="{00000017-FA3E-4872-B6E1-C4ABDF5766E2}"/>
              </c:ext>
            </c:extLst>
          </c:dPt>
          <c:dPt>
            <c:idx val="11"/>
            <c:invertIfNegative val="1"/>
            <c:bubble3D val="0"/>
            <c:spPr>
              <a:solidFill>
                <a:srgbClr val="7ECAC4"/>
              </a:solidFill>
            </c:spPr>
            <c:extLst>
              <c:ext xmlns:c16="http://schemas.microsoft.com/office/drawing/2014/chart" uri="{C3380CC4-5D6E-409C-BE32-E72D297353CC}">
                <c16:uniqueId val="{00000019-FA3E-4872-B6E1-C4ABDF5766E2}"/>
              </c:ext>
            </c:extLst>
          </c:dPt>
          <c:dPt>
            <c:idx val="12"/>
            <c:invertIfNegative val="1"/>
            <c:bubble3D val="0"/>
            <c:spPr>
              <a:solidFill>
                <a:srgbClr val="7ECAC4"/>
              </a:solidFill>
            </c:spPr>
            <c:extLst>
              <c:ext xmlns:c16="http://schemas.microsoft.com/office/drawing/2014/chart" uri="{C3380CC4-5D6E-409C-BE32-E72D297353CC}">
                <c16:uniqueId val="{0000001B-FA3E-4872-B6E1-C4ABDF5766E2}"/>
              </c:ext>
            </c:extLst>
          </c:dPt>
          <c:dPt>
            <c:idx val="13"/>
            <c:invertIfNegative val="1"/>
            <c:bubble3D val="0"/>
            <c:spPr>
              <a:solidFill>
                <a:srgbClr val="AEABAB"/>
              </a:solidFill>
            </c:spPr>
            <c:extLst>
              <c:ext xmlns:c16="http://schemas.microsoft.com/office/drawing/2014/chart" uri="{C3380CC4-5D6E-409C-BE32-E72D297353CC}">
                <c16:uniqueId val="{0000001D-FA3E-4872-B6E1-C4ABDF5766E2}"/>
              </c:ext>
            </c:extLst>
          </c:dPt>
          <c:dPt>
            <c:idx val="14"/>
            <c:invertIfNegative val="1"/>
            <c:bubble3D val="0"/>
            <c:spPr>
              <a:solidFill>
                <a:srgbClr val="AEABAB"/>
              </a:solidFill>
            </c:spPr>
            <c:extLst>
              <c:ext xmlns:c16="http://schemas.microsoft.com/office/drawing/2014/chart" uri="{C3380CC4-5D6E-409C-BE32-E72D297353CC}">
                <c16:uniqueId val="{0000001F-FA3E-4872-B6E1-C4ABDF5766E2}"/>
              </c:ext>
            </c:extLst>
          </c:dPt>
          <c:dPt>
            <c:idx val="15"/>
            <c:invertIfNegative val="1"/>
            <c:bubble3D val="0"/>
            <c:spPr>
              <a:solidFill>
                <a:srgbClr val="AEABAB"/>
              </a:solidFill>
            </c:spPr>
            <c:extLst>
              <c:ext xmlns:c16="http://schemas.microsoft.com/office/drawing/2014/chart" uri="{C3380CC4-5D6E-409C-BE32-E72D297353CC}">
                <c16:uniqueId val="{00000021-FA3E-4872-B6E1-C4ABDF5766E2}"/>
              </c:ext>
            </c:extLst>
          </c:dPt>
          <c:dPt>
            <c:idx val="16"/>
            <c:invertIfNegative val="1"/>
            <c:bubble3D val="0"/>
            <c:spPr>
              <a:solidFill>
                <a:srgbClr val="AEABAB"/>
              </a:solidFill>
            </c:spPr>
            <c:extLst>
              <c:ext xmlns:c16="http://schemas.microsoft.com/office/drawing/2014/chart" uri="{C3380CC4-5D6E-409C-BE32-E72D297353CC}">
                <c16:uniqueId val="{00000023-FA3E-4872-B6E1-C4ABDF5766E2}"/>
              </c:ext>
            </c:extLst>
          </c:dPt>
          <c:dPt>
            <c:idx val="17"/>
            <c:invertIfNegative val="1"/>
            <c:bubble3D val="0"/>
            <c:spPr>
              <a:solidFill>
                <a:srgbClr val="AEABAB"/>
              </a:solidFill>
            </c:spPr>
            <c:extLst>
              <c:ext xmlns:c16="http://schemas.microsoft.com/office/drawing/2014/chart" uri="{C3380CC4-5D6E-409C-BE32-E72D297353CC}">
                <c16:uniqueId val="{00000025-FA3E-4872-B6E1-C4ABDF5766E2}"/>
              </c:ext>
            </c:extLst>
          </c:dPt>
          <c:dPt>
            <c:idx val="18"/>
            <c:invertIfNegative val="1"/>
            <c:bubble3D val="0"/>
            <c:spPr>
              <a:solidFill>
                <a:srgbClr val="AEABAB"/>
              </a:solidFill>
            </c:spPr>
            <c:extLst>
              <c:ext xmlns:c16="http://schemas.microsoft.com/office/drawing/2014/chart" uri="{C3380CC4-5D6E-409C-BE32-E72D297353CC}">
                <c16:uniqueId val="{00000027-FA3E-4872-B6E1-C4ABDF5766E2}"/>
              </c:ext>
            </c:extLst>
          </c:dPt>
          <c:dPt>
            <c:idx val="19"/>
            <c:invertIfNegative val="1"/>
            <c:bubble3D val="0"/>
            <c:spPr>
              <a:solidFill>
                <a:srgbClr val="AEABAB"/>
              </a:solidFill>
            </c:spPr>
            <c:extLst>
              <c:ext xmlns:c16="http://schemas.microsoft.com/office/drawing/2014/chart" uri="{C3380CC4-5D6E-409C-BE32-E72D297353CC}">
                <c16:uniqueId val="{00000029-FA3E-4872-B6E1-C4ABDF5766E2}"/>
              </c:ext>
            </c:extLst>
          </c:dPt>
          <c:dPt>
            <c:idx val="20"/>
            <c:invertIfNegative val="1"/>
            <c:bubble3D val="0"/>
            <c:spPr>
              <a:solidFill>
                <a:srgbClr val="AEABAB"/>
              </a:solidFill>
            </c:spPr>
            <c:extLst>
              <c:ext xmlns:c16="http://schemas.microsoft.com/office/drawing/2014/chart" uri="{C3380CC4-5D6E-409C-BE32-E72D297353CC}">
                <c16:uniqueId val="{0000002B-FA3E-4872-B6E1-C4ABDF5766E2}"/>
              </c:ext>
            </c:extLst>
          </c:dPt>
          <c:dPt>
            <c:idx val="21"/>
            <c:invertIfNegative val="1"/>
            <c:bubble3D val="0"/>
            <c:spPr>
              <a:solidFill>
                <a:srgbClr val="AEABAB"/>
              </a:solidFill>
            </c:spPr>
            <c:extLst>
              <c:ext xmlns:c16="http://schemas.microsoft.com/office/drawing/2014/chart" uri="{C3380CC4-5D6E-409C-BE32-E72D297353CC}">
                <c16:uniqueId val="{0000002D-FA3E-4872-B6E1-C4ABDF5766E2}"/>
              </c:ext>
            </c:extLst>
          </c:dPt>
          <c:dPt>
            <c:idx val="22"/>
            <c:invertIfNegative val="1"/>
            <c:bubble3D val="0"/>
            <c:spPr>
              <a:solidFill>
                <a:srgbClr val="AEABAB"/>
              </a:solidFill>
            </c:spPr>
            <c:extLst>
              <c:ext xmlns:c16="http://schemas.microsoft.com/office/drawing/2014/chart" uri="{C3380CC4-5D6E-409C-BE32-E72D297353CC}">
                <c16:uniqueId val="{0000002F-FA3E-4872-B6E1-C4ABDF5766E2}"/>
              </c:ext>
            </c:extLst>
          </c:dPt>
          <c:dPt>
            <c:idx val="23"/>
            <c:invertIfNegative val="1"/>
            <c:bubble3D val="0"/>
            <c:spPr>
              <a:solidFill>
                <a:srgbClr val="AEABAB"/>
              </a:solidFill>
            </c:spPr>
            <c:extLst>
              <c:ext xmlns:c16="http://schemas.microsoft.com/office/drawing/2014/chart" uri="{C3380CC4-5D6E-409C-BE32-E72D297353CC}">
                <c16:uniqueId val="{00000031-FA3E-4872-B6E1-C4ABDF5766E2}"/>
              </c:ext>
            </c:extLst>
          </c:dPt>
          <c:dPt>
            <c:idx val="24"/>
            <c:invertIfNegative val="1"/>
            <c:bubble3D val="0"/>
            <c:spPr>
              <a:solidFill>
                <a:srgbClr val="AEABAB"/>
              </a:solidFill>
            </c:spPr>
            <c:extLst>
              <c:ext xmlns:c16="http://schemas.microsoft.com/office/drawing/2014/chart" uri="{C3380CC4-5D6E-409C-BE32-E72D297353CC}">
                <c16:uniqueId val="{00000033-FA3E-4872-B6E1-C4ABDF5766E2}"/>
              </c:ext>
            </c:extLst>
          </c:dPt>
          <c:dPt>
            <c:idx val="25"/>
            <c:invertIfNegative val="1"/>
            <c:bubble3D val="0"/>
            <c:spPr>
              <a:solidFill>
                <a:srgbClr val="AEABAB"/>
              </a:solidFill>
            </c:spPr>
            <c:extLst>
              <c:ext xmlns:c16="http://schemas.microsoft.com/office/drawing/2014/chart" uri="{C3380CC4-5D6E-409C-BE32-E72D297353CC}">
                <c16:uniqueId val="{00000035-FA3E-4872-B6E1-C4ABDF5766E2}"/>
              </c:ext>
            </c:extLst>
          </c:dPt>
          <c:dPt>
            <c:idx val="26"/>
            <c:invertIfNegative val="1"/>
            <c:bubble3D val="0"/>
            <c:spPr>
              <a:solidFill>
                <a:srgbClr val="AEABAB"/>
              </a:solidFill>
            </c:spPr>
            <c:extLst>
              <c:ext xmlns:c16="http://schemas.microsoft.com/office/drawing/2014/chart" uri="{C3380CC4-5D6E-409C-BE32-E72D297353CC}">
                <c16:uniqueId val="{00000037-FA3E-4872-B6E1-C4ABDF5766E2}"/>
              </c:ext>
            </c:extLst>
          </c:dPt>
          <c:dPt>
            <c:idx val="27"/>
            <c:invertIfNegative val="1"/>
            <c:bubble3D val="0"/>
            <c:spPr>
              <a:solidFill>
                <a:srgbClr val="AEABAB"/>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29</c:f>
              <c:strCache>
                <c:ptCount val="28"/>
                <c:pt idx="0">
                  <c:v>Apericube Edition Limitee Best Of Foot Fromage Fondu Cube Assortis 1X250Gr 48P</c:v>
                </c:pt>
                <c:pt idx="1">
                  <c:v>Apericube Cocktail Fromage Fondu Cube Assortis 1X250Gr 48P</c:v>
                </c:pt>
                <c:pt idx="2">
                  <c:v>Apericube Long Drink Fromage Fondu Cube Assortis 1X250Gr 48P</c:v>
                </c:pt>
                <c:pt idx="3">
                  <c:v>Boursin Aperitif Roules Fromage Frais Roule Afh Et Jambon Fume Boite 1X100Gr 20P</c:v>
                </c:pt>
                <c:pt idx="4">
                  <c:v>Apericube Edition Limitee Saison Fromage Fondu Cube Assortis 1X250Gr 48P</c:v>
                </c:pt>
                <c:pt idx="5">
                  <c:v>Apericube Tonic Fromage Fondu Cube Assortis 1X250Gr 48P</c:v>
                </c:pt>
                <c:pt idx="6">
                  <c:v>Apericube Nature Fromage Fondu Cube 1X125Gr 24P</c:v>
                </c:pt>
                <c:pt idx="7">
                  <c:v>Boursin Aperitif Roules Fromage Frais Roule Ciboulette &amp; Echalote Jambon Fume Boite 1X100Gr 20P</c:v>
                </c:pt>
                <c:pt idx="8">
                  <c:v>Apericube Campagne Fromage Fondu Cube Assortis 1X125Gr 24P</c:v>
                </c:pt>
                <c:pt idx="9">
                  <c:v>Apericube Best Of Des Saveurs Fromage Fondu Cube Assortis 1X125Gr 24P</c:v>
                </c:pt>
                <c:pt idx="10">
                  <c:v>Apericube Long Drink Fromage Fondu Cube Assortis 1X125Gr 24P</c:v>
                </c:pt>
                <c:pt idx="11">
                  <c:v>Apericube Soiree Match Aperitif 250G</c:v>
                </c:pt>
                <c:pt idx="12">
                  <c:v>Apericube Incontournable Fromage Fondu Cube Assortis 1X250Gr 48P</c:v>
                </c:pt>
                <c:pt idx="13">
                  <c:v>Apericube Carrement Toque Fromage Fondu Cube Assortis 1X250Gr 48P</c:v>
                </c:pt>
                <c:pt idx="14">
                  <c:v>Apericube Charcut' Fromages Fromage Fondu Cube Assortis 1X250Gr 48P</c:v>
                </c:pt>
                <c:pt idx="15">
                  <c:v>Apericube Selection Du Fromager Fromage Fondu Cube Assortis 1X250Gr 48P</c:v>
                </c:pt>
                <c:pt idx="16">
                  <c:v>Apericube Edition Voyage Fromage Fondu Cube Assortis 1X250Gr 48P</c:v>
                </c:pt>
                <c:pt idx="17">
                  <c:v>Apericube Sucre Sale Fromage Fondu Cube Assortis 1X250Gr 48P</c:v>
                </c:pt>
                <c:pt idx="18">
                  <c:v>Apericube Nature Fromage Fondu Cube 1X250Gr 48P</c:v>
                </c:pt>
                <c:pt idx="19">
                  <c:v>Apericube Jambon Fromage Fondu Cube 1X78Gr 15P</c:v>
                </c:pt>
                <c:pt idx="20">
                  <c:v>Boursin Aperitif Roules Fromage Frais Roule Jambon Fume &amp; Trio De Noix Boite 1X100Gr 20P</c:v>
                </c:pt>
                <c:pt idx="21">
                  <c:v>Boursin Aperitif Roules Aperitif 100G</c:v>
                </c:pt>
                <c:pt idx="22">
                  <c:v>Apericube Hot Chalenge Aperitif 250G</c:v>
                </c:pt>
                <c:pt idx="23">
                  <c:v>Apericube Fromages Du Monde Aperitif 250G</c:v>
                </c:pt>
                <c:pt idx="24">
                  <c:v>Apericube Montagne Aperitif 250G</c:v>
                </c:pt>
                <c:pt idx="25">
                  <c:v>Apericube P'Tits Plaisirs Fromage Fondu Cube 3 Fromages &amp; Jambon Cru Olive Verte 1X78Gr 15P</c:v>
                </c:pt>
                <c:pt idx="26">
                  <c:v>Apericube Vertical Soiree Apero Fromage Fondu Cube Assortis 1X125Gr 24P</c:v>
                </c:pt>
                <c:pt idx="27">
                  <c:v>Apericube Vertical Nature Fromage Fondu Cube 1X125Gr 24P</c:v>
                </c:pt>
              </c:strCache>
            </c:strRef>
          </c:cat>
          <c:val>
            <c:numRef>
              <c:f>Sheet1!$C$2:$C$29</c:f>
              <c:numCache>
                <c:formatCode>General</c:formatCode>
                <c:ptCount val="28"/>
                <c:pt idx="0">
                  <c:v>0.17129311956479312</c:v>
                </c:pt>
                <c:pt idx="1">
                  <c:v>0.325408348861273</c:v>
                </c:pt>
                <c:pt idx="2">
                  <c:v>0.46926666351656643</c:v>
                </c:pt>
                <c:pt idx="3">
                  <c:v>0.5477461032917863</c:v>
                </c:pt>
                <c:pt idx="4">
                  <c:v>0.6231348496272268</c:v>
                </c:pt>
                <c:pt idx="5">
                  <c:v>0.6978308307156685</c:v>
                </c:pt>
                <c:pt idx="6">
                  <c:v>0.7693775675884819</c:v>
                </c:pt>
                <c:pt idx="7">
                  <c:v>0.8160847370111438</c:v>
                </c:pt>
                <c:pt idx="8">
                  <c:v>0.8537011280782814</c:v>
                </c:pt>
                <c:pt idx="9">
                  <c:v>0.8905519078308067</c:v>
                </c:pt>
                <c:pt idx="10">
                  <c:v>0.9134639221076087</c:v>
                </c:pt>
                <c:pt idx="11">
                  <c:v>0.9326690901894237</c:v>
                </c:pt>
                <c:pt idx="12">
                  <c:v>0.942867796456959</c:v>
                </c:pt>
                <c:pt idx="13">
                  <c:v>0.9521148814158468</c:v>
                </c:pt>
                <c:pt idx="14">
                  <c:v>0.9611623458933307</c:v>
                </c:pt>
                <c:pt idx="15">
                  <c:v>0.9686953654492898</c:v>
                </c:pt>
                <c:pt idx="16">
                  <c:v>0.976205358457437</c:v>
                </c:pt>
                <c:pt idx="17">
                  <c:v>0.9831564654779831</c:v>
                </c:pt>
                <c:pt idx="18">
                  <c:v>0.9898570196901807</c:v>
                </c:pt>
                <c:pt idx="19">
                  <c:v>0.9933539733378256</c:v>
                </c:pt>
                <c:pt idx="20">
                  <c:v>0.9955115351876467</c:v>
                </c:pt>
                <c:pt idx="21">
                  <c:v>0.9973171931785264</c:v>
                </c:pt>
                <c:pt idx="22">
                  <c:v>0.998300829092682</c:v>
                </c:pt>
                <c:pt idx="23">
                  <c:v>0.9990621603798199</c:v>
                </c:pt>
                <c:pt idx="24">
                  <c:v>0.9997010828811912</c:v>
                </c:pt>
                <c:pt idx="25">
                  <c:v>0.9999151698554583</c:v>
                </c:pt>
                <c:pt idx="26">
                  <c:v>0.999962763760973</c:v>
                </c:pt>
                <c:pt idx="27">
                  <c:v>0.999981595881860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29</c:f>
              <c:strCache>
                <c:ptCount val="28"/>
                <c:pt idx="0">
                  <c:v>Apericube Edition Limitee Best Of Foot Fromage Fondu Cube Assortis 1X250Gr 48P</c:v>
                </c:pt>
                <c:pt idx="1">
                  <c:v>Apericube Cocktail Fromage Fondu Cube Assortis 1X250Gr 48P</c:v>
                </c:pt>
                <c:pt idx="2">
                  <c:v>Apericube Long Drink Fromage Fondu Cube Assortis 1X250Gr 48P</c:v>
                </c:pt>
                <c:pt idx="3">
                  <c:v>Boursin Aperitif Roules Fromage Frais Roule Afh Et Jambon Fume Boite 1X100Gr 20P</c:v>
                </c:pt>
                <c:pt idx="4">
                  <c:v>Apericube Edition Limitee Saison Fromage Fondu Cube Assortis 1X250Gr 48P</c:v>
                </c:pt>
                <c:pt idx="5">
                  <c:v>Apericube Tonic Fromage Fondu Cube Assortis 1X250Gr 48P</c:v>
                </c:pt>
                <c:pt idx="6">
                  <c:v>Apericube Nature Fromage Fondu Cube 1X125Gr 24P</c:v>
                </c:pt>
                <c:pt idx="7">
                  <c:v>Boursin Aperitif Roules Fromage Frais Roule Ciboulette &amp; Echalote Jambon Fume Boite 1X100Gr 20P</c:v>
                </c:pt>
                <c:pt idx="8">
                  <c:v>Apericube Campagne Fromage Fondu Cube Assortis 1X125Gr 24P</c:v>
                </c:pt>
                <c:pt idx="9">
                  <c:v>Apericube Best Of Des Saveurs Fromage Fondu Cube Assortis 1X125Gr 24P</c:v>
                </c:pt>
                <c:pt idx="10">
                  <c:v>Apericube Long Drink Fromage Fondu Cube Assortis 1X125Gr 24P</c:v>
                </c:pt>
                <c:pt idx="11">
                  <c:v>Apericube Soiree Match Aperitif 250G</c:v>
                </c:pt>
                <c:pt idx="12">
                  <c:v>Apericube Incontournable Fromage Fondu Cube Assortis 1X250Gr 48P</c:v>
                </c:pt>
                <c:pt idx="13">
                  <c:v>Apericube Carrement Toque Fromage Fondu Cube Assortis 1X250Gr 48P</c:v>
                </c:pt>
                <c:pt idx="14">
                  <c:v>Apericube Charcut' Fromages Fromage Fondu Cube Assortis 1X250Gr 48P</c:v>
                </c:pt>
                <c:pt idx="15">
                  <c:v>Apericube Selection Du Fromager Fromage Fondu Cube Assortis 1X250Gr 48P</c:v>
                </c:pt>
                <c:pt idx="16">
                  <c:v>Apericube Edition Voyage Fromage Fondu Cube Assortis 1X250Gr 48P</c:v>
                </c:pt>
                <c:pt idx="17">
                  <c:v>Apericube Sucre Sale Fromage Fondu Cube Assortis 1X250Gr 48P</c:v>
                </c:pt>
                <c:pt idx="18">
                  <c:v>Apericube Nature Fromage Fondu Cube 1X250Gr 48P</c:v>
                </c:pt>
                <c:pt idx="19">
                  <c:v>Apericube Jambon Fromage Fondu Cube 1X78Gr 15P</c:v>
                </c:pt>
                <c:pt idx="20">
                  <c:v>Boursin Aperitif Roules Fromage Frais Roule Jambon Fume &amp; Trio De Noix Boite 1X100Gr 20P</c:v>
                </c:pt>
                <c:pt idx="21">
                  <c:v>Boursin Aperitif Roules Aperitif 100G</c:v>
                </c:pt>
                <c:pt idx="22">
                  <c:v>Apericube Hot Chalenge Aperitif 250G</c:v>
                </c:pt>
                <c:pt idx="23">
                  <c:v>Apericube Fromages Du Monde Aperitif 250G</c:v>
                </c:pt>
                <c:pt idx="24">
                  <c:v>Apericube Montagne Aperitif 250G</c:v>
                </c:pt>
                <c:pt idx="25">
                  <c:v>Apericube P'Tits Plaisirs Fromage Fondu Cube 3 Fromages &amp; Jambon Cru Olive Verte 1X78Gr 15P</c:v>
                </c:pt>
                <c:pt idx="26">
                  <c:v>Apericube Vertical Soiree Apero Fromage Fondu Cube Assortis 1X125Gr 24P</c:v>
                </c:pt>
                <c:pt idx="27">
                  <c:v>Apericube Vertical Nature Fromage Fondu Cube 1X125Gr 24P</c:v>
                </c:pt>
              </c:strCache>
            </c:strRef>
          </c:cat>
          <c:val>
            <c:numRef>
              <c:f>Sheet1!$D$2:$D$29</c:f>
              <c:numCache>
                <c:formatCode>General</c:formatCode>
                <c:ptCount val="28"/>
                <c:pt idx="0">
                  <c:v>20844.53125</c:v>
                </c:pt>
                <c:pt idx="1">
                  <c:v>18754.166666666668</c:v>
                </c:pt>
                <c:pt idx="2">
                  <c:v>17690.284210526315</c:v>
                </c:pt>
                <c:pt idx="3">
                  <c:v>9753.297872340425</c:v>
                </c:pt>
                <c:pt idx="4">
                  <c:v>10610.89156626506</c:v>
                </c:pt>
                <c:pt idx="5">
                  <c:v>10513.385542168675</c:v>
                </c:pt>
                <c:pt idx="6">
                  <c:v>8706.46875</c:v>
                </c:pt>
                <c:pt idx="7">
                  <c:v>6344.662790697675</c:v>
                </c:pt>
                <c:pt idx="8">
                  <c:v>5359.036585365854</c:v>
                </c:pt>
                <c:pt idx="9">
                  <c:v>4837.044943820225</c:v>
                </c:pt>
                <c:pt idx="10">
                  <c:v>3476.12987012987</c:v>
                </c:pt>
                <c:pt idx="11">
                  <c:v>2703.10843373494</c:v>
                </c:pt>
                <c:pt idx="12">
                  <c:v>2431.4897959183672</c:v>
                </c:pt>
                <c:pt idx="13">
                  <c:v>2077.423076923077</c:v>
                </c:pt>
                <c:pt idx="14">
                  <c:v>2157.0204081632655</c:v>
                </c:pt>
                <c:pt idx="15">
                  <c:v>1913.0869565217392</c:v>
                </c:pt>
                <c:pt idx="16">
                  <c:v>2658.5757575757575</c:v>
                </c:pt>
                <c:pt idx="17">
                  <c:v>1845.5454545454545</c:v>
                </c:pt>
                <c:pt idx="18">
                  <c:v>1909.1951219512196</c:v>
                </c:pt>
                <c:pt idx="19">
                  <c:v>8170.4</c:v>
                </c:pt>
                <c:pt idx="20">
                  <c:v>504.1</c:v>
                </c:pt>
                <c:pt idx="21">
                  <c:v>727.3793103448277</c:v>
                </c:pt>
                <c:pt idx="22">
                  <c:v>1276.7777777777778</c:v>
                </c:pt>
                <c:pt idx="23">
                  <c:v>1270.5714285714284</c:v>
                </c:pt>
                <c:pt idx="24">
                  <c:v>1244.0</c:v>
                </c:pt>
                <c:pt idx="25">
                  <c:v>1250.5</c:v>
                </c:pt>
                <c:pt idx="26">
                  <c:v>556.0</c:v>
                </c:pt>
                <c:pt idx="27">
                  <c:v>220.0</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12</c:f>
              <c:strCache>
                <c:ptCount val="11"/>
                <c:pt idx="0">
                  <c:v>Boursin Aperitif Roules Fromage Frais Roule Afh Et Jambon Fume Boite 1X100Gr 20P</c:v>
                </c:pt>
                <c:pt idx="1">
                  <c:v>Apericube Edition Limitee Best Of Foot Fromage Fondu Cube Assortis 1X250Gr 48P</c:v>
                </c:pt>
                <c:pt idx="2">
                  <c:v>Apericube Vertical Soiree Apero Fromage Fondu Cube Assortis 1X125Gr 24P</c:v>
                </c:pt>
                <c:pt idx="3">
                  <c:v>Apericube Cocktail Fromage Fondu Cube Assortis 1X250Gr 48P</c:v>
                </c:pt>
                <c:pt idx="4">
                  <c:v>Apericube Vertical Nature Fromage Fondu Cube 1X125Gr 24P</c:v>
                </c:pt>
                <c:pt idx="5">
                  <c:v>Apericube Best Of Des Saveurs Fromage Fondu Cube Assortis 1X125Gr 24P</c:v>
                </c:pt>
                <c:pt idx="6">
                  <c:v>Apericube Long Drink Fromage Fondu Cube Assortis 1X125Gr 24P</c:v>
                </c:pt>
                <c:pt idx="7">
                  <c:v>Boursin Aperitif Roules Fromage Frais Roule Ciboulette &amp; Echalote Jambon Fume Boite 1X100Gr 20P</c:v>
                </c:pt>
                <c:pt idx="8">
                  <c:v>Apericube Long Drink Fromage Fondu Cube Assortis 1X250Gr 48P</c:v>
                </c:pt>
                <c:pt idx="9">
                  <c:v>Apericube Nature Fromage Fondu Cube 1X125Gr 24P</c:v>
                </c:pt>
                <c:pt idx="10">
                  <c:v>Apericube Soiree Match Aperitif 250G</c:v>
                </c:pt>
              </c:strCache>
            </c:strRef>
          </c:cat>
          <c:val>
            <c:numRef>
              <c:f>Sheet1!$B$2:$B$12</c:f>
              <c:numCache>
                <c:formatCode>General</c:formatCode>
                <c:ptCount val="11"/>
                <c:pt idx="0">
                  <c:v>0.56</c:v>
                </c:pt>
                <c:pt idx="1">
                  <c:v>0.53</c:v>
                </c:pt>
                <c:pt idx="2">
                  <c:v>0.62</c:v>
                </c:pt>
                <c:pt idx="3">
                  <c:v>0.35</c:v>
                </c:pt>
                <c:pt idx="4">
                  <c:v>0.36</c:v>
                </c:pt>
                <c:pt idx="5">
                  <c:v>0.22</c:v>
                </c:pt>
                <c:pt idx="6">
                  <c:v>0.24</c:v>
                </c:pt>
                <c:pt idx="7">
                  <c:v>0.17</c:v>
                </c:pt>
                <c:pt idx="8">
                  <c:v>0.25</c:v>
                </c:pt>
                <c:pt idx="9">
                  <c:v>0.18</c:v>
                </c:pt>
                <c:pt idx="10">
                  <c:v>0.01</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7ECAC4"/>
              </a:solidFill>
            </c:spPr>
            <c:extLst>
              <c:ext xmlns:c16="http://schemas.microsoft.com/office/drawing/2014/chart" uri="{C3380CC4-5D6E-409C-BE32-E72D297353CC}">
                <c16:uniqueId val="{00000007-E902-46E2-9A54-39A26B3DFDC1}"/>
              </c:ext>
            </c:extLst>
          </c:dPt>
          <c:dPt>
            <c:idx val="4"/>
            <c:invertIfNegative val="1"/>
            <c:bubble3D val="0"/>
            <c:spPr>
              <a:solidFill>
                <a:srgbClr val="7ECAC4"/>
              </a:solidFill>
            </c:spPr>
            <c:extLst>
              <c:ext xmlns:c16="http://schemas.microsoft.com/office/drawing/2014/chart" uri="{C3380CC4-5D6E-409C-BE32-E72D297353CC}">
                <c16:uniqueId val="{0000000B-FA3E-4872-B6E1-C4ABDF5766E2}"/>
              </c:ext>
            </c:extLst>
          </c:dPt>
          <c:dPt>
            <c:idx val="5"/>
            <c:invertIfNegative val="1"/>
            <c:bubble3D val="0"/>
            <c:spPr>
              <a:solidFill>
                <a:srgbClr val="7ECAC4"/>
              </a:solidFill>
            </c:spPr>
            <c:extLst>
              <c:ext xmlns:c16="http://schemas.microsoft.com/office/drawing/2014/chart" uri="{C3380CC4-5D6E-409C-BE32-E72D297353CC}">
                <c16:uniqueId val="{0000000D-FA3E-4872-B6E1-C4ABDF5766E2}"/>
              </c:ext>
            </c:extLst>
          </c:dPt>
          <c:dPt>
            <c:idx val="6"/>
            <c:invertIfNegative val="1"/>
            <c:bubble3D val="0"/>
            <c:spPr>
              <a:solidFill>
                <a:srgbClr val="AEABAB"/>
              </a:solidFill>
            </c:spPr>
            <c:extLst>
              <c:ext xmlns:c16="http://schemas.microsoft.com/office/drawing/2014/chart" uri="{C3380CC4-5D6E-409C-BE32-E72D297353CC}">
                <c16:uniqueId val="{0000000F-FA3E-4872-B6E1-C4ABDF5766E2}"/>
              </c:ext>
            </c:extLst>
          </c:dPt>
          <c:dPt>
            <c:idx val="7"/>
            <c:invertIfNegative val="1"/>
            <c:bubble3D val="0"/>
            <c:spPr>
              <a:solidFill>
                <a:srgbClr val="AEABAB"/>
              </a:solidFill>
            </c:spPr>
            <c:extLst>
              <c:ext xmlns:c16="http://schemas.microsoft.com/office/drawing/2014/chart" uri="{C3380CC4-5D6E-409C-BE32-E72D297353CC}">
                <c16:uniqueId val="{00000011-FA3E-4872-B6E1-C4ABDF5766E2}"/>
              </c:ext>
            </c:extLst>
          </c:dPt>
          <c:dPt>
            <c:idx val="8"/>
            <c:invertIfNegative val="1"/>
            <c:bubble3D val="0"/>
            <c:spPr>
              <a:solidFill>
                <a:srgbClr val="AEABAB"/>
              </a:solidFill>
            </c:spPr>
            <c:extLst>
              <c:ext xmlns:c16="http://schemas.microsoft.com/office/drawing/2014/chart" uri="{C3380CC4-5D6E-409C-BE32-E72D297353CC}">
                <c16:uniqueId val="{00000013-FA3E-4872-B6E1-C4ABDF5766E2}"/>
              </c:ext>
            </c:extLst>
          </c:dPt>
          <c:dPt>
            <c:idx val="9"/>
            <c:invertIfNegative val="1"/>
            <c:bubble3D val="0"/>
            <c:spPr>
              <a:solidFill>
                <a:srgbClr val="AEABAB"/>
              </a:solidFill>
            </c:spPr>
            <c:extLst>
              <c:ext xmlns:c16="http://schemas.microsoft.com/office/drawing/2014/chart" uri="{C3380CC4-5D6E-409C-BE32-E72D297353CC}">
                <c16:uniqueId val="{00000015-FA3E-4872-B6E1-C4ABDF5766E2}"/>
              </c:ext>
            </c:extLst>
          </c:dPt>
          <c:dPt>
            <c:idx val="10"/>
            <c:invertIfNegative val="1"/>
            <c:bubble3D val="0"/>
            <c:spPr>
              <a:solidFill>
                <a:srgbClr val="AEABAB"/>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12</c:f>
              <c:strCache>
                <c:ptCount val="11"/>
                <c:pt idx="0">
                  <c:v>Boursin Aperitif Roules Fromage Frais Roule Afh Et Jambon Fume Boite 1X100Gr 20P</c:v>
                </c:pt>
                <c:pt idx="1">
                  <c:v>Apericube Edition Limitee Best Of Foot Fromage Fondu Cube Assortis 1X250Gr 48P</c:v>
                </c:pt>
                <c:pt idx="2">
                  <c:v>Apericube Vertical Soiree Apero Fromage Fondu Cube Assortis 1X125Gr 24P</c:v>
                </c:pt>
                <c:pt idx="3">
                  <c:v>Apericube Cocktail Fromage Fondu Cube Assortis 1X250Gr 48P</c:v>
                </c:pt>
                <c:pt idx="4">
                  <c:v>Apericube Vertical Nature Fromage Fondu Cube 1X125Gr 24P</c:v>
                </c:pt>
                <c:pt idx="5">
                  <c:v>Apericube Best Of Des Saveurs Fromage Fondu Cube Assortis 1X125Gr 24P</c:v>
                </c:pt>
                <c:pt idx="6">
                  <c:v>Apericube Long Drink Fromage Fondu Cube Assortis 1X125Gr 24P</c:v>
                </c:pt>
                <c:pt idx="7">
                  <c:v>Boursin Aperitif Roules Fromage Frais Roule Ciboulette &amp; Echalote Jambon Fume Boite 1X100Gr 20P</c:v>
                </c:pt>
                <c:pt idx="8">
                  <c:v>Apericube Long Drink Fromage Fondu Cube Assortis 1X250Gr 48P</c:v>
                </c:pt>
                <c:pt idx="9">
                  <c:v>Apericube Nature Fromage Fondu Cube 1X125Gr 24P</c:v>
                </c:pt>
                <c:pt idx="10">
                  <c:v>Apericube Soiree Match Aperitif 250G</c:v>
                </c:pt>
              </c:strCache>
            </c:strRef>
          </c:cat>
          <c:val>
            <c:numRef>
              <c:f>Sheet1!$C$2:$C$12</c:f>
              <c:numCache>
                <c:formatCode>General</c:formatCode>
                <c:ptCount val="11"/>
                <c:pt idx="0">
                  <c:v>0.27140587139240635</c:v>
                </c:pt>
                <c:pt idx="1">
                  <c:v>0.5240491699347506</c:v>
                </c:pt>
                <c:pt idx="2">
                  <c:v>0.6859401016487849</c:v>
                </c:pt>
                <c:pt idx="3">
                  <c:v>0.8325547283266974</c:v>
                </c:pt>
                <c:pt idx="4">
                  <c:v>0.8951828724353256</c:v>
                </c:pt>
                <c:pt idx="5">
                  <c:v>0.9289820596689463</c:v>
                </c:pt>
                <c:pt idx="6">
                  <c:v>0.9541311883980996</c:v>
                </c:pt>
                <c:pt idx="7">
                  <c:v>0.9781108511605203</c:v>
                </c:pt>
                <c:pt idx="8">
                  <c:v>0.9920244415893515</c:v>
                </c:pt>
                <c:pt idx="9">
                  <c:v>0.9973998707104256</c:v>
                </c:pt>
                <c:pt idx="10">
                  <c:v>0.999180875117118</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12</c:f>
              <c:strCache>
                <c:ptCount val="11"/>
                <c:pt idx="0">
                  <c:v>Boursin Aperitif Roules Fromage Frais Roule Afh Et Jambon Fume Boite 1X100Gr 20P</c:v>
                </c:pt>
                <c:pt idx="1">
                  <c:v>Apericube Edition Limitee Best Of Foot Fromage Fondu Cube Assortis 1X250Gr 48P</c:v>
                </c:pt>
                <c:pt idx="2">
                  <c:v>Apericube Vertical Soiree Apero Fromage Fondu Cube Assortis 1X125Gr 24P</c:v>
                </c:pt>
                <c:pt idx="3">
                  <c:v>Apericube Cocktail Fromage Fondu Cube Assortis 1X250Gr 48P</c:v>
                </c:pt>
                <c:pt idx="4">
                  <c:v>Apericube Vertical Nature Fromage Fondu Cube 1X125Gr 24P</c:v>
                </c:pt>
                <c:pt idx="5">
                  <c:v>Apericube Best Of Des Saveurs Fromage Fondu Cube Assortis 1X125Gr 24P</c:v>
                </c:pt>
                <c:pt idx="6">
                  <c:v>Apericube Long Drink Fromage Fondu Cube Assortis 1X125Gr 24P</c:v>
                </c:pt>
                <c:pt idx="7">
                  <c:v>Boursin Aperitif Roules Fromage Frais Roule Ciboulette &amp; Echalote Jambon Fume Boite 1X100Gr 20P</c:v>
                </c:pt>
                <c:pt idx="8">
                  <c:v>Apericube Long Drink Fromage Fondu Cube Assortis 1X250Gr 48P</c:v>
                </c:pt>
                <c:pt idx="9">
                  <c:v>Apericube Nature Fromage Fondu Cube 1X125Gr 24P</c:v>
                </c:pt>
                <c:pt idx="10">
                  <c:v>Apericube Soiree Match Aperitif 250G</c:v>
                </c:pt>
              </c:strCache>
            </c:strRef>
          </c:cat>
          <c:val>
            <c:numRef>
              <c:f>Sheet1!$D$2:$D$12</c:f>
              <c:numCache>
                <c:formatCode>General</c:formatCode>
                <c:ptCount val="11"/>
                <c:pt idx="0">
                  <c:v>15549.142857142855</c:v>
                </c:pt>
                <c:pt idx="1">
                  <c:v>15293.509433962265</c:v>
                </c:pt>
                <c:pt idx="2">
                  <c:v>8377.338709677419</c:v>
                </c:pt>
                <c:pt idx="3">
                  <c:v>13439.542857142857</c:v>
                </c:pt>
                <c:pt idx="4">
                  <c:v>5581.388888888889</c:v>
                </c:pt>
                <c:pt idx="5">
                  <c:v>4929.0</c:v>
                </c:pt>
                <c:pt idx="6">
                  <c:v>3361.9166666666665</c:v>
                </c:pt>
                <c:pt idx="7">
                  <c:v>4525.529411764706</c:v>
                </c:pt>
                <c:pt idx="8">
                  <c:v>1785.56</c:v>
                </c:pt>
                <c:pt idx="9">
                  <c:v>958.1111111111111</c:v>
                </c:pt>
                <c:pt idx="10">
                  <c:v>5714.0</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22</c:f>
              <c:strCache>
                <c:ptCount val="21"/>
                <c:pt idx="0">
                  <c:v>Apericube Edition Limitee Best Of Foot Fromage Fondu Cube Assortis 1X250Gr 48P</c:v>
                </c:pt>
                <c:pt idx="1">
                  <c:v>Apericube Cocktail Fromage Fondu Cube Assortis 1X250Gr 48P</c:v>
                </c:pt>
                <c:pt idx="2">
                  <c:v>Apericube Long Drink Fromage Fondu Cube Assortis 1X250Gr 48P</c:v>
                </c:pt>
                <c:pt idx="3">
                  <c:v>Apericube Tonic Fromage Fondu Cube Assortis 1X250Gr 48P</c:v>
                </c:pt>
                <c:pt idx="4">
                  <c:v>Boursin Aperitif Roules Fromage Frais Roule Afh Et Jambon Fume Boite 1X100Gr 20P</c:v>
                </c:pt>
                <c:pt idx="5">
                  <c:v>Apericube Incontournable Fromage Fondu Cube Assortis 1X250Gr 48P</c:v>
                </c:pt>
                <c:pt idx="6">
                  <c:v>Apericube Edition Limitee Saison Fromage Fondu Cube Assortis 1X250Gr 48P</c:v>
                </c:pt>
                <c:pt idx="7">
                  <c:v>Apericube Nature Fromage Fondu Cube 1X125Gr 24P</c:v>
                </c:pt>
                <c:pt idx="8">
                  <c:v>Apericube Edition Voyage Fromage Fondu Cube Assortis 1X250Gr 48P</c:v>
                </c:pt>
                <c:pt idx="9">
                  <c:v>Boursin Aperitif Roules Fromage Frais Roule Ciboulette &amp; Echalote Jambon Fume Boite 1X100Gr 20P</c:v>
                </c:pt>
                <c:pt idx="10">
                  <c:v>Apericube Campagne Fromage Fondu Cube Assortis 1X125Gr 24P</c:v>
                </c:pt>
                <c:pt idx="11">
                  <c:v>Apericube Saveurs De L'Authentique Fromage Fondu Cube Assortis 1X250Gr 48P</c:v>
                </c:pt>
                <c:pt idx="12">
                  <c:v>Boursin Aperitif Roules Fromage Frais Roule Basilic &amp; Jambon Fume Tomate Boite 1X100Gr 20P</c:v>
                </c:pt>
                <c:pt idx="13">
                  <c:v>Apericube Long Drink Fromage Fondu Cube Assortis 1X125Gr 24P</c:v>
                </c:pt>
                <c:pt idx="14">
                  <c:v>Apericube Soiree Match Aperitif 250G</c:v>
                </c:pt>
                <c:pt idx="15">
                  <c:v>Apericube Hot Chalenge Aperitif 250G</c:v>
                </c:pt>
                <c:pt idx="16">
                  <c:v>Apericube Best Of Des Saveurs Fromage Fondu Cube Assortis 1X125Gr 24P</c:v>
                </c:pt>
                <c:pt idx="17">
                  <c:v>Apericube Fromages Du Monde Aperitif 250G</c:v>
                </c:pt>
                <c:pt idx="18">
                  <c:v>Boursin Aperitif Roules Fromage Frais Roule Jambon Fume &amp; Trio De Noix Boite 1X100Gr 20P</c:v>
                </c:pt>
                <c:pt idx="19">
                  <c:v>Apericube Montagne Aperitif 250G</c:v>
                </c:pt>
                <c:pt idx="20">
                  <c:v>Boursin Aperitif Roules Aperitif 100G</c:v>
                </c:pt>
              </c:strCache>
            </c:strRef>
          </c:cat>
          <c:val>
            <c:numRef>
              <c:f>Sheet1!$B$2:$B$22</c:f>
              <c:numCache>
                <c:formatCode>General</c:formatCode>
                <c:ptCount val="21"/>
                <c:pt idx="0">
                  <c:v>0.98</c:v>
                </c:pt>
                <c:pt idx="1">
                  <c:v>0.98</c:v>
                </c:pt>
                <c:pt idx="2">
                  <c:v>0.96</c:v>
                </c:pt>
                <c:pt idx="3">
                  <c:v>0.96</c:v>
                </c:pt>
                <c:pt idx="4">
                  <c:v>0.98</c:v>
                </c:pt>
                <c:pt idx="5">
                  <c:v>0.91</c:v>
                </c:pt>
                <c:pt idx="6">
                  <c:v>0.93</c:v>
                </c:pt>
                <c:pt idx="7">
                  <c:v>0.96</c:v>
                </c:pt>
                <c:pt idx="8">
                  <c:v>0.91</c:v>
                </c:pt>
                <c:pt idx="9">
                  <c:v>0.95</c:v>
                </c:pt>
                <c:pt idx="10">
                  <c:v>0.94</c:v>
                </c:pt>
                <c:pt idx="11">
                  <c:v>0.87</c:v>
                </c:pt>
                <c:pt idx="12">
                  <c:v>0.9</c:v>
                </c:pt>
                <c:pt idx="13">
                  <c:v>0.79</c:v>
                </c:pt>
                <c:pt idx="14">
                  <c:v>0.8</c:v>
                </c:pt>
                <c:pt idx="15">
                  <c:v>0.5</c:v>
                </c:pt>
                <c:pt idx="16">
                  <c:v>0.67</c:v>
                </c:pt>
                <c:pt idx="17">
                  <c:v>0.24</c:v>
                </c:pt>
                <c:pt idx="18">
                  <c:v>0.8</c:v>
                </c:pt>
                <c:pt idx="19">
                  <c:v>0.23</c:v>
                </c:pt>
                <c:pt idx="20">
                  <c:v>0.7</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7ECAC4"/>
              </a:solidFill>
            </c:spPr>
            <c:extLst>
              <c:ext xmlns:c16="http://schemas.microsoft.com/office/drawing/2014/chart" uri="{C3380CC4-5D6E-409C-BE32-E72D297353CC}">
                <c16:uniqueId val="{00000015-FA3E-4872-B6E1-C4ABDF5766E2}"/>
              </c:ext>
            </c:extLst>
          </c:dPt>
          <c:dPt>
            <c:idx val="10"/>
            <c:invertIfNegative val="1"/>
            <c:bubble3D val="0"/>
            <c:spPr>
              <a:solidFill>
                <a:srgbClr val="7ECAC4"/>
              </a:solidFill>
            </c:spPr>
            <c:extLst>
              <c:ext xmlns:c16="http://schemas.microsoft.com/office/drawing/2014/chart" uri="{C3380CC4-5D6E-409C-BE32-E72D297353CC}">
                <c16:uniqueId val="{00000017-FA3E-4872-B6E1-C4ABDF5766E2}"/>
              </c:ext>
            </c:extLst>
          </c:dPt>
          <c:dPt>
            <c:idx val="11"/>
            <c:invertIfNegative val="1"/>
            <c:bubble3D val="0"/>
            <c:spPr>
              <a:solidFill>
                <a:srgbClr val="7ECAC4"/>
              </a:solidFill>
            </c:spPr>
            <c:extLst>
              <c:ext xmlns:c16="http://schemas.microsoft.com/office/drawing/2014/chart" uri="{C3380CC4-5D6E-409C-BE32-E72D297353CC}">
                <c16:uniqueId val="{00000019-FA3E-4872-B6E1-C4ABDF5766E2}"/>
              </c:ext>
            </c:extLst>
          </c:dPt>
          <c:dPt>
            <c:idx val="12"/>
            <c:invertIfNegative val="1"/>
            <c:bubble3D val="0"/>
            <c:spPr>
              <a:solidFill>
                <a:srgbClr val="AEABAB"/>
              </a:solidFill>
            </c:spPr>
            <c:extLst>
              <c:ext xmlns:c16="http://schemas.microsoft.com/office/drawing/2014/chart" uri="{C3380CC4-5D6E-409C-BE32-E72D297353CC}">
                <c16:uniqueId val="{0000001B-FA3E-4872-B6E1-C4ABDF5766E2}"/>
              </c:ext>
            </c:extLst>
          </c:dPt>
          <c:dPt>
            <c:idx val="13"/>
            <c:invertIfNegative val="1"/>
            <c:bubble3D val="0"/>
            <c:spPr>
              <a:solidFill>
                <a:srgbClr val="AEABAB"/>
              </a:solidFill>
            </c:spPr>
            <c:extLst>
              <c:ext xmlns:c16="http://schemas.microsoft.com/office/drawing/2014/chart" uri="{C3380CC4-5D6E-409C-BE32-E72D297353CC}">
                <c16:uniqueId val="{0000001D-FA3E-4872-B6E1-C4ABDF5766E2}"/>
              </c:ext>
            </c:extLst>
          </c:dPt>
          <c:dPt>
            <c:idx val="14"/>
            <c:invertIfNegative val="1"/>
            <c:bubble3D val="0"/>
            <c:spPr>
              <a:solidFill>
                <a:srgbClr val="AEABAB"/>
              </a:solidFill>
            </c:spPr>
            <c:extLst>
              <c:ext xmlns:c16="http://schemas.microsoft.com/office/drawing/2014/chart" uri="{C3380CC4-5D6E-409C-BE32-E72D297353CC}">
                <c16:uniqueId val="{0000001F-FA3E-4872-B6E1-C4ABDF5766E2}"/>
              </c:ext>
            </c:extLst>
          </c:dPt>
          <c:dPt>
            <c:idx val="15"/>
            <c:invertIfNegative val="1"/>
            <c:bubble3D val="0"/>
            <c:spPr>
              <a:solidFill>
                <a:srgbClr val="AEABAB"/>
              </a:solidFill>
            </c:spPr>
            <c:extLst>
              <c:ext xmlns:c16="http://schemas.microsoft.com/office/drawing/2014/chart" uri="{C3380CC4-5D6E-409C-BE32-E72D297353CC}">
                <c16:uniqueId val="{00000021-FA3E-4872-B6E1-C4ABDF5766E2}"/>
              </c:ext>
            </c:extLst>
          </c:dPt>
          <c:dPt>
            <c:idx val="16"/>
            <c:invertIfNegative val="1"/>
            <c:bubble3D val="0"/>
            <c:spPr>
              <a:solidFill>
                <a:srgbClr val="AEABAB"/>
              </a:solidFill>
            </c:spPr>
            <c:extLst>
              <c:ext xmlns:c16="http://schemas.microsoft.com/office/drawing/2014/chart" uri="{C3380CC4-5D6E-409C-BE32-E72D297353CC}">
                <c16:uniqueId val="{00000023-FA3E-4872-B6E1-C4ABDF5766E2}"/>
              </c:ext>
            </c:extLst>
          </c:dPt>
          <c:dPt>
            <c:idx val="17"/>
            <c:invertIfNegative val="1"/>
            <c:bubble3D val="0"/>
            <c:spPr>
              <a:solidFill>
                <a:srgbClr val="AEABAB"/>
              </a:solidFill>
            </c:spPr>
            <c:extLst>
              <c:ext xmlns:c16="http://schemas.microsoft.com/office/drawing/2014/chart" uri="{C3380CC4-5D6E-409C-BE32-E72D297353CC}">
                <c16:uniqueId val="{00000025-FA3E-4872-B6E1-C4ABDF5766E2}"/>
              </c:ext>
            </c:extLst>
          </c:dPt>
          <c:dPt>
            <c:idx val="18"/>
            <c:invertIfNegative val="1"/>
            <c:bubble3D val="0"/>
            <c:spPr>
              <a:solidFill>
                <a:srgbClr val="AEABAB"/>
              </a:solidFill>
            </c:spPr>
            <c:extLst>
              <c:ext xmlns:c16="http://schemas.microsoft.com/office/drawing/2014/chart" uri="{C3380CC4-5D6E-409C-BE32-E72D297353CC}">
                <c16:uniqueId val="{00000027-FA3E-4872-B6E1-C4ABDF5766E2}"/>
              </c:ext>
            </c:extLst>
          </c:dPt>
          <c:dPt>
            <c:idx val="19"/>
            <c:invertIfNegative val="1"/>
            <c:bubble3D val="0"/>
            <c:spPr>
              <a:solidFill>
                <a:srgbClr val="AEABAB"/>
              </a:solidFill>
            </c:spPr>
            <c:extLst>
              <c:ext xmlns:c16="http://schemas.microsoft.com/office/drawing/2014/chart" uri="{C3380CC4-5D6E-409C-BE32-E72D297353CC}">
                <c16:uniqueId val="{00000029-FA3E-4872-B6E1-C4ABDF5766E2}"/>
              </c:ext>
            </c:extLst>
          </c:dPt>
          <c:dPt>
            <c:idx val="20"/>
            <c:invertIfNegative val="1"/>
            <c:bubble3D val="0"/>
            <c:spPr>
              <a:solidFill>
                <a:srgbClr val="AEABAB"/>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22</c:f>
              <c:strCache>
                <c:ptCount val="21"/>
                <c:pt idx="0">
                  <c:v>Apericube Edition Limitee Best Of Foot Fromage Fondu Cube Assortis 1X250Gr 48P</c:v>
                </c:pt>
                <c:pt idx="1">
                  <c:v>Apericube Cocktail Fromage Fondu Cube Assortis 1X250Gr 48P</c:v>
                </c:pt>
                <c:pt idx="2">
                  <c:v>Apericube Long Drink Fromage Fondu Cube Assortis 1X250Gr 48P</c:v>
                </c:pt>
                <c:pt idx="3">
                  <c:v>Apericube Tonic Fromage Fondu Cube Assortis 1X250Gr 48P</c:v>
                </c:pt>
                <c:pt idx="4">
                  <c:v>Boursin Aperitif Roules Fromage Frais Roule Afh Et Jambon Fume Boite 1X100Gr 20P</c:v>
                </c:pt>
                <c:pt idx="5">
                  <c:v>Apericube Incontournable Fromage Fondu Cube Assortis 1X250Gr 48P</c:v>
                </c:pt>
                <c:pt idx="6">
                  <c:v>Apericube Edition Limitee Saison Fromage Fondu Cube Assortis 1X250Gr 48P</c:v>
                </c:pt>
                <c:pt idx="7">
                  <c:v>Apericube Nature Fromage Fondu Cube 1X125Gr 24P</c:v>
                </c:pt>
                <c:pt idx="8">
                  <c:v>Apericube Edition Voyage Fromage Fondu Cube Assortis 1X250Gr 48P</c:v>
                </c:pt>
                <c:pt idx="9">
                  <c:v>Boursin Aperitif Roules Fromage Frais Roule Ciboulette &amp; Echalote Jambon Fume Boite 1X100Gr 20P</c:v>
                </c:pt>
                <c:pt idx="10">
                  <c:v>Apericube Campagne Fromage Fondu Cube Assortis 1X125Gr 24P</c:v>
                </c:pt>
                <c:pt idx="11">
                  <c:v>Apericube Saveurs De L'Authentique Fromage Fondu Cube Assortis 1X250Gr 48P</c:v>
                </c:pt>
                <c:pt idx="12">
                  <c:v>Boursin Aperitif Roules Fromage Frais Roule Basilic &amp; Jambon Fume Tomate Boite 1X100Gr 20P</c:v>
                </c:pt>
                <c:pt idx="13">
                  <c:v>Apericube Long Drink Fromage Fondu Cube Assortis 1X125Gr 24P</c:v>
                </c:pt>
                <c:pt idx="14">
                  <c:v>Apericube Soiree Match Aperitif 250G</c:v>
                </c:pt>
                <c:pt idx="15">
                  <c:v>Apericube Hot Chalenge Aperitif 250G</c:v>
                </c:pt>
                <c:pt idx="16">
                  <c:v>Apericube Best Of Des Saveurs Fromage Fondu Cube Assortis 1X125Gr 24P</c:v>
                </c:pt>
                <c:pt idx="17">
                  <c:v>Apericube Fromages Du Monde Aperitif 250G</c:v>
                </c:pt>
                <c:pt idx="18">
                  <c:v>Boursin Aperitif Roules Fromage Frais Roule Jambon Fume &amp; Trio De Noix Boite 1X100Gr 20P</c:v>
                </c:pt>
                <c:pt idx="19">
                  <c:v>Apericube Montagne Aperitif 250G</c:v>
                </c:pt>
                <c:pt idx="20">
                  <c:v>Boursin Aperitif Roules Aperitif 100G</c:v>
                </c:pt>
              </c:strCache>
            </c:strRef>
          </c:cat>
          <c:val>
            <c:numRef>
              <c:f>Sheet1!$C$2:$C$22</c:f>
              <c:numCache>
                <c:formatCode>General</c:formatCode>
                <c:ptCount val="21"/>
                <c:pt idx="0">
                  <c:v>0.14085236773100784</c:v>
                </c:pt>
                <c:pt idx="1">
                  <c:v>0.26666052569335286</c:v>
                </c:pt>
                <c:pt idx="2">
                  <c:v>0.3740078986125941</c:v>
                </c:pt>
                <c:pt idx="3">
                  <c:v>0.46214861542802377</c:v>
                </c:pt>
                <c:pt idx="4">
                  <c:v>0.5381163926551038</c:v>
                </c:pt>
                <c:pt idx="5">
                  <c:v>0.6130266618897896</c:v>
                </c:pt>
                <c:pt idx="6">
                  <c:v>0.6776825852824494</c:v>
                </c:pt>
                <c:pt idx="7">
                  <c:v>0.7379419178869311</c:v>
                </c:pt>
                <c:pt idx="8">
                  <c:v>0.7932313487225362</c:v>
                </c:pt>
                <c:pt idx="9">
                  <c:v>0.8426746936236978</c:v>
                </c:pt>
                <c:pt idx="10">
                  <c:v>0.890529371268799</c:v>
                </c:pt>
                <c:pt idx="11">
                  <c:v>0.9285874659559394</c:v>
                </c:pt>
                <c:pt idx="12">
                  <c:v>0.9527425907521704</c:v>
                </c:pt>
                <c:pt idx="13">
                  <c:v>0.9703621513588617</c:v>
                </c:pt>
                <c:pt idx="14">
                  <c:v>0.9827006971846367</c:v>
                </c:pt>
                <c:pt idx="15">
                  <c:v>0.9878127240649534</c:v>
                </c:pt>
                <c:pt idx="16">
                  <c:v>0.9916451486517213</c:v>
                </c:pt>
                <c:pt idx="17">
                  <c:v>0.9939276760362867</c:v>
                </c:pt>
                <c:pt idx="18">
                  <c:v>0.996115659739147</c:v>
                </c:pt>
                <c:pt idx="19">
                  <c:v>0.9981432287719904</c:v>
                </c:pt>
                <c:pt idx="20">
                  <c:v>0.999987235412243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22</c:f>
              <c:strCache>
                <c:ptCount val="21"/>
                <c:pt idx="0">
                  <c:v>Apericube Edition Limitee Best Of Foot Fromage Fondu Cube Assortis 1X250Gr 48P</c:v>
                </c:pt>
                <c:pt idx="1">
                  <c:v>Apericube Cocktail Fromage Fondu Cube Assortis 1X250Gr 48P</c:v>
                </c:pt>
                <c:pt idx="2">
                  <c:v>Apericube Long Drink Fromage Fondu Cube Assortis 1X250Gr 48P</c:v>
                </c:pt>
                <c:pt idx="3">
                  <c:v>Apericube Tonic Fromage Fondu Cube Assortis 1X250Gr 48P</c:v>
                </c:pt>
                <c:pt idx="4">
                  <c:v>Boursin Aperitif Roules Fromage Frais Roule Afh Et Jambon Fume Boite 1X100Gr 20P</c:v>
                </c:pt>
                <c:pt idx="5">
                  <c:v>Apericube Incontournable Fromage Fondu Cube Assortis 1X250Gr 48P</c:v>
                </c:pt>
                <c:pt idx="6">
                  <c:v>Apericube Edition Limitee Saison Fromage Fondu Cube Assortis 1X250Gr 48P</c:v>
                </c:pt>
                <c:pt idx="7">
                  <c:v>Apericube Nature Fromage Fondu Cube 1X125Gr 24P</c:v>
                </c:pt>
                <c:pt idx="8">
                  <c:v>Apericube Edition Voyage Fromage Fondu Cube Assortis 1X250Gr 48P</c:v>
                </c:pt>
                <c:pt idx="9">
                  <c:v>Boursin Aperitif Roules Fromage Frais Roule Ciboulette &amp; Echalote Jambon Fume Boite 1X100Gr 20P</c:v>
                </c:pt>
                <c:pt idx="10">
                  <c:v>Apericube Campagne Fromage Fondu Cube Assortis 1X125Gr 24P</c:v>
                </c:pt>
                <c:pt idx="11">
                  <c:v>Apericube Saveurs De L'Authentique Fromage Fondu Cube Assortis 1X250Gr 48P</c:v>
                </c:pt>
                <c:pt idx="12">
                  <c:v>Boursin Aperitif Roules Fromage Frais Roule Basilic &amp; Jambon Fume Tomate Boite 1X100Gr 20P</c:v>
                </c:pt>
                <c:pt idx="13">
                  <c:v>Apericube Long Drink Fromage Fondu Cube Assortis 1X125Gr 24P</c:v>
                </c:pt>
                <c:pt idx="14">
                  <c:v>Apericube Soiree Match Aperitif 250G</c:v>
                </c:pt>
                <c:pt idx="15">
                  <c:v>Apericube Hot Chalenge Aperitif 250G</c:v>
                </c:pt>
                <c:pt idx="16">
                  <c:v>Apericube Best Of Des Saveurs Fromage Fondu Cube Assortis 1X125Gr 24P</c:v>
                </c:pt>
                <c:pt idx="17">
                  <c:v>Apericube Fromages Du Monde Aperitif 250G</c:v>
                </c:pt>
                <c:pt idx="18">
                  <c:v>Boursin Aperitif Roules Fromage Frais Roule Jambon Fume &amp; Trio De Noix Boite 1X100Gr 20P</c:v>
                </c:pt>
                <c:pt idx="19">
                  <c:v>Apericube Montagne Aperitif 250G</c:v>
                </c:pt>
                <c:pt idx="20">
                  <c:v>Boursin Aperitif Roules Aperitif 100G</c:v>
                </c:pt>
              </c:strCache>
            </c:strRef>
          </c:cat>
          <c:val>
            <c:numRef>
              <c:f>Sheet1!$D$2:$D$22</c:f>
              <c:numCache>
                <c:formatCode>General</c:formatCode>
                <c:ptCount val="21"/>
                <c:pt idx="0">
                  <c:v>30176.30612244898</c:v>
                </c:pt>
                <c:pt idx="1">
                  <c:v>26953.224489795917</c:v>
                </c:pt>
                <c:pt idx="2">
                  <c:v>23477.302083333332</c:v>
                </c:pt>
                <c:pt idx="3">
                  <c:v>19276.729166666668</c:v>
                </c:pt>
                <c:pt idx="4">
                  <c:v>16275.387755102041</c:v>
                </c:pt>
                <c:pt idx="5">
                  <c:v>17283.351648351647</c:v>
                </c:pt>
                <c:pt idx="6">
                  <c:v>14596.655913978495</c:v>
                </c:pt>
                <c:pt idx="7">
                  <c:v>13178.958333333334</c:v>
                </c:pt>
                <c:pt idx="8">
                  <c:v>12756.417582417582</c:v>
                </c:pt>
                <c:pt idx="9">
                  <c:v>10927.284210526315</c:v>
                </c:pt>
                <c:pt idx="10">
                  <c:v>10688.691489361701</c:v>
                </c:pt>
                <c:pt idx="11">
                  <c:v>9184.505747126437</c:v>
                </c:pt>
                <c:pt idx="12">
                  <c:v>5635.011111111111</c:v>
                </c:pt>
                <c:pt idx="13">
                  <c:v>4682.696202531645</c:v>
                </c:pt>
                <c:pt idx="14">
                  <c:v>3238.1875</c:v>
                </c:pt>
                <c:pt idx="15">
                  <c:v>2146.6</c:v>
                </c:pt>
                <c:pt idx="16">
                  <c:v>1200.955223880597</c:v>
                </c:pt>
                <c:pt idx="17">
                  <c:v>1996.7916666666667</c:v>
                </c:pt>
                <c:pt idx="18">
                  <c:v>574.225</c:v>
                </c:pt>
                <c:pt idx="19">
                  <c:v>1850.8695652173913</c:v>
                </c:pt>
                <c:pt idx="20">
                  <c:v>553.0857142857143</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23</c:f>
              <c:strCache>
                <c:ptCount val="22"/>
                <c:pt idx="0">
                  <c:v>Apericube Edition Limitee Best Of Foot Fromage Fondu Cube Assortis 1X250Gr 48P</c:v>
                </c:pt>
                <c:pt idx="1">
                  <c:v>Apericube Cocktail Fromage Fondu Cube Assortis 1X250Gr 48P</c:v>
                </c:pt>
                <c:pt idx="2">
                  <c:v>Apericube Long Drink Fromage Fondu Cube Assortis 1X250Gr 48P</c:v>
                </c:pt>
                <c:pt idx="3">
                  <c:v>Apericube Incontournable Fromage Fondu Cube Assortis 1X250Gr 48P</c:v>
                </c:pt>
                <c:pt idx="4">
                  <c:v>Apericube Tonic Fromage Fondu Cube Assortis 1X250Gr 48P</c:v>
                </c:pt>
                <c:pt idx="5">
                  <c:v>Boursin Aperitif Roules Fromage Frais Roule Afh Et Jambon Fume Boite 1X100Gr 20P</c:v>
                </c:pt>
                <c:pt idx="6">
                  <c:v>Apericube Edition Limitee Saison Fromage Fondu Cube Assortis 1X250Gr 48P</c:v>
                </c:pt>
                <c:pt idx="7">
                  <c:v>Apericube Nature Fromage Fondu Cube 1X125Gr 24P</c:v>
                </c:pt>
                <c:pt idx="8">
                  <c:v>Apericube Edition Voyage Fromage Fondu Cube Assortis 1X250Gr 48P</c:v>
                </c:pt>
                <c:pt idx="9">
                  <c:v>Boursin Aperitif Roules Fromage Frais Roule Ciboulette &amp; Echalote Jambon Fume Boite 1X100Gr 20P</c:v>
                </c:pt>
                <c:pt idx="10">
                  <c:v>Apericube Saveurs De L'Authentique Fromage Fondu Cube Assortis 1X250Gr 48P</c:v>
                </c:pt>
                <c:pt idx="11">
                  <c:v>Apericube Campagne Fromage Fondu Cube Assortis 1X125Gr 24P</c:v>
                </c:pt>
                <c:pt idx="12">
                  <c:v>Boursin Aperitif Roules Fromage Frais Roule Basilic &amp; Jambon Fume Tomate Boite 1X100Gr 20P</c:v>
                </c:pt>
                <c:pt idx="13">
                  <c:v>Apericube Long Drink Fromage Fondu Cube Assortis 1X125Gr 24P</c:v>
                </c:pt>
                <c:pt idx="14">
                  <c:v>Apericube Soiree Match Aperitif 250G</c:v>
                </c:pt>
                <c:pt idx="15">
                  <c:v>Apericube Best Of Des Saveurs Fromage Fondu Cube Assortis 1X125Gr 24P</c:v>
                </c:pt>
                <c:pt idx="16">
                  <c:v>Apericube Hot Chalenge Aperitif 250G</c:v>
                </c:pt>
                <c:pt idx="17">
                  <c:v>Apericube Fromages Du Monde Aperitif 250G</c:v>
                </c:pt>
                <c:pt idx="18">
                  <c:v>Apericube Montagne Aperitif 250G</c:v>
                </c:pt>
                <c:pt idx="19">
                  <c:v>Boursin Aperitif Roules Fromage Frais Roule Jambon Fume &amp; Trio De Noix Boite 1X100Gr 20P</c:v>
                </c:pt>
                <c:pt idx="20">
                  <c:v>Boursin Aperitif Roules Aperitif 100G</c:v>
                </c:pt>
                <c:pt idx="21">
                  <c:v>Apericube Carrement Toque Fromage Fondu Cube Assortis 1X250Gr 48P</c:v>
                </c:pt>
              </c:strCache>
            </c:strRef>
          </c:cat>
          <c:val>
            <c:numRef>
              <c:f>Sheet1!$B$2:$B$23</c:f>
              <c:numCache>
                <c:formatCode>General</c:formatCode>
                <c:ptCount val="22"/>
                <c:pt idx="0">
                  <c:v>1.0</c:v>
                </c:pt>
                <c:pt idx="1">
                  <c:v>1.0</c:v>
                </c:pt>
                <c:pt idx="2">
                  <c:v>0.99</c:v>
                </c:pt>
                <c:pt idx="3">
                  <c:v>1.0</c:v>
                </c:pt>
                <c:pt idx="4">
                  <c:v>0.99</c:v>
                </c:pt>
                <c:pt idx="5">
                  <c:v>0.99</c:v>
                </c:pt>
                <c:pt idx="6">
                  <c:v>0.99</c:v>
                </c:pt>
                <c:pt idx="7">
                  <c:v>0.99</c:v>
                </c:pt>
                <c:pt idx="8">
                  <c:v>0.99</c:v>
                </c:pt>
                <c:pt idx="9">
                  <c:v>0.99</c:v>
                </c:pt>
                <c:pt idx="10">
                  <c:v>0.98</c:v>
                </c:pt>
                <c:pt idx="11">
                  <c:v>0.99</c:v>
                </c:pt>
                <c:pt idx="12">
                  <c:v>0.98</c:v>
                </c:pt>
                <c:pt idx="13">
                  <c:v>0.98</c:v>
                </c:pt>
                <c:pt idx="14">
                  <c:v>0.96</c:v>
                </c:pt>
                <c:pt idx="15">
                  <c:v>0.88</c:v>
                </c:pt>
                <c:pt idx="16">
                  <c:v>0.8</c:v>
                </c:pt>
                <c:pt idx="17">
                  <c:v>0.7</c:v>
                </c:pt>
                <c:pt idx="18">
                  <c:v>0.68</c:v>
                </c:pt>
                <c:pt idx="19">
                  <c:v>0.96</c:v>
                </c:pt>
                <c:pt idx="20">
                  <c:v>0.86</c:v>
                </c:pt>
                <c:pt idx="21">
                  <c:v>0.01</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7ECAC4"/>
              </a:solidFill>
            </c:spPr>
            <c:extLst>
              <c:ext xmlns:c16="http://schemas.microsoft.com/office/drawing/2014/chart" uri="{C3380CC4-5D6E-409C-BE32-E72D297353CC}">
                <c16:uniqueId val="{00000015-FA3E-4872-B6E1-C4ABDF5766E2}"/>
              </c:ext>
            </c:extLst>
          </c:dPt>
          <c:dPt>
            <c:idx val="10"/>
            <c:invertIfNegative val="1"/>
            <c:bubble3D val="0"/>
            <c:spPr>
              <a:solidFill>
                <a:srgbClr val="7ECAC4"/>
              </a:solidFill>
            </c:spPr>
            <c:extLst>
              <c:ext xmlns:c16="http://schemas.microsoft.com/office/drawing/2014/chart" uri="{C3380CC4-5D6E-409C-BE32-E72D297353CC}">
                <c16:uniqueId val="{00000017-FA3E-4872-B6E1-C4ABDF5766E2}"/>
              </c:ext>
            </c:extLst>
          </c:dPt>
          <c:dPt>
            <c:idx val="11"/>
            <c:invertIfNegative val="1"/>
            <c:bubble3D val="0"/>
            <c:spPr>
              <a:solidFill>
                <a:srgbClr val="7ECAC4"/>
              </a:solidFill>
            </c:spPr>
            <c:extLst>
              <c:ext xmlns:c16="http://schemas.microsoft.com/office/drawing/2014/chart" uri="{C3380CC4-5D6E-409C-BE32-E72D297353CC}">
                <c16:uniqueId val="{00000019-FA3E-4872-B6E1-C4ABDF5766E2}"/>
              </c:ext>
            </c:extLst>
          </c:dPt>
          <c:dPt>
            <c:idx val="12"/>
            <c:invertIfNegative val="1"/>
            <c:bubble3D val="0"/>
            <c:spPr>
              <a:solidFill>
                <a:srgbClr val="7ECAC4"/>
              </a:solidFill>
            </c:spPr>
            <c:extLst>
              <c:ext xmlns:c16="http://schemas.microsoft.com/office/drawing/2014/chart" uri="{C3380CC4-5D6E-409C-BE32-E72D297353CC}">
                <c16:uniqueId val="{0000001B-FA3E-4872-B6E1-C4ABDF5766E2}"/>
              </c:ext>
            </c:extLst>
          </c:dPt>
          <c:dPt>
            <c:idx val="13"/>
            <c:invertIfNegative val="1"/>
            <c:bubble3D val="0"/>
            <c:spPr>
              <a:solidFill>
                <a:srgbClr val="AEABAB"/>
              </a:solidFill>
            </c:spPr>
            <c:extLst>
              <c:ext xmlns:c16="http://schemas.microsoft.com/office/drawing/2014/chart" uri="{C3380CC4-5D6E-409C-BE32-E72D297353CC}">
                <c16:uniqueId val="{0000001D-FA3E-4872-B6E1-C4ABDF5766E2}"/>
              </c:ext>
            </c:extLst>
          </c:dPt>
          <c:dPt>
            <c:idx val="14"/>
            <c:invertIfNegative val="1"/>
            <c:bubble3D val="0"/>
            <c:spPr>
              <a:solidFill>
                <a:srgbClr val="AEABAB"/>
              </a:solidFill>
            </c:spPr>
            <c:extLst>
              <c:ext xmlns:c16="http://schemas.microsoft.com/office/drawing/2014/chart" uri="{C3380CC4-5D6E-409C-BE32-E72D297353CC}">
                <c16:uniqueId val="{0000001F-FA3E-4872-B6E1-C4ABDF5766E2}"/>
              </c:ext>
            </c:extLst>
          </c:dPt>
          <c:dPt>
            <c:idx val="15"/>
            <c:invertIfNegative val="1"/>
            <c:bubble3D val="0"/>
            <c:spPr>
              <a:solidFill>
                <a:srgbClr val="AEABAB"/>
              </a:solidFill>
            </c:spPr>
            <c:extLst>
              <c:ext xmlns:c16="http://schemas.microsoft.com/office/drawing/2014/chart" uri="{C3380CC4-5D6E-409C-BE32-E72D297353CC}">
                <c16:uniqueId val="{00000021-FA3E-4872-B6E1-C4ABDF5766E2}"/>
              </c:ext>
            </c:extLst>
          </c:dPt>
          <c:dPt>
            <c:idx val="16"/>
            <c:invertIfNegative val="1"/>
            <c:bubble3D val="0"/>
            <c:spPr>
              <a:solidFill>
                <a:srgbClr val="AEABAB"/>
              </a:solidFill>
            </c:spPr>
            <c:extLst>
              <c:ext xmlns:c16="http://schemas.microsoft.com/office/drawing/2014/chart" uri="{C3380CC4-5D6E-409C-BE32-E72D297353CC}">
                <c16:uniqueId val="{00000023-FA3E-4872-B6E1-C4ABDF5766E2}"/>
              </c:ext>
            </c:extLst>
          </c:dPt>
          <c:dPt>
            <c:idx val="17"/>
            <c:invertIfNegative val="1"/>
            <c:bubble3D val="0"/>
            <c:spPr>
              <a:solidFill>
                <a:srgbClr val="AEABAB"/>
              </a:solidFill>
            </c:spPr>
            <c:extLst>
              <c:ext xmlns:c16="http://schemas.microsoft.com/office/drawing/2014/chart" uri="{C3380CC4-5D6E-409C-BE32-E72D297353CC}">
                <c16:uniqueId val="{00000025-FA3E-4872-B6E1-C4ABDF5766E2}"/>
              </c:ext>
            </c:extLst>
          </c:dPt>
          <c:dPt>
            <c:idx val="18"/>
            <c:invertIfNegative val="1"/>
            <c:bubble3D val="0"/>
            <c:spPr>
              <a:solidFill>
                <a:srgbClr val="AEABAB"/>
              </a:solidFill>
            </c:spPr>
            <c:extLst>
              <c:ext xmlns:c16="http://schemas.microsoft.com/office/drawing/2014/chart" uri="{C3380CC4-5D6E-409C-BE32-E72D297353CC}">
                <c16:uniqueId val="{00000027-FA3E-4872-B6E1-C4ABDF5766E2}"/>
              </c:ext>
            </c:extLst>
          </c:dPt>
          <c:dPt>
            <c:idx val="19"/>
            <c:invertIfNegative val="1"/>
            <c:bubble3D val="0"/>
            <c:spPr>
              <a:solidFill>
                <a:srgbClr val="AEABAB"/>
              </a:solidFill>
            </c:spPr>
            <c:extLst>
              <c:ext xmlns:c16="http://schemas.microsoft.com/office/drawing/2014/chart" uri="{C3380CC4-5D6E-409C-BE32-E72D297353CC}">
                <c16:uniqueId val="{00000029-FA3E-4872-B6E1-C4ABDF5766E2}"/>
              </c:ext>
            </c:extLst>
          </c:dPt>
          <c:dPt>
            <c:idx val="20"/>
            <c:invertIfNegative val="1"/>
            <c:bubble3D val="0"/>
            <c:spPr>
              <a:solidFill>
                <a:srgbClr val="AEABAB"/>
              </a:solidFill>
            </c:spPr>
            <c:extLst>
              <c:ext xmlns:c16="http://schemas.microsoft.com/office/drawing/2014/chart" uri="{C3380CC4-5D6E-409C-BE32-E72D297353CC}">
                <c16:uniqueId val="{0000002B-FA3E-4872-B6E1-C4ABDF5766E2}"/>
              </c:ext>
            </c:extLst>
          </c:dPt>
          <c:dPt>
            <c:idx val="21"/>
            <c:invertIfNegative val="1"/>
            <c:bubble3D val="0"/>
            <c:spPr>
              <a:solidFill>
                <a:srgbClr val="AEABAB"/>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23</c:f>
              <c:strCache>
                <c:ptCount val="22"/>
                <c:pt idx="0">
                  <c:v>Apericube Edition Limitee Best Of Foot Fromage Fondu Cube Assortis 1X250Gr 48P</c:v>
                </c:pt>
                <c:pt idx="1">
                  <c:v>Apericube Cocktail Fromage Fondu Cube Assortis 1X250Gr 48P</c:v>
                </c:pt>
                <c:pt idx="2">
                  <c:v>Apericube Long Drink Fromage Fondu Cube Assortis 1X250Gr 48P</c:v>
                </c:pt>
                <c:pt idx="3">
                  <c:v>Apericube Incontournable Fromage Fondu Cube Assortis 1X250Gr 48P</c:v>
                </c:pt>
                <c:pt idx="4">
                  <c:v>Apericube Tonic Fromage Fondu Cube Assortis 1X250Gr 48P</c:v>
                </c:pt>
                <c:pt idx="5">
                  <c:v>Boursin Aperitif Roules Fromage Frais Roule Afh Et Jambon Fume Boite 1X100Gr 20P</c:v>
                </c:pt>
                <c:pt idx="6">
                  <c:v>Apericube Edition Limitee Saison Fromage Fondu Cube Assortis 1X250Gr 48P</c:v>
                </c:pt>
                <c:pt idx="7">
                  <c:v>Apericube Nature Fromage Fondu Cube 1X125Gr 24P</c:v>
                </c:pt>
                <c:pt idx="8">
                  <c:v>Apericube Edition Voyage Fromage Fondu Cube Assortis 1X250Gr 48P</c:v>
                </c:pt>
                <c:pt idx="9">
                  <c:v>Boursin Aperitif Roules Fromage Frais Roule Ciboulette &amp; Echalote Jambon Fume Boite 1X100Gr 20P</c:v>
                </c:pt>
                <c:pt idx="10">
                  <c:v>Apericube Saveurs De L'Authentique Fromage Fondu Cube Assortis 1X250Gr 48P</c:v>
                </c:pt>
                <c:pt idx="11">
                  <c:v>Apericube Campagne Fromage Fondu Cube Assortis 1X125Gr 24P</c:v>
                </c:pt>
                <c:pt idx="12">
                  <c:v>Boursin Aperitif Roules Fromage Frais Roule Basilic &amp; Jambon Fume Tomate Boite 1X100Gr 20P</c:v>
                </c:pt>
                <c:pt idx="13">
                  <c:v>Apericube Long Drink Fromage Fondu Cube Assortis 1X125Gr 24P</c:v>
                </c:pt>
                <c:pt idx="14">
                  <c:v>Apericube Soiree Match Aperitif 250G</c:v>
                </c:pt>
                <c:pt idx="15">
                  <c:v>Apericube Best Of Des Saveurs Fromage Fondu Cube Assortis 1X125Gr 24P</c:v>
                </c:pt>
                <c:pt idx="16">
                  <c:v>Apericube Hot Chalenge Aperitif 250G</c:v>
                </c:pt>
                <c:pt idx="17">
                  <c:v>Apericube Fromages Du Monde Aperitif 250G</c:v>
                </c:pt>
                <c:pt idx="18">
                  <c:v>Apericube Montagne Aperitif 250G</c:v>
                </c:pt>
                <c:pt idx="19">
                  <c:v>Boursin Aperitif Roules Fromage Frais Roule Jambon Fume &amp; Trio De Noix Boite 1X100Gr 20P</c:v>
                </c:pt>
                <c:pt idx="20">
                  <c:v>Boursin Aperitif Roules Aperitif 100G</c:v>
                </c:pt>
                <c:pt idx="21">
                  <c:v>Apericube Carrement Toque Fromage Fondu Cube Assortis 1X250Gr 48P</c:v>
                </c:pt>
              </c:strCache>
            </c:strRef>
          </c:cat>
          <c:val>
            <c:numRef>
              <c:f>Sheet1!$C$2:$C$23</c:f>
              <c:numCache>
                <c:formatCode>General</c:formatCode>
                <c:ptCount val="22"/>
                <c:pt idx="0">
                  <c:v>0.13109555699996753</c:v>
                </c:pt>
                <c:pt idx="1">
                  <c:v>0.24727552747846382</c:v>
                </c:pt>
                <c:pt idx="2">
                  <c:v>0.35311290854508937</c:v>
                </c:pt>
                <c:pt idx="3">
                  <c:v>0.4399561705843419</c:v>
                </c:pt>
                <c:pt idx="4">
                  <c:v>0.5266864513496688</c:v>
                </c:pt>
                <c:pt idx="5">
                  <c:v>0.6017890378889792</c:v>
                </c:pt>
                <c:pt idx="6">
                  <c:v>0.6683727448914853</c:v>
                </c:pt>
                <c:pt idx="7">
                  <c:v>0.7290073245714144</c:v>
                </c:pt>
                <c:pt idx="8">
                  <c:v>0.7831450235865561</c:v>
                </c:pt>
                <c:pt idx="9">
                  <c:v>0.8297991997998355</c:v>
                </c:pt>
                <c:pt idx="10">
                  <c:v>0.8754518679189444</c:v>
                </c:pt>
                <c:pt idx="11">
                  <c:v>0.9153136739817849</c:v>
                </c:pt>
                <c:pt idx="12">
                  <c:v>0.9386356161801992</c:v>
                </c:pt>
                <c:pt idx="13">
                  <c:v>0.9613453096533122</c:v>
                </c:pt>
                <c:pt idx="14">
                  <c:v>0.9741645675172892</c:v>
                </c:pt>
                <c:pt idx="15">
                  <c:v>0.9809123397964417</c:v>
                </c:pt>
                <c:pt idx="16">
                  <c:v>0.986688793309679</c:v>
                </c:pt>
                <c:pt idx="17">
                  <c:v>0.9919534004847674</c:v>
                </c:pt>
                <c:pt idx="18">
                  <c:v>0.9961627534131094</c:v>
                </c:pt>
                <c:pt idx="19">
                  <c:v>0.998359255750724</c:v>
                </c:pt>
                <c:pt idx="20">
                  <c:v>0.9999954258593553</c:v>
                </c:pt>
                <c:pt idx="21">
                  <c:v>1.0</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23</c:f>
              <c:strCache>
                <c:ptCount val="22"/>
                <c:pt idx="0">
                  <c:v>Apericube Edition Limitee Best Of Foot Fromage Fondu Cube Assortis 1X250Gr 48P</c:v>
                </c:pt>
                <c:pt idx="1">
                  <c:v>Apericube Cocktail Fromage Fondu Cube Assortis 1X250Gr 48P</c:v>
                </c:pt>
                <c:pt idx="2">
                  <c:v>Apericube Long Drink Fromage Fondu Cube Assortis 1X250Gr 48P</c:v>
                </c:pt>
                <c:pt idx="3">
                  <c:v>Apericube Incontournable Fromage Fondu Cube Assortis 1X250Gr 48P</c:v>
                </c:pt>
                <c:pt idx="4">
                  <c:v>Apericube Tonic Fromage Fondu Cube Assortis 1X250Gr 48P</c:v>
                </c:pt>
                <c:pt idx="5">
                  <c:v>Boursin Aperitif Roules Fromage Frais Roule Afh Et Jambon Fume Boite 1X100Gr 20P</c:v>
                </c:pt>
                <c:pt idx="6">
                  <c:v>Apericube Edition Limitee Saison Fromage Fondu Cube Assortis 1X250Gr 48P</c:v>
                </c:pt>
                <c:pt idx="7">
                  <c:v>Apericube Nature Fromage Fondu Cube 1X125Gr 24P</c:v>
                </c:pt>
                <c:pt idx="8">
                  <c:v>Apericube Edition Voyage Fromage Fondu Cube Assortis 1X250Gr 48P</c:v>
                </c:pt>
                <c:pt idx="9">
                  <c:v>Boursin Aperitif Roules Fromage Frais Roule Ciboulette &amp; Echalote Jambon Fume Boite 1X100Gr 20P</c:v>
                </c:pt>
                <c:pt idx="10">
                  <c:v>Apericube Saveurs De L'Authentique Fromage Fondu Cube Assortis 1X250Gr 48P</c:v>
                </c:pt>
                <c:pt idx="11">
                  <c:v>Apericube Campagne Fromage Fondu Cube Assortis 1X125Gr 24P</c:v>
                </c:pt>
                <c:pt idx="12">
                  <c:v>Boursin Aperitif Roules Fromage Frais Roule Basilic &amp; Jambon Fume Tomate Boite 1X100Gr 20P</c:v>
                </c:pt>
                <c:pt idx="13">
                  <c:v>Apericube Long Drink Fromage Fondu Cube Assortis 1X125Gr 24P</c:v>
                </c:pt>
                <c:pt idx="14">
                  <c:v>Apericube Soiree Match Aperitif 250G</c:v>
                </c:pt>
                <c:pt idx="15">
                  <c:v>Apericube Best Of Des Saveurs Fromage Fondu Cube Assortis 1X125Gr 24P</c:v>
                </c:pt>
                <c:pt idx="16">
                  <c:v>Apericube Hot Chalenge Aperitif 250G</c:v>
                </c:pt>
                <c:pt idx="17">
                  <c:v>Apericube Fromages Du Monde Aperitif 250G</c:v>
                </c:pt>
                <c:pt idx="18">
                  <c:v>Apericube Montagne Aperitif 250G</c:v>
                </c:pt>
                <c:pt idx="19">
                  <c:v>Boursin Aperitif Roules Fromage Frais Roule Jambon Fume &amp; Trio De Noix Boite 1X100Gr 20P</c:v>
                </c:pt>
                <c:pt idx="20">
                  <c:v>Boursin Aperitif Roules Aperitif 100G</c:v>
                </c:pt>
                <c:pt idx="21">
                  <c:v>Apericube Carrement Toque Fromage Fondu Cube Assortis 1X250Gr 48P</c:v>
                </c:pt>
              </c:strCache>
            </c:strRef>
          </c:cat>
          <c:val>
            <c:numRef>
              <c:f>Sheet1!$D$2:$D$23</c:f>
              <c:numCache>
                <c:formatCode>General</c:formatCode>
                <c:ptCount val="22"/>
                <c:pt idx="0">
                  <c:v>5732.03</c:v>
                </c:pt>
                <c:pt idx="1">
                  <c:v>5079.86</c:v>
                </c:pt>
                <c:pt idx="2">
                  <c:v>4674.383838383838</c:v>
                </c:pt>
                <c:pt idx="3">
                  <c:v>3797.14</c:v>
                </c:pt>
                <c:pt idx="4">
                  <c:v>3830.5050505050503</c:v>
                </c:pt>
                <c:pt idx="5">
                  <c:v>3316.959595959596</c:v>
                </c:pt>
                <c:pt idx="6">
                  <c:v>2940.717171717172</c:v>
                </c:pt>
                <c:pt idx="7">
                  <c:v>2677.969696969697</c:v>
                </c:pt>
                <c:pt idx="8">
                  <c:v>2391.030303030303</c:v>
                </c:pt>
                <c:pt idx="9">
                  <c:v>2060.5151515151515</c:v>
                </c:pt>
                <c:pt idx="10">
                  <c:v>2036.857142857143</c:v>
                </c:pt>
                <c:pt idx="11">
                  <c:v>1760.5252525252524</c:v>
                </c:pt>
                <c:pt idx="12">
                  <c:v>1040.5408163265306</c:v>
                </c:pt>
                <c:pt idx="13">
                  <c:v>1013.2244897959183</c:v>
                </c:pt>
                <c:pt idx="14">
                  <c:v>583.8645833333334</c:v>
                </c:pt>
                <c:pt idx="15">
                  <c:v>335.27272727272725</c:v>
                </c:pt>
                <c:pt idx="16">
                  <c:v>315.7125</c:v>
                </c:pt>
                <c:pt idx="17">
                  <c:v>328.84285714285716</c:v>
                </c:pt>
                <c:pt idx="18">
                  <c:v>270.6617647058824</c:v>
                </c:pt>
                <c:pt idx="19">
                  <c:v>100.04166666666667</c:v>
                </c:pt>
                <c:pt idx="20">
                  <c:v>83.18604651162791</c:v>
                </c:pt>
                <c:pt idx="21">
                  <c:v>20.0</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22</c:f>
              <c:strCache>
                <c:ptCount val="21"/>
                <c:pt idx="0">
                  <c:v>Apericube Edition Limitee Best Of Foot Fromage Fondu Cube Assortis 1X250Gr 48P</c:v>
                </c:pt>
                <c:pt idx="1">
                  <c:v>Apericube Cocktail Fromage Fondu Cube Assortis 1X250Gr 48P</c:v>
                </c:pt>
                <c:pt idx="2">
                  <c:v>Boursin Aperitif Roules Fromage Frais Roule Afh Et Jambon Fume Boite 1X100Gr 20P</c:v>
                </c:pt>
                <c:pt idx="3">
                  <c:v>Apericube Long Drink Fromage Fondu Cube Assortis 1X250Gr 48P</c:v>
                </c:pt>
                <c:pt idx="4">
                  <c:v>Apericube Tonic Fromage Fondu Cube Assortis 1X250Gr 48P</c:v>
                </c:pt>
                <c:pt idx="5">
                  <c:v>Apericube Campagne Fromage Fondu Cube Assortis 1X125Gr 24P</c:v>
                </c:pt>
                <c:pt idx="6">
                  <c:v>Apericube Nature Fromage Fondu Cube 1X125Gr 24P</c:v>
                </c:pt>
                <c:pt idx="7">
                  <c:v>Apericube Edition Limitee Saison Fromage Fondu Cube Assortis 1X250Gr 48P</c:v>
                </c:pt>
                <c:pt idx="8">
                  <c:v>Apericube Edition Voyage Fromage Fondu Cube Assortis 1X250Gr 48P</c:v>
                </c:pt>
                <c:pt idx="9">
                  <c:v>Apericube Incontournable Fromage Fondu Cube Assortis 1X250Gr 48P</c:v>
                </c:pt>
                <c:pt idx="10">
                  <c:v>Boursin Aperitif Roules Fromage Frais Roule Ciboulette &amp; Echalote Jambon Fume Boite 1X100Gr 20P</c:v>
                </c:pt>
                <c:pt idx="11">
                  <c:v>Apericube Saveurs De L'Authentique Fromage Fondu Cube Assortis 1X250Gr 48P</c:v>
                </c:pt>
                <c:pt idx="12">
                  <c:v>Boursin Aperitif Roules Fromage Frais Roule Basilic &amp; Jambon Fume Tomate Boite 1X100Gr 20P</c:v>
                </c:pt>
                <c:pt idx="13">
                  <c:v>Apericube Long Drink Fromage Fondu Cube Assortis 1X125Gr 24P</c:v>
                </c:pt>
                <c:pt idx="14">
                  <c:v>Apericube Soiree Match Aperitif 250G</c:v>
                </c:pt>
                <c:pt idx="15">
                  <c:v>Apericube Best Of Des Saveurs Fromage Fondu Cube Assortis 1X125Gr 24P</c:v>
                </c:pt>
                <c:pt idx="16">
                  <c:v>Apericube Hot Chalenge Aperitif 250G</c:v>
                </c:pt>
                <c:pt idx="17">
                  <c:v>Apericube Fromages Du Monde Aperitif 250G</c:v>
                </c:pt>
                <c:pt idx="18">
                  <c:v>Apericube Montagne Aperitif 250G</c:v>
                </c:pt>
                <c:pt idx="19">
                  <c:v>Boursin Aperitif Roules Fromage Frais Roule Jambon Fume &amp; Trio De Noix Boite 1X100Gr 20P</c:v>
                </c:pt>
                <c:pt idx="20">
                  <c:v>Boursin Aperitif Roules Aperitif 100G</c:v>
                </c:pt>
              </c:strCache>
            </c:strRef>
          </c:cat>
          <c:val>
            <c:numRef>
              <c:f>Sheet1!$B$2:$B$22</c:f>
              <c:numCache>
                <c:formatCode>General</c:formatCode>
                <c:ptCount val="21"/>
                <c:pt idx="0">
                  <c:v>0.75</c:v>
                </c:pt>
                <c:pt idx="1">
                  <c:v>0.82</c:v>
                </c:pt>
                <c:pt idx="2">
                  <c:v>0.85</c:v>
                </c:pt>
                <c:pt idx="3">
                  <c:v>0.71</c:v>
                </c:pt>
                <c:pt idx="4">
                  <c:v>0.7</c:v>
                </c:pt>
                <c:pt idx="5">
                  <c:v>0.71</c:v>
                </c:pt>
                <c:pt idx="6">
                  <c:v>0.75</c:v>
                </c:pt>
                <c:pt idx="7">
                  <c:v>0.46</c:v>
                </c:pt>
                <c:pt idx="8">
                  <c:v>0.45</c:v>
                </c:pt>
                <c:pt idx="9">
                  <c:v>0.41</c:v>
                </c:pt>
                <c:pt idx="10">
                  <c:v>0.56</c:v>
                </c:pt>
                <c:pt idx="11">
                  <c:v>0.45</c:v>
                </c:pt>
                <c:pt idx="12">
                  <c:v>0.57</c:v>
                </c:pt>
                <c:pt idx="13">
                  <c:v>0.37</c:v>
                </c:pt>
                <c:pt idx="14">
                  <c:v>0.33</c:v>
                </c:pt>
                <c:pt idx="15">
                  <c:v>0.4</c:v>
                </c:pt>
                <c:pt idx="16">
                  <c:v>0.16</c:v>
                </c:pt>
                <c:pt idx="17">
                  <c:v>0.09</c:v>
                </c:pt>
                <c:pt idx="18">
                  <c:v>0.07</c:v>
                </c:pt>
                <c:pt idx="19">
                  <c:v>0.18</c:v>
                </c:pt>
                <c:pt idx="20">
                  <c:v>0.17</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7ECAC4"/>
              </a:solidFill>
            </c:spPr>
            <c:extLst>
              <c:ext xmlns:c16="http://schemas.microsoft.com/office/drawing/2014/chart" uri="{C3380CC4-5D6E-409C-BE32-E72D297353CC}">
                <c16:uniqueId val="{00000013-FA3E-4872-B6E1-C4ABDF5766E2}"/>
              </c:ext>
            </c:extLst>
          </c:dPt>
          <c:dPt>
            <c:idx val="9"/>
            <c:invertIfNegative val="1"/>
            <c:bubble3D val="0"/>
            <c:spPr>
              <a:solidFill>
                <a:srgbClr val="7ECAC4"/>
              </a:solidFill>
            </c:spPr>
            <c:extLst>
              <c:ext xmlns:c16="http://schemas.microsoft.com/office/drawing/2014/chart" uri="{C3380CC4-5D6E-409C-BE32-E72D297353CC}">
                <c16:uniqueId val="{00000015-FA3E-4872-B6E1-C4ABDF5766E2}"/>
              </c:ext>
            </c:extLst>
          </c:dPt>
          <c:dPt>
            <c:idx val="10"/>
            <c:invertIfNegative val="1"/>
            <c:bubble3D val="0"/>
            <c:spPr>
              <a:solidFill>
                <a:srgbClr val="7ECAC4"/>
              </a:solidFill>
            </c:spPr>
            <c:extLst>
              <c:ext xmlns:c16="http://schemas.microsoft.com/office/drawing/2014/chart" uri="{C3380CC4-5D6E-409C-BE32-E72D297353CC}">
                <c16:uniqueId val="{00000017-FA3E-4872-B6E1-C4ABDF5766E2}"/>
              </c:ext>
            </c:extLst>
          </c:dPt>
          <c:dPt>
            <c:idx val="11"/>
            <c:invertIfNegative val="1"/>
            <c:bubble3D val="0"/>
            <c:spPr>
              <a:solidFill>
                <a:srgbClr val="7ECAC4"/>
              </a:solidFill>
            </c:spPr>
            <c:extLst>
              <c:ext xmlns:c16="http://schemas.microsoft.com/office/drawing/2014/chart" uri="{C3380CC4-5D6E-409C-BE32-E72D297353CC}">
                <c16:uniqueId val="{00000019-FA3E-4872-B6E1-C4ABDF5766E2}"/>
              </c:ext>
            </c:extLst>
          </c:dPt>
          <c:dPt>
            <c:idx val="12"/>
            <c:invertIfNegative val="1"/>
            <c:bubble3D val="0"/>
            <c:spPr>
              <a:solidFill>
                <a:srgbClr val="AEABAB"/>
              </a:solidFill>
            </c:spPr>
            <c:extLst>
              <c:ext xmlns:c16="http://schemas.microsoft.com/office/drawing/2014/chart" uri="{C3380CC4-5D6E-409C-BE32-E72D297353CC}">
                <c16:uniqueId val="{0000001B-FA3E-4872-B6E1-C4ABDF5766E2}"/>
              </c:ext>
            </c:extLst>
          </c:dPt>
          <c:dPt>
            <c:idx val="13"/>
            <c:invertIfNegative val="1"/>
            <c:bubble3D val="0"/>
            <c:spPr>
              <a:solidFill>
                <a:srgbClr val="AEABAB"/>
              </a:solidFill>
            </c:spPr>
            <c:extLst>
              <c:ext xmlns:c16="http://schemas.microsoft.com/office/drawing/2014/chart" uri="{C3380CC4-5D6E-409C-BE32-E72D297353CC}">
                <c16:uniqueId val="{0000001D-FA3E-4872-B6E1-C4ABDF5766E2}"/>
              </c:ext>
            </c:extLst>
          </c:dPt>
          <c:dPt>
            <c:idx val="14"/>
            <c:invertIfNegative val="1"/>
            <c:bubble3D val="0"/>
            <c:spPr>
              <a:solidFill>
                <a:srgbClr val="AEABAB"/>
              </a:solidFill>
            </c:spPr>
            <c:extLst>
              <c:ext xmlns:c16="http://schemas.microsoft.com/office/drawing/2014/chart" uri="{C3380CC4-5D6E-409C-BE32-E72D297353CC}">
                <c16:uniqueId val="{0000001F-FA3E-4872-B6E1-C4ABDF5766E2}"/>
              </c:ext>
            </c:extLst>
          </c:dPt>
          <c:dPt>
            <c:idx val="15"/>
            <c:invertIfNegative val="1"/>
            <c:bubble3D val="0"/>
            <c:spPr>
              <a:solidFill>
                <a:srgbClr val="AEABAB"/>
              </a:solidFill>
            </c:spPr>
            <c:extLst>
              <c:ext xmlns:c16="http://schemas.microsoft.com/office/drawing/2014/chart" uri="{C3380CC4-5D6E-409C-BE32-E72D297353CC}">
                <c16:uniqueId val="{00000021-FA3E-4872-B6E1-C4ABDF5766E2}"/>
              </c:ext>
            </c:extLst>
          </c:dPt>
          <c:dPt>
            <c:idx val="16"/>
            <c:invertIfNegative val="1"/>
            <c:bubble3D val="0"/>
            <c:spPr>
              <a:solidFill>
                <a:srgbClr val="AEABAB"/>
              </a:solidFill>
            </c:spPr>
            <c:extLst>
              <c:ext xmlns:c16="http://schemas.microsoft.com/office/drawing/2014/chart" uri="{C3380CC4-5D6E-409C-BE32-E72D297353CC}">
                <c16:uniqueId val="{00000023-FA3E-4872-B6E1-C4ABDF5766E2}"/>
              </c:ext>
            </c:extLst>
          </c:dPt>
          <c:dPt>
            <c:idx val="17"/>
            <c:invertIfNegative val="1"/>
            <c:bubble3D val="0"/>
            <c:spPr>
              <a:solidFill>
                <a:srgbClr val="AEABAB"/>
              </a:solidFill>
            </c:spPr>
            <c:extLst>
              <c:ext xmlns:c16="http://schemas.microsoft.com/office/drawing/2014/chart" uri="{C3380CC4-5D6E-409C-BE32-E72D297353CC}">
                <c16:uniqueId val="{00000025-FA3E-4872-B6E1-C4ABDF5766E2}"/>
              </c:ext>
            </c:extLst>
          </c:dPt>
          <c:dPt>
            <c:idx val="18"/>
            <c:invertIfNegative val="1"/>
            <c:bubble3D val="0"/>
            <c:spPr>
              <a:solidFill>
                <a:srgbClr val="AEABAB"/>
              </a:solidFill>
            </c:spPr>
            <c:extLst>
              <c:ext xmlns:c16="http://schemas.microsoft.com/office/drawing/2014/chart" uri="{C3380CC4-5D6E-409C-BE32-E72D297353CC}">
                <c16:uniqueId val="{00000027-FA3E-4872-B6E1-C4ABDF5766E2}"/>
              </c:ext>
            </c:extLst>
          </c:dPt>
          <c:dPt>
            <c:idx val="19"/>
            <c:invertIfNegative val="1"/>
            <c:bubble3D val="0"/>
            <c:spPr>
              <a:solidFill>
                <a:srgbClr val="AEABAB"/>
              </a:solidFill>
            </c:spPr>
            <c:extLst>
              <c:ext xmlns:c16="http://schemas.microsoft.com/office/drawing/2014/chart" uri="{C3380CC4-5D6E-409C-BE32-E72D297353CC}">
                <c16:uniqueId val="{00000029-FA3E-4872-B6E1-C4ABDF5766E2}"/>
              </c:ext>
            </c:extLst>
          </c:dPt>
          <c:dPt>
            <c:idx val="20"/>
            <c:invertIfNegative val="1"/>
            <c:bubble3D val="0"/>
            <c:spPr>
              <a:solidFill>
                <a:srgbClr val="AEABAB"/>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22</c:f>
              <c:strCache>
                <c:ptCount val="21"/>
                <c:pt idx="0">
                  <c:v>Apericube Edition Limitee Best Of Foot Fromage Fondu Cube Assortis 1X250Gr 48P</c:v>
                </c:pt>
                <c:pt idx="1">
                  <c:v>Apericube Cocktail Fromage Fondu Cube Assortis 1X250Gr 48P</c:v>
                </c:pt>
                <c:pt idx="2">
                  <c:v>Boursin Aperitif Roules Fromage Frais Roule Afh Et Jambon Fume Boite 1X100Gr 20P</c:v>
                </c:pt>
                <c:pt idx="3">
                  <c:v>Apericube Long Drink Fromage Fondu Cube Assortis 1X250Gr 48P</c:v>
                </c:pt>
                <c:pt idx="4">
                  <c:v>Apericube Tonic Fromage Fondu Cube Assortis 1X250Gr 48P</c:v>
                </c:pt>
                <c:pt idx="5">
                  <c:v>Apericube Campagne Fromage Fondu Cube Assortis 1X125Gr 24P</c:v>
                </c:pt>
                <c:pt idx="6">
                  <c:v>Apericube Nature Fromage Fondu Cube 1X125Gr 24P</c:v>
                </c:pt>
                <c:pt idx="7">
                  <c:v>Apericube Edition Limitee Saison Fromage Fondu Cube Assortis 1X250Gr 48P</c:v>
                </c:pt>
                <c:pt idx="8">
                  <c:v>Apericube Edition Voyage Fromage Fondu Cube Assortis 1X250Gr 48P</c:v>
                </c:pt>
                <c:pt idx="9">
                  <c:v>Apericube Incontournable Fromage Fondu Cube Assortis 1X250Gr 48P</c:v>
                </c:pt>
                <c:pt idx="10">
                  <c:v>Boursin Aperitif Roules Fromage Frais Roule Ciboulette &amp; Echalote Jambon Fume Boite 1X100Gr 20P</c:v>
                </c:pt>
                <c:pt idx="11">
                  <c:v>Apericube Saveurs De L'Authentique Fromage Fondu Cube Assortis 1X250Gr 48P</c:v>
                </c:pt>
                <c:pt idx="12">
                  <c:v>Boursin Aperitif Roules Fromage Frais Roule Basilic &amp; Jambon Fume Tomate Boite 1X100Gr 20P</c:v>
                </c:pt>
                <c:pt idx="13">
                  <c:v>Apericube Long Drink Fromage Fondu Cube Assortis 1X125Gr 24P</c:v>
                </c:pt>
                <c:pt idx="14">
                  <c:v>Apericube Soiree Match Aperitif 250G</c:v>
                </c:pt>
                <c:pt idx="15">
                  <c:v>Apericube Best Of Des Saveurs Fromage Fondu Cube Assortis 1X125Gr 24P</c:v>
                </c:pt>
                <c:pt idx="16">
                  <c:v>Apericube Hot Chalenge Aperitif 250G</c:v>
                </c:pt>
                <c:pt idx="17">
                  <c:v>Apericube Fromages Du Monde Aperitif 250G</c:v>
                </c:pt>
                <c:pt idx="18">
                  <c:v>Apericube Montagne Aperitif 250G</c:v>
                </c:pt>
                <c:pt idx="19">
                  <c:v>Boursin Aperitif Roules Fromage Frais Roule Jambon Fume &amp; Trio De Noix Boite 1X100Gr 20P</c:v>
                </c:pt>
                <c:pt idx="20">
                  <c:v>Boursin Aperitif Roules Aperitif 100G</c:v>
                </c:pt>
              </c:strCache>
            </c:strRef>
          </c:cat>
          <c:val>
            <c:numRef>
              <c:f>Sheet1!$C$2:$C$22</c:f>
              <c:numCache>
                <c:formatCode>General</c:formatCode>
                <c:ptCount val="21"/>
                <c:pt idx="0">
                  <c:v>0.16052764064703579</c:v>
                </c:pt>
                <c:pt idx="1">
                  <c:v>0.3003997736558752</c:v>
                </c:pt>
                <c:pt idx="2">
                  <c:v>0.4149385286622245</c:v>
                </c:pt>
                <c:pt idx="3">
                  <c:v>0.5087501829982152</c:v>
                </c:pt>
                <c:pt idx="4">
                  <c:v>0.5917255894148784</c:v>
                </c:pt>
                <c:pt idx="5">
                  <c:v>0.6632231642009139</c:v>
                </c:pt>
                <c:pt idx="6">
                  <c:v>0.7267165462052709</c:v>
                </c:pt>
                <c:pt idx="7">
                  <c:v>0.7792864836485645</c:v>
                </c:pt>
                <c:pt idx="8">
                  <c:v>0.827959649065642</c:v>
                </c:pt>
                <c:pt idx="9">
                  <c:v>0.8758521750743351</c:v>
                </c:pt>
                <c:pt idx="10">
                  <c:v>0.9205533039954877</c:v>
                </c:pt>
                <c:pt idx="11">
                  <c:v>0.9468389611116745</c:v>
                </c:pt>
                <c:pt idx="12">
                  <c:v>0.9688148094776324</c:v>
                </c:pt>
                <c:pt idx="13">
                  <c:v>0.9796588592017469</c:v>
                </c:pt>
                <c:pt idx="14">
                  <c:v>0.9880632386760245</c:v>
                </c:pt>
                <c:pt idx="15">
                  <c:v>0.9917415601682069</c:v>
                </c:pt>
                <c:pt idx="16">
                  <c:v>0.99512662558634</c:v>
                </c:pt>
                <c:pt idx="17">
                  <c:v>0.9964616520642887</c:v>
                </c:pt>
                <c:pt idx="18">
                  <c:v>0.9976810282595138</c:v>
                </c:pt>
                <c:pt idx="19">
                  <c:v>0.9988714918840579</c:v>
                </c:pt>
                <c:pt idx="20">
                  <c:v>0.999981642812266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22</c:f>
              <c:strCache>
                <c:ptCount val="21"/>
                <c:pt idx="0">
                  <c:v>Apericube Edition Limitee Best Of Foot Fromage Fondu Cube Assortis 1X250Gr 48P</c:v>
                </c:pt>
                <c:pt idx="1">
                  <c:v>Apericube Cocktail Fromage Fondu Cube Assortis 1X250Gr 48P</c:v>
                </c:pt>
                <c:pt idx="2">
                  <c:v>Boursin Aperitif Roules Fromage Frais Roule Afh Et Jambon Fume Boite 1X100Gr 20P</c:v>
                </c:pt>
                <c:pt idx="3">
                  <c:v>Apericube Long Drink Fromage Fondu Cube Assortis 1X250Gr 48P</c:v>
                </c:pt>
                <c:pt idx="4">
                  <c:v>Apericube Tonic Fromage Fondu Cube Assortis 1X250Gr 48P</c:v>
                </c:pt>
                <c:pt idx="5">
                  <c:v>Apericube Campagne Fromage Fondu Cube Assortis 1X125Gr 24P</c:v>
                </c:pt>
                <c:pt idx="6">
                  <c:v>Apericube Nature Fromage Fondu Cube 1X125Gr 24P</c:v>
                </c:pt>
                <c:pt idx="7">
                  <c:v>Apericube Edition Limitee Saison Fromage Fondu Cube Assortis 1X250Gr 48P</c:v>
                </c:pt>
                <c:pt idx="8">
                  <c:v>Apericube Edition Voyage Fromage Fondu Cube Assortis 1X250Gr 48P</c:v>
                </c:pt>
                <c:pt idx="9">
                  <c:v>Apericube Incontournable Fromage Fondu Cube Assortis 1X250Gr 48P</c:v>
                </c:pt>
                <c:pt idx="10">
                  <c:v>Boursin Aperitif Roules Fromage Frais Roule Ciboulette &amp; Echalote Jambon Fume Boite 1X100Gr 20P</c:v>
                </c:pt>
                <c:pt idx="11">
                  <c:v>Apericube Saveurs De L'Authentique Fromage Fondu Cube Assortis 1X250Gr 48P</c:v>
                </c:pt>
                <c:pt idx="12">
                  <c:v>Boursin Aperitif Roules Fromage Frais Roule Basilic &amp; Jambon Fume Tomate Boite 1X100Gr 20P</c:v>
                </c:pt>
                <c:pt idx="13">
                  <c:v>Apericube Long Drink Fromage Fondu Cube Assortis 1X125Gr 24P</c:v>
                </c:pt>
                <c:pt idx="14">
                  <c:v>Apericube Soiree Match Aperitif 250G</c:v>
                </c:pt>
                <c:pt idx="15">
                  <c:v>Apericube Best Of Des Saveurs Fromage Fondu Cube Assortis 1X125Gr 24P</c:v>
                </c:pt>
                <c:pt idx="16">
                  <c:v>Apericube Hot Chalenge Aperitif 250G</c:v>
                </c:pt>
                <c:pt idx="17">
                  <c:v>Apericube Fromages Du Monde Aperitif 250G</c:v>
                </c:pt>
                <c:pt idx="18">
                  <c:v>Apericube Montagne Aperitif 250G</c:v>
                </c:pt>
                <c:pt idx="19">
                  <c:v>Boursin Aperitif Roules Fromage Frais Roule Jambon Fume &amp; Trio De Noix Boite 1X100Gr 20P</c:v>
                </c:pt>
                <c:pt idx="20">
                  <c:v>Boursin Aperitif Roules Aperitif 100G</c:v>
                </c:pt>
              </c:strCache>
            </c:strRef>
          </c:cat>
          <c:val>
            <c:numRef>
              <c:f>Sheet1!$D$2:$D$22</c:f>
              <c:numCache>
                <c:formatCode>General</c:formatCode>
                <c:ptCount val="21"/>
                <c:pt idx="0">
                  <c:v>4663.826666666667</c:v>
                </c:pt>
                <c:pt idx="1">
                  <c:v>3716.817073170732</c:v>
                </c:pt>
                <c:pt idx="2">
                  <c:v>2936.211764705882</c:v>
                </c:pt>
                <c:pt idx="3">
                  <c:v>2879.0704225352115</c:v>
                </c:pt>
                <c:pt idx="4">
                  <c:v>2582.885714285714</c:v>
                </c:pt>
                <c:pt idx="5">
                  <c:v>2194.2535211267605</c:v>
                </c:pt>
                <c:pt idx="6">
                  <c:v>1844.68</c:v>
                </c:pt>
                <c:pt idx="7">
                  <c:v>2490.195652173913</c:v>
                </c:pt>
                <c:pt idx="8">
                  <c:v>2356.8444444444444</c:v>
                </c:pt>
                <c:pt idx="9">
                  <c:v>2545.2926829268295</c:v>
                </c:pt>
                <c:pt idx="10">
                  <c:v>1739.3392857142856</c:v>
                </c:pt>
                <c:pt idx="11">
                  <c:v>1272.8</c:v>
                </c:pt>
                <c:pt idx="12">
                  <c:v>840.0877192982457</c:v>
                </c:pt>
                <c:pt idx="13">
                  <c:v>638.6216216216217</c:v>
                </c:pt>
                <c:pt idx="14">
                  <c:v>554.939393939394</c:v>
                </c:pt>
                <c:pt idx="15">
                  <c:v>200.375</c:v>
                </c:pt>
                <c:pt idx="16">
                  <c:v>461.0</c:v>
                </c:pt>
                <c:pt idx="17">
                  <c:v>323.22222222222223</c:v>
                </c:pt>
                <c:pt idx="18">
                  <c:v>379.5714285714285</c:v>
                </c:pt>
                <c:pt idx="19">
                  <c:v>144.11111111111111</c:v>
                </c:pt>
                <c:pt idx="20">
                  <c:v>142.2941176470588</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7</c:f>
              <c:strCache>
                <c:ptCount val="6"/>
                <c:pt idx="0">
                  <c:v>Toastinette Cheddar Fondu Tranche A Chaud Sachet 1X200Gr 10P</c:v>
                </c:pt>
                <c:pt idx="1">
                  <c:v>Toastinette Fromage Fondu Tranche A Chaud Sachet 1X200Gr 10P</c:v>
                </c:pt>
                <c:pt idx="2">
                  <c:v>Boursin Cuisine Sauce Fromage Afh 1X240Gr 1P</c:v>
                </c:pt>
                <c:pt idx="3">
                  <c:v>La Vache Qui Rit Le Fondant Fromage Fondu 1X200Gr 1P</c:v>
                </c:pt>
                <c:pt idx="4">
                  <c:v>Toastinette Fromage Fondu Tranche A Chaud Sachet 1X340Gr 20P</c:v>
                </c:pt>
                <c:pt idx="5">
                  <c:v>Toastinette Cheddar Fondu Tranche A Chaud Sachet 1X340Gr 20P</c:v>
                </c:pt>
              </c:strCache>
            </c:strRef>
          </c:cat>
          <c:val>
            <c:numRef>
              <c:f>Sheet1!$B$2:$B$7</c:f>
              <c:numCache>
                <c:formatCode>General</c:formatCode>
                <c:ptCount val="6"/>
                <c:pt idx="0">
                  <c:v>0.854</c:v>
                </c:pt>
                <c:pt idx="1">
                  <c:v>0.764</c:v>
                </c:pt>
                <c:pt idx="2">
                  <c:v>0.773</c:v>
                </c:pt>
                <c:pt idx="3">
                  <c:v>0.269</c:v>
                </c:pt>
                <c:pt idx="4">
                  <c:v>0.073</c:v>
                </c:pt>
                <c:pt idx="5">
                  <c:v>0.073</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AEABAB"/>
              </a:solidFill>
            </c:spPr>
            <c:extLst>
              <c:ext xmlns:c16="http://schemas.microsoft.com/office/drawing/2014/chart" uri="{C3380CC4-5D6E-409C-BE32-E72D297353CC}">
                <c16:uniqueId val="{00000006-E902-46E2-9A54-39A26B3DFDC1}"/>
              </c:ext>
            </c:extLst>
          </c:dPt>
          <c:dPt>
            <c:idx val="3"/>
            <c:invertIfNegative val="0"/>
            <c:bubble3D val="0"/>
            <c:spPr>
              <a:solidFill>
                <a:srgbClr val="AEABAB"/>
              </a:solidFill>
            </c:spPr>
            <c:extLst>
              <c:ext xmlns:c16="http://schemas.microsoft.com/office/drawing/2014/chart" uri="{C3380CC4-5D6E-409C-BE32-E72D297353CC}">
                <c16:uniqueId val="{00000007-E902-46E2-9A54-39A26B3DFDC1}"/>
              </c:ext>
            </c:extLst>
          </c:dPt>
          <c:dPt>
            <c:idx val="4"/>
            <c:invertIfNegative val="1"/>
            <c:bubble3D val="0"/>
            <c:spPr>
              <a:solidFill>
                <a:srgbClr val="AEABAB"/>
              </a:solidFill>
            </c:spPr>
            <c:extLst>
              <c:ext xmlns:c16="http://schemas.microsoft.com/office/drawing/2014/chart" uri="{C3380CC4-5D6E-409C-BE32-E72D297353CC}">
                <c16:uniqueId val="{0000000B-FA3E-4872-B6E1-C4ABDF5766E2}"/>
              </c:ext>
            </c:extLst>
          </c:dPt>
          <c:dPt>
            <c:idx val="5"/>
            <c:invertIfNegative val="1"/>
            <c:bubble3D val="0"/>
            <c:spPr>
              <a:solidFill>
                <a:srgbClr val="AEABAB"/>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7</c:f>
              <c:strCache>
                <c:ptCount val="6"/>
                <c:pt idx="0">
                  <c:v>Toastinette Cheddar Fondu Tranche A Chaud Sachet 1X200Gr 10P</c:v>
                </c:pt>
                <c:pt idx="1">
                  <c:v>Toastinette Fromage Fondu Tranche A Chaud Sachet 1X200Gr 10P</c:v>
                </c:pt>
                <c:pt idx="2">
                  <c:v>Boursin Cuisine Sauce Fromage Afh 1X240Gr 1P</c:v>
                </c:pt>
                <c:pt idx="3">
                  <c:v>La Vache Qui Rit Le Fondant Fromage Fondu 1X200Gr 1P</c:v>
                </c:pt>
                <c:pt idx="4">
                  <c:v>Toastinette Fromage Fondu Tranche A Chaud Sachet 1X340Gr 20P</c:v>
                </c:pt>
                <c:pt idx="5">
                  <c:v>Toastinette Cheddar Fondu Tranche A Chaud Sachet 1X340Gr 20P</c:v>
                </c:pt>
              </c:strCache>
            </c:strRef>
          </c:cat>
          <c:val>
            <c:numRef>
              <c:f>Sheet1!$C$2:$C$7</c:f>
              <c:numCache>
                <c:formatCode>General</c:formatCode>
                <c:ptCount val="6"/>
                <c:pt idx="0">
                  <c:v>0.4085685860210745</c:v>
                </c:pt>
                <c:pt idx="1">
                  <c:v>0.7686043943371259</c:v>
                </c:pt>
                <c:pt idx="2">
                  <c:v>0.9547929782863218</c:v>
                </c:pt>
                <c:pt idx="3">
                  <c:v>0.974478756403766</c:v>
                </c:pt>
                <c:pt idx="4">
                  <c:v>0.9877764052125336</c:v>
                </c:pt>
                <c:pt idx="5">
                  <c:v>0.999976056120544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7</c:f>
              <c:strCache>
                <c:ptCount val="6"/>
                <c:pt idx="0">
                  <c:v>Toastinette Cheddar Fondu Tranche A Chaud Sachet 1X200Gr 10P</c:v>
                </c:pt>
                <c:pt idx="1">
                  <c:v>Toastinette Fromage Fondu Tranche A Chaud Sachet 1X200Gr 10P</c:v>
                </c:pt>
                <c:pt idx="2">
                  <c:v>Boursin Cuisine Sauce Fromage Afh 1X240Gr 1P</c:v>
                </c:pt>
                <c:pt idx="3">
                  <c:v>La Vache Qui Rit Le Fondant Fromage Fondu 1X200Gr 1P</c:v>
                </c:pt>
                <c:pt idx="4">
                  <c:v>Toastinette Fromage Fondu Tranche A Chaud Sachet 1X340Gr 20P</c:v>
                </c:pt>
                <c:pt idx="5">
                  <c:v>Toastinette Cheddar Fondu Tranche A Chaud Sachet 1X340Gr 20P</c:v>
                </c:pt>
              </c:strCache>
            </c:strRef>
          </c:cat>
          <c:val>
            <c:numRef>
              <c:f>Sheet1!$D$2:$D$7</c:f>
              <c:numCache>
                <c:formatCode>General</c:formatCode>
                <c:ptCount val="6"/>
                <c:pt idx="0">
                  <c:v>9790.585480093678</c:v>
                </c:pt>
                <c:pt idx="1">
                  <c:v>9643.92670157068</c:v>
                </c:pt>
                <c:pt idx="2">
                  <c:v>4929.184993531695</c:v>
                </c:pt>
                <c:pt idx="3">
                  <c:v>1497.620817843866</c:v>
                </c:pt>
                <c:pt idx="4">
                  <c:v>3727.8082191780823</c:v>
                </c:pt>
                <c:pt idx="5">
                  <c:v>3420.0</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5</c:f>
              <c:strCache>
                <c:ptCount val="4"/>
                <c:pt idx="0">
                  <c:v>Boursin Cuisine Sauce Fromage Afh 1X240Gr 1P</c:v>
                </c:pt>
                <c:pt idx="1">
                  <c:v>Toastinette Fromage Fondu Tranche A Chaud Sachet 1X200Gr 10P</c:v>
                </c:pt>
                <c:pt idx="2">
                  <c:v>Toastinette Fromage Fondu Tranche A Chaud Sachet 1X340Gr 20P</c:v>
                </c:pt>
                <c:pt idx="3">
                  <c:v>Toastinette Cheddar Fondu Tranche A Chaud Sachet 1X340Gr 20P</c:v>
                </c:pt>
              </c:strCache>
            </c:strRef>
          </c:cat>
          <c:val>
            <c:numRef>
              <c:f>Sheet1!$B$2:$B$5</c:f>
              <c:numCache>
                <c:formatCode>General</c:formatCode>
                <c:ptCount val="4"/>
                <c:pt idx="0">
                  <c:v>0.873</c:v>
                </c:pt>
                <c:pt idx="1">
                  <c:v>0.001</c:v>
                </c:pt>
                <c:pt idx="2">
                  <c:v>0.001</c:v>
                </c:pt>
                <c:pt idx="3">
                  <c:v>0.001</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AEABAB"/>
              </a:solidFill>
            </c:spPr>
            <c:extLst>
              <c:ext xmlns:c16="http://schemas.microsoft.com/office/drawing/2014/chart" uri="{C3380CC4-5D6E-409C-BE32-E72D297353CC}">
                <c16:uniqueId val="{00000006-D8F4-40C6-A5E0-DB4B53CFB1F3}"/>
              </c:ext>
            </c:extLst>
          </c:dPt>
          <c:dPt>
            <c:idx val="1"/>
            <c:invertIfNegative val="0"/>
            <c:bubble3D val="0"/>
            <c:spPr>
              <a:solidFill>
                <a:srgbClr val="AEABAB"/>
              </a:solidFill>
            </c:spPr>
            <c:extLst>
              <c:ext xmlns:c16="http://schemas.microsoft.com/office/drawing/2014/chart" uri="{C3380CC4-5D6E-409C-BE32-E72D297353CC}">
                <c16:uniqueId val="{00000008-D8F4-40C6-A5E0-DB4B53CFB1F3}"/>
              </c:ext>
            </c:extLst>
          </c:dPt>
          <c:dPt>
            <c:idx val="2"/>
            <c:invertIfNegative val="0"/>
            <c:bubble3D val="0"/>
            <c:spPr>
              <a:solidFill>
                <a:srgbClr val="AEABAB"/>
              </a:solidFill>
            </c:spPr>
            <c:extLst>
              <c:ext xmlns:c16="http://schemas.microsoft.com/office/drawing/2014/chart" uri="{C3380CC4-5D6E-409C-BE32-E72D297353CC}">
                <c16:uniqueId val="{00000006-E902-46E2-9A54-39A26B3DFDC1}"/>
              </c:ext>
            </c:extLst>
          </c:dPt>
          <c:dPt>
            <c:idx val="3"/>
            <c:invertIfNegative val="0"/>
            <c:bubble3D val="0"/>
            <c:spPr>
              <a:solidFill>
                <a:srgbClr val="AEABAB"/>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5</c:f>
              <c:strCache>
                <c:ptCount val="4"/>
                <c:pt idx="0">
                  <c:v>Boursin Cuisine Sauce Fromage Afh 1X240Gr 1P</c:v>
                </c:pt>
                <c:pt idx="1">
                  <c:v>Toastinette Fromage Fondu Tranche A Chaud Sachet 1X200Gr 10P</c:v>
                </c:pt>
                <c:pt idx="2">
                  <c:v>Toastinette Fromage Fondu Tranche A Chaud Sachet 1X340Gr 20P</c:v>
                </c:pt>
                <c:pt idx="3">
                  <c:v>Toastinette Cheddar Fondu Tranche A Chaud Sachet 1X340Gr 20P</c:v>
                </c:pt>
              </c:strCache>
            </c:strRef>
          </c:cat>
          <c:val>
            <c:numRef>
              <c:f>Sheet1!$C$2:$C$5</c:f>
              <c:numCache>
                <c:formatCode>General</c:formatCode>
                <c:ptCount val="4"/>
                <c:pt idx="0">
                  <c:v>0.9985139882302234</c:v>
                </c:pt>
                <c:pt idx="1">
                  <c:v>0.9997605478664816</c:v>
                </c:pt>
                <c:pt idx="2">
                  <c:v>0.999901402062669</c:v>
                </c:pt>
                <c:pt idx="3">
                  <c:v>1.000000000000000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5</c:f>
              <c:strCache>
                <c:ptCount val="4"/>
                <c:pt idx="0">
                  <c:v>Boursin Cuisine Sauce Fromage Afh 1X240Gr 1P</c:v>
                </c:pt>
                <c:pt idx="1">
                  <c:v>Toastinette Fromage Fondu Tranche A Chaud Sachet 1X200Gr 10P</c:v>
                </c:pt>
                <c:pt idx="2">
                  <c:v>Toastinette Fromage Fondu Tranche A Chaud Sachet 1X340Gr 20P</c:v>
                </c:pt>
                <c:pt idx="3">
                  <c:v>Toastinette Cheddar Fondu Tranche A Chaud Sachet 1X340Gr 20P</c:v>
                </c:pt>
              </c:strCache>
            </c:strRef>
          </c:cat>
          <c:val>
            <c:numRef>
              <c:f>Sheet1!$D$2:$D$5</c:f>
              <c:numCache>
                <c:formatCode>General</c:formatCode>
                <c:ptCount val="4"/>
                <c:pt idx="0">
                  <c:v>8120.263459335624</c:v>
                </c:pt>
                <c:pt idx="1">
                  <c:v>3580.0</c:v>
                </c:pt>
                <c:pt idx="2">
                  <c:v>1000.0</c:v>
                </c:pt>
                <c:pt idx="3">
                  <c:v>700.0</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7</c:f>
              <c:strCache>
                <c:ptCount val="6"/>
                <c:pt idx="0">
                  <c:v>Toastinette Fromage Fondu Tranche A Chaud Sachet 1X200Gr 10P</c:v>
                </c:pt>
                <c:pt idx="1">
                  <c:v>Toastinette Cheddar Fondu Tranche A Chaud Sachet 1X200Gr 10P</c:v>
                </c:pt>
                <c:pt idx="2">
                  <c:v>Boursin Cuisine Sauce Fromage Afh 1X240Gr 1P</c:v>
                </c:pt>
                <c:pt idx="3">
                  <c:v>La Vache Qui Rit Le Fondant Fromage Fondu 1X200Gr 1P</c:v>
                </c:pt>
                <c:pt idx="4">
                  <c:v>Toastinette Fromage Fondu Tranche A Chaud Sachet 1X340Gr 20P</c:v>
                </c:pt>
                <c:pt idx="5">
                  <c:v>Toastinette Cheddar Fondu Tranche A Chaud Sachet 1X340Gr 20P</c:v>
                </c:pt>
              </c:strCache>
            </c:strRef>
          </c:cat>
          <c:val>
            <c:numRef>
              <c:f>Sheet1!$B$2:$B$7</c:f>
              <c:numCache>
                <c:formatCode>General</c:formatCode>
                <c:ptCount val="6"/>
                <c:pt idx="0">
                  <c:v>1.0</c:v>
                </c:pt>
                <c:pt idx="1">
                  <c:v>1.0</c:v>
                </c:pt>
                <c:pt idx="2">
                  <c:v>0.98</c:v>
                </c:pt>
                <c:pt idx="3">
                  <c:v>0.59</c:v>
                </c:pt>
                <c:pt idx="4">
                  <c:v>0.16</c:v>
                </c:pt>
                <c:pt idx="5">
                  <c:v>0.16</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7ECAC4"/>
              </a:solidFill>
            </c:spPr>
            <c:extLst>
              <c:ext xmlns:c16="http://schemas.microsoft.com/office/drawing/2014/chart" uri="{C3380CC4-5D6E-409C-BE32-E72D297353CC}">
                <c16:uniqueId val="{00000006-E902-46E2-9A54-39A26B3DFDC1}"/>
              </c:ext>
            </c:extLst>
          </c:dPt>
          <c:dPt>
            <c:idx val="3"/>
            <c:invertIfNegative val="0"/>
            <c:bubble3D val="0"/>
            <c:spPr>
              <a:solidFill>
                <a:srgbClr val="AEABAB"/>
              </a:solidFill>
            </c:spPr>
            <c:extLst>
              <c:ext xmlns:c16="http://schemas.microsoft.com/office/drawing/2014/chart" uri="{C3380CC4-5D6E-409C-BE32-E72D297353CC}">
                <c16:uniqueId val="{00000007-E902-46E2-9A54-39A26B3DFDC1}"/>
              </c:ext>
            </c:extLst>
          </c:dPt>
          <c:dPt>
            <c:idx val="4"/>
            <c:invertIfNegative val="1"/>
            <c:bubble3D val="0"/>
            <c:spPr>
              <a:solidFill>
                <a:srgbClr val="AEABAB"/>
              </a:solidFill>
            </c:spPr>
            <c:extLst>
              <c:ext xmlns:c16="http://schemas.microsoft.com/office/drawing/2014/chart" uri="{C3380CC4-5D6E-409C-BE32-E72D297353CC}">
                <c16:uniqueId val="{0000000B-FA3E-4872-B6E1-C4ABDF5766E2}"/>
              </c:ext>
            </c:extLst>
          </c:dPt>
          <c:dPt>
            <c:idx val="5"/>
            <c:invertIfNegative val="1"/>
            <c:bubble3D val="0"/>
            <c:spPr>
              <a:solidFill>
                <a:srgbClr val="AEABAB"/>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7</c:f>
              <c:strCache>
                <c:ptCount val="6"/>
                <c:pt idx="0">
                  <c:v>Toastinette Fromage Fondu Tranche A Chaud Sachet 1X200Gr 10P</c:v>
                </c:pt>
                <c:pt idx="1">
                  <c:v>Toastinette Cheddar Fondu Tranche A Chaud Sachet 1X200Gr 10P</c:v>
                </c:pt>
                <c:pt idx="2">
                  <c:v>Boursin Cuisine Sauce Fromage Afh 1X240Gr 1P</c:v>
                </c:pt>
                <c:pt idx="3">
                  <c:v>La Vache Qui Rit Le Fondant Fromage Fondu 1X200Gr 1P</c:v>
                </c:pt>
                <c:pt idx="4">
                  <c:v>Toastinette Fromage Fondu Tranche A Chaud Sachet 1X340Gr 20P</c:v>
                </c:pt>
                <c:pt idx="5">
                  <c:v>Toastinette Cheddar Fondu Tranche A Chaud Sachet 1X340Gr 20P</c:v>
                </c:pt>
              </c:strCache>
            </c:strRef>
          </c:cat>
          <c:val>
            <c:numRef>
              <c:f>Sheet1!$C$2:$C$7</c:f>
              <c:numCache>
                <c:formatCode>General</c:formatCode>
                <c:ptCount val="6"/>
                <c:pt idx="0">
                  <c:v>0.3783003752382448</c:v>
                </c:pt>
                <c:pt idx="1">
                  <c:v>0.7540899588178398</c:v>
                </c:pt>
                <c:pt idx="2">
                  <c:v>0.9202405183102285</c:v>
                </c:pt>
                <c:pt idx="3">
                  <c:v>0.9549998835199744</c:v>
                </c:pt>
                <c:pt idx="4">
                  <c:v>0.978458960635791</c:v>
                </c:pt>
                <c:pt idx="5">
                  <c:v>0.9999999999999999</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7</c:f>
              <c:strCache>
                <c:ptCount val="6"/>
                <c:pt idx="0">
                  <c:v>Toastinette Fromage Fondu Tranche A Chaud Sachet 1X200Gr 10P</c:v>
                </c:pt>
                <c:pt idx="1">
                  <c:v>Toastinette Cheddar Fondu Tranche A Chaud Sachet 1X200Gr 10P</c:v>
                </c:pt>
                <c:pt idx="2">
                  <c:v>Boursin Cuisine Sauce Fromage Afh 1X240Gr 1P</c:v>
                </c:pt>
                <c:pt idx="3">
                  <c:v>La Vache Qui Rit Le Fondant Fromage Fondu 1X200Gr 1P</c:v>
                </c:pt>
                <c:pt idx="4">
                  <c:v>Toastinette Fromage Fondu Tranche A Chaud Sachet 1X340Gr 20P</c:v>
                </c:pt>
                <c:pt idx="5">
                  <c:v>Toastinette Cheddar Fondu Tranche A Chaud Sachet 1X340Gr 20P</c:v>
                </c:pt>
              </c:strCache>
            </c:strRef>
          </c:cat>
          <c:val>
            <c:numRef>
              <c:f>Sheet1!$D$2:$D$7</c:f>
              <c:numCache>
                <c:formatCode>General</c:formatCode>
                <c:ptCount val="6"/>
                <c:pt idx="0">
                  <c:v>4384.49</c:v>
                </c:pt>
                <c:pt idx="1">
                  <c:v>4355.39</c:v>
                </c:pt>
                <c:pt idx="2">
                  <c:v>1964.9795918367347</c:v>
                </c:pt>
                <c:pt idx="3">
                  <c:v>682.8135593220339</c:v>
                </c:pt>
                <c:pt idx="4">
                  <c:v>1699.3125</c:v>
                </c:pt>
                <c:pt idx="5">
                  <c:v>1560.375</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President</c:v>
                </c:pt>
                <c:pt idx="2">
                  <c:v>Soignon</c:v>
                </c:pt>
                <c:pt idx="3">
                  <c:v>St Moret</c:v>
                </c:pt>
                <c:pt idx="4">
                  <c:v>Caprice Des Dieux</c:v>
                </c:pt>
                <c:pt idx="5">
                  <c:v>Coeur De Lion</c:v>
                </c:pt>
                <c:pt idx="6">
                  <c:v>La Vache Qui Rit</c:v>
                </c:pt>
                <c:pt idx="7">
                  <c:v>Kiri</c:v>
                </c:pt>
                <c:pt idx="8">
                  <c:v>Boursin</c:v>
                </c:pt>
                <c:pt idx="9">
                  <c:v>Others</c:v>
                </c:pt>
              </c:strCache>
            </c:strRef>
          </c:cat>
          <c:val>
            <c:numRef>
              <c:f>Sheet1!$B$2:$B$11</c:f>
              <c:numCache>
                <c:formatCode>General</c:formatCode>
                <c:ptCount val="10"/>
                <c:pt idx="0">
                  <c:v>0.32793847300047146</c:v>
                </c:pt>
                <c:pt idx="1">
                  <c:v>0.06998456390887578</c:v>
                </c:pt>
                <c:pt idx="2">
                  <c:v>0.05920681713386338</c:v>
                </c:pt>
                <c:pt idx="3">
                  <c:v>0.05263803571309333</c:v>
                </c:pt>
                <c:pt idx="4">
                  <c:v>0.052232049199322006</c:v>
                </c:pt>
                <c:pt idx="5">
                  <c:v>0.0405900220309525</c:v>
                </c:pt>
                <c:pt idx="6">
                  <c:v>0.03981741117971609</c:v>
                </c:pt>
                <c:pt idx="7">
                  <c:v>0.030066755540740637</c:v>
                </c:pt>
                <c:pt idx="8">
                  <c:v>0.027444419643948496</c:v>
                </c:pt>
                <c:pt idx="9">
                  <c:v>0.30008145264901626</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President</c:v>
                </c:pt>
                <c:pt idx="2">
                  <c:v>Soignon</c:v>
                </c:pt>
                <c:pt idx="3">
                  <c:v>St Moret</c:v>
                </c:pt>
                <c:pt idx="4">
                  <c:v>Caprice Des Dieux</c:v>
                </c:pt>
                <c:pt idx="5">
                  <c:v>Coeur De Lion</c:v>
                </c:pt>
                <c:pt idx="6">
                  <c:v>La Vache Qui Rit</c:v>
                </c:pt>
                <c:pt idx="7">
                  <c:v>Kiri</c:v>
                </c:pt>
                <c:pt idx="8">
                  <c:v>Boursin</c:v>
                </c:pt>
                <c:pt idx="9">
                  <c:v>Others</c:v>
                </c:pt>
              </c:strCache>
            </c:strRef>
          </c:cat>
          <c:val>
            <c:numRef>
              <c:f>Sheet1!$C$2:$C$11</c:f>
              <c:numCache>
                <c:formatCode>General</c:formatCode>
                <c:ptCount val="10"/>
                <c:pt idx="0">
                  <c:v>0.22820925101895825</c:v>
                </c:pt>
                <c:pt idx="1">
                  <c:v>0.04468459036009424</c:v>
                </c:pt>
                <c:pt idx="2">
                  <c:v>0.05496765508731258</c:v>
                </c:pt>
                <c:pt idx="3">
                  <c:v>0.030923980106943878</c:v>
                </c:pt>
                <c:pt idx="4">
                  <c:v>0.034364132670231466</c:v>
                </c:pt>
                <c:pt idx="5">
                  <c:v>0.02512807089705718</c:v>
                </c:pt>
                <c:pt idx="6">
                  <c:v>0.03223273379949894</c:v>
                </c:pt>
                <c:pt idx="7">
                  <c:v>0.04221665482556183</c:v>
                </c:pt>
                <c:pt idx="8">
                  <c:v>0.05668773136895637</c:v>
                </c:pt>
                <c:pt idx="9">
                  <c:v>0.4505851998653854</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President</c:v>
                </c:pt>
                <c:pt idx="2">
                  <c:v>Soignon</c:v>
                </c:pt>
                <c:pt idx="3">
                  <c:v>St Moret</c:v>
                </c:pt>
                <c:pt idx="4">
                  <c:v>Caprice Des Dieux</c:v>
                </c:pt>
                <c:pt idx="5">
                  <c:v>Coeur De Lion</c:v>
                </c:pt>
                <c:pt idx="6">
                  <c:v>La Vache Qui Rit</c:v>
                </c:pt>
                <c:pt idx="7">
                  <c:v>Kiri</c:v>
                </c:pt>
                <c:pt idx="8">
                  <c:v>Boursin</c:v>
                </c:pt>
                <c:pt idx="9">
                  <c:v>Others</c:v>
                </c:pt>
              </c:strCache>
            </c:strRef>
          </c:cat>
          <c:val>
            <c:numRef>
              <c:f>Sheet1!$D$2:$D$11</c:f>
              <c:numCache>
                <c:formatCode>General</c:formatCode>
                <c:ptCount val="10"/>
                <c:pt idx="0">
                  <c:v>69.58904483849022</c:v>
                </c:pt>
                <c:pt idx="1">
                  <c:v>63.84920883164513</c:v>
                </c:pt>
                <c:pt idx="2">
                  <c:v>92.84007779549053</c:v>
                </c:pt>
                <c:pt idx="3">
                  <c:v>58.74835504025422</c:v>
                </c:pt>
                <c:pt idx="4">
                  <c:v>65.79127795483377</c:v>
                </c:pt>
                <c:pt idx="5">
                  <c:v>61.9070146793599</c:v>
                </c:pt>
                <c:pt idx="6">
                  <c:v>80.9513548081173</c:v>
                </c:pt>
                <c:pt idx="7">
                  <c:v>140.40974513647808</c:v>
                </c:pt>
                <c:pt idx="8">
                  <c:v>206.55467342504377</c:v>
                </c:pt>
                <c:pt idx="9">
                  <c:v>150.154298403907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c:f>
              <c:strCache>
                <c:ptCount val="3"/>
                <c:pt idx="0">
                  <c:v>Toastinette Cheddar Fondu Tranche A Chaud Sachet 1X200Gr 10P</c:v>
                </c:pt>
                <c:pt idx="1">
                  <c:v>Toastinette Fromage Fondu Tranche A Chaud Sachet 1X200Gr 10P</c:v>
                </c:pt>
                <c:pt idx="2">
                  <c:v>Boursin Cuisine Sauce Fromage Afh 1X240Gr 1P</c:v>
                </c:pt>
              </c:strCache>
            </c:strRef>
          </c:cat>
          <c:val>
            <c:numRef>
              <c:f>Sheet1!$B$2:$B$4</c:f>
              <c:numCache>
                <c:formatCode>General</c:formatCode>
                <c:ptCount val="3"/>
                <c:pt idx="0">
                  <c:v>0.97</c:v>
                </c:pt>
                <c:pt idx="1">
                  <c:v>0.79</c:v>
                </c:pt>
                <c:pt idx="2">
                  <c:v>0.72</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7ECAC4"/>
              </a:solidFill>
            </c:spPr>
            <c:extLst>
              <c:ext xmlns:c16="http://schemas.microsoft.com/office/drawing/2014/chart" uri="{C3380CC4-5D6E-409C-BE32-E72D297353CC}">
                <c16:uniqueId val="{00000008-D8F4-40C6-A5E0-DB4B53CFB1F3}"/>
              </c:ext>
            </c:extLst>
          </c:dPt>
          <c:dPt>
            <c:idx val="2"/>
            <c:invertIfNegative val="0"/>
            <c:bubble3D val="0"/>
            <c:spPr>
              <a:solidFill>
                <a:srgbClr val="AEABAB"/>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c:f>
              <c:strCache>
                <c:ptCount val="3"/>
                <c:pt idx="0">
                  <c:v>Toastinette Cheddar Fondu Tranche A Chaud Sachet 1X200Gr 10P</c:v>
                </c:pt>
                <c:pt idx="1">
                  <c:v>Toastinette Fromage Fondu Tranche A Chaud Sachet 1X200Gr 10P</c:v>
                </c:pt>
                <c:pt idx="2">
                  <c:v>Boursin Cuisine Sauce Fromage Afh 1X240Gr 1P</c:v>
                </c:pt>
              </c:strCache>
            </c:strRef>
          </c:cat>
          <c:val>
            <c:numRef>
              <c:f>Sheet1!$C$2:$C$4</c:f>
              <c:numCache>
                <c:formatCode>General</c:formatCode>
                <c:ptCount val="3"/>
                <c:pt idx="0">
                  <c:v>0.4801030913960405</c:v>
                </c:pt>
                <c:pt idx="1">
                  <c:v>0.8536129093037965</c:v>
                </c:pt>
                <c:pt idx="2">
                  <c:v>0.9999676998236948</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4</c:f>
              <c:strCache>
                <c:ptCount val="3"/>
                <c:pt idx="0">
                  <c:v>Toastinette Cheddar Fondu Tranche A Chaud Sachet 1X200Gr 10P</c:v>
                </c:pt>
                <c:pt idx="1">
                  <c:v>Toastinette Fromage Fondu Tranche A Chaud Sachet 1X200Gr 10P</c:v>
                </c:pt>
                <c:pt idx="2">
                  <c:v>Boursin Cuisine Sauce Fromage Afh 1X240Gr 1P</c:v>
                </c:pt>
              </c:strCache>
            </c:strRef>
          </c:cat>
          <c:val>
            <c:numRef>
              <c:f>Sheet1!$D$2:$D$4</c:f>
              <c:numCache>
                <c:formatCode>General</c:formatCode>
                <c:ptCount val="3"/>
                <c:pt idx="0">
                  <c:v>3677.639175257732</c:v>
                </c:pt>
                <c:pt idx="1">
                  <c:v>3513.025316455696</c:v>
                </c:pt>
                <c:pt idx="2">
                  <c:v>1510.361111111111</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c:f>
              <c:strCache>
                <c:ptCount val="3"/>
                <c:pt idx="0">
                  <c:v>Boursin Cuisine Sauce Fromage Afh 1X240Gr 1P</c:v>
                </c:pt>
                <c:pt idx="1">
                  <c:v>Toastinette Cheddar Fondu Tranche A Chaud Sachet 1X200Gr 10P</c:v>
                </c:pt>
                <c:pt idx="2">
                  <c:v>Toastinette Fromage Fondu Tranche A Chaud Sachet 1X200Gr 10P</c:v>
                </c:pt>
              </c:strCache>
            </c:strRef>
          </c:cat>
          <c:val>
            <c:numRef>
              <c:f>Sheet1!$B$2:$B$4</c:f>
              <c:numCache>
                <c:formatCode>General</c:formatCode>
                <c:ptCount val="3"/>
                <c:pt idx="0">
                  <c:v>0.32</c:v>
                </c:pt>
                <c:pt idx="1">
                  <c:v>0.18</c:v>
                </c:pt>
                <c:pt idx="2">
                  <c:v>0.05</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7ECAC4"/>
              </a:solidFill>
            </c:spPr>
            <c:extLst>
              <c:ext xmlns:c16="http://schemas.microsoft.com/office/drawing/2014/chart" uri="{C3380CC4-5D6E-409C-BE32-E72D297353CC}">
                <c16:uniqueId val="{00000008-D8F4-40C6-A5E0-DB4B53CFB1F3}"/>
              </c:ext>
            </c:extLst>
          </c:dPt>
          <c:dPt>
            <c:idx val="2"/>
            <c:invertIfNegative val="0"/>
            <c:bubble3D val="0"/>
            <c:spPr>
              <a:solidFill>
                <a:srgbClr val="AEABAB"/>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c:f>
              <c:strCache>
                <c:ptCount val="3"/>
                <c:pt idx="0">
                  <c:v>Boursin Cuisine Sauce Fromage Afh 1X240Gr 1P</c:v>
                </c:pt>
                <c:pt idx="1">
                  <c:v>Toastinette Cheddar Fondu Tranche A Chaud Sachet 1X200Gr 10P</c:v>
                </c:pt>
                <c:pt idx="2">
                  <c:v>Toastinette Fromage Fondu Tranche A Chaud Sachet 1X200Gr 10P</c:v>
                </c:pt>
              </c:strCache>
            </c:strRef>
          </c:cat>
          <c:val>
            <c:numRef>
              <c:f>Sheet1!$C$2:$C$4</c:f>
              <c:numCache>
                <c:formatCode>General</c:formatCode>
                <c:ptCount val="3"/>
                <c:pt idx="0">
                  <c:v>0.5519266055045872</c:v>
                </c:pt>
                <c:pt idx="1">
                  <c:v>0.8555167041717154</c:v>
                </c:pt>
                <c:pt idx="2">
                  <c:v>0.9996607235589406</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4</c:f>
              <c:strCache>
                <c:ptCount val="3"/>
                <c:pt idx="0">
                  <c:v>Boursin Cuisine Sauce Fromage Afh 1X240Gr 1P</c:v>
                </c:pt>
                <c:pt idx="1">
                  <c:v>Toastinette Cheddar Fondu Tranche A Chaud Sachet 1X200Gr 10P</c:v>
                </c:pt>
                <c:pt idx="2">
                  <c:v>Toastinette Fromage Fondu Tranche A Chaud Sachet 1X200Gr 10P</c:v>
                </c:pt>
              </c:strCache>
            </c:strRef>
          </c:cat>
          <c:val>
            <c:numRef>
              <c:f>Sheet1!$D$2:$D$4</c:f>
              <c:numCache>
                <c:formatCode>General</c:formatCode>
                <c:ptCount val="3"/>
                <c:pt idx="0">
                  <c:v>2491.0</c:v>
                </c:pt>
                <c:pt idx="1">
                  <c:v>2435.8888888888887</c:v>
                </c:pt>
                <c:pt idx="2">
                  <c:v>4163.6</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2</c:f>
              <c:strCache>
                <c:ptCount val="1"/>
                <c:pt idx="0">
                  <c:v>Boursin Cuisine Sauce Fromage Afh 1X240Gr 1P</c:v>
                </c:pt>
              </c:strCache>
            </c:strRef>
          </c:cat>
          <c:val>
            <c:numRef>
              <c:f>Sheet1!$B$2:$B$2</c:f>
              <c:numCache>
                <c:formatCode>General</c:formatCode>
                <c:ptCount val="1"/>
                <c:pt idx="0">
                  <c:v>0.88</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AEABAB"/>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2</c:f>
              <c:strCache>
                <c:ptCount val="1"/>
                <c:pt idx="0">
                  <c:v>Boursin Cuisine Sauce Fromage Afh 1X240Gr 1P</c:v>
                </c:pt>
              </c:strCache>
            </c:strRef>
          </c:cat>
          <c:val>
            <c:numRef>
              <c:f>Sheet1!$C$2:$C$2</c:f>
              <c:numCache>
                <c:formatCode>General</c:formatCode>
                <c:ptCount val="1"/>
                <c:pt idx="0">
                  <c:v>0.9985975134921528</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2</c:f>
              <c:strCache>
                <c:ptCount val="1"/>
                <c:pt idx="0">
                  <c:v>Boursin Cuisine Sauce Fromage Afh 1X240Gr 1P</c:v>
                </c:pt>
              </c:strCache>
            </c:strRef>
          </c:cat>
          <c:val>
            <c:numRef>
              <c:f>Sheet1!$D$2:$D$2</c:f>
              <c:numCache>
                <c:formatCode>General</c:formatCode>
                <c:ptCount val="1"/>
                <c:pt idx="0">
                  <c:v>5857.977272727273</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2</c:f>
              <c:strCache>
                <c:ptCount val="1"/>
                <c:pt idx="0">
                  <c:v>Boursin Cuisine Sauce Fromage Afh 1X240Gr 1P</c:v>
                </c:pt>
              </c:strCache>
            </c:strRef>
          </c:cat>
          <c:val>
            <c:numRef>
              <c:f>Sheet1!$B$2:$B$2</c:f>
              <c:numCache>
                <c:formatCode>General</c:formatCode>
                <c:ptCount val="1"/>
                <c:pt idx="0">
                  <c:v>0.96</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AEABAB"/>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2</c:f>
              <c:strCache>
                <c:ptCount val="1"/>
                <c:pt idx="0">
                  <c:v>Boursin Cuisine Sauce Fromage Afh 1X240Gr 1P</c:v>
                </c:pt>
              </c:strCache>
            </c:strRef>
          </c:cat>
          <c:val>
            <c:numRef>
              <c:f>Sheet1!$C$2:$C$2</c:f>
              <c:numCache>
                <c:formatCode>General</c:formatCode>
                <c:ptCount val="1"/>
                <c:pt idx="0">
                  <c:v>1.0</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2</c:f>
              <c:strCache>
                <c:ptCount val="1"/>
                <c:pt idx="0">
                  <c:v>Boursin Cuisine Sauce Fromage Afh 1X240Gr 1P</c:v>
                </c:pt>
              </c:strCache>
            </c:strRef>
          </c:cat>
          <c:val>
            <c:numRef>
              <c:f>Sheet1!$D$2:$D$2</c:f>
              <c:numCache>
                <c:formatCode>General</c:formatCode>
                <c:ptCount val="1"/>
                <c:pt idx="0">
                  <c:v>819.71875</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5</c:f>
              <c:strCache>
                <c:ptCount val="4"/>
                <c:pt idx="0">
                  <c:v>Boursin Cuisine Sauce Fromage Afh 1X240Gr 1P</c:v>
                </c:pt>
                <c:pt idx="1">
                  <c:v>Toastinette Fromage Fondu Tranche A Chaud Sachet 1X200Gr 10P</c:v>
                </c:pt>
                <c:pt idx="2">
                  <c:v>Toastinette Fromage Fondu Tranche A Chaud Sachet 1X340Gr 20P</c:v>
                </c:pt>
                <c:pt idx="3">
                  <c:v>Toastinette Cheddar Fondu Tranche A Chaud Sachet 1X340Gr 20P</c:v>
                </c:pt>
              </c:strCache>
            </c:strRef>
          </c:cat>
          <c:val>
            <c:numRef>
              <c:f>Sheet1!$B$2:$B$5</c:f>
              <c:numCache>
                <c:formatCode>General</c:formatCode>
                <c:ptCount val="4"/>
                <c:pt idx="0">
                  <c:v>0.73</c:v>
                </c:pt>
                <c:pt idx="1">
                  <c:v>0.01</c:v>
                </c:pt>
                <c:pt idx="2">
                  <c:v>0.01</c:v>
                </c:pt>
                <c:pt idx="3">
                  <c:v>0.01</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AEABAB"/>
              </a:solidFill>
            </c:spPr>
            <c:extLst>
              <c:ext xmlns:c16="http://schemas.microsoft.com/office/drawing/2014/chart" uri="{C3380CC4-5D6E-409C-BE32-E72D297353CC}">
                <c16:uniqueId val="{00000006-D8F4-40C6-A5E0-DB4B53CFB1F3}"/>
              </c:ext>
            </c:extLst>
          </c:dPt>
          <c:dPt>
            <c:idx val="1"/>
            <c:invertIfNegative val="0"/>
            <c:bubble3D val="0"/>
            <c:spPr>
              <a:solidFill>
                <a:srgbClr val="AEABAB"/>
              </a:solidFill>
            </c:spPr>
            <c:extLst>
              <c:ext xmlns:c16="http://schemas.microsoft.com/office/drawing/2014/chart" uri="{C3380CC4-5D6E-409C-BE32-E72D297353CC}">
                <c16:uniqueId val="{00000008-D8F4-40C6-A5E0-DB4B53CFB1F3}"/>
              </c:ext>
            </c:extLst>
          </c:dPt>
          <c:dPt>
            <c:idx val="2"/>
            <c:invertIfNegative val="0"/>
            <c:bubble3D val="0"/>
            <c:spPr>
              <a:solidFill>
                <a:srgbClr val="AEABAB"/>
              </a:solidFill>
            </c:spPr>
            <c:extLst>
              <c:ext xmlns:c16="http://schemas.microsoft.com/office/drawing/2014/chart" uri="{C3380CC4-5D6E-409C-BE32-E72D297353CC}">
                <c16:uniqueId val="{00000006-E902-46E2-9A54-39A26B3DFDC1}"/>
              </c:ext>
            </c:extLst>
          </c:dPt>
          <c:dPt>
            <c:idx val="3"/>
            <c:invertIfNegative val="0"/>
            <c:bubble3D val="0"/>
            <c:spPr>
              <a:solidFill>
                <a:srgbClr val="AEABAB"/>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5</c:f>
              <c:strCache>
                <c:ptCount val="4"/>
                <c:pt idx="0">
                  <c:v>Boursin Cuisine Sauce Fromage Afh 1X240Gr 1P</c:v>
                </c:pt>
                <c:pt idx="1">
                  <c:v>Toastinette Fromage Fondu Tranche A Chaud Sachet 1X200Gr 10P</c:v>
                </c:pt>
                <c:pt idx="2">
                  <c:v>Toastinette Fromage Fondu Tranche A Chaud Sachet 1X340Gr 20P</c:v>
                </c:pt>
                <c:pt idx="3">
                  <c:v>Toastinette Cheddar Fondu Tranche A Chaud Sachet 1X340Gr 20P</c:v>
                </c:pt>
              </c:strCache>
            </c:strRef>
          </c:cat>
          <c:val>
            <c:numRef>
              <c:f>Sheet1!$C$2:$C$5</c:f>
              <c:numCache>
                <c:formatCode>General</c:formatCode>
                <c:ptCount val="4"/>
                <c:pt idx="0">
                  <c:v>0.9971226148563481</c:v>
                </c:pt>
                <c:pt idx="1">
                  <c:v>0.9996870517668537</c:v>
                </c:pt>
                <c:pt idx="2">
                  <c:v>0.9998956839222847</c:v>
                </c:pt>
                <c:pt idx="3">
                  <c:v>1.000000000000000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5</c:f>
              <c:strCache>
                <c:ptCount val="4"/>
                <c:pt idx="0">
                  <c:v>Boursin Cuisine Sauce Fromage Afh 1X240Gr 1P</c:v>
                </c:pt>
                <c:pt idx="1">
                  <c:v>Toastinette Fromage Fondu Tranche A Chaud Sachet 1X200Gr 10P</c:v>
                </c:pt>
                <c:pt idx="2">
                  <c:v>Toastinette Fromage Fondu Tranche A Chaud Sachet 1X340Gr 20P</c:v>
                </c:pt>
                <c:pt idx="3">
                  <c:v>Toastinette Cheddar Fondu Tranche A Chaud Sachet 1X340Gr 20P</c:v>
                </c:pt>
              </c:strCache>
            </c:strRef>
          </c:cat>
          <c:val>
            <c:numRef>
              <c:f>Sheet1!$D$2:$D$5</c:f>
              <c:numCache>
                <c:formatCode>General</c:formatCode>
                <c:ptCount val="4"/>
                <c:pt idx="0">
                  <c:v>1571.2876712328766</c:v>
                </c:pt>
                <c:pt idx="1">
                  <c:v>139.0</c:v>
                </c:pt>
                <c:pt idx="2">
                  <c:v>24.0</c:v>
                </c:pt>
                <c:pt idx="3">
                  <c:v>12.0</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37</c:f>
              <c:strCache>
                <c:ptCount val="36"/>
                <c:pt idx="0">
                  <c:v>La Vache Qui Rit Nature Fromage Fondu Boite Ronde 1X512Gr 32P</c:v>
                </c:pt>
                <c:pt idx="1">
                  <c:v>Mini Babybel Rouge Filet St Paulin Ferme 1X264Gr 12P</c:v>
                </c:pt>
                <c:pt idx="2">
                  <c:v>Mini Babybel Rouge Filet St Paulin Ferme 1X132Gr 6P</c:v>
                </c:pt>
                <c:pt idx="3">
                  <c:v>La Vache Qui Rit Nature Fromage Fondu Boite Ronde 1X384Gr 24P</c:v>
                </c:pt>
                <c:pt idx="4">
                  <c:v>La Vache Qui Rit Nature Fromage Fondu Boite Ronde 1X192Gr 12P</c:v>
                </c:pt>
                <c:pt idx="5">
                  <c:v>Kiri Creme Fromage Blanc Frais Carre 1X432Gr 24P</c:v>
                </c:pt>
                <c:pt idx="6">
                  <c:v>Kiri Creme Fromage Blanc Frais Carre 1X144Gr 8P</c:v>
                </c:pt>
                <c:pt idx="7">
                  <c:v>Kiri Creme Fromage Blanc Frais Carre 1X216Gr 12P</c:v>
                </c:pt>
                <c:pt idx="8">
                  <c:v>Kiri Gouter Fromage Blanc Dips Boite 1X175Gr 5P</c:v>
                </c:pt>
                <c:pt idx="9">
                  <c:v>Kiri Gouter Fromage Blanc Dips Boite 1X280Gr 8P</c:v>
                </c:pt>
                <c:pt idx="10">
                  <c:v>La Vache Qui Rit Pik Et Croq' Fromage Fondu Dips Boite 1X175Gr 5P</c:v>
                </c:pt>
                <c:pt idx="11">
                  <c:v>Mini Babybel Rouge Filet St Paulin Ferme 1X440Gr 20P</c:v>
                </c:pt>
                <c:pt idx="12">
                  <c:v>La Vache Qui Rit Nature Fromage Fondu Boite Ronde 1X128Gr 8P</c:v>
                </c:pt>
                <c:pt idx="13">
                  <c:v>Mini Babybel Rouge Filet Soft Cheese Enfant 352G</c:v>
                </c:pt>
                <c:pt idx="14">
                  <c:v>La Vache Qui Rit Nature Fromage Fondu Boite Ronde 1X512Gr 24+8P</c:v>
                </c:pt>
                <c:pt idx="15">
                  <c:v>Kiri Creme Fromage Blanc Frais Carre 1X432Gr 18+6P</c:v>
                </c:pt>
                <c:pt idx="16">
                  <c:v>Mini Babybel Rouge Filet Soft Cheese Enfant 484G</c:v>
                </c:pt>
                <c:pt idx="17">
                  <c:v>Mini Babybel Rouge Filet St Paulin Ferme 1X396Gr 12+6P</c:v>
                </c:pt>
                <c:pt idx="18">
                  <c:v>Mini Babybel Aros St Paulin Ferme Assortis Filet 1X180Gr 9P</c:v>
                </c:pt>
                <c:pt idx="19">
                  <c:v>Babybel Mini Rolls St Paulin Ferme Sachet 1X85Gr 5P</c:v>
                </c:pt>
                <c:pt idx="20">
                  <c:v>La Vache Qui Rit Pik Et Croq' Fromage Fondu Dips Boite 1X280Gr 8P</c:v>
                </c:pt>
                <c:pt idx="21">
                  <c:v>La Vache Qui Rit Allegee Fromage Fondu Boite Ronde Allege 1X267Gr 16P</c:v>
                </c:pt>
                <c:pt idx="22">
                  <c:v>Kiri Bio Fromage Blanc Frais Carre 1X144Gr 8P</c:v>
                </c:pt>
                <c:pt idx="23">
                  <c:v>Mini Babybel Aros Soft Cheese Enfant 180G</c:v>
                </c:pt>
                <c:pt idx="24">
                  <c:v>Mini Babybel Aros St Paulin Ferme Raclette Filet 1X132Gr 6P</c:v>
                </c:pt>
                <c:pt idx="25">
                  <c:v>La Vache Qui Rit Bio Fromage Fondu Boite Ronde 1X128Gr 8P</c:v>
                </c:pt>
                <c:pt idx="26">
                  <c:v>Mini Babybel Aros Soft Cheese Enfant 110G</c:v>
                </c:pt>
                <c:pt idx="27">
                  <c:v>Mini Babybel Aros St Paulin Ferme Emmental Filet 1X120Gr 6P</c:v>
                </c:pt>
                <c:pt idx="28">
                  <c:v>Mini Babybel Rouge Filet St Paulin Ferme Sachet 1X40Gr 1P</c:v>
                </c:pt>
                <c:pt idx="29">
                  <c:v>Mini Babybel Aros Soft Cheese Enfant 120G</c:v>
                </c:pt>
                <c:pt idx="30">
                  <c:v>La Vache Qui Rit Aro Fromage Fondu Boite Ronde Jambon 1X133Gr 8P</c:v>
                </c:pt>
                <c:pt idx="31">
                  <c:v>La Vache Qui Rit Pik Et Croq' Fromage Fondu Dips Boite 1X35Gr 1P</c:v>
                </c:pt>
                <c:pt idx="32">
                  <c:v>Kiri Chevre Fromage Blanc Frais Carre 1X144Gr 8P</c:v>
                </c:pt>
                <c:pt idx="33">
                  <c:v>Mini Babybel Bio St Paulin Ferme Filet 1X100Gr 5P</c:v>
                </c:pt>
                <c:pt idx="34">
                  <c:v>Mini Babybel Rouge Filet St Paulin Ferme 1X110Gr 5P</c:v>
                </c:pt>
                <c:pt idx="35">
                  <c:v>Mini Babybel Rouge Filet St Paulin Ferme 1X396Gr 18P</c:v>
                </c:pt>
              </c:strCache>
            </c:strRef>
          </c:cat>
          <c:val>
            <c:numRef>
              <c:f>Sheet1!$B$2:$B$37</c:f>
              <c:numCache>
                <c:formatCode>General</c:formatCode>
                <c:ptCount val="36"/>
                <c:pt idx="0">
                  <c:v>0.827</c:v>
                </c:pt>
                <c:pt idx="1">
                  <c:v>0.868</c:v>
                </c:pt>
                <c:pt idx="2">
                  <c:v>0.99</c:v>
                </c:pt>
                <c:pt idx="3">
                  <c:v>0.898</c:v>
                </c:pt>
                <c:pt idx="4">
                  <c:v>0.981</c:v>
                </c:pt>
                <c:pt idx="5">
                  <c:v>0.778</c:v>
                </c:pt>
                <c:pt idx="6">
                  <c:v>0.99</c:v>
                </c:pt>
                <c:pt idx="7">
                  <c:v>0.834</c:v>
                </c:pt>
                <c:pt idx="8">
                  <c:v>0.949</c:v>
                </c:pt>
                <c:pt idx="9">
                  <c:v>0.732</c:v>
                </c:pt>
                <c:pt idx="10">
                  <c:v>0.908</c:v>
                </c:pt>
                <c:pt idx="11">
                  <c:v>0.82</c:v>
                </c:pt>
                <c:pt idx="12">
                  <c:v>0.694</c:v>
                </c:pt>
                <c:pt idx="13">
                  <c:v>0.808</c:v>
                </c:pt>
                <c:pt idx="14">
                  <c:v>0.725</c:v>
                </c:pt>
                <c:pt idx="15">
                  <c:v>0.716</c:v>
                </c:pt>
                <c:pt idx="16">
                  <c:v>0.443</c:v>
                </c:pt>
                <c:pt idx="17">
                  <c:v>0.736</c:v>
                </c:pt>
                <c:pt idx="18">
                  <c:v>0.692</c:v>
                </c:pt>
                <c:pt idx="19">
                  <c:v>0.618</c:v>
                </c:pt>
                <c:pt idx="20">
                  <c:v>0.434</c:v>
                </c:pt>
                <c:pt idx="21">
                  <c:v>0.495</c:v>
                </c:pt>
                <c:pt idx="22">
                  <c:v>0.502</c:v>
                </c:pt>
                <c:pt idx="23">
                  <c:v>0.697</c:v>
                </c:pt>
                <c:pt idx="24">
                  <c:v>0.423</c:v>
                </c:pt>
                <c:pt idx="25">
                  <c:v>0.482</c:v>
                </c:pt>
                <c:pt idx="26">
                  <c:v>0.645</c:v>
                </c:pt>
                <c:pt idx="27">
                  <c:v>0.319</c:v>
                </c:pt>
                <c:pt idx="28">
                  <c:v>0.128</c:v>
                </c:pt>
                <c:pt idx="29">
                  <c:v>0.31</c:v>
                </c:pt>
                <c:pt idx="30">
                  <c:v>0.037</c:v>
                </c:pt>
                <c:pt idx="31">
                  <c:v>0.008</c:v>
                </c:pt>
                <c:pt idx="32">
                  <c:v>0.267</c:v>
                </c:pt>
                <c:pt idx="33">
                  <c:v>0.316</c:v>
                </c:pt>
                <c:pt idx="34">
                  <c:v>0.023</c:v>
                </c:pt>
                <c:pt idx="35">
                  <c:v>0.005</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7ECAC4"/>
              </a:solidFill>
            </c:spPr>
            <c:extLst>
              <c:ext xmlns:c16="http://schemas.microsoft.com/office/drawing/2014/chart" uri="{C3380CC4-5D6E-409C-BE32-E72D297353CC}">
                <c16:uniqueId val="{00000015-FA3E-4872-B6E1-C4ABDF5766E2}"/>
              </c:ext>
            </c:extLst>
          </c:dPt>
          <c:dPt>
            <c:idx val="10"/>
            <c:invertIfNegative val="1"/>
            <c:bubble3D val="0"/>
            <c:spPr>
              <a:solidFill>
                <a:srgbClr val="7ECAC4"/>
              </a:solidFill>
            </c:spPr>
            <c:extLst>
              <c:ext xmlns:c16="http://schemas.microsoft.com/office/drawing/2014/chart" uri="{C3380CC4-5D6E-409C-BE32-E72D297353CC}">
                <c16:uniqueId val="{00000017-FA3E-4872-B6E1-C4ABDF5766E2}"/>
              </c:ext>
            </c:extLst>
          </c:dPt>
          <c:dPt>
            <c:idx val="11"/>
            <c:invertIfNegative val="1"/>
            <c:bubble3D val="0"/>
            <c:spPr>
              <a:solidFill>
                <a:srgbClr val="7ECAC4"/>
              </a:solidFill>
            </c:spPr>
            <c:extLst>
              <c:ext xmlns:c16="http://schemas.microsoft.com/office/drawing/2014/chart" uri="{C3380CC4-5D6E-409C-BE32-E72D297353CC}">
                <c16:uniqueId val="{00000019-FA3E-4872-B6E1-C4ABDF5766E2}"/>
              </c:ext>
            </c:extLst>
          </c:dPt>
          <c:dPt>
            <c:idx val="12"/>
            <c:invertIfNegative val="1"/>
            <c:bubble3D val="0"/>
            <c:spPr>
              <a:solidFill>
                <a:srgbClr val="7ECAC4"/>
              </a:solidFill>
            </c:spPr>
            <c:extLst>
              <c:ext xmlns:c16="http://schemas.microsoft.com/office/drawing/2014/chart" uri="{C3380CC4-5D6E-409C-BE32-E72D297353CC}">
                <c16:uniqueId val="{0000001B-FA3E-4872-B6E1-C4ABDF5766E2}"/>
              </c:ext>
            </c:extLst>
          </c:dPt>
          <c:dPt>
            <c:idx val="13"/>
            <c:invertIfNegative val="1"/>
            <c:bubble3D val="0"/>
            <c:spPr>
              <a:solidFill>
                <a:srgbClr val="7ECAC4"/>
              </a:solidFill>
            </c:spPr>
            <c:extLst>
              <c:ext xmlns:c16="http://schemas.microsoft.com/office/drawing/2014/chart" uri="{C3380CC4-5D6E-409C-BE32-E72D297353CC}">
                <c16:uniqueId val="{0000001D-FA3E-4872-B6E1-C4ABDF5766E2}"/>
              </c:ext>
            </c:extLst>
          </c:dPt>
          <c:dPt>
            <c:idx val="14"/>
            <c:invertIfNegative val="1"/>
            <c:bubble3D val="0"/>
            <c:spPr>
              <a:solidFill>
                <a:srgbClr val="7ECAC4"/>
              </a:solidFill>
            </c:spPr>
            <c:extLst>
              <c:ext xmlns:c16="http://schemas.microsoft.com/office/drawing/2014/chart" uri="{C3380CC4-5D6E-409C-BE32-E72D297353CC}">
                <c16:uniqueId val="{0000001F-FA3E-4872-B6E1-C4ABDF5766E2}"/>
              </c:ext>
            </c:extLst>
          </c:dPt>
          <c:dPt>
            <c:idx val="15"/>
            <c:invertIfNegative val="1"/>
            <c:bubble3D val="0"/>
            <c:spPr>
              <a:solidFill>
                <a:srgbClr val="7ECAC4"/>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AEABAB"/>
              </a:solidFill>
            </c:spPr>
            <c:extLst>
              <c:ext xmlns:c16="http://schemas.microsoft.com/office/drawing/2014/chart" uri="{C3380CC4-5D6E-409C-BE32-E72D297353CC}">
                <c16:uniqueId val="{00000025-FA3E-4872-B6E1-C4ABDF5766E2}"/>
              </c:ext>
            </c:extLst>
          </c:dPt>
          <c:dPt>
            <c:idx val="18"/>
            <c:invertIfNegative val="1"/>
            <c:bubble3D val="0"/>
            <c:spPr>
              <a:solidFill>
                <a:srgbClr val="AEABAB"/>
              </a:solidFill>
            </c:spPr>
            <c:extLst>
              <c:ext xmlns:c16="http://schemas.microsoft.com/office/drawing/2014/chart" uri="{C3380CC4-5D6E-409C-BE32-E72D297353CC}">
                <c16:uniqueId val="{00000027-FA3E-4872-B6E1-C4ABDF5766E2}"/>
              </c:ext>
            </c:extLst>
          </c:dPt>
          <c:dPt>
            <c:idx val="19"/>
            <c:invertIfNegative val="1"/>
            <c:bubble3D val="0"/>
            <c:spPr>
              <a:solidFill>
                <a:srgbClr val="AEABAB"/>
              </a:solidFill>
            </c:spPr>
            <c:extLst>
              <c:ext xmlns:c16="http://schemas.microsoft.com/office/drawing/2014/chart" uri="{C3380CC4-5D6E-409C-BE32-E72D297353CC}">
                <c16:uniqueId val="{00000029-FA3E-4872-B6E1-C4ABDF5766E2}"/>
              </c:ext>
            </c:extLst>
          </c:dPt>
          <c:dPt>
            <c:idx val="20"/>
            <c:invertIfNegative val="1"/>
            <c:bubble3D val="0"/>
            <c:spPr>
              <a:solidFill>
                <a:srgbClr val="AEABAB"/>
              </a:solidFill>
            </c:spPr>
            <c:extLst>
              <c:ext xmlns:c16="http://schemas.microsoft.com/office/drawing/2014/chart" uri="{C3380CC4-5D6E-409C-BE32-E72D297353CC}">
                <c16:uniqueId val="{0000002B-FA3E-4872-B6E1-C4ABDF5766E2}"/>
              </c:ext>
            </c:extLst>
          </c:dPt>
          <c:dPt>
            <c:idx val="21"/>
            <c:invertIfNegative val="1"/>
            <c:bubble3D val="0"/>
            <c:spPr>
              <a:solidFill>
                <a:srgbClr val="AEABAB"/>
              </a:solidFill>
            </c:spPr>
            <c:extLst>
              <c:ext xmlns:c16="http://schemas.microsoft.com/office/drawing/2014/chart" uri="{C3380CC4-5D6E-409C-BE32-E72D297353CC}">
                <c16:uniqueId val="{0000002D-FA3E-4872-B6E1-C4ABDF5766E2}"/>
              </c:ext>
            </c:extLst>
          </c:dPt>
          <c:dPt>
            <c:idx val="22"/>
            <c:invertIfNegative val="1"/>
            <c:bubble3D val="0"/>
            <c:spPr>
              <a:solidFill>
                <a:srgbClr val="AEABAB"/>
              </a:solidFill>
            </c:spPr>
            <c:extLst>
              <c:ext xmlns:c16="http://schemas.microsoft.com/office/drawing/2014/chart" uri="{C3380CC4-5D6E-409C-BE32-E72D297353CC}">
                <c16:uniqueId val="{0000002F-FA3E-4872-B6E1-C4ABDF5766E2}"/>
              </c:ext>
            </c:extLst>
          </c:dPt>
          <c:dPt>
            <c:idx val="23"/>
            <c:invertIfNegative val="1"/>
            <c:bubble3D val="0"/>
            <c:spPr>
              <a:solidFill>
                <a:srgbClr val="AEABAB"/>
              </a:solidFill>
            </c:spPr>
            <c:extLst>
              <c:ext xmlns:c16="http://schemas.microsoft.com/office/drawing/2014/chart" uri="{C3380CC4-5D6E-409C-BE32-E72D297353CC}">
                <c16:uniqueId val="{00000031-FA3E-4872-B6E1-C4ABDF5766E2}"/>
              </c:ext>
            </c:extLst>
          </c:dPt>
          <c:dPt>
            <c:idx val="24"/>
            <c:invertIfNegative val="1"/>
            <c:bubble3D val="0"/>
            <c:spPr>
              <a:solidFill>
                <a:srgbClr val="AEABAB"/>
              </a:solidFill>
            </c:spPr>
            <c:extLst>
              <c:ext xmlns:c16="http://schemas.microsoft.com/office/drawing/2014/chart" uri="{C3380CC4-5D6E-409C-BE32-E72D297353CC}">
                <c16:uniqueId val="{00000033-FA3E-4872-B6E1-C4ABDF5766E2}"/>
              </c:ext>
            </c:extLst>
          </c:dPt>
          <c:dPt>
            <c:idx val="25"/>
            <c:invertIfNegative val="1"/>
            <c:bubble3D val="0"/>
            <c:spPr>
              <a:solidFill>
                <a:srgbClr val="AEABAB"/>
              </a:solidFill>
            </c:spPr>
            <c:extLst>
              <c:ext xmlns:c16="http://schemas.microsoft.com/office/drawing/2014/chart" uri="{C3380CC4-5D6E-409C-BE32-E72D297353CC}">
                <c16:uniqueId val="{00000035-FA3E-4872-B6E1-C4ABDF5766E2}"/>
              </c:ext>
            </c:extLst>
          </c:dPt>
          <c:dPt>
            <c:idx val="26"/>
            <c:invertIfNegative val="1"/>
            <c:bubble3D val="0"/>
            <c:spPr>
              <a:solidFill>
                <a:srgbClr val="AEABAB"/>
              </a:solidFill>
            </c:spPr>
            <c:extLst>
              <c:ext xmlns:c16="http://schemas.microsoft.com/office/drawing/2014/chart" uri="{C3380CC4-5D6E-409C-BE32-E72D297353CC}">
                <c16:uniqueId val="{00000037-FA3E-4872-B6E1-C4ABDF5766E2}"/>
              </c:ext>
            </c:extLst>
          </c:dPt>
          <c:dPt>
            <c:idx val="27"/>
            <c:invertIfNegative val="1"/>
            <c:bubble3D val="0"/>
            <c:spPr>
              <a:solidFill>
                <a:srgbClr val="AEABAB"/>
              </a:solidFill>
            </c:spPr>
            <c:extLst>
              <c:ext xmlns:c16="http://schemas.microsoft.com/office/drawing/2014/chart" uri="{C3380CC4-5D6E-409C-BE32-E72D297353CC}">
                <c16:uniqueId val="{00000039-FA3E-4872-B6E1-C4ABDF5766E2}"/>
              </c:ext>
            </c:extLst>
          </c:dPt>
          <c:dPt>
            <c:idx val="28"/>
            <c:invertIfNegative val="1"/>
            <c:bubble3D val="0"/>
            <c:spPr>
              <a:solidFill>
                <a:srgbClr val="AEABAB"/>
              </a:solidFill>
            </c:spPr>
            <c:extLst>
              <c:ext xmlns:c16="http://schemas.microsoft.com/office/drawing/2014/chart" uri="{C3380CC4-5D6E-409C-BE32-E72D297353CC}">
                <c16:uniqueId val="{0000003B-FA3E-4872-B6E1-C4ABDF5766E2}"/>
              </c:ext>
            </c:extLst>
          </c:dPt>
          <c:dPt>
            <c:idx val="29"/>
            <c:invertIfNegative val="1"/>
            <c:bubble3D val="0"/>
            <c:spPr>
              <a:solidFill>
                <a:srgbClr val="AEABAB"/>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37</c:f>
              <c:strCache>
                <c:ptCount val="36"/>
                <c:pt idx="0">
                  <c:v>La Vache Qui Rit Nature Fromage Fondu Boite Ronde 1X512Gr 32P</c:v>
                </c:pt>
                <c:pt idx="1">
                  <c:v>Mini Babybel Rouge Filet St Paulin Ferme 1X264Gr 12P</c:v>
                </c:pt>
                <c:pt idx="2">
                  <c:v>Mini Babybel Rouge Filet St Paulin Ferme 1X132Gr 6P</c:v>
                </c:pt>
                <c:pt idx="3">
                  <c:v>La Vache Qui Rit Nature Fromage Fondu Boite Ronde 1X384Gr 24P</c:v>
                </c:pt>
                <c:pt idx="4">
                  <c:v>La Vache Qui Rit Nature Fromage Fondu Boite Ronde 1X192Gr 12P</c:v>
                </c:pt>
                <c:pt idx="5">
                  <c:v>Kiri Creme Fromage Blanc Frais Carre 1X432Gr 24P</c:v>
                </c:pt>
                <c:pt idx="6">
                  <c:v>Kiri Creme Fromage Blanc Frais Carre 1X144Gr 8P</c:v>
                </c:pt>
                <c:pt idx="7">
                  <c:v>Kiri Creme Fromage Blanc Frais Carre 1X216Gr 12P</c:v>
                </c:pt>
                <c:pt idx="8">
                  <c:v>Kiri Gouter Fromage Blanc Dips Boite 1X175Gr 5P</c:v>
                </c:pt>
                <c:pt idx="9">
                  <c:v>Kiri Gouter Fromage Blanc Dips Boite 1X280Gr 8P</c:v>
                </c:pt>
                <c:pt idx="10">
                  <c:v>La Vache Qui Rit Pik Et Croq' Fromage Fondu Dips Boite 1X175Gr 5P</c:v>
                </c:pt>
                <c:pt idx="11">
                  <c:v>Mini Babybel Rouge Filet St Paulin Ferme 1X440Gr 20P</c:v>
                </c:pt>
                <c:pt idx="12">
                  <c:v>La Vache Qui Rit Nature Fromage Fondu Boite Ronde 1X128Gr 8P</c:v>
                </c:pt>
                <c:pt idx="13">
                  <c:v>Mini Babybel Rouge Filet Soft Cheese Enfant 352G</c:v>
                </c:pt>
                <c:pt idx="14">
                  <c:v>La Vache Qui Rit Nature Fromage Fondu Boite Ronde 1X512Gr 24+8P</c:v>
                </c:pt>
                <c:pt idx="15">
                  <c:v>Kiri Creme Fromage Blanc Frais Carre 1X432Gr 18+6P</c:v>
                </c:pt>
                <c:pt idx="16">
                  <c:v>Mini Babybel Rouge Filet Soft Cheese Enfant 484G</c:v>
                </c:pt>
                <c:pt idx="17">
                  <c:v>Mini Babybel Rouge Filet St Paulin Ferme 1X396Gr 12+6P</c:v>
                </c:pt>
                <c:pt idx="18">
                  <c:v>Mini Babybel Aros St Paulin Ferme Assortis Filet 1X180Gr 9P</c:v>
                </c:pt>
                <c:pt idx="19">
                  <c:v>Babybel Mini Rolls St Paulin Ferme Sachet 1X85Gr 5P</c:v>
                </c:pt>
                <c:pt idx="20">
                  <c:v>La Vache Qui Rit Pik Et Croq' Fromage Fondu Dips Boite 1X280Gr 8P</c:v>
                </c:pt>
                <c:pt idx="21">
                  <c:v>La Vache Qui Rit Allegee Fromage Fondu Boite Ronde Allege 1X267Gr 16P</c:v>
                </c:pt>
                <c:pt idx="22">
                  <c:v>Kiri Bio Fromage Blanc Frais Carre 1X144Gr 8P</c:v>
                </c:pt>
                <c:pt idx="23">
                  <c:v>Mini Babybel Aros Soft Cheese Enfant 180G</c:v>
                </c:pt>
                <c:pt idx="24">
                  <c:v>Mini Babybel Aros St Paulin Ferme Raclette Filet 1X132Gr 6P</c:v>
                </c:pt>
                <c:pt idx="25">
                  <c:v>La Vache Qui Rit Bio Fromage Fondu Boite Ronde 1X128Gr 8P</c:v>
                </c:pt>
                <c:pt idx="26">
                  <c:v>Mini Babybel Aros Soft Cheese Enfant 110G</c:v>
                </c:pt>
                <c:pt idx="27">
                  <c:v>Mini Babybel Aros St Paulin Ferme Emmental Filet 1X120Gr 6P</c:v>
                </c:pt>
                <c:pt idx="28">
                  <c:v>Mini Babybel Rouge Filet St Paulin Ferme Sachet 1X40Gr 1P</c:v>
                </c:pt>
                <c:pt idx="29">
                  <c:v>Mini Babybel Aros Soft Cheese Enfant 120G</c:v>
                </c:pt>
                <c:pt idx="30">
                  <c:v>La Vache Qui Rit Aro Fromage Fondu Boite Ronde Jambon 1X133Gr 8P</c:v>
                </c:pt>
                <c:pt idx="31">
                  <c:v>La Vache Qui Rit Pik Et Croq' Fromage Fondu Dips Boite 1X35Gr 1P</c:v>
                </c:pt>
                <c:pt idx="32">
                  <c:v>Kiri Chevre Fromage Blanc Frais Carre 1X144Gr 8P</c:v>
                </c:pt>
                <c:pt idx="33">
                  <c:v>Mini Babybel Bio St Paulin Ferme Filet 1X100Gr 5P</c:v>
                </c:pt>
                <c:pt idx="34">
                  <c:v>Mini Babybel Rouge Filet St Paulin Ferme 1X110Gr 5P</c:v>
                </c:pt>
                <c:pt idx="35">
                  <c:v>Mini Babybel Rouge Filet St Paulin Ferme 1X396Gr 18P</c:v>
                </c:pt>
              </c:strCache>
            </c:strRef>
          </c:cat>
          <c:val>
            <c:numRef>
              <c:f>Sheet1!$C$2:$C$37</c:f>
              <c:numCache>
                <c:formatCode>General</c:formatCode>
                <c:ptCount val="36"/>
                <c:pt idx="0">
                  <c:v>0.1592646529382846</c:v>
                </c:pt>
                <c:pt idx="1">
                  <c:v>0.2753298660835842</c:v>
                </c:pt>
                <c:pt idx="2">
                  <c:v>0.37137848374196003</c:v>
                </c:pt>
                <c:pt idx="3">
                  <c:v>0.459375430807497</c:v>
                </c:pt>
                <c:pt idx="4">
                  <c:v>0.5448822743769678</c:v>
                </c:pt>
                <c:pt idx="5">
                  <c:v>0.6300935936751185</c:v>
                </c:pt>
                <c:pt idx="6">
                  <c:v>0.6936495720233434</c:v>
                </c:pt>
                <c:pt idx="7">
                  <c:v>0.7417518862345932</c:v>
                </c:pt>
                <c:pt idx="8">
                  <c:v>0.7857643878182154</c:v>
                </c:pt>
                <c:pt idx="9">
                  <c:v>0.8105586346622572</c:v>
                </c:pt>
                <c:pt idx="10">
                  <c:v>0.834486546762827</c:v>
                </c:pt>
                <c:pt idx="11">
                  <c:v>0.8577409778607753</c:v>
                </c:pt>
                <c:pt idx="12">
                  <c:v>0.8783577720817834</c:v>
                </c:pt>
                <c:pt idx="13">
                  <c:v>0.8983881063120374</c:v>
                </c:pt>
                <c:pt idx="14">
                  <c:v>0.917279658848568</c:v>
                </c:pt>
                <c:pt idx="15">
                  <c:v>0.933060872926918</c:v>
                </c:pt>
                <c:pt idx="16">
                  <c:v>0.946493327054687</c:v>
                </c:pt>
                <c:pt idx="17">
                  <c:v>0.9579332058900049</c:v>
                </c:pt>
                <c:pt idx="18">
                  <c:v>0.9653971381565201</c:v>
                </c:pt>
                <c:pt idx="19">
                  <c:v>0.9717161661747427</c:v>
                </c:pt>
                <c:pt idx="20">
                  <c:v>0.9776762779335663</c:v>
                </c:pt>
                <c:pt idx="21">
                  <c:v>0.9825879257706864</c:v>
                </c:pt>
                <c:pt idx="22">
                  <c:v>0.9866190426114321</c:v>
                </c:pt>
                <c:pt idx="23">
                  <c:v>0.9902019750015422</c:v>
                </c:pt>
                <c:pt idx="24">
                  <c:v>0.9923393789859257</c:v>
                </c:pt>
                <c:pt idx="25">
                  <c:v>0.9944672963747679</c:v>
                </c:pt>
                <c:pt idx="26">
                  <c:v>0.996515055395326</c:v>
                </c:pt>
                <c:pt idx="27">
                  <c:v>0.9976613321723352</c:v>
                </c:pt>
                <c:pt idx="28">
                  <c:v>0.9982200724654791</c:v>
                </c:pt>
                <c:pt idx="29">
                  <c:v>0.9986752944898284</c:v>
                </c:pt>
                <c:pt idx="30">
                  <c:v>0.9990795983900235</c:v>
                </c:pt>
                <c:pt idx="31">
                  <c:v>0.9993959662592069</c:v>
                </c:pt>
                <c:pt idx="32">
                  <c:v>0.9996251650987205</c:v>
                </c:pt>
                <c:pt idx="33">
                  <c:v>0.9998347044827928</c:v>
                </c:pt>
                <c:pt idx="34">
                  <c:v>0.9999978201014497</c:v>
                </c:pt>
                <c:pt idx="35">
                  <c:v>0.99999982506986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37</c:f>
              <c:strCache>
                <c:ptCount val="36"/>
                <c:pt idx="0">
                  <c:v>La Vache Qui Rit Nature Fromage Fondu Boite Ronde 1X512Gr 32P</c:v>
                </c:pt>
                <c:pt idx="1">
                  <c:v>Mini Babybel Rouge Filet St Paulin Ferme 1X264Gr 12P</c:v>
                </c:pt>
                <c:pt idx="2">
                  <c:v>Mini Babybel Rouge Filet St Paulin Ferme 1X132Gr 6P</c:v>
                </c:pt>
                <c:pt idx="3">
                  <c:v>La Vache Qui Rit Nature Fromage Fondu Boite Ronde 1X384Gr 24P</c:v>
                </c:pt>
                <c:pt idx="4">
                  <c:v>La Vache Qui Rit Nature Fromage Fondu Boite Ronde 1X192Gr 12P</c:v>
                </c:pt>
                <c:pt idx="5">
                  <c:v>Kiri Creme Fromage Blanc Frais Carre 1X432Gr 24P</c:v>
                </c:pt>
                <c:pt idx="6">
                  <c:v>Kiri Creme Fromage Blanc Frais Carre 1X144Gr 8P</c:v>
                </c:pt>
                <c:pt idx="7">
                  <c:v>Kiri Creme Fromage Blanc Frais Carre 1X216Gr 12P</c:v>
                </c:pt>
                <c:pt idx="8">
                  <c:v>Kiri Gouter Fromage Blanc Dips Boite 1X175Gr 5P</c:v>
                </c:pt>
                <c:pt idx="9">
                  <c:v>Kiri Gouter Fromage Blanc Dips Boite 1X280Gr 8P</c:v>
                </c:pt>
                <c:pt idx="10">
                  <c:v>La Vache Qui Rit Pik Et Croq' Fromage Fondu Dips Boite 1X175Gr 5P</c:v>
                </c:pt>
                <c:pt idx="11">
                  <c:v>Mini Babybel Rouge Filet St Paulin Ferme 1X440Gr 20P</c:v>
                </c:pt>
                <c:pt idx="12">
                  <c:v>La Vache Qui Rit Nature Fromage Fondu Boite Ronde 1X128Gr 8P</c:v>
                </c:pt>
                <c:pt idx="13">
                  <c:v>Mini Babybel Rouge Filet Soft Cheese Enfant 352G</c:v>
                </c:pt>
                <c:pt idx="14">
                  <c:v>La Vache Qui Rit Nature Fromage Fondu Boite Ronde 1X512Gr 24+8P</c:v>
                </c:pt>
                <c:pt idx="15">
                  <c:v>Kiri Creme Fromage Blanc Frais Carre 1X432Gr 18+6P</c:v>
                </c:pt>
                <c:pt idx="16">
                  <c:v>Mini Babybel Rouge Filet Soft Cheese Enfant 484G</c:v>
                </c:pt>
                <c:pt idx="17">
                  <c:v>Mini Babybel Rouge Filet St Paulin Ferme 1X396Gr 12+6P</c:v>
                </c:pt>
                <c:pt idx="18">
                  <c:v>Mini Babybel Aros St Paulin Ferme Assortis Filet 1X180Gr 9P</c:v>
                </c:pt>
                <c:pt idx="19">
                  <c:v>Babybel Mini Rolls St Paulin Ferme Sachet 1X85Gr 5P</c:v>
                </c:pt>
                <c:pt idx="20">
                  <c:v>La Vache Qui Rit Pik Et Croq' Fromage Fondu Dips Boite 1X280Gr 8P</c:v>
                </c:pt>
                <c:pt idx="21">
                  <c:v>La Vache Qui Rit Allegee Fromage Fondu Boite Ronde Allege 1X267Gr 16P</c:v>
                </c:pt>
                <c:pt idx="22">
                  <c:v>Kiri Bio Fromage Blanc Frais Carre 1X144Gr 8P</c:v>
                </c:pt>
                <c:pt idx="23">
                  <c:v>Mini Babybel Aros Soft Cheese Enfant 180G</c:v>
                </c:pt>
                <c:pt idx="24">
                  <c:v>Mini Babybel Aros St Paulin Ferme Raclette Filet 1X132Gr 6P</c:v>
                </c:pt>
                <c:pt idx="25">
                  <c:v>La Vache Qui Rit Bio Fromage Fondu Boite Ronde 1X128Gr 8P</c:v>
                </c:pt>
                <c:pt idx="26">
                  <c:v>Mini Babybel Aros Soft Cheese Enfant 110G</c:v>
                </c:pt>
                <c:pt idx="27">
                  <c:v>Mini Babybel Aros St Paulin Ferme Emmental Filet 1X120Gr 6P</c:v>
                </c:pt>
                <c:pt idx="28">
                  <c:v>Mini Babybel Rouge Filet St Paulin Ferme Sachet 1X40Gr 1P</c:v>
                </c:pt>
                <c:pt idx="29">
                  <c:v>Mini Babybel Aros Soft Cheese Enfant 120G</c:v>
                </c:pt>
                <c:pt idx="30">
                  <c:v>La Vache Qui Rit Aro Fromage Fondu Boite Ronde Jambon 1X133Gr 8P</c:v>
                </c:pt>
                <c:pt idx="31">
                  <c:v>La Vache Qui Rit Pik Et Croq' Fromage Fondu Dips Boite 1X35Gr 1P</c:v>
                </c:pt>
                <c:pt idx="32">
                  <c:v>Kiri Chevre Fromage Blanc Frais Carre 1X144Gr 8P</c:v>
                </c:pt>
                <c:pt idx="33">
                  <c:v>Mini Babybel Bio St Paulin Ferme Filet 1X100Gr 5P</c:v>
                </c:pt>
                <c:pt idx="34">
                  <c:v>Mini Babybel Rouge Filet St Paulin Ferme 1X110Gr 5P</c:v>
                </c:pt>
                <c:pt idx="35">
                  <c:v>Mini Babybel Rouge Filet St Paulin Ferme 1X396Gr 18P</c:v>
                </c:pt>
              </c:strCache>
            </c:strRef>
          </c:cat>
          <c:val>
            <c:numRef>
              <c:f>Sheet1!$D$2:$D$37</c:f>
              <c:numCache>
                <c:formatCode>General</c:formatCode>
                <c:ptCount val="36"/>
                <c:pt idx="0">
                  <c:v>143117.46070133013</c:v>
                </c:pt>
                <c:pt idx="1">
                  <c:v>99371.32488479263</c:v>
                </c:pt>
                <c:pt idx="2">
                  <c:v>72099.898989899</c:v>
                </c:pt>
                <c:pt idx="3">
                  <c:v>72823.24053452116</c:v>
                </c:pt>
                <c:pt idx="4">
                  <c:v>64775.47400611621</c:v>
                </c:pt>
                <c:pt idx="5">
                  <c:v>81394.7557840617</c:v>
                </c:pt>
                <c:pt idx="6">
                  <c:v>47708.9595959596</c:v>
                </c:pt>
                <c:pt idx="7">
                  <c:v>42862.6139088729</c:v>
                </c:pt>
                <c:pt idx="8">
                  <c:v>34465.81664910432</c:v>
                </c:pt>
                <c:pt idx="9">
                  <c:v>25172.049180327867</c:v>
                </c:pt>
                <c:pt idx="10">
                  <c:v>19583.832599118945</c:v>
                </c:pt>
                <c:pt idx="11">
                  <c:v>21075.146341463416</c:v>
                </c:pt>
                <c:pt idx="12">
                  <c:v>22077.017291066284</c:v>
                </c:pt>
                <c:pt idx="13">
                  <c:v>18422.797029702968</c:v>
                </c:pt>
                <c:pt idx="14">
                  <c:v>19364.593103448275</c:v>
                </c:pt>
                <c:pt idx="15">
                  <c:v>16379.706703910615</c:v>
                </c:pt>
                <c:pt idx="16">
                  <c:v>22533.589164785553</c:v>
                </c:pt>
                <c:pt idx="17">
                  <c:v>11551.073369565218</c:v>
                </c:pt>
                <c:pt idx="18">
                  <c:v>8015.679190751446</c:v>
                </c:pt>
                <c:pt idx="19">
                  <c:v>7598.721682847897</c:v>
                </c:pt>
                <c:pt idx="20">
                  <c:v>10205.714285714286</c:v>
                </c:pt>
                <c:pt idx="21">
                  <c:v>7373.959595959596</c:v>
                </c:pt>
                <c:pt idx="22">
                  <c:v>5967.609561752988</c:v>
                </c:pt>
                <c:pt idx="23">
                  <c:v>3820.186513629843</c:v>
                </c:pt>
                <c:pt idx="24">
                  <c:v>3755.1300236406623</c:v>
                </c:pt>
                <c:pt idx="25">
                  <c:v>3280.850622406639</c:v>
                </c:pt>
                <c:pt idx="26">
                  <c:v>2359.3798449612405</c:v>
                </c:pt>
                <c:pt idx="27">
                  <c:v>2670.4075235109717</c:v>
                </c:pt>
                <c:pt idx="28">
                  <c:v>3243.984375</c:v>
                </c:pt>
                <c:pt idx="29">
                  <c:v>1091.2903225806451</c:v>
                </c:pt>
                <c:pt idx="30">
                  <c:v>8120.540540540541</c:v>
                </c:pt>
                <c:pt idx="31">
                  <c:v>29388.75</c:v>
                </c:pt>
                <c:pt idx="32">
                  <c:v>637.9400749063669</c:v>
                </c:pt>
                <c:pt idx="33">
                  <c:v>492.7848101265823</c:v>
                </c:pt>
                <c:pt idx="34">
                  <c:v>1634.7826086956522</c:v>
                </c:pt>
                <c:pt idx="35">
                  <c:v>56.0</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29</c:f>
              <c:strCache>
                <c:ptCount val="28"/>
                <c:pt idx="0">
                  <c:v>Mini Babybel Rouge Filet St Paulin Ferme 1X264Gr 12P</c:v>
                </c:pt>
                <c:pt idx="1">
                  <c:v>La Vache Qui Rit Nature Fromage Fondu Boite Ronde 1X512Gr 32P</c:v>
                </c:pt>
                <c:pt idx="2">
                  <c:v>La Vache Qui Rit Nature Fromage Fondu Boite Ronde 1X192Gr 12P</c:v>
                </c:pt>
                <c:pt idx="3">
                  <c:v>Mini Babybel Rouge Filet St Paulin Ferme 1X132Gr 6P</c:v>
                </c:pt>
                <c:pt idx="4">
                  <c:v>La Vache Qui Rit Nature Fromage Fondu Boite Ronde 1X384Gr 24P</c:v>
                </c:pt>
                <c:pt idx="5">
                  <c:v>Kiri Creme Fromage Blanc Frais Carre 1X216Gr 12P</c:v>
                </c:pt>
                <c:pt idx="6">
                  <c:v>Kiri Creme Fromage Blanc Frais Carre 1X432Gr 24P</c:v>
                </c:pt>
                <c:pt idx="7">
                  <c:v>Kiri Gouter Fromage Blanc Dips Boite 1X280Gr 8P</c:v>
                </c:pt>
                <c:pt idx="8">
                  <c:v>Kiri Creme Fromage Blanc Frais Carre 1X144Gr 8P</c:v>
                </c:pt>
                <c:pt idx="9">
                  <c:v>Kiri Gouter Fromage Blanc Dips Boite 1X175Gr 5P</c:v>
                </c:pt>
                <c:pt idx="10">
                  <c:v>Mini Babybel Rouge Filet St Paulin Ferme 1X440Gr 20P</c:v>
                </c:pt>
                <c:pt idx="11">
                  <c:v>La Vache Qui Rit Pik Et Croq' Fromage Fondu Dips Boite 1X175Gr 5P</c:v>
                </c:pt>
                <c:pt idx="12">
                  <c:v>La Vache Qui Rit Pik Et Croq' Fromage Fondu Dips Boite 1X280Gr 8P</c:v>
                </c:pt>
                <c:pt idx="13">
                  <c:v>La Vache Qui Rit Allegee Fromage Fondu Boite Ronde Allege 1X267Gr 16P</c:v>
                </c:pt>
                <c:pt idx="14">
                  <c:v>Babybel Mini Rolls St Paulin Ferme Sachet 1X85Gr 5P</c:v>
                </c:pt>
                <c:pt idx="15">
                  <c:v>Mini Babybel Aros St Paulin Ferme Assortis Filet 1X180Gr 9P</c:v>
                </c:pt>
                <c:pt idx="16">
                  <c:v>La Vache Qui Rit Aro Fromage Fondu Boite Ronde Jambon 1X133Gr 8P</c:v>
                </c:pt>
                <c:pt idx="17">
                  <c:v>Kiri Bio Fromage Blanc Frais Carre 1X144Gr 8P</c:v>
                </c:pt>
                <c:pt idx="18">
                  <c:v>Kiri Chevre Fromage Blanc Frais Carre 1X144Gr 8P</c:v>
                </c:pt>
                <c:pt idx="19">
                  <c:v>Mini Babybel Aros Soft Cheese Enfant 180G</c:v>
                </c:pt>
                <c:pt idx="20">
                  <c:v>Mini Babybel Rouge Filet St Paulin Ferme 1X396Gr 12+6P</c:v>
                </c:pt>
                <c:pt idx="21">
                  <c:v>Kiri Creme Fromage Blanc Frais Carre 1X432Gr 18+6P</c:v>
                </c:pt>
                <c:pt idx="22">
                  <c:v>Mini Babybel Aros St Paulin Ferme Raclette Filet 1X132Gr 6P</c:v>
                </c:pt>
                <c:pt idx="23">
                  <c:v>Mini Babybel Aros Soft Cheese Enfant 110G</c:v>
                </c:pt>
                <c:pt idx="24">
                  <c:v>La Vache Qui Rit Nature Fromage Fondu Boite Ronde 1X512Gr 24+8P</c:v>
                </c:pt>
                <c:pt idx="25">
                  <c:v>Mini Babybel Rouge Filet St Paulin Ferme Sachet 1X40Gr 1P</c:v>
                </c:pt>
                <c:pt idx="26">
                  <c:v>Mini Babybel Bio St Paulin Ferme Filet 1X100Gr 5P</c:v>
                </c:pt>
                <c:pt idx="27">
                  <c:v>La Vache Qui Rit Nature Fromage Fondu Boite Ronde 1X128Gr 8P</c:v>
                </c:pt>
              </c:strCache>
            </c:strRef>
          </c:cat>
          <c:val>
            <c:numRef>
              <c:f>Sheet1!$B$2:$B$29</c:f>
              <c:numCache>
                <c:formatCode>General</c:formatCode>
                <c:ptCount val="28"/>
                <c:pt idx="0">
                  <c:v>0.986</c:v>
                </c:pt>
                <c:pt idx="1">
                  <c:v>0.947</c:v>
                </c:pt>
                <c:pt idx="2">
                  <c:v>0.998</c:v>
                </c:pt>
                <c:pt idx="3">
                  <c:v>0.998</c:v>
                </c:pt>
                <c:pt idx="4">
                  <c:v>0.941</c:v>
                </c:pt>
                <c:pt idx="5">
                  <c:v>0.975</c:v>
                </c:pt>
                <c:pt idx="6">
                  <c:v>0.861</c:v>
                </c:pt>
                <c:pt idx="7">
                  <c:v>0.932</c:v>
                </c:pt>
                <c:pt idx="8">
                  <c:v>0.983</c:v>
                </c:pt>
                <c:pt idx="9">
                  <c:v>0.981</c:v>
                </c:pt>
                <c:pt idx="10">
                  <c:v>0.852</c:v>
                </c:pt>
                <c:pt idx="11">
                  <c:v>0.955</c:v>
                </c:pt>
                <c:pt idx="12">
                  <c:v>0.848</c:v>
                </c:pt>
                <c:pt idx="13">
                  <c:v>0.841</c:v>
                </c:pt>
                <c:pt idx="14">
                  <c:v>0.785</c:v>
                </c:pt>
                <c:pt idx="15">
                  <c:v>0.81</c:v>
                </c:pt>
                <c:pt idx="16">
                  <c:v>0.679</c:v>
                </c:pt>
                <c:pt idx="17">
                  <c:v>0.603</c:v>
                </c:pt>
                <c:pt idx="18">
                  <c:v>0.672</c:v>
                </c:pt>
                <c:pt idx="19">
                  <c:v>0.71</c:v>
                </c:pt>
                <c:pt idx="20">
                  <c:v>0.876</c:v>
                </c:pt>
                <c:pt idx="21">
                  <c:v>0.817</c:v>
                </c:pt>
                <c:pt idx="22">
                  <c:v>0.739</c:v>
                </c:pt>
                <c:pt idx="23">
                  <c:v>0.585</c:v>
                </c:pt>
                <c:pt idx="24">
                  <c:v>0.231</c:v>
                </c:pt>
                <c:pt idx="25">
                  <c:v>0.114</c:v>
                </c:pt>
                <c:pt idx="26">
                  <c:v>0.312</c:v>
                </c:pt>
                <c:pt idx="27">
                  <c:v>0.112</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7ECAC4"/>
              </a:solidFill>
            </c:spPr>
            <c:extLst>
              <c:ext xmlns:c16="http://schemas.microsoft.com/office/drawing/2014/chart" uri="{C3380CC4-5D6E-409C-BE32-E72D297353CC}">
                <c16:uniqueId val="{00000013-FA3E-4872-B6E1-C4ABDF5766E2}"/>
              </c:ext>
            </c:extLst>
          </c:dPt>
          <c:dPt>
            <c:idx val="9"/>
            <c:invertIfNegative val="1"/>
            <c:bubble3D val="0"/>
            <c:spPr>
              <a:solidFill>
                <a:srgbClr val="7ECAC4"/>
              </a:solidFill>
            </c:spPr>
            <c:extLst>
              <c:ext xmlns:c16="http://schemas.microsoft.com/office/drawing/2014/chart" uri="{C3380CC4-5D6E-409C-BE32-E72D297353CC}">
                <c16:uniqueId val="{00000015-FA3E-4872-B6E1-C4ABDF5766E2}"/>
              </c:ext>
            </c:extLst>
          </c:dPt>
          <c:dPt>
            <c:idx val="10"/>
            <c:invertIfNegative val="1"/>
            <c:bubble3D val="0"/>
            <c:spPr>
              <a:solidFill>
                <a:srgbClr val="7ECAC4"/>
              </a:solidFill>
            </c:spPr>
            <c:extLst>
              <c:ext xmlns:c16="http://schemas.microsoft.com/office/drawing/2014/chart" uri="{C3380CC4-5D6E-409C-BE32-E72D297353CC}">
                <c16:uniqueId val="{00000017-FA3E-4872-B6E1-C4ABDF5766E2}"/>
              </c:ext>
            </c:extLst>
          </c:dPt>
          <c:dPt>
            <c:idx val="11"/>
            <c:invertIfNegative val="1"/>
            <c:bubble3D val="0"/>
            <c:spPr>
              <a:solidFill>
                <a:srgbClr val="7ECAC4"/>
              </a:solidFill>
            </c:spPr>
            <c:extLst>
              <c:ext xmlns:c16="http://schemas.microsoft.com/office/drawing/2014/chart" uri="{C3380CC4-5D6E-409C-BE32-E72D297353CC}">
                <c16:uniqueId val="{00000019-FA3E-4872-B6E1-C4ABDF5766E2}"/>
              </c:ext>
            </c:extLst>
          </c:dPt>
          <c:dPt>
            <c:idx val="12"/>
            <c:invertIfNegative val="1"/>
            <c:bubble3D val="0"/>
            <c:spPr>
              <a:solidFill>
                <a:srgbClr val="7ECAC4"/>
              </a:solidFill>
            </c:spPr>
            <c:extLst>
              <c:ext xmlns:c16="http://schemas.microsoft.com/office/drawing/2014/chart" uri="{C3380CC4-5D6E-409C-BE32-E72D297353CC}">
                <c16:uniqueId val="{0000001B-FA3E-4872-B6E1-C4ABDF5766E2}"/>
              </c:ext>
            </c:extLst>
          </c:dPt>
          <c:dPt>
            <c:idx val="13"/>
            <c:invertIfNegative val="1"/>
            <c:bubble3D val="0"/>
            <c:spPr>
              <a:solidFill>
                <a:srgbClr val="7ECAC4"/>
              </a:solidFill>
            </c:spPr>
            <c:extLst>
              <c:ext xmlns:c16="http://schemas.microsoft.com/office/drawing/2014/chart" uri="{C3380CC4-5D6E-409C-BE32-E72D297353CC}">
                <c16:uniqueId val="{0000001D-FA3E-4872-B6E1-C4ABDF5766E2}"/>
              </c:ext>
            </c:extLst>
          </c:dPt>
          <c:dPt>
            <c:idx val="14"/>
            <c:invertIfNegative val="1"/>
            <c:bubble3D val="0"/>
            <c:spPr>
              <a:solidFill>
                <a:srgbClr val="7ECAC4"/>
              </a:solidFill>
            </c:spPr>
            <c:extLst>
              <c:ext xmlns:c16="http://schemas.microsoft.com/office/drawing/2014/chart" uri="{C3380CC4-5D6E-409C-BE32-E72D297353CC}">
                <c16:uniqueId val="{0000001F-FA3E-4872-B6E1-C4ABDF5766E2}"/>
              </c:ext>
            </c:extLst>
          </c:dPt>
          <c:dPt>
            <c:idx val="15"/>
            <c:invertIfNegative val="1"/>
            <c:bubble3D val="0"/>
            <c:spPr>
              <a:solidFill>
                <a:srgbClr val="AEABAB"/>
              </a:solidFill>
            </c:spPr>
            <c:extLst>
              <c:ext xmlns:c16="http://schemas.microsoft.com/office/drawing/2014/chart" uri="{C3380CC4-5D6E-409C-BE32-E72D297353CC}">
                <c16:uniqueId val="{00000021-FA3E-4872-B6E1-C4ABDF5766E2}"/>
              </c:ext>
            </c:extLst>
          </c:dPt>
          <c:dPt>
            <c:idx val="16"/>
            <c:invertIfNegative val="1"/>
            <c:bubble3D val="0"/>
            <c:spPr>
              <a:solidFill>
                <a:srgbClr val="AEABAB"/>
              </a:solidFill>
            </c:spPr>
            <c:extLst>
              <c:ext xmlns:c16="http://schemas.microsoft.com/office/drawing/2014/chart" uri="{C3380CC4-5D6E-409C-BE32-E72D297353CC}">
                <c16:uniqueId val="{00000023-FA3E-4872-B6E1-C4ABDF5766E2}"/>
              </c:ext>
            </c:extLst>
          </c:dPt>
          <c:dPt>
            <c:idx val="17"/>
            <c:invertIfNegative val="1"/>
            <c:bubble3D val="0"/>
            <c:spPr>
              <a:solidFill>
                <a:srgbClr val="AEABAB"/>
              </a:solidFill>
            </c:spPr>
            <c:extLst>
              <c:ext xmlns:c16="http://schemas.microsoft.com/office/drawing/2014/chart" uri="{C3380CC4-5D6E-409C-BE32-E72D297353CC}">
                <c16:uniqueId val="{00000025-FA3E-4872-B6E1-C4ABDF5766E2}"/>
              </c:ext>
            </c:extLst>
          </c:dPt>
          <c:dPt>
            <c:idx val="18"/>
            <c:invertIfNegative val="1"/>
            <c:bubble3D val="0"/>
            <c:spPr>
              <a:solidFill>
                <a:srgbClr val="AEABAB"/>
              </a:solidFill>
            </c:spPr>
            <c:extLst>
              <c:ext xmlns:c16="http://schemas.microsoft.com/office/drawing/2014/chart" uri="{C3380CC4-5D6E-409C-BE32-E72D297353CC}">
                <c16:uniqueId val="{00000027-FA3E-4872-B6E1-C4ABDF5766E2}"/>
              </c:ext>
            </c:extLst>
          </c:dPt>
          <c:dPt>
            <c:idx val="19"/>
            <c:invertIfNegative val="1"/>
            <c:bubble3D val="0"/>
            <c:spPr>
              <a:solidFill>
                <a:srgbClr val="AEABAB"/>
              </a:solidFill>
            </c:spPr>
            <c:extLst>
              <c:ext xmlns:c16="http://schemas.microsoft.com/office/drawing/2014/chart" uri="{C3380CC4-5D6E-409C-BE32-E72D297353CC}">
                <c16:uniqueId val="{00000029-FA3E-4872-B6E1-C4ABDF5766E2}"/>
              </c:ext>
            </c:extLst>
          </c:dPt>
          <c:dPt>
            <c:idx val="20"/>
            <c:invertIfNegative val="1"/>
            <c:bubble3D val="0"/>
            <c:spPr>
              <a:solidFill>
                <a:srgbClr val="AEABAB"/>
              </a:solidFill>
            </c:spPr>
            <c:extLst>
              <c:ext xmlns:c16="http://schemas.microsoft.com/office/drawing/2014/chart" uri="{C3380CC4-5D6E-409C-BE32-E72D297353CC}">
                <c16:uniqueId val="{0000002B-FA3E-4872-B6E1-C4ABDF5766E2}"/>
              </c:ext>
            </c:extLst>
          </c:dPt>
          <c:dPt>
            <c:idx val="21"/>
            <c:invertIfNegative val="1"/>
            <c:bubble3D val="0"/>
            <c:spPr>
              <a:solidFill>
                <a:srgbClr val="AEABAB"/>
              </a:solidFill>
            </c:spPr>
            <c:extLst>
              <c:ext xmlns:c16="http://schemas.microsoft.com/office/drawing/2014/chart" uri="{C3380CC4-5D6E-409C-BE32-E72D297353CC}">
                <c16:uniqueId val="{0000002D-FA3E-4872-B6E1-C4ABDF5766E2}"/>
              </c:ext>
            </c:extLst>
          </c:dPt>
          <c:dPt>
            <c:idx val="22"/>
            <c:invertIfNegative val="1"/>
            <c:bubble3D val="0"/>
            <c:spPr>
              <a:solidFill>
                <a:srgbClr val="AEABAB"/>
              </a:solidFill>
            </c:spPr>
            <c:extLst>
              <c:ext xmlns:c16="http://schemas.microsoft.com/office/drawing/2014/chart" uri="{C3380CC4-5D6E-409C-BE32-E72D297353CC}">
                <c16:uniqueId val="{0000002F-FA3E-4872-B6E1-C4ABDF5766E2}"/>
              </c:ext>
            </c:extLst>
          </c:dPt>
          <c:dPt>
            <c:idx val="23"/>
            <c:invertIfNegative val="1"/>
            <c:bubble3D val="0"/>
            <c:spPr>
              <a:solidFill>
                <a:srgbClr val="AEABAB"/>
              </a:solidFill>
            </c:spPr>
            <c:extLst>
              <c:ext xmlns:c16="http://schemas.microsoft.com/office/drawing/2014/chart" uri="{C3380CC4-5D6E-409C-BE32-E72D297353CC}">
                <c16:uniqueId val="{00000031-FA3E-4872-B6E1-C4ABDF5766E2}"/>
              </c:ext>
            </c:extLst>
          </c:dPt>
          <c:dPt>
            <c:idx val="24"/>
            <c:invertIfNegative val="1"/>
            <c:bubble3D val="0"/>
            <c:spPr>
              <a:solidFill>
                <a:srgbClr val="AEABAB"/>
              </a:solidFill>
            </c:spPr>
            <c:extLst>
              <c:ext xmlns:c16="http://schemas.microsoft.com/office/drawing/2014/chart" uri="{C3380CC4-5D6E-409C-BE32-E72D297353CC}">
                <c16:uniqueId val="{00000033-FA3E-4872-B6E1-C4ABDF5766E2}"/>
              </c:ext>
            </c:extLst>
          </c:dPt>
          <c:dPt>
            <c:idx val="25"/>
            <c:invertIfNegative val="1"/>
            <c:bubble3D val="0"/>
            <c:spPr>
              <a:solidFill>
                <a:srgbClr val="AEABAB"/>
              </a:solidFill>
            </c:spPr>
            <c:extLst>
              <c:ext xmlns:c16="http://schemas.microsoft.com/office/drawing/2014/chart" uri="{C3380CC4-5D6E-409C-BE32-E72D297353CC}">
                <c16:uniqueId val="{00000035-FA3E-4872-B6E1-C4ABDF5766E2}"/>
              </c:ext>
            </c:extLst>
          </c:dPt>
          <c:dPt>
            <c:idx val="26"/>
            <c:invertIfNegative val="1"/>
            <c:bubble3D val="0"/>
            <c:spPr>
              <a:solidFill>
                <a:srgbClr val="AEABAB"/>
              </a:solidFill>
            </c:spPr>
            <c:extLst>
              <c:ext xmlns:c16="http://schemas.microsoft.com/office/drawing/2014/chart" uri="{C3380CC4-5D6E-409C-BE32-E72D297353CC}">
                <c16:uniqueId val="{00000037-FA3E-4872-B6E1-C4ABDF5766E2}"/>
              </c:ext>
            </c:extLst>
          </c:dPt>
          <c:dPt>
            <c:idx val="27"/>
            <c:invertIfNegative val="1"/>
            <c:bubble3D val="0"/>
            <c:spPr>
              <a:solidFill>
                <a:srgbClr val="AEABAB"/>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29</c:f>
              <c:strCache>
                <c:ptCount val="28"/>
                <c:pt idx="0">
                  <c:v>Mini Babybel Rouge Filet St Paulin Ferme 1X264Gr 12P</c:v>
                </c:pt>
                <c:pt idx="1">
                  <c:v>La Vache Qui Rit Nature Fromage Fondu Boite Ronde 1X512Gr 32P</c:v>
                </c:pt>
                <c:pt idx="2">
                  <c:v>La Vache Qui Rit Nature Fromage Fondu Boite Ronde 1X192Gr 12P</c:v>
                </c:pt>
                <c:pt idx="3">
                  <c:v>Mini Babybel Rouge Filet St Paulin Ferme 1X132Gr 6P</c:v>
                </c:pt>
                <c:pt idx="4">
                  <c:v>La Vache Qui Rit Nature Fromage Fondu Boite Ronde 1X384Gr 24P</c:v>
                </c:pt>
                <c:pt idx="5">
                  <c:v>Kiri Creme Fromage Blanc Frais Carre 1X216Gr 12P</c:v>
                </c:pt>
                <c:pt idx="6">
                  <c:v>Kiri Creme Fromage Blanc Frais Carre 1X432Gr 24P</c:v>
                </c:pt>
                <c:pt idx="7">
                  <c:v>Kiri Gouter Fromage Blanc Dips Boite 1X280Gr 8P</c:v>
                </c:pt>
                <c:pt idx="8">
                  <c:v>Kiri Creme Fromage Blanc Frais Carre 1X144Gr 8P</c:v>
                </c:pt>
                <c:pt idx="9">
                  <c:v>Kiri Gouter Fromage Blanc Dips Boite 1X175Gr 5P</c:v>
                </c:pt>
                <c:pt idx="10">
                  <c:v>Mini Babybel Rouge Filet St Paulin Ferme 1X440Gr 20P</c:v>
                </c:pt>
                <c:pt idx="11">
                  <c:v>La Vache Qui Rit Pik Et Croq' Fromage Fondu Dips Boite 1X175Gr 5P</c:v>
                </c:pt>
                <c:pt idx="12">
                  <c:v>La Vache Qui Rit Pik Et Croq' Fromage Fondu Dips Boite 1X280Gr 8P</c:v>
                </c:pt>
                <c:pt idx="13">
                  <c:v>La Vache Qui Rit Allegee Fromage Fondu Boite Ronde Allege 1X267Gr 16P</c:v>
                </c:pt>
                <c:pt idx="14">
                  <c:v>Babybel Mini Rolls St Paulin Ferme Sachet 1X85Gr 5P</c:v>
                </c:pt>
                <c:pt idx="15">
                  <c:v>Mini Babybel Aros St Paulin Ferme Assortis Filet 1X180Gr 9P</c:v>
                </c:pt>
                <c:pt idx="16">
                  <c:v>La Vache Qui Rit Aro Fromage Fondu Boite Ronde Jambon 1X133Gr 8P</c:v>
                </c:pt>
                <c:pt idx="17">
                  <c:v>Kiri Bio Fromage Blanc Frais Carre 1X144Gr 8P</c:v>
                </c:pt>
                <c:pt idx="18">
                  <c:v>Kiri Chevre Fromage Blanc Frais Carre 1X144Gr 8P</c:v>
                </c:pt>
                <c:pt idx="19">
                  <c:v>Mini Babybel Aros Soft Cheese Enfant 180G</c:v>
                </c:pt>
                <c:pt idx="20">
                  <c:v>Mini Babybel Rouge Filet St Paulin Ferme 1X396Gr 12+6P</c:v>
                </c:pt>
                <c:pt idx="21">
                  <c:v>Kiri Creme Fromage Blanc Frais Carre 1X432Gr 18+6P</c:v>
                </c:pt>
                <c:pt idx="22">
                  <c:v>Mini Babybel Aros St Paulin Ferme Raclette Filet 1X132Gr 6P</c:v>
                </c:pt>
                <c:pt idx="23">
                  <c:v>Mini Babybel Aros Soft Cheese Enfant 110G</c:v>
                </c:pt>
                <c:pt idx="24">
                  <c:v>La Vache Qui Rit Nature Fromage Fondu Boite Ronde 1X512Gr 24+8P</c:v>
                </c:pt>
                <c:pt idx="25">
                  <c:v>Mini Babybel Rouge Filet St Paulin Ferme Sachet 1X40Gr 1P</c:v>
                </c:pt>
                <c:pt idx="26">
                  <c:v>Mini Babybel Bio St Paulin Ferme Filet 1X100Gr 5P</c:v>
                </c:pt>
                <c:pt idx="27">
                  <c:v>La Vache Qui Rit Nature Fromage Fondu Boite Ronde 1X128Gr 8P</c:v>
                </c:pt>
              </c:strCache>
            </c:strRef>
          </c:cat>
          <c:val>
            <c:numRef>
              <c:f>Sheet1!$C$2:$C$29</c:f>
              <c:numCache>
                <c:formatCode>General</c:formatCode>
                <c:ptCount val="28"/>
                <c:pt idx="0">
                  <c:v>0.17072679476540295</c:v>
                </c:pt>
                <c:pt idx="1">
                  <c:v>0.2996763430464401</c:v>
                </c:pt>
                <c:pt idx="2">
                  <c:v>0.40540659237460325</c:v>
                </c:pt>
                <c:pt idx="3">
                  <c:v>0.49555660747898345</c:v>
                </c:pt>
                <c:pt idx="4">
                  <c:v>0.579900729503291</c:v>
                </c:pt>
                <c:pt idx="5">
                  <c:v>0.6564124898619078</c:v>
                </c:pt>
                <c:pt idx="6">
                  <c:v>0.7204849582100707</c:v>
                </c:pt>
                <c:pt idx="7">
                  <c:v>0.7647521706046349</c:v>
                </c:pt>
                <c:pt idx="8">
                  <c:v>0.8082557545526037</c:v>
                </c:pt>
                <c:pt idx="9">
                  <c:v>0.8429138283526636</c:v>
                </c:pt>
                <c:pt idx="10">
                  <c:v>0.8752705135966367</c:v>
                </c:pt>
                <c:pt idx="11">
                  <c:v>0.8986468630926007</c:v>
                </c:pt>
                <c:pt idx="12">
                  <c:v>0.92010110684335</c:v>
                </c:pt>
                <c:pt idx="13">
                  <c:v>0.9349734551802532</c:v>
                </c:pt>
                <c:pt idx="14">
                  <c:v>0.9464129336742828</c:v>
                </c:pt>
                <c:pt idx="15">
                  <c:v>0.9564718913852105</c:v>
                </c:pt>
                <c:pt idx="16">
                  <c:v>0.9643266839393089</c:v>
                </c:pt>
                <c:pt idx="17">
                  <c:v>0.9716649138995411</c:v>
                </c:pt>
                <c:pt idx="18">
                  <c:v>0.9780127351840893</c:v>
                </c:pt>
                <c:pt idx="19">
                  <c:v>0.9838380901061315</c:v>
                </c:pt>
                <c:pt idx="20">
                  <c:v>0.9886780991773407</c:v>
                </c:pt>
                <c:pt idx="21">
                  <c:v>0.9933851361572088</c:v>
                </c:pt>
                <c:pt idx="22">
                  <c:v>0.9971585024239603</c:v>
                </c:pt>
                <c:pt idx="23">
                  <c:v>0.99855997815331</c:v>
                </c:pt>
                <c:pt idx="24">
                  <c:v>0.9990853449137813</c:v>
                </c:pt>
                <c:pt idx="25">
                  <c:v>0.9995647858461127</c:v>
                </c:pt>
                <c:pt idx="26">
                  <c:v>0.999980744103448</c:v>
                </c:pt>
                <c:pt idx="27">
                  <c:v>0.999998901624439</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29</c:f>
              <c:strCache>
                <c:ptCount val="28"/>
                <c:pt idx="0">
                  <c:v>Mini Babybel Rouge Filet St Paulin Ferme 1X264Gr 12P</c:v>
                </c:pt>
                <c:pt idx="1">
                  <c:v>La Vache Qui Rit Nature Fromage Fondu Boite Ronde 1X512Gr 32P</c:v>
                </c:pt>
                <c:pt idx="2">
                  <c:v>La Vache Qui Rit Nature Fromage Fondu Boite Ronde 1X192Gr 12P</c:v>
                </c:pt>
                <c:pt idx="3">
                  <c:v>Mini Babybel Rouge Filet St Paulin Ferme 1X132Gr 6P</c:v>
                </c:pt>
                <c:pt idx="4">
                  <c:v>La Vache Qui Rit Nature Fromage Fondu Boite Ronde 1X384Gr 24P</c:v>
                </c:pt>
                <c:pt idx="5">
                  <c:v>Kiri Creme Fromage Blanc Frais Carre 1X216Gr 12P</c:v>
                </c:pt>
                <c:pt idx="6">
                  <c:v>Kiri Creme Fromage Blanc Frais Carre 1X432Gr 24P</c:v>
                </c:pt>
                <c:pt idx="7">
                  <c:v>Kiri Gouter Fromage Blanc Dips Boite 1X280Gr 8P</c:v>
                </c:pt>
                <c:pt idx="8">
                  <c:v>Kiri Creme Fromage Blanc Frais Carre 1X144Gr 8P</c:v>
                </c:pt>
                <c:pt idx="9">
                  <c:v>Kiri Gouter Fromage Blanc Dips Boite 1X175Gr 5P</c:v>
                </c:pt>
                <c:pt idx="10">
                  <c:v>Mini Babybel Rouge Filet St Paulin Ferme 1X440Gr 20P</c:v>
                </c:pt>
                <c:pt idx="11">
                  <c:v>La Vache Qui Rit Pik Et Croq' Fromage Fondu Dips Boite 1X175Gr 5P</c:v>
                </c:pt>
                <c:pt idx="12">
                  <c:v>La Vache Qui Rit Pik Et Croq' Fromage Fondu Dips Boite 1X280Gr 8P</c:v>
                </c:pt>
                <c:pt idx="13">
                  <c:v>La Vache Qui Rit Allegee Fromage Fondu Boite Ronde Allege 1X267Gr 16P</c:v>
                </c:pt>
                <c:pt idx="14">
                  <c:v>Babybel Mini Rolls St Paulin Ferme Sachet 1X85Gr 5P</c:v>
                </c:pt>
                <c:pt idx="15">
                  <c:v>Mini Babybel Aros St Paulin Ferme Assortis Filet 1X180Gr 9P</c:v>
                </c:pt>
                <c:pt idx="16">
                  <c:v>La Vache Qui Rit Aro Fromage Fondu Boite Ronde Jambon 1X133Gr 8P</c:v>
                </c:pt>
                <c:pt idx="17">
                  <c:v>Kiri Bio Fromage Blanc Frais Carre 1X144Gr 8P</c:v>
                </c:pt>
                <c:pt idx="18">
                  <c:v>Kiri Chevre Fromage Blanc Frais Carre 1X144Gr 8P</c:v>
                </c:pt>
                <c:pt idx="19">
                  <c:v>Mini Babybel Aros Soft Cheese Enfant 180G</c:v>
                </c:pt>
                <c:pt idx="20">
                  <c:v>Mini Babybel Rouge Filet St Paulin Ferme 1X396Gr 12+6P</c:v>
                </c:pt>
                <c:pt idx="21">
                  <c:v>Kiri Creme Fromage Blanc Frais Carre 1X432Gr 18+6P</c:v>
                </c:pt>
                <c:pt idx="22">
                  <c:v>Mini Babybel Aros St Paulin Ferme Raclette Filet 1X132Gr 6P</c:v>
                </c:pt>
                <c:pt idx="23">
                  <c:v>Mini Babybel Aros Soft Cheese Enfant 110G</c:v>
                </c:pt>
                <c:pt idx="24">
                  <c:v>La Vache Qui Rit Nature Fromage Fondu Boite Ronde 1X512Gr 24+8P</c:v>
                </c:pt>
                <c:pt idx="25">
                  <c:v>Mini Babybel Rouge Filet St Paulin Ferme Sachet 1X40Gr 1P</c:v>
                </c:pt>
                <c:pt idx="26">
                  <c:v>Mini Babybel Bio St Paulin Ferme Filet 1X100Gr 5P</c:v>
                </c:pt>
                <c:pt idx="27">
                  <c:v>La Vache Qui Rit Nature Fromage Fondu Boite Ronde 1X128Gr 8P</c:v>
                </c:pt>
              </c:strCache>
            </c:strRef>
          </c:cat>
          <c:val>
            <c:numRef>
              <c:f>Sheet1!$D$2:$D$29</c:f>
              <c:numCache>
                <c:formatCode>General</c:formatCode>
                <c:ptCount val="28"/>
                <c:pt idx="0">
                  <c:v>100891.33874239352</c:v>
                </c:pt>
                <c:pt idx="1">
                  <c:v>79341.23548046463</c:v>
                </c:pt>
                <c:pt idx="2">
                  <c:v>61730.22044088176</c:v>
                </c:pt>
                <c:pt idx="3">
                  <c:v>52633.75751503006</c:v>
                </c:pt>
                <c:pt idx="4">
                  <c:v>52226.90754516472</c:v>
                </c:pt>
                <c:pt idx="5">
                  <c:v>45724.89230769231</c:v>
                </c:pt>
                <c:pt idx="6">
                  <c:v>43360.813008130084</c:v>
                </c:pt>
                <c:pt idx="7">
                  <c:v>27675.493562231757</c:v>
                </c:pt>
                <c:pt idx="8">
                  <c:v>25786.988809766022</c:v>
                </c:pt>
                <c:pt idx="9">
                  <c:v>20585.647298674823</c:v>
                </c:pt>
                <c:pt idx="10">
                  <c:v>22128.57981220657</c:v>
                </c:pt>
                <c:pt idx="11">
                  <c:v>14262.722513089006</c:v>
                </c:pt>
                <c:pt idx="12">
                  <c:v>14741.662735849057</c:v>
                </c:pt>
                <c:pt idx="13">
                  <c:v>10304.161712247325</c:v>
                </c:pt>
                <c:pt idx="14">
                  <c:v>8491.133757961783</c:v>
                </c:pt>
                <c:pt idx="15">
                  <c:v>7235.975308641975</c:v>
                </c:pt>
                <c:pt idx="16">
                  <c:v>6740.530191458026</c:v>
                </c:pt>
                <c:pt idx="17">
                  <c:v>7090.928689883914</c:v>
                </c:pt>
                <c:pt idx="18">
                  <c:v>5504.077380952381</c:v>
                </c:pt>
                <c:pt idx="19">
                  <c:v>4780.718309859155</c:v>
                </c:pt>
                <c:pt idx="20">
                  <c:v>3219.3721461187215</c:v>
                </c:pt>
                <c:pt idx="21">
                  <c:v>3357.02570379437</c:v>
                </c:pt>
                <c:pt idx="22">
                  <c:v>2975.182679296346</c:v>
                </c:pt>
                <c:pt idx="23">
                  <c:v>1395.91452991453</c:v>
                </c:pt>
                <c:pt idx="24">
                  <c:v>1325.1948051948052</c:v>
                </c:pt>
                <c:pt idx="25">
                  <c:v>2450.5263157894738</c:v>
                </c:pt>
                <c:pt idx="26">
                  <c:v>776.8269230769231</c:v>
                </c:pt>
                <c:pt idx="27">
                  <c:v>94.46428571428571</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36</c:f>
              <c:strCache>
                <c:ptCount val="35"/>
                <c:pt idx="0">
                  <c:v>La Vache Qui Rit Nature Fromage Fondu Boite Ronde 1X512Gr 32P</c:v>
                </c:pt>
                <c:pt idx="1">
                  <c:v>Mini Babybel Rouge Filet St Paulin Ferme 1X264Gr 12P</c:v>
                </c:pt>
                <c:pt idx="2">
                  <c:v>Kiri Creme Fromage Blanc Frais Carre 1X432Gr 24P</c:v>
                </c:pt>
                <c:pt idx="3">
                  <c:v>La Vache Qui Rit Nature Fromage Fondu Boite Ronde 1X384Gr 24P</c:v>
                </c:pt>
                <c:pt idx="4">
                  <c:v>Mini Babybel Rouge Filet St Paulin Ferme 1X132Gr 6P</c:v>
                </c:pt>
                <c:pt idx="5">
                  <c:v>Kiri Creme Fromage Blanc Frais Carre 1X216Gr 12P</c:v>
                </c:pt>
                <c:pt idx="6">
                  <c:v>La Vache Qui Rit Nature Fromage Fondu Boite Ronde 1X192Gr 12P</c:v>
                </c:pt>
                <c:pt idx="7">
                  <c:v>Kiri Gouter Fromage Blanc Dips Boite 1X175Gr 5P</c:v>
                </c:pt>
                <c:pt idx="8">
                  <c:v>Kiri Creme Fromage Blanc Frais Carre 1X144Gr 8P</c:v>
                </c:pt>
                <c:pt idx="9">
                  <c:v>Kiri Gouter Fromage Blanc Dips Boite 1X280Gr 8P</c:v>
                </c:pt>
                <c:pt idx="10">
                  <c:v>Mini Babybel Rouge Filet Soft Cheese Enfant 484G</c:v>
                </c:pt>
                <c:pt idx="11">
                  <c:v>Mini Babybel Rouge Filet St Paulin Ferme 1X440Gr 20P</c:v>
                </c:pt>
                <c:pt idx="12">
                  <c:v>La Vache Qui Rit Nature Fromage Fondu Boite Ronde 1X512Gr 24+8P</c:v>
                </c:pt>
                <c:pt idx="13">
                  <c:v>Kiri Creme Fromage Blanc Frais Carre 1X432Gr 18+6P</c:v>
                </c:pt>
                <c:pt idx="14">
                  <c:v>La Vache Qui Rit Nature Fromage Fondu Boite Ronde 1X128Gr 8P</c:v>
                </c:pt>
                <c:pt idx="15">
                  <c:v>Mini Babybel Rouge Filet Soft Cheese Enfant 352G</c:v>
                </c:pt>
                <c:pt idx="16">
                  <c:v>La Vache Qui Rit Pik Et Croq' Fromage Fondu Dips Boite 1X175Gr 5P</c:v>
                </c:pt>
                <c:pt idx="17">
                  <c:v>Mini Babybel Rouge Filet St Paulin Ferme 1X396Gr 12+6P</c:v>
                </c:pt>
                <c:pt idx="18">
                  <c:v>La Vache Qui Rit Pik Et Croq' Fromage Fondu Dips Boite 1X280Gr 8P</c:v>
                </c:pt>
                <c:pt idx="19">
                  <c:v>Mini Babybel Aros St Paulin Ferme Assortis Filet 1X180Gr 9P</c:v>
                </c:pt>
                <c:pt idx="20">
                  <c:v>Babybel Mini Rolls St Paulin Ferme Sachet 1X85Gr 5P</c:v>
                </c:pt>
                <c:pt idx="21">
                  <c:v>La Vache Qui Rit Allegee Fromage Fondu Boite Ronde Allege 1X267Gr 16P</c:v>
                </c:pt>
                <c:pt idx="22">
                  <c:v>Mini Babybel Aros Soft Cheese Enfant 180G</c:v>
                </c:pt>
                <c:pt idx="23">
                  <c:v>Kiri Bio Fromage Blanc Frais Carre 1X144Gr 8P</c:v>
                </c:pt>
                <c:pt idx="24">
                  <c:v>Mini Babybel Aros St Paulin Ferme Raclette Filet 1X132Gr 6P</c:v>
                </c:pt>
                <c:pt idx="25">
                  <c:v>Mini Babybel Aros Soft Cheese Enfant 110G</c:v>
                </c:pt>
                <c:pt idx="26">
                  <c:v>Mini Babybel Aros St Paulin Ferme Emmental Filet 1X120Gr 6P</c:v>
                </c:pt>
                <c:pt idx="27">
                  <c:v>La Vache Qui Rit Bio Fromage Fondu Boite Ronde 1X128Gr 8P</c:v>
                </c:pt>
                <c:pt idx="28">
                  <c:v>Mini Babybel Aros Soft Cheese Enfant 120G</c:v>
                </c:pt>
                <c:pt idx="29">
                  <c:v>La Vache Qui Rit Aro Fromage Fondu Boite Ronde Jambon 1X133Gr 8P</c:v>
                </c:pt>
                <c:pt idx="30">
                  <c:v>Kiri Chevre Fromage Blanc Frais Carre 1X144Gr 8P</c:v>
                </c:pt>
                <c:pt idx="31">
                  <c:v>Mini Babybel Rouge Filet St Paulin Ferme Sachet 1X40Gr 1P</c:v>
                </c:pt>
                <c:pt idx="32">
                  <c:v>Mini Babybel Bio St Paulin Ferme Filet 1X100Gr 5P</c:v>
                </c:pt>
                <c:pt idx="33">
                  <c:v>Mini Babybel Rouge Filet St Paulin Ferme 1X110Gr 5P</c:v>
                </c:pt>
                <c:pt idx="34">
                  <c:v>Mini Babybel Rouge Filet St Paulin Ferme 1X396Gr 18P</c:v>
                </c:pt>
              </c:strCache>
            </c:strRef>
          </c:cat>
          <c:val>
            <c:numRef>
              <c:f>Sheet1!$B$2:$B$36</c:f>
              <c:numCache>
                <c:formatCode>General</c:formatCode>
                <c:ptCount val="35"/>
                <c:pt idx="0">
                  <c:v>0.99</c:v>
                </c:pt>
                <c:pt idx="1">
                  <c:v>1.0</c:v>
                </c:pt>
                <c:pt idx="2">
                  <c:v>0.99</c:v>
                </c:pt>
                <c:pt idx="3">
                  <c:v>1.0</c:v>
                </c:pt>
                <c:pt idx="4">
                  <c:v>1.0</c:v>
                </c:pt>
                <c:pt idx="5">
                  <c:v>1.0</c:v>
                </c:pt>
                <c:pt idx="6">
                  <c:v>1.0</c:v>
                </c:pt>
                <c:pt idx="7">
                  <c:v>1.0</c:v>
                </c:pt>
                <c:pt idx="8">
                  <c:v>1.0</c:v>
                </c:pt>
                <c:pt idx="9">
                  <c:v>0.99</c:v>
                </c:pt>
                <c:pt idx="10">
                  <c:v>0.97</c:v>
                </c:pt>
                <c:pt idx="11">
                  <c:v>1.0</c:v>
                </c:pt>
                <c:pt idx="12">
                  <c:v>0.94</c:v>
                </c:pt>
                <c:pt idx="13">
                  <c:v>0.98</c:v>
                </c:pt>
                <c:pt idx="14">
                  <c:v>0.94</c:v>
                </c:pt>
                <c:pt idx="15">
                  <c:v>0.99</c:v>
                </c:pt>
                <c:pt idx="16">
                  <c:v>1.0</c:v>
                </c:pt>
                <c:pt idx="17">
                  <c:v>0.94</c:v>
                </c:pt>
                <c:pt idx="18">
                  <c:v>0.95</c:v>
                </c:pt>
                <c:pt idx="19">
                  <c:v>0.96</c:v>
                </c:pt>
                <c:pt idx="20">
                  <c:v>0.92</c:v>
                </c:pt>
                <c:pt idx="21">
                  <c:v>0.86</c:v>
                </c:pt>
                <c:pt idx="22">
                  <c:v>0.96</c:v>
                </c:pt>
                <c:pt idx="23">
                  <c:v>0.75</c:v>
                </c:pt>
                <c:pt idx="24">
                  <c:v>0.88</c:v>
                </c:pt>
                <c:pt idx="25">
                  <c:v>0.94</c:v>
                </c:pt>
                <c:pt idx="26">
                  <c:v>0.7</c:v>
                </c:pt>
                <c:pt idx="27">
                  <c:v>0.82</c:v>
                </c:pt>
                <c:pt idx="28">
                  <c:v>0.68</c:v>
                </c:pt>
                <c:pt idx="29">
                  <c:v>0.08</c:v>
                </c:pt>
                <c:pt idx="30">
                  <c:v>0.56</c:v>
                </c:pt>
                <c:pt idx="31">
                  <c:v>0.21</c:v>
                </c:pt>
                <c:pt idx="32">
                  <c:v>0.67</c:v>
                </c:pt>
                <c:pt idx="33">
                  <c:v>0.05</c:v>
                </c:pt>
                <c:pt idx="34">
                  <c:v>0.01</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7ECAC4"/>
              </a:solidFill>
            </c:spPr>
            <c:extLst>
              <c:ext xmlns:c16="http://schemas.microsoft.com/office/drawing/2014/chart" uri="{C3380CC4-5D6E-409C-BE32-E72D297353CC}">
                <c16:uniqueId val="{00000017-FA3E-4872-B6E1-C4ABDF5766E2}"/>
              </c:ext>
            </c:extLst>
          </c:dPt>
          <c:dPt>
            <c:idx val="11"/>
            <c:invertIfNegative val="1"/>
            <c:bubble3D val="0"/>
            <c:spPr>
              <a:solidFill>
                <a:srgbClr val="7ECAC4"/>
              </a:solidFill>
            </c:spPr>
            <c:extLst>
              <c:ext xmlns:c16="http://schemas.microsoft.com/office/drawing/2014/chart" uri="{C3380CC4-5D6E-409C-BE32-E72D297353CC}">
                <c16:uniqueId val="{00000019-FA3E-4872-B6E1-C4ABDF5766E2}"/>
              </c:ext>
            </c:extLst>
          </c:dPt>
          <c:dPt>
            <c:idx val="12"/>
            <c:invertIfNegative val="1"/>
            <c:bubble3D val="0"/>
            <c:spPr>
              <a:solidFill>
                <a:srgbClr val="7ECAC4"/>
              </a:solidFill>
            </c:spPr>
            <c:extLst>
              <c:ext xmlns:c16="http://schemas.microsoft.com/office/drawing/2014/chart" uri="{C3380CC4-5D6E-409C-BE32-E72D297353CC}">
                <c16:uniqueId val="{0000001B-FA3E-4872-B6E1-C4ABDF5766E2}"/>
              </c:ext>
            </c:extLst>
          </c:dPt>
          <c:dPt>
            <c:idx val="13"/>
            <c:invertIfNegative val="1"/>
            <c:bubble3D val="0"/>
            <c:spPr>
              <a:solidFill>
                <a:srgbClr val="7ECAC4"/>
              </a:solidFill>
            </c:spPr>
            <c:extLst>
              <c:ext xmlns:c16="http://schemas.microsoft.com/office/drawing/2014/chart" uri="{C3380CC4-5D6E-409C-BE32-E72D297353CC}">
                <c16:uniqueId val="{0000001D-FA3E-4872-B6E1-C4ABDF5766E2}"/>
              </c:ext>
            </c:extLst>
          </c:dPt>
          <c:dPt>
            <c:idx val="14"/>
            <c:invertIfNegative val="1"/>
            <c:bubble3D val="0"/>
            <c:spPr>
              <a:solidFill>
                <a:srgbClr val="7ECAC4"/>
              </a:solidFill>
            </c:spPr>
            <c:extLst>
              <c:ext xmlns:c16="http://schemas.microsoft.com/office/drawing/2014/chart" uri="{C3380CC4-5D6E-409C-BE32-E72D297353CC}">
                <c16:uniqueId val="{0000001F-FA3E-4872-B6E1-C4ABDF5766E2}"/>
              </c:ext>
            </c:extLst>
          </c:dPt>
          <c:dPt>
            <c:idx val="15"/>
            <c:invertIfNegative val="1"/>
            <c:bubble3D val="0"/>
            <c:spPr>
              <a:solidFill>
                <a:srgbClr val="7ECAC4"/>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AEABAB"/>
              </a:solidFill>
            </c:spPr>
            <c:extLst>
              <c:ext xmlns:c16="http://schemas.microsoft.com/office/drawing/2014/chart" uri="{C3380CC4-5D6E-409C-BE32-E72D297353CC}">
                <c16:uniqueId val="{00000027-FA3E-4872-B6E1-C4ABDF5766E2}"/>
              </c:ext>
            </c:extLst>
          </c:dPt>
          <c:dPt>
            <c:idx val="19"/>
            <c:invertIfNegative val="1"/>
            <c:bubble3D val="0"/>
            <c:spPr>
              <a:solidFill>
                <a:srgbClr val="AEABAB"/>
              </a:solidFill>
            </c:spPr>
            <c:extLst>
              <c:ext xmlns:c16="http://schemas.microsoft.com/office/drawing/2014/chart" uri="{C3380CC4-5D6E-409C-BE32-E72D297353CC}">
                <c16:uniqueId val="{00000029-FA3E-4872-B6E1-C4ABDF5766E2}"/>
              </c:ext>
            </c:extLst>
          </c:dPt>
          <c:dPt>
            <c:idx val="20"/>
            <c:invertIfNegative val="1"/>
            <c:bubble3D val="0"/>
            <c:spPr>
              <a:solidFill>
                <a:srgbClr val="AEABAB"/>
              </a:solidFill>
            </c:spPr>
            <c:extLst>
              <c:ext xmlns:c16="http://schemas.microsoft.com/office/drawing/2014/chart" uri="{C3380CC4-5D6E-409C-BE32-E72D297353CC}">
                <c16:uniqueId val="{0000002B-FA3E-4872-B6E1-C4ABDF5766E2}"/>
              </c:ext>
            </c:extLst>
          </c:dPt>
          <c:dPt>
            <c:idx val="21"/>
            <c:invertIfNegative val="1"/>
            <c:bubble3D val="0"/>
            <c:spPr>
              <a:solidFill>
                <a:srgbClr val="AEABAB"/>
              </a:solidFill>
            </c:spPr>
            <c:extLst>
              <c:ext xmlns:c16="http://schemas.microsoft.com/office/drawing/2014/chart" uri="{C3380CC4-5D6E-409C-BE32-E72D297353CC}">
                <c16:uniqueId val="{0000002D-FA3E-4872-B6E1-C4ABDF5766E2}"/>
              </c:ext>
            </c:extLst>
          </c:dPt>
          <c:dPt>
            <c:idx val="22"/>
            <c:invertIfNegative val="1"/>
            <c:bubble3D val="0"/>
            <c:spPr>
              <a:solidFill>
                <a:srgbClr val="AEABAB"/>
              </a:solidFill>
            </c:spPr>
            <c:extLst>
              <c:ext xmlns:c16="http://schemas.microsoft.com/office/drawing/2014/chart" uri="{C3380CC4-5D6E-409C-BE32-E72D297353CC}">
                <c16:uniqueId val="{0000002F-FA3E-4872-B6E1-C4ABDF5766E2}"/>
              </c:ext>
            </c:extLst>
          </c:dPt>
          <c:dPt>
            <c:idx val="23"/>
            <c:invertIfNegative val="1"/>
            <c:bubble3D val="0"/>
            <c:spPr>
              <a:solidFill>
                <a:srgbClr val="AEABAB"/>
              </a:solidFill>
            </c:spPr>
            <c:extLst>
              <c:ext xmlns:c16="http://schemas.microsoft.com/office/drawing/2014/chart" uri="{C3380CC4-5D6E-409C-BE32-E72D297353CC}">
                <c16:uniqueId val="{00000031-FA3E-4872-B6E1-C4ABDF5766E2}"/>
              </c:ext>
            </c:extLst>
          </c:dPt>
          <c:dPt>
            <c:idx val="24"/>
            <c:invertIfNegative val="1"/>
            <c:bubble3D val="0"/>
            <c:spPr>
              <a:solidFill>
                <a:srgbClr val="AEABAB"/>
              </a:solidFill>
            </c:spPr>
            <c:extLst>
              <c:ext xmlns:c16="http://schemas.microsoft.com/office/drawing/2014/chart" uri="{C3380CC4-5D6E-409C-BE32-E72D297353CC}">
                <c16:uniqueId val="{00000033-FA3E-4872-B6E1-C4ABDF5766E2}"/>
              </c:ext>
            </c:extLst>
          </c:dPt>
          <c:dPt>
            <c:idx val="25"/>
            <c:invertIfNegative val="1"/>
            <c:bubble3D val="0"/>
            <c:spPr>
              <a:solidFill>
                <a:srgbClr val="AEABAB"/>
              </a:solidFill>
            </c:spPr>
            <c:extLst>
              <c:ext xmlns:c16="http://schemas.microsoft.com/office/drawing/2014/chart" uri="{C3380CC4-5D6E-409C-BE32-E72D297353CC}">
                <c16:uniqueId val="{00000035-FA3E-4872-B6E1-C4ABDF5766E2}"/>
              </c:ext>
            </c:extLst>
          </c:dPt>
          <c:dPt>
            <c:idx val="26"/>
            <c:invertIfNegative val="1"/>
            <c:bubble3D val="0"/>
            <c:spPr>
              <a:solidFill>
                <a:srgbClr val="AEABAB"/>
              </a:solidFill>
            </c:spPr>
            <c:extLst>
              <c:ext xmlns:c16="http://schemas.microsoft.com/office/drawing/2014/chart" uri="{C3380CC4-5D6E-409C-BE32-E72D297353CC}">
                <c16:uniqueId val="{00000037-FA3E-4872-B6E1-C4ABDF5766E2}"/>
              </c:ext>
            </c:extLst>
          </c:dPt>
          <c:dPt>
            <c:idx val="27"/>
            <c:invertIfNegative val="1"/>
            <c:bubble3D val="0"/>
            <c:spPr>
              <a:solidFill>
                <a:srgbClr val="AEABAB"/>
              </a:solidFill>
            </c:spPr>
            <c:extLst>
              <c:ext xmlns:c16="http://schemas.microsoft.com/office/drawing/2014/chart" uri="{C3380CC4-5D6E-409C-BE32-E72D297353CC}">
                <c16:uniqueId val="{00000039-FA3E-4872-B6E1-C4ABDF5766E2}"/>
              </c:ext>
            </c:extLst>
          </c:dPt>
          <c:dPt>
            <c:idx val="28"/>
            <c:invertIfNegative val="1"/>
            <c:bubble3D val="0"/>
            <c:spPr>
              <a:solidFill>
                <a:srgbClr val="AEABAB"/>
              </a:solidFill>
            </c:spPr>
            <c:extLst>
              <c:ext xmlns:c16="http://schemas.microsoft.com/office/drawing/2014/chart" uri="{C3380CC4-5D6E-409C-BE32-E72D297353CC}">
                <c16:uniqueId val="{0000003B-FA3E-4872-B6E1-C4ABDF5766E2}"/>
              </c:ext>
            </c:extLst>
          </c:dPt>
          <c:dPt>
            <c:idx val="29"/>
            <c:invertIfNegative val="1"/>
            <c:bubble3D val="0"/>
            <c:spPr>
              <a:solidFill>
                <a:srgbClr val="AEABAB"/>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36</c:f>
              <c:strCache>
                <c:ptCount val="35"/>
                <c:pt idx="0">
                  <c:v>La Vache Qui Rit Nature Fromage Fondu Boite Ronde 1X512Gr 32P</c:v>
                </c:pt>
                <c:pt idx="1">
                  <c:v>Mini Babybel Rouge Filet St Paulin Ferme 1X264Gr 12P</c:v>
                </c:pt>
                <c:pt idx="2">
                  <c:v>Kiri Creme Fromage Blanc Frais Carre 1X432Gr 24P</c:v>
                </c:pt>
                <c:pt idx="3">
                  <c:v>La Vache Qui Rit Nature Fromage Fondu Boite Ronde 1X384Gr 24P</c:v>
                </c:pt>
                <c:pt idx="4">
                  <c:v>Mini Babybel Rouge Filet St Paulin Ferme 1X132Gr 6P</c:v>
                </c:pt>
                <c:pt idx="5">
                  <c:v>Kiri Creme Fromage Blanc Frais Carre 1X216Gr 12P</c:v>
                </c:pt>
                <c:pt idx="6">
                  <c:v>La Vache Qui Rit Nature Fromage Fondu Boite Ronde 1X192Gr 12P</c:v>
                </c:pt>
                <c:pt idx="7">
                  <c:v>Kiri Gouter Fromage Blanc Dips Boite 1X175Gr 5P</c:v>
                </c:pt>
                <c:pt idx="8">
                  <c:v>Kiri Creme Fromage Blanc Frais Carre 1X144Gr 8P</c:v>
                </c:pt>
                <c:pt idx="9">
                  <c:v>Kiri Gouter Fromage Blanc Dips Boite 1X280Gr 8P</c:v>
                </c:pt>
                <c:pt idx="10">
                  <c:v>Mini Babybel Rouge Filet Soft Cheese Enfant 484G</c:v>
                </c:pt>
                <c:pt idx="11">
                  <c:v>Mini Babybel Rouge Filet St Paulin Ferme 1X440Gr 20P</c:v>
                </c:pt>
                <c:pt idx="12">
                  <c:v>La Vache Qui Rit Nature Fromage Fondu Boite Ronde 1X512Gr 24+8P</c:v>
                </c:pt>
                <c:pt idx="13">
                  <c:v>Kiri Creme Fromage Blanc Frais Carre 1X432Gr 18+6P</c:v>
                </c:pt>
                <c:pt idx="14">
                  <c:v>La Vache Qui Rit Nature Fromage Fondu Boite Ronde 1X128Gr 8P</c:v>
                </c:pt>
                <c:pt idx="15">
                  <c:v>Mini Babybel Rouge Filet Soft Cheese Enfant 352G</c:v>
                </c:pt>
                <c:pt idx="16">
                  <c:v>La Vache Qui Rit Pik Et Croq' Fromage Fondu Dips Boite 1X175Gr 5P</c:v>
                </c:pt>
                <c:pt idx="17">
                  <c:v>Mini Babybel Rouge Filet St Paulin Ferme 1X396Gr 12+6P</c:v>
                </c:pt>
                <c:pt idx="18">
                  <c:v>La Vache Qui Rit Pik Et Croq' Fromage Fondu Dips Boite 1X280Gr 8P</c:v>
                </c:pt>
                <c:pt idx="19">
                  <c:v>Mini Babybel Aros St Paulin Ferme Assortis Filet 1X180Gr 9P</c:v>
                </c:pt>
                <c:pt idx="20">
                  <c:v>Babybel Mini Rolls St Paulin Ferme Sachet 1X85Gr 5P</c:v>
                </c:pt>
                <c:pt idx="21">
                  <c:v>La Vache Qui Rit Allegee Fromage Fondu Boite Ronde Allege 1X267Gr 16P</c:v>
                </c:pt>
                <c:pt idx="22">
                  <c:v>Mini Babybel Aros Soft Cheese Enfant 180G</c:v>
                </c:pt>
                <c:pt idx="23">
                  <c:v>Kiri Bio Fromage Blanc Frais Carre 1X144Gr 8P</c:v>
                </c:pt>
                <c:pt idx="24">
                  <c:v>Mini Babybel Aros St Paulin Ferme Raclette Filet 1X132Gr 6P</c:v>
                </c:pt>
                <c:pt idx="25">
                  <c:v>Mini Babybel Aros Soft Cheese Enfant 110G</c:v>
                </c:pt>
                <c:pt idx="26">
                  <c:v>Mini Babybel Aros St Paulin Ferme Emmental Filet 1X120Gr 6P</c:v>
                </c:pt>
                <c:pt idx="27">
                  <c:v>La Vache Qui Rit Bio Fromage Fondu Boite Ronde 1X128Gr 8P</c:v>
                </c:pt>
                <c:pt idx="28">
                  <c:v>Mini Babybel Aros Soft Cheese Enfant 120G</c:v>
                </c:pt>
                <c:pt idx="29">
                  <c:v>La Vache Qui Rit Aro Fromage Fondu Boite Ronde Jambon 1X133Gr 8P</c:v>
                </c:pt>
                <c:pt idx="30">
                  <c:v>Kiri Chevre Fromage Blanc Frais Carre 1X144Gr 8P</c:v>
                </c:pt>
                <c:pt idx="31">
                  <c:v>Mini Babybel Rouge Filet St Paulin Ferme Sachet 1X40Gr 1P</c:v>
                </c:pt>
                <c:pt idx="32">
                  <c:v>Mini Babybel Bio St Paulin Ferme Filet 1X100Gr 5P</c:v>
                </c:pt>
                <c:pt idx="33">
                  <c:v>Mini Babybel Rouge Filet St Paulin Ferme 1X110Gr 5P</c:v>
                </c:pt>
                <c:pt idx="34">
                  <c:v>Mini Babybel Rouge Filet St Paulin Ferme 1X396Gr 18P</c:v>
                </c:pt>
              </c:strCache>
            </c:strRef>
          </c:cat>
          <c:val>
            <c:numRef>
              <c:f>Sheet1!$C$2:$C$36</c:f>
              <c:numCache>
                <c:formatCode>General</c:formatCode>
                <c:ptCount val="35"/>
                <c:pt idx="0">
                  <c:v>0.21340476932467017</c:v>
                </c:pt>
                <c:pt idx="1">
                  <c:v>0.33540464517120927</c:v>
                </c:pt>
                <c:pt idx="2">
                  <c:v>0.45317435323496613</c:v>
                </c:pt>
                <c:pt idx="3">
                  <c:v>0.5294032735337935</c:v>
                </c:pt>
                <c:pt idx="4">
                  <c:v>0.583197183329024</c:v>
                </c:pt>
                <c:pt idx="5">
                  <c:v>0.6339695297973396</c:v>
                </c:pt>
                <c:pt idx="6">
                  <c:v>0.6775502126773836</c:v>
                </c:pt>
                <c:pt idx="7">
                  <c:v>0.716458440855371</c:v>
                </c:pt>
                <c:pt idx="8">
                  <c:v>0.7472344346903872</c:v>
                </c:pt>
                <c:pt idx="9">
                  <c:v>0.7759735602706214</c:v>
                </c:pt>
                <c:pt idx="10">
                  <c:v>0.8019804225283058</c:v>
                </c:pt>
                <c:pt idx="11">
                  <c:v>0.8274647338806577</c:v>
                </c:pt>
                <c:pt idx="12">
                  <c:v>0.8516222366624336</c:v>
                </c:pt>
                <c:pt idx="13">
                  <c:v>0.8726891323893653</c:v>
                </c:pt>
                <c:pt idx="14">
                  <c:v>0.8928340099279455</c:v>
                </c:pt>
                <c:pt idx="15">
                  <c:v>0.9118189476185904</c:v>
                </c:pt>
                <c:pt idx="16">
                  <c:v>0.930715219176392</c:v>
                </c:pt>
                <c:pt idx="17">
                  <c:v>0.9464441684260947</c:v>
                </c:pt>
                <c:pt idx="18">
                  <c:v>0.9579888485768501</c:v>
                </c:pt>
                <c:pt idx="19">
                  <c:v>0.9657597123271943</c:v>
                </c:pt>
                <c:pt idx="20">
                  <c:v>0.972812897055254</c:v>
                </c:pt>
                <c:pt idx="21">
                  <c:v>0.9798095629946914</c:v>
                </c:pt>
                <c:pt idx="22">
                  <c:v>0.9837594852604821</c:v>
                </c:pt>
                <c:pt idx="23">
                  <c:v>0.9874609440427725</c:v>
                </c:pt>
                <c:pt idx="24">
                  <c:v>0.9904732441333253</c:v>
                </c:pt>
                <c:pt idx="25">
                  <c:v>0.9929352036094582</c:v>
                </c:pt>
                <c:pt idx="26">
                  <c:v>0.9951462989887236</c:v>
                </c:pt>
                <c:pt idx="27">
                  <c:v>0.9972854020605981</c:v>
                </c:pt>
                <c:pt idx="28">
                  <c:v>0.9981681493454979</c:v>
                </c:pt>
                <c:pt idx="29">
                  <c:v>0.9989521583588618</c:v>
                </c:pt>
                <c:pt idx="30">
                  <c:v>0.999339674762292</c:v>
                </c:pt>
                <c:pt idx="31">
                  <c:v>0.9996306969458122</c:v>
                </c:pt>
                <c:pt idx="32">
                  <c:v>0.9999007659496169</c:v>
                </c:pt>
                <c:pt idx="33">
                  <c:v>0.9999969731396678</c:v>
                </c:pt>
                <c:pt idx="34">
                  <c:v>1.0000000000000004</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36</c:f>
              <c:strCache>
                <c:ptCount val="35"/>
                <c:pt idx="0">
                  <c:v>La Vache Qui Rit Nature Fromage Fondu Boite Ronde 1X512Gr 32P</c:v>
                </c:pt>
                <c:pt idx="1">
                  <c:v>Mini Babybel Rouge Filet St Paulin Ferme 1X264Gr 12P</c:v>
                </c:pt>
                <c:pt idx="2">
                  <c:v>Kiri Creme Fromage Blanc Frais Carre 1X432Gr 24P</c:v>
                </c:pt>
                <c:pt idx="3">
                  <c:v>La Vache Qui Rit Nature Fromage Fondu Boite Ronde 1X384Gr 24P</c:v>
                </c:pt>
                <c:pt idx="4">
                  <c:v>Mini Babybel Rouge Filet St Paulin Ferme 1X132Gr 6P</c:v>
                </c:pt>
                <c:pt idx="5">
                  <c:v>Kiri Creme Fromage Blanc Frais Carre 1X216Gr 12P</c:v>
                </c:pt>
                <c:pt idx="6">
                  <c:v>La Vache Qui Rit Nature Fromage Fondu Boite Ronde 1X192Gr 12P</c:v>
                </c:pt>
                <c:pt idx="7">
                  <c:v>Kiri Gouter Fromage Blanc Dips Boite 1X175Gr 5P</c:v>
                </c:pt>
                <c:pt idx="8">
                  <c:v>Kiri Creme Fromage Blanc Frais Carre 1X144Gr 8P</c:v>
                </c:pt>
                <c:pt idx="9">
                  <c:v>Kiri Gouter Fromage Blanc Dips Boite 1X280Gr 8P</c:v>
                </c:pt>
                <c:pt idx="10">
                  <c:v>Mini Babybel Rouge Filet Soft Cheese Enfant 484G</c:v>
                </c:pt>
                <c:pt idx="11">
                  <c:v>Mini Babybel Rouge Filet St Paulin Ferme 1X440Gr 20P</c:v>
                </c:pt>
                <c:pt idx="12">
                  <c:v>La Vache Qui Rit Nature Fromage Fondu Boite Ronde 1X512Gr 24+8P</c:v>
                </c:pt>
                <c:pt idx="13">
                  <c:v>Kiri Creme Fromage Blanc Frais Carre 1X432Gr 18+6P</c:v>
                </c:pt>
                <c:pt idx="14">
                  <c:v>La Vache Qui Rit Nature Fromage Fondu Boite Ronde 1X128Gr 8P</c:v>
                </c:pt>
                <c:pt idx="15">
                  <c:v>Mini Babybel Rouge Filet Soft Cheese Enfant 352G</c:v>
                </c:pt>
                <c:pt idx="16">
                  <c:v>La Vache Qui Rit Pik Et Croq' Fromage Fondu Dips Boite 1X175Gr 5P</c:v>
                </c:pt>
                <c:pt idx="17">
                  <c:v>Mini Babybel Rouge Filet St Paulin Ferme 1X396Gr 12+6P</c:v>
                </c:pt>
                <c:pt idx="18">
                  <c:v>La Vache Qui Rit Pik Et Croq' Fromage Fondu Dips Boite 1X280Gr 8P</c:v>
                </c:pt>
                <c:pt idx="19">
                  <c:v>Mini Babybel Aros St Paulin Ferme Assortis Filet 1X180Gr 9P</c:v>
                </c:pt>
                <c:pt idx="20">
                  <c:v>Babybel Mini Rolls St Paulin Ferme Sachet 1X85Gr 5P</c:v>
                </c:pt>
                <c:pt idx="21">
                  <c:v>La Vache Qui Rit Allegee Fromage Fondu Boite Ronde Allege 1X267Gr 16P</c:v>
                </c:pt>
                <c:pt idx="22">
                  <c:v>Mini Babybel Aros Soft Cheese Enfant 180G</c:v>
                </c:pt>
                <c:pt idx="23">
                  <c:v>Kiri Bio Fromage Blanc Frais Carre 1X144Gr 8P</c:v>
                </c:pt>
                <c:pt idx="24">
                  <c:v>Mini Babybel Aros St Paulin Ferme Raclette Filet 1X132Gr 6P</c:v>
                </c:pt>
                <c:pt idx="25">
                  <c:v>Mini Babybel Aros Soft Cheese Enfant 110G</c:v>
                </c:pt>
                <c:pt idx="26">
                  <c:v>Mini Babybel Aros St Paulin Ferme Emmental Filet 1X120Gr 6P</c:v>
                </c:pt>
                <c:pt idx="27">
                  <c:v>La Vache Qui Rit Bio Fromage Fondu Boite Ronde 1X128Gr 8P</c:v>
                </c:pt>
                <c:pt idx="28">
                  <c:v>Mini Babybel Aros Soft Cheese Enfant 120G</c:v>
                </c:pt>
                <c:pt idx="29">
                  <c:v>La Vache Qui Rit Aro Fromage Fondu Boite Ronde Jambon 1X133Gr 8P</c:v>
                </c:pt>
                <c:pt idx="30">
                  <c:v>Kiri Chevre Fromage Blanc Frais Carre 1X144Gr 8P</c:v>
                </c:pt>
                <c:pt idx="31">
                  <c:v>Mini Babybel Rouge Filet St Paulin Ferme Sachet 1X40Gr 1P</c:v>
                </c:pt>
                <c:pt idx="32">
                  <c:v>Mini Babybel Bio St Paulin Ferme Filet 1X100Gr 5P</c:v>
                </c:pt>
                <c:pt idx="33">
                  <c:v>Mini Babybel Rouge Filet St Paulin Ferme 1X110Gr 5P</c:v>
                </c:pt>
                <c:pt idx="34">
                  <c:v>Mini Babybel Rouge Filet St Paulin Ferme 1X396Gr 18P</c:v>
                </c:pt>
              </c:strCache>
            </c:strRef>
          </c:cat>
          <c:val>
            <c:numRef>
              <c:f>Sheet1!$D$2:$D$36</c:f>
              <c:numCache>
                <c:formatCode>General</c:formatCode>
                <c:ptCount val="35"/>
                <c:pt idx="0">
                  <c:v>82610.36363636363</c:v>
                </c:pt>
                <c:pt idx="1">
                  <c:v>46754.67</c:v>
                </c:pt>
                <c:pt idx="2">
                  <c:v>45589.41414141414</c:v>
                </c:pt>
                <c:pt idx="3">
                  <c:v>29213.62</c:v>
                </c:pt>
                <c:pt idx="4">
                  <c:v>20615.73</c:v>
                </c:pt>
                <c:pt idx="5">
                  <c:v>19457.76</c:v>
                </c:pt>
                <c:pt idx="6">
                  <c:v>16701.66</c:v>
                </c:pt>
                <c:pt idx="7">
                  <c:v>14911.01</c:v>
                </c:pt>
                <c:pt idx="8">
                  <c:v>11794.45</c:v>
                </c:pt>
                <c:pt idx="9">
                  <c:v>11125.10101010101</c:v>
                </c:pt>
                <c:pt idx="10">
                  <c:v>10275.0</c:v>
                </c:pt>
                <c:pt idx="11">
                  <c:v>9766.49</c:v>
                </c:pt>
                <c:pt idx="12">
                  <c:v>9848.946808510638</c:v>
                </c:pt>
                <c:pt idx="13">
                  <c:v>8238.34693877551</c:v>
                </c:pt>
                <c:pt idx="14">
                  <c:v>8213.010638297872</c:v>
                </c:pt>
                <c:pt idx="15">
                  <c:v>7349.19191919192</c:v>
                </c:pt>
                <c:pt idx="16">
                  <c:v>7241.72</c:v>
                </c:pt>
                <c:pt idx="17">
                  <c:v>6412.648936170212</c:v>
                </c:pt>
                <c:pt idx="18">
                  <c:v>4657.1894736842105</c:v>
                </c:pt>
                <c:pt idx="19">
                  <c:v>3102.15625</c:v>
                </c:pt>
                <c:pt idx="20">
                  <c:v>2938.0760869565215</c:v>
                </c:pt>
                <c:pt idx="21">
                  <c:v>3117.8720930232557</c:v>
                </c:pt>
                <c:pt idx="22">
                  <c:v>1576.8229166666667</c:v>
                </c:pt>
                <c:pt idx="23">
                  <c:v>1891.3733333333332</c:v>
                </c:pt>
                <c:pt idx="24">
                  <c:v>1311.840909090909</c:v>
                </c:pt>
                <c:pt idx="25">
                  <c:v>1003.7340425531914</c:v>
                </c:pt>
                <c:pt idx="26">
                  <c:v>1210.5285714285715</c:v>
                </c:pt>
                <c:pt idx="27">
                  <c:v>999.7317073170732</c:v>
                </c:pt>
                <c:pt idx="28">
                  <c:v>497.5</c:v>
                </c:pt>
                <c:pt idx="29">
                  <c:v>3755.75</c:v>
                </c:pt>
                <c:pt idx="30">
                  <c:v>265.19642857142856</c:v>
                </c:pt>
                <c:pt idx="31">
                  <c:v>531.0952380952381</c:v>
                </c:pt>
                <c:pt idx="32">
                  <c:v>154.47761194029852</c:v>
                </c:pt>
                <c:pt idx="33">
                  <c:v>737.4</c:v>
                </c:pt>
                <c:pt idx="34">
                  <c:v>28.0</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27</c:f>
              <c:strCache>
                <c:ptCount val="26"/>
                <c:pt idx="0">
                  <c:v>La Vache Qui Rit Nature Fromage Fondu Boite Ronde 1X512Gr 32P</c:v>
                </c:pt>
                <c:pt idx="1">
                  <c:v>Mini Babybel Rouge Filet St Paulin Ferme 1X264Gr 12P</c:v>
                </c:pt>
                <c:pt idx="2">
                  <c:v>La Vache Qui Rit Nature Fromage Fondu Boite Ronde 1X384Gr 24P</c:v>
                </c:pt>
                <c:pt idx="3">
                  <c:v>La Vache Qui Rit Nature Fromage Fondu Boite Ronde 1X192Gr 12P</c:v>
                </c:pt>
                <c:pt idx="4">
                  <c:v>Mini Babybel Rouge Filet St Paulin Ferme 1X132Gr 6P</c:v>
                </c:pt>
                <c:pt idx="5">
                  <c:v>Kiri Creme Fromage Blanc Frais Carre 1X432Gr 24P</c:v>
                </c:pt>
                <c:pt idx="6">
                  <c:v>Kiri Creme Fromage Blanc Frais Carre 1X216Gr 12P</c:v>
                </c:pt>
                <c:pt idx="7">
                  <c:v>Kiri Creme Fromage Blanc Frais Carre 1X144Gr 8P</c:v>
                </c:pt>
                <c:pt idx="8">
                  <c:v>Kiri Gouter Fromage Blanc Dips Boite 1X175Gr 5P</c:v>
                </c:pt>
                <c:pt idx="9">
                  <c:v>Mini Babybel Rouge Filet Soft Cheese Enfant 352G</c:v>
                </c:pt>
                <c:pt idx="10">
                  <c:v>Mini Babybel Rouge Filet St Paulin Ferme 1X440Gr 20P</c:v>
                </c:pt>
                <c:pt idx="11">
                  <c:v>Kiri Gouter Fromage Blanc Dips Boite 1X280Gr 8P</c:v>
                </c:pt>
                <c:pt idx="12">
                  <c:v>La Vache Qui Rit Nature Fromage Fondu Boite Ronde 1X128Gr 8P</c:v>
                </c:pt>
                <c:pt idx="13">
                  <c:v>La Vache Qui Rit Pik Et Croq' Fromage Fondu Dips Boite 1X175Gr 5P</c:v>
                </c:pt>
                <c:pt idx="14">
                  <c:v>La Vache Qui Rit Nature Fromage Fondu Boite Ronde 1X512Gr 24+8P</c:v>
                </c:pt>
                <c:pt idx="15">
                  <c:v>Kiri Creme Fromage Blanc Frais Carre 1X432Gr 18+6P</c:v>
                </c:pt>
                <c:pt idx="16">
                  <c:v>Mini Babybel Aros St Paulin Ferme Assortis Filet 1X180Gr 9P</c:v>
                </c:pt>
                <c:pt idx="17">
                  <c:v>Mini Babybel Rouge Filet St Paulin Ferme 1X396Gr 12+6P</c:v>
                </c:pt>
                <c:pt idx="18">
                  <c:v>Babybel Mini Rolls St Paulin Ferme Sachet 1X85Gr 5P</c:v>
                </c:pt>
                <c:pt idx="19">
                  <c:v>Kiri Bio Fromage Blanc Frais Carre 1X144Gr 8P</c:v>
                </c:pt>
                <c:pt idx="20">
                  <c:v>Mini Babybel Aros Soft Cheese Enfant 180G</c:v>
                </c:pt>
                <c:pt idx="21">
                  <c:v>La Vache Qui Rit Allegee Fromage Fondu Boite Ronde Allege 1X267Gr 16P</c:v>
                </c:pt>
                <c:pt idx="22">
                  <c:v>Mini Babybel Aros Soft Cheese Enfant 110G</c:v>
                </c:pt>
                <c:pt idx="23">
                  <c:v>La Vache Qui Rit Bio Fromage Fondu Boite Ronde 1X128Gr 8P</c:v>
                </c:pt>
                <c:pt idx="24">
                  <c:v>Mini Babybel Rouge Filet St Paulin Ferme Sachet 1X40Gr 1P</c:v>
                </c:pt>
                <c:pt idx="25">
                  <c:v>Kiri Chevre Fromage Blanc Frais Carre 1X144Gr 8P</c:v>
                </c:pt>
              </c:strCache>
            </c:strRef>
          </c:cat>
          <c:val>
            <c:numRef>
              <c:f>Sheet1!$B$2:$B$27</c:f>
              <c:numCache>
                <c:formatCode>General</c:formatCode>
                <c:ptCount val="26"/>
                <c:pt idx="0">
                  <c:v>0.99</c:v>
                </c:pt>
                <c:pt idx="1">
                  <c:v>1.0</c:v>
                </c:pt>
                <c:pt idx="2">
                  <c:v>0.96</c:v>
                </c:pt>
                <c:pt idx="3">
                  <c:v>0.99</c:v>
                </c:pt>
                <c:pt idx="4">
                  <c:v>0.99</c:v>
                </c:pt>
                <c:pt idx="5">
                  <c:v>0.86</c:v>
                </c:pt>
                <c:pt idx="6">
                  <c:v>0.97</c:v>
                </c:pt>
                <c:pt idx="7">
                  <c:v>0.99</c:v>
                </c:pt>
                <c:pt idx="8">
                  <c:v>0.99</c:v>
                </c:pt>
                <c:pt idx="9">
                  <c:v>0.94</c:v>
                </c:pt>
                <c:pt idx="10">
                  <c:v>0.96</c:v>
                </c:pt>
                <c:pt idx="11">
                  <c:v>0.73</c:v>
                </c:pt>
                <c:pt idx="12">
                  <c:v>0.66</c:v>
                </c:pt>
                <c:pt idx="13">
                  <c:v>0.97</c:v>
                </c:pt>
                <c:pt idx="14">
                  <c:v>0.78</c:v>
                </c:pt>
                <c:pt idx="15">
                  <c:v>0.71</c:v>
                </c:pt>
                <c:pt idx="16">
                  <c:v>0.67</c:v>
                </c:pt>
                <c:pt idx="17">
                  <c:v>0.81</c:v>
                </c:pt>
                <c:pt idx="18">
                  <c:v>0.45</c:v>
                </c:pt>
                <c:pt idx="19">
                  <c:v>0.42</c:v>
                </c:pt>
                <c:pt idx="20">
                  <c:v>0.66</c:v>
                </c:pt>
                <c:pt idx="21">
                  <c:v>0.27</c:v>
                </c:pt>
                <c:pt idx="22">
                  <c:v>0.57</c:v>
                </c:pt>
                <c:pt idx="23">
                  <c:v>0.25</c:v>
                </c:pt>
                <c:pt idx="24">
                  <c:v>0.06</c:v>
                </c:pt>
                <c:pt idx="25">
                  <c:v>0.03</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7ECAC4"/>
              </a:solidFill>
            </c:spPr>
            <c:extLst>
              <c:ext xmlns:c16="http://schemas.microsoft.com/office/drawing/2014/chart" uri="{C3380CC4-5D6E-409C-BE32-E72D297353CC}">
                <c16:uniqueId val="{00000015-FA3E-4872-B6E1-C4ABDF5766E2}"/>
              </c:ext>
            </c:extLst>
          </c:dPt>
          <c:dPt>
            <c:idx val="10"/>
            <c:invertIfNegative val="1"/>
            <c:bubble3D val="0"/>
            <c:spPr>
              <a:solidFill>
                <a:srgbClr val="7ECAC4"/>
              </a:solidFill>
            </c:spPr>
            <c:extLst>
              <c:ext xmlns:c16="http://schemas.microsoft.com/office/drawing/2014/chart" uri="{C3380CC4-5D6E-409C-BE32-E72D297353CC}">
                <c16:uniqueId val="{00000017-FA3E-4872-B6E1-C4ABDF5766E2}"/>
              </c:ext>
            </c:extLst>
          </c:dPt>
          <c:dPt>
            <c:idx val="11"/>
            <c:invertIfNegative val="1"/>
            <c:bubble3D val="0"/>
            <c:spPr>
              <a:solidFill>
                <a:srgbClr val="7ECAC4"/>
              </a:solidFill>
            </c:spPr>
            <c:extLst>
              <c:ext xmlns:c16="http://schemas.microsoft.com/office/drawing/2014/chart" uri="{C3380CC4-5D6E-409C-BE32-E72D297353CC}">
                <c16:uniqueId val="{00000019-FA3E-4872-B6E1-C4ABDF5766E2}"/>
              </c:ext>
            </c:extLst>
          </c:dPt>
          <c:dPt>
            <c:idx val="12"/>
            <c:invertIfNegative val="1"/>
            <c:bubble3D val="0"/>
            <c:spPr>
              <a:solidFill>
                <a:srgbClr val="7ECAC4"/>
              </a:solidFill>
            </c:spPr>
            <c:extLst>
              <c:ext xmlns:c16="http://schemas.microsoft.com/office/drawing/2014/chart" uri="{C3380CC4-5D6E-409C-BE32-E72D297353CC}">
                <c16:uniqueId val="{0000001B-FA3E-4872-B6E1-C4ABDF5766E2}"/>
              </c:ext>
            </c:extLst>
          </c:dPt>
          <c:dPt>
            <c:idx val="13"/>
            <c:invertIfNegative val="1"/>
            <c:bubble3D val="0"/>
            <c:spPr>
              <a:solidFill>
                <a:srgbClr val="7ECAC4"/>
              </a:solidFill>
            </c:spPr>
            <c:extLst>
              <c:ext xmlns:c16="http://schemas.microsoft.com/office/drawing/2014/chart" uri="{C3380CC4-5D6E-409C-BE32-E72D297353CC}">
                <c16:uniqueId val="{0000001D-FA3E-4872-B6E1-C4ABDF5766E2}"/>
              </c:ext>
            </c:extLst>
          </c:dPt>
          <c:dPt>
            <c:idx val="14"/>
            <c:invertIfNegative val="1"/>
            <c:bubble3D val="0"/>
            <c:spPr>
              <a:solidFill>
                <a:srgbClr val="7ECAC4"/>
              </a:solidFill>
            </c:spPr>
            <c:extLst>
              <c:ext xmlns:c16="http://schemas.microsoft.com/office/drawing/2014/chart" uri="{C3380CC4-5D6E-409C-BE32-E72D297353CC}">
                <c16:uniqueId val="{0000001F-FA3E-4872-B6E1-C4ABDF5766E2}"/>
              </c:ext>
            </c:extLst>
          </c:dPt>
          <c:dPt>
            <c:idx val="15"/>
            <c:invertIfNegative val="1"/>
            <c:bubble3D val="0"/>
            <c:spPr>
              <a:solidFill>
                <a:srgbClr val="AEABAB"/>
              </a:solidFill>
            </c:spPr>
            <c:extLst>
              <c:ext xmlns:c16="http://schemas.microsoft.com/office/drawing/2014/chart" uri="{C3380CC4-5D6E-409C-BE32-E72D297353CC}">
                <c16:uniqueId val="{00000021-FA3E-4872-B6E1-C4ABDF5766E2}"/>
              </c:ext>
            </c:extLst>
          </c:dPt>
          <c:dPt>
            <c:idx val="16"/>
            <c:invertIfNegative val="1"/>
            <c:bubble3D val="0"/>
            <c:spPr>
              <a:solidFill>
                <a:srgbClr val="AEABAB"/>
              </a:solidFill>
            </c:spPr>
            <c:extLst>
              <c:ext xmlns:c16="http://schemas.microsoft.com/office/drawing/2014/chart" uri="{C3380CC4-5D6E-409C-BE32-E72D297353CC}">
                <c16:uniqueId val="{00000023-FA3E-4872-B6E1-C4ABDF5766E2}"/>
              </c:ext>
            </c:extLst>
          </c:dPt>
          <c:dPt>
            <c:idx val="17"/>
            <c:invertIfNegative val="1"/>
            <c:bubble3D val="0"/>
            <c:spPr>
              <a:solidFill>
                <a:srgbClr val="AEABAB"/>
              </a:solidFill>
            </c:spPr>
            <c:extLst>
              <c:ext xmlns:c16="http://schemas.microsoft.com/office/drawing/2014/chart" uri="{C3380CC4-5D6E-409C-BE32-E72D297353CC}">
                <c16:uniqueId val="{00000025-FA3E-4872-B6E1-C4ABDF5766E2}"/>
              </c:ext>
            </c:extLst>
          </c:dPt>
          <c:dPt>
            <c:idx val="18"/>
            <c:invertIfNegative val="1"/>
            <c:bubble3D val="0"/>
            <c:spPr>
              <a:solidFill>
                <a:srgbClr val="AEABAB"/>
              </a:solidFill>
            </c:spPr>
            <c:extLst>
              <c:ext xmlns:c16="http://schemas.microsoft.com/office/drawing/2014/chart" uri="{C3380CC4-5D6E-409C-BE32-E72D297353CC}">
                <c16:uniqueId val="{00000027-FA3E-4872-B6E1-C4ABDF5766E2}"/>
              </c:ext>
            </c:extLst>
          </c:dPt>
          <c:dPt>
            <c:idx val="19"/>
            <c:invertIfNegative val="1"/>
            <c:bubble3D val="0"/>
            <c:spPr>
              <a:solidFill>
                <a:srgbClr val="AEABAB"/>
              </a:solidFill>
            </c:spPr>
            <c:extLst>
              <c:ext xmlns:c16="http://schemas.microsoft.com/office/drawing/2014/chart" uri="{C3380CC4-5D6E-409C-BE32-E72D297353CC}">
                <c16:uniqueId val="{00000029-FA3E-4872-B6E1-C4ABDF5766E2}"/>
              </c:ext>
            </c:extLst>
          </c:dPt>
          <c:dPt>
            <c:idx val="20"/>
            <c:invertIfNegative val="1"/>
            <c:bubble3D val="0"/>
            <c:spPr>
              <a:solidFill>
                <a:srgbClr val="AEABAB"/>
              </a:solidFill>
            </c:spPr>
            <c:extLst>
              <c:ext xmlns:c16="http://schemas.microsoft.com/office/drawing/2014/chart" uri="{C3380CC4-5D6E-409C-BE32-E72D297353CC}">
                <c16:uniqueId val="{0000002B-FA3E-4872-B6E1-C4ABDF5766E2}"/>
              </c:ext>
            </c:extLst>
          </c:dPt>
          <c:dPt>
            <c:idx val="21"/>
            <c:invertIfNegative val="1"/>
            <c:bubble3D val="0"/>
            <c:spPr>
              <a:solidFill>
                <a:srgbClr val="AEABAB"/>
              </a:solidFill>
            </c:spPr>
            <c:extLst>
              <c:ext xmlns:c16="http://schemas.microsoft.com/office/drawing/2014/chart" uri="{C3380CC4-5D6E-409C-BE32-E72D297353CC}">
                <c16:uniqueId val="{0000002D-FA3E-4872-B6E1-C4ABDF5766E2}"/>
              </c:ext>
            </c:extLst>
          </c:dPt>
          <c:dPt>
            <c:idx val="22"/>
            <c:invertIfNegative val="1"/>
            <c:bubble3D val="0"/>
            <c:spPr>
              <a:solidFill>
                <a:srgbClr val="AEABAB"/>
              </a:solidFill>
            </c:spPr>
            <c:extLst>
              <c:ext xmlns:c16="http://schemas.microsoft.com/office/drawing/2014/chart" uri="{C3380CC4-5D6E-409C-BE32-E72D297353CC}">
                <c16:uniqueId val="{0000002F-FA3E-4872-B6E1-C4ABDF5766E2}"/>
              </c:ext>
            </c:extLst>
          </c:dPt>
          <c:dPt>
            <c:idx val="23"/>
            <c:invertIfNegative val="1"/>
            <c:bubble3D val="0"/>
            <c:spPr>
              <a:solidFill>
                <a:srgbClr val="AEABAB"/>
              </a:solidFill>
            </c:spPr>
            <c:extLst>
              <c:ext xmlns:c16="http://schemas.microsoft.com/office/drawing/2014/chart" uri="{C3380CC4-5D6E-409C-BE32-E72D297353CC}">
                <c16:uniqueId val="{00000031-FA3E-4872-B6E1-C4ABDF5766E2}"/>
              </c:ext>
            </c:extLst>
          </c:dPt>
          <c:dPt>
            <c:idx val="24"/>
            <c:invertIfNegative val="1"/>
            <c:bubble3D val="0"/>
            <c:spPr>
              <a:solidFill>
                <a:srgbClr val="AEABAB"/>
              </a:solidFill>
            </c:spPr>
            <c:extLst>
              <c:ext xmlns:c16="http://schemas.microsoft.com/office/drawing/2014/chart" uri="{C3380CC4-5D6E-409C-BE32-E72D297353CC}">
                <c16:uniqueId val="{00000033-FA3E-4872-B6E1-C4ABDF5766E2}"/>
              </c:ext>
            </c:extLst>
          </c:dPt>
          <c:dPt>
            <c:idx val="25"/>
            <c:invertIfNegative val="1"/>
            <c:bubble3D val="0"/>
            <c:spPr>
              <a:solidFill>
                <a:srgbClr val="AEABAB"/>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27</c:f>
              <c:strCache>
                <c:ptCount val="26"/>
                <c:pt idx="0">
                  <c:v>La Vache Qui Rit Nature Fromage Fondu Boite Ronde 1X512Gr 32P</c:v>
                </c:pt>
                <c:pt idx="1">
                  <c:v>Mini Babybel Rouge Filet St Paulin Ferme 1X264Gr 12P</c:v>
                </c:pt>
                <c:pt idx="2">
                  <c:v>La Vache Qui Rit Nature Fromage Fondu Boite Ronde 1X384Gr 24P</c:v>
                </c:pt>
                <c:pt idx="3">
                  <c:v>La Vache Qui Rit Nature Fromage Fondu Boite Ronde 1X192Gr 12P</c:v>
                </c:pt>
                <c:pt idx="4">
                  <c:v>Mini Babybel Rouge Filet St Paulin Ferme 1X132Gr 6P</c:v>
                </c:pt>
                <c:pt idx="5">
                  <c:v>Kiri Creme Fromage Blanc Frais Carre 1X432Gr 24P</c:v>
                </c:pt>
                <c:pt idx="6">
                  <c:v>Kiri Creme Fromage Blanc Frais Carre 1X216Gr 12P</c:v>
                </c:pt>
                <c:pt idx="7">
                  <c:v>Kiri Creme Fromage Blanc Frais Carre 1X144Gr 8P</c:v>
                </c:pt>
                <c:pt idx="8">
                  <c:v>Kiri Gouter Fromage Blanc Dips Boite 1X175Gr 5P</c:v>
                </c:pt>
                <c:pt idx="9">
                  <c:v>Mini Babybel Rouge Filet Soft Cheese Enfant 352G</c:v>
                </c:pt>
                <c:pt idx="10">
                  <c:v>Mini Babybel Rouge Filet St Paulin Ferme 1X440Gr 20P</c:v>
                </c:pt>
                <c:pt idx="11">
                  <c:v>Kiri Gouter Fromage Blanc Dips Boite 1X280Gr 8P</c:v>
                </c:pt>
                <c:pt idx="12">
                  <c:v>La Vache Qui Rit Nature Fromage Fondu Boite Ronde 1X128Gr 8P</c:v>
                </c:pt>
                <c:pt idx="13">
                  <c:v>La Vache Qui Rit Pik Et Croq' Fromage Fondu Dips Boite 1X175Gr 5P</c:v>
                </c:pt>
                <c:pt idx="14">
                  <c:v>La Vache Qui Rit Nature Fromage Fondu Boite Ronde 1X512Gr 24+8P</c:v>
                </c:pt>
                <c:pt idx="15">
                  <c:v>Kiri Creme Fromage Blanc Frais Carre 1X432Gr 18+6P</c:v>
                </c:pt>
                <c:pt idx="16">
                  <c:v>Mini Babybel Aros St Paulin Ferme Assortis Filet 1X180Gr 9P</c:v>
                </c:pt>
                <c:pt idx="17">
                  <c:v>Mini Babybel Rouge Filet St Paulin Ferme 1X396Gr 12+6P</c:v>
                </c:pt>
                <c:pt idx="18">
                  <c:v>Babybel Mini Rolls St Paulin Ferme Sachet 1X85Gr 5P</c:v>
                </c:pt>
                <c:pt idx="19">
                  <c:v>Kiri Bio Fromage Blanc Frais Carre 1X144Gr 8P</c:v>
                </c:pt>
                <c:pt idx="20">
                  <c:v>Mini Babybel Aros Soft Cheese Enfant 180G</c:v>
                </c:pt>
                <c:pt idx="21">
                  <c:v>La Vache Qui Rit Allegee Fromage Fondu Boite Ronde Allege 1X267Gr 16P</c:v>
                </c:pt>
                <c:pt idx="22">
                  <c:v>Mini Babybel Aros Soft Cheese Enfant 110G</c:v>
                </c:pt>
                <c:pt idx="23">
                  <c:v>La Vache Qui Rit Bio Fromage Fondu Boite Ronde 1X128Gr 8P</c:v>
                </c:pt>
                <c:pt idx="24">
                  <c:v>Mini Babybel Rouge Filet St Paulin Ferme Sachet 1X40Gr 1P</c:v>
                </c:pt>
                <c:pt idx="25">
                  <c:v>Kiri Chevre Fromage Blanc Frais Carre 1X144Gr 8P</c:v>
                </c:pt>
              </c:strCache>
            </c:strRef>
          </c:cat>
          <c:val>
            <c:numRef>
              <c:f>Sheet1!$C$2:$C$27</c:f>
              <c:numCache>
                <c:formatCode>General</c:formatCode>
                <c:ptCount val="26"/>
                <c:pt idx="0">
                  <c:v>0.15057014405206184</c:v>
                </c:pt>
                <c:pt idx="1">
                  <c:v>0.29573987183294653</c:v>
                </c:pt>
                <c:pt idx="2">
                  <c:v>0.39038754521652264</c:v>
                </c:pt>
                <c:pt idx="3">
                  <c:v>0.46910872657752994</c:v>
                </c:pt>
                <c:pt idx="4">
                  <c:v>0.5470149157103236</c:v>
                </c:pt>
                <c:pt idx="5">
                  <c:v>0.621973335189512</c:v>
                </c:pt>
                <c:pt idx="6">
                  <c:v>0.6874624389776425</c:v>
                </c:pt>
                <c:pt idx="7">
                  <c:v>0.7361940176337531</c:v>
                </c:pt>
                <c:pt idx="8">
                  <c:v>0.7745837226374112</c:v>
                </c:pt>
                <c:pt idx="9">
                  <c:v>0.8059542843956699</c:v>
                </c:pt>
                <c:pt idx="10">
                  <c:v>0.8369278652704529</c:v>
                </c:pt>
                <c:pt idx="11">
                  <c:v>0.8668997776461701</c:v>
                </c:pt>
                <c:pt idx="12">
                  <c:v>0.8929810134521551</c:v>
                </c:pt>
                <c:pt idx="13">
                  <c:v>0.9181832996859698</c:v>
                </c:pt>
                <c:pt idx="14">
                  <c:v>0.9378869862598511</c:v>
                </c:pt>
                <c:pt idx="15">
                  <c:v>0.9529558890611003</c:v>
                </c:pt>
                <c:pt idx="16">
                  <c:v>0.9635429531501527</c:v>
                </c:pt>
                <c:pt idx="17">
                  <c:v>0.9737421495556098</c:v>
                </c:pt>
                <c:pt idx="18">
                  <c:v>0.9805430708382634</c:v>
                </c:pt>
                <c:pt idx="19">
                  <c:v>0.9870468853103382</c:v>
                </c:pt>
                <c:pt idx="20">
                  <c:v>0.9912166484718813</c:v>
                </c:pt>
                <c:pt idx="21">
                  <c:v>0.9952092196882395</c:v>
                </c:pt>
                <c:pt idx="22">
                  <c:v>0.9975908988081007</c:v>
                </c:pt>
                <c:pt idx="23">
                  <c:v>0.9995574943533212</c:v>
                </c:pt>
                <c:pt idx="24">
                  <c:v>0.9998274265090532</c:v>
                </c:pt>
                <c:pt idx="25">
                  <c:v>0.9999121668970808</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27</c:f>
              <c:strCache>
                <c:ptCount val="26"/>
                <c:pt idx="0">
                  <c:v>La Vache Qui Rit Nature Fromage Fondu Boite Ronde 1X512Gr 32P</c:v>
                </c:pt>
                <c:pt idx="1">
                  <c:v>Mini Babybel Rouge Filet St Paulin Ferme 1X264Gr 12P</c:v>
                </c:pt>
                <c:pt idx="2">
                  <c:v>La Vache Qui Rit Nature Fromage Fondu Boite Ronde 1X384Gr 24P</c:v>
                </c:pt>
                <c:pt idx="3">
                  <c:v>La Vache Qui Rit Nature Fromage Fondu Boite Ronde 1X192Gr 12P</c:v>
                </c:pt>
                <c:pt idx="4">
                  <c:v>Mini Babybel Rouge Filet St Paulin Ferme 1X132Gr 6P</c:v>
                </c:pt>
                <c:pt idx="5">
                  <c:v>Kiri Creme Fromage Blanc Frais Carre 1X432Gr 24P</c:v>
                </c:pt>
                <c:pt idx="6">
                  <c:v>Kiri Creme Fromage Blanc Frais Carre 1X216Gr 12P</c:v>
                </c:pt>
                <c:pt idx="7">
                  <c:v>Kiri Creme Fromage Blanc Frais Carre 1X144Gr 8P</c:v>
                </c:pt>
                <c:pt idx="8">
                  <c:v>Kiri Gouter Fromage Blanc Dips Boite 1X175Gr 5P</c:v>
                </c:pt>
                <c:pt idx="9">
                  <c:v>Mini Babybel Rouge Filet Soft Cheese Enfant 352G</c:v>
                </c:pt>
                <c:pt idx="10">
                  <c:v>Mini Babybel Rouge Filet St Paulin Ferme 1X440Gr 20P</c:v>
                </c:pt>
                <c:pt idx="11">
                  <c:v>Kiri Gouter Fromage Blanc Dips Boite 1X280Gr 8P</c:v>
                </c:pt>
                <c:pt idx="12">
                  <c:v>La Vache Qui Rit Nature Fromage Fondu Boite Ronde 1X128Gr 8P</c:v>
                </c:pt>
                <c:pt idx="13">
                  <c:v>La Vache Qui Rit Pik Et Croq' Fromage Fondu Dips Boite 1X175Gr 5P</c:v>
                </c:pt>
                <c:pt idx="14">
                  <c:v>La Vache Qui Rit Nature Fromage Fondu Boite Ronde 1X512Gr 24+8P</c:v>
                </c:pt>
                <c:pt idx="15">
                  <c:v>Kiri Creme Fromage Blanc Frais Carre 1X432Gr 18+6P</c:v>
                </c:pt>
                <c:pt idx="16">
                  <c:v>Mini Babybel Aros St Paulin Ferme Assortis Filet 1X180Gr 9P</c:v>
                </c:pt>
                <c:pt idx="17">
                  <c:v>Mini Babybel Rouge Filet St Paulin Ferme 1X396Gr 12+6P</c:v>
                </c:pt>
                <c:pt idx="18">
                  <c:v>Babybel Mini Rolls St Paulin Ferme Sachet 1X85Gr 5P</c:v>
                </c:pt>
                <c:pt idx="19">
                  <c:v>Kiri Bio Fromage Blanc Frais Carre 1X144Gr 8P</c:v>
                </c:pt>
                <c:pt idx="20">
                  <c:v>Mini Babybel Aros Soft Cheese Enfant 180G</c:v>
                </c:pt>
                <c:pt idx="21">
                  <c:v>La Vache Qui Rit Allegee Fromage Fondu Boite Ronde Allege 1X267Gr 16P</c:v>
                </c:pt>
                <c:pt idx="22">
                  <c:v>Mini Babybel Aros Soft Cheese Enfant 110G</c:v>
                </c:pt>
                <c:pt idx="23">
                  <c:v>La Vache Qui Rit Bio Fromage Fondu Boite Ronde 1X128Gr 8P</c:v>
                </c:pt>
                <c:pt idx="24">
                  <c:v>Mini Babybel Rouge Filet St Paulin Ferme Sachet 1X40Gr 1P</c:v>
                </c:pt>
                <c:pt idx="25">
                  <c:v>Kiri Chevre Fromage Blanc Frais Carre 1X144Gr 8P</c:v>
                </c:pt>
              </c:strCache>
            </c:strRef>
          </c:cat>
          <c:val>
            <c:numRef>
              <c:f>Sheet1!$D$2:$D$27</c:f>
              <c:numCache>
                <c:formatCode>General</c:formatCode>
                <c:ptCount val="26"/>
                <c:pt idx="0">
                  <c:v>36882.89898989899</c:v>
                </c:pt>
                <c:pt idx="1">
                  <c:v>35204.44</c:v>
                </c:pt>
                <c:pt idx="2">
                  <c:v>23908.927083333332</c:v>
                </c:pt>
                <c:pt idx="3">
                  <c:v>19283.141414141413</c:v>
                </c:pt>
                <c:pt idx="4">
                  <c:v>19083.50505050505</c:v>
                </c:pt>
                <c:pt idx="5">
                  <c:v>21137.0</c:v>
                </c:pt>
                <c:pt idx="6">
                  <c:v>16372.639175257733</c:v>
                </c:pt>
                <c:pt idx="7">
                  <c:v>11937.040404040405</c:v>
                </c:pt>
                <c:pt idx="8">
                  <c:v>9403.747474747475</c:v>
                </c:pt>
                <c:pt idx="9">
                  <c:v>8093.117021276596</c:v>
                </c:pt>
                <c:pt idx="10">
                  <c:v>7824.229166666667</c:v>
                </c:pt>
                <c:pt idx="11">
                  <c:v>9956.643835616438</c:v>
                </c:pt>
                <c:pt idx="12">
                  <c:v>9583.09090909091</c:v>
                </c:pt>
                <c:pt idx="13">
                  <c:v>6300.711340206186</c:v>
                </c:pt>
                <c:pt idx="14">
                  <c:v>6125.961538461538</c:v>
                </c:pt>
                <c:pt idx="15">
                  <c:v>5146.887323943662</c:v>
                </c:pt>
                <c:pt idx="16">
                  <c:v>3831.9701492537315</c:v>
                </c:pt>
                <c:pt idx="17">
                  <c:v>3053.5308641975307</c:v>
                </c:pt>
                <c:pt idx="18">
                  <c:v>3665.0222222222224</c:v>
                </c:pt>
                <c:pt idx="19">
                  <c:v>3755.2619047619046</c:v>
                </c:pt>
                <c:pt idx="20">
                  <c:v>1532.1060606060605</c:v>
                </c:pt>
                <c:pt idx="21">
                  <c:v>3586.0</c:v>
                </c:pt>
                <c:pt idx="22">
                  <c:v>1013.2807017543861</c:v>
                </c:pt>
                <c:pt idx="23">
                  <c:v>1907.64</c:v>
                </c:pt>
                <c:pt idx="24">
                  <c:v>1091.0</c:v>
                </c:pt>
                <c:pt idx="25">
                  <c:v>685.0</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18</c:f>
              <c:strCache>
                <c:ptCount val="17"/>
                <c:pt idx="0">
                  <c:v>Mini Babybel Rouge Filet St Paulin Ferme 1X132Gr 6P</c:v>
                </c:pt>
                <c:pt idx="1">
                  <c:v>La Vache Qui Rit Nature Fromage Fondu Boite Ronde 1X192Gr 12P</c:v>
                </c:pt>
                <c:pt idx="2">
                  <c:v>Kiri Creme Fromage Blanc Frais Carre 1X144Gr 8P</c:v>
                </c:pt>
                <c:pt idx="3">
                  <c:v>La Vache Qui Rit Nature Fromage Fondu Boite Ronde 1X384Gr 24P</c:v>
                </c:pt>
                <c:pt idx="4">
                  <c:v>Kiri Gouter Fromage Blanc Dips Boite 1X175Gr 5P</c:v>
                </c:pt>
                <c:pt idx="5">
                  <c:v>La Vache Qui Rit Pik Et Croq' Fromage Fondu Dips Boite 1X175Gr 5P</c:v>
                </c:pt>
                <c:pt idx="6">
                  <c:v>Mini Babybel Rouge Filet St Paulin Ferme 1X264Gr 12P</c:v>
                </c:pt>
                <c:pt idx="7">
                  <c:v>La Vache Qui Rit Nature Fromage Fondu Boite Ronde 1X128Gr 8P</c:v>
                </c:pt>
                <c:pt idx="8">
                  <c:v>Mini Babybel Aros St Paulin Ferme Raclette Filet 1X132Gr 6P</c:v>
                </c:pt>
                <c:pt idx="9">
                  <c:v>Kiri Creme Fromage Blanc Frais Carre 1X216Gr 12P</c:v>
                </c:pt>
                <c:pt idx="10">
                  <c:v>Babybel Mini Rolls St Paulin Ferme Sachet 1X85Gr 5P</c:v>
                </c:pt>
                <c:pt idx="11">
                  <c:v>La Vache Qui Rit Bio Fromage Fondu Boite Ronde 1X128Gr 8P</c:v>
                </c:pt>
                <c:pt idx="12">
                  <c:v>Mini Babybel Rouge Filet St Paulin Ferme Sachet 1X40Gr 1P</c:v>
                </c:pt>
                <c:pt idx="13">
                  <c:v>La Vache Qui Rit Pik Et Croq' Fromage Fondu Dips Boite 1X35Gr 1P</c:v>
                </c:pt>
                <c:pt idx="14">
                  <c:v>Kiri Gouter Fromage Blanc Dips Boite 1X280Gr 8P</c:v>
                </c:pt>
                <c:pt idx="15">
                  <c:v>Mini Babybel Aros Soft Cheese Enfant 180G</c:v>
                </c:pt>
                <c:pt idx="16">
                  <c:v>Mini Babybel Bio St Paulin Ferme Filet 1X100Gr 5P</c:v>
                </c:pt>
              </c:strCache>
            </c:strRef>
          </c:cat>
          <c:val>
            <c:numRef>
              <c:f>Sheet1!$B$2:$B$18</c:f>
              <c:numCache>
                <c:formatCode>General</c:formatCode>
                <c:ptCount val="17"/>
                <c:pt idx="0">
                  <c:v>0.96</c:v>
                </c:pt>
                <c:pt idx="1">
                  <c:v>0.91</c:v>
                </c:pt>
                <c:pt idx="2">
                  <c:v>0.96</c:v>
                </c:pt>
                <c:pt idx="3">
                  <c:v>0.47</c:v>
                </c:pt>
                <c:pt idx="4">
                  <c:v>0.71</c:v>
                </c:pt>
                <c:pt idx="5">
                  <c:v>0.51</c:v>
                </c:pt>
                <c:pt idx="6">
                  <c:v>0.2</c:v>
                </c:pt>
                <c:pt idx="7">
                  <c:v>0.09</c:v>
                </c:pt>
                <c:pt idx="8">
                  <c:v>0.13</c:v>
                </c:pt>
                <c:pt idx="9">
                  <c:v>0.06</c:v>
                </c:pt>
                <c:pt idx="10">
                  <c:v>0.17</c:v>
                </c:pt>
                <c:pt idx="11">
                  <c:v>0.08</c:v>
                </c:pt>
                <c:pt idx="12">
                  <c:v>0.06</c:v>
                </c:pt>
                <c:pt idx="13">
                  <c:v>0.05</c:v>
                </c:pt>
                <c:pt idx="14">
                  <c:v>0.02</c:v>
                </c:pt>
                <c:pt idx="15">
                  <c:v>0.05</c:v>
                </c:pt>
                <c:pt idx="16">
                  <c:v>0.06</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7ECAC4"/>
              </a:solidFill>
            </c:spPr>
            <c:extLst>
              <c:ext xmlns:c16="http://schemas.microsoft.com/office/drawing/2014/chart" uri="{C3380CC4-5D6E-409C-BE32-E72D297353CC}">
                <c16:uniqueId val="{00000007-E902-46E2-9A54-39A26B3DFDC1}"/>
              </c:ext>
            </c:extLst>
          </c:dPt>
          <c:dPt>
            <c:idx val="4"/>
            <c:invertIfNegative val="1"/>
            <c:bubble3D val="0"/>
            <c:spPr>
              <a:solidFill>
                <a:srgbClr val="7ECAC4"/>
              </a:solidFill>
            </c:spPr>
            <c:extLst>
              <c:ext xmlns:c16="http://schemas.microsoft.com/office/drawing/2014/chart" uri="{C3380CC4-5D6E-409C-BE32-E72D297353CC}">
                <c16:uniqueId val="{0000000B-FA3E-4872-B6E1-C4ABDF5766E2}"/>
              </c:ext>
            </c:extLst>
          </c:dPt>
          <c:dPt>
            <c:idx val="5"/>
            <c:invertIfNegative val="1"/>
            <c:bubble3D val="0"/>
            <c:spPr>
              <a:solidFill>
                <a:srgbClr val="7ECAC4"/>
              </a:solidFill>
            </c:spPr>
            <c:extLst>
              <c:ext xmlns:c16="http://schemas.microsoft.com/office/drawing/2014/chart" uri="{C3380CC4-5D6E-409C-BE32-E72D297353CC}">
                <c16:uniqueId val="{0000000D-FA3E-4872-B6E1-C4ABDF5766E2}"/>
              </c:ext>
            </c:extLst>
          </c:dPt>
          <c:dPt>
            <c:idx val="6"/>
            <c:invertIfNegative val="1"/>
            <c:bubble3D val="0"/>
            <c:spPr>
              <a:solidFill>
                <a:srgbClr val="AEABAB"/>
              </a:solidFill>
            </c:spPr>
            <c:extLst>
              <c:ext xmlns:c16="http://schemas.microsoft.com/office/drawing/2014/chart" uri="{C3380CC4-5D6E-409C-BE32-E72D297353CC}">
                <c16:uniqueId val="{0000000F-FA3E-4872-B6E1-C4ABDF5766E2}"/>
              </c:ext>
            </c:extLst>
          </c:dPt>
          <c:dPt>
            <c:idx val="7"/>
            <c:invertIfNegative val="1"/>
            <c:bubble3D val="0"/>
            <c:spPr>
              <a:solidFill>
                <a:srgbClr val="AEABAB"/>
              </a:solidFill>
            </c:spPr>
            <c:extLst>
              <c:ext xmlns:c16="http://schemas.microsoft.com/office/drawing/2014/chart" uri="{C3380CC4-5D6E-409C-BE32-E72D297353CC}">
                <c16:uniqueId val="{00000011-FA3E-4872-B6E1-C4ABDF5766E2}"/>
              </c:ext>
            </c:extLst>
          </c:dPt>
          <c:dPt>
            <c:idx val="8"/>
            <c:invertIfNegative val="1"/>
            <c:bubble3D val="0"/>
            <c:spPr>
              <a:solidFill>
                <a:srgbClr val="AEABAB"/>
              </a:solidFill>
            </c:spPr>
            <c:extLst>
              <c:ext xmlns:c16="http://schemas.microsoft.com/office/drawing/2014/chart" uri="{C3380CC4-5D6E-409C-BE32-E72D297353CC}">
                <c16:uniqueId val="{00000013-FA3E-4872-B6E1-C4ABDF5766E2}"/>
              </c:ext>
            </c:extLst>
          </c:dPt>
          <c:dPt>
            <c:idx val="9"/>
            <c:invertIfNegative val="1"/>
            <c:bubble3D val="0"/>
            <c:spPr>
              <a:solidFill>
                <a:srgbClr val="AEABAB"/>
              </a:solidFill>
            </c:spPr>
            <c:extLst>
              <c:ext xmlns:c16="http://schemas.microsoft.com/office/drawing/2014/chart" uri="{C3380CC4-5D6E-409C-BE32-E72D297353CC}">
                <c16:uniqueId val="{00000015-FA3E-4872-B6E1-C4ABDF5766E2}"/>
              </c:ext>
            </c:extLst>
          </c:dPt>
          <c:dPt>
            <c:idx val="10"/>
            <c:invertIfNegative val="1"/>
            <c:bubble3D val="0"/>
            <c:spPr>
              <a:solidFill>
                <a:srgbClr val="AEABAB"/>
              </a:solidFill>
            </c:spPr>
            <c:extLst>
              <c:ext xmlns:c16="http://schemas.microsoft.com/office/drawing/2014/chart" uri="{C3380CC4-5D6E-409C-BE32-E72D297353CC}">
                <c16:uniqueId val="{00000017-FA3E-4872-B6E1-C4ABDF5766E2}"/>
              </c:ext>
            </c:extLst>
          </c:dPt>
          <c:dPt>
            <c:idx val="11"/>
            <c:invertIfNegative val="1"/>
            <c:bubble3D val="0"/>
            <c:spPr>
              <a:solidFill>
                <a:srgbClr val="AEABAB"/>
              </a:solidFill>
            </c:spPr>
            <c:extLst>
              <c:ext xmlns:c16="http://schemas.microsoft.com/office/drawing/2014/chart" uri="{C3380CC4-5D6E-409C-BE32-E72D297353CC}">
                <c16:uniqueId val="{00000019-FA3E-4872-B6E1-C4ABDF5766E2}"/>
              </c:ext>
            </c:extLst>
          </c:dPt>
          <c:dPt>
            <c:idx val="12"/>
            <c:invertIfNegative val="1"/>
            <c:bubble3D val="0"/>
            <c:spPr>
              <a:solidFill>
                <a:srgbClr val="AEABAB"/>
              </a:solidFill>
            </c:spPr>
            <c:extLst>
              <c:ext xmlns:c16="http://schemas.microsoft.com/office/drawing/2014/chart" uri="{C3380CC4-5D6E-409C-BE32-E72D297353CC}">
                <c16:uniqueId val="{0000001B-FA3E-4872-B6E1-C4ABDF5766E2}"/>
              </c:ext>
            </c:extLst>
          </c:dPt>
          <c:dPt>
            <c:idx val="13"/>
            <c:invertIfNegative val="1"/>
            <c:bubble3D val="0"/>
            <c:spPr>
              <a:solidFill>
                <a:srgbClr val="AEABAB"/>
              </a:solidFill>
            </c:spPr>
            <c:extLst>
              <c:ext xmlns:c16="http://schemas.microsoft.com/office/drawing/2014/chart" uri="{C3380CC4-5D6E-409C-BE32-E72D297353CC}">
                <c16:uniqueId val="{0000001D-FA3E-4872-B6E1-C4ABDF5766E2}"/>
              </c:ext>
            </c:extLst>
          </c:dPt>
          <c:dPt>
            <c:idx val="14"/>
            <c:invertIfNegative val="1"/>
            <c:bubble3D val="0"/>
            <c:spPr>
              <a:solidFill>
                <a:srgbClr val="AEABAB"/>
              </a:solidFill>
            </c:spPr>
            <c:extLst>
              <c:ext xmlns:c16="http://schemas.microsoft.com/office/drawing/2014/chart" uri="{C3380CC4-5D6E-409C-BE32-E72D297353CC}">
                <c16:uniqueId val="{0000001F-FA3E-4872-B6E1-C4ABDF5766E2}"/>
              </c:ext>
            </c:extLst>
          </c:dPt>
          <c:dPt>
            <c:idx val="15"/>
            <c:invertIfNegative val="1"/>
            <c:bubble3D val="0"/>
            <c:spPr>
              <a:solidFill>
                <a:srgbClr val="AEABAB"/>
              </a:solidFill>
            </c:spPr>
            <c:extLst>
              <c:ext xmlns:c16="http://schemas.microsoft.com/office/drawing/2014/chart" uri="{C3380CC4-5D6E-409C-BE32-E72D297353CC}">
                <c16:uniqueId val="{00000021-FA3E-4872-B6E1-C4ABDF5766E2}"/>
              </c:ext>
            </c:extLst>
          </c:dPt>
          <c:dPt>
            <c:idx val="16"/>
            <c:invertIfNegative val="1"/>
            <c:bubble3D val="0"/>
            <c:spPr>
              <a:solidFill>
                <a:srgbClr val="AEABAB"/>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18</c:f>
              <c:strCache>
                <c:ptCount val="17"/>
                <c:pt idx="0">
                  <c:v>Mini Babybel Rouge Filet St Paulin Ferme 1X132Gr 6P</c:v>
                </c:pt>
                <c:pt idx="1">
                  <c:v>La Vache Qui Rit Nature Fromage Fondu Boite Ronde 1X192Gr 12P</c:v>
                </c:pt>
                <c:pt idx="2">
                  <c:v>Kiri Creme Fromage Blanc Frais Carre 1X144Gr 8P</c:v>
                </c:pt>
                <c:pt idx="3">
                  <c:v>La Vache Qui Rit Nature Fromage Fondu Boite Ronde 1X384Gr 24P</c:v>
                </c:pt>
                <c:pt idx="4">
                  <c:v>Kiri Gouter Fromage Blanc Dips Boite 1X175Gr 5P</c:v>
                </c:pt>
                <c:pt idx="5">
                  <c:v>La Vache Qui Rit Pik Et Croq' Fromage Fondu Dips Boite 1X175Gr 5P</c:v>
                </c:pt>
                <c:pt idx="6">
                  <c:v>Mini Babybel Rouge Filet St Paulin Ferme 1X264Gr 12P</c:v>
                </c:pt>
                <c:pt idx="7">
                  <c:v>La Vache Qui Rit Nature Fromage Fondu Boite Ronde 1X128Gr 8P</c:v>
                </c:pt>
                <c:pt idx="8">
                  <c:v>Mini Babybel Aros St Paulin Ferme Raclette Filet 1X132Gr 6P</c:v>
                </c:pt>
                <c:pt idx="9">
                  <c:v>Kiri Creme Fromage Blanc Frais Carre 1X216Gr 12P</c:v>
                </c:pt>
                <c:pt idx="10">
                  <c:v>Babybel Mini Rolls St Paulin Ferme Sachet 1X85Gr 5P</c:v>
                </c:pt>
                <c:pt idx="11">
                  <c:v>La Vache Qui Rit Bio Fromage Fondu Boite Ronde 1X128Gr 8P</c:v>
                </c:pt>
                <c:pt idx="12">
                  <c:v>Mini Babybel Rouge Filet St Paulin Ferme Sachet 1X40Gr 1P</c:v>
                </c:pt>
                <c:pt idx="13">
                  <c:v>La Vache Qui Rit Pik Et Croq' Fromage Fondu Dips Boite 1X35Gr 1P</c:v>
                </c:pt>
                <c:pt idx="14">
                  <c:v>Kiri Gouter Fromage Blanc Dips Boite 1X280Gr 8P</c:v>
                </c:pt>
                <c:pt idx="15">
                  <c:v>Mini Babybel Aros Soft Cheese Enfant 180G</c:v>
                </c:pt>
                <c:pt idx="16">
                  <c:v>Mini Babybel Bio St Paulin Ferme Filet 1X100Gr 5P</c:v>
                </c:pt>
              </c:strCache>
            </c:strRef>
          </c:cat>
          <c:val>
            <c:numRef>
              <c:f>Sheet1!$C$2:$C$18</c:f>
              <c:numCache>
                <c:formatCode>General</c:formatCode>
                <c:ptCount val="17"/>
                <c:pt idx="0">
                  <c:v>0.27143909349793055</c:v>
                </c:pt>
                <c:pt idx="1">
                  <c:v>0.5078077331758949</c:v>
                </c:pt>
                <c:pt idx="2">
                  <c:v>0.7089756950418131</c:v>
                </c:pt>
                <c:pt idx="3">
                  <c:v>0.8216469579028163</c:v>
                </c:pt>
                <c:pt idx="4">
                  <c:v>0.8939331120519111</c:v>
                </c:pt>
                <c:pt idx="5">
                  <c:v>0.931652163455724</c:v>
                </c:pt>
                <c:pt idx="6">
                  <c:v>0.9682341183793152</c:v>
                </c:pt>
                <c:pt idx="7">
                  <c:v>0.9791049685435388</c:v>
                </c:pt>
                <c:pt idx="8">
                  <c:v>0.9827991055170344</c:v>
                </c:pt>
                <c:pt idx="9">
                  <c:v>0.9862757198772062</c:v>
                </c:pt>
                <c:pt idx="10">
                  <c:v>0.9892031620327139</c:v>
                </c:pt>
                <c:pt idx="11">
                  <c:v>0.9916277641298566</c:v>
                </c:pt>
                <c:pt idx="12">
                  <c:v>0.9936568395957247</c:v>
                </c:pt>
                <c:pt idx="13">
                  <c:v>0.9956592570435934</c:v>
                </c:pt>
                <c:pt idx="14">
                  <c:v>0.9968834818062859</c:v>
                </c:pt>
                <c:pt idx="15">
                  <c:v>0.9980565197676442</c:v>
                </c:pt>
                <c:pt idx="16">
                  <c:v>0.9990106724054933</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18</c:f>
              <c:strCache>
                <c:ptCount val="17"/>
                <c:pt idx="0">
                  <c:v>Mini Babybel Rouge Filet St Paulin Ferme 1X132Gr 6P</c:v>
                </c:pt>
                <c:pt idx="1">
                  <c:v>La Vache Qui Rit Nature Fromage Fondu Boite Ronde 1X192Gr 12P</c:v>
                </c:pt>
                <c:pt idx="2">
                  <c:v>Kiri Creme Fromage Blanc Frais Carre 1X144Gr 8P</c:v>
                </c:pt>
                <c:pt idx="3">
                  <c:v>La Vache Qui Rit Nature Fromage Fondu Boite Ronde 1X384Gr 24P</c:v>
                </c:pt>
                <c:pt idx="4">
                  <c:v>Kiri Gouter Fromage Blanc Dips Boite 1X175Gr 5P</c:v>
                </c:pt>
                <c:pt idx="5">
                  <c:v>La Vache Qui Rit Pik Et Croq' Fromage Fondu Dips Boite 1X175Gr 5P</c:v>
                </c:pt>
                <c:pt idx="6">
                  <c:v>Mini Babybel Rouge Filet St Paulin Ferme 1X264Gr 12P</c:v>
                </c:pt>
                <c:pt idx="7">
                  <c:v>La Vache Qui Rit Nature Fromage Fondu Boite Ronde 1X128Gr 8P</c:v>
                </c:pt>
                <c:pt idx="8">
                  <c:v>Mini Babybel Aros St Paulin Ferme Raclette Filet 1X132Gr 6P</c:v>
                </c:pt>
                <c:pt idx="9">
                  <c:v>Kiri Creme Fromage Blanc Frais Carre 1X216Gr 12P</c:v>
                </c:pt>
                <c:pt idx="10">
                  <c:v>Babybel Mini Rolls St Paulin Ferme Sachet 1X85Gr 5P</c:v>
                </c:pt>
                <c:pt idx="11">
                  <c:v>La Vache Qui Rit Bio Fromage Fondu Boite Ronde 1X128Gr 8P</c:v>
                </c:pt>
                <c:pt idx="12">
                  <c:v>Mini Babybel Rouge Filet St Paulin Ferme Sachet 1X40Gr 1P</c:v>
                </c:pt>
                <c:pt idx="13">
                  <c:v>La Vache Qui Rit Pik Et Croq' Fromage Fondu Dips Boite 1X35Gr 1P</c:v>
                </c:pt>
                <c:pt idx="14">
                  <c:v>Kiri Gouter Fromage Blanc Dips Boite 1X280Gr 8P</c:v>
                </c:pt>
                <c:pt idx="15">
                  <c:v>Mini Babybel Aros Soft Cheese Enfant 180G</c:v>
                </c:pt>
                <c:pt idx="16">
                  <c:v>Mini Babybel Bio St Paulin Ferme Filet 1X100Gr 5P</c:v>
                </c:pt>
              </c:strCache>
            </c:strRef>
          </c:cat>
          <c:val>
            <c:numRef>
              <c:f>Sheet1!$D$2:$D$18</c:f>
              <c:numCache>
                <c:formatCode>General</c:formatCode>
                <c:ptCount val="17"/>
                <c:pt idx="0">
                  <c:v>33198.4375</c:v>
                </c:pt>
                <c:pt idx="1">
                  <c:v>30497.54945054945</c:v>
                </c:pt>
                <c:pt idx="2">
                  <c:v>24603.90625</c:v>
                </c:pt>
                <c:pt idx="3">
                  <c:v>28146.978723404256</c:v>
                </c:pt>
                <c:pt idx="4">
                  <c:v>11954.0</c:v>
                </c:pt>
                <c:pt idx="5">
                  <c:v>8683.745098039215</c:v>
                </c:pt>
                <c:pt idx="6">
                  <c:v>21476.0</c:v>
                </c:pt>
                <c:pt idx="7">
                  <c:v>14182.0</c:v>
                </c:pt>
                <c:pt idx="8">
                  <c:v>3336.4615384615386</c:v>
                </c:pt>
                <c:pt idx="9">
                  <c:v>6803.333333333333</c:v>
                </c:pt>
                <c:pt idx="10">
                  <c:v>2021.8823529411766</c:v>
                </c:pt>
                <c:pt idx="11">
                  <c:v>3558.5</c:v>
                </c:pt>
                <c:pt idx="12">
                  <c:v>3970.6666666666665</c:v>
                </c:pt>
                <c:pt idx="13">
                  <c:v>4702.2</c:v>
                </c:pt>
                <c:pt idx="14">
                  <c:v>7187.0</c:v>
                </c:pt>
                <c:pt idx="15">
                  <c:v>2754.6</c:v>
                </c:pt>
                <c:pt idx="16">
                  <c:v>870.3333333333334</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President</c:v>
                </c:pt>
                <c:pt idx="2">
                  <c:v>Soignon</c:v>
                </c:pt>
                <c:pt idx="3">
                  <c:v>St Moret</c:v>
                </c:pt>
                <c:pt idx="4">
                  <c:v>Caprice Des Dieux</c:v>
                </c:pt>
                <c:pt idx="5">
                  <c:v>La Vache Qui Rit</c:v>
                </c:pt>
                <c:pt idx="6">
                  <c:v>Galbani</c:v>
                </c:pt>
                <c:pt idx="7">
                  <c:v>Kiri</c:v>
                </c:pt>
                <c:pt idx="8">
                  <c:v>Boursin</c:v>
                </c:pt>
                <c:pt idx="9">
                  <c:v>Others</c:v>
                </c:pt>
              </c:strCache>
            </c:strRef>
          </c:cat>
          <c:val>
            <c:numRef>
              <c:f>Sheet1!$B$2:$B$11</c:f>
              <c:numCache>
                <c:formatCode>General</c:formatCode>
                <c:ptCount val="10"/>
                <c:pt idx="0">
                  <c:v>0.29197546172460276</c:v>
                </c:pt>
                <c:pt idx="1">
                  <c:v>0.0692425530139645</c:v>
                </c:pt>
                <c:pt idx="2">
                  <c:v>0.05655788630191765</c:v>
                </c:pt>
                <c:pt idx="3">
                  <c:v>0.055603579153432864</c:v>
                </c:pt>
                <c:pt idx="4">
                  <c:v>0.053251641260189976</c:v>
                </c:pt>
                <c:pt idx="5">
                  <c:v>0.042594867312036586</c:v>
                </c:pt>
                <c:pt idx="6">
                  <c:v>0.04215002163146498</c:v>
                </c:pt>
                <c:pt idx="7">
                  <c:v>0.03142212002227643</c:v>
                </c:pt>
                <c:pt idx="8">
                  <c:v>0.028288955818538488</c:v>
                </c:pt>
                <c:pt idx="9">
                  <c:v>0.32891291376157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President</c:v>
                </c:pt>
                <c:pt idx="2">
                  <c:v>Soignon</c:v>
                </c:pt>
                <c:pt idx="3">
                  <c:v>St Moret</c:v>
                </c:pt>
                <c:pt idx="4">
                  <c:v>Caprice Des Dieux</c:v>
                </c:pt>
                <c:pt idx="5">
                  <c:v>La Vache Qui Rit</c:v>
                </c:pt>
                <c:pt idx="6">
                  <c:v>Galbani</c:v>
                </c:pt>
                <c:pt idx="7">
                  <c:v>Kiri</c:v>
                </c:pt>
                <c:pt idx="8">
                  <c:v>Boursin</c:v>
                </c:pt>
                <c:pt idx="9">
                  <c:v>Others</c:v>
                </c:pt>
              </c:strCache>
            </c:strRef>
          </c:cat>
          <c:val>
            <c:numRef>
              <c:f>Sheet1!$C$2:$C$11</c:f>
              <c:numCache>
                <c:formatCode>General</c:formatCode>
                <c:ptCount val="10"/>
                <c:pt idx="0">
                  <c:v>0.20844618000881776</c:v>
                </c:pt>
                <c:pt idx="1">
                  <c:v>0.041160168797631784</c:v>
                </c:pt>
                <c:pt idx="2">
                  <c:v>0.05189897335768721</c:v>
                </c:pt>
                <c:pt idx="3">
                  <c:v>0.030358380046608294</c:v>
                </c:pt>
                <c:pt idx="4">
                  <c:v>0.03152358757951753</c:v>
                </c:pt>
                <c:pt idx="5">
                  <c:v>0.02916168041821502</c:v>
                </c:pt>
                <c:pt idx="6">
                  <c:v>0.04405744158216286</c:v>
                </c:pt>
                <c:pt idx="7">
                  <c:v>0.04040435850601498</c:v>
                </c:pt>
                <c:pt idx="8">
                  <c:v>0.053945959564149396</c:v>
                </c:pt>
                <c:pt idx="9">
                  <c:v>0.46904327013919495</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President</c:v>
                </c:pt>
                <c:pt idx="2">
                  <c:v>Soignon</c:v>
                </c:pt>
                <c:pt idx="3">
                  <c:v>St Moret</c:v>
                </c:pt>
                <c:pt idx="4">
                  <c:v>Caprice Des Dieux</c:v>
                </c:pt>
                <c:pt idx="5">
                  <c:v>La Vache Qui Rit</c:v>
                </c:pt>
                <c:pt idx="6">
                  <c:v>Galbani</c:v>
                </c:pt>
                <c:pt idx="7">
                  <c:v>Kiri</c:v>
                </c:pt>
                <c:pt idx="8">
                  <c:v>Boursin</c:v>
                </c:pt>
                <c:pt idx="9">
                  <c:v>Others</c:v>
                </c:pt>
              </c:strCache>
            </c:strRef>
          </c:cat>
          <c:val>
            <c:numRef>
              <c:f>Sheet1!$D$2:$D$11</c:f>
              <c:numCache>
                <c:formatCode>General</c:formatCode>
                <c:ptCount val="10"/>
                <c:pt idx="0">
                  <c:v>71.39167749837432</c:v>
                </c:pt>
                <c:pt idx="1">
                  <c:v>59.443459268942334</c:v>
                </c:pt>
                <c:pt idx="2">
                  <c:v>91.76257592202049</c:v>
                </c:pt>
                <c:pt idx="3">
                  <c:v>54.59788831729193</c:v>
                </c:pt>
                <c:pt idx="4">
                  <c:v>59.197400931723074</c:v>
                </c:pt>
                <c:pt idx="5">
                  <c:v>68.46289766460765</c:v>
                </c:pt>
                <c:pt idx="6">
                  <c:v>104.52531191413195</c:v>
                </c:pt>
                <c:pt idx="7">
                  <c:v>128.5857175689313</c:v>
                </c:pt>
                <c:pt idx="8">
                  <c:v>190.6961851479764</c:v>
                </c:pt>
                <c:pt idx="9">
                  <c:v>142.60409078349463</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29</c:f>
              <c:strCache>
                <c:ptCount val="28"/>
                <c:pt idx="0">
                  <c:v>Mini Babybel Rouge Filet St Paulin Ferme 1X264Gr 12P</c:v>
                </c:pt>
                <c:pt idx="1">
                  <c:v>La Vache Qui Rit Nature Fromage Fondu Boite Ronde 1X512Gr 32P</c:v>
                </c:pt>
                <c:pt idx="2">
                  <c:v>La Vache Qui Rit Nature Fromage Fondu Boite Ronde 1X192Gr 12P</c:v>
                </c:pt>
                <c:pt idx="3">
                  <c:v>Mini Babybel Rouge Filet St Paulin Ferme 1X132Gr 6P</c:v>
                </c:pt>
                <c:pt idx="4">
                  <c:v>La Vache Qui Rit Nature Fromage Fondu Boite Ronde 1X384Gr 24P</c:v>
                </c:pt>
                <c:pt idx="5">
                  <c:v>Kiri Creme Fromage Blanc Frais Carre 1X216Gr 12P</c:v>
                </c:pt>
                <c:pt idx="6">
                  <c:v>Kiri Creme Fromage Blanc Frais Carre 1X432Gr 24P</c:v>
                </c:pt>
                <c:pt idx="7">
                  <c:v>Kiri Gouter Fromage Blanc Dips Boite 1X280Gr 8P</c:v>
                </c:pt>
                <c:pt idx="8">
                  <c:v>Kiri Creme Fromage Blanc Frais Carre 1X144Gr 8P</c:v>
                </c:pt>
                <c:pt idx="9">
                  <c:v>Mini Babybel Rouge Filet St Paulin Ferme 1X440Gr 20P</c:v>
                </c:pt>
                <c:pt idx="10">
                  <c:v>Kiri Gouter Fromage Blanc Dips Boite 1X175Gr 5P</c:v>
                </c:pt>
                <c:pt idx="11">
                  <c:v>La Vache Qui Rit Pik Et Croq' Fromage Fondu Dips Boite 1X175Gr 5P</c:v>
                </c:pt>
                <c:pt idx="12">
                  <c:v>La Vache Qui Rit Pik Et Croq' Fromage Fondu Dips Boite 1X280Gr 8P</c:v>
                </c:pt>
                <c:pt idx="13">
                  <c:v>La Vache Qui Rit Allegee Fromage Fondu Boite Ronde Allege 1X267Gr 16P</c:v>
                </c:pt>
                <c:pt idx="14">
                  <c:v>Babybel Mini Rolls St Paulin Ferme Sachet 1X85Gr 5P</c:v>
                </c:pt>
                <c:pt idx="15">
                  <c:v>Mini Babybel Aros St Paulin Ferme Assortis Filet 1X180Gr 9P</c:v>
                </c:pt>
                <c:pt idx="16">
                  <c:v>La Vache Qui Rit Aro Fromage Fondu Boite Ronde Jambon 1X133Gr 8P</c:v>
                </c:pt>
                <c:pt idx="17">
                  <c:v>Kiri Bio Fromage Blanc Frais Carre 1X144Gr 8P</c:v>
                </c:pt>
                <c:pt idx="18">
                  <c:v>Kiri Chevre Fromage Blanc Frais Carre 1X144Gr 8P</c:v>
                </c:pt>
                <c:pt idx="19">
                  <c:v>Mini Babybel Aros Soft Cheese Enfant 180G</c:v>
                </c:pt>
                <c:pt idx="20">
                  <c:v>Mini Babybel Rouge Filet St Paulin Ferme 1X396Gr 12+6P</c:v>
                </c:pt>
                <c:pt idx="21">
                  <c:v>Kiri Creme Fromage Blanc Frais Carre 1X432Gr 18+6P</c:v>
                </c:pt>
                <c:pt idx="22">
                  <c:v>Mini Babybel Aros St Paulin Ferme Raclette Filet 1X132Gr 6P</c:v>
                </c:pt>
                <c:pt idx="23">
                  <c:v>Mini Babybel Aros Soft Cheese Enfant 110G</c:v>
                </c:pt>
                <c:pt idx="24">
                  <c:v>La Vache Qui Rit Nature Fromage Fondu Boite Ronde 1X512Gr 24+8P</c:v>
                </c:pt>
                <c:pt idx="25">
                  <c:v>Mini Babybel Bio St Paulin Ferme Filet 1X100Gr 5P</c:v>
                </c:pt>
                <c:pt idx="26">
                  <c:v>Mini Babybel Rouge Filet St Paulin Ferme Sachet 1X40Gr 1P</c:v>
                </c:pt>
                <c:pt idx="27">
                  <c:v>La Vache Qui Rit Nature Fromage Fondu Boite Ronde 1X128Gr 8P</c:v>
                </c:pt>
              </c:strCache>
            </c:strRef>
          </c:cat>
          <c:val>
            <c:numRef>
              <c:f>Sheet1!$B$2:$B$29</c:f>
              <c:numCache>
                <c:formatCode>General</c:formatCode>
                <c:ptCount val="28"/>
                <c:pt idx="0">
                  <c:v>1.0</c:v>
                </c:pt>
                <c:pt idx="1">
                  <c:v>0.98</c:v>
                </c:pt>
                <c:pt idx="2">
                  <c:v>1.0</c:v>
                </c:pt>
                <c:pt idx="3">
                  <c:v>1.0</c:v>
                </c:pt>
                <c:pt idx="4">
                  <c:v>0.97</c:v>
                </c:pt>
                <c:pt idx="5">
                  <c:v>0.99</c:v>
                </c:pt>
                <c:pt idx="6">
                  <c:v>0.89</c:v>
                </c:pt>
                <c:pt idx="7">
                  <c:v>0.96</c:v>
                </c:pt>
                <c:pt idx="8">
                  <c:v>0.99</c:v>
                </c:pt>
                <c:pt idx="9">
                  <c:v>0.9</c:v>
                </c:pt>
                <c:pt idx="10">
                  <c:v>0.99</c:v>
                </c:pt>
                <c:pt idx="11">
                  <c:v>0.97</c:v>
                </c:pt>
                <c:pt idx="12">
                  <c:v>0.89</c:v>
                </c:pt>
                <c:pt idx="13">
                  <c:v>0.87</c:v>
                </c:pt>
                <c:pt idx="14">
                  <c:v>0.81</c:v>
                </c:pt>
                <c:pt idx="15">
                  <c:v>0.85</c:v>
                </c:pt>
                <c:pt idx="16">
                  <c:v>0.69</c:v>
                </c:pt>
                <c:pt idx="17">
                  <c:v>0.6</c:v>
                </c:pt>
                <c:pt idx="18">
                  <c:v>0.68</c:v>
                </c:pt>
                <c:pt idx="19">
                  <c:v>0.73</c:v>
                </c:pt>
                <c:pt idx="20">
                  <c:v>0.89</c:v>
                </c:pt>
                <c:pt idx="21">
                  <c:v>0.83</c:v>
                </c:pt>
                <c:pt idx="22">
                  <c:v>0.77</c:v>
                </c:pt>
                <c:pt idx="23">
                  <c:v>0.59</c:v>
                </c:pt>
                <c:pt idx="24">
                  <c:v>0.25</c:v>
                </c:pt>
                <c:pt idx="25">
                  <c:v>0.31</c:v>
                </c:pt>
                <c:pt idx="26">
                  <c:v>0.09</c:v>
                </c:pt>
                <c:pt idx="27">
                  <c:v>0.12</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7ECAC4"/>
              </a:solidFill>
            </c:spPr>
            <c:extLst>
              <c:ext xmlns:c16="http://schemas.microsoft.com/office/drawing/2014/chart" uri="{C3380CC4-5D6E-409C-BE32-E72D297353CC}">
                <c16:uniqueId val="{00000013-FA3E-4872-B6E1-C4ABDF5766E2}"/>
              </c:ext>
            </c:extLst>
          </c:dPt>
          <c:dPt>
            <c:idx val="9"/>
            <c:invertIfNegative val="1"/>
            <c:bubble3D val="0"/>
            <c:spPr>
              <a:solidFill>
                <a:srgbClr val="7ECAC4"/>
              </a:solidFill>
            </c:spPr>
            <c:extLst>
              <c:ext xmlns:c16="http://schemas.microsoft.com/office/drawing/2014/chart" uri="{C3380CC4-5D6E-409C-BE32-E72D297353CC}">
                <c16:uniqueId val="{00000015-FA3E-4872-B6E1-C4ABDF5766E2}"/>
              </c:ext>
            </c:extLst>
          </c:dPt>
          <c:dPt>
            <c:idx val="10"/>
            <c:invertIfNegative val="1"/>
            <c:bubble3D val="0"/>
            <c:spPr>
              <a:solidFill>
                <a:srgbClr val="7ECAC4"/>
              </a:solidFill>
            </c:spPr>
            <c:extLst>
              <c:ext xmlns:c16="http://schemas.microsoft.com/office/drawing/2014/chart" uri="{C3380CC4-5D6E-409C-BE32-E72D297353CC}">
                <c16:uniqueId val="{00000017-FA3E-4872-B6E1-C4ABDF5766E2}"/>
              </c:ext>
            </c:extLst>
          </c:dPt>
          <c:dPt>
            <c:idx val="11"/>
            <c:invertIfNegative val="1"/>
            <c:bubble3D val="0"/>
            <c:spPr>
              <a:solidFill>
                <a:srgbClr val="7ECAC4"/>
              </a:solidFill>
            </c:spPr>
            <c:extLst>
              <c:ext xmlns:c16="http://schemas.microsoft.com/office/drawing/2014/chart" uri="{C3380CC4-5D6E-409C-BE32-E72D297353CC}">
                <c16:uniqueId val="{00000019-FA3E-4872-B6E1-C4ABDF5766E2}"/>
              </c:ext>
            </c:extLst>
          </c:dPt>
          <c:dPt>
            <c:idx val="12"/>
            <c:invertIfNegative val="1"/>
            <c:bubble3D val="0"/>
            <c:spPr>
              <a:solidFill>
                <a:srgbClr val="7ECAC4"/>
              </a:solidFill>
            </c:spPr>
            <c:extLst>
              <c:ext xmlns:c16="http://schemas.microsoft.com/office/drawing/2014/chart" uri="{C3380CC4-5D6E-409C-BE32-E72D297353CC}">
                <c16:uniqueId val="{0000001B-FA3E-4872-B6E1-C4ABDF5766E2}"/>
              </c:ext>
            </c:extLst>
          </c:dPt>
          <c:dPt>
            <c:idx val="13"/>
            <c:invertIfNegative val="1"/>
            <c:bubble3D val="0"/>
            <c:spPr>
              <a:solidFill>
                <a:srgbClr val="7ECAC4"/>
              </a:solidFill>
            </c:spPr>
            <c:extLst>
              <c:ext xmlns:c16="http://schemas.microsoft.com/office/drawing/2014/chart" uri="{C3380CC4-5D6E-409C-BE32-E72D297353CC}">
                <c16:uniqueId val="{0000001D-FA3E-4872-B6E1-C4ABDF5766E2}"/>
              </c:ext>
            </c:extLst>
          </c:dPt>
          <c:dPt>
            <c:idx val="14"/>
            <c:invertIfNegative val="1"/>
            <c:bubble3D val="0"/>
            <c:spPr>
              <a:solidFill>
                <a:srgbClr val="7ECAC4"/>
              </a:solidFill>
            </c:spPr>
            <c:extLst>
              <c:ext xmlns:c16="http://schemas.microsoft.com/office/drawing/2014/chart" uri="{C3380CC4-5D6E-409C-BE32-E72D297353CC}">
                <c16:uniqueId val="{0000001F-FA3E-4872-B6E1-C4ABDF5766E2}"/>
              </c:ext>
            </c:extLst>
          </c:dPt>
          <c:dPt>
            <c:idx val="15"/>
            <c:invertIfNegative val="1"/>
            <c:bubble3D val="0"/>
            <c:spPr>
              <a:solidFill>
                <a:srgbClr val="AEABAB"/>
              </a:solidFill>
            </c:spPr>
            <c:extLst>
              <c:ext xmlns:c16="http://schemas.microsoft.com/office/drawing/2014/chart" uri="{C3380CC4-5D6E-409C-BE32-E72D297353CC}">
                <c16:uniqueId val="{00000021-FA3E-4872-B6E1-C4ABDF5766E2}"/>
              </c:ext>
            </c:extLst>
          </c:dPt>
          <c:dPt>
            <c:idx val="16"/>
            <c:invertIfNegative val="1"/>
            <c:bubble3D val="0"/>
            <c:spPr>
              <a:solidFill>
                <a:srgbClr val="AEABAB"/>
              </a:solidFill>
            </c:spPr>
            <c:extLst>
              <c:ext xmlns:c16="http://schemas.microsoft.com/office/drawing/2014/chart" uri="{C3380CC4-5D6E-409C-BE32-E72D297353CC}">
                <c16:uniqueId val="{00000023-FA3E-4872-B6E1-C4ABDF5766E2}"/>
              </c:ext>
            </c:extLst>
          </c:dPt>
          <c:dPt>
            <c:idx val="17"/>
            <c:invertIfNegative val="1"/>
            <c:bubble3D val="0"/>
            <c:spPr>
              <a:solidFill>
                <a:srgbClr val="AEABAB"/>
              </a:solidFill>
            </c:spPr>
            <c:extLst>
              <c:ext xmlns:c16="http://schemas.microsoft.com/office/drawing/2014/chart" uri="{C3380CC4-5D6E-409C-BE32-E72D297353CC}">
                <c16:uniqueId val="{00000025-FA3E-4872-B6E1-C4ABDF5766E2}"/>
              </c:ext>
            </c:extLst>
          </c:dPt>
          <c:dPt>
            <c:idx val="18"/>
            <c:invertIfNegative val="1"/>
            <c:bubble3D val="0"/>
            <c:spPr>
              <a:solidFill>
                <a:srgbClr val="AEABAB"/>
              </a:solidFill>
            </c:spPr>
            <c:extLst>
              <c:ext xmlns:c16="http://schemas.microsoft.com/office/drawing/2014/chart" uri="{C3380CC4-5D6E-409C-BE32-E72D297353CC}">
                <c16:uniqueId val="{00000027-FA3E-4872-B6E1-C4ABDF5766E2}"/>
              </c:ext>
            </c:extLst>
          </c:dPt>
          <c:dPt>
            <c:idx val="19"/>
            <c:invertIfNegative val="1"/>
            <c:bubble3D val="0"/>
            <c:spPr>
              <a:solidFill>
                <a:srgbClr val="AEABAB"/>
              </a:solidFill>
            </c:spPr>
            <c:extLst>
              <c:ext xmlns:c16="http://schemas.microsoft.com/office/drawing/2014/chart" uri="{C3380CC4-5D6E-409C-BE32-E72D297353CC}">
                <c16:uniqueId val="{00000029-FA3E-4872-B6E1-C4ABDF5766E2}"/>
              </c:ext>
            </c:extLst>
          </c:dPt>
          <c:dPt>
            <c:idx val="20"/>
            <c:invertIfNegative val="1"/>
            <c:bubble3D val="0"/>
            <c:spPr>
              <a:solidFill>
                <a:srgbClr val="AEABAB"/>
              </a:solidFill>
            </c:spPr>
            <c:extLst>
              <c:ext xmlns:c16="http://schemas.microsoft.com/office/drawing/2014/chart" uri="{C3380CC4-5D6E-409C-BE32-E72D297353CC}">
                <c16:uniqueId val="{0000002B-FA3E-4872-B6E1-C4ABDF5766E2}"/>
              </c:ext>
            </c:extLst>
          </c:dPt>
          <c:dPt>
            <c:idx val="21"/>
            <c:invertIfNegative val="1"/>
            <c:bubble3D val="0"/>
            <c:spPr>
              <a:solidFill>
                <a:srgbClr val="AEABAB"/>
              </a:solidFill>
            </c:spPr>
            <c:extLst>
              <c:ext xmlns:c16="http://schemas.microsoft.com/office/drawing/2014/chart" uri="{C3380CC4-5D6E-409C-BE32-E72D297353CC}">
                <c16:uniqueId val="{0000002D-FA3E-4872-B6E1-C4ABDF5766E2}"/>
              </c:ext>
            </c:extLst>
          </c:dPt>
          <c:dPt>
            <c:idx val="22"/>
            <c:invertIfNegative val="1"/>
            <c:bubble3D val="0"/>
            <c:spPr>
              <a:solidFill>
                <a:srgbClr val="AEABAB"/>
              </a:solidFill>
            </c:spPr>
            <c:extLst>
              <c:ext xmlns:c16="http://schemas.microsoft.com/office/drawing/2014/chart" uri="{C3380CC4-5D6E-409C-BE32-E72D297353CC}">
                <c16:uniqueId val="{0000002F-FA3E-4872-B6E1-C4ABDF5766E2}"/>
              </c:ext>
            </c:extLst>
          </c:dPt>
          <c:dPt>
            <c:idx val="23"/>
            <c:invertIfNegative val="1"/>
            <c:bubble3D val="0"/>
            <c:spPr>
              <a:solidFill>
                <a:srgbClr val="AEABAB"/>
              </a:solidFill>
            </c:spPr>
            <c:extLst>
              <c:ext xmlns:c16="http://schemas.microsoft.com/office/drawing/2014/chart" uri="{C3380CC4-5D6E-409C-BE32-E72D297353CC}">
                <c16:uniqueId val="{00000031-FA3E-4872-B6E1-C4ABDF5766E2}"/>
              </c:ext>
            </c:extLst>
          </c:dPt>
          <c:dPt>
            <c:idx val="24"/>
            <c:invertIfNegative val="1"/>
            <c:bubble3D val="0"/>
            <c:spPr>
              <a:solidFill>
                <a:srgbClr val="AEABAB"/>
              </a:solidFill>
            </c:spPr>
            <c:extLst>
              <c:ext xmlns:c16="http://schemas.microsoft.com/office/drawing/2014/chart" uri="{C3380CC4-5D6E-409C-BE32-E72D297353CC}">
                <c16:uniqueId val="{00000033-FA3E-4872-B6E1-C4ABDF5766E2}"/>
              </c:ext>
            </c:extLst>
          </c:dPt>
          <c:dPt>
            <c:idx val="25"/>
            <c:invertIfNegative val="1"/>
            <c:bubble3D val="0"/>
            <c:spPr>
              <a:solidFill>
                <a:srgbClr val="AEABAB"/>
              </a:solidFill>
            </c:spPr>
            <c:extLst>
              <c:ext xmlns:c16="http://schemas.microsoft.com/office/drawing/2014/chart" uri="{C3380CC4-5D6E-409C-BE32-E72D297353CC}">
                <c16:uniqueId val="{00000035-FA3E-4872-B6E1-C4ABDF5766E2}"/>
              </c:ext>
            </c:extLst>
          </c:dPt>
          <c:dPt>
            <c:idx val="26"/>
            <c:invertIfNegative val="1"/>
            <c:bubble3D val="0"/>
            <c:spPr>
              <a:solidFill>
                <a:srgbClr val="AEABAB"/>
              </a:solidFill>
            </c:spPr>
            <c:extLst>
              <c:ext xmlns:c16="http://schemas.microsoft.com/office/drawing/2014/chart" uri="{C3380CC4-5D6E-409C-BE32-E72D297353CC}">
                <c16:uniqueId val="{00000037-FA3E-4872-B6E1-C4ABDF5766E2}"/>
              </c:ext>
            </c:extLst>
          </c:dPt>
          <c:dPt>
            <c:idx val="27"/>
            <c:invertIfNegative val="1"/>
            <c:bubble3D val="0"/>
            <c:spPr>
              <a:solidFill>
                <a:srgbClr val="AEABAB"/>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29</c:f>
              <c:strCache>
                <c:ptCount val="28"/>
                <c:pt idx="0">
                  <c:v>Mini Babybel Rouge Filet St Paulin Ferme 1X264Gr 12P</c:v>
                </c:pt>
                <c:pt idx="1">
                  <c:v>La Vache Qui Rit Nature Fromage Fondu Boite Ronde 1X512Gr 32P</c:v>
                </c:pt>
                <c:pt idx="2">
                  <c:v>La Vache Qui Rit Nature Fromage Fondu Boite Ronde 1X192Gr 12P</c:v>
                </c:pt>
                <c:pt idx="3">
                  <c:v>Mini Babybel Rouge Filet St Paulin Ferme 1X132Gr 6P</c:v>
                </c:pt>
                <c:pt idx="4">
                  <c:v>La Vache Qui Rit Nature Fromage Fondu Boite Ronde 1X384Gr 24P</c:v>
                </c:pt>
                <c:pt idx="5">
                  <c:v>Kiri Creme Fromage Blanc Frais Carre 1X216Gr 12P</c:v>
                </c:pt>
                <c:pt idx="6">
                  <c:v>Kiri Creme Fromage Blanc Frais Carre 1X432Gr 24P</c:v>
                </c:pt>
                <c:pt idx="7">
                  <c:v>Kiri Gouter Fromage Blanc Dips Boite 1X280Gr 8P</c:v>
                </c:pt>
                <c:pt idx="8">
                  <c:v>Kiri Creme Fromage Blanc Frais Carre 1X144Gr 8P</c:v>
                </c:pt>
                <c:pt idx="9">
                  <c:v>Mini Babybel Rouge Filet St Paulin Ferme 1X440Gr 20P</c:v>
                </c:pt>
                <c:pt idx="10">
                  <c:v>Kiri Gouter Fromage Blanc Dips Boite 1X175Gr 5P</c:v>
                </c:pt>
                <c:pt idx="11">
                  <c:v>La Vache Qui Rit Pik Et Croq' Fromage Fondu Dips Boite 1X175Gr 5P</c:v>
                </c:pt>
                <c:pt idx="12">
                  <c:v>La Vache Qui Rit Pik Et Croq' Fromage Fondu Dips Boite 1X280Gr 8P</c:v>
                </c:pt>
                <c:pt idx="13">
                  <c:v>La Vache Qui Rit Allegee Fromage Fondu Boite Ronde Allege 1X267Gr 16P</c:v>
                </c:pt>
                <c:pt idx="14">
                  <c:v>Babybel Mini Rolls St Paulin Ferme Sachet 1X85Gr 5P</c:v>
                </c:pt>
                <c:pt idx="15">
                  <c:v>Mini Babybel Aros St Paulin Ferme Assortis Filet 1X180Gr 9P</c:v>
                </c:pt>
                <c:pt idx="16">
                  <c:v>La Vache Qui Rit Aro Fromage Fondu Boite Ronde Jambon 1X133Gr 8P</c:v>
                </c:pt>
                <c:pt idx="17">
                  <c:v>Kiri Bio Fromage Blanc Frais Carre 1X144Gr 8P</c:v>
                </c:pt>
                <c:pt idx="18">
                  <c:v>Kiri Chevre Fromage Blanc Frais Carre 1X144Gr 8P</c:v>
                </c:pt>
                <c:pt idx="19">
                  <c:v>Mini Babybel Aros Soft Cheese Enfant 180G</c:v>
                </c:pt>
                <c:pt idx="20">
                  <c:v>Mini Babybel Rouge Filet St Paulin Ferme 1X396Gr 12+6P</c:v>
                </c:pt>
                <c:pt idx="21">
                  <c:v>Kiri Creme Fromage Blanc Frais Carre 1X432Gr 18+6P</c:v>
                </c:pt>
                <c:pt idx="22">
                  <c:v>Mini Babybel Aros St Paulin Ferme Raclette Filet 1X132Gr 6P</c:v>
                </c:pt>
                <c:pt idx="23">
                  <c:v>Mini Babybel Aros Soft Cheese Enfant 110G</c:v>
                </c:pt>
                <c:pt idx="24">
                  <c:v>La Vache Qui Rit Nature Fromage Fondu Boite Ronde 1X512Gr 24+8P</c:v>
                </c:pt>
                <c:pt idx="25">
                  <c:v>Mini Babybel Bio St Paulin Ferme Filet 1X100Gr 5P</c:v>
                </c:pt>
                <c:pt idx="26">
                  <c:v>Mini Babybel Rouge Filet St Paulin Ferme Sachet 1X40Gr 1P</c:v>
                </c:pt>
                <c:pt idx="27">
                  <c:v>La Vache Qui Rit Nature Fromage Fondu Boite Ronde 1X128Gr 8P</c:v>
                </c:pt>
              </c:strCache>
            </c:strRef>
          </c:cat>
          <c:val>
            <c:numRef>
              <c:f>Sheet1!$C$2:$C$29</c:f>
              <c:numCache>
                <c:formatCode>General</c:formatCode>
                <c:ptCount val="28"/>
                <c:pt idx="0">
                  <c:v>0.17232014725340528</c:v>
                </c:pt>
                <c:pt idx="1">
                  <c:v>0.3044837267588026</c:v>
                </c:pt>
                <c:pt idx="2">
                  <c:v>0.40795718057298547</c:v>
                </c:pt>
                <c:pt idx="3">
                  <c:v>0.49488009832152097</c:v>
                </c:pt>
                <c:pt idx="4">
                  <c:v>0.580419322573821</c:v>
                </c:pt>
                <c:pt idx="5">
                  <c:v>0.6562539016226792</c:v>
                </c:pt>
                <c:pt idx="6">
                  <c:v>0.7219858427757896</c:v>
                </c:pt>
                <c:pt idx="7">
                  <c:v>0.7671297357073557</c:v>
                </c:pt>
                <c:pt idx="8">
                  <c:v>0.8092962935777567</c:v>
                </c:pt>
                <c:pt idx="9">
                  <c:v>0.8425340505304011</c:v>
                </c:pt>
                <c:pt idx="10">
                  <c:v>0.8755784987085781</c:v>
                </c:pt>
                <c:pt idx="11">
                  <c:v>0.8980192533799912</c:v>
                </c:pt>
                <c:pt idx="12">
                  <c:v>0.9200563621188318</c:v>
                </c:pt>
                <c:pt idx="13">
                  <c:v>0.9351812516946847</c:v>
                </c:pt>
                <c:pt idx="14">
                  <c:v>0.9465555482238904</c:v>
                </c:pt>
                <c:pt idx="15">
                  <c:v>0.9567477453470228</c:v>
                </c:pt>
                <c:pt idx="16">
                  <c:v>0.9647565100208719</c:v>
                </c:pt>
                <c:pt idx="17">
                  <c:v>0.9719087973504934</c:v>
                </c:pt>
                <c:pt idx="18">
                  <c:v>0.9784148300559302</c:v>
                </c:pt>
                <c:pt idx="19">
                  <c:v>0.9842571677765213</c:v>
                </c:pt>
                <c:pt idx="20">
                  <c:v>0.9890691738489711</c:v>
                </c:pt>
                <c:pt idx="21">
                  <c:v>0.993663816266304</c:v>
                </c:pt>
                <c:pt idx="22">
                  <c:v>0.9973207074277192</c:v>
                </c:pt>
                <c:pt idx="23">
                  <c:v>0.9986178399737965</c:v>
                </c:pt>
                <c:pt idx="24">
                  <c:v>0.9991847890209589</c:v>
                </c:pt>
                <c:pt idx="25">
                  <c:v>0.9996330886853555</c:v>
                </c:pt>
                <c:pt idx="26">
                  <c:v>0.999979103609864</c:v>
                </c:pt>
                <c:pt idx="27">
                  <c:v>1.0</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29</c:f>
              <c:strCache>
                <c:ptCount val="28"/>
                <c:pt idx="0">
                  <c:v>Mini Babybel Rouge Filet St Paulin Ferme 1X264Gr 12P</c:v>
                </c:pt>
                <c:pt idx="1">
                  <c:v>La Vache Qui Rit Nature Fromage Fondu Boite Ronde 1X512Gr 32P</c:v>
                </c:pt>
                <c:pt idx="2">
                  <c:v>La Vache Qui Rit Nature Fromage Fondu Boite Ronde 1X192Gr 12P</c:v>
                </c:pt>
                <c:pt idx="3">
                  <c:v>Mini Babybel Rouge Filet St Paulin Ferme 1X132Gr 6P</c:v>
                </c:pt>
                <c:pt idx="4">
                  <c:v>La Vache Qui Rit Nature Fromage Fondu Boite Ronde 1X384Gr 24P</c:v>
                </c:pt>
                <c:pt idx="5">
                  <c:v>Kiri Creme Fromage Blanc Frais Carre 1X216Gr 12P</c:v>
                </c:pt>
                <c:pt idx="6">
                  <c:v>Kiri Creme Fromage Blanc Frais Carre 1X432Gr 24P</c:v>
                </c:pt>
                <c:pt idx="7">
                  <c:v>Kiri Gouter Fromage Blanc Dips Boite 1X280Gr 8P</c:v>
                </c:pt>
                <c:pt idx="8">
                  <c:v>Kiri Creme Fromage Blanc Frais Carre 1X144Gr 8P</c:v>
                </c:pt>
                <c:pt idx="9">
                  <c:v>Mini Babybel Rouge Filet St Paulin Ferme 1X440Gr 20P</c:v>
                </c:pt>
                <c:pt idx="10">
                  <c:v>Kiri Gouter Fromage Blanc Dips Boite 1X175Gr 5P</c:v>
                </c:pt>
                <c:pt idx="11">
                  <c:v>La Vache Qui Rit Pik Et Croq' Fromage Fondu Dips Boite 1X175Gr 5P</c:v>
                </c:pt>
                <c:pt idx="12">
                  <c:v>La Vache Qui Rit Pik Et Croq' Fromage Fondu Dips Boite 1X280Gr 8P</c:v>
                </c:pt>
                <c:pt idx="13">
                  <c:v>La Vache Qui Rit Allegee Fromage Fondu Boite Ronde Allege 1X267Gr 16P</c:v>
                </c:pt>
                <c:pt idx="14">
                  <c:v>Babybel Mini Rolls St Paulin Ferme Sachet 1X85Gr 5P</c:v>
                </c:pt>
                <c:pt idx="15">
                  <c:v>Mini Babybel Aros St Paulin Ferme Assortis Filet 1X180Gr 9P</c:v>
                </c:pt>
                <c:pt idx="16">
                  <c:v>La Vache Qui Rit Aro Fromage Fondu Boite Ronde Jambon 1X133Gr 8P</c:v>
                </c:pt>
                <c:pt idx="17">
                  <c:v>Kiri Bio Fromage Blanc Frais Carre 1X144Gr 8P</c:v>
                </c:pt>
                <c:pt idx="18">
                  <c:v>Kiri Chevre Fromage Blanc Frais Carre 1X144Gr 8P</c:v>
                </c:pt>
                <c:pt idx="19">
                  <c:v>Mini Babybel Aros Soft Cheese Enfant 180G</c:v>
                </c:pt>
                <c:pt idx="20">
                  <c:v>Mini Babybel Rouge Filet St Paulin Ferme 1X396Gr 12+6P</c:v>
                </c:pt>
                <c:pt idx="21">
                  <c:v>Kiri Creme Fromage Blanc Frais Carre 1X432Gr 18+6P</c:v>
                </c:pt>
                <c:pt idx="22">
                  <c:v>Mini Babybel Aros St Paulin Ferme Raclette Filet 1X132Gr 6P</c:v>
                </c:pt>
                <c:pt idx="23">
                  <c:v>Mini Babybel Aros Soft Cheese Enfant 110G</c:v>
                </c:pt>
                <c:pt idx="24">
                  <c:v>La Vache Qui Rit Nature Fromage Fondu Boite Ronde 1X512Gr 24+8P</c:v>
                </c:pt>
                <c:pt idx="25">
                  <c:v>Mini Babybel Bio St Paulin Ferme Filet 1X100Gr 5P</c:v>
                </c:pt>
                <c:pt idx="26">
                  <c:v>Mini Babybel Rouge Filet St Paulin Ferme Sachet 1X40Gr 1P</c:v>
                </c:pt>
                <c:pt idx="27">
                  <c:v>La Vache Qui Rit Nature Fromage Fondu Boite Ronde 1X128Gr 8P</c:v>
                </c:pt>
              </c:strCache>
            </c:strRef>
          </c:cat>
          <c:val>
            <c:numRef>
              <c:f>Sheet1!$D$2:$D$29</c:f>
              <c:numCache>
                <c:formatCode>General</c:formatCode>
                <c:ptCount val="28"/>
                <c:pt idx="0">
                  <c:v>75289.7</c:v>
                </c:pt>
                <c:pt idx="1">
                  <c:v>58923.051020408166</c:v>
                </c:pt>
                <c:pt idx="2">
                  <c:v>45209.37</c:v>
                </c:pt>
                <c:pt idx="3">
                  <c:v>37978.15</c:v>
                </c:pt>
                <c:pt idx="4">
                  <c:v>38529.47422680412</c:v>
                </c:pt>
                <c:pt idx="5">
                  <c:v>33468.14141414141</c:v>
                </c:pt>
                <c:pt idx="6">
                  <c:v>32269.03370786517</c:v>
                </c:pt>
                <c:pt idx="7">
                  <c:v>20546.0</c:v>
                </c:pt>
                <c:pt idx="8">
                  <c:v>18609.40404040404</c:v>
                </c:pt>
                <c:pt idx="9">
                  <c:v>16135.733333333334</c:v>
                </c:pt>
                <c:pt idx="10">
                  <c:v>14583.535353535353</c:v>
                </c:pt>
                <c:pt idx="11">
                  <c:v>10108.0</c:v>
                </c:pt>
                <c:pt idx="12">
                  <c:v>10818.426966292134</c:v>
                </c:pt>
                <c:pt idx="13">
                  <c:v>7595.781609195402</c:v>
                </c:pt>
                <c:pt idx="14">
                  <c:v>6135.3456790123455</c:v>
                </c:pt>
                <c:pt idx="15">
                  <c:v>5239.0</c:v>
                </c:pt>
                <c:pt idx="16">
                  <c:v>5071.260869565217</c:v>
                </c:pt>
                <c:pt idx="17">
                  <c:v>5208.266666666666</c:v>
                </c:pt>
                <c:pt idx="18">
                  <c:v>4180.294117647059</c:v>
                </c:pt>
                <c:pt idx="19">
                  <c:v>3496.7397260273974</c:v>
                </c:pt>
                <c:pt idx="20">
                  <c:v>2362.303370786517</c:v>
                </c:pt>
                <c:pt idx="21">
                  <c:v>2418.6506024096384</c:v>
                </c:pt>
                <c:pt idx="22">
                  <c:v>2075.012987012987</c:v>
                </c:pt>
                <c:pt idx="23">
                  <c:v>960.5762711864406</c:v>
                </c:pt>
                <c:pt idx="24">
                  <c:v>990.84</c:v>
                </c:pt>
                <c:pt idx="25">
                  <c:v>631.8387096774194</c:v>
                </c:pt>
                <c:pt idx="26">
                  <c:v>1679.7777777777778</c:v>
                </c:pt>
                <c:pt idx="27">
                  <c:v>76.08333333333333</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29</c:f>
              <c:strCache>
                <c:ptCount val="28"/>
                <c:pt idx="0">
                  <c:v>Mini Babybel Rouge Filet St Paulin Ferme 1X264Gr 12P</c:v>
                </c:pt>
                <c:pt idx="1">
                  <c:v>La Vache Qui Rit Nature Fromage Fondu Boite Ronde 1X512Gr 32P</c:v>
                </c:pt>
                <c:pt idx="2">
                  <c:v>La Vache Qui Rit Nature Fromage Fondu Boite Ronde 1X192Gr 12P</c:v>
                </c:pt>
                <c:pt idx="3">
                  <c:v>La Vache Qui Rit Nature Fromage Fondu Boite Ronde 1X384Gr 24P</c:v>
                </c:pt>
                <c:pt idx="4">
                  <c:v>Mini Babybel Rouge Filet St Paulin Ferme 1X132Gr 6P</c:v>
                </c:pt>
                <c:pt idx="5">
                  <c:v>Kiri Creme Fromage Blanc Frais Carre 1X432Gr 24P</c:v>
                </c:pt>
                <c:pt idx="6">
                  <c:v>Kiri Creme Fromage Blanc Frais Carre 1X216Gr 12P</c:v>
                </c:pt>
                <c:pt idx="7">
                  <c:v>Kiri Gouter Fromage Blanc Dips Boite 1X280Gr 8P</c:v>
                </c:pt>
                <c:pt idx="8">
                  <c:v>Mini Babybel Rouge Filet St Paulin Ferme 1X440Gr 20P</c:v>
                </c:pt>
                <c:pt idx="9">
                  <c:v>Kiri Creme Fromage Blanc Frais Carre 1X144Gr 8P</c:v>
                </c:pt>
                <c:pt idx="10">
                  <c:v>Kiri Gouter Fromage Blanc Dips Boite 1X175Gr 5P</c:v>
                </c:pt>
                <c:pt idx="11">
                  <c:v>La Vache Qui Rit Pik Et Croq' Fromage Fondu Dips Boite 1X280Gr 8P</c:v>
                </c:pt>
                <c:pt idx="12">
                  <c:v>La Vache Qui Rit Pik Et Croq' Fromage Fondu Dips Boite 1X175Gr 5P</c:v>
                </c:pt>
                <c:pt idx="13">
                  <c:v>La Vache Qui Rit Allegee Fromage Fondu Boite Ronde Allege 1X267Gr 16P</c:v>
                </c:pt>
                <c:pt idx="14">
                  <c:v>Babybel Mini Rolls St Paulin Ferme Sachet 1X85Gr 5P</c:v>
                </c:pt>
                <c:pt idx="15">
                  <c:v>Mini Babybel Aros St Paulin Ferme Assortis Filet 1X180Gr 9P</c:v>
                </c:pt>
                <c:pt idx="16">
                  <c:v>La Vache Qui Rit Aro Fromage Fondu Boite Ronde Jambon 1X133Gr 8P</c:v>
                </c:pt>
                <c:pt idx="17">
                  <c:v>Kiri Bio Fromage Blanc Frais Carre 1X144Gr 8P</c:v>
                </c:pt>
                <c:pt idx="18">
                  <c:v>Mini Babybel Aros Soft Cheese Enfant 180G</c:v>
                </c:pt>
                <c:pt idx="19">
                  <c:v>Kiri Chevre Fromage Blanc Frais Carre 1X144Gr 8P</c:v>
                </c:pt>
                <c:pt idx="20">
                  <c:v>Mini Babybel Rouge Filet St Paulin Ferme 1X396Gr 12+6P</c:v>
                </c:pt>
                <c:pt idx="21">
                  <c:v>Mini Babybel Aros St Paulin Ferme Raclette Filet 1X132Gr 6P</c:v>
                </c:pt>
                <c:pt idx="22">
                  <c:v>Kiri Creme Fromage Blanc Frais Carre 1X432Gr 18+6P</c:v>
                </c:pt>
                <c:pt idx="23">
                  <c:v>Mini Babybel Aros Soft Cheese Enfant 110G</c:v>
                </c:pt>
                <c:pt idx="24">
                  <c:v>La Vache Qui Rit Nature Fromage Fondu Boite Ronde 1X512Gr 24+8P</c:v>
                </c:pt>
                <c:pt idx="25">
                  <c:v>Mini Babybel Rouge Filet St Paulin Ferme Sachet 1X40Gr 1P</c:v>
                </c:pt>
                <c:pt idx="26">
                  <c:v>Mini Babybel Bio St Paulin Ferme Filet 1X100Gr 5P</c:v>
                </c:pt>
                <c:pt idx="27">
                  <c:v>La Vache Qui Rit Nature Fromage Fondu Boite Ronde 1X128Gr 8P</c:v>
                </c:pt>
              </c:strCache>
            </c:strRef>
          </c:cat>
          <c:val>
            <c:numRef>
              <c:f>Sheet1!$B$2:$B$29</c:f>
              <c:numCache>
                <c:formatCode>General</c:formatCode>
                <c:ptCount val="28"/>
                <c:pt idx="0">
                  <c:v>1.0</c:v>
                </c:pt>
                <c:pt idx="1">
                  <c:v>0.99</c:v>
                </c:pt>
                <c:pt idx="2">
                  <c:v>1.0</c:v>
                </c:pt>
                <c:pt idx="3">
                  <c:v>1.0</c:v>
                </c:pt>
                <c:pt idx="4">
                  <c:v>1.0</c:v>
                </c:pt>
                <c:pt idx="5">
                  <c:v>0.99</c:v>
                </c:pt>
                <c:pt idx="6">
                  <c:v>1.0</c:v>
                </c:pt>
                <c:pt idx="7">
                  <c:v>0.99</c:v>
                </c:pt>
                <c:pt idx="8">
                  <c:v>0.98</c:v>
                </c:pt>
                <c:pt idx="9">
                  <c:v>1.0</c:v>
                </c:pt>
                <c:pt idx="10">
                  <c:v>1.0</c:v>
                </c:pt>
                <c:pt idx="11">
                  <c:v>0.98</c:v>
                </c:pt>
                <c:pt idx="12">
                  <c:v>0.99</c:v>
                </c:pt>
                <c:pt idx="13">
                  <c:v>0.97</c:v>
                </c:pt>
                <c:pt idx="14">
                  <c:v>0.97</c:v>
                </c:pt>
                <c:pt idx="15">
                  <c:v>0.97</c:v>
                </c:pt>
                <c:pt idx="16">
                  <c:v>0.92</c:v>
                </c:pt>
                <c:pt idx="17">
                  <c:v>0.87</c:v>
                </c:pt>
                <c:pt idx="18">
                  <c:v>0.95</c:v>
                </c:pt>
                <c:pt idx="19">
                  <c:v>0.88</c:v>
                </c:pt>
                <c:pt idx="20">
                  <c:v>0.92</c:v>
                </c:pt>
                <c:pt idx="21">
                  <c:v>0.95</c:v>
                </c:pt>
                <c:pt idx="22">
                  <c:v>0.94</c:v>
                </c:pt>
                <c:pt idx="23">
                  <c:v>0.9</c:v>
                </c:pt>
                <c:pt idx="24">
                  <c:v>0.32</c:v>
                </c:pt>
                <c:pt idx="25">
                  <c:v>0.24</c:v>
                </c:pt>
                <c:pt idx="26">
                  <c:v>0.55</c:v>
                </c:pt>
                <c:pt idx="27">
                  <c:v>0.13</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7ECAC4"/>
              </a:solidFill>
            </c:spPr>
            <c:extLst>
              <c:ext xmlns:c16="http://schemas.microsoft.com/office/drawing/2014/chart" uri="{C3380CC4-5D6E-409C-BE32-E72D297353CC}">
                <c16:uniqueId val="{00000015-FA3E-4872-B6E1-C4ABDF5766E2}"/>
              </c:ext>
            </c:extLst>
          </c:dPt>
          <c:dPt>
            <c:idx val="10"/>
            <c:invertIfNegative val="1"/>
            <c:bubble3D val="0"/>
            <c:spPr>
              <a:solidFill>
                <a:srgbClr val="7ECAC4"/>
              </a:solidFill>
            </c:spPr>
            <c:extLst>
              <c:ext xmlns:c16="http://schemas.microsoft.com/office/drawing/2014/chart" uri="{C3380CC4-5D6E-409C-BE32-E72D297353CC}">
                <c16:uniqueId val="{00000017-FA3E-4872-B6E1-C4ABDF5766E2}"/>
              </c:ext>
            </c:extLst>
          </c:dPt>
          <c:dPt>
            <c:idx val="11"/>
            <c:invertIfNegative val="1"/>
            <c:bubble3D val="0"/>
            <c:spPr>
              <a:solidFill>
                <a:srgbClr val="7ECAC4"/>
              </a:solidFill>
            </c:spPr>
            <c:extLst>
              <c:ext xmlns:c16="http://schemas.microsoft.com/office/drawing/2014/chart" uri="{C3380CC4-5D6E-409C-BE32-E72D297353CC}">
                <c16:uniqueId val="{00000019-FA3E-4872-B6E1-C4ABDF5766E2}"/>
              </c:ext>
            </c:extLst>
          </c:dPt>
          <c:dPt>
            <c:idx val="12"/>
            <c:invertIfNegative val="1"/>
            <c:bubble3D val="0"/>
            <c:spPr>
              <a:solidFill>
                <a:srgbClr val="7ECAC4"/>
              </a:solidFill>
            </c:spPr>
            <c:extLst>
              <c:ext xmlns:c16="http://schemas.microsoft.com/office/drawing/2014/chart" uri="{C3380CC4-5D6E-409C-BE32-E72D297353CC}">
                <c16:uniqueId val="{0000001B-FA3E-4872-B6E1-C4ABDF5766E2}"/>
              </c:ext>
            </c:extLst>
          </c:dPt>
          <c:dPt>
            <c:idx val="13"/>
            <c:invertIfNegative val="1"/>
            <c:bubble3D val="0"/>
            <c:spPr>
              <a:solidFill>
                <a:srgbClr val="7ECAC4"/>
              </a:solidFill>
            </c:spPr>
            <c:extLst>
              <c:ext xmlns:c16="http://schemas.microsoft.com/office/drawing/2014/chart" uri="{C3380CC4-5D6E-409C-BE32-E72D297353CC}">
                <c16:uniqueId val="{0000001D-FA3E-4872-B6E1-C4ABDF5766E2}"/>
              </c:ext>
            </c:extLst>
          </c:dPt>
          <c:dPt>
            <c:idx val="14"/>
            <c:invertIfNegative val="1"/>
            <c:bubble3D val="0"/>
            <c:spPr>
              <a:solidFill>
                <a:srgbClr val="7ECAC4"/>
              </a:solidFill>
            </c:spPr>
            <c:extLst>
              <c:ext xmlns:c16="http://schemas.microsoft.com/office/drawing/2014/chart" uri="{C3380CC4-5D6E-409C-BE32-E72D297353CC}">
                <c16:uniqueId val="{0000001F-FA3E-4872-B6E1-C4ABDF5766E2}"/>
              </c:ext>
            </c:extLst>
          </c:dPt>
          <c:dPt>
            <c:idx val="15"/>
            <c:invertIfNegative val="1"/>
            <c:bubble3D val="0"/>
            <c:spPr>
              <a:solidFill>
                <a:srgbClr val="AEABAB"/>
              </a:solidFill>
            </c:spPr>
            <c:extLst>
              <c:ext xmlns:c16="http://schemas.microsoft.com/office/drawing/2014/chart" uri="{C3380CC4-5D6E-409C-BE32-E72D297353CC}">
                <c16:uniqueId val="{00000021-FA3E-4872-B6E1-C4ABDF5766E2}"/>
              </c:ext>
            </c:extLst>
          </c:dPt>
          <c:dPt>
            <c:idx val="16"/>
            <c:invertIfNegative val="1"/>
            <c:bubble3D val="0"/>
            <c:spPr>
              <a:solidFill>
                <a:srgbClr val="AEABAB"/>
              </a:solidFill>
            </c:spPr>
            <c:extLst>
              <c:ext xmlns:c16="http://schemas.microsoft.com/office/drawing/2014/chart" uri="{C3380CC4-5D6E-409C-BE32-E72D297353CC}">
                <c16:uniqueId val="{00000023-FA3E-4872-B6E1-C4ABDF5766E2}"/>
              </c:ext>
            </c:extLst>
          </c:dPt>
          <c:dPt>
            <c:idx val="17"/>
            <c:invertIfNegative val="1"/>
            <c:bubble3D val="0"/>
            <c:spPr>
              <a:solidFill>
                <a:srgbClr val="AEABAB"/>
              </a:solidFill>
            </c:spPr>
            <c:extLst>
              <c:ext xmlns:c16="http://schemas.microsoft.com/office/drawing/2014/chart" uri="{C3380CC4-5D6E-409C-BE32-E72D297353CC}">
                <c16:uniqueId val="{00000025-FA3E-4872-B6E1-C4ABDF5766E2}"/>
              </c:ext>
            </c:extLst>
          </c:dPt>
          <c:dPt>
            <c:idx val="18"/>
            <c:invertIfNegative val="1"/>
            <c:bubble3D val="0"/>
            <c:spPr>
              <a:solidFill>
                <a:srgbClr val="AEABAB"/>
              </a:solidFill>
            </c:spPr>
            <c:extLst>
              <c:ext xmlns:c16="http://schemas.microsoft.com/office/drawing/2014/chart" uri="{C3380CC4-5D6E-409C-BE32-E72D297353CC}">
                <c16:uniqueId val="{00000027-FA3E-4872-B6E1-C4ABDF5766E2}"/>
              </c:ext>
            </c:extLst>
          </c:dPt>
          <c:dPt>
            <c:idx val="19"/>
            <c:invertIfNegative val="1"/>
            <c:bubble3D val="0"/>
            <c:spPr>
              <a:solidFill>
                <a:srgbClr val="AEABAB"/>
              </a:solidFill>
            </c:spPr>
            <c:extLst>
              <c:ext xmlns:c16="http://schemas.microsoft.com/office/drawing/2014/chart" uri="{C3380CC4-5D6E-409C-BE32-E72D297353CC}">
                <c16:uniqueId val="{00000029-FA3E-4872-B6E1-C4ABDF5766E2}"/>
              </c:ext>
            </c:extLst>
          </c:dPt>
          <c:dPt>
            <c:idx val="20"/>
            <c:invertIfNegative val="1"/>
            <c:bubble3D val="0"/>
            <c:spPr>
              <a:solidFill>
                <a:srgbClr val="AEABAB"/>
              </a:solidFill>
            </c:spPr>
            <c:extLst>
              <c:ext xmlns:c16="http://schemas.microsoft.com/office/drawing/2014/chart" uri="{C3380CC4-5D6E-409C-BE32-E72D297353CC}">
                <c16:uniqueId val="{0000002B-FA3E-4872-B6E1-C4ABDF5766E2}"/>
              </c:ext>
            </c:extLst>
          </c:dPt>
          <c:dPt>
            <c:idx val="21"/>
            <c:invertIfNegative val="1"/>
            <c:bubble3D val="0"/>
            <c:spPr>
              <a:solidFill>
                <a:srgbClr val="AEABAB"/>
              </a:solidFill>
            </c:spPr>
            <c:extLst>
              <c:ext xmlns:c16="http://schemas.microsoft.com/office/drawing/2014/chart" uri="{C3380CC4-5D6E-409C-BE32-E72D297353CC}">
                <c16:uniqueId val="{0000002D-FA3E-4872-B6E1-C4ABDF5766E2}"/>
              </c:ext>
            </c:extLst>
          </c:dPt>
          <c:dPt>
            <c:idx val="22"/>
            <c:invertIfNegative val="1"/>
            <c:bubble3D val="0"/>
            <c:spPr>
              <a:solidFill>
                <a:srgbClr val="AEABAB"/>
              </a:solidFill>
            </c:spPr>
            <c:extLst>
              <c:ext xmlns:c16="http://schemas.microsoft.com/office/drawing/2014/chart" uri="{C3380CC4-5D6E-409C-BE32-E72D297353CC}">
                <c16:uniqueId val="{0000002F-FA3E-4872-B6E1-C4ABDF5766E2}"/>
              </c:ext>
            </c:extLst>
          </c:dPt>
          <c:dPt>
            <c:idx val="23"/>
            <c:invertIfNegative val="1"/>
            <c:bubble3D val="0"/>
            <c:spPr>
              <a:solidFill>
                <a:srgbClr val="AEABAB"/>
              </a:solidFill>
            </c:spPr>
            <c:extLst>
              <c:ext xmlns:c16="http://schemas.microsoft.com/office/drawing/2014/chart" uri="{C3380CC4-5D6E-409C-BE32-E72D297353CC}">
                <c16:uniqueId val="{00000031-FA3E-4872-B6E1-C4ABDF5766E2}"/>
              </c:ext>
            </c:extLst>
          </c:dPt>
          <c:dPt>
            <c:idx val="24"/>
            <c:invertIfNegative val="1"/>
            <c:bubble3D val="0"/>
            <c:spPr>
              <a:solidFill>
                <a:srgbClr val="AEABAB"/>
              </a:solidFill>
            </c:spPr>
            <c:extLst>
              <c:ext xmlns:c16="http://schemas.microsoft.com/office/drawing/2014/chart" uri="{C3380CC4-5D6E-409C-BE32-E72D297353CC}">
                <c16:uniqueId val="{00000033-FA3E-4872-B6E1-C4ABDF5766E2}"/>
              </c:ext>
            </c:extLst>
          </c:dPt>
          <c:dPt>
            <c:idx val="25"/>
            <c:invertIfNegative val="1"/>
            <c:bubble3D val="0"/>
            <c:spPr>
              <a:solidFill>
                <a:srgbClr val="AEABAB"/>
              </a:solidFill>
            </c:spPr>
            <c:extLst>
              <c:ext xmlns:c16="http://schemas.microsoft.com/office/drawing/2014/chart" uri="{C3380CC4-5D6E-409C-BE32-E72D297353CC}">
                <c16:uniqueId val="{00000035-FA3E-4872-B6E1-C4ABDF5766E2}"/>
              </c:ext>
            </c:extLst>
          </c:dPt>
          <c:dPt>
            <c:idx val="26"/>
            <c:invertIfNegative val="1"/>
            <c:bubble3D val="0"/>
            <c:spPr>
              <a:solidFill>
                <a:srgbClr val="AEABAB"/>
              </a:solidFill>
            </c:spPr>
            <c:extLst>
              <c:ext xmlns:c16="http://schemas.microsoft.com/office/drawing/2014/chart" uri="{C3380CC4-5D6E-409C-BE32-E72D297353CC}">
                <c16:uniqueId val="{00000037-FA3E-4872-B6E1-C4ABDF5766E2}"/>
              </c:ext>
            </c:extLst>
          </c:dPt>
          <c:dPt>
            <c:idx val="27"/>
            <c:invertIfNegative val="1"/>
            <c:bubble3D val="0"/>
            <c:spPr>
              <a:solidFill>
                <a:srgbClr val="AEABAB"/>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29</c:f>
              <c:strCache>
                <c:ptCount val="28"/>
                <c:pt idx="0">
                  <c:v>Mini Babybel Rouge Filet St Paulin Ferme 1X264Gr 12P</c:v>
                </c:pt>
                <c:pt idx="1">
                  <c:v>La Vache Qui Rit Nature Fromage Fondu Boite Ronde 1X512Gr 32P</c:v>
                </c:pt>
                <c:pt idx="2">
                  <c:v>La Vache Qui Rit Nature Fromage Fondu Boite Ronde 1X192Gr 12P</c:v>
                </c:pt>
                <c:pt idx="3">
                  <c:v>La Vache Qui Rit Nature Fromage Fondu Boite Ronde 1X384Gr 24P</c:v>
                </c:pt>
                <c:pt idx="4">
                  <c:v>Mini Babybel Rouge Filet St Paulin Ferme 1X132Gr 6P</c:v>
                </c:pt>
                <c:pt idx="5">
                  <c:v>Kiri Creme Fromage Blanc Frais Carre 1X432Gr 24P</c:v>
                </c:pt>
                <c:pt idx="6">
                  <c:v>Kiri Creme Fromage Blanc Frais Carre 1X216Gr 12P</c:v>
                </c:pt>
                <c:pt idx="7">
                  <c:v>Kiri Gouter Fromage Blanc Dips Boite 1X280Gr 8P</c:v>
                </c:pt>
                <c:pt idx="8">
                  <c:v>Mini Babybel Rouge Filet St Paulin Ferme 1X440Gr 20P</c:v>
                </c:pt>
                <c:pt idx="9">
                  <c:v>Kiri Creme Fromage Blanc Frais Carre 1X144Gr 8P</c:v>
                </c:pt>
                <c:pt idx="10">
                  <c:v>Kiri Gouter Fromage Blanc Dips Boite 1X175Gr 5P</c:v>
                </c:pt>
                <c:pt idx="11">
                  <c:v>La Vache Qui Rit Pik Et Croq' Fromage Fondu Dips Boite 1X280Gr 8P</c:v>
                </c:pt>
                <c:pt idx="12">
                  <c:v>La Vache Qui Rit Pik Et Croq' Fromage Fondu Dips Boite 1X175Gr 5P</c:v>
                </c:pt>
                <c:pt idx="13">
                  <c:v>La Vache Qui Rit Allegee Fromage Fondu Boite Ronde Allege 1X267Gr 16P</c:v>
                </c:pt>
                <c:pt idx="14">
                  <c:v>Babybel Mini Rolls St Paulin Ferme Sachet 1X85Gr 5P</c:v>
                </c:pt>
                <c:pt idx="15">
                  <c:v>Mini Babybel Aros St Paulin Ferme Assortis Filet 1X180Gr 9P</c:v>
                </c:pt>
                <c:pt idx="16">
                  <c:v>La Vache Qui Rit Aro Fromage Fondu Boite Ronde Jambon 1X133Gr 8P</c:v>
                </c:pt>
                <c:pt idx="17">
                  <c:v>Kiri Bio Fromage Blanc Frais Carre 1X144Gr 8P</c:v>
                </c:pt>
                <c:pt idx="18">
                  <c:v>Mini Babybel Aros Soft Cheese Enfant 180G</c:v>
                </c:pt>
                <c:pt idx="19">
                  <c:v>Kiri Chevre Fromage Blanc Frais Carre 1X144Gr 8P</c:v>
                </c:pt>
                <c:pt idx="20">
                  <c:v>Mini Babybel Rouge Filet St Paulin Ferme 1X396Gr 12+6P</c:v>
                </c:pt>
                <c:pt idx="21">
                  <c:v>Mini Babybel Aros St Paulin Ferme Raclette Filet 1X132Gr 6P</c:v>
                </c:pt>
                <c:pt idx="22">
                  <c:v>Kiri Creme Fromage Blanc Frais Carre 1X432Gr 18+6P</c:v>
                </c:pt>
                <c:pt idx="23">
                  <c:v>Mini Babybel Aros Soft Cheese Enfant 110G</c:v>
                </c:pt>
                <c:pt idx="24">
                  <c:v>La Vache Qui Rit Nature Fromage Fondu Boite Ronde 1X512Gr 24+8P</c:v>
                </c:pt>
                <c:pt idx="25">
                  <c:v>Mini Babybel Rouge Filet St Paulin Ferme Sachet 1X40Gr 1P</c:v>
                </c:pt>
                <c:pt idx="26">
                  <c:v>Mini Babybel Bio St Paulin Ferme Filet 1X100Gr 5P</c:v>
                </c:pt>
                <c:pt idx="27">
                  <c:v>La Vache Qui Rit Nature Fromage Fondu Boite Ronde 1X128Gr 8P</c:v>
                </c:pt>
              </c:strCache>
            </c:strRef>
          </c:cat>
          <c:val>
            <c:numRef>
              <c:f>Sheet1!$C$2:$C$29</c:f>
              <c:numCache>
                <c:formatCode>General</c:formatCode>
                <c:ptCount val="28"/>
                <c:pt idx="0">
                  <c:v>0.172477808164553</c:v>
                </c:pt>
                <c:pt idx="1">
                  <c:v>0.3100413534360189</c:v>
                </c:pt>
                <c:pt idx="2">
                  <c:v>0.4036870998311944</c:v>
                </c:pt>
                <c:pt idx="3">
                  <c:v>0.4879598465005195</c:v>
                </c:pt>
                <c:pt idx="4">
                  <c:v>0.5646840562231664</c:v>
                </c:pt>
                <c:pt idx="5">
                  <c:v>0.6365382499527381</c:v>
                </c:pt>
                <c:pt idx="6">
                  <c:v>0.7075611198678247</c:v>
                </c:pt>
                <c:pt idx="7">
                  <c:v>0.7528292424655961</c:v>
                </c:pt>
                <c:pt idx="8">
                  <c:v>0.7935137776907848</c:v>
                </c:pt>
                <c:pt idx="9">
                  <c:v>0.8289557938273174</c:v>
                </c:pt>
                <c:pt idx="10">
                  <c:v>0.8599483188427117</c:v>
                </c:pt>
                <c:pt idx="11">
                  <c:v>0.8868886569524895</c:v>
                </c:pt>
                <c:pt idx="12">
                  <c:v>0.9120651977676562</c:v>
                </c:pt>
                <c:pt idx="13">
                  <c:v>0.9258615501794131</c:v>
                </c:pt>
                <c:pt idx="14">
                  <c:v>0.9390958654466299</c:v>
                </c:pt>
                <c:pt idx="15">
                  <c:v>0.951042953959274</c:v>
                </c:pt>
                <c:pt idx="16">
                  <c:v>0.960190555271545</c:v>
                </c:pt>
                <c:pt idx="17">
                  <c:v>0.9675763044750825</c:v>
                </c:pt>
                <c:pt idx="18">
                  <c:v>0.9744408654375118</c:v>
                </c:pt>
                <c:pt idx="19">
                  <c:v>0.9810165662971017</c:v>
                </c:pt>
                <c:pt idx="20">
                  <c:v>0.9862087537011721</c:v>
                </c:pt>
                <c:pt idx="21">
                  <c:v>0.991195237698675</c:v>
                </c:pt>
                <c:pt idx="22">
                  <c:v>0.995873652882796</c:v>
                </c:pt>
                <c:pt idx="23">
                  <c:v>0.99808253302105</c:v>
                </c:pt>
                <c:pt idx="24">
                  <c:v>0.9987724661370493</c:v>
                </c:pt>
                <c:pt idx="25">
                  <c:v>0.9994536459165989</c:v>
                </c:pt>
                <c:pt idx="26">
                  <c:v>0.9999799402706361</c:v>
                </c:pt>
                <c:pt idx="27">
                  <c:v>0.999992219256489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29</c:f>
              <c:strCache>
                <c:ptCount val="28"/>
                <c:pt idx="0">
                  <c:v>Mini Babybel Rouge Filet St Paulin Ferme 1X264Gr 12P</c:v>
                </c:pt>
                <c:pt idx="1">
                  <c:v>La Vache Qui Rit Nature Fromage Fondu Boite Ronde 1X512Gr 32P</c:v>
                </c:pt>
                <c:pt idx="2">
                  <c:v>La Vache Qui Rit Nature Fromage Fondu Boite Ronde 1X192Gr 12P</c:v>
                </c:pt>
                <c:pt idx="3">
                  <c:v>La Vache Qui Rit Nature Fromage Fondu Boite Ronde 1X384Gr 24P</c:v>
                </c:pt>
                <c:pt idx="4">
                  <c:v>Mini Babybel Rouge Filet St Paulin Ferme 1X132Gr 6P</c:v>
                </c:pt>
                <c:pt idx="5">
                  <c:v>Kiri Creme Fromage Blanc Frais Carre 1X432Gr 24P</c:v>
                </c:pt>
                <c:pt idx="6">
                  <c:v>Kiri Creme Fromage Blanc Frais Carre 1X216Gr 12P</c:v>
                </c:pt>
                <c:pt idx="7">
                  <c:v>Kiri Gouter Fromage Blanc Dips Boite 1X280Gr 8P</c:v>
                </c:pt>
                <c:pt idx="8">
                  <c:v>Mini Babybel Rouge Filet St Paulin Ferme 1X440Gr 20P</c:v>
                </c:pt>
                <c:pt idx="9">
                  <c:v>Kiri Creme Fromage Blanc Frais Carre 1X144Gr 8P</c:v>
                </c:pt>
                <c:pt idx="10">
                  <c:v>Kiri Gouter Fromage Blanc Dips Boite 1X175Gr 5P</c:v>
                </c:pt>
                <c:pt idx="11">
                  <c:v>La Vache Qui Rit Pik Et Croq' Fromage Fondu Dips Boite 1X280Gr 8P</c:v>
                </c:pt>
                <c:pt idx="12">
                  <c:v>La Vache Qui Rit Pik Et Croq' Fromage Fondu Dips Boite 1X175Gr 5P</c:v>
                </c:pt>
                <c:pt idx="13">
                  <c:v>La Vache Qui Rit Allegee Fromage Fondu Boite Ronde Allege 1X267Gr 16P</c:v>
                </c:pt>
                <c:pt idx="14">
                  <c:v>Babybel Mini Rolls St Paulin Ferme Sachet 1X85Gr 5P</c:v>
                </c:pt>
                <c:pt idx="15">
                  <c:v>Mini Babybel Aros St Paulin Ferme Assortis Filet 1X180Gr 9P</c:v>
                </c:pt>
                <c:pt idx="16">
                  <c:v>La Vache Qui Rit Aro Fromage Fondu Boite Ronde Jambon 1X133Gr 8P</c:v>
                </c:pt>
                <c:pt idx="17">
                  <c:v>Kiri Bio Fromage Blanc Frais Carre 1X144Gr 8P</c:v>
                </c:pt>
                <c:pt idx="18">
                  <c:v>Mini Babybel Aros Soft Cheese Enfant 180G</c:v>
                </c:pt>
                <c:pt idx="19">
                  <c:v>Kiri Chevre Fromage Blanc Frais Carre 1X144Gr 8P</c:v>
                </c:pt>
                <c:pt idx="20">
                  <c:v>Mini Babybel Rouge Filet St Paulin Ferme 1X396Gr 12+6P</c:v>
                </c:pt>
                <c:pt idx="21">
                  <c:v>Mini Babybel Aros St Paulin Ferme Raclette Filet 1X132Gr 6P</c:v>
                </c:pt>
                <c:pt idx="22">
                  <c:v>Kiri Creme Fromage Blanc Frais Carre 1X432Gr 18+6P</c:v>
                </c:pt>
                <c:pt idx="23">
                  <c:v>Mini Babybel Aros Soft Cheese Enfant 110G</c:v>
                </c:pt>
                <c:pt idx="24">
                  <c:v>La Vache Qui Rit Nature Fromage Fondu Boite Ronde 1X512Gr 24+8P</c:v>
                </c:pt>
                <c:pt idx="25">
                  <c:v>Mini Babybel Rouge Filet St Paulin Ferme Sachet 1X40Gr 1P</c:v>
                </c:pt>
                <c:pt idx="26">
                  <c:v>Mini Babybel Bio St Paulin Ferme Filet 1X100Gr 5P</c:v>
                </c:pt>
                <c:pt idx="27">
                  <c:v>La Vache Qui Rit Nature Fromage Fondu Boite Ronde 1X128Gr 8P</c:v>
                </c:pt>
              </c:strCache>
            </c:strRef>
          </c:cat>
          <c:val>
            <c:numRef>
              <c:f>Sheet1!$D$2:$D$29</c:f>
              <c:numCache>
                <c:formatCode>General</c:formatCode>
                <c:ptCount val="28"/>
                <c:pt idx="0">
                  <c:v>14187.05</c:v>
                </c:pt>
                <c:pt idx="1">
                  <c:v>11429.494949494949</c:v>
                </c:pt>
                <c:pt idx="2">
                  <c:v>7702.77</c:v>
                </c:pt>
                <c:pt idx="3">
                  <c:v>6931.8</c:v>
                </c:pt>
                <c:pt idx="4">
                  <c:v>6310.9</c:v>
                </c:pt>
                <c:pt idx="5">
                  <c:v>5970.020202020202</c:v>
                </c:pt>
                <c:pt idx="6">
                  <c:v>5841.94</c:v>
                </c:pt>
                <c:pt idx="7">
                  <c:v>3761.1111111111113</c:v>
                </c:pt>
                <c:pt idx="8">
                  <c:v>3414.7755102040815</c:v>
                </c:pt>
                <c:pt idx="9">
                  <c:v>2915.26</c:v>
                </c:pt>
                <c:pt idx="10">
                  <c:v>2549.27</c:v>
                </c:pt>
                <c:pt idx="11">
                  <c:v>2261.183673469388</c:v>
                </c:pt>
                <c:pt idx="12">
                  <c:v>2091.7979797979797</c:v>
                </c:pt>
                <c:pt idx="13">
                  <c:v>1169.9072164948454</c:v>
                </c:pt>
                <c:pt idx="14">
                  <c:v>1122.2474226804125</c:v>
                </c:pt>
                <c:pt idx="15">
                  <c:v>1013.0927835051547</c:v>
                </c:pt>
                <c:pt idx="16">
                  <c:v>817.8586956521739</c:v>
                </c:pt>
                <c:pt idx="17">
                  <c:v>698.2873563218391</c:v>
                </c:pt>
                <c:pt idx="18">
                  <c:v>594.3578947368421</c:v>
                </c:pt>
                <c:pt idx="19">
                  <c:v>614.6363636363636</c:v>
                </c:pt>
                <c:pt idx="20">
                  <c:v>464.2173913043478</c:v>
                </c:pt>
                <c:pt idx="21">
                  <c:v>431.7473684210526</c:v>
                </c:pt>
                <c:pt idx="22">
                  <c:v>409.3829787234043</c:v>
                </c:pt>
                <c:pt idx="23">
                  <c:v>201.87777777777777</c:v>
                </c:pt>
                <c:pt idx="24">
                  <c:v>177.34375</c:v>
                </c:pt>
                <c:pt idx="25">
                  <c:v>233.45833333333334</c:v>
                </c:pt>
                <c:pt idx="26">
                  <c:v>78.7090909090909</c:v>
                </c:pt>
                <c:pt idx="27">
                  <c:v>7.76923076923076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28</c:f>
              <c:strCache>
                <c:ptCount val="27"/>
                <c:pt idx="0">
                  <c:v>Mini Babybel Rouge Filet St Paulin Ferme 1X264Gr 12P</c:v>
                </c:pt>
                <c:pt idx="1">
                  <c:v>La Vache Qui Rit Nature Fromage Fondu Boite Ronde 1X192Gr 12P</c:v>
                </c:pt>
                <c:pt idx="2">
                  <c:v>Mini Babybel Rouge Filet St Paulin Ferme 1X132Gr 6P</c:v>
                </c:pt>
                <c:pt idx="3">
                  <c:v>La Vache Qui Rit Nature Fromage Fondu Boite Ronde 1X512Gr 32P</c:v>
                </c:pt>
                <c:pt idx="4">
                  <c:v>Kiri Creme Fromage Blanc Frais Carre 1X216Gr 12P</c:v>
                </c:pt>
                <c:pt idx="5">
                  <c:v>La Vache Qui Rit Nature Fromage Fondu Boite Ronde 1X384Gr 24P</c:v>
                </c:pt>
                <c:pt idx="6">
                  <c:v>Kiri Creme Fromage Blanc Frais Carre 1X144Gr 8P</c:v>
                </c:pt>
                <c:pt idx="7">
                  <c:v>Kiri Gouter Fromage Blanc Dips Boite 1X175Gr 5P</c:v>
                </c:pt>
                <c:pt idx="8">
                  <c:v>Kiri Creme Fromage Blanc Frais Carre 1X432Gr 24P</c:v>
                </c:pt>
                <c:pt idx="9">
                  <c:v>Kiri Gouter Fromage Blanc Dips Boite 1X280Gr 8P</c:v>
                </c:pt>
                <c:pt idx="10">
                  <c:v>La Vache Qui Rit Pik Et Croq' Fromage Fondu Dips Boite 1X175Gr 5P</c:v>
                </c:pt>
                <c:pt idx="11">
                  <c:v>Mini Babybel Rouge Filet St Paulin Ferme 1X440Gr 20P</c:v>
                </c:pt>
                <c:pt idx="12">
                  <c:v>La Vache Qui Rit Allegee Fromage Fondu Boite Ronde Allege 1X267Gr 16P</c:v>
                </c:pt>
                <c:pt idx="13">
                  <c:v>La Vache Qui Rit Pik Et Croq' Fromage Fondu Dips Boite 1X280Gr 8P</c:v>
                </c:pt>
                <c:pt idx="14">
                  <c:v>Babybel Mini Rolls St Paulin Ferme Sachet 1X85Gr 5P</c:v>
                </c:pt>
                <c:pt idx="15">
                  <c:v>Kiri Bio Fromage Blanc Frais Carre 1X144Gr 8P</c:v>
                </c:pt>
                <c:pt idx="16">
                  <c:v>Mini Babybel Aros St Paulin Ferme Assortis Filet 1X180Gr 9P</c:v>
                </c:pt>
                <c:pt idx="17">
                  <c:v>Kiri Creme Fromage Blanc Frais Carre 1X432Gr 18+6P</c:v>
                </c:pt>
                <c:pt idx="18">
                  <c:v>La Vache Qui Rit Aro Fromage Fondu Boite Ronde Jambon 1X133Gr 8P</c:v>
                </c:pt>
                <c:pt idx="19">
                  <c:v>Kiri Chevre Fromage Blanc Frais Carre 1X144Gr 8P</c:v>
                </c:pt>
                <c:pt idx="20">
                  <c:v>Mini Babybel Rouge Filet St Paulin Ferme 1X396Gr 12+6P</c:v>
                </c:pt>
                <c:pt idx="21">
                  <c:v>Mini Babybel Aros Soft Cheese Enfant 180G</c:v>
                </c:pt>
                <c:pt idx="22">
                  <c:v>Mini Babybel Aros St Paulin Ferme Raclette Filet 1X132Gr 6P</c:v>
                </c:pt>
                <c:pt idx="23">
                  <c:v>Mini Babybel Rouge Filet St Paulin Ferme Sachet 1X40Gr 1P</c:v>
                </c:pt>
                <c:pt idx="24">
                  <c:v>Mini Babybel Aros Soft Cheese Enfant 110G</c:v>
                </c:pt>
                <c:pt idx="25">
                  <c:v>Mini Babybel Bio St Paulin Ferme Filet 1X100Gr 5P</c:v>
                </c:pt>
                <c:pt idx="26">
                  <c:v>La Vache Qui Rit Nature Fromage Fondu Boite Ronde 1X128Gr 8P</c:v>
                </c:pt>
              </c:strCache>
            </c:strRef>
          </c:cat>
          <c:val>
            <c:numRef>
              <c:f>Sheet1!$B$2:$B$28</c:f>
              <c:numCache>
                <c:formatCode>General</c:formatCode>
                <c:ptCount val="27"/>
                <c:pt idx="0">
                  <c:v>0.88</c:v>
                </c:pt>
                <c:pt idx="1">
                  <c:v>0.98</c:v>
                </c:pt>
                <c:pt idx="2">
                  <c:v>0.98</c:v>
                </c:pt>
                <c:pt idx="3">
                  <c:v>0.68</c:v>
                </c:pt>
                <c:pt idx="4">
                  <c:v>0.85</c:v>
                </c:pt>
                <c:pt idx="5">
                  <c:v>0.68</c:v>
                </c:pt>
                <c:pt idx="6">
                  <c:v>0.92</c:v>
                </c:pt>
                <c:pt idx="7">
                  <c:v>0.9</c:v>
                </c:pt>
                <c:pt idx="8">
                  <c:v>0.52</c:v>
                </c:pt>
                <c:pt idx="9">
                  <c:v>0.68</c:v>
                </c:pt>
                <c:pt idx="10">
                  <c:v>0.82</c:v>
                </c:pt>
                <c:pt idx="11">
                  <c:v>0.39</c:v>
                </c:pt>
                <c:pt idx="12">
                  <c:v>0.5</c:v>
                </c:pt>
                <c:pt idx="13">
                  <c:v>0.42</c:v>
                </c:pt>
                <c:pt idx="14">
                  <c:v>0.41</c:v>
                </c:pt>
                <c:pt idx="15">
                  <c:v>0.31</c:v>
                </c:pt>
                <c:pt idx="16">
                  <c:v>0.36</c:v>
                </c:pt>
                <c:pt idx="17">
                  <c:v>0.59</c:v>
                </c:pt>
                <c:pt idx="18">
                  <c:v>0.33</c:v>
                </c:pt>
                <c:pt idx="19">
                  <c:v>0.38</c:v>
                </c:pt>
                <c:pt idx="20">
                  <c:v>0.73</c:v>
                </c:pt>
                <c:pt idx="21">
                  <c:v>0.3</c:v>
                </c:pt>
                <c:pt idx="22">
                  <c:v>0.29</c:v>
                </c:pt>
                <c:pt idx="23">
                  <c:v>0.13</c:v>
                </c:pt>
                <c:pt idx="24">
                  <c:v>0.19</c:v>
                </c:pt>
                <c:pt idx="25">
                  <c:v>0.05</c:v>
                </c:pt>
                <c:pt idx="26">
                  <c:v>0.04</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7ECAC4"/>
              </a:solidFill>
            </c:spPr>
            <c:extLst>
              <c:ext xmlns:c16="http://schemas.microsoft.com/office/drawing/2014/chart" uri="{C3380CC4-5D6E-409C-BE32-E72D297353CC}">
                <c16:uniqueId val="{00000013-FA3E-4872-B6E1-C4ABDF5766E2}"/>
              </c:ext>
            </c:extLst>
          </c:dPt>
          <c:dPt>
            <c:idx val="9"/>
            <c:invertIfNegative val="1"/>
            <c:bubble3D val="0"/>
            <c:spPr>
              <a:solidFill>
                <a:srgbClr val="7ECAC4"/>
              </a:solidFill>
            </c:spPr>
            <c:extLst>
              <c:ext xmlns:c16="http://schemas.microsoft.com/office/drawing/2014/chart" uri="{C3380CC4-5D6E-409C-BE32-E72D297353CC}">
                <c16:uniqueId val="{00000015-FA3E-4872-B6E1-C4ABDF5766E2}"/>
              </c:ext>
            </c:extLst>
          </c:dPt>
          <c:dPt>
            <c:idx val="10"/>
            <c:invertIfNegative val="1"/>
            <c:bubble3D val="0"/>
            <c:spPr>
              <a:solidFill>
                <a:srgbClr val="7ECAC4"/>
              </a:solidFill>
            </c:spPr>
            <c:extLst>
              <c:ext xmlns:c16="http://schemas.microsoft.com/office/drawing/2014/chart" uri="{C3380CC4-5D6E-409C-BE32-E72D297353CC}">
                <c16:uniqueId val="{00000017-FA3E-4872-B6E1-C4ABDF5766E2}"/>
              </c:ext>
            </c:extLst>
          </c:dPt>
          <c:dPt>
            <c:idx val="11"/>
            <c:invertIfNegative val="1"/>
            <c:bubble3D val="0"/>
            <c:spPr>
              <a:solidFill>
                <a:srgbClr val="7ECAC4"/>
              </a:solidFill>
            </c:spPr>
            <c:extLst>
              <c:ext xmlns:c16="http://schemas.microsoft.com/office/drawing/2014/chart" uri="{C3380CC4-5D6E-409C-BE32-E72D297353CC}">
                <c16:uniqueId val="{00000019-FA3E-4872-B6E1-C4ABDF5766E2}"/>
              </c:ext>
            </c:extLst>
          </c:dPt>
          <c:dPt>
            <c:idx val="12"/>
            <c:invertIfNegative val="1"/>
            <c:bubble3D val="0"/>
            <c:spPr>
              <a:solidFill>
                <a:srgbClr val="7ECAC4"/>
              </a:solidFill>
            </c:spPr>
            <c:extLst>
              <c:ext xmlns:c16="http://schemas.microsoft.com/office/drawing/2014/chart" uri="{C3380CC4-5D6E-409C-BE32-E72D297353CC}">
                <c16:uniqueId val="{0000001B-FA3E-4872-B6E1-C4ABDF5766E2}"/>
              </c:ext>
            </c:extLst>
          </c:dPt>
          <c:dPt>
            <c:idx val="13"/>
            <c:invertIfNegative val="1"/>
            <c:bubble3D val="0"/>
            <c:spPr>
              <a:solidFill>
                <a:srgbClr val="7ECAC4"/>
              </a:solidFill>
            </c:spPr>
            <c:extLst>
              <c:ext xmlns:c16="http://schemas.microsoft.com/office/drawing/2014/chart" uri="{C3380CC4-5D6E-409C-BE32-E72D297353CC}">
                <c16:uniqueId val="{0000001D-FA3E-4872-B6E1-C4ABDF5766E2}"/>
              </c:ext>
            </c:extLst>
          </c:dPt>
          <c:dPt>
            <c:idx val="14"/>
            <c:invertIfNegative val="1"/>
            <c:bubble3D val="0"/>
            <c:spPr>
              <a:solidFill>
                <a:srgbClr val="AEABAB"/>
              </a:solidFill>
            </c:spPr>
            <c:extLst>
              <c:ext xmlns:c16="http://schemas.microsoft.com/office/drawing/2014/chart" uri="{C3380CC4-5D6E-409C-BE32-E72D297353CC}">
                <c16:uniqueId val="{0000001F-FA3E-4872-B6E1-C4ABDF5766E2}"/>
              </c:ext>
            </c:extLst>
          </c:dPt>
          <c:dPt>
            <c:idx val="15"/>
            <c:invertIfNegative val="1"/>
            <c:bubble3D val="0"/>
            <c:spPr>
              <a:solidFill>
                <a:srgbClr val="AEABAB"/>
              </a:solidFill>
            </c:spPr>
            <c:extLst>
              <c:ext xmlns:c16="http://schemas.microsoft.com/office/drawing/2014/chart" uri="{C3380CC4-5D6E-409C-BE32-E72D297353CC}">
                <c16:uniqueId val="{00000021-FA3E-4872-B6E1-C4ABDF5766E2}"/>
              </c:ext>
            </c:extLst>
          </c:dPt>
          <c:dPt>
            <c:idx val="16"/>
            <c:invertIfNegative val="1"/>
            <c:bubble3D val="0"/>
            <c:spPr>
              <a:solidFill>
                <a:srgbClr val="AEABAB"/>
              </a:solidFill>
            </c:spPr>
            <c:extLst>
              <c:ext xmlns:c16="http://schemas.microsoft.com/office/drawing/2014/chart" uri="{C3380CC4-5D6E-409C-BE32-E72D297353CC}">
                <c16:uniqueId val="{00000023-FA3E-4872-B6E1-C4ABDF5766E2}"/>
              </c:ext>
            </c:extLst>
          </c:dPt>
          <c:dPt>
            <c:idx val="17"/>
            <c:invertIfNegative val="1"/>
            <c:bubble3D val="0"/>
            <c:spPr>
              <a:solidFill>
                <a:srgbClr val="AEABAB"/>
              </a:solidFill>
            </c:spPr>
            <c:extLst>
              <c:ext xmlns:c16="http://schemas.microsoft.com/office/drawing/2014/chart" uri="{C3380CC4-5D6E-409C-BE32-E72D297353CC}">
                <c16:uniqueId val="{00000025-FA3E-4872-B6E1-C4ABDF5766E2}"/>
              </c:ext>
            </c:extLst>
          </c:dPt>
          <c:dPt>
            <c:idx val="18"/>
            <c:invertIfNegative val="1"/>
            <c:bubble3D val="0"/>
            <c:spPr>
              <a:solidFill>
                <a:srgbClr val="AEABAB"/>
              </a:solidFill>
            </c:spPr>
            <c:extLst>
              <c:ext xmlns:c16="http://schemas.microsoft.com/office/drawing/2014/chart" uri="{C3380CC4-5D6E-409C-BE32-E72D297353CC}">
                <c16:uniqueId val="{00000027-FA3E-4872-B6E1-C4ABDF5766E2}"/>
              </c:ext>
            </c:extLst>
          </c:dPt>
          <c:dPt>
            <c:idx val="19"/>
            <c:invertIfNegative val="1"/>
            <c:bubble3D val="0"/>
            <c:spPr>
              <a:solidFill>
                <a:srgbClr val="AEABAB"/>
              </a:solidFill>
            </c:spPr>
            <c:extLst>
              <c:ext xmlns:c16="http://schemas.microsoft.com/office/drawing/2014/chart" uri="{C3380CC4-5D6E-409C-BE32-E72D297353CC}">
                <c16:uniqueId val="{00000029-FA3E-4872-B6E1-C4ABDF5766E2}"/>
              </c:ext>
            </c:extLst>
          </c:dPt>
          <c:dPt>
            <c:idx val="20"/>
            <c:invertIfNegative val="1"/>
            <c:bubble3D val="0"/>
            <c:spPr>
              <a:solidFill>
                <a:srgbClr val="AEABAB"/>
              </a:solidFill>
            </c:spPr>
            <c:extLst>
              <c:ext xmlns:c16="http://schemas.microsoft.com/office/drawing/2014/chart" uri="{C3380CC4-5D6E-409C-BE32-E72D297353CC}">
                <c16:uniqueId val="{0000002B-FA3E-4872-B6E1-C4ABDF5766E2}"/>
              </c:ext>
            </c:extLst>
          </c:dPt>
          <c:dPt>
            <c:idx val="21"/>
            <c:invertIfNegative val="1"/>
            <c:bubble3D val="0"/>
            <c:spPr>
              <a:solidFill>
                <a:srgbClr val="AEABAB"/>
              </a:solidFill>
            </c:spPr>
            <c:extLst>
              <c:ext xmlns:c16="http://schemas.microsoft.com/office/drawing/2014/chart" uri="{C3380CC4-5D6E-409C-BE32-E72D297353CC}">
                <c16:uniqueId val="{0000002D-FA3E-4872-B6E1-C4ABDF5766E2}"/>
              </c:ext>
            </c:extLst>
          </c:dPt>
          <c:dPt>
            <c:idx val="22"/>
            <c:invertIfNegative val="1"/>
            <c:bubble3D val="0"/>
            <c:spPr>
              <a:solidFill>
                <a:srgbClr val="AEABAB"/>
              </a:solidFill>
            </c:spPr>
            <c:extLst>
              <c:ext xmlns:c16="http://schemas.microsoft.com/office/drawing/2014/chart" uri="{C3380CC4-5D6E-409C-BE32-E72D297353CC}">
                <c16:uniqueId val="{0000002F-FA3E-4872-B6E1-C4ABDF5766E2}"/>
              </c:ext>
            </c:extLst>
          </c:dPt>
          <c:dPt>
            <c:idx val="23"/>
            <c:invertIfNegative val="1"/>
            <c:bubble3D val="0"/>
            <c:spPr>
              <a:solidFill>
                <a:srgbClr val="AEABAB"/>
              </a:solidFill>
            </c:spPr>
            <c:extLst>
              <c:ext xmlns:c16="http://schemas.microsoft.com/office/drawing/2014/chart" uri="{C3380CC4-5D6E-409C-BE32-E72D297353CC}">
                <c16:uniqueId val="{00000031-FA3E-4872-B6E1-C4ABDF5766E2}"/>
              </c:ext>
            </c:extLst>
          </c:dPt>
          <c:dPt>
            <c:idx val="24"/>
            <c:invertIfNegative val="1"/>
            <c:bubble3D val="0"/>
            <c:spPr>
              <a:solidFill>
                <a:srgbClr val="AEABAB"/>
              </a:solidFill>
            </c:spPr>
            <c:extLst>
              <c:ext xmlns:c16="http://schemas.microsoft.com/office/drawing/2014/chart" uri="{C3380CC4-5D6E-409C-BE32-E72D297353CC}">
                <c16:uniqueId val="{00000033-FA3E-4872-B6E1-C4ABDF5766E2}"/>
              </c:ext>
            </c:extLst>
          </c:dPt>
          <c:dPt>
            <c:idx val="25"/>
            <c:invertIfNegative val="1"/>
            <c:bubble3D val="0"/>
            <c:spPr>
              <a:solidFill>
                <a:srgbClr val="AEABAB"/>
              </a:solidFill>
            </c:spPr>
            <c:extLst>
              <c:ext xmlns:c16="http://schemas.microsoft.com/office/drawing/2014/chart" uri="{C3380CC4-5D6E-409C-BE32-E72D297353CC}">
                <c16:uniqueId val="{00000035-FA3E-4872-B6E1-C4ABDF5766E2}"/>
              </c:ext>
            </c:extLst>
          </c:dPt>
          <c:dPt>
            <c:idx val="26"/>
            <c:invertIfNegative val="1"/>
            <c:bubble3D val="0"/>
            <c:spPr>
              <a:solidFill>
                <a:srgbClr val="AEABAB"/>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28</c:f>
              <c:strCache>
                <c:ptCount val="27"/>
                <c:pt idx="0">
                  <c:v>Mini Babybel Rouge Filet St Paulin Ferme 1X264Gr 12P</c:v>
                </c:pt>
                <c:pt idx="1">
                  <c:v>La Vache Qui Rit Nature Fromage Fondu Boite Ronde 1X192Gr 12P</c:v>
                </c:pt>
                <c:pt idx="2">
                  <c:v>Mini Babybel Rouge Filet St Paulin Ferme 1X132Gr 6P</c:v>
                </c:pt>
                <c:pt idx="3">
                  <c:v>La Vache Qui Rit Nature Fromage Fondu Boite Ronde 1X512Gr 32P</c:v>
                </c:pt>
                <c:pt idx="4">
                  <c:v>Kiri Creme Fromage Blanc Frais Carre 1X216Gr 12P</c:v>
                </c:pt>
                <c:pt idx="5">
                  <c:v>La Vache Qui Rit Nature Fromage Fondu Boite Ronde 1X384Gr 24P</c:v>
                </c:pt>
                <c:pt idx="6">
                  <c:v>Kiri Creme Fromage Blanc Frais Carre 1X144Gr 8P</c:v>
                </c:pt>
                <c:pt idx="7">
                  <c:v>Kiri Gouter Fromage Blanc Dips Boite 1X175Gr 5P</c:v>
                </c:pt>
                <c:pt idx="8">
                  <c:v>Kiri Creme Fromage Blanc Frais Carre 1X432Gr 24P</c:v>
                </c:pt>
                <c:pt idx="9">
                  <c:v>Kiri Gouter Fromage Blanc Dips Boite 1X280Gr 8P</c:v>
                </c:pt>
                <c:pt idx="10">
                  <c:v>La Vache Qui Rit Pik Et Croq' Fromage Fondu Dips Boite 1X175Gr 5P</c:v>
                </c:pt>
                <c:pt idx="11">
                  <c:v>Mini Babybel Rouge Filet St Paulin Ferme 1X440Gr 20P</c:v>
                </c:pt>
                <c:pt idx="12">
                  <c:v>La Vache Qui Rit Allegee Fromage Fondu Boite Ronde Allege 1X267Gr 16P</c:v>
                </c:pt>
                <c:pt idx="13">
                  <c:v>La Vache Qui Rit Pik Et Croq' Fromage Fondu Dips Boite 1X280Gr 8P</c:v>
                </c:pt>
                <c:pt idx="14">
                  <c:v>Babybel Mini Rolls St Paulin Ferme Sachet 1X85Gr 5P</c:v>
                </c:pt>
                <c:pt idx="15">
                  <c:v>Kiri Bio Fromage Blanc Frais Carre 1X144Gr 8P</c:v>
                </c:pt>
                <c:pt idx="16">
                  <c:v>Mini Babybel Aros St Paulin Ferme Assortis Filet 1X180Gr 9P</c:v>
                </c:pt>
                <c:pt idx="17">
                  <c:v>Kiri Creme Fromage Blanc Frais Carre 1X432Gr 18+6P</c:v>
                </c:pt>
                <c:pt idx="18">
                  <c:v>La Vache Qui Rit Aro Fromage Fondu Boite Ronde Jambon 1X133Gr 8P</c:v>
                </c:pt>
                <c:pt idx="19">
                  <c:v>Kiri Chevre Fromage Blanc Frais Carre 1X144Gr 8P</c:v>
                </c:pt>
                <c:pt idx="20">
                  <c:v>Mini Babybel Rouge Filet St Paulin Ferme 1X396Gr 12+6P</c:v>
                </c:pt>
                <c:pt idx="21">
                  <c:v>Mini Babybel Aros Soft Cheese Enfant 180G</c:v>
                </c:pt>
                <c:pt idx="22">
                  <c:v>Mini Babybel Aros St Paulin Ferme Raclette Filet 1X132Gr 6P</c:v>
                </c:pt>
                <c:pt idx="23">
                  <c:v>Mini Babybel Rouge Filet St Paulin Ferme Sachet 1X40Gr 1P</c:v>
                </c:pt>
                <c:pt idx="24">
                  <c:v>Mini Babybel Aros Soft Cheese Enfant 110G</c:v>
                </c:pt>
                <c:pt idx="25">
                  <c:v>Mini Babybel Bio St Paulin Ferme Filet 1X100Gr 5P</c:v>
                </c:pt>
                <c:pt idx="26">
                  <c:v>La Vache Qui Rit Nature Fromage Fondu Boite Ronde 1X128Gr 8P</c:v>
                </c:pt>
              </c:strCache>
            </c:strRef>
          </c:cat>
          <c:val>
            <c:numRef>
              <c:f>Sheet1!$C$2:$C$28</c:f>
              <c:numCache>
                <c:formatCode>General</c:formatCode>
                <c:ptCount val="27"/>
                <c:pt idx="0">
                  <c:v>0.15749682632111175</c:v>
                </c:pt>
                <c:pt idx="1">
                  <c:v>0.29440544420954373</c:v>
                </c:pt>
                <c:pt idx="2">
                  <c:v>0.42414663388484436</c:v>
                </c:pt>
                <c:pt idx="3">
                  <c:v>0.5198271868466244</c:v>
                </c:pt>
                <c:pt idx="4">
                  <c:v>0.6081071080014498</c:v>
                </c:pt>
                <c:pt idx="5">
                  <c:v>0.6843215381548478</c:v>
                </c:pt>
                <c:pt idx="6">
                  <c:v>0.7474650722112329</c:v>
                </c:pt>
                <c:pt idx="7">
                  <c:v>0.7979723097107487</c:v>
                </c:pt>
                <c:pt idx="8">
                  <c:v>0.8405488929206568</c:v>
                </c:pt>
                <c:pt idx="9">
                  <c:v>0.8774882791968222</c:v>
                </c:pt>
                <c:pt idx="10">
                  <c:v>0.9049697717124197</c:v>
                </c:pt>
                <c:pt idx="11">
                  <c:v>0.9204785192878738</c:v>
                </c:pt>
                <c:pt idx="12">
                  <c:v>0.9350070559439831</c:v>
                </c:pt>
                <c:pt idx="13">
                  <c:v>0.9453456436277471</c:v>
                </c:pt>
                <c:pt idx="14">
                  <c:v>0.9549088805377192</c:v>
                </c:pt>
                <c:pt idx="15">
                  <c:v>0.9634648227888881</c:v>
                </c:pt>
                <c:pt idx="16">
                  <c:v>0.9701615922971324</c:v>
                </c:pt>
                <c:pt idx="17">
                  <c:v>0.9756789594301327</c:v>
                </c:pt>
                <c:pt idx="18">
                  <c:v>0.9807999906781546</c:v>
                </c:pt>
                <c:pt idx="19">
                  <c:v>0.9857641881790813</c:v>
                </c:pt>
                <c:pt idx="20">
                  <c:v>0.990340710293112</c:v>
                </c:pt>
                <c:pt idx="21">
                  <c:v>0.9947032393727026</c:v>
                </c:pt>
                <c:pt idx="22">
                  <c:v>0.9977067001077363</c:v>
                </c:pt>
                <c:pt idx="23">
                  <c:v>0.9988427999925674</c:v>
                </c:pt>
                <c:pt idx="24">
                  <c:v>0.9999163868276025</c:v>
                </c:pt>
                <c:pt idx="25">
                  <c:v>0.9999669326436844</c:v>
                </c:pt>
                <c:pt idx="26">
                  <c:v>0.9999999999999997</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28</c:f>
              <c:strCache>
                <c:ptCount val="27"/>
                <c:pt idx="0">
                  <c:v>Mini Babybel Rouge Filet St Paulin Ferme 1X264Gr 12P</c:v>
                </c:pt>
                <c:pt idx="1">
                  <c:v>La Vache Qui Rit Nature Fromage Fondu Boite Ronde 1X192Gr 12P</c:v>
                </c:pt>
                <c:pt idx="2">
                  <c:v>Mini Babybel Rouge Filet St Paulin Ferme 1X132Gr 6P</c:v>
                </c:pt>
                <c:pt idx="3">
                  <c:v>La Vache Qui Rit Nature Fromage Fondu Boite Ronde 1X512Gr 32P</c:v>
                </c:pt>
                <c:pt idx="4">
                  <c:v>Kiri Creme Fromage Blanc Frais Carre 1X216Gr 12P</c:v>
                </c:pt>
                <c:pt idx="5">
                  <c:v>La Vache Qui Rit Nature Fromage Fondu Boite Ronde 1X384Gr 24P</c:v>
                </c:pt>
                <c:pt idx="6">
                  <c:v>Kiri Creme Fromage Blanc Frais Carre 1X144Gr 8P</c:v>
                </c:pt>
                <c:pt idx="7">
                  <c:v>Kiri Gouter Fromage Blanc Dips Boite 1X175Gr 5P</c:v>
                </c:pt>
                <c:pt idx="8">
                  <c:v>Kiri Creme Fromage Blanc Frais Carre 1X432Gr 24P</c:v>
                </c:pt>
                <c:pt idx="9">
                  <c:v>Kiri Gouter Fromage Blanc Dips Boite 1X280Gr 8P</c:v>
                </c:pt>
                <c:pt idx="10">
                  <c:v>La Vache Qui Rit Pik Et Croq' Fromage Fondu Dips Boite 1X175Gr 5P</c:v>
                </c:pt>
                <c:pt idx="11">
                  <c:v>Mini Babybel Rouge Filet St Paulin Ferme 1X440Gr 20P</c:v>
                </c:pt>
                <c:pt idx="12">
                  <c:v>La Vache Qui Rit Allegee Fromage Fondu Boite Ronde Allege 1X267Gr 16P</c:v>
                </c:pt>
                <c:pt idx="13">
                  <c:v>La Vache Qui Rit Pik Et Croq' Fromage Fondu Dips Boite 1X280Gr 8P</c:v>
                </c:pt>
                <c:pt idx="14">
                  <c:v>Babybel Mini Rolls St Paulin Ferme Sachet 1X85Gr 5P</c:v>
                </c:pt>
                <c:pt idx="15">
                  <c:v>Kiri Bio Fromage Blanc Frais Carre 1X144Gr 8P</c:v>
                </c:pt>
                <c:pt idx="16">
                  <c:v>Mini Babybel Aros St Paulin Ferme Assortis Filet 1X180Gr 9P</c:v>
                </c:pt>
                <c:pt idx="17">
                  <c:v>Kiri Creme Fromage Blanc Frais Carre 1X432Gr 18+6P</c:v>
                </c:pt>
                <c:pt idx="18">
                  <c:v>La Vache Qui Rit Aro Fromage Fondu Boite Ronde Jambon 1X133Gr 8P</c:v>
                </c:pt>
                <c:pt idx="19">
                  <c:v>Kiri Chevre Fromage Blanc Frais Carre 1X144Gr 8P</c:v>
                </c:pt>
                <c:pt idx="20">
                  <c:v>Mini Babybel Rouge Filet St Paulin Ferme 1X396Gr 12+6P</c:v>
                </c:pt>
                <c:pt idx="21">
                  <c:v>Mini Babybel Aros Soft Cheese Enfant 180G</c:v>
                </c:pt>
                <c:pt idx="22">
                  <c:v>Mini Babybel Aros St Paulin Ferme Raclette Filet 1X132Gr 6P</c:v>
                </c:pt>
                <c:pt idx="23">
                  <c:v>Mini Babybel Rouge Filet St Paulin Ferme Sachet 1X40Gr 1P</c:v>
                </c:pt>
                <c:pt idx="24">
                  <c:v>Mini Babybel Aros Soft Cheese Enfant 110G</c:v>
                </c:pt>
                <c:pt idx="25">
                  <c:v>Mini Babybel Bio St Paulin Ferme Filet 1X100Gr 5P</c:v>
                </c:pt>
                <c:pt idx="26">
                  <c:v>La Vache Qui Rit Nature Fromage Fondu Boite Ronde 1X128Gr 8P</c:v>
                </c:pt>
              </c:strCache>
            </c:strRef>
          </c:cat>
          <c:val>
            <c:numRef>
              <c:f>Sheet1!$D$2:$D$28</c:f>
              <c:numCache>
                <c:formatCode>General</c:formatCode>
                <c:ptCount val="27"/>
                <c:pt idx="0">
                  <c:v>11366.03409090909</c:v>
                </c:pt>
                <c:pt idx="1">
                  <c:v>8872.061224489797</c:v>
                </c:pt>
                <c:pt idx="2">
                  <c:v>8407.591836734693</c:v>
                </c:pt>
                <c:pt idx="3">
                  <c:v>8935.823529411764</c:v>
                </c:pt>
                <c:pt idx="4">
                  <c:v>6595.729411764706</c:v>
                </c:pt>
                <c:pt idx="5">
                  <c:v>7117.838235294118</c:v>
                </c:pt>
                <c:pt idx="6">
                  <c:v>4358.739130434783</c:v>
                </c:pt>
                <c:pt idx="7">
                  <c:v>3563.9444444444443</c:v>
                </c:pt>
                <c:pt idx="8">
                  <c:v>5199.807692307692</c:v>
                </c:pt>
                <c:pt idx="9">
                  <c:v>3449.8529411764707</c:v>
                </c:pt>
                <c:pt idx="10">
                  <c:v>2128.3658536585367</c:v>
                </c:pt>
                <c:pt idx="11">
                  <c:v>2525.4102564102564</c:v>
                </c:pt>
                <c:pt idx="12">
                  <c:v>1845.32</c:v>
                </c:pt>
                <c:pt idx="13">
                  <c:v>1563.2619047619048</c:v>
                </c:pt>
                <c:pt idx="14">
                  <c:v>1481.2926829268292</c:v>
                </c:pt>
                <c:pt idx="15">
                  <c:v>1752.774193548387</c:v>
                </c:pt>
                <c:pt idx="16">
                  <c:v>1181.361111111111</c:v>
                </c:pt>
                <c:pt idx="17">
                  <c:v>593.8813559322034</c:v>
                </c:pt>
                <c:pt idx="18">
                  <c:v>985.5151515151515</c:v>
                </c:pt>
                <c:pt idx="19">
                  <c:v>829.6315789473684</c:v>
                </c:pt>
                <c:pt idx="20">
                  <c:v>398.13698630136986</c:v>
                </c:pt>
                <c:pt idx="21">
                  <c:v>923.5</c:v>
                </c:pt>
                <c:pt idx="22">
                  <c:v>657.7241379310345</c:v>
                </c:pt>
                <c:pt idx="23">
                  <c:v>555.0</c:v>
                </c:pt>
                <c:pt idx="24">
                  <c:v>358.8421052631579</c:v>
                </c:pt>
                <c:pt idx="25">
                  <c:v>64.2</c:v>
                </c:pt>
                <c:pt idx="26">
                  <c:v>11.0</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21</c:f>
              <c:strCache>
                <c:ptCount val="20"/>
                <c:pt idx="0">
                  <c:v>Boursin Classique Fromage Frais A Tartiner Afh Boite 1X150Gr 1P</c:v>
                </c:pt>
                <c:pt idx="1">
                  <c:v>Boursin Classique Fromage Frais A Tartiner Afh 1X160Gr 10P</c:v>
                </c:pt>
                <c:pt idx="2">
                  <c:v>Boursin Classique Fromage Frais A Tartiner Afh Boite 1X250Gr 1P</c:v>
                </c:pt>
                <c:pt idx="3">
                  <c:v>Boursin Classique Fromage Frais A Tartiner Afh Boite 1X96Gr 6P</c:v>
                </c:pt>
                <c:pt idx="4">
                  <c:v>Kiri Delicieusement Fouette Fromage Frais A Tartiner 1X125Gr 1P</c:v>
                </c:pt>
                <c:pt idx="5">
                  <c:v>Boursin Classique Fromage Frais A Tartiner Ciboulette &amp; Echalote Boite 1X150Gr 1P</c:v>
                </c:pt>
                <c:pt idx="6">
                  <c:v>Boursin Onctueux Fromage Frais A Tartiner Afh 1X125Gr 1P</c:v>
                </c:pt>
                <c:pt idx="7">
                  <c:v>Kiri Delicieusement Fouette Fromage Frais A Tartiner 1X210Gr 1P</c:v>
                </c:pt>
                <c:pt idx="8">
                  <c:v>Boursin Classique Fromage Frais A Tartiner Figue Et 3 Noix Boite 1X150Gr 1P</c:v>
                </c:pt>
                <c:pt idx="9">
                  <c:v>Kiri Delicieusement Fouette Fromage Frais A Tartiner 1X160Gr 10P</c:v>
                </c:pt>
                <c:pt idx="10">
                  <c:v>Boursin Classique Fromage Frais A Tartiner Afh Boite 1X80Gr 1P</c:v>
                </c:pt>
                <c:pt idx="11">
                  <c:v>Boursin Classique Fromage Frais A Tartiner Afh 1X256Gr 16P</c:v>
                </c:pt>
                <c:pt idx="12">
                  <c:v>Boursin Classique Fromage Frais A Tartiner 3 Noix Boite 1X150Gr 1P</c:v>
                </c:pt>
                <c:pt idx="13">
                  <c:v>Boursin Classique Fromage Frais A Tartiner Poivre Boite 1X150Gr 1P</c:v>
                </c:pt>
                <c:pt idx="14">
                  <c:v>Boursin Onctueux Fromage Frais A Tartiner Afh 1X210Gr 1P</c:v>
                </c:pt>
                <c:pt idx="15">
                  <c:v>Boursin Classique Fromage Frais A Tartiner Truffe Boite 1X150Gr 1P</c:v>
                </c:pt>
                <c:pt idx="16">
                  <c:v>Boursin Classique Fromage Frais A Tartiner Afh Boite 1X320Gr 16+4P</c:v>
                </c:pt>
                <c:pt idx="17">
                  <c:v>Boursin Classique Fromage Frais A Tartiner 3 Noix 1X160Gr 10P</c:v>
                </c:pt>
                <c:pt idx="18">
                  <c:v>Boursin Classique Fromage Frais A Tartiner Citron &amp; Romarin Boite 1X150Gr 1P</c:v>
                </c:pt>
                <c:pt idx="19">
                  <c:v>Boursin Classique Fromage Frais A Tartiner Ciboulette &amp; Echalote 1X160Gr 10P</c:v>
                </c:pt>
              </c:strCache>
            </c:strRef>
          </c:cat>
          <c:val>
            <c:numRef>
              <c:f>Sheet1!$B$2:$B$21</c:f>
              <c:numCache>
                <c:formatCode>General</c:formatCode>
                <c:ptCount val="20"/>
                <c:pt idx="0">
                  <c:v>0.968</c:v>
                </c:pt>
                <c:pt idx="1">
                  <c:v>0.915</c:v>
                </c:pt>
                <c:pt idx="2">
                  <c:v>0.817</c:v>
                </c:pt>
                <c:pt idx="3">
                  <c:v>0.821</c:v>
                </c:pt>
                <c:pt idx="4">
                  <c:v>0.774</c:v>
                </c:pt>
                <c:pt idx="5">
                  <c:v>0.793</c:v>
                </c:pt>
                <c:pt idx="6">
                  <c:v>0.774</c:v>
                </c:pt>
                <c:pt idx="7">
                  <c:v>0.643</c:v>
                </c:pt>
                <c:pt idx="8">
                  <c:v>0.694</c:v>
                </c:pt>
                <c:pt idx="9">
                  <c:v>0.689</c:v>
                </c:pt>
                <c:pt idx="10">
                  <c:v>0.447</c:v>
                </c:pt>
                <c:pt idx="11">
                  <c:v>0.265</c:v>
                </c:pt>
                <c:pt idx="12">
                  <c:v>0.537</c:v>
                </c:pt>
                <c:pt idx="13">
                  <c:v>0.402</c:v>
                </c:pt>
                <c:pt idx="14">
                  <c:v>0.281</c:v>
                </c:pt>
                <c:pt idx="15">
                  <c:v>0.511</c:v>
                </c:pt>
                <c:pt idx="16">
                  <c:v>0.528</c:v>
                </c:pt>
                <c:pt idx="17">
                  <c:v>0.379</c:v>
                </c:pt>
                <c:pt idx="18">
                  <c:v>0.324</c:v>
                </c:pt>
                <c:pt idx="19">
                  <c:v>0.075</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7ECAC4"/>
              </a:solidFill>
            </c:spPr>
            <c:extLst>
              <c:ext xmlns:c16="http://schemas.microsoft.com/office/drawing/2014/chart" uri="{C3380CC4-5D6E-409C-BE32-E72D297353CC}">
                <c16:uniqueId val="{0000000D-FA3E-4872-B6E1-C4ABDF5766E2}"/>
              </c:ext>
            </c:extLst>
          </c:dPt>
          <c:dPt>
            <c:idx val="6"/>
            <c:invertIfNegative val="1"/>
            <c:bubble3D val="0"/>
            <c:spPr>
              <a:solidFill>
                <a:srgbClr val="7ECAC4"/>
              </a:solidFill>
            </c:spPr>
            <c:extLst>
              <c:ext xmlns:c16="http://schemas.microsoft.com/office/drawing/2014/chart" uri="{C3380CC4-5D6E-409C-BE32-E72D297353CC}">
                <c16:uniqueId val="{0000000F-FA3E-4872-B6E1-C4ABDF5766E2}"/>
              </c:ext>
            </c:extLst>
          </c:dPt>
          <c:dPt>
            <c:idx val="7"/>
            <c:invertIfNegative val="1"/>
            <c:bubble3D val="0"/>
            <c:spPr>
              <a:solidFill>
                <a:srgbClr val="7ECAC4"/>
              </a:solidFill>
            </c:spPr>
            <c:extLst>
              <c:ext xmlns:c16="http://schemas.microsoft.com/office/drawing/2014/chart" uri="{C3380CC4-5D6E-409C-BE32-E72D297353CC}">
                <c16:uniqueId val="{00000011-FA3E-4872-B6E1-C4ABDF5766E2}"/>
              </c:ext>
            </c:extLst>
          </c:dPt>
          <c:dPt>
            <c:idx val="8"/>
            <c:invertIfNegative val="1"/>
            <c:bubble3D val="0"/>
            <c:spPr>
              <a:solidFill>
                <a:srgbClr val="7ECAC4"/>
              </a:solidFill>
            </c:spPr>
            <c:extLst>
              <c:ext xmlns:c16="http://schemas.microsoft.com/office/drawing/2014/chart" uri="{C3380CC4-5D6E-409C-BE32-E72D297353CC}">
                <c16:uniqueId val="{00000013-FA3E-4872-B6E1-C4ABDF5766E2}"/>
              </c:ext>
            </c:extLst>
          </c:dPt>
          <c:dPt>
            <c:idx val="9"/>
            <c:invertIfNegative val="1"/>
            <c:bubble3D val="0"/>
            <c:spPr>
              <a:solidFill>
                <a:srgbClr val="AEABAB"/>
              </a:solidFill>
            </c:spPr>
            <c:extLst>
              <c:ext xmlns:c16="http://schemas.microsoft.com/office/drawing/2014/chart" uri="{C3380CC4-5D6E-409C-BE32-E72D297353CC}">
                <c16:uniqueId val="{00000015-FA3E-4872-B6E1-C4ABDF5766E2}"/>
              </c:ext>
            </c:extLst>
          </c:dPt>
          <c:dPt>
            <c:idx val="10"/>
            <c:invertIfNegative val="1"/>
            <c:bubble3D val="0"/>
            <c:spPr>
              <a:solidFill>
                <a:srgbClr val="AEABAB"/>
              </a:solidFill>
            </c:spPr>
            <c:extLst>
              <c:ext xmlns:c16="http://schemas.microsoft.com/office/drawing/2014/chart" uri="{C3380CC4-5D6E-409C-BE32-E72D297353CC}">
                <c16:uniqueId val="{00000017-FA3E-4872-B6E1-C4ABDF5766E2}"/>
              </c:ext>
            </c:extLst>
          </c:dPt>
          <c:dPt>
            <c:idx val="11"/>
            <c:invertIfNegative val="1"/>
            <c:bubble3D val="0"/>
            <c:spPr>
              <a:solidFill>
                <a:srgbClr val="AEABAB"/>
              </a:solidFill>
            </c:spPr>
            <c:extLst>
              <c:ext xmlns:c16="http://schemas.microsoft.com/office/drawing/2014/chart" uri="{C3380CC4-5D6E-409C-BE32-E72D297353CC}">
                <c16:uniqueId val="{00000019-FA3E-4872-B6E1-C4ABDF5766E2}"/>
              </c:ext>
            </c:extLst>
          </c:dPt>
          <c:dPt>
            <c:idx val="12"/>
            <c:invertIfNegative val="1"/>
            <c:bubble3D val="0"/>
            <c:spPr>
              <a:solidFill>
                <a:srgbClr val="AEABAB"/>
              </a:solidFill>
            </c:spPr>
            <c:extLst>
              <c:ext xmlns:c16="http://schemas.microsoft.com/office/drawing/2014/chart" uri="{C3380CC4-5D6E-409C-BE32-E72D297353CC}">
                <c16:uniqueId val="{0000001B-FA3E-4872-B6E1-C4ABDF5766E2}"/>
              </c:ext>
            </c:extLst>
          </c:dPt>
          <c:dPt>
            <c:idx val="13"/>
            <c:invertIfNegative val="1"/>
            <c:bubble3D val="0"/>
            <c:spPr>
              <a:solidFill>
                <a:srgbClr val="AEABAB"/>
              </a:solidFill>
            </c:spPr>
            <c:extLst>
              <c:ext xmlns:c16="http://schemas.microsoft.com/office/drawing/2014/chart" uri="{C3380CC4-5D6E-409C-BE32-E72D297353CC}">
                <c16:uniqueId val="{0000001D-FA3E-4872-B6E1-C4ABDF5766E2}"/>
              </c:ext>
            </c:extLst>
          </c:dPt>
          <c:dPt>
            <c:idx val="14"/>
            <c:invertIfNegative val="1"/>
            <c:bubble3D val="0"/>
            <c:spPr>
              <a:solidFill>
                <a:srgbClr val="AEABAB"/>
              </a:solidFill>
            </c:spPr>
            <c:extLst>
              <c:ext xmlns:c16="http://schemas.microsoft.com/office/drawing/2014/chart" uri="{C3380CC4-5D6E-409C-BE32-E72D297353CC}">
                <c16:uniqueId val="{0000001F-FA3E-4872-B6E1-C4ABDF5766E2}"/>
              </c:ext>
            </c:extLst>
          </c:dPt>
          <c:dPt>
            <c:idx val="15"/>
            <c:invertIfNegative val="1"/>
            <c:bubble3D val="0"/>
            <c:spPr>
              <a:solidFill>
                <a:srgbClr val="AEABAB"/>
              </a:solidFill>
            </c:spPr>
            <c:extLst>
              <c:ext xmlns:c16="http://schemas.microsoft.com/office/drawing/2014/chart" uri="{C3380CC4-5D6E-409C-BE32-E72D297353CC}">
                <c16:uniqueId val="{00000021-FA3E-4872-B6E1-C4ABDF5766E2}"/>
              </c:ext>
            </c:extLst>
          </c:dPt>
          <c:dPt>
            <c:idx val="16"/>
            <c:invertIfNegative val="1"/>
            <c:bubble3D val="0"/>
            <c:spPr>
              <a:solidFill>
                <a:srgbClr val="AEABAB"/>
              </a:solidFill>
            </c:spPr>
            <c:extLst>
              <c:ext xmlns:c16="http://schemas.microsoft.com/office/drawing/2014/chart" uri="{C3380CC4-5D6E-409C-BE32-E72D297353CC}">
                <c16:uniqueId val="{00000023-FA3E-4872-B6E1-C4ABDF5766E2}"/>
              </c:ext>
            </c:extLst>
          </c:dPt>
          <c:dPt>
            <c:idx val="17"/>
            <c:invertIfNegative val="1"/>
            <c:bubble3D val="0"/>
            <c:spPr>
              <a:solidFill>
                <a:srgbClr val="AEABAB"/>
              </a:solidFill>
            </c:spPr>
            <c:extLst>
              <c:ext xmlns:c16="http://schemas.microsoft.com/office/drawing/2014/chart" uri="{C3380CC4-5D6E-409C-BE32-E72D297353CC}">
                <c16:uniqueId val="{00000025-FA3E-4872-B6E1-C4ABDF5766E2}"/>
              </c:ext>
            </c:extLst>
          </c:dPt>
          <c:dPt>
            <c:idx val="18"/>
            <c:invertIfNegative val="1"/>
            <c:bubble3D val="0"/>
            <c:spPr>
              <a:solidFill>
                <a:srgbClr val="AEABAB"/>
              </a:solidFill>
            </c:spPr>
            <c:extLst>
              <c:ext xmlns:c16="http://schemas.microsoft.com/office/drawing/2014/chart" uri="{C3380CC4-5D6E-409C-BE32-E72D297353CC}">
                <c16:uniqueId val="{00000027-FA3E-4872-B6E1-C4ABDF5766E2}"/>
              </c:ext>
            </c:extLst>
          </c:dPt>
          <c:dPt>
            <c:idx val="19"/>
            <c:invertIfNegative val="1"/>
            <c:bubble3D val="0"/>
            <c:spPr>
              <a:solidFill>
                <a:srgbClr val="AEABAB"/>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21</c:f>
              <c:strCache>
                <c:ptCount val="20"/>
                <c:pt idx="0">
                  <c:v>Boursin Classique Fromage Frais A Tartiner Afh Boite 1X150Gr 1P</c:v>
                </c:pt>
                <c:pt idx="1">
                  <c:v>Boursin Classique Fromage Frais A Tartiner Afh 1X160Gr 10P</c:v>
                </c:pt>
                <c:pt idx="2">
                  <c:v>Boursin Classique Fromage Frais A Tartiner Afh Boite 1X250Gr 1P</c:v>
                </c:pt>
                <c:pt idx="3">
                  <c:v>Boursin Classique Fromage Frais A Tartiner Afh Boite 1X96Gr 6P</c:v>
                </c:pt>
                <c:pt idx="4">
                  <c:v>Kiri Delicieusement Fouette Fromage Frais A Tartiner 1X125Gr 1P</c:v>
                </c:pt>
                <c:pt idx="5">
                  <c:v>Boursin Classique Fromage Frais A Tartiner Ciboulette &amp; Echalote Boite 1X150Gr 1P</c:v>
                </c:pt>
                <c:pt idx="6">
                  <c:v>Boursin Onctueux Fromage Frais A Tartiner Afh 1X125Gr 1P</c:v>
                </c:pt>
                <c:pt idx="7">
                  <c:v>Kiri Delicieusement Fouette Fromage Frais A Tartiner 1X210Gr 1P</c:v>
                </c:pt>
                <c:pt idx="8">
                  <c:v>Boursin Classique Fromage Frais A Tartiner Figue Et 3 Noix Boite 1X150Gr 1P</c:v>
                </c:pt>
                <c:pt idx="9">
                  <c:v>Kiri Delicieusement Fouette Fromage Frais A Tartiner 1X160Gr 10P</c:v>
                </c:pt>
                <c:pt idx="10">
                  <c:v>Boursin Classique Fromage Frais A Tartiner Afh Boite 1X80Gr 1P</c:v>
                </c:pt>
                <c:pt idx="11">
                  <c:v>Boursin Classique Fromage Frais A Tartiner Afh 1X256Gr 16P</c:v>
                </c:pt>
                <c:pt idx="12">
                  <c:v>Boursin Classique Fromage Frais A Tartiner 3 Noix Boite 1X150Gr 1P</c:v>
                </c:pt>
                <c:pt idx="13">
                  <c:v>Boursin Classique Fromage Frais A Tartiner Poivre Boite 1X150Gr 1P</c:v>
                </c:pt>
                <c:pt idx="14">
                  <c:v>Boursin Onctueux Fromage Frais A Tartiner Afh 1X210Gr 1P</c:v>
                </c:pt>
                <c:pt idx="15">
                  <c:v>Boursin Classique Fromage Frais A Tartiner Truffe Boite 1X150Gr 1P</c:v>
                </c:pt>
                <c:pt idx="16">
                  <c:v>Boursin Classique Fromage Frais A Tartiner Afh Boite 1X320Gr 16+4P</c:v>
                </c:pt>
                <c:pt idx="17">
                  <c:v>Boursin Classique Fromage Frais A Tartiner 3 Noix 1X160Gr 10P</c:v>
                </c:pt>
                <c:pt idx="18">
                  <c:v>Boursin Classique Fromage Frais A Tartiner Citron &amp; Romarin Boite 1X150Gr 1P</c:v>
                </c:pt>
                <c:pt idx="19">
                  <c:v>Boursin Classique Fromage Frais A Tartiner Ciboulette &amp; Echalote 1X160Gr 10P</c:v>
                </c:pt>
              </c:strCache>
            </c:strRef>
          </c:cat>
          <c:val>
            <c:numRef>
              <c:f>Sheet1!$C$2:$C$21</c:f>
              <c:numCache>
                <c:formatCode>General</c:formatCode>
                <c:ptCount val="20"/>
                <c:pt idx="0">
                  <c:v>0.24643162654371875</c:v>
                </c:pt>
                <c:pt idx="1">
                  <c:v>0.4866639433207621</c:v>
                </c:pt>
                <c:pt idx="2">
                  <c:v>0.6396804549466794</c:v>
                </c:pt>
                <c:pt idx="3">
                  <c:v>0.7103156804543665</c:v>
                </c:pt>
                <c:pt idx="4">
                  <c:v>0.7624556459325494</c:v>
                </c:pt>
                <c:pt idx="5">
                  <c:v>0.8124295508262919</c:v>
                </c:pt>
                <c:pt idx="6">
                  <c:v>0.8554477576552775</c:v>
                </c:pt>
                <c:pt idx="7">
                  <c:v>0.8900481718996817</c:v>
                </c:pt>
                <c:pt idx="8">
                  <c:v>0.9221505180810301</c:v>
                </c:pt>
                <c:pt idx="9">
                  <c:v>0.9501956879196407</c:v>
                </c:pt>
                <c:pt idx="10">
                  <c:v>0.9604617448932551</c:v>
                </c:pt>
                <c:pt idx="11">
                  <c:v>0.9696112010433982</c:v>
                </c:pt>
                <c:pt idx="12">
                  <c:v>0.9765506576416317</c:v>
                </c:pt>
                <c:pt idx="13">
                  <c:v>0.9828627150888589</c:v>
                </c:pt>
                <c:pt idx="14">
                  <c:v>0.9874640530666716</c:v>
                </c:pt>
                <c:pt idx="15">
                  <c:v>0.9910094782008341</c:v>
                </c:pt>
                <c:pt idx="16">
                  <c:v>0.9945026261146249</c:v>
                </c:pt>
                <c:pt idx="17">
                  <c:v>0.9978124774776538</c:v>
                </c:pt>
                <c:pt idx="18">
                  <c:v>0.9989931740886543</c:v>
                </c:pt>
                <c:pt idx="19">
                  <c:v>0.9999941994762417</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21</c:f>
              <c:strCache>
                <c:ptCount val="20"/>
                <c:pt idx="0">
                  <c:v>Boursin Classique Fromage Frais A Tartiner Afh Boite 1X150Gr 1P</c:v>
                </c:pt>
                <c:pt idx="1">
                  <c:v>Boursin Classique Fromage Frais A Tartiner Afh 1X160Gr 10P</c:v>
                </c:pt>
                <c:pt idx="2">
                  <c:v>Boursin Classique Fromage Frais A Tartiner Afh Boite 1X250Gr 1P</c:v>
                </c:pt>
                <c:pt idx="3">
                  <c:v>Boursin Classique Fromage Frais A Tartiner Afh Boite 1X96Gr 6P</c:v>
                </c:pt>
                <c:pt idx="4">
                  <c:v>Kiri Delicieusement Fouette Fromage Frais A Tartiner 1X125Gr 1P</c:v>
                </c:pt>
                <c:pt idx="5">
                  <c:v>Boursin Classique Fromage Frais A Tartiner Ciboulette &amp; Echalote Boite 1X150Gr 1P</c:v>
                </c:pt>
                <c:pt idx="6">
                  <c:v>Boursin Onctueux Fromage Frais A Tartiner Afh 1X125Gr 1P</c:v>
                </c:pt>
                <c:pt idx="7">
                  <c:v>Kiri Delicieusement Fouette Fromage Frais A Tartiner 1X210Gr 1P</c:v>
                </c:pt>
                <c:pt idx="8">
                  <c:v>Boursin Classique Fromage Frais A Tartiner Figue Et 3 Noix Boite 1X150Gr 1P</c:v>
                </c:pt>
                <c:pt idx="9">
                  <c:v>Kiri Delicieusement Fouette Fromage Frais A Tartiner 1X160Gr 10P</c:v>
                </c:pt>
                <c:pt idx="10">
                  <c:v>Boursin Classique Fromage Frais A Tartiner Afh Boite 1X80Gr 1P</c:v>
                </c:pt>
                <c:pt idx="11">
                  <c:v>Boursin Classique Fromage Frais A Tartiner Afh 1X256Gr 16P</c:v>
                </c:pt>
                <c:pt idx="12">
                  <c:v>Boursin Classique Fromage Frais A Tartiner 3 Noix Boite 1X150Gr 1P</c:v>
                </c:pt>
                <c:pt idx="13">
                  <c:v>Boursin Classique Fromage Frais A Tartiner Poivre Boite 1X150Gr 1P</c:v>
                </c:pt>
                <c:pt idx="14">
                  <c:v>Boursin Onctueux Fromage Frais A Tartiner Afh 1X210Gr 1P</c:v>
                </c:pt>
                <c:pt idx="15">
                  <c:v>Boursin Classique Fromage Frais A Tartiner Truffe Boite 1X150Gr 1P</c:v>
                </c:pt>
                <c:pt idx="16">
                  <c:v>Boursin Classique Fromage Frais A Tartiner Afh Boite 1X320Gr 16+4P</c:v>
                </c:pt>
                <c:pt idx="17">
                  <c:v>Boursin Classique Fromage Frais A Tartiner 3 Noix 1X160Gr 10P</c:v>
                </c:pt>
                <c:pt idx="18">
                  <c:v>Boursin Classique Fromage Frais A Tartiner Citron &amp; Romarin Boite 1X150Gr 1P</c:v>
                </c:pt>
                <c:pt idx="19">
                  <c:v>Boursin Classique Fromage Frais A Tartiner Ciboulette &amp; Echalote 1X160Gr 10P</c:v>
                </c:pt>
              </c:strCache>
            </c:strRef>
          </c:cat>
          <c:val>
            <c:numRef>
              <c:f>Sheet1!$D$2:$D$21</c:f>
              <c:numCache>
                <c:formatCode>General</c:formatCode>
                <c:ptCount val="20"/>
                <c:pt idx="0">
                  <c:v>35111.05371900827</c:v>
                </c:pt>
                <c:pt idx="1">
                  <c:v>36210.3825136612</c:v>
                </c:pt>
                <c:pt idx="2">
                  <c:v>25830.86903304774</c:v>
                </c:pt>
                <c:pt idx="3">
                  <c:v>11865.90742996346</c:v>
                </c:pt>
                <c:pt idx="4">
                  <c:v>9290.78811369509</c:v>
                </c:pt>
                <c:pt idx="5">
                  <c:v>8691.462799495586</c:v>
                </c:pt>
                <c:pt idx="6">
                  <c:v>7665.387596899224</c:v>
                </c:pt>
                <c:pt idx="7">
                  <c:v>7421.524105754277</c:v>
                </c:pt>
                <c:pt idx="8">
                  <c:v>6379.6974063400585</c:v>
                </c:pt>
                <c:pt idx="9">
                  <c:v>5613.860667634253</c:v>
                </c:pt>
                <c:pt idx="10">
                  <c:v>3167.51677852349</c:v>
                </c:pt>
                <c:pt idx="11">
                  <c:v>4761.811320754717</c:v>
                </c:pt>
                <c:pt idx="12">
                  <c:v>1782.2718808193667</c:v>
                </c:pt>
                <c:pt idx="13">
                  <c:v>2165.547263681592</c:v>
                </c:pt>
                <c:pt idx="14">
                  <c:v>2258.3985765124553</c:v>
                </c:pt>
                <c:pt idx="15">
                  <c:v>956.9080234833659</c:v>
                </c:pt>
                <c:pt idx="16">
                  <c:v>912.4431818181818</c:v>
                </c:pt>
                <c:pt idx="17">
                  <c:v>1204.4591029023748</c:v>
                </c:pt>
                <c:pt idx="18">
                  <c:v>502.5925925925926</c:v>
                </c:pt>
                <c:pt idx="19">
                  <c:v>1840.8</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16</c:f>
              <c:strCache>
                <c:ptCount val="15"/>
                <c:pt idx="0">
                  <c:v>Boursin Classique Fromage Frais A Tartiner Afh Boite 1X250Gr 1P</c:v>
                </c:pt>
                <c:pt idx="1">
                  <c:v>Boursin Classique Fromage Frais A Tartiner Afh 1X160Gr 10P</c:v>
                </c:pt>
                <c:pt idx="2">
                  <c:v>Boursin Classique Fromage Frais A Tartiner Afh Boite 1X150Gr 1P</c:v>
                </c:pt>
                <c:pt idx="3">
                  <c:v>Boursin Onctueux Fromage Frais A Tartiner Afh 1X125Gr 1P</c:v>
                </c:pt>
                <c:pt idx="4">
                  <c:v>Boursin Classique Fromage Frais A Tartiner Afh Boite 1X96Gr 6P</c:v>
                </c:pt>
                <c:pt idx="5">
                  <c:v>Boursin Classique Fromage Frais A Tartiner Figue Et 3 Noix Boite 1X150Gr 1P</c:v>
                </c:pt>
                <c:pt idx="6">
                  <c:v>Boursin Classique Fromage Frais A Tartiner Ciboulette &amp; Echalote Boite 1X150Gr 1P</c:v>
                </c:pt>
                <c:pt idx="7">
                  <c:v>Boursin Classique Fromage Frais A Tartiner Afh 1X256Gr 16P</c:v>
                </c:pt>
                <c:pt idx="8">
                  <c:v>Boursin Classique Fromage Frais A Tartiner Poivre Boite 1X150Gr 1P</c:v>
                </c:pt>
                <c:pt idx="9">
                  <c:v>Kiri Delicieusement Fouette Fromage Frais A Tartiner 1X125Gr 1P</c:v>
                </c:pt>
                <c:pt idx="10">
                  <c:v>Boursin Classique Fromage Frais A Tartiner Ciboulette &amp; Echalote 1X160Gr 10P</c:v>
                </c:pt>
                <c:pt idx="11">
                  <c:v>Kiri Delicieusement Fouette Fromage Frais A Tartiner 1X160Gr 10P</c:v>
                </c:pt>
                <c:pt idx="12">
                  <c:v>Boursin Classique Fromage Frais A Tartiner Afh Boite 1X80Gr 1P</c:v>
                </c:pt>
                <c:pt idx="13">
                  <c:v>Boursin Classique Fromage Frais A Tartiner Truffe Boite 1X150Gr 1P</c:v>
                </c:pt>
                <c:pt idx="14">
                  <c:v>Kiri Delicieusement Fouette Fromage Frais A Tartiner 1X210Gr 1P</c:v>
                </c:pt>
              </c:strCache>
            </c:strRef>
          </c:cat>
          <c:val>
            <c:numRef>
              <c:f>Sheet1!$B$2:$B$16</c:f>
              <c:numCache>
                <c:formatCode>General</c:formatCode>
                <c:ptCount val="15"/>
                <c:pt idx="0">
                  <c:v>0.98</c:v>
                </c:pt>
                <c:pt idx="1">
                  <c:v>0.981</c:v>
                </c:pt>
                <c:pt idx="2">
                  <c:v>0.998</c:v>
                </c:pt>
                <c:pt idx="3">
                  <c:v>0.954</c:v>
                </c:pt>
                <c:pt idx="4">
                  <c:v>0.939</c:v>
                </c:pt>
                <c:pt idx="5">
                  <c:v>0.98</c:v>
                </c:pt>
                <c:pt idx="6">
                  <c:v>0.973</c:v>
                </c:pt>
                <c:pt idx="7">
                  <c:v>0.86</c:v>
                </c:pt>
                <c:pt idx="8">
                  <c:v>0.94</c:v>
                </c:pt>
                <c:pt idx="9">
                  <c:v>0.837</c:v>
                </c:pt>
                <c:pt idx="10">
                  <c:v>0.808</c:v>
                </c:pt>
                <c:pt idx="11">
                  <c:v>0.895</c:v>
                </c:pt>
                <c:pt idx="12">
                  <c:v>0.325</c:v>
                </c:pt>
                <c:pt idx="13">
                  <c:v>0.687</c:v>
                </c:pt>
                <c:pt idx="14">
                  <c:v>0.372</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7ECAC4"/>
              </a:solidFill>
            </c:spPr>
            <c:extLst>
              <c:ext xmlns:c16="http://schemas.microsoft.com/office/drawing/2014/chart" uri="{C3380CC4-5D6E-409C-BE32-E72D297353CC}">
                <c16:uniqueId val="{0000000F-FA3E-4872-B6E1-C4ABDF5766E2}"/>
              </c:ext>
            </c:extLst>
          </c:dPt>
          <c:dPt>
            <c:idx val="7"/>
            <c:invertIfNegative val="1"/>
            <c:bubble3D val="0"/>
            <c:spPr>
              <a:solidFill>
                <a:srgbClr val="7ECAC4"/>
              </a:solidFill>
            </c:spPr>
            <c:extLst>
              <c:ext xmlns:c16="http://schemas.microsoft.com/office/drawing/2014/chart" uri="{C3380CC4-5D6E-409C-BE32-E72D297353CC}">
                <c16:uniqueId val="{00000011-FA3E-4872-B6E1-C4ABDF5766E2}"/>
              </c:ext>
            </c:extLst>
          </c:dPt>
          <c:dPt>
            <c:idx val="8"/>
            <c:invertIfNegative val="1"/>
            <c:bubble3D val="0"/>
            <c:spPr>
              <a:solidFill>
                <a:srgbClr val="7ECAC4"/>
              </a:solidFill>
            </c:spPr>
            <c:extLst>
              <c:ext xmlns:c16="http://schemas.microsoft.com/office/drawing/2014/chart" uri="{C3380CC4-5D6E-409C-BE32-E72D297353CC}">
                <c16:uniqueId val="{00000013-FA3E-4872-B6E1-C4ABDF5766E2}"/>
              </c:ext>
            </c:extLst>
          </c:dPt>
          <c:dPt>
            <c:idx val="9"/>
            <c:invertIfNegative val="1"/>
            <c:bubble3D val="0"/>
            <c:spPr>
              <a:solidFill>
                <a:srgbClr val="7ECAC4"/>
              </a:solidFill>
            </c:spPr>
            <c:extLst>
              <c:ext xmlns:c16="http://schemas.microsoft.com/office/drawing/2014/chart" uri="{C3380CC4-5D6E-409C-BE32-E72D297353CC}">
                <c16:uniqueId val="{00000015-FA3E-4872-B6E1-C4ABDF5766E2}"/>
              </c:ext>
            </c:extLst>
          </c:dPt>
          <c:dPt>
            <c:idx val="10"/>
            <c:invertIfNegative val="1"/>
            <c:bubble3D val="0"/>
            <c:spPr>
              <a:solidFill>
                <a:srgbClr val="AEABAB"/>
              </a:solidFill>
            </c:spPr>
            <c:extLst>
              <c:ext xmlns:c16="http://schemas.microsoft.com/office/drawing/2014/chart" uri="{C3380CC4-5D6E-409C-BE32-E72D297353CC}">
                <c16:uniqueId val="{00000017-FA3E-4872-B6E1-C4ABDF5766E2}"/>
              </c:ext>
            </c:extLst>
          </c:dPt>
          <c:dPt>
            <c:idx val="11"/>
            <c:invertIfNegative val="1"/>
            <c:bubble3D val="0"/>
            <c:spPr>
              <a:solidFill>
                <a:srgbClr val="AEABAB"/>
              </a:solidFill>
            </c:spPr>
            <c:extLst>
              <c:ext xmlns:c16="http://schemas.microsoft.com/office/drawing/2014/chart" uri="{C3380CC4-5D6E-409C-BE32-E72D297353CC}">
                <c16:uniqueId val="{00000019-FA3E-4872-B6E1-C4ABDF5766E2}"/>
              </c:ext>
            </c:extLst>
          </c:dPt>
          <c:dPt>
            <c:idx val="12"/>
            <c:invertIfNegative val="1"/>
            <c:bubble3D val="0"/>
            <c:spPr>
              <a:solidFill>
                <a:srgbClr val="AEABAB"/>
              </a:solidFill>
            </c:spPr>
            <c:extLst>
              <c:ext xmlns:c16="http://schemas.microsoft.com/office/drawing/2014/chart" uri="{C3380CC4-5D6E-409C-BE32-E72D297353CC}">
                <c16:uniqueId val="{0000001B-FA3E-4872-B6E1-C4ABDF5766E2}"/>
              </c:ext>
            </c:extLst>
          </c:dPt>
          <c:dPt>
            <c:idx val="13"/>
            <c:invertIfNegative val="1"/>
            <c:bubble3D val="0"/>
            <c:spPr>
              <a:solidFill>
                <a:srgbClr val="AEABAB"/>
              </a:solidFill>
            </c:spPr>
            <c:extLst>
              <c:ext xmlns:c16="http://schemas.microsoft.com/office/drawing/2014/chart" uri="{C3380CC4-5D6E-409C-BE32-E72D297353CC}">
                <c16:uniqueId val="{0000001D-FA3E-4872-B6E1-C4ABDF5766E2}"/>
              </c:ext>
            </c:extLst>
          </c:dPt>
          <c:dPt>
            <c:idx val="14"/>
            <c:invertIfNegative val="1"/>
            <c:bubble3D val="0"/>
            <c:spPr>
              <a:solidFill>
                <a:srgbClr val="AEABAB"/>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16</c:f>
              <c:strCache>
                <c:ptCount val="15"/>
                <c:pt idx="0">
                  <c:v>Boursin Classique Fromage Frais A Tartiner Afh Boite 1X250Gr 1P</c:v>
                </c:pt>
                <c:pt idx="1">
                  <c:v>Boursin Classique Fromage Frais A Tartiner Afh 1X160Gr 10P</c:v>
                </c:pt>
                <c:pt idx="2">
                  <c:v>Boursin Classique Fromage Frais A Tartiner Afh Boite 1X150Gr 1P</c:v>
                </c:pt>
                <c:pt idx="3">
                  <c:v>Boursin Onctueux Fromage Frais A Tartiner Afh 1X125Gr 1P</c:v>
                </c:pt>
                <c:pt idx="4">
                  <c:v>Boursin Classique Fromage Frais A Tartiner Afh Boite 1X96Gr 6P</c:v>
                </c:pt>
                <c:pt idx="5">
                  <c:v>Boursin Classique Fromage Frais A Tartiner Figue Et 3 Noix Boite 1X150Gr 1P</c:v>
                </c:pt>
                <c:pt idx="6">
                  <c:v>Boursin Classique Fromage Frais A Tartiner Ciboulette &amp; Echalote Boite 1X150Gr 1P</c:v>
                </c:pt>
                <c:pt idx="7">
                  <c:v>Boursin Classique Fromage Frais A Tartiner Afh 1X256Gr 16P</c:v>
                </c:pt>
                <c:pt idx="8">
                  <c:v>Boursin Classique Fromage Frais A Tartiner Poivre Boite 1X150Gr 1P</c:v>
                </c:pt>
                <c:pt idx="9">
                  <c:v>Kiri Delicieusement Fouette Fromage Frais A Tartiner 1X125Gr 1P</c:v>
                </c:pt>
                <c:pt idx="10">
                  <c:v>Boursin Classique Fromage Frais A Tartiner Ciboulette &amp; Echalote 1X160Gr 10P</c:v>
                </c:pt>
                <c:pt idx="11">
                  <c:v>Kiri Delicieusement Fouette Fromage Frais A Tartiner 1X160Gr 10P</c:v>
                </c:pt>
                <c:pt idx="12">
                  <c:v>Boursin Classique Fromage Frais A Tartiner Afh Boite 1X80Gr 1P</c:v>
                </c:pt>
                <c:pt idx="13">
                  <c:v>Boursin Classique Fromage Frais A Tartiner Truffe Boite 1X150Gr 1P</c:v>
                </c:pt>
                <c:pt idx="14">
                  <c:v>Kiri Delicieusement Fouette Fromage Frais A Tartiner 1X210Gr 1P</c:v>
                </c:pt>
              </c:strCache>
            </c:strRef>
          </c:cat>
          <c:val>
            <c:numRef>
              <c:f>Sheet1!$C$2:$C$16</c:f>
              <c:numCache>
                <c:formatCode>General</c:formatCode>
                <c:ptCount val="15"/>
                <c:pt idx="0">
                  <c:v>0.18420609660967635</c:v>
                </c:pt>
                <c:pt idx="1">
                  <c:v>0.3665413326957589</c:v>
                </c:pt>
                <c:pt idx="2">
                  <c:v>0.5320302489544942</c:v>
                </c:pt>
                <c:pt idx="3">
                  <c:v>0.6123627365474169</c:v>
                </c:pt>
                <c:pt idx="4">
                  <c:v>0.6848823490845591</c:v>
                </c:pt>
                <c:pt idx="5">
                  <c:v>0.7530987393433095</c:v>
                </c:pt>
                <c:pt idx="6">
                  <c:v>0.809829742104429</c:v>
                </c:pt>
                <c:pt idx="7">
                  <c:v>0.8592197712172821</c:v>
                </c:pt>
                <c:pt idx="8">
                  <c:v>0.9051026458145978</c:v>
                </c:pt>
                <c:pt idx="9">
                  <c:v>0.9398017473923717</c:v>
                </c:pt>
                <c:pt idx="10">
                  <c:v>0.971495642524927</c:v>
                </c:pt>
                <c:pt idx="11">
                  <c:v>0.9897911567877403</c:v>
                </c:pt>
                <c:pt idx="12">
                  <c:v>0.9957838792834472</c:v>
                </c:pt>
                <c:pt idx="13">
                  <c:v>0.9987909087846112</c:v>
                </c:pt>
                <c:pt idx="14">
                  <c:v>1.0</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16</c:f>
              <c:strCache>
                <c:ptCount val="15"/>
                <c:pt idx="0">
                  <c:v>Boursin Classique Fromage Frais A Tartiner Afh Boite 1X250Gr 1P</c:v>
                </c:pt>
                <c:pt idx="1">
                  <c:v>Boursin Classique Fromage Frais A Tartiner Afh 1X160Gr 10P</c:v>
                </c:pt>
                <c:pt idx="2">
                  <c:v>Boursin Classique Fromage Frais A Tartiner Afh Boite 1X150Gr 1P</c:v>
                </c:pt>
                <c:pt idx="3">
                  <c:v>Boursin Onctueux Fromage Frais A Tartiner Afh 1X125Gr 1P</c:v>
                </c:pt>
                <c:pt idx="4">
                  <c:v>Boursin Classique Fromage Frais A Tartiner Afh Boite 1X96Gr 6P</c:v>
                </c:pt>
                <c:pt idx="5">
                  <c:v>Boursin Classique Fromage Frais A Tartiner Figue Et 3 Noix Boite 1X150Gr 1P</c:v>
                </c:pt>
                <c:pt idx="6">
                  <c:v>Boursin Classique Fromage Frais A Tartiner Ciboulette &amp; Echalote Boite 1X150Gr 1P</c:v>
                </c:pt>
                <c:pt idx="7">
                  <c:v>Boursin Classique Fromage Frais A Tartiner Afh 1X256Gr 16P</c:v>
                </c:pt>
                <c:pt idx="8">
                  <c:v>Boursin Classique Fromage Frais A Tartiner Poivre Boite 1X150Gr 1P</c:v>
                </c:pt>
                <c:pt idx="9">
                  <c:v>Kiri Delicieusement Fouette Fromage Frais A Tartiner 1X125Gr 1P</c:v>
                </c:pt>
                <c:pt idx="10">
                  <c:v>Boursin Classique Fromage Frais A Tartiner Ciboulette &amp; Echalote 1X160Gr 10P</c:v>
                </c:pt>
                <c:pt idx="11">
                  <c:v>Kiri Delicieusement Fouette Fromage Frais A Tartiner 1X160Gr 10P</c:v>
                </c:pt>
                <c:pt idx="12">
                  <c:v>Boursin Classique Fromage Frais A Tartiner Afh Boite 1X80Gr 1P</c:v>
                </c:pt>
                <c:pt idx="13">
                  <c:v>Boursin Classique Fromage Frais A Tartiner Truffe Boite 1X150Gr 1P</c:v>
                </c:pt>
                <c:pt idx="14">
                  <c:v>Kiri Delicieusement Fouette Fromage Frais A Tartiner 1X210Gr 1P</c:v>
                </c:pt>
              </c:strCache>
            </c:strRef>
          </c:cat>
          <c:val>
            <c:numRef>
              <c:f>Sheet1!$D$2:$D$16</c:f>
              <c:numCache>
                <c:formatCode>General</c:formatCode>
                <c:ptCount val="15"/>
                <c:pt idx="0">
                  <c:v>27838.23469387755</c:v>
                </c:pt>
                <c:pt idx="1">
                  <c:v>27527.410805300715</c:v>
                </c:pt>
                <c:pt idx="2">
                  <c:v>24558.517034068136</c:v>
                </c:pt>
                <c:pt idx="3">
                  <c:v>12471.153039832287</c:v>
                </c:pt>
                <c:pt idx="4">
                  <c:v>11438.093716719915</c:v>
                </c:pt>
                <c:pt idx="5">
                  <c:v>10309.234693877552</c:v>
                </c:pt>
                <c:pt idx="6">
                  <c:v>8635.179856115108</c:v>
                </c:pt>
                <c:pt idx="7">
                  <c:v>8505.593023255815</c:v>
                </c:pt>
                <c:pt idx="8">
                  <c:v>7229.13829787234</c:v>
                </c:pt>
                <c:pt idx="9">
                  <c:v>6139.832735961768</c:v>
                </c:pt>
                <c:pt idx="10">
                  <c:v>5809.356435643564</c:v>
                </c:pt>
                <c:pt idx="11">
                  <c:v>3027.5083798882683</c:v>
                </c:pt>
                <c:pt idx="12">
                  <c:v>2730.892307692308</c:v>
                </c:pt>
                <c:pt idx="13">
                  <c:v>648.2532751091703</c:v>
                </c:pt>
                <c:pt idx="14">
                  <c:v>481.37096774193543</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21</c:f>
              <c:strCache>
                <c:ptCount val="20"/>
                <c:pt idx="0">
                  <c:v>Boursin Classique Fromage Frais A Tartiner Afh 1X160Gr 10P</c:v>
                </c:pt>
                <c:pt idx="1">
                  <c:v>Boursin Classique Fromage Frais A Tartiner Afh Boite 1X250Gr 1P</c:v>
                </c:pt>
                <c:pt idx="2">
                  <c:v>Boursin Classique Fromage Frais A Tartiner Afh Boite 1X150Gr 1P</c:v>
                </c:pt>
                <c:pt idx="3">
                  <c:v>Boursin Classique Fromage Frais A Tartiner Afh Boite 1X96Gr 6P</c:v>
                </c:pt>
                <c:pt idx="4">
                  <c:v>Boursin Classique Fromage Frais A Tartiner Figue Et 3 Noix Boite 1X150Gr 1P</c:v>
                </c:pt>
                <c:pt idx="5">
                  <c:v>Kiri Delicieusement Fouette Fromage Frais A Tartiner 1X210Gr 1P</c:v>
                </c:pt>
                <c:pt idx="6">
                  <c:v>Boursin Classique Fromage Frais A Tartiner Ciboulette &amp; Echalote Boite 1X150Gr 1P</c:v>
                </c:pt>
                <c:pt idx="7">
                  <c:v>Boursin Onctueux Fromage Frais A Tartiner Afh 1X125Gr 1P</c:v>
                </c:pt>
                <c:pt idx="8">
                  <c:v>Kiri Delicieusement Fouette Fromage Frais A Tartiner 1X125Gr 1P</c:v>
                </c:pt>
                <c:pt idx="9">
                  <c:v>Boursin Classique Fromage Frais A Tartiner Afh 1X256Gr 16P</c:v>
                </c:pt>
                <c:pt idx="10">
                  <c:v>Kiri Delicieusement Fouette Fromage Frais A Tartiner 1X160Gr 10P</c:v>
                </c:pt>
                <c:pt idx="11">
                  <c:v>Boursin Classique Fromage Frais A Tartiner Afh Boite 1X80Gr 1P</c:v>
                </c:pt>
                <c:pt idx="12">
                  <c:v>Boursin Classique Fromage Frais A Tartiner Poivre Boite 1X150Gr 1P</c:v>
                </c:pt>
                <c:pt idx="13">
                  <c:v>Boursin Onctueux Fromage Frais A Tartiner Afh 1X210Gr 1P</c:v>
                </c:pt>
                <c:pt idx="14">
                  <c:v>Boursin Classique Fromage Frais A Tartiner 3 Noix Boite 1X150Gr 1P</c:v>
                </c:pt>
                <c:pt idx="15">
                  <c:v>Boursin Classique Fromage Frais A Tartiner Truffe Boite 1X150Gr 1P</c:v>
                </c:pt>
                <c:pt idx="16">
                  <c:v>Boursin Classique Fromage Frais A Tartiner Afh Boite 1X320Gr 16+4P</c:v>
                </c:pt>
                <c:pt idx="17">
                  <c:v>Boursin Classique Fromage Frais A Tartiner 3 Noix 1X160Gr 10P</c:v>
                </c:pt>
                <c:pt idx="18">
                  <c:v>Boursin Classique Fromage Frais A Tartiner Citron &amp; Romarin Boite 1X150Gr 1P</c:v>
                </c:pt>
                <c:pt idx="19">
                  <c:v>Boursin Classique Fromage Frais A Tartiner Ciboulette &amp; Echalote 1X160Gr 10P</c:v>
                </c:pt>
              </c:strCache>
            </c:strRef>
          </c:cat>
          <c:val>
            <c:numRef>
              <c:f>Sheet1!$B$2:$B$21</c:f>
              <c:numCache>
                <c:formatCode>General</c:formatCode>
                <c:ptCount val="20"/>
                <c:pt idx="0">
                  <c:v>1.0</c:v>
                </c:pt>
                <c:pt idx="1">
                  <c:v>1.0</c:v>
                </c:pt>
                <c:pt idx="2">
                  <c:v>1.0</c:v>
                </c:pt>
                <c:pt idx="3">
                  <c:v>1.0</c:v>
                </c:pt>
                <c:pt idx="4">
                  <c:v>0.98</c:v>
                </c:pt>
                <c:pt idx="5">
                  <c:v>0.96</c:v>
                </c:pt>
                <c:pt idx="6">
                  <c:v>0.97</c:v>
                </c:pt>
                <c:pt idx="7">
                  <c:v>0.99</c:v>
                </c:pt>
                <c:pt idx="8">
                  <c:v>0.98</c:v>
                </c:pt>
                <c:pt idx="9">
                  <c:v>0.58</c:v>
                </c:pt>
                <c:pt idx="10">
                  <c:v>0.89</c:v>
                </c:pt>
                <c:pt idx="11">
                  <c:v>0.94</c:v>
                </c:pt>
                <c:pt idx="12">
                  <c:v>0.88</c:v>
                </c:pt>
                <c:pt idx="13">
                  <c:v>0.59</c:v>
                </c:pt>
                <c:pt idx="14">
                  <c:v>0.67</c:v>
                </c:pt>
                <c:pt idx="15">
                  <c:v>0.66</c:v>
                </c:pt>
                <c:pt idx="16">
                  <c:v>0.85</c:v>
                </c:pt>
                <c:pt idx="17">
                  <c:v>0.49</c:v>
                </c:pt>
                <c:pt idx="18">
                  <c:v>0.71</c:v>
                </c:pt>
                <c:pt idx="19">
                  <c:v>0.14</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7ECAC4"/>
              </a:solidFill>
            </c:spPr>
            <c:extLst>
              <c:ext xmlns:c16="http://schemas.microsoft.com/office/drawing/2014/chart" uri="{C3380CC4-5D6E-409C-BE32-E72D297353CC}">
                <c16:uniqueId val="{0000000F-FA3E-4872-B6E1-C4ABDF5766E2}"/>
              </c:ext>
            </c:extLst>
          </c:dPt>
          <c:dPt>
            <c:idx val="7"/>
            <c:invertIfNegative val="1"/>
            <c:bubble3D val="0"/>
            <c:spPr>
              <a:solidFill>
                <a:srgbClr val="7ECAC4"/>
              </a:solidFill>
            </c:spPr>
            <c:extLst>
              <c:ext xmlns:c16="http://schemas.microsoft.com/office/drawing/2014/chart" uri="{C3380CC4-5D6E-409C-BE32-E72D297353CC}">
                <c16:uniqueId val="{00000011-FA3E-4872-B6E1-C4ABDF5766E2}"/>
              </c:ext>
            </c:extLst>
          </c:dPt>
          <c:dPt>
            <c:idx val="8"/>
            <c:invertIfNegative val="1"/>
            <c:bubble3D val="0"/>
            <c:spPr>
              <a:solidFill>
                <a:srgbClr val="7ECAC4"/>
              </a:solidFill>
            </c:spPr>
            <c:extLst>
              <c:ext xmlns:c16="http://schemas.microsoft.com/office/drawing/2014/chart" uri="{C3380CC4-5D6E-409C-BE32-E72D297353CC}">
                <c16:uniqueId val="{00000013-FA3E-4872-B6E1-C4ABDF5766E2}"/>
              </c:ext>
            </c:extLst>
          </c:dPt>
          <c:dPt>
            <c:idx val="9"/>
            <c:invertIfNegative val="1"/>
            <c:bubble3D val="0"/>
            <c:spPr>
              <a:solidFill>
                <a:srgbClr val="7ECAC4"/>
              </a:solidFill>
            </c:spPr>
            <c:extLst>
              <c:ext xmlns:c16="http://schemas.microsoft.com/office/drawing/2014/chart" uri="{C3380CC4-5D6E-409C-BE32-E72D297353CC}">
                <c16:uniqueId val="{00000015-FA3E-4872-B6E1-C4ABDF5766E2}"/>
              </c:ext>
            </c:extLst>
          </c:dPt>
          <c:dPt>
            <c:idx val="10"/>
            <c:invertIfNegative val="1"/>
            <c:bubble3D val="0"/>
            <c:spPr>
              <a:solidFill>
                <a:srgbClr val="7ECAC4"/>
              </a:solidFill>
            </c:spPr>
            <c:extLst>
              <c:ext xmlns:c16="http://schemas.microsoft.com/office/drawing/2014/chart" uri="{C3380CC4-5D6E-409C-BE32-E72D297353CC}">
                <c16:uniqueId val="{00000017-FA3E-4872-B6E1-C4ABDF5766E2}"/>
              </c:ext>
            </c:extLst>
          </c:dPt>
          <c:dPt>
            <c:idx val="11"/>
            <c:invertIfNegative val="1"/>
            <c:bubble3D val="0"/>
            <c:spPr>
              <a:solidFill>
                <a:srgbClr val="7ECAC4"/>
              </a:solidFill>
            </c:spPr>
            <c:extLst>
              <c:ext xmlns:c16="http://schemas.microsoft.com/office/drawing/2014/chart" uri="{C3380CC4-5D6E-409C-BE32-E72D297353CC}">
                <c16:uniqueId val="{00000019-FA3E-4872-B6E1-C4ABDF5766E2}"/>
              </c:ext>
            </c:extLst>
          </c:dPt>
          <c:dPt>
            <c:idx val="12"/>
            <c:invertIfNegative val="1"/>
            <c:bubble3D val="0"/>
            <c:spPr>
              <a:solidFill>
                <a:srgbClr val="AEABAB"/>
              </a:solidFill>
            </c:spPr>
            <c:extLst>
              <c:ext xmlns:c16="http://schemas.microsoft.com/office/drawing/2014/chart" uri="{C3380CC4-5D6E-409C-BE32-E72D297353CC}">
                <c16:uniqueId val="{0000001B-FA3E-4872-B6E1-C4ABDF5766E2}"/>
              </c:ext>
            </c:extLst>
          </c:dPt>
          <c:dPt>
            <c:idx val="13"/>
            <c:invertIfNegative val="1"/>
            <c:bubble3D val="0"/>
            <c:spPr>
              <a:solidFill>
                <a:srgbClr val="AEABAB"/>
              </a:solidFill>
            </c:spPr>
            <c:extLst>
              <c:ext xmlns:c16="http://schemas.microsoft.com/office/drawing/2014/chart" uri="{C3380CC4-5D6E-409C-BE32-E72D297353CC}">
                <c16:uniqueId val="{0000001D-FA3E-4872-B6E1-C4ABDF5766E2}"/>
              </c:ext>
            </c:extLst>
          </c:dPt>
          <c:dPt>
            <c:idx val="14"/>
            <c:invertIfNegative val="1"/>
            <c:bubble3D val="0"/>
            <c:spPr>
              <a:solidFill>
                <a:srgbClr val="AEABAB"/>
              </a:solidFill>
            </c:spPr>
            <c:extLst>
              <c:ext xmlns:c16="http://schemas.microsoft.com/office/drawing/2014/chart" uri="{C3380CC4-5D6E-409C-BE32-E72D297353CC}">
                <c16:uniqueId val="{0000001F-FA3E-4872-B6E1-C4ABDF5766E2}"/>
              </c:ext>
            </c:extLst>
          </c:dPt>
          <c:dPt>
            <c:idx val="15"/>
            <c:invertIfNegative val="1"/>
            <c:bubble3D val="0"/>
            <c:spPr>
              <a:solidFill>
                <a:srgbClr val="AEABAB"/>
              </a:solidFill>
            </c:spPr>
            <c:extLst>
              <c:ext xmlns:c16="http://schemas.microsoft.com/office/drawing/2014/chart" uri="{C3380CC4-5D6E-409C-BE32-E72D297353CC}">
                <c16:uniqueId val="{00000021-FA3E-4872-B6E1-C4ABDF5766E2}"/>
              </c:ext>
            </c:extLst>
          </c:dPt>
          <c:dPt>
            <c:idx val="16"/>
            <c:invertIfNegative val="1"/>
            <c:bubble3D val="0"/>
            <c:spPr>
              <a:solidFill>
                <a:srgbClr val="AEABAB"/>
              </a:solidFill>
            </c:spPr>
            <c:extLst>
              <c:ext xmlns:c16="http://schemas.microsoft.com/office/drawing/2014/chart" uri="{C3380CC4-5D6E-409C-BE32-E72D297353CC}">
                <c16:uniqueId val="{00000023-FA3E-4872-B6E1-C4ABDF5766E2}"/>
              </c:ext>
            </c:extLst>
          </c:dPt>
          <c:dPt>
            <c:idx val="17"/>
            <c:invertIfNegative val="1"/>
            <c:bubble3D val="0"/>
            <c:spPr>
              <a:solidFill>
                <a:srgbClr val="AEABAB"/>
              </a:solidFill>
            </c:spPr>
            <c:extLst>
              <c:ext xmlns:c16="http://schemas.microsoft.com/office/drawing/2014/chart" uri="{C3380CC4-5D6E-409C-BE32-E72D297353CC}">
                <c16:uniqueId val="{00000025-FA3E-4872-B6E1-C4ABDF5766E2}"/>
              </c:ext>
            </c:extLst>
          </c:dPt>
          <c:dPt>
            <c:idx val="18"/>
            <c:invertIfNegative val="1"/>
            <c:bubble3D val="0"/>
            <c:spPr>
              <a:solidFill>
                <a:srgbClr val="AEABAB"/>
              </a:solidFill>
            </c:spPr>
            <c:extLst>
              <c:ext xmlns:c16="http://schemas.microsoft.com/office/drawing/2014/chart" uri="{C3380CC4-5D6E-409C-BE32-E72D297353CC}">
                <c16:uniqueId val="{00000027-FA3E-4872-B6E1-C4ABDF5766E2}"/>
              </c:ext>
            </c:extLst>
          </c:dPt>
          <c:dPt>
            <c:idx val="19"/>
            <c:invertIfNegative val="1"/>
            <c:bubble3D val="0"/>
            <c:spPr>
              <a:solidFill>
                <a:srgbClr val="AEABAB"/>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21</c:f>
              <c:strCache>
                <c:ptCount val="20"/>
                <c:pt idx="0">
                  <c:v>Boursin Classique Fromage Frais A Tartiner Afh 1X160Gr 10P</c:v>
                </c:pt>
                <c:pt idx="1">
                  <c:v>Boursin Classique Fromage Frais A Tartiner Afh Boite 1X250Gr 1P</c:v>
                </c:pt>
                <c:pt idx="2">
                  <c:v>Boursin Classique Fromage Frais A Tartiner Afh Boite 1X150Gr 1P</c:v>
                </c:pt>
                <c:pt idx="3">
                  <c:v>Boursin Classique Fromage Frais A Tartiner Afh Boite 1X96Gr 6P</c:v>
                </c:pt>
                <c:pt idx="4">
                  <c:v>Boursin Classique Fromage Frais A Tartiner Figue Et 3 Noix Boite 1X150Gr 1P</c:v>
                </c:pt>
                <c:pt idx="5">
                  <c:v>Kiri Delicieusement Fouette Fromage Frais A Tartiner 1X210Gr 1P</c:v>
                </c:pt>
                <c:pt idx="6">
                  <c:v>Boursin Classique Fromage Frais A Tartiner Ciboulette &amp; Echalote Boite 1X150Gr 1P</c:v>
                </c:pt>
                <c:pt idx="7">
                  <c:v>Boursin Onctueux Fromage Frais A Tartiner Afh 1X125Gr 1P</c:v>
                </c:pt>
                <c:pt idx="8">
                  <c:v>Kiri Delicieusement Fouette Fromage Frais A Tartiner 1X125Gr 1P</c:v>
                </c:pt>
                <c:pt idx="9">
                  <c:v>Boursin Classique Fromage Frais A Tartiner Afh 1X256Gr 16P</c:v>
                </c:pt>
                <c:pt idx="10">
                  <c:v>Kiri Delicieusement Fouette Fromage Frais A Tartiner 1X160Gr 10P</c:v>
                </c:pt>
                <c:pt idx="11">
                  <c:v>Boursin Classique Fromage Frais A Tartiner Afh Boite 1X80Gr 1P</c:v>
                </c:pt>
                <c:pt idx="12">
                  <c:v>Boursin Classique Fromage Frais A Tartiner Poivre Boite 1X150Gr 1P</c:v>
                </c:pt>
                <c:pt idx="13">
                  <c:v>Boursin Onctueux Fromage Frais A Tartiner Afh 1X210Gr 1P</c:v>
                </c:pt>
                <c:pt idx="14">
                  <c:v>Boursin Classique Fromage Frais A Tartiner 3 Noix Boite 1X150Gr 1P</c:v>
                </c:pt>
                <c:pt idx="15">
                  <c:v>Boursin Classique Fromage Frais A Tartiner Truffe Boite 1X150Gr 1P</c:v>
                </c:pt>
                <c:pt idx="16">
                  <c:v>Boursin Classique Fromage Frais A Tartiner Afh Boite 1X320Gr 16+4P</c:v>
                </c:pt>
                <c:pt idx="17">
                  <c:v>Boursin Classique Fromage Frais A Tartiner 3 Noix 1X160Gr 10P</c:v>
                </c:pt>
                <c:pt idx="18">
                  <c:v>Boursin Classique Fromage Frais A Tartiner Citron &amp; Romarin Boite 1X150Gr 1P</c:v>
                </c:pt>
                <c:pt idx="19">
                  <c:v>Boursin Classique Fromage Frais A Tartiner Ciboulette &amp; Echalote 1X160Gr 10P</c:v>
                </c:pt>
              </c:strCache>
            </c:strRef>
          </c:cat>
          <c:val>
            <c:numRef>
              <c:f>Sheet1!$C$2:$C$21</c:f>
              <c:numCache>
                <c:formatCode>General</c:formatCode>
                <c:ptCount val="20"/>
                <c:pt idx="0">
                  <c:v>0.23103812533618048</c:v>
                </c:pt>
                <c:pt idx="1">
                  <c:v>0.4174379590148831</c:v>
                </c:pt>
                <c:pt idx="2">
                  <c:v>0.5748690333125108</c:v>
                </c:pt>
                <c:pt idx="3">
                  <c:v>0.6441192176551871</c:v>
                </c:pt>
                <c:pt idx="4">
                  <c:v>0.703988731861636</c:v>
                </c:pt>
                <c:pt idx="5">
                  <c:v>0.7573227841071193</c:v>
                </c:pt>
                <c:pt idx="6">
                  <c:v>0.8098691094135718</c:v>
                </c:pt>
                <c:pt idx="7">
                  <c:v>0.8524776076676192</c:v>
                </c:pt>
                <c:pt idx="8">
                  <c:v>0.8878067965695585</c:v>
                </c:pt>
                <c:pt idx="9">
                  <c:v>0.9082371788332834</c:v>
                </c:pt>
                <c:pt idx="10">
                  <c:v>0.9284501063633764</c:v>
                </c:pt>
                <c:pt idx="11">
                  <c:v>0.9479475220037312</c:v>
                </c:pt>
                <c:pt idx="12">
                  <c:v>0.9620432195735815</c:v>
                </c:pt>
                <c:pt idx="13">
                  <c:v>0.9718379118646088</c:v>
                </c:pt>
                <c:pt idx="14">
                  <c:v>0.9812943592274479</c:v>
                </c:pt>
                <c:pt idx="15">
                  <c:v>0.9864248660702286</c:v>
                </c:pt>
                <c:pt idx="16">
                  <c:v>0.991015217297674</c:v>
                </c:pt>
                <c:pt idx="17">
                  <c:v>0.995179888335456</c:v>
                </c:pt>
                <c:pt idx="18">
                  <c:v>0.9978139565459703</c:v>
                </c:pt>
                <c:pt idx="19">
                  <c:v>0.9999999999999999</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21</c:f>
              <c:strCache>
                <c:ptCount val="20"/>
                <c:pt idx="0">
                  <c:v>Boursin Classique Fromage Frais A Tartiner Afh 1X160Gr 10P</c:v>
                </c:pt>
                <c:pt idx="1">
                  <c:v>Boursin Classique Fromage Frais A Tartiner Afh Boite 1X250Gr 1P</c:v>
                </c:pt>
                <c:pt idx="2">
                  <c:v>Boursin Classique Fromage Frais A Tartiner Afh Boite 1X150Gr 1P</c:v>
                </c:pt>
                <c:pt idx="3">
                  <c:v>Boursin Classique Fromage Frais A Tartiner Afh Boite 1X96Gr 6P</c:v>
                </c:pt>
                <c:pt idx="4">
                  <c:v>Boursin Classique Fromage Frais A Tartiner Figue Et 3 Noix Boite 1X150Gr 1P</c:v>
                </c:pt>
                <c:pt idx="5">
                  <c:v>Kiri Delicieusement Fouette Fromage Frais A Tartiner 1X210Gr 1P</c:v>
                </c:pt>
                <c:pt idx="6">
                  <c:v>Boursin Classique Fromage Frais A Tartiner Ciboulette &amp; Echalote Boite 1X150Gr 1P</c:v>
                </c:pt>
                <c:pt idx="7">
                  <c:v>Boursin Onctueux Fromage Frais A Tartiner Afh 1X125Gr 1P</c:v>
                </c:pt>
                <c:pt idx="8">
                  <c:v>Kiri Delicieusement Fouette Fromage Frais A Tartiner 1X125Gr 1P</c:v>
                </c:pt>
                <c:pt idx="9">
                  <c:v>Boursin Classique Fromage Frais A Tartiner Afh 1X256Gr 16P</c:v>
                </c:pt>
                <c:pt idx="10">
                  <c:v>Kiri Delicieusement Fouette Fromage Frais A Tartiner 1X160Gr 10P</c:v>
                </c:pt>
                <c:pt idx="11">
                  <c:v>Boursin Classique Fromage Frais A Tartiner Afh Boite 1X80Gr 1P</c:v>
                </c:pt>
                <c:pt idx="12">
                  <c:v>Boursin Classique Fromage Frais A Tartiner Poivre Boite 1X150Gr 1P</c:v>
                </c:pt>
                <c:pt idx="13">
                  <c:v>Boursin Onctueux Fromage Frais A Tartiner Afh 1X210Gr 1P</c:v>
                </c:pt>
                <c:pt idx="14">
                  <c:v>Boursin Classique Fromage Frais A Tartiner 3 Noix Boite 1X150Gr 1P</c:v>
                </c:pt>
                <c:pt idx="15">
                  <c:v>Boursin Classique Fromage Frais A Tartiner Truffe Boite 1X150Gr 1P</c:v>
                </c:pt>
                <c:pt idx="16">
                  <c:v>Boursin Classique Fromage Frais A Tartiner Afh Boite 1X320Gr 16+4P</c:v>
                </c:pt>
                <c:pt idx="17">
                  <c:v>Boursin Classique Fromage Frais A Tartiner 3 Noix 1X160Gr 10P</c:v>
                </c:pt>
                <c:pt idx="18">
                  <c:v>Boursin Classique Fromage Frais A Tartiner Citron &amp; Romarin Boite 1X150Gr 1P</c:v>
                </c:pt>
                <c:pt idx="19">
                  <c:v>Boursin Classique Fromage Frais A Tartiner Ciboulette &amp; Echalote 1X160Gr 10P</c:v>
                </c:pt>
              </c:strCache>
            </c:strRef>
          </c:cat>
          <c:val>
            <c:numRef>
              <c:f>Sheet1!$D$2:$D$21</c:f>
              <c:numCache>
                <c:formatCode>General</c:formatCode>
                <c:ptCount val="20"/>
                <c:pt idx="0">
                  <c:v>14268.91</c:v>
                </c:pt>
                <c:pt idx="1">
                  <c:v>11512.05</c:v>
                </c:pt>
                <c:pt idx="2">
                  <c:v>9722.94</c:v>
                </c:pt>
                <c:pt idx="3">
                  <c:v>4276.89</c:v>
                </c:pt>
                <c:pt idx="4">
                  <c:v>3773.0</c:v>
                </c:pt>
                <c:pt idx="5">
                  <c:v>3431.15625</c:v>
                </c:pt>
                <c:pt idx="6">
                  <c:v>3345.6288659793813</c:v>
                </c:pt>
                <c:pt idx="7">
                  <c:v>2658.080808080808</c:v>
                </c:pt>
                <c:pt idx="8">
                  <c:v>2226.4591836734694</c:v>
                </c:pt>
                <c:pt idx="9">
                  <c:v>2175.4827586206898</c:v>
                </c:pt>
                <c:pt idx="10">
                  <c:v>1402.6404494382023</c:v>
                </c:pt>
                <c:pt idx="11">
                  <c:v>1281.0212765957447</c:v>
                </c:pt>
                <c:pt idx="12">
                  <c:v>989.2613636363636</c:v>
                </c:pt>
                <c:pt idx="13">
                  <c:v>1025.2881355932204</c:v>
                </c:pt>
                <c:pt idx="14">
                  <c:v>871.6865671641791</c:v>
                </c:pt>
                <c:pt idx="15">
                  <c:v>480.09090909090907</c:v>
                </c:pt>
                <c:pt idx="16">
                  <c:v>333.52941176470586</c:v>
                </c:pt>
                <c:pt idx="17">
                  <c:v>524.9183673469388</c:v>
                </c:pt>
                <c:pt idx="18">
                  <c:v>229.1267605633803</c:v>
                </c:pt>
                <c:pt idx="19">
                  <c:v>964.3571428571428</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17</c:f>
              <c:strCache>
                <c:ptCount val="16"/>
                <c:pt idx="0">
                  <c:v>Boursin Classique Fromage Frais A Tartiner Afh 1X160Gr 10P</c:v>
                </c:pt>
                <c:pt idx="1">
                  <c:v>Boursin Classique Fromage Frais A Tartiner Afh Boite 1X150Gr 1P</c:v>
                </c:pt>
                <c:pt idx="2">
                  <c:v>Boursin Classique Fromage Frais A Tartiner Afh Boite 1X250Gr 1P</c:v>
                </c:pt>
                <c:pt idx="3">
                  <c:v>Boursin Classique Fromage Frais A Tartiner Afh Boite 1X96Gr 6P</c:v>
                </c:pt>
                <c:pt idx="4">
                  <c:v>Boursin Onctueux Fromage Frais A Tartiner Afh 1X125Gr 1P</c:v>
                </c:pt>
                <c:pt idx="5">
                  <c:v>Boursin Classique Fromage Frais A Tartiner Ciboulette &amp; Echalote Boite 1X150Gr 1P</c:v>
                </c:pt>
                <c:pt idx="6">
                  <c:v>Kiri Delicieusement Fouette Fromage Frais A Tartiner 1X160Gr 10P</c:v>
                </c:pt>
                <c:pt idx="7">
                  <c:v>Kiri Delicieusement Fouette Fromage Frais A Tartiner 1X210Gr 1P</c:v>
                </c:pt>
                <c:pt idx="8">
                  <c:v>Kiri Delicieusement Fouette Fromage Frais A Tartiner 1X125Gr 1P</c:v>
                </c:pt>
                <c:pt idx="9">
                  <c:v>Boursin Classique Fromage Frais A Tartiner Figue Et 3 Noix Boite 1X150Gr 1P</c:v>
                </c:pt>
                <c:pt idx="10">
                  <c:v>Boursin Classique Fromage Frais A Tartiner 3 Noix Boite 1X150Gr 1P</c:v>
                </c:pt>
                <c:pt idx="11">
                  <c:v>Boursin Classique Fromage Frais A Tartiner 3 Noix 1X160Gr 10P</c:v>
                </c:pt>
                <c:pt idx="12">
                  <c:v>Boursin Classique Fromage Frais A Tartiner Afh Boite 1X320Gr 16+4P</c:v>
                </c:pt>
                <c:pt idx="13">
                  <c:v>Boursin Classique Fromage Frais A Tartiner Truffe Boite 1X150Gr 1P</c:v>
                </c:pt>
                <c:pt idx="14">
                  <c:v>Boursin Onctueux Fromage Frais A Tartiner Afh 1X210Gr 1P</c:v>
                </c:pt>
                <c:pt idx="15">
                  <c:v>Boursin Classique Fromage Frais A Tartiner Ciboulette &amp; Echalote 1X160Gr 10P</c:v>
                </c:pt>
              </c:strCache>
            </c:strRef>
          </c:cat>
          <c:val>
            <c:numRef>
              <c:f>Sheet1!$B$2:$B$17</c:f>
              <c:numCache>
                <c:formatCode>General</c:formatCode>
                <c:ptCount val="16"/>
                <c:pt idx="0">
                  <c:v>0.98</c:v>
                </c:pt>
                <c:pt idx="1">
                  <c:v>0.99</c:v>
                </c:pt>
                <c:pt idx="2">
                  <c:v>0.95</c:v>
                </c:pt>
                <c:pt idx="3">
                  <c:v>0.91</c:v>
                </c:pt>
                <c:pt idx="4">
                  <c:v>0.85</c:v>
                </c:pt>
                <c:pt idx="5">
                  <c:v>0.89</c:v>
                </c:pt>
                <c:pt idx="6">
                  <c:v>0.63</c:v>
                </c:pt>
                <c:pt idx="7">
                  <c:v>0.54</c:v>
                </c:pt>
                <c:pt idx="8">
                  <c:v>0.62</c:v>
                </c:pt>
                <c:pt idx="9">
                  <c:v>0.65</c:v>
                </c:pt>
                <c:pt idx="10">
                  <c:v>0.61</c:v>
                </c:pt>
                <c:pt idx="11">
                  <c:v>0.41</c:v>
                </c:pt>
                <c:pt idx="12">
                  <c:v>0.37</c:v>
                </c:pt>
                <c:pt idx="13">
                  <c:v>0.51</c:v>
                </c:pt>
                <c:pt idx="14">
                  <c:v>0.03</c:v>
                </c:pt>
                <c:pt idx="15">
                  <c:v>0.03</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7ECAC4"/>
              </a:solidFill>
            </c:spPr>
            <c:extLst>
              <c:ext xmlns:c16="http://schemas.microsoft.com/office/drawing/2014/chart" uri="{C3380CC4-5D6E-409C-BE32-E72D297353CC}">
                <c16:uniqueId val="{0000000B-FA3E-4872-B6E1-C4ABDF5766E2}"/>
              </c:ext>
            </c:extLst>
          </c:dPt>
          <c:dPt>
            <c:idx val="5"/>
            <c:invertIfNegative val="1"/>
            <c:bubble3D val="0"/>
            <c:spPr>
              <a:solidFill>
                <a:srgbClr val="7ECAC4"/>
              </a:solidFill>
            </c:spPr>
            <c:extLst>
              <c:ext xmlns:c16="http://schemas.microsoft.com/office/drawing/2014/chart" uri="{C3380CC4-5D6E-409C-BE32-E72D297353CC}">
                <c16:uniqueId val="{0000000D-FA3E-4872-B6E1-C4ABDF5766E2}"/>
              </c:ext>
            </c:extLst>
          </c:dPt>
          <c:dPt>
            <c:idx val="6"/>
            <c:invertIfNegative val="1"/>
            <c:bubble3D val="0"/>
            <c:spPr>
              <a:solidFill>
                <a:srgbClr val="7ECAC4"/>
              </a:solidFill>
            </c:spPr>
            <c:extLst>
              <c:ext xmlns:c16="http://schemas.microsoft.com/office/drawing/2014/chart" uri="{C3380CC4-5D6E-409C-BE32-E72D297353CC}">
                <c16:uniqueId val="{0000000F-FA3E-4872-B6E1-C4ABDF5766E2}"/>
              </c:ext>
            </c:extLst>
          </c:dPt>
          <c:dPt>
            <c:idx val="7"/>
            <c:invertIfNegative val="1"/>
            <c:bubble3D val="0"/>
            <c:spPr>
              <a:solidFill>
                <a:srgbClr val="7ECAC4"/>
              </a:solidFill>
            </c:spPr>
            <c:extLst>
              <c:ext xmlns:c16="http://schemas.microsoft.com/office/drawing/2014/chart" uri="{C3380CC4-5D6E-409C-BE32-E72D297353CC}">
                <c16:uniqueId val="{00000011-FA3E-4872-B6E1-C4ABDF5766E2}"/>
              </c:ext>
            </c:extLst>
          </c:dPt>
          <c:dPt>
            <c:idx val="8"/>
            <c:invertIfNegative val="1"/>
            <c:bubble3D val="0"/>
            <c:spPr>
              <a:solidFill>
                <a:srgbClr val="AEABAB"/>
              </a:solidFill>
            </c:spPr>
            <c:extLst>
              <c:ext xmlns:c16="http://schemas.microsoft.com/office/drawing/2014/chart" uri="{C3380CC4-5D6E-409C-BE32-E72D297353CC}">
                <c16:uniqueId val="{00000013-FA3E-4872-B6E1-C4ABDF5766E2}"/>
              </c:ext>
            </c:extLst>
          </c:dPt>
          <c:dPt>
            <c:idx val="9"/>
            <c:invertIfNegative val="1"/>
            <c:bubble3D val="0"/>
            <c:spPr>
              <a:solidFill>
                <a:srgbClr val="AEABAB"/>
              </a:solidFill>
            </c:spPr>
            <c:extLst>
              <c:ext xmlns:c16="http://schemas.microsoft.com/office/drawing/2014/chart" uri="{C3380CC4-5D6E-409C-BE32-E72D297353CC}">
                <c16:uniqueId val="{00000015-FA3E-4872-B6E1-C4ABDF5766E2}"/>
              </c:ext>
            </c:extLst>
          </c:dPt>
          <c:dPt>
            <c:idx val="10"/>
            <c:invertIfNegative val="1"/>
            <c:bubble3D val="0"/>
            <c:spPr>
              <a:solidFill>
                <a:srgbClr val="AEABAB"/>
              </a:solidFill>
            </c:spPr>
            <c:extLst>
              <c:ext xmlns:c16="http://schemas.microsoft.com/office/drawing/2014/chart" uri="{C3380CC4-5D6E-409C-BE32-E72D297353CC}">
                <c16:uniqueId val="{00000017-FA3E-4872-B6E1-C4ABDF5766E2}"/>
              </c:ext>
            </c:extLst>
          </c:dPt>
          <c:dPt>
            <c:idx val="11"/>
            <c:invertIfNegative val="1"/>
            <c:bubble3D val="0"/>
            <c:spPr>
              <a:solidFill>
                <a:srgbClr val="AEABAB"/>
              </a:solidFill>
            </c:spPr>
            <c:extLst>
              <c:ext xmlns:c16="http://schemas.microsoft.com/office/drawing/2014/chart" uri="{C3380CC4-5D6E-409C-BE32-E72D297353CC}">
                <c16:uniqueId val="{00000019-FA3E-4872-B6E1-C4ABDF5766E2}"/>
              </c:ext>
            </c:extLst>
          </c:dPt>
          <c:dPt>
            <c:idx val="12"/>
            <c:invertIfNegative val="1"/>
            <c:bubble3D val="0"/>
            <c:spPr>
              <a:solidFill>
                <a:srgbClr val="AEABAB"/>
              </a:solidFill>
            </c:spPr>
            <c:extLst>
              <c:ext xmlns:c16="http://schemas.microsoft.com/office/drawing/2014/chart" uri="{C3380CC4-5D6E-409C-BE32-E72D297353CC}">
                <c16:uniqueId val="{0000001B-FA3E-4872-B6E1-C4ABDF5766E2}"/>
              </c:ext>
            </c:extLst>
          </c:dPt>
          <c:dPt>
            <c:idx val="13"/>
            <c:invertIfNegative val="1"/>
            <c:bubble3D val="0"/>
            <c:spPr>
              <a:solidFill>
                <a:srgbClr val="AEABAB"/>
              </a:solidFill>
            </c:spPr>
            <c:extLst>
              <c:ext xmlns:c16="http://schemas.microsoft.com/office/drawing/2014/chart" uri="{C3380CC4-5D6E-409C-BE32-E72D297353CC}">
                <c16:uniqueId val="{0000001D-FA3E-4872-B6E1-C4ABDF5766E2}"/>
              </c:ext>
            </c:extLst>
          </c:dPt>
          <c:dPt>
            <c:idx val="14"/>
            <c:invertIfNegative val="1"/>
            <c:bubble3D val="0"/>
            <c:spPr>
              <a:solidFill>
                <a:srgbClr val="AEABAB"/>
              </a:solidFill>
            </c:spPr>
            <c:extLst>
              <c:ext xmlns:c16="http://schemas.microsoft.com/office/drawing/2014/chart" uri="{C3380CC4-5D6E-409C-BE32-E72D297353CC}">
                <c16:uniqueId val="{0000001F-FA3E-4872-B6E1-C4ABDF5766E2}"/>
              </c:ext>
            </c:extLst>
          </c:dPt>
          <c:dPt>
            <c:idx val="15"/>
            <c:invertIfNegative val="1"/>
            <c:bubble3D val="0"/>
            <c:spPr>
              <a:solidFill>
                <a:srgbClr val="AEABAB"/>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17</c:f>
              <c:strCache>
                <c:ptCount val="16"/>
                <c:pt idx="0">
                  <c:v>Boursin Classique Fromage Frais A Tartiner Afh 1X160Gr 10P</c:v>
                </c:pt>
                <c:pt idx="1">
                  <c:v>Boursin Classique Fromage Frais A Tartiner Afh Boite 1X150Gr 1P</c:v>
                </c:pt>
                <c:pt idx="2">
                  <c:v>Boursin Classique Fromage Frais A Tartiner Afh Boite 1X250Gr 1P</c:v>
                </c:pt>
                <c:pt idx="3">
                  <c:v>Boursin Classique Fromage Frais A Tartiner Afh Boite 1X96Gr 6P</c:v>
                </c:pt>
                <c:pt idx="4">
                  <c:v>Boursin Onctueux Fromage Frais A Tartiner Afh 1X125Gr 1P</c:v>
                </c:pt>
                <c:pt idx="5">
                  <c:v>Boursin Classique Fromage Frais A Tartiner Ciboulette &amp; Echalote Boite 1X150Gr 1P</c:v>
                </c:pt>
                <c:pt idx="6">
                  <c:v>Kiri Delicieusement Fouette Fromage Frais A Tartiner 1X160Gr 10P</c:v>
                </c:pt>
                <c:pt idx="7">
                  <c:v>Kiri Delicieusement Fouette Fromage Frais A Tartiner 1X210Gr 1P</c:v>
                </c:pt>
                <c:pt idx="8">
                  <c:v>Kiri Delicieusement Fouette Fromage Frais A Tartiner 1X125Gr 1P</c:v>
                </c:pt>
                <c:pt idx="9">
                  <c:v>Boursin Classique Fromage Frais A Tartiner Figue Et 3 Noix Boite 1X150Gr 1P</c:v>
                </c:pt>
                <c:pt idx="10">
                  <c:v>Boursin Classique Fromage Frais A Tartiner 3 Noix Boite 1X150Gr 1P</c:v>
                </c:pt>
                <c:pt idx="11">
                  <c:v>Boursin Classique Fromage Frais A Tartiner 3 Noix 1X160Gr 10P</c:v>
                </c:pt>
                <c:pt idx="12">
                  <c:v>Boursin Classique Fromage Frais A Tartiner Afh Boite 1X320Gr 16+4P</c:v>
                </c:pt>
                <c:pt idx="13">
                  <c:v>Boursin Classique Fromage Frais A Tartiner Truffe Boite 1X150Gr 1P</c:v>
                </c:pt>
                <c:pt idx="14">
                  <c:v>Boursin Onctueux Fromage Frais A Tartiner Afh 1X210Gr 1P</c:v>
                </c:pt>
                <c:pt idx="15">
                  <c:v>Boursin Classique Fromage Frais A Tartiner Ciboulette &amp; Echalote 1X160Gr 10P</c:v>
                </c:pt>
              </c:strCache>
            </c:strRef>
          </c:cat>
          <c:val>
            <c:numRef>
              <c:f>Sheet1!$C$2:$C$17</c:f>
              <c:numCache>
                <c:formatCode>General</c:formatCode>
                <c:ptCount val="16"/>
                <c:pt idx="0">
                  <c:v>0.23711482688917393</c:v>
                </c:pt>
                <c:pt idx="1">
                  <c:v>0.45752522949659635</c:v>
                </c:pt>
                <c:pt idx="2">
                  <c:v>0.648867361422762</c:v>
                </c:pt>
                <c:pt idx="3">
                  <c:v>0.7493048145003621</c:v>
                </c:pt>
                <c:pt idx="4">
                  <c:v>0.8152307488590329</c:v>
                </c:pt>
                <c:pt idx="5">
                  <c:v>0.8784873865998313</c:v>
                </c:pt>
                <c:pt idx="6">
                  <c:v>0.9081354528726843</c:v>
                </c:pt>
                <c:pt idx="7">
                  <c:v>0.9376570945470253</c:v>
                </c:pt>
                <c:pt idx="8">
                  <c:v>0.9668280228011655</c:v>
                </c:pt>
                <c:pt idx="9">
                  <c:v>0.9813950125595747</c:v>
                </c:pt>
                <c:pt idx="10">
                  <c:v>0.9888456755097976</c:v>
                </c:pt>
                <c:pt idx="11">
                  <c:v>0.9928257535495253</c:v>
                </c:pt>
                <c:pt idx="12">
                  <c:v>0.9967856595759043</c:v>
                </c:pt>
                <c:pt idx="13">
                  <c:v>0.9993109559796737</c:v>
                </c:pt>
                <c:pt idx="14">
                  <c:v>0.9999039332829631</c:v>
                </c:pt>
                <c:pt idx="15">
                  <c:v>0.999964848768818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17</c:f>
              <c:strCache>
                <c:ptCount val="16"/>
                <c:pt idx="0">
                  <c:v>Boursin Classique Fromage Frais A Tartiner Afh 1X160Gr 10P</c:v>
                </c:pt>
                <c:pt idx="1">
                  <c:v>Boursin Classique Fromage Frais A Tartiner Afh Boite 1X150Gr 1P</c:v>
                </c:pt>
                <c:pt idx="2">
                  <c:v>Boursin Classique Fromage Frais A Tartiner Afh Boite 1X250Gr 1P</c:v>
                </c:pt>
                <c:pt idx="3">
                  <c:v>Boursin Classique Fromage Frais A Tartiner Afh Boite 1X96Gr 6P</c:v>
                </c:pt>
                <c:pt idx="4">
                  <c:v>Boursin Onctueux Fromage Frais A Tartiner Afh 1X125Gr 1P</c:v>
                </c:pt>
                <c:pt idx="5">
                  <c:v>Boursin Classique Fromage Frais A Tartiner Ciboulette &amp; Echalote Boite 1X150Gr 1P</c:v>
                </c:pt>
                <c:pt idx="6">
                  <c:v>Kiri Delicieusement Fouette Fromage Frais A Tartiner 1X160Gr 10P</c:v>
                </c:pt>
                <c:pt idx="7">
                  <c:v>Kiri Delicieusement Fouette Fromage Frais A Tartiner 1X210Gr 1P</c:v>
                </c:pt>
                <c:pt idx="8">
                  <c:v>Kiri Delicieusement Fouette Fromage Frais A Tartiner 1X125Gr 1P</c:v>
                </c:pt>
                <c:pt idx="9">
                  <c:v>Boursin Classique Fromage Frais A Tartiner Figue Et 3 Noix Boite 1X150Gr 1P</c:v>
                </c:pt>
                <c:pt idx="10">
                  <c:v>Boursin Classique Fromage Frais A Tartiner 3 Noix Boite 1X150Gr 1P</c:v>
                </c:pt>
                <c:pt idx="11">
                  <c:v>Boursin Classique Fromage Frais A Tartiner 3 Noix 1X160Gr 10P</c:v>
                </c:pt>
                <c:pt idx="12">
                  <c:v>Boursin Classique Fromage Frais A Tartiner Afh Boite 1X320Gr 16+4P</c:v>
                </c:pt>
                <c:pt idx="13">
                  <c:v>Boursin Classique Fromage Frais A Tartiner Truffe Boite 1X150Gr 1P</c:v>
                </c:pt>
                <c:pt idx="14">
                  <c:v>Boursin Onctueux Fromage Frais A Tartiner Afh 1X210Gr 1P</c:v>
                </c:pt>
                <c:pt idx="15">
                  <c:v>Boursin Classique Fromage Frais A Tartiner Ciboulette &amp; Echalote 1X160Gr 10P</c:v>
                </c:pt>
              </c:strCache>
            </c:strRef>
          </c:cat>
          <c:val>
            <c:numRef>
              <c:f>Sheet1!$D$2:$D$17</c:f>
              <c:numCache>
                <c:formatCode>General</c:formatCode>
                <c:ptCount val="16"/>
                <c:pt idx="0">
                  <c:v>12114.479591836734</c:v>
                </c:pt>
                <c:pt idx="1">
                  <c:v>11147.282828282829</c:v>
                </c:pt>
                <c:pt idx="2">
                  <c:v>10084.61052631579</c:v>
                </c:pt>
                <c:pt idx="3">
                  <c:v>5526.197802197802</c:v>
                </c:pt>
                <c:pt idx="4">
                  <c:v>3883.3764705882354</c:v>
                </c:pt>
                <c:pt idx="5">
                  <c:v>3558.674157303371</c:v>
                </c:pt>
                <c:pt idx="6">
                  <c:v>2356.285714285714</c:v>
                </c:pt>
                <c:pt idx="7">
                  <c:v>2737.277777777778</c:v>
                </c:pt>
                <c:pt idx="8">
                  <c:v>2355.7580645161293</c:v>
                </c:pt>
                <c:pt idx="9">
                  <c:v>1122.0923076923077</c:v>
                </c:pt>
                <c:pt idx="10">
                  <c:v>611.5573770491803</c:v>
                </c:pt>
                <c:pt idx="11">
                  <c:v>486.0487804878049</c:v>
                </c:pt>
                <c:pt idx="12">
                  <c:v>535.8648648648649</c:v>
                </c:pt>
                <c:pt idx="13">
                  <c:v>247.92156862745097</c:v>
                </c:pt>
                <c:pt idx="14">
                  <c:v>989.6666666666666</c:v>
                </c:pt>
                <c:pt idx="15">
                  <c:v>101.66666666666667</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9</c:f>
              <c:strCache>
                <c:ptCount val="8"/>
                <c:pt idx="0">
                  <c:v>Boursin Classique Fromage Frais A Tartiner Afh Boite 1X150Gr 1P</c:v>
                </c:pt>
                <c:pt idx="1">
                  <c:v>Boursin Classique Fromage Frais A Tartiner Afh 1X160Gr 10P</c:v>
                </c:pt>
                <c:pt idx="2">
                  <c:v>Kiri Delicieusement Fouette Fromage Frais A Tartiner 1X125Gr 1P</c:v>
                </c:pt>
                <c:pt idx="3">
                  <c:v>Kiri Delicieusement Fouette Fromage Frais A Tartiner 1X160Gr 10P</c:v>
                </c:pt>
                <c:pt idx="4">
                  <c:v>Boursin Classique Fromage Frais A Tartiner Ciboulette &amp; Echalote Boite 1X150Gr 1P</c:v>
                </c:pt>
                <c:pt idx="5">
                  <c:v>Boursin Classique Fromage Frais A Tartiner Afh Boite 1X96Gr 6P</c:v>
                </c:pt>
                <c:pt idx="6">
                  <c:v>Boursin Classique Fromage Frais A Tartiner Afh Boite 1X80Gr 1P</c:v>
                </c:pt>
                <c:pt idx="7">
                  <c:v>Boursin Classique Fromage Frais A Tartiner Truffe Boite 1X150Gr 1P</c:v>
                </c:pt>
              </c:strCache>
            </c:strRef>
          </c:cat>
          <c:val>
            <c:numRef>
              <c:f>Sheet1!$B$2:$B$9</c:f>
              <c:numCache>
                <c:formatCode>General</c:formatCode>
                <c:ptCount val="8"/>
                <c:pt idx="0">
                  <c:v>0.83</c:v>
                </c:pt>
                <c:pt idx="1">
                  <c:v>0.53</c:v>
                </c:pt>
                <c:pt idx="2">
                  <c:v>0.56</c:v>
                </c:pt>
                <c:pt idx="3">
                  <c:v>0.27</c:v>
                </c:pt>
                <c:pt idx="4">
                  <c:v>0.08</c:v>
                </c:pt>
                <c:pt idx="5">
                  <c:v>0.12</c:v>
                </c:pt>
                <c:pt idx="6">
                  <c:v>0.11</c:v>
                </c:pt>
                <c:pt idx="7">
                  <c:v>0.1</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7ECAC4"/>
              </a:solidFill>
            </c:spPr>
            <c:extLst>
              <c:ext xmlns:c16="http://schemas.microsoft.com/office/drawing/2014/chart" uri="{C3380CC4-5D6E-409C-BE32-E72D297353CC}">
                <c16:uniqueId val="{00000006-E902-46E2-9A54-39A26B3DFDC1}"/>
              </c:ext>
            </c:extLst>
          </c:dPt>
          <c:dPt>
            <c:idx val="3"/>
            <c:invertIfNegative val="0"/>
            <c:bubble3D val="0"/>
            <c:spPr>
              <a:solidFill>
                <a:srgbClr val="AEABAB"/>
              </a:solidFill>
            </c:spPr>
            <c:extLst>
              <c:ext xmlns:c16="http://schemas.microsoft.com/office/drawing/2014/chart" uri="{C3380CC4-5D6E-409C-BE32-E72D297353CC}">
                <c16:uniqueId val="{00000007-E902-46E2-9A54-39A26B3DFDC1}"/>
              </c:ext>
            </c:extLst>
          </c:dPt>
          <c:dPt>
            <c:idx val="4"/>
            <c:invertIfNegative val="1"/>
            <c:bubble3D val="0"/>
            <c:spPr>
              <a:solidFill>
                <a:srgbClr val="AEABAB"/>
              </a:solidFill>
            </c:spPr>
            <c:extLst>
              <c:ext xmlns:c16="http://schemas.microsoft.com/office/drawing/2014/chart" uri="{C3380CC4-5D6E-409C-BE32-E72D297353CC}">
                <c16:uniqueId val="{0000000B-FA3E-4872-B6E1-C4ABDF5766E2}"/>
              </c:ext>
            </c:extLst>
          </c:dPt>
          <c:dPt>
            <c:idx val="5"/>
            <c:invertIfNegative val="1"/>
            <c:bubble3D val="0"/>
            <c:spPr>
              <a:solidFill>
                <a:srgbClr val="AEABAB"/>
              </a:solidFill>
            </c:spPr>
            <c:extLst>
              <c:ext xmlns:c16="http://schemas.microsoft.com/office/drawing/2014/chart" uri="{C3380CC4-5D6E-409C-BE32-E72D297353CC}">
                <c16:uniqueId val="{0000000D-FA3E-4872-B6E1-C4ABDF5766E2}"/>
              </c:ext>
            </c:extLst>
          </c:dPt>
          <c:dPt>
            <c:idx val="6"/>
            <c:invertIfNegative val="1"/>
            <c:bubble3D val="0"/>
            <c:spPr>
              <a:solidFill>
                <a:srgbClr val="AEABAB"/>
              </a:solidFill>
            </c:spPr>
            <c:extLst>
              <c:ext xmlns:c16="http://schemas.microsoft.com/office/drawing/2014/chart" uri="{C3380CC4-5D6E-409C-BE32-E72D297353CC}">
                <c16:uniqueId val="{0000000F-FA3E-4872-B6E1-C4ABDF5766E2}"/>
              </c:ext>
            </c:extLst>
          </c:dPt>
          <c:dPt>
            <c:idx val="7"/>
            <c:invertIfNegative val="1"/>
            <c:bubble3D val="0"/>
            <c:spPr>
              <a:solidFill>
                <a:srgbClr val="AEABAB"/>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9</c:f>
              <c:strCache>
                <c:ptCount val="8"/>
                <c:pt idx="0">
                  <c:v>Boursin Classique Fromage Frais A Tartiner Afh Boite 1X150Gr 1P</c:v>
                </c:pt>
                <c:pt idx="1">
                  <c:v>Boursin Classique Fromage Frais A Tartiner Afh 1X160Gr 10P</c:v>
                </c:pt>
                <c:pt idx="2">
                  <c:v>Kiri Delicieusement Fouette Fromage Frais A Tartiner 1X125Gr 1P</c:v>
                </c:pt>
                <c:pt idx="3">
                  <c:v>Kiri Delicieusement Fouette Fromage Frais A Tartiner 1X160Gr 10P</c:v>
                </c:pt>
                <c:pt idx="4">
                  <c:v>Boursin Classique Fromage Frais A Tartiner Ciboulette &amp; Echalote Boite 1X150Gr 1P</c:v>
                </c:pt>
                <c:pt idx="5">
                  <c:v>Boursin Classique Fromage Frais A Tartiner Afh Boite 1X96Gr 6P</c:v>
                </c:pt>
                <c:pt idx="6">
                  <c:v>Boursin Classique Fromage Frais A Tartiner Afh Boite 1X80Gr 1P</c:v>
                </c:pt>
                <c:pt idx="7">
                  <c:v>Boursin Classique Fromage Frais A Tartiner Truffe Boite 1X150Gr 1P</c:v>
                </c:pt>
              </c:strCache>
            </c:strRef>
          </c:cat>
          <c:val>
            <c:numRef>
              <c:f>Sheet1!$C$2:$C$9</c:f>
              <c:numCache>
                <c:formatCode>General</c:formatCode>
                <c:ptCount val="8"/>
                <c:pt idx="0">
                  <c:v>0.5070578932379376</c:v>
                </c:pt>
                <c:pt idx="1">
                  <c:v>0.7750382054203976</c:v>
                </c:pt>
                <c:pt idx="2">
                  <c:v>0.9110548682349</c:v>
                </c:pt>
                <c:pt idx="3">
                  <c:v>0.9545647763464081</c:v>
                </c:pt>
                <c:pt idx="4">
                  <c:v>0.972957423427215</c:v>
                </c:pt>
                <c:pt idx="5">
                  <c:v>0.9896761997191945</c:v>
                </c:pt>
                <c:pt idx="6">
                  <c:v>0.9977496461183408</c:v>
                </c:pt>
                <c:pt idx="7">
                  <c:v>0.9995005601928459</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9</c:f>
              <c:strCache>
                <c:ptCount val="8"/>
                <c:pt idx="0">
                  <c:v>Boursin Classique Fromage Frais A Tartiner Afh Boite 1X150Gr 1P</c:v>
                </c:pt>
                <c:pt idx="1">
                  <c:v>Boursin Classique Fromage Frais A Tartiner Afh 1X160Gr 10P</c:v>
                </c:pt>
                <c:pt idx="2">
                  <c:v>Kiri Delicieusement Fouette Fromage Frais A Tartiner 1X125Gr 1P</c:v>
                </c:pt>
                <c:pt idx="3">
                  <c:v>Kiri Delicieusement Fouette Fromage Frais A Tartiner 1X160Gr 10P</c:v>
                </c:pt>
                <c:pt idx="4">
                  <c:v>Boursin Classique Fromage Frais A Tartiner Ciboulette &amp; Echalote Boite 1X150Gr 1P</c:v>
                </c:pt>
                <c:pt idx="5">
                  <c:v>Boursin Classique Fromage Frais A Tartiner Afh Boite 1X96Gr 6P</c:v>
                </c:pt>
                <c:pt idx="6">
                  <c:v>Boursin Classique Fromage Frais A Tartiner Afh Boite 1X80Gr 1P</c:v>
                </c:pt>
                <c:pt idx="7">
                  <c:v>Boursin Classique Fromage Frais A Tartiner Truffe Boite 1X150Gr 1P</c:v>
                </c:pt>
              </c:strCache>
            </c:strRef>
          </c:cat>
          <c:val>
            <c:numRef>
              <c:f>Sheet1!$D$2:$D$9</c:f>
              <c:numCache>
                <c:formatCode>General</c:formatCode>
                <c:ptCount val="8"/>
                <c:pt idx="0">
                  <c:v>15938.253012048193</c:v>
                </c:pt>
                <c:pt idx="1">
                  <c:v>13191.32075471698</c:v>
                </c:pt>
                <c:pt idx="2">
                  <c:v>6336.732142857142</c:v>
                </c:pt>
                <c:pt idx="3">
                  <c:v>4204.222222222223</c:v>
                </c:pt>
                <c:pt idx="4">
                  <c:v>5998.125</c:v>
                </c:pt>
                <c:pt idx="5">
                  <c:v>3634.8333333333335</c:v>
                </c:pt>
                <c:pt idx="6">
                  <c:v>1914.8181818181818</c:v>
                </c:pt>
                <c:pt idx="7">
                  <c:v>456.8</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16</c:f>
              <c:strCache>
                <c:ptCount val="15"/>
                <c:pt idx="0">
                  <c:v>Boursin Classique Fromage Frais A Tartiner Afh Boite 1X250Gr 1P</c:v>
                </c:pt>
                <c:pt idx="1">
                  <c:v>Boursin Classique Fromage Frais A Tartiner Afh 1X160Gr 10P</c:v>
                </c:pt>
                <c:pt idx="2">
                  <c:v>Boursin Classique Fromage Frais A Tartiner Afh Boite 1X150Gr 1P</c:v>
                </c:pt>
                <c:pt idx="3">
                  <c:v>Boursin Onctueux Fromage Frais A Tartiner Afh 1X125Gr 1P</c:v>
                </c:pt>
                <c:pt idx="4">
                  <c:v>Boursin Classique Fromage Frais A Tartiner Afh Boite 1X96Gr 6P</c:v>
                </c:pt>
                <c:pt idx="5">
                  <c:v>Boursin Classique Fromage Frais A Tartiner Figue Et 3 Noix Boite 1X150Gr 1P</c:v>
                </c:pt>
                <c:pt idx="6">
                  <c:v>Boursin Classique Fromage Frais A Tartiner Ciboulette &amp; Echalote Boite 1X150Gr 1P</c:v>
                </c:pt>
                <c:pt idx="7">
                  <c:v>Boursin Classique Fromage Frais A Tartiner Afh 1X256Gr 16P</c:v>
                </c:pt>
                <c:pt idx="8">
                  <c:v>Boursin Classique Fromage Frais A Tartiner Poivre Boite 1X150Gr 1P</c:v>
                </c:pt>
                <c:pt idx="9">
                  <c:v>Kiri Delicieusement Fouette Fromage Frais A Tartiner 1X125Gr 1P</c:v>
                </c:pt>
                <c:pt idx="10">
                  <c:v>Boursin Classique Fromage Frais A Tartiner Ciboulette &amp; Echalote 1X160Gr 10P</c:v>
                </c:pt>
                <c:pt idx="11">
                  <c:v>Kiri Delicieusement Fouette Fromage Frais A Tartiner 1X160Gr 10P</c:v>
                </c:pt>
                <c:pt idx="12">
                  <c:v>Boursin Classique Fromage Frais A Tartiner Afh Boite 1X80Gr 1P</c:v>
                </c:pt>
                <c:pt idx="13">
                  <c:v>Boursin Classique Fromage Frais A Tartiner Truffe Boite 1X150Gr 1P</c:v>
                </c:pt>
                <c:pt idx="14">
                  <c:v>Kiri Delicieusement Fouette Fromage Frais A Tartiner 1X210Gr 1P</c:v>
                </c:pt>
              </c:strCache>
            </c:strRef>
          </c:cat>
          <c:val>
            <c:numRef>
              <c:f>Sheet1!$B$2:$B$16</c:f>
              <c:numCache>
                <c:formatCode>General</c:formatCode>
                <c:ptCount val="15"/>
                <c:pt idx="0">
                  <c:v>0.99</c:v>
                </c:pt>
                <c:pt idx="1">
                  <c:v>0.99</c:v>
                </c:pt>
                <c:pt idx="2">
                  <c:v>1.0</c:v>
                </c:pt>
                <c:pt idx="3">
                  <c:v>0.97</c:v>
                </c:pt>
                <c:pt idx="4">
                  <c:v>0.96</c:v>
                </c:pt>
                <c:pt idx="5">
                  <c:v>0.99</c:v>
                </c:pt>
                <c:pt idx="6">
                  <c:v>0.99</c:v>
                </c:pt>
                <c:pt idx="7">
                  <c:v>0.87</c:v>
                </c:pt>
                <c:pt idx="8">
                  <c:v>0.96</c:v>
                </c:pt>
                <c:pt idx="9">
                  <c:v>0.87</c:v>
                </c:pt>
                <c:pt idx="10">
                  <c:v>0.83</c:v>
                </c:pt>
                <c:pt idx="11">
                  <c:v>0.94</c:v>
                </c:pt>
                <c:pt idx="12">
                  <c:v>0.29</c:v>
                </c:pt>
                <c:pt idx="13">
                  <c:v>0.7</c:v>
                </c:pt>
                <c:pt idx="14">
                  <c:v>0.38</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7ECAC4"/>
              </a:solidFill>
            </c:spPr>
            <c:extLst>
              <c:ext xmlns:c16="http://schemas.microsoft.com/office/drawing/2014/chart" uri="{C3380CC4-5D6E-409C-BE32-E72D297353CC}">
                <c16:uniqueId val="{0000000F-FA3E-4872-B6E1-C4ABDF5766E2}"/>
              </c:ext>
            </c:extLst>
          </c:dPt>
          <c:dPt>
            <c:idx val="7"/>
            <c:invertIfNegative val="1"/>
            <c:bubble3D val="0"/>
            <c:spPr>
              <a:solidFill>
                <a:srgbClr val="7ECAC4"/>
              </a:solidFill>
            </c:spPr>
            <c:extLst>
              <c:ext xmlns:c16="http://schemas.microsoft.com/office/drawing/2014/chart" uri="{C3380CC4-5D6E-409C-BE32-E72D297353CC}">
                <c16:uniqueId val="{00000011-FA3E-4872-B6E1-C4ABDF5766E2}"/>
              </c:ext>
            </c:extLst>
          </c:dPt>
          <c:dPt>
            <c:idx val="8"/>
            <c:invertIfNegative val="1"/>
            <c:bubble3D val="0"/>
            <c:spPr>
              <a:solidFill>
                <a:srgbClr val="7ECAC4"/>
              </a:solidFill>
            </c:spPr>
            <c:extLst>
              <c:ext xmlns:c16="http://schemas.microsoft.com/office/drawing/2014/chart" uri="{C3380CC4-5D6E-409C-BE32-E72D297353CC}">
                <c16:uniqueId val="{00000013-FA3E-4872-B6E1-C4ABDF5766E2}"/>
              </c:ext>
            </c:extLst>
          </c:dPt>
          <c:dPt>
            <c:idx val="9"/>
            <c:invertIfNegative val="1"/>
            <c:bubble3D val="0"/>
            <c:spPr>
              <a:solidFill>
                <a:srgbClr val="7ECAC4"/>
              </a:solidFill>
            </c:spPr>
            <c:extLst>
              <c:ext xmlns:c16="http://schemas.microsoft.com/office/drawing/2014/chart" uri="{C3380CC4-5D6E-409C-BE32-E72D297353CC}">
                <c16:uniqueId val="{00000015-FA3E-4872-B6E1-C4ABDF5766E2}"/>
              </c:ext>
            </c:extLst>
          </c:dPt>
          <c:dPt>
            <c:idx val="10"/>
            <c:invertIfNegative val="1"/>
            <c:bubble3D val="0"/>
            <c:spPr>
              <a:solidFill>
                <a:srgbClr val="AEABAB"/>
              </a:solidFill>
            </c:spPr>
            <c:extLst>
              <c:ext xmlns:c16="http://schemas.microsoft.com/office/drawing/2014/chart" uri="{C3380CC4-5D6E-409C-BE32-E72D297353CC}">
                <c16:uniqueId val="{00000017-FA3E-4872-B6E1-C4ABDF5766E2}"/>
              </c:ext>
            </c:extLst>
          </c:dPt>
          <c:dPt>
            <c:idx val="11"/>
            <c:invertIfNegative val="1"/>
            <c:bubble3D val="0"/>
            <c:spPr>
              <a:solidFill>
                <a:srgbClr val="AEABAB"/>
              </a:solidFill>
            </c:spPr>
            <c:extLst>
              <c:ext xmlns:c16="http://schemas.microsoft.com/office/drawing/2014/chart" uri="{C3380CC4-5D6E-409C-BE32-E72D297353CC}">
                <c16:uniqueId val="{00000019-FA3E-4872-B6E1-C4ABDF5766E2}"/>
              </c:ext>
            </c:extLst>
          </c:dPt>
          <c:dPt>
            <c:idx val="12"/>
            <c:invertIfNegative val="1"/>
            <c:bubble3D val="0"/>
            <c:spPr>
              <a:solidFill>
                <a:srgbClr val="AEABAB"/>
              </a:solidFill>
            </c:spPr>
            <c:extLst>
              <c:ext xmlns:c16="http://schemas.microsoft.com/office/drawing/2014/chart" uri="{C3380CC4-5D6E-409C-BE32-E72D297353CC}">
                <c16:uniqueId val="{0000001B-FA3E-4872-B6E1-C4ABDF5766E2}"/>
              </c:ext>
            </c:extLst>
          </c:dPt>
          <c:dPt>
            <c:idx val="13"/>
            <c:invertIfNegative val="1"/>
            <c:bubble3D val="0"/>
            <c:spPr>
              <a:solidFill>
                <a:srgbClr val="AEABAB"/>
              </a:solidFill>
            </c:spPr>
            <c:extLst>
              <c:ext xmlns:c16="http://schemas.microsoft.com/office/drawing/2014/chart" uri="{C3380CC4-5D6E-409C-BE32-E72D297353CC}">
                <c16:uniqueId val="{0000001D-FA3E-4872-B6E1-C4ABDF5766E2}"/>
              </c:ext>
            </c:extLst>
          </c:dPt>
          <c:dPt>
            <c:idx val="14"/>
            <c:invertIfNegative val="1"/>
            <c:bubble3D val="0"/>
            <c:spPr>
              <a:solidFill>
                <a:srgbClr val="AEABAB"/>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16</c:f>
              <c:strCache>
                <c:ptCount val="15"/>
                <c:pt idx="0">
                  <c:v>Boursin Classique Fromage Frais A Tartiner Afh Boite 1X250Gr 1P</c:v>
                </c:pt>
                <c:pt idx="1">
                  <c:v>Boursin Classique Fromage Frais A Tartiner Afh 1X160Gr 10P</c:v>
                </c:pt>
                <c:pt idx="2">
                  <c:v>Boursin Classique Fromage Frais A Tartiner Afh Boite 1X150Gr 1P</c:v>
                </c:pt>
                <c:pt idx="3">
                  <c:v>Boursin Onctueux Fromage Frais A Tartiner Afh 1X125Gr 1P</c:v>
                </c:pt>
                <c:pt idx="4">
                  <c:v>Boursin Classique Fromage Frais A Tartiner Afh Boite 1X96Gr 6P</c:v>
                </c:pt>
                <c:pt idx="5">
                  <c:v>Boursin Classique Fromage Frais A Tartiner Figue Et 3 Noix Boite 1X150Gr 1P</c:v>
                </c:pt>
                <c:pt idx="6">
                  <c:v>Boursin Classique Fromage Frais A Tartiner Ciboulette &amp; Echalote Boite 1X150Gr 1P</c:v>
                </c:pt>
                <c:pt idx="7">
                  <c:v>Boursin Classique Fromage Frais A Tartiner Afh 1X256Gr 16P</c:v>
                </c:pt>
                <c:pt idx="8">
                  <c:v>Boursin Classique Fromage Frais A Tartiner Poivre Boite 1X150Gr 1P</c:v>
                </c:pt>
                <c:pt idx="9">
                  <c:v>Kiri Delicieusement Fouette Fromage Frais A Tartiner 1X125Gr 1P</c:v>
                </c:pt>
                <c:pt idx="10">
                  <c:v>Boursin Classique Fromage Frais A Tartiner Ciboulette &amp; Echalote 1X160Gr 10P</c:v>
                </c:pt>
                <c:pt idx="11">
                  <c:v>Kiri Delicieusement Fouette Fromage Frais A Tartiner 1X160Gr 10P</c:v>
                </c:pt>
                <c:pt idx="12">
                  <c:v>Boursin Classique Fromage Frais A Tartiner Afh Boite 1X80Gr 1P</c:v>
                </c:pt>
                <c:pt idx="13">
                  <c:v>Boursin Classique Fromage Frais A Tartiner Truffe Boite 1X150Gr 1P</c:v>
                </c:pt>
                <c:pt idx="14">
                  <c:v>Kiri Delicieusement Fouette Fromage Frais A Tartiner 1X210Gr 1P</c:v>
                </c:pt>
              </c:strCache>
            </c:strRef>
          </c:cat>
          <c:val>
            <c:numRef>
              <c:f>Sheet1!$C$2:$C$16</c:f>
              <c:numCache>
                <c:formatCode>General</c:formatCode>
                <c:ptCount val="15"/>
                <c:pt idx="0">
                  <c:v>0.1894486814337724</c:v>
                </c:pt>
                <c:pt idx="1">
                  <c:v>0.37149142105353333</c:v>
                </c:pt>
                <c:pt idx="2">
                  <c:v>0.5347293586359426</c:v>
                </c:pt>
                <c:pt idx="3">
                  <c:v>0.6131556240246226</c:v>
                </c:pt>
                <c:pt idx="4">
                  <c:v>0.6853099462701715</c:v>
                </c:pt>
                <c:pt idx="5">
                  <c:v>0.7521685685424413</c:v>
                </c:pt>
                <c:pt idx="6">
                  <c:v>0.8085016818139896</c:v>
                </c:pt>
                <c:pt idx="7">
                  <c:v>0.857550883667758</c:v>
                </c:pt>
                <c:pt idx="8">
                  <c:v>0.9036027310019907</c:v>
                </c:pt>
                <c:pt idx="9">
                  <c:v>0.9389327635300632</c:v>
                </c:pt>
                <c:pt idx="10">
                  <c:v>0.9718889904340563</c:v>
                </c:pt>
                <c:pt idx="11">
                  <c:v>0.9904148267933911</c:v>
                </c:pt>
                <c:pt idx="12">
                  <c:v>0.9957445202975099</c:v>
                </c:pt>
                <c:pt idx="13">
                  <c:v>0.9987097951311057</c:v>
                </c:pt>
                <c:pt idx="14">
                  <c:v>1.0</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16</c:f>
              <c:strCache>
                <c:ptCount val="15"/>
                <c:pt idx="0">
                  <c:v>Boursin Classique Fromage Frais A Tartiner Afh Boite 1X250Gr 1P</c:v>
                </c:pt>
                <c:pt idx="1">
                  <c:v>Boursin Classique Fromage Frais A Tartiner Afh 1X160Gr 10P</c:v>
                </c:pt>
                <c:pt idx="2">
                  <c:v>Boursin Classique Fromage Frais A Tartiner Afh Boite 1X150Gr 1P</c:v>
                </c:pt>
                <c:pt idx="3">
                  <c:v>Boursin Onctueux Fromage Frais A Tartiner Afh 1X125Gr 1P</c:v>
                </c:pt>
                <c:pt idx="4">
                  <c:v>Boursin Classique Fromage Frais A Tartiner Afh Boite 1X96Gr 6P</c:v>
                </c:pt>
                <c:pt idx="5">
                  <c:v>Boursin Classique Fromage Frais A Tartiner Figue Et 3 Noix Boite 1X150Gr 1P</c:v>
                </c:pt>
                <c:pt idx="6">
                  <c:v>Boursin Classique Fromage Frais A Tartiner Ciboulette &amp; Echalote Boite 1X150Gr 1P</c:v>
                </c:pt>
                <c:pt idx="7">
                  <c:v>Boursin Classique Fromage Frais A Tartiner Afh 1X256Gr 16P</c:v>
                </c:pt>
                <c:pt idx="8">
                  <c:v>Boursin Classique Fromage Frais A Tartiner Poivre Boite 1X150Gr 1P</c:v>
                </c:pt>
                <c:pt idx="9">
                  <c:v>Kiri Delicieusement Fouette Fromage Frais A Tartiner 1X125Gr 1P</c:v>
                </c:pt>
                <c:pt idx="10">
                  <c:v>Boursin Classique Fromage Frais A Tartiner Ciboulette &amp; Echalote 1X160Gr 10P</c:v>
                </c:pt>
                <c:pt idx="11">
                  <c:v>Kiri Delicieusement Fouette Fromage Frais A Tartiner 1X160Gr 10P</c:v>
                </c:pt>
                <c:pt idx="12">
                  <c:v>Boursin Classique Fromage Frais A Tartiner Afh Boite 1X80Gr 1P</c:v>
                </c:pt>
                <c:pt idx="13">
                  <c:v>Boursin Classique Fromage Frais A Tartiner Truffe Boite 1X150Gr 1P</c:v>
                </c:pt>
                <c:pt idx="14">
                  <c:v>Kiri Delicieusement Fouette Fromage Frais A Tartiner 1X210Gr 1P</c:v>
                </c:pt>
              </c:strCache>
            </c:strRef>
          </c:cat>
          <c:val>
            <c:numRef>
              <c:f>Sheet1!$D$2:$D$16</c:f>
              <c:numCache>
                <c:formatCode>General</c:formatCode>
                <c:ptCount val="15"/>
                <c:pt idx="0">
                  <c:v>20997.565656565657</c:v>
                </c:pt>
                <c:pt idx="1">
                  <c:v>20176.727272727272</c:v>
                </c:pt>
                <c:pt idx="2">
                  <c:v>17911.57</c:v>
                </c:pt>
                <c:pt idx="3">
                  <c:v>8871.60824742268</c:v>
                </c:pt>
                <c:pt idx="4">
                  <c:v>8247.145833333334</c:v>
                </c:pt>
                <c:pt idx="5">
                  <c:v>7410.282828282829</c:v>
                </c:pt>
                <c:pt idx="6">
                  <c:v>6243.686868686868</c:v>
                </c:pt>
                <c:pt idx="7">
                  <c:v>6186.218390804598</c:v>
                </c:pt>
                <c:pt idx="8">
                  <c:v>5263.666666666667</c:v>
                </c:pt>
                <c:pt idx="9">
                  <c:v>4455.919540229885</c:v>
                </c:pt>
                <c:pt idx="10">
                  <c:v>4356.843373493976</c:v>
                </c:pt>
                <c:pt idx="11">
                  <c:v>2162.531914893617</c:v>
                </c:pt>
                <c:pt idx="12">
                  <c:v>2016.586206896552</c:v>
                </c:pt>
                <c:pt idx="13">
                  <c:v>464.8142857142857</c:v>
                </c:pt>
                <c:pt idx="14">
                  <c:v>372.55263157894734</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16</c:f>
              <c:strCache>
                <c:ptCount val="15"/>
                <c:pt idx="0">
                  <c:v>Boursin Classique Fromage Frais A Tartiner Afh Boite 1X250Gr 1P</c:v>
                </c:pt>
                <c:pt idx="1">
                  <c:v>Boursin Classique Fromage Frais A Tartiner Afh 1X160Gr 10P</c:v>
                </c:pt>
                <c:pt idx="2">
                  <c:v>Boursin Classique Fromage Frais A Tartiner Afh Boite 1X150Gr 1P</c:v>
                </c:pt>
                <c:pt idx="3">
                  <c:v>Boursin Classique Fromage Frais A Tartiner Afh 1X256Gr 16P</c:v>
                </c:pt>
                <c:pt idx="4">
                  <c:v>Boursin Onctueux Fromage Frais A Tartiner Afh 1X125Gr 1P</c:v>
                </c:pt>
                <c:pt idx="5">
                  <c:v>Boursin Classique Fromage Frais A Tartiner Afh Boite 1X96Gr 6P</c:v>
                </c:pt>
                <c:pt idx="6">
                  <c:v>Boursin Classique Fromage Frais A Tartiner Figue Et 3 Noix Boite 1X150Gr 1P</c:v>
                </c:pt>
                <c:pt idx="7">
                  <c:v>Boursin Classique Fromage Frais A Tartiner Ciboulette &amp; Echalote Boite 1X150Gr 1P</c:v>
                </c:pt>
                <c:pt idx="8">
                  <c:v>Boursin Classique Fromage Frais A Tartiner Poivre Boite 1X150Gr 1P</c:v>
                </c:pt>
                <c:pt idx="9">
                  <c:v>Kiri Delicieusement Fouette Fromage Frais A Tartiner 1X125Gr 1P</c:v>
                </c:pt>
                <c:pt idx="10">
                  <c:v>Boursin Classique Fromage Frais A Tartiner Ciboulette &amp; Echalote 1X160Gr 10P</c:v>
                </c:pt>
                <c:pt idx="11">
                  <c:v>Kiri Delicieusement Fouette Fromage Frais A Tartiner 1X160Gr 10P</c:v>
                </c:pt>
                <c:pt idx="12">
                  <c:v>Boursin Classique Fromage Frais A Tartiner Afh Boite 1X80Gr 1P</c:v>
                </c:pt>
                <c:pt idx="13">
                  <c:v>Boursin Classique Fromage Frais A Tartiner Truffe Boite 1X150Gr 1P</c:v>
                </c:pt>
                <c:pt idx="14">
                  <c:v>Kiri Delicieusement Fouette Fromage Frais A Tartiner 1X210Gr 1P</c:v>
                </c:pt>
              </c:strCache>
            </c:strRef>
          </c:cat>
          <c:val>
            <c:numRef>
              <c:f>Sheet1!$B$2:$B$16</c:f>
              <c:numCache>
                <c:formatCode>General</c:formatCode>
                <c:ptCount val="15"/>
                <c:pt idx="0">
                  <c:v>1.0</c:v>
                </c:pt>
                <c:pt idx="1">
                  <c:v>1.0</c:v>
                </c:pt>
                <c:pt idx="2">
                  <c:v>1.0</c:v>
                </c:pt>
                <c:pt idx="3">
                  <c:v>0.99</c:v>
                </c:pt>
                <c:pt idx="4">
                  <c:v>0.99</c:v>
                </c:pt>
                <c:pt idx="5">
                  <c:v>0.99</c:v>
                </c:pt>
                <c:pt idx="6">
                  <c:v>1.0</c:v>
                </c:pt>
                <c:pt idx="7">
                  <c:v>1.0</c:v>
                </c:pt>
                <c:pt idx="8">
                  <c:v>0.99</c:v>
                </c:pt>
                <c:pt idx="9">
                  <c:v>0.99</c:v>
                </c:pt>
                <c:pt idx="10">
                  <c:v>0.98</c:v>
                </c:pt>
                <c:pt idx="11">
                  <c:v>0.98</c:v>
                </c:pt>
                <c:pt idx="12">
                  <c:v>0.7</c:v>
                </c:pt>
                <c:pt idx="13">
                  <c:v>0.92</c:v>
                </c:pt>
                <c:pt idx="14">
                  <c:v>0.64</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7ECAC4"/>
              </a:solidFill>
            </c:spPr>
            <c:extLst>
              <c:ext xmlns:c16="http://schemas.microsoft.com/office/drawing/2014/chart" uri="{C3380CC4-5D6E-409C-BE32-E72D297353CC}">
                <c16:uniqueId val="{00000011-FA3E-4872-B6E1-C4ABDF5766E2}"/>
              </c:ext>
            </c:extLst>
          </c:dPt>
          <c:dPt>
            <c:idx val="8"/>
            <c:invertIfNegative val="1"/>
            <c:bubble3D val="0"/>
            <c:spPr>
              <a:solidFill>
                <a:srgbClr val="7ECAC4"/>
              </a:solidFill>
            </c:spPr>
            <c:extLst>
              <c:ext xmlns:c16="http://schemas.microsoft.com/office/drawing/2014/chart" uri="{C3380CC4-5D6E-409C-BE32-E72D297353CC}">
                <c16:uniqueId val="{00000013-FA3E-4872-B6E1-C4ABDF5766E2}"/>
              </c:ext>
            </c:extLst>
          </c:dPt>
          <c:dPt>
            <c:idx val="9"/>
            <c:invertIfNegative val="1"/>
            <c:bubble3D val="0"/>
            <c:spPr>
              <a:solidFill>
                <a:srgbClr val="7ECAC4"/>
              </a:solidFill>
            </c:spPr>
            <c:extLst>
              <c:ext xmlns:c16="http://schemas.microsoft.com/office/drawing/2014/chart" uri="{C3380CC4-5D6E-409C-BE32-E72D297353CC}">
                <c16:uniqueId val="{00000015-FA3E-4872-B6E1-C4ABDF5766E2}"/>
              </c:ext>
            </c:extLst>
          </c:dPt>
          <c:dPt>
            <c:idx val="10"/>
            <c:invertIfNegative val="1"/>
            <c:bubble3D val="0"/>
            <c:spPr>
              <a:solidFill>
                <a:srgbClr val="AEABAB"/>
              </a:solidFill>
            </c:spPr>
            <c:extLst>
              <c:ext xmlns:c16="http://schemas.microsoft.com/office/drawing/2014/chart" uri="{C3380CC4-5D6E-409C-BE32-E72D297353CC}">
                <c16:uniqueId val="{00000017-FA3E-4872-B6E1-C4ABDF5766E2}"/>
              </c:ext>
            </c:extLst>
          </c:dPt>
          <c:dPt>
            <c:idx val="11"/>
            <c:invertIfNegative val="1"/>
            <c:bubble3D val="0"/>
            <c:spPr>
              <a:solidFill>
                <a:srgbClr val="AEABAB"/>
              </a:solidFill>
            </c:spPr>
            <c:extLst>
              <c:ext xmlns:c16="http://schemas.microsoft.com/office/drawing/2014/chart" uri="{C3380CC4-5D6E-409C-BE32-E72D297353CC}">
                <c16:uniqueId val="{00000019-FA3E-4872-B6E1-C4ABDF5766E2}"/>
              </c:ext>
            </c:extLst>
          </c:dPt>
          <c:dPt>
            <c:idx val="12"/>
            <c:invertIfNegative val="1"/>
            <c:bubble3D val="0"/>
            <c:spPr>
              <a:solidFill>
                <a:srgbClr val="AEABAB"/>
              </a:solidFill>
            </c:spPr>
            <c:extLst>
              <c:ext xmlns:c16="http://schemas.microsoft.com/office/drawing/2014/chart" uri="{C3380CC4-5D6E-409C-BE32-E72D297353CC}">
                <c16:uniqueId val="{0000001B-FA3E-4872-B6E1-C4ABDF5766E2}"/>
              </c:ext>
            </c:extLst>
          </c:dPt>
          <c:dPt>
            <c:idx val="13"/>
            <c:invertIfNegative val="1"/>
            <c:bubble3D val="0"/>
            <c:spPr>
              <a:solidFill>
                <a:srgbClr val="AEABAB"/>
              </a:solidFill>
            </c:spPr>
            <c:extLst>
              <c:ext xmlns:c16="http://schemas.microsoft.com/office/drawing/2014/chart" uri="{C3380CC4-5D6E-409C-BE32-E72D297353CC}">
                <c16:uniqueId val="{0000001D-FA3E-4872-B6E1-C4ABDF5766E2}"/>
              </c:ext>
            </c:extLst>
          </c:dPt>
          <c:dPt>
            <c:idx val="14"/>
            <c:invertIfNegative val="1"/>
            <c:bubble3D val="0"/>
            <c:spPr>
              <a:solidFill>
                <a:srgbClr val="AEABAB"/>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16</c:f>
              <c:strCache>
                <c:ptCount val="15"/>
                <c:pt idx="0">
                  <c:v>Boursin Classique Fromage Frais A Tartiner Afh Boite 1X250Gr 1P</c:v>
                </c:pt>
                <c:pt idx="1">
                  <c:v>Boursin Classique Fromage Frais A Tartiner Afh 1X160Gr 10P</c:v>
                </c:pt>
                <c:pt idx="2">
                  <c:v>Boursin Classique Fromage Frais A Tartiner Afh Boite 1X150Gr 1P</c:v>
                </c:pt>
                <c:pt idx="3">
                  <c:v>Boursin Classique Fromage Frais A Tartiner Afh 1X256Gr 16P</c:v>
                </c:pt>
                <c:pt idx="4">
                  <c:v>Boursin Onctueux Fromage Frais A Tartiner Afh 1X125Gr 1P</c:v>
                </c:pt>
                <c:pt idx="5">
                  <c:v>Boursin Classique Fromage Frais A Tartiner Afh Boite 1X96Gr 6P</c:v>
                </c:pt>
                <c:pt idx="6">
                  <c:v>Boursin Classique Fromage Frais A Tartiner Figue Et 3 Noix Boite 1X150Gr 1P</c:v>
                </c:pt>
                <c:pt idx="7">
                  <c:v>Boursin Classique Fromage Frais A Tartiner Ciboulette &amp; Echalote Boite 1X150Gr 1P</c:v>
                </c:pt>
                <c:pt idx="8">
                  <c:v>Boursin Classique Fromage Frais A Tartiner Poivre Boite 1X150Gr 1P</c:v>
                </c:pt>
                <c:pt idx="9">
                  <c:v>Kiri Delicieusement Fouette Fromage Frais A Tartiner 1X125Gr 1P</c:v>
                </c:pt>
                <c:pt idx="10">
                  <c:v>Boursin Classique Fromage Frais A Tartiner Ciboulette &amp; Echalote 1X160Gr 10P</c:v>
                </c:pt>
                <c:pt idx="11">
                  <c:v>Kiri Delicieusement Fouette Fromage Frais A Tartiner 1X160Gr 10P</c:v>
                </c:pt>
                <c:pt idx="12">
                  <c:v>Boursin Classique Fromage Frais A Tartiner Afh Boite 1X80Gr 1P</c:v>
                </c:pt>
                <c:pt idx="13">
                  <c:v>Boursin Classique Fromage Frais A Tartiner Truffe Boite 1X150Gr 1P</c:v>
                </c:pt>
                <c:pt idx="14">
                  <c:v>Kiri Delicieusement Fouette Fromage Frais A Tartiner 1X210Gr 1P</c:v>
                </c:pt>
              </c:strCache>
            </c:strRef>
          </c:cat>
          <c:val>
            <c:numRef>
              <c:f>Sheet1!$C$2:$C$16</c:f>
              <c:numCache>
                <c:formatCode>General</c:formatCode>
                <c:ptCount val="15"/>
                <c:pt idx="0">
                  <c:v>0.20428442488999377</c:v>
                </c:pt>
                <c:pt idx="1">
                  <c:v>0.37936991054470104</c:v>
                </c:pt>
                <c:pt idx="2">
                  <c:v>0.5289146100354004</c:v>
                </c:pt>
                <c:pt idx="3">
                  <c:v>0.5995239417147569</c:v>
                </c:pt>
                <c:pt idx="4">
                  <c:v>0.6680854054145651</c:v>
                </c:pt>
                <c:pt idx="5">
                  <c:v>0.7353759848729889</c:v>
                </c:pt>
                <c:pt idx="6">
                  <c:v>0.7930183102024096</c:v>
                </c:pt>
                <c:pt idx="7">
                  <c:v>0.8420041694970839</c:v>
                </c:pt>
                <c:pt idx="8">
                  <c:v>0.8858591451584047</c:v>
                </c:pt>
                <c:pt idx="9">
                  <c:v>0.9239742095224617</c:v>
                </c:pt>
                <c:pt idx="10">
                  <c:v>0.9603548906865119</c:v>
                </c:pt>
                <c:pt idx="11">
                  <c:v>0.9835417998810853</c:v>
                </c:pt>
                <c:pt idx="12">
                  <c:v>0.9942371629477937</c:v>
                </c:pt>
                <c:pt idx="13">
                  <c:v>0.9981435122356251</c:v>
                </c:pt>
                <c:pt idx="14">
                  <c:v>1.000000000000000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16</c:f>
              <c:strCache>
                <c:ptCount val="15"/>
                <c:pt idx="0">
                  <c:v>Boursin Classique Fromage Frais A Tartiner Afh Boite 1X250Gr 1P</c:v>
                </c:pt>
                <c:pt idx="1">
                  <c:v>Boursin Classique Fromage Frais A Tartiner Afh 1X160Gr 10P</c:v>
                </c:pt>
                <c:pt idx="2">
                  <c:v>Boursin Classique Fromage Frais A Tartiner Afh Boite 1X150Gr 1P</c:v>
                </c:pt>
                <c:pt idx="3">
                  <c:v>Boursin Classique Fromage Frais A Tartiner Afh 1X256Gr 16P</c:v>
                </c:pt>
                <c:pt idx="4">
                  <c:v>Boursin Onctueux Fromage Frais A Tartiner Afh 1X125Gr 1P</c:v>
                </c:pt>
                <c:pt idx="5">
                  <c:v>Boursin Classique Fromage Frais A Tartiner Afh Boite 1X96Gr 6P</c:v>
                </c:pt>
                <c:pt idx="6">
                  <c:v>Boursin Classique Fromage Frais A Tartiner Figue Et 3 Noix Boite 1X150Gr 1P</c:v>
                </c:pt>
                <c:pt idx="7">
                  <c:v>Boursin Classique Fromage Frais A Tartiner Ciboulette &amp; Echalote Boite 1X150Gr 1P</c:v>
                </c:pt>
                <c:pt idx="8">
                  <c:v>Boursin Classique Fromage Frais A Tartiner Poivre Boite 1X150Gr 1P</c:v>
                </c:pt>
                <c:pt idx="9">
                  <c:v>Kiri Delicieusement Fouette Fromage Frais A Tartiner 1X125Gr 1P</c:v>
                </c:pt>
                <c:pt idx="10">
                  <c:v>Boursin Classique Fromage Frais A Tartiner Ciboulette &amp; Echalote 1X160Gr 10P</c:v>
                </c:pt>
                <c:pt idx="11">
                  <c:v>Kiri Delicieusement Fouette Fromage Frais A Tartiner 1X160Gr 10P</c:v>
                </c:pt>
                <c:pt idx="12">
                  <c:v>Boursin Classique Fromage Frais A Tartiner Afh Boite 1X80Gr 1P</c:v>
                </c:pt>
                <c:pt idx="13">
                  <c:v>Boursin Classique Fromage Frais A Tartiner Truffe Boite 1X150Gr 1P</c:v>
                </c:pt>
                <c:pt idx="14">
                  <c:v>Kiri Delicieusement Fouette Fromage Frais A Tartiner 1X210Gr 1P</c:v>
                </c:pt>
              </c:strCache>
            </c:strRef>
          </c:cat>
          <c:val>
            <c:numRef>
              <c:f>Sheet1!$D$2:$D$16</c:f>
              <c:numCache>
                <c:formatCode>General</c:formatCode>
                <c:ptCount val="15"/>
                <c:pt idx="0">
                  <c:v>4098.92</c:v>
                </c:pt>
                <c:pt idx="1">
                  <c:v>3513.05</c:v>
                </c:pt>
                <c:pt idx="2">
                  <c:v>3000.58</c:v>
                </c:pt>
                <c:pt idx="3">
                  <c:v>1431.0707070707072</c:v>
                </c:pt>
                <c:pt idx="4">
                  <c:v>1389.5656565656566</c:v>
                </c:pt>
                <c:pt idx="5">
                  <c:v>1363.8080808080808</c:v>
                </c:pt>
                <c:pt idx="6">
                  <c:v>1156.58</c:v>
                </c:pt>
                <c:pt idx="7">
                  <c:v>982.89</c:v>
                </c:pt>
                <c:pt idx="8">
                  <c:v>888.8282828282828</c:v>
                </c:pt>
                <c:pt idx="9">
                  <c:v>772.4949494949495</c:v>
                </c:pt>
                <c:pt idx="10">
                  <c:v>744.8673469387755</c:v>
                </c:pt>
                <c:pt idx="11">
                  <c:v>474.734693877551</c:v>
                </c:pt>
                <c:pt idx="12">
                  <c:v>306.57142857142856</c:v>
                </c:pt>
                <c:pt idx="13">
                  <c:v>85.19565217391305</c:v>
                </c:pt>
                <c:pt idx="14">
                  <c:v>58.203125</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President</c:v>
                </c:pt>
                <c:pt idx="2">
                  <c:v>St Moret</c:v>
                </c:pt>
                <c:pt idx="3">
                  <c:v>Soignon</c:v>
                </c:pt>
                <c:pt idx="4">
                  <c:v>Galbani</c:v>
                </c:pt>
                <c:pt idx="5">
                  <c:v>Caprice Des Dieux</c:v>
                </c:pt>
                <c:pt idx="6">
                  <c:v>La Vache Qui Rit</c:v>
                </c:pt>
                <c:pt idx="7">
                  <c:v>Kiri</c:v>
                </c:pt>
                <c:pt idx="8">
                  <c:v>Boursin</c:v>
                </c:pt>
                <c:pt idx="9">
                  <c:v>Others</c:v>
                </c:pt>
              </c:strCache>
            </c:strRef>
          </c:cat>
          <c:val>
            <c:numRef>
              <c:f>Sheet1!$B$2:$B$11</c:f>
              <c:numCache>
                <c:formatCode>General</c:formatCode>
                <c:ptCount val="10"/>
                <c:pt idx="0">
                  <c:v>0.39570048654917467</c:v>
                </c:pt>
                <c:pt idx="1">
                  <c:v>0.05909701710376211</c:v>
                </c:pt>
                <c:pt idx="2">
                  <c:v>0.0507914742664007</c:v>
                </c:pt>
                <c:pt idx="3">
                  <c:v>0.05058033536990324</c:v>
                </c:pt>
                <c:pt idx="4">
                  <c:v>0.04440138201508698</c:v>
                </c:pt>
                <c:pt idx="5">
                  <c:v>0.043792548526618534</c:v>
                </c:pt>
                <c:pt idx="6">
                  <c:v>0.033171521970073774</c:v>
                </c:pt>
                <c:pt idx="7">
                  <c:v>0.028222541452103733</c:v>
                </c:pt>
                <c:pt idx="8">
                  <c:v>0.027641927310982382</c:v>
                </c:pt>
                <c:pt idx="9">
                  <c:v>0.26660076543589384</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President</c:v>
                </c:pt>
                <c:pt idx="2">
                  <c:v>St Moret</c:v>
                </c:pt>
                <c:pt idx="3">
                  <c:v>Soignon</c:v>
                </c:pt>
                <c:pt idx="4">
                  <c:v>Galbani</c:v>
                </c:pt>
                <c:pt idx="5">
                  <c:v>Caprice Des Dieux</c:v>
                </c:pt>
                <c:pt idx="6">
                  <c:v>La Vache Qui Rit</c:v>
                </c:pt>
                <c:pt idx="7">
                  <c:v>Kiri</c:v>
                </c:pt>
                <c:pt idx="8">
                  <c:v>Boursin</c:v>
                </c:pt>
                <c:pt idx="9">
                  <c:v>Others</c:v>
                </c:pt>
              </c:strCache>
            </c:strRef>
          </c:cat>
          <c:val>
            <c:numRef>
              <c:f>Sheet1!$C$2:$C$11</c:f>
              <c:numCache>
                <c:formatCode>General</c:formatCode>
                <c:ptCount val="10"/>
                <c:pt idx="0">
                  <c:v>0.28842164283711796</c:v>
                </c:pt>
                <c:pt idx="1">
                  <c:v>0.048892626857303056</c:v>
                </c:pt>
                <c:pt idx="2">
                  <c:v>0.03476310625175217</c:v>
                </c:pt>
                <c:pt idx="3">
                  <c:v>0.045977011494252866</c:v>
                </c:pt>
                <c:pt idx="4">
                  <c:v>0.04390243902439024</c:v>
                </c:pt>
                <c:pt idx="5">
                  <c:v>0.036893748247827304</c:v>
                </c:pt>
                <c:pt idx="6">
                  <c:v>0.028539388842164278</c:v>
                </c:pt>
                <c:pt idx="7">
                  <c:v>0.03694981777403981</c:v>
                </c:pt>
                <c:pt idx="8">
                  <c:v>0.06128399215026632</c:v>
                </c:pt>
                <c:pt idx="9">
                  <c:v>0.3743762265208858</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President</c:v>
                </c:pt>
                <c:pt idx="2">
                  <c:v>St Moret</c:v>
                </c:pt>
                <c:pt idx="3">
                  <c:v>Soignon</c:v>
                </c:pt>
                <c:pt idx="4">
                  <c:v>Galbani</c:v>
                </c:pt>
                <c:pt idx="5">
                  <c:v>Caprice Des Dieux</c:v>
                </c:pt>
                <c:pt idx="6">
                  <c:v>La Vache Qui Rit</c:v>
                </c:pt>
                <c:pt idx="7">
                  <c:v>Kiri</c:v>
                </c:pt>
                <c:pt idx="8">
                  <c:v>Boursin</c:v>
                </c:pt>
                <c:pt idx="9">
                  <c:v>Others</c:v>
                </c:pt>
              </c:strCache>
            </c:strRef>
          </c:cat>
          <c:val>
            <c:numRef>
              <c:f>Sheet1!$D$2:$D$11</c:f>
              <c:numCache>
                <c:formatCode>General</c:formatCode>
                <c:ptCount val="10"/>
                <c:pt idx="0">
                  <c:v>72.8888774821547</c:v>
                </c:pt>
                <c:pt idx="1">
                  <c:v>82.73281673668527</c:v>
                </c:pt>
                <c:pt idx="2">
                  <c:v>68.44279823306579</c:v>
                </c:pt>
                <c:pt idx="3">
                  <c:v>90.89898506606289</c:v>
                </c:pt>
                <c:pt idx="4">
                  <c:v>98.87628950259429</c:v>
                </c:pt>
                <c:pt idx="5">
                  <c:v>84.24663439124144</c:v>
                </c:pt>
                <c:pt idx="6">
                  <c:v>86.0358136955897</c:v>
                </c:pt>
                <c:pt idx="7">
                  <c:v>130.92307025838574</c:v>
                </c:pt>
                <c:pt idx="8">
                  <c:v>221.7066540288515</c:v>
                </c:pt>
                <c:pt idx="9">
                  <c:v>140.4257883163908</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16</c:f>
              <c:strCache>
                <c:ptCount val="15"/>
                <c:pt idx="0">
                  <c:v>Boursin Classique Fromage Frais A Tartiner Afh Boite 1X150Gr 1P</c:v>
                </c:pt>
                <c:pt idx="1">
                  <c:v>Boursin Classique Fromage Frais A Tartiner Afh 1X160Gr 10P</c:v>
                </c:pt>
                <c:pt idx="2">
                  <c:v>Boursin Classique Fromage Frais A Tartiner Afh Boite 1X250Gr 1P</c:v>
                </c:pt>
                <c:pt idx="3">
                  <c:v>Boursin Onctueux Fromage Frais A Tartiner Afh 1X125Gr 1P</c:v>
                </c:pt>
                <c:pt idx="4">
                  <c:v>Boursin Classique Fromage Frais A Tartiner Figue Et 3 Noix Boite 1X150Gr 1P</c:v>
                </c:pt>
                <c:pt idx="5">
                  <c:v>Boursin Classique Fromage Frais A Tartiner Afh Boite 1X96Gr 6P</c:v>
                </c:pt>
                <c:pt idx="6">
                  <c:v>Boursin Classique Fromage Frais A Tartiner Ciboulette &amp; Echalote Boite 1X150Gr 1P</c:v>
                </c:pt>
                <c:pt idx="7">
                  <c:v>Boursin Classique Fromage Frais A Tartiner Poivre Boite 1X150Gr 1P</c:v>
                </c:pt>
                <c:pt idx="8">
                  <c:v>Boursin Classique Fromage Frais A Tartiner Afh 1X256Gr 16P</c:v>
                </c:pt>
                <c:pt idx="9">
                  <c:v>Kiri Delicieusement Fouette Fromage Frais A Tartiner 1X125Gr 1P</c:v>
                </c:pt>
                <c:pt idx="10">
                  <c:v>Boursin Classique Fromage Frais A Tartiner Ciboulette &amp; Echalote 1X160Gr 10P</c:v>
                </c:pt>
                <c:pt idx="11">
                  <c:v>Kiri Delicieusement Fouette Fromage Frais A Tartiner 1X160Gr 10P</c:v>
                </c:pt>
                <c:pt idx="12">
                  <c:v>Boursin Classique Fromage Frais A Tartiner Afh Boite 1X80Gr 1P</c:v>
                </c:pt>
                <c:pt idx="13">
                  <c:v>Boursin Classique Fromage Frais A Tartiner Truffe Boite 1X150Gr 1P</c:v>
                </c:pt>
                <c:pt idx="14">
                  <c:v>Kiri Delicieusement Fouette Fromage Frais A Tartiner 1X210Gr 1P</c:v>
                </c:pt>
              </c:strCache>
            </c:strRef>
          </c:cat>
          <c:val>
            <c:numRef>
              <c:f>Sheet1!$B$2:$B$16</c:f>
              <c:numCache>
                <c:formatCode>General</c:formatCode>
                <c:ptCount val="15"/>
                <c:pt idx="0">
                  <c:v>0.98</c:v>
                </c:pt>
                <c:pt idx="1">
                  <c:v>0.9</c:v>
                </c:pt>
                <c:pt idx="2">
                  <c:v>0.89</c:v>
                </c:pt>
                <c:pt idx="3">
                  <c:v>0.81</c:v>
                </c:pt>
                <c:pt idx="4">
                  <c:v>0.89</c:v>
                </c:pt>
                <c:pt idx="5">
                  <c:v>0.74</c:v>
                </c:pt>
                <c:pt idx="6">
                  <c:v>0.83</c:v>
                </c:pt>
                <c:pt idx="7">
                  <c:v>0.75</c:v>
                </c:pt>
                <c:pt idx="8">
                  <c:v>0.64</c:v>
                </c:pt>
                <c:pt idx="9">
                  <c:v>0.44</c:v>
                </c:pt>
                <c:pt idx="10">
                  <c:v>0.46</c:v>
                </c:pt>
                <c:pt idx="11">
                  <c:v>0.5</c:v>
                </c:pt>
                <c:pt idx="12">
                  <c:v>0.12</c:v>
                </c:pt>
                <c:pt idx="13">
                  <c:v>0.33</c:v>
                </c:pt>
                <c:pt idx="14">
                  <c:v>0.01</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7ECAC4"/>
              </a:solidFill>
            </c:spPr>
            <c:extLst>
              <c:ext xmlns:c16="http://schemas.microsoft.com/office/drawing/2014/chart" uri="{C3380CC4-5D6E-409C-BE32-E72D297353CC}">
                <c16:uniqueId val="{0000000F-FA3E-4872-B6E1-C4ABDF5766E2}"/>
              </c:ext>
            </c:extLst>
          </c:dPt>
          <c:dPt>
            <c:idx val="7"/>
            <c:invertIfNegative val="1"/>
            <c:bubble3D val="0"/>
            <c:spPr>
              <a:solidFill>
                <a:srgbClr val="7ECAC4"/>
              </a:solidFill>
            </c:spPr>
            <c:extLst>
              <c:ext xmlns:c16="http://schemas.microsoft.com/office/drawing/2014/chart" uri="{C3380CC4-5D6E-409C-BE32-E72D297353CC}">
                <c16:uniqueId val="{00000011-FA3E-4872-B6E1-C4ABDF5766E2}"/>
              </c:ext>
            </c:extLst>
          </c:dPt>
          <c:dPt>
            <c:idx val="8"/>
            <c:invertIfNegative val="1"/>
            <c:bubble3D val="0"/>
            <c:spPr>
              <a:solidFill>
                <a:srgbClr val="7ECAC4"/>
              </a:solidFill>
            </c:spPr>
            <c:extLst>
              <c:ext xmlns:c16="http://schemas.microsoft.com/office/drawing/2014/chart" uri="{C3380CC4-5D6E-409C-BE32-E72D297353CC}">
                <c16:uniqueId val="{00000013-FA3E-4872-B6E1-C4ABDF5766E2}"/>
              </c:ext>
            </c:extLst>
          </c:dPt>
          <c:dPt>
            <c:idx val="9"/>
            <c:invertIfNegative val="1"/>
            <c:bubble3D val="0"/>
            <c:spPr>
              <a:solidFill>
                <a:srgbClr val="AEABAB"/>
              </a:solidFill>
            </c:spPr>
            <c:extLst>
              <c:ext xmlns:c16="http://schemas.microsoft.com/office/drawing/2014/chart" uri="{C3380CC4-5D6E-409C-BE32-E72D297353CC}">
                <c16:uniqueId val="{00000015-FA3E-4872-B6E1-C4ABDF5766E2}"/>
              </c:ext>
            </c:extLst>
          </c:dPt>
          <c:dPt>
            <c:idx val="10"/>
            <c:invertIfNegative val="1"/>
            <c:bubble3D val="0"/>
            <c:spPr>
              <a:solidFill>
                <a:srgbClr val="AEABAB"/>
              </a:solidFill>
            </c:spPr>
            <c:extLst>
              <c:ext xmlns:c16="http://schemas.microsoft.com/office/drawing/2014/chart" uri="{C3380CC4-5D6E-409C-BE32-E72D297353CC}">
                <c16:uniqueId val="{00000017-FA3E-4872-B6E1-C4ABDF5766E2}"/>
              </c:ext>
            </c:extLst>
          </c:dPt>
          <c:dPt>
            <c:idx val="11"/>
            <c:invertIfNegative val="1"/>
            <c:bubble3D val="0"/>
            <c:spPr>
              <a:solidFill>
                <a:srgbClr val="AEABAB"/>
              </a:solidFill>
            </c:spPr>
            <c:extLst>
              <c:ext xmlns:c16="http://schemas.microsoft.com/office/drawing/2014/chart" uri="{C3380CC4-5D6E-409C-BE32-E72D297353CC}">
                <c16:uniqueId val="{00000019-FA3E-4872-B6E1-C4ABDF5766E2}"/>
              </c:ext>
            </c:extLst>
          </c:dPt>
          <c:dPt>
            <c:idx val="12"/>
            <c:invertIfNegative val="1"/>
            <c:bubble3D val="0"/>
            <c:spPr>
              <a:solidFill>
                <a:srgbClr val="AEABAB"/>
              </a:solidFill>
            </c:spPr>
            <c:extLst>
              <c:ext xmlns:c16="http://schemas.microsoft.com/office/drawing/2014/chart" uri="{C3380CC4-5D6E-409C-BE32-E72D297353CC}">
                <c16:uniqueId val="{0000001B-FA3E-4872-B6E1-C4ABDF5766E2}"/>
              </c:ext>
            </c:extLst>
          </c:dPt>
          <c:dPt>
            <c:idx val="13"/>
            <c:invertIfNegative val="1"/>
            <c:bubble3D val="0"/>
            <c:spPr>
              <a:solidFill>
                <a:srgbClr val="AEABAB"/>
              </a:solidFill>
            </c:spPr>
            <c:extLst>
              <c:ext xmlns:c16="http://schemas.microsoft.com/office/drawing/2014/chart" uri="{C3380CC4-5D6E-409C-BE32-E72D297353CC}">
                <c16:uniqueId val="{0000001D-FA3E-4872-B6E1-C4ABDF5766E2}"/>
              </c:ext>
            </c:extLst>
          </c:dPt>
          <c:dPt>
            <c:idx val="14"/>
            <c:invertIfNegative val="1"/>
            <c:bubble3D val="0"/>
            <c:spPr>
              <a:solidFill>
                <a:srgbClr val="AEABAB"/>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16</c:f>
              <c:strCache>
                <c:ptCount val="15"/>
                <c:pt idx="0">
                  <c:v>Boursin Classique Fromage Frais A Tartiner Afh Boite 1X150Gr 1P</c:v>
                </c:pt>
                <c:pt idx="1">
                  <c:v>Boursin Classique Fromage Frais A Tartiner Afh 1X160Gr 10P</c:v>
                </c:pt>
                <c:pt idx="2">
                  <c:v>Boursin Classique Fromage Frais A Tartiner Afh Boite 1X250Gr 1P</c:v>
                </c:pt>
                <c:pt idx="3">
                  <c:v>Boursin Onctueux Fromage Frais A Tartiner Afh 1X125Gr 1P</c:v>
                </c:pt>
                <c:pt idx="4">
                  <c:v>Boursin Classique Fromage Frais A Tartiner Figue Et 3 Noix Boite 1X150Gr 1P</c:v>
                </c:pt>
                <c:pt idx="5">
                  <c:v>Boursin Classique Fromage Frais A Tartiner Afh Boite 1X96Gr 6P</c:v>
                </c:pt>
                <c:pt idx="6">
                  <c:v>Boursin Classique Fromage Frais A Tartiner Ciboulette &amp; Echalote Boite 1X150Gr 1P</c:v>
                </c:pt>
                <c:pt idx="7">
                  <c:v>Boursin Classique Fromage Frais A Tartiner Poivre Boite 1X150Gr 1P</c:v>
                </c:pt>
                <c:pt idx="8">
                  <c:v>Boursin Classique Fromage Frais A Tartiner Afh 1X256Gr 16P</c:v>
                </c:pt>
                <c:pt idx="9">
                  <c:v>Kiri Delicieusement Fouette Fromage Frais A Tartiner 1X125Gr 1P</c:v>
                </c:pt>
                <c:pt idx="10">
                  <c:v>Boursin Classique Fromage Frais A Tartiner Ciboulette &amp; Echalote 1X160Gr 10P</c:v>
                </c:pt>
                <c:pt idx="11">
                  <c:v>Kiri Delicieusement Fouette Fromage Frais A Tartiner 1X160Gr 10P</c:v>
                </c:pt>
                <c:pt idx="12">
                  <c:v>Boursin Classique Fromage Frais A Tartiner Afh Boite 1X80Gr 1P</c:v>
                </c:pt>
                <c:pt idx="13">
                  <c:v>Boursin Classique Fromage Frais A Tartiner Truffe Boite 1X150Gr 1P</c:v>
                </c:pt>
                <c:pt idx="14">
                  <c:v>Kiri Delicieusement Fouette Fromage Frais A Tartiner 1X210Gr 1P</c:v>
                </c:pt>
              </c:strCache>
            </c:strRef>
          </c:cat>
          <c:val>
            <c:numRef>
              <c:f>Sheet1!$C$2:$C$16</c:f>
              <c:numCache>
                <c:formatCode>General</c:formatCode>
                <c:ptCount val="15"/>
                <c:pt idx="0">
                  <c:v>0.19644823126963257</c:v>
                </c:pt>
                <c:pt idx="1">
                  <c:v>0.38848009768756586</c:v>
                </c:pt>
                <c:pt idx="2">
                  <c:v>0.519270466986758</c:v>
                </c:pt>
                <c:pt idx="3">
                  <c:v>0.6239236237019045</c:v>
                </c:pt>
                <c:pt idx="4">
                  <c:v>0.711862638874933</c:v>
                </c:pt>
                <c:pt idx="5">
                  <c:v>0.7923008785764529</c:v>
                </c:pt>
                <c:pt idx="6">
                  <c:v>0.8599028803851583</c:v>
                </c:pt>
                <c:pt idx="7">
                  <c:v>0.9069952991135598</c:v>
                </c:pt>
                <c:pt idx="8">
                  <c:v>0.9351765890612647</c:v>
                </c:pt>
                <c:pt idx="9">
                  <c:v>0.9623519504746761</c:v>
                </c:pt>
                <c:pt idx="10">
                  <c:v>0.9813460874731864</c:v>
                </c:pt>
                <c:pt idx="11">
                  <c:v>0.9929017051635483</c:v>
                </c:pt>
                <c:pt idx="12">
                  <c:v>0.9977145434766466</c:v>
                </c:pt>
                <c:pt idx="13">
                  <c:v>0.9999863473325967</c:v>
                </c:pt>
                <c:pt idx="14">
                  <c:v>1.000000000000000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16</c:f>
              <c:strCache>
                <c:ptCount val="15"/>
                <c:pt idx="0">
                  <c:v>Boursin Classique Fromage Frais A Tartiner Afh Boite 1X150Gr 1P</c:v>
                </c:pt>
                <c:pt idx="1">
                  <c:v>Boursin Classique Fromage Frais A Tartiner Afh 1X160Gr 10P</c:v>
                </c:pt>
                <c:pt idx="2">
                  <c:v>Boursin Classique Fromage Frais A Tartiner Afh Boite 1X250Gr 1P</c:v>
                </c:pt>
                <c:pt idx="3">
                  <c:v>Boursin Onctueux Fromage Frais A Tartiner Afh 1X125Gr 1P</c:v>
                </c:pt>
                <c:pt idx="4">
                  <c:v>Boursin Classique Fromage Frais A Tartiner Figue Et 3 Noix Boite 1X150Gr 1P</c:v>
                </c:pt>
                <c:pt idx="5">
                  <c:v>Boursin Classique Fromage Frais A Tartiner Afh Boite 1X96Gr 6P</c:v>
                </c:pt>
                <c:pt idx="6">
                  <c:v>Boursin Classique Fromage Frais A Tartiner Ciboulette &amp; Echalote Boite 1X150Gr 1P</c:v>
                </c:pt>
                <c:pt idx="7">
                  <c:v>Boursin Classique Fromage Frais A Tartiner Poivre Boite 1X150Gr 1P</c:v>
                </c:pt>
                <c:pt idx="8">
                  <c:v>Boursin Classique Fromage Frais A Tartiner Afh 1X256Gr 16P</c:v>
                </c:pt>
                <c:pt idx="9">
                  <c:v>Kiri Delicieusement Fouette Fromage Frais A Tartiner 1X125Gr 1P</c:v>
                </c:pt>
                <c:pt idx="10">
                  <c:v>Boursin Classique Fromage Frais A Tartiner Ciboulette &amp; Echalote 1X160Gr 10P</c:v>
                </c:pt>
                <c:pt idx="11">
                  <c:v>Kiri Delicieusement Fouette Fromage Frais A Tartiner 1X160Gr 10P</c:v>
                </c:pt>
                <c:pt idx="12">
                  <c:v>Boursin Classique Fromage Frais A Tartiner Afh Boite 1X80Gr 1P</c:v>
                </c:pt>
                <c:pt idx="13">
                  <c:v>Boursin Classique Fromage Frais A Tartiner Truffe Boite 1X150Gr 1P</c:v>
                </c:pt>
                <c:pt idx="14">
                  <c:v>Kiri Delicieusement Fouette Fromage Frais A Tartiner 1X210Gr 1P</c:v>
                </c:pt>
              </c:strCache>
            </c:strRef>
          </c:cat>
          <c:val>
            <c:numRef>
              <c:f>Sheet1!$D$2:$D$16</c:f>
              <c:numCache>
                <c:formatCode>General</c:formatCode>
                <c:ptCount val="15"/>
                <c:pt idx="0">
                  <c:v>3670.6632653061224</c:v>
                </c:pt>
                <c:pt idx="1">
                  <c:v>3907.088888888889</c:v>
                </c:pt>
                <c:pt idx="2">
                  <c:v>2690.9662921348313</c:v>
                </c:pt>
                <c:pt idx="3">
                  <c:v>2365.864197530864</c:v>
                </c:pt>
                <c:pt idx="4">
                  <c:v>1809.314606741573</c:v>
                </c:pt>
                <c:pt idx="5">
                  <c:v>1990.4594594594594</c:v>
                </c:pt>
                <c:pt idx="6">
                  <c:v>1491.433734939759</c:v>
                </c:pt>
                <c:pt idx="7">
                  <c:v>1149.7733333333333</c:v>
                </c:pt>
                <c:pt idx="8">
                  <c:v>806.3125</c:v>
                </c:pt>
                <c:pt idx="9">
                  <c:v>1130.9545454545455</c:v>
                </c:pt>
                <c:pt idx="10">
                  <c:v>756.1086956521739</c:v>
                </c:pt>
                <c:pt idx="11">
                  <c:v>423.2</c:v>
                </c:pt>
                <c:pt idx="12">
                  <c:v>734.4166666666666</c:v>
                </c:pt>
                <c:pt idx="13">
                  <c:v>126.06060606060606</c:v>
                </c:pt>
                <c:pt idx="14">
                  <c:v>25.0</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7</c:f>
              <c:strCache>
                <c:ptCount val="6"/>
                <c:pt idx="0">
                  <c:v>Boursin Salade &amp; Aperitif Fromage Frais Des Afh 1X120Gr 1P</c:v>
                </c:pt>
                <c:pt idx="1">
                  <c:v>Boursin Salade &amp; Aperitif Fromage Frais Des Ciboulette Echalote 1X120Gr 1P</c:v>
                </c:pt>
                <c:pt idx="2">
                  <c:v>Boursin Salade &amp; Aperitif Fromage Frais Des Figue Noix 1X120Gr 1P</c:v>
                </c:pt>
                <c:pt idx="3">
                  <c:v>Boursin Salade &amp; Aperitif Fromage Frais Des Citron Romarin 1X120Gr 1P</c:v>
                </c:pt>
                <c:pt idx="4">
                  <c:v>Boursin Salade &amp; Aperitif Fromage Frais Des Noisette Et 3 Noix 1X120Gr 1P</c:v>
                </c:pt>
                <c:pt idx="5">
                  <c:v>Boursin Salade &amp; Aperitif Soft Cheese Salade 120G</c:v>
                </c:pt>
              </c:strCache>
            </c:strRef>
          </c:cat>
          <c:val>
            <c:numRef>
              <c:f>Sheet1!$B$2:$B$7</c:f>
              <c:numCache>
                <c:formatCode>General</c:formatCode>
                <c:ptCount val="6"/>
                <c:pt idx="0">
                  <c:v>0.962</c:v>
                </c:pt>
                <c:pt idx="1">
                  <c:v>0.817</c:v>
                </c:pt>
                <c:pt idx="2">
                  <c:v>0.801</c:v>
                </c:pt>
                <c:pt idx="3">
                  <c:v>0.707</c:v>
                </c:pt>
                <c:pt idx="4">
                  <c:v>0.738</c:v>
                </c:pt>
                <c:pt idx="5">
                  <c:v>0.698</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7ECAC4"/>
              </a:solidFill>
            </c:spPr>
            <c:extLst>
              <c:ext xmlns:c16="http://schemas.microsoft.com/office/drawing/2014/chart" uri="{C3380CC4-5D6E-409C-BE32-E72D297353CC}">
                <c16:uniqueId val="{00000006-E902-46E2-9A54-39A26B3DFDC1}"/>
              </c:ext>
            </c:extLst>
          </c:dPt>
          <c:dPt>
            <c:idx val="3"/>
            <c:invertIfNegative val="0"/>
            <c:bubble3D val="0"/>
            <c:spPr>
              <a:solidFill>
                <a:srgbClr val="7ECAC4"/>
              </a:solidFill>
            </c:spPr>
            <c:extLst>
              <c:ext xmlns:c16="http://schemas.microsoft.com/office/drawing/2014/chart" uri="{C3380CC4-5D6E-409C-BE32-E72D297353CC}">
                <c16:uniqueId val="{00000007-E902-46E2-9A54-39A26B3DFDC1}"/>
              </c:ext>
            </c:extLst>
          </c:dPt>
          <c:dPt>
            <c:idx val="4"/>
            <c:invertIfNegative val="1"/>
            <c:bubble3D val="0"/>
            <c:spPr>
              <a:solidFill>
                <a:srgbClr val="AEABAB"/>
              </a:solidFill>
            </c:spPr>
            <c:extLst>
              <c:ext xmlns:c16="http://schemas.microsoft.com/office/drawing/2014/chart" uri="{C3380CC4-5D6E-409C-BE32-E72D297353CC}">
                <c16:uniqueId val="{0000000B-FA3E-4872-B6E1-C4ABDF5766E2}"/>
              </c:ext>
            </c:extLst>
          </c:dPt>
          <c:dPt>
            <c:idx val="5"/>
            <c:invertIfNegative val="1"/>
            <c:bubble3D val="0"/>
            <c:spPr>
              <a:solidFill>
                <a:srgbClr val="AEABAB"/>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7</c:f>
              <c:strCache>
                <c:ptCount val="6"/>
                <c:pt idx="0">
                  <c:v>Boursin Salade &amp; Aperitif Fromage Frais Des Afh 1X120Gr 1P</c:v>
                </c:pt>
                <c:pt idx="1">
                  <c:v>Boursin Salade &amp; Aperitif Fromage Frais Des Ciboulette Echalote 1X120Gr 1P</c:v>
                </c:pt>
                <c:pt idx="2">
                  <c:v>Boursin Salade &amp; Aperitif Fromage Frais Des Figue Noix 1X120Gr 1P</c:v>
                </c:pt>
                <c:pt idx="3">
                  <c:v>Boursin Salade &amp; Aperitif Fromage Frais Des Citron Romarin 1X120Gr 1P</c:v>
                </c:pt>
                <c:pt idx="4">
                  <c:v>Boursin Salade &amp; Aperitif Fromage Frais Des Noisette Et 3 Noix 1X120Gr 1P</c:v>
                </c:pt>
                <c:pt idx="5">
                  <c:v>Boursin Salade &amp; Aperitif Soft Cheese Salade 120G</c:v>
                </c:pt>
              </c:strCache>
            </c:strRef>
          </c:cat>
          <c:val>
            <c:numRef>
              <c:f>Sheet1!$C$2:$C$7</c:f>
              <c:numCache>
                <c:formatCode>General</c:formatCode>
                <c:ptCount val="6"/>
                <c:pt idx="0">
                  <c:v>0.6237010158516653</c:v>
                </c:pt>
                <c:pt idx="1">
                  <c:v>0.7625162465884119</c:v>
                </c:pt>
                <c:pt idx="2">
                  <c:v>0.8682962001360724</c:v>
                </c:pt>
                <c:pt idx="3">
                  <c:v>0.9219059535633011</c:v>
                </c:pt>
                <c:pt idx="4">
                  <c:v>0.9623589029740446</c:v>
                </c:pt>
                <c:pt idx="5">
                  <c:v>1.0</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7</c:f>
              <c:strCache>
                <c:ptCount val="6"/>
                <c:pt idx="0">
                  <c:v>Boursin Salade &amp; Aperitif Fromage Frais Des Afh 1X120Gr 1P</c:v>
                </c:pt>
                <c:pt idx="1">
                  <c:v>Boursin Salade &amp; Aperitif Fromage Frais Des Ciboulette Echalote 1X120Gr 1P</c:v>
                </c:pt>
                <c:pt idx="2">
                  <c:v>Boursin Salade &amp; Aperitif Fromage Frais Des Figue Noix 1X120Gr 1P</c:v>
                </c:pt>
                <c:pt idx="3">
                  <c:v>Boursin Salade &amp; Aperitif Fromage Frais Des Citron Romarin 1X120Gr 1P</c:v>
                </c:pt>
                <c:pt idx="4">
                  <c:v>Boursin Salade &amp; Aperitif Fromage Frais Des Noisette Et 3 Noix 1X120Gr 1P</c:v>
                </c:pt>
                <c:pt idx="5">
                  <c:v>Boursin Salade &amp; Aperitif Soft Cheese Salade 120G</c:v>
                </c:pt>
              </c:strCache>
            </c:strRef>
          </c:cat>
          <c:val>
            <c:numRef>
              <c:f>Sheet1!$D$2:$D$7</c:f>
              <c:numCache>
                <c:formatCode>General</c:formatCode>
                <c:ptCount val="6"/>
                <c:pt idx="0">
                  <c:v>20726.22661122661</c:v>
                </c:pt>
                <c:pt idx="1">
                  <c:v>5431.676866585068</c:v>
                </c:pt>
                <c:pt idx="2">
                  <c:v>4221.722846441947</c:v>
                </c:pt>
                <c:pt idx="3">
                  <c:v>2424.059405940594</c:v>
                </c:pt>
                <c:pt idx="4">
                  <c:v>1752.3170731707319</c:v>
                </c:pt>
                <c:pt idx="5">
                  <c:v>1723.9541547277938</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7</c:f>
              <c:strCache>
                <c:ptCount val="6"/>
                <c:pt idx="0">
                  <c:v>Boursin Salade &amp; Aperitif Fromage Frais Des Afh 1X120Gr 1P</c:v>
                </c:pt>
                <c:pt idx="1">
                  <c:v>Boursin Salade &amp; Aperitif Fromage Frais Des Ciboulette Echalote 1X120Gr 1P</c:v>
                </c:pt>
                <c:pt idx="2">
                  <c:v>Boursin Salade &amp; Aperitif Fromage Frais Des Figue Noix 1X120Gr 1P</c:v>
                </c:pt>
                <c:pt idx="3">
                  <c:v>Boursin Salade &amp; Aperitif Fromage Frais Des Citron Romarin 1X120Gr 1P</c:v>
                </c:pt>
                <c:pt idx="4">
                  <c:v>Boursin Salade &amp; Aperitif Fromage Frais Des Noisette Et 3 Noix 1X120Gr 1P</c:v>
                </c:pt>
                <c:pt idx="5">
                  <c:v>Boursin Salade &amp; Aperitif Soft Cheese Salade 120G</c:v>
                </c:pt>
              </c:strCache>
            </c:strRef>
          </c:cat>
          <c:val>
            <c:numRef>
              <c:f>Sheet1!$B$2:$B$7</c:f>
              <c:numCache>
                <c:formatCode>General</c:formatCode>
                <c:ptCount val="6"/>
                <c:pt idx="0">
                  <c:v>0.968</c:v>
                </c:pt>
                <c:pt idx="1">
                  <c:v>0.823</c:v>
                </c:pt>
                <c:pt idx="2">
                  <c:v>0.845</c:v>
                </c:pt>
                <c:pt idx="3">
                  <c:v>0.66</c:v>
                </c:pt>
                <c:pt idx="4">
                  <c:v>0.803</c:v>
                </c:pt>
                <c:pt idx="5">
                  <c:v>0.414</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7ECAC4"/>
              </a:solidFill>
            </c:spPr>
            <c:extLst>
              <c:ext xmlns:c16="http://schemas.microsoft.com/office/drawing/2014/chart" uri="{C3380CC4-5D6E-409C-BE32-E72D297353CC}">
                <c16:uniqueId val="{00000006-E902-46E2-9A54-39A26B3DFDC1}"/>
              </c:ext>
            </c:extLst>
          </c:dPt>
          <c:dPt>
            <c:idx val="3"/>
            <c:invertIfNegative val="0"/>
            <c:bubble3D val="0"/>
            <c:spPr>
              <a:solidFill>
                <a:srgbClr val="7ECAC4"/>
              </a:solidFill>
            </c:spPr>
            <c:extLst>
              <c:ext xmlns:c16="http://schemas.microsoft.com/office/drawing/2014/chart" uri="{C3380CC4-5D6E-409C-BE32-E72D297353CC}">
                <c16:uniqueId val="{00000007-E902-46E2-9A54-39A26B3DFDC1}"/>
              </c:ext>
            </c:extLst>
          </c:dPt>
          <c:dPt>
            <c:idx val="4"/>
            <c:invertIfNegative val="1"/>
            <c:bubble3D val="0"/>
            <c:spPr>
              <a:solidFill>
                <a:srgbClr val="AEABAB"/>
              </a:solidFill>
            </c:spPr>
            <c:extLst>
              <c:ext xmlns:c16="http://schemas.microsoft.com/office/drawing/2014/chart" uri="{C3380CC4-5D6E-409C-BE32-E72D297353CC}">
                <c16:uniqueId val="{0000000B-FA3E-4872-B6E1-C4ABDF5766E2}"/>
              </c:ext>
            </c:extLst>
          </c:dPt>
          <c:dPt>
            <c:idx val="5"/>
            <c:invertIfNegative val="1"/>
            <c:bubble3D val="0"/>
            <c:spPr>
              <a:solidFill>
                <a:srgbClr val="AEABAB"/>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7</c:f>
              <c:strCache>
                <c:ptCount val="6"/>
                <c:pt idx="0">
                  <c:v>Boursin Salade &amp; Aperitif Fromage Frais Des Afh 1X120Gr 1P</c:v>
                </c:pt>
                <c:pt idx="1">
                  <c:v>Boursin Salade &amp; Aperitif Fromage Frais Des Ciboulette Echalote 1X120Gr 1P</c:v>
                </c:pt>
                <c:pt idx="2">
                  <c:v>Boursin Salade &amp; Aperitif Fromage Frais Des Figue Noix 1X120Gr 1P</c:v>
                </c:pt>
                <c:pt idx="3">
                  <c:v>Boursin Salade &amp; Aperitif Fromage Frais Des Citron Romarin 1X120Gr 1P</c:v>
                </c:pt>
                <c:pt idx="4">
                  <c:v>Boursin Salade &amp; Aperitif Fromage Frais Des Noisette Et 3 Noix 1X120Gr 1P</c:v>
                </c:pt>
                <c:pt idx="5">
                  <c:v>Boursin Salade &amp; Aperitif Soft Cheese Salade 120G</c:v>
                </c:pt>
              </c:strCache>
            </c:strRef>
          </c:cat>
          <c:val>
            <c:numRef>
              <c:f>Sheet1!$C$2:$C$7</c:f>
              <c:numCache>
                <c:formatCode>General</c:formatCode>
                <c:ptCount val="6"/>
                <c:pt idx="0">
                  <c:v>0.6092660275380395</c:v>
                </c:pt>
                <c:pt idx="1">
                  <c:v>0.7622723508319038</c:v>
                </c:pt>
                <c:pt idx="2">
                  <c:v>0.8658415063550609</c:v>
                </c:pt>
                <c:pt idx="3">
                  <c:v>0.9252116960315842</c:v>
                </c:pt>
                <c:pt idx="4">
                  <c:v>0.9743590600997147</c:v>
                </c:pt>
                <c:pt idx="5">
                  <c:v>1.0</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7</c:f>
              <c:strCache>
                <c:ptCount val="6"/>
                <c:pt idx="0">
                  <c:v>Boursin Salade &amp; Aperitif Fromage Frais Des Afh 1X120Gr 1P</c:v>
                </c:pt>
                <c:pt idx="1">
                  <c:v>Boursin Salade &amp; Aperitif Fromage Frais Des Ciboulette Echalote 1X120Gr 1P</c:v>
                </c:pt>
                <c:pt idx="2">
                  <c:v>Boursin Salade &amp; Aperitif Fromage Frais Des Figue Noix 1X120Gr 1P</c:v>
                </c:pt>
                <c:pt idx="3">
                  <c:v>Boursin Salade &amp; Aperitif Fromage Frais Des Citron Romarin 1X120Gr 1P</c:v>
                </c:pt>
                <c:pt idx="4">
                  <c:v>Boursin Salade &amp; Aperitif Fromage Frais Des Noisette Et 3 Noix 1X120Gr 1P</c:v>
                </c:pt>
                <c:pt idx="5">
                  <c:v>Boursin Salade &amp; Aperitif Soft Cheese Salade 120G</c:v>
                </c:pt>
              </c:strCache>
            </c:strRef>
          </c:cat>
          <c:val>
            <c:numRef>
              <c:f>Sheet1!$D$2:$D$7</c:f>
              <c:numCache>
                <c:formatCode>General</c:formatCode>
                <c:ptCount val="6"/>
                <c:pt idx="0">
                  <c:v>11293.564049586777</c:v>
                </c:pt>
                <c:pt idx="1">
                  <c:v>3335.868772782503</c:v>
                </c:pt>
                <c:pt idx="2">
                  <c:v>2199.242603550296</c:v>
                </c:pt>
                <c:pt idx="3">
                  <c:v>1614.0757575757575</c:v>
                </c:pt>
                <c:pt idx="4">
                  <c:v>1098.206724782067</c:v>
                </c:pt>
                <c:pt idx="5">
                  <c:v>1111.304347826087</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7</c:f>
              <c:strCache>
                <c:ptCount val="6"/>
                <c:pt idx="0">
                  <c:v>Boursin Salade &amp; Aperitif Fromage Frais Des Afh 1X120Gr 1P</c:v>
                </c:pt>
                <c:pt idx="1">
                  <c:v>Boursin Salade &amp; Aperitif Fromage Frais Des Ciboulette Echalote 1X120Gr 1P</c:v>
                </c:pt>
                <c:pt idx="2">
                  <c:v>Boursin Salade &amp; Aperitif Fromage Frais Des Figue Noix 1X120Gr 1P</c:v>
                </c:pt>
                <c:pt idx="3">
                  <c:v>Boursin Salade &amp; Aperitif Fromage Frais Des Citron Romarin 1X120Gr 1P</c:v>
                </c:pt>
                <c:pt idx="4">
                  <c:v>Boursin Salade &amp; Aperitif Fromage Frais Des Noisette Et 3 Noix 1X120Gr 1P</c:v>
                </c:pt>
                <c:pt idx="5">
                  <c:v>Boursin Salade &amp; Aperitif Soft Cheese Salade 120G</c:v>
                </c:pt>
              </c:strCache>
            </c:strRef>
          </c:cat>
          <c:val>
            <c:numRef>
              <c:f>Sheet1!$B$2:$B$7</c:f>
              <c:numCache>
                <c:formatCode>General</c:formatCode>
                <c:ptCount val="6"/>
                <c:pt idx="0">
                  <c:v>1.0</c:v>
                </c:pt>
                <c:pt idx="1">
                  <c:v>1.0</c:v>
                </c:pt>
                <c:pt idx="2">
                  <c:v>1.0</c:v>
                </c:pt>
                <c:pt idx="3">
                  <c:v>0.95</c:v>
                </c:pt>
                <c:pt idx="4">
                  <c:v>0.96</c:v>
                </c:pt>
                <c:pt idx="5">
                  <c:v>0.94</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7ECAC4"/>
              </a:solidFill>
            </c:spPr>
            <c:extLst>
              <c:ext xmlns:c16="http://schemas.microsoft.com/office/drawing/2014/chart" uri="{C3380CC4-5D6E-409C-BE32-E72D297353CC}">
                <c16:uniqueId val="{00000006-E902-46E2-9A54-39A26B3DFDC1}"/>
              </c:ext>
            </c:extLst>
          </c:dPt>
          <c:dPt>
            <c:idx val="3"/>
            <c:invertIfNegative val="0"/>
            <c:bubble3D val="0"/>
            <c:spPr>
              <a:solidFill>
                <a:srgbClr val="7ECAC4"/>
              </a:solidFill>
            </c:spPr>
            <c:extLst>
              <c:ext xmlns:c16="http://schemas.microsoft.com/office/drawing/2014/chart" uri="{C3380CC4-5D6E-409C-BE32-E72D297353CC}">
                <c16:uniqueId val="{00000007-E902-46E2-9A54-39A26B3DFDC1}"/>
              </c:ext>
            </c:extLst>
          </c:dPt>
          <c:dPt>
            <c:idx val="4"/>
            <c:invertIfNegative val="1"/>
            <c:bubble3D val="0"/>
            <c:spPr>
              <a:solidFill>
                <a:srgbClr val="AEABAB"/>
              </a:solidFill>
            </c:spPr>
            <c:extLst>
              <c:ext xmlns:c16="http://schemas.microsoft.com/office/drawing/2014/chart" uri="{C3380CC4-5D6E-409C-BE32-E72D297353CC}">
                <c16:uniqueId val="{0000000B-FA3E-4872-B6E1-C4ABDF5766E2}"/>
              </c:ext>
            </c:extLst>
          </c:dPt>
          <c:dPt>
            <c:idx val="5"/>
            <c:invertIfNegative val="1"/>
            <c:bubble3D val="0"/>
            <c:spPr>
              <a:solidFill>
                <a:srgbClr val="AEABAB"/>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7</c:f>
              <c:strCache>
                <c:ptCount val="6"/>
                <c:pt idx="0">
                  <c:v>Boursin Salade &amp; Aperitif Fromage Frais Des Afh 1X120Gr 1P</c:v>
                </c:pt>
                <c:pt idx="1">
                  <c:v>Boursin Salade &amp; Aperitif Fromage Frais Des Ciboulette Echalote 1X120Gr 1P</c:v>
                </c:pt>
                <c:pt idx="2">
                  <c:v>Boursin Salade &amp; Aperitif Fromage Frais Des Figue Noix 1X120Gr 1P</c:v>
                </c:pt>
                <c:pt idx="3">
                  <c:v>Boursin Salade &amp; Aperitif Fromage Frais Des Citron Romarin 1X120Gr 1P</c:v>
                </c:pt>
                <c:pt idx="4">
                  <c:v>Boursin Salade &amp; Aperitif Fromage Frais Des Noisette Et 3 Noix 1X120Gr 1P</c:v>
                </c:pt>
                <c:pt idx="5">
                  <c:v>Boursin Salade &amp; Aperitif Soft Cheese Salade 120G</c:v>
                </c:pt>
              </c:strCache>
            </c:strRef>
          </c:cat>
          <c:val>
            <c:numRef>
              <c:f>Sheet1!$C$2:$C$7</c:f>
              <c:numCache>
                <c:formatCode>General</c:formatCode>
                <c:ptCount val="6"/>
                <c:pt idx="0">
                  <c:v>0.5076667028754985</c:v>
                </c:pt>
                <c:pt idx="1">
                  <c:v>0.7204109185146103</c:v>
                </c:pt>
                <c:pt idx="2">
                  <c:v>0.841672227308701</c:v>
                </c:pt>
                <c:pt idx="3">
                  <c:v>0.9039307273319781</c:v>
                </c:pt>
                <c:pt idx="4">
                  <c:v>0.9566875126084325</c:v>
                </c:pt>
                <c:pt idx="5">
                  <c:v>1.0</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7</c:f>
              <c:strCache>
                <c:ptCount val="6"/>
                <c:pt idx="0">
                  <c:v>Boursin Salade &amp; Aperitif Fromage Frais Des Afh 1X120Gr 1P</c:v>
                </c:pt>
                <c:pt idx="1">
                  <c:v>Boursin Salade &amp; Aperitif Fromage Frais Des Ciboulette Echalote 1X120Gr 1P</c:v>
                </c:pt>
                <c:pt idx="2">
                  <c:v>Boursin Salade &amp; Aperitif Fromage Frais Des Figue Noix 1X120Gr 1P</c:v>
                </c:pt>
                <c:pt idx="3">
                  <c:v>Boursin Salade &amp; Aperitif Fromage Frais Des Citron Romarin 1X120Gr 1P</c:v>
                </c:pt>
                <c:pt idx="4">
                  <c:v>Boursin Salade &amp; Aperitif Fromage Frais Des Noisette Et 3 Noix 1X120Gr 1P</c:v>
                </c:pt>
                <c:pt idx="5">
                  <c:v>Boursin Salade &amp; Aperitif Soft Cheese Salade 120G</c:v>
                </c:pt>
              </c:strCache>
            </c:strRef>
          </c:cat>
          <c:val>
            <c:numRef>
              <c:f>Sheet1!$D$2:$D$7</c:f>
              <c:numCache>
                <c:formatCode>General</c:formatCode>
                <c:ptCount val="6"/>
                <c:pt idx="0">
                  <c:v>6542.91</c:v>
                </c:pt>
                <c:pt idx="1">
                  <c:v>2741.89</c:v>
                </c:pt>
                <c:pt idx="2">
                  <c:v>1562.84</c:v>
                </c:pt>
                <c:pt idx="3">
                  <c:v>844.6315789473684</c:v>
                </c:pt>
                <c:pt idx="4">
                  <c:v>708.2708333333334</c:v>
                </c:pt>
                <c:pt idx="5">
                  <c:v>593.8510638297872</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7</c:f>
              <c:strCache>
                <c:ptCount val="6"/>
                <c:pt idx="0">
                  <c:v>Boursin Salade &amp; Aperitif Fromage Frais Des Afh 1X120Gr 1P</c:v>
                </c:pt>
                <c:pt idx="1">
                  <c:v>Boursin Salade &amp; Aperitif Fromage Frais Des Figue Noix 1X120Gr 1P</c:v>
                </c:pt>
                <c:pt idx="2">
                  <c:v>Boursin Salade &amp; Aperitif Fromage Frais Des Ciboulette Echalote 1X120Gr 1P</c:v>
                </c:pt>
                <c:pt idx="3">
                  <c:v>Boursin Salade &amp; Aperitif Fromage Frais Des Citron Romarin 1X120Gr 1P</c:v>
                </c:pt>
                <c:pt idx="4">
                  <c:v>Boursin Salade &amp; Aperitif Soft Cheese Salade 120G</c:v>
                </c:pt>
                <c:pt idx="5">
                  <c:v>Boursin Salade &amp; Aperitif Fromage Frais Des Noisette Et 3 Noix 1X120Gr 1P</c:v>
                </c:pt>
              </c:strCache>
            </c:strRef>
          </c:cat>
          <c:val>
            <c:numRef>
              <c:f>Sheet1!$B$2:$B$7</c:f>
              <c:numCache>
                <c:formatCode>General</c:formatCode>
                <c:ptCount val="6"/>
                <c:pt idx="0">
                  <c:v>0.99</c:v>
                </c:pt>
                <c:pt idx="1">
                  <c:v>0.91</c:v>
                </c:pt>
                <c:pt idx="2">
                  <c:v>0.95</c:v>
                </c:pt>
                <c:pt idx="3">
                  <c:v>0.72</c:v>
                </c:pt>
                <c:pt idx="4">
                  <c:v>0.71</c:v>
                </c:pt>
                <c:pt idx="5">
                  <c:v>0.7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7ECAC4"/>
              </a:solidFill>
            </c:spPr>
            <c:extLst>
              <c:ext xmlns:c16="http://schemas.microsoft.com/office/drawing/2014/chart" uri="{C3380CC4-5D6E-409C-BE32-E72D297353CC}">
                <c16:uniqueId val="{00000006-E902-46E2-9A54-39A26B3DFDC1}"/>
              </c:ext>
            </c:extLst>
          </c:dPt>
          <c:dPt>
            <c:idx val="3"/>
            <c:invertIfNegative val="0"/>
            <c:bubble3D val="0"/>
            <c:spPr>
              <a:solidFill>
                <a:srgbClr val="7ECAC4"/>
              </a:solidFill>
            </c:spPr>
            <c:extLst>
              <c:ext xmlns:c16="http://schemas.microsoft.com/office/drawing/2014/chart" uri="{C3380CC4-5D6E-409C-BE32-E72D297353CC}">
                <c16:uniqueId val="{00000007-E902-46E2-9A54-39A26B3DFDC1}"/>
              </c:ext>
            </c:extLst>
          </c:dPt>
          <c:dPt>
            <c:idx val="4"/>
            <c:invertIfNegative val="1"/>
            <c:bubble3D val="0"/>
            <c:spPr>
              <a:solidFill>
                <a:srgbClr val="AEABAB"/>
              </a:solidFill>
            </c:spPr>
            <c:extLst>
              <c:ext xmlns:c16="http://schemas.microsoft.com/office/drawing/2014/chart" uri="{C3380CC4-5D6E-409C-BE32-E72D297353CC}">
                <c16:uniqueId val="{0000000B-FA3E-4872-B6E1-C4ABDF5766E2}"/>
              </c:ext>
            </c:extLst>
          </c:dPt>
          <c:dPt>
            <c:idx val="5"/>
            <c:invertIfNegative val="1"/>
            <c:bubble3D val="0"/>
            <c:spPr>
              <a:solidFill>
                <a:srgbClr val="AEABAB"/>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7</c:f>
              <c:strCache>
                <c:ptCount val="6"/>
                <c:pt idx="0">
                  <c:v>Boursin Salade &amp; Aperitif Fromage Frais Des Afh 1X120Gr 1P</c:v>
                </c:pt>
                <c:pt idx="1">
                  <c:v>Boursin Salade &amp; Aperitif Fromage Frais Des Figue Noix 1X120Gr 1P</c:v>
                </c:pt>
                <c:pt idx="2">
                  <c:v>Boursin Salade &amp; Aperitif Fromage Frais Des Ciboulette Echalote 1X120Gr 1P</c:v>
                </c:pt>
                <c:pt idx="3">
                  <c:v>Boursin Salade &amp; Aperitif Fromage Frais Des Citron Romarin 1X120Gr 1P</c:v>
                </c:pt>
                <c:pt idx="4">
                  <c:v>Boursin Salade &amp; Aperitif Soft Cheese Salade 120G</c:v>
                </c:pt>
                <c:pt idx="5">
                  <c:v>Boursin Salade &amp; Aperitif Fromage Frais Des Noisette Et 3 Noix 1X120Gr 1P</c:v>
                </c:pt>
              </c:strCache>
            </c:strRef>
          </c:cat>
          <c:val>
            <c:numRef>
              <c:f>Sheet1!$C$2:$C$7</c:f>
              <c:numCache>
                <c:formatCode>General</c:formatCode>
                <c:ptCount val="6"/>
                <c:pt idx="0">
                  <c:v>0.5701926058122037</c:v>
                </c:pt>
                <c:pt idx="1">
                  <c:v>0.7077284310982388</c:v>
                </c:pt>
                <c:pt idx="2">
                  <c:v>0.835950060118422</c:v>
                </c:pt>
                <c:pt idx="3">
                  <c:v>0.9048412344315974</c:v>
                </c:pt>
                <c:pt idx="4">
                  <c:v>0.9536241199646096</c:v>
                </c:pt>
                <c:pt idx="5">
                  <c:v>1.0</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7</c:f>
              <c:strCache>
                <c:ptCount val="6"/>
                <c:pt idx="0">
                  <c:v>Boursin Salade &amp; Aperitif Fromage Frais Des Afh 1X120Gr 1P</c:v>
                </c:pt>
                <c:pt idx="1">
                  <c:v>Boursin Salade &amp; Aperitif Fromage Frais Des Figue Noix 1X120Gr 1P</c:v>
                </c:pt>
                <c:pt idx="2">
                  <c:v>Boursin Salade &amp; Aperitif Fromage Frais Des Ciboulette Echalote 1X120Gr 1P</c:v>
                </c:pt>
                <c:pt idx="3">
                  <c:v>Boursin Salade &amp; Aperitif Fromage Frais Des Citron Romarin 1X120Gr 1P</c:v>
                </c:pt>
                <c:pt idx="4">
                  <c:v>Boursin Salade &amp; Aperitif Soft Cheese Salade 120G</c:v>
                </c:pt>
                <c:pt idx="5">
                  <c:v>Boursin Salade &amp; Aperitif Fromage Frais Des Noisette Et 3 Noix 1X120Gr 1P</c:v>
                </c:pt>
              </c:strCache>
            </c:strRef>
          </c:cat>
          <c:val>
            <c:numRef>
              <c:f>Sheet1!$D$2:$D$7</c:f>
              <c:numCache>
                <c:formatCode>General</c:formatCode>
                <c:ptCount val="6"/>
                <c:pt idx="0">
                  <c:v>7616.333333333333</c:v>
                </c:pt>
                <c:pt idx="1">
                  <c:v>1998.6373626373627</c:v>
                </c:pt>
                <c:pt idx="2">
                  <c:v>1784.8315789473684</c:v>
                </c:pt>
                <c:pt idx="3">
                  <c:v>1265.2916666666667</c:v>
                </c:pt>
                <c:pt idx="4">
                  <c:v>908.5915492957746</c:v>
                </c:pt>
                <c:pt idx="5">
                  <c:v>776.2911392405064</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2</c:f>
              <c:strCache>
                <c:ptCount val="1"/>
                <c:pt idx="0">
                  <c:v>Boursin Salade &amp; Aperitif Fromage Frais Des Afh 1X120Gr 1P</c:v>
                </c:pt>
              </c:strCache>
            </c:strRef>
          </c:cat>
          <c:val>
            <c:numRef>
              <c:f>Sheet1!$B$2:$B$2</c:f>
              <c:numCache>
                <c:formatCode>General</c:formatCode>
                <c:ptCount val="1"/>
                <c:pt idx="0">
                  <c:v>0.7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AEABAB"/>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2</c:f>
              <c:strCache>
                <c:ptCount val="1"/>
                <c:pt idx="0">
                  <c:v>Boursin Salade &amp; Aperitif Fromage Frais Des Afh 1X120Gr 1P</c:v>
                </c:pt>
              </c:strCache>
            </c:strRef>
          </c:cat>
          <c:val>
            <c:numRef>
              <c:f>Sheet1!$C$2:$C$2</c:f>
              <c:numCache>
                <c:formatCode>General</c:formatCode>
                <c:ptCount val="1"/>
                <c:pt idx="0">
                  <c:v>0.9998975436080019</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2</c:f>
              <c:strCache>
                <c:ptCount val="1"/>
                <c:pt idx="0">
                  <c:v>Boursin Salade &amp; Aperitif Fromage Frais Des Afh 1X120Gr 1P</c:v>
                </c:pt>
              </c:strCache>
            </c:strRef>
          </c:cat>
          <c:val>
            <c:numRef>
              <c:f>Sheet1!$D$2:$D$2</c:f>
              <c:numCache>
                <c:formatCode>General</c:formatCode>
                <c:ptCount val="1"/>
                <c:pt idx="0">
                  <c:v>7412.088607594937</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7</c:f>
              <c:strCache>
                <c:ptCount val="6"/>
                <c:pt idx="0">
                  <c:v>Boursin Salade &amp; Aperitif Fromage Frais Des Afh 1X120Gr 1P</c:v>
                </c:pt>
                <c:pt idx="1">
                  <c:v>Boursin Salade &amp; Aperitif Fromage Frais Des Ciboulette Echalote 1X120Gr 1P</c:v>
                </c:pt>
                <c:pt idx="2">
                  <c:v>Boursin Salade &amp; Aperitif Fromage Frais Des Figue Noix 1X120Gr 1P</c:v>
                </c:pt>
                <c:pt idx="3">
                  <c:v>Boursin Salade &amp; Aperitif Fromage Frais Des Citron Romarin 1X120Gr 1P</c:v>
                </c:pt>
                <c:pt idx="4">
                  <c:v>Boursin Salade &amp; Aperitif Fromage Frais Des Noisette Et 3 Noix 1X120Gr 1P</c:v>
                </c:pt>
                <c:pt idx="5">
                  <c:v>Boursin Salade &amp; Aperitif Soft Cheese Salade 120G</c:v>
                </c:pt>
              </c:strCache>
            </c:strRef>
          </c:cat>
          <c:val>
            <c:numRef>
              <c:f>Sheet1!$B$2:$B$7</c:f>
              <c:numCache>
                <c:formatCode>General</c:formatCode>
                <c:ptCount val="6"/>
                <c:pt idx="0">
                  <c:v>0.98</c:v>
                </c:pt>
                <c:pt idx="1">
                  <c:v>0.86</c:v>
                </c:pt>
                <c:pt idx="2">
                  <c:v>0.88</c:v>
                </c:pt>
                <c:pt idx="3">
                  <c:v>0.67</c:v>
                </c:pt>
                <c:pt idx="4">
                  <c:v>0.83</c:v>
                </c:pt>
                <c:pt idx="5">
                  <c:v>0.4</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7ECAC4"/>
              </a:solidFill>
            </c:spPr>
            <c:extLst>
              <c:ext xmlns:c16="http://schemas.microsoft.com/office/drawing/2014/chart" uri="{C3380CC4-5D6E-409C-BE32-E72D297353CC}">
                <c16:uniqueId val="{00000006-E902-46E2-9A54-39A26B3DFDC1}"/>
              </c:ext>
            </c:extLst>
          </c:dPt>
          <c:dPt>
            <c:idx val="3"/>
            <c:invertIfNegative val="0"/>
            <c:bubble3D val="0"/>
            <c:spPr>
              <a:solidFill>
                <a:srgbClr val="7ECAC4"/>
              </a:solidFill>
            </c:spPr>
            <c:extLst>
              <c:ext xmlns:c16="http://schemas.microsoft.com/office/drawing/2014/chart" uri="{C3380CC4-5D6E-409C-BE32-E72D297353CC}">
                <c16:uniqueId val="{00000007-E902-46E2-9A54-39A26B3DFDC1}"/>
              </c:ext>
            </c:extLst>
          </c:dPt>
          <c:dPt>
            <c:idx val="4"/>
            <c:invertIfNegative val="1"/>
            <c:bubble3D val="0"/>
            <c:spPr>
              <a:solidFill>
                <a:srgbClr val="AEABAB"/>
              </a:solidFill>
            </c:spPr>
            <c:extLst>
              <c:ext xmlns:c16="http://schemas.microsoft.com/office/drawing/2014/chart" uri="{C3380CC4-5D6E-409C-BE32-E72D297353CC}">
                <c16:uniqueId val="{0000000B-FA3E-4872-B6E1-C4ABDF5766E2}"/>
              </c:ext>
            </c:extLst>
          </c:dPt>
          <c:dPt>
            <c:idx val="5"/>
            <c:invertIfNegative val="1"/>
            <c:bubble3D val="0"/>
            <c:spPr>
              <a:solidFill>
                <a:srgbClr val="AEABAB"/>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7</c:f>
              <c:strCache>
                <c:ptCount val="6"/>
                <c:pt idx="0">
                  <c:v>Boursin Salade &amp; Aperitif Fromage Frais Des Afh 1X120Gr 1P</c:v>
                </c:pt>
                <c:pt idx="1">
                  <c:v>Boursin Salade &amp; Aperitif Fromage Frais Des Ciboulette Echalote 1X120Gr 1P</c:v>
                </c:pt>
                <c:pt idx="2">
                  <c:v>Boursin Salade &amp; Aperitif Fromage Frais Des Figue Noix 1X120Gr 1P</c:v>
                </c:pt>
                <c:pt idx="3">
                  <c:v>Boursin Salade &amp; Aperitif Fromage Frais Des Citron Romarin 1X120Gr 1P</c:v>
                </c:pt>
                <c:pt idx="4">
                  <c:v>Boursin Salade &amp; Aperitif Fromage Frais Des Noisette Et 3 Noix 1X120Gr 1P</c:v>
                </c:pt>
                <c:pt idx="5">
                  <c:v>Boursin Salade &amp; Aperitif Soft Cheese Salade 120G</c:v>
                </c:pt>
              </c:strCache>
            </c:strRef>
          </c:cat>
          <c:val>
            <c:numRef>
              <c:f>Sheet1!$C$2:$C$7</c:f>
              <c:numCache>
                <c:formatCode>General</c:formatCode>
                <c:ptCount val="6"/>
                <c:pt idx="0">
                  <c:v>0.603669884158515</c:v>
                </c:pt>
                <c:pt idx="1">
                  <c:v>0.7592048927862616</c:v>
                </c:pt>
                <c:pt idx="2">
                  <c:v>0.8637360792928193</c:v>
                </c:pt>
                <c:pt idx="3">
                  <c:v>0.9231320781385269</c:v>
                </c:pt>
                <c:pt idx="4">
                  <c:v>0.9740740631680616</c:v>
                </c:pt>
                <c:pt idx="5">
                  <c:v>1.000000000000000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7</c:f>
              <c:strCache>
                <c:ptCount val="6"/>
                <c:pt idx="0">
                  <c:v>Boursin Salade &amp; Aperitif Fromage Frais Des Afh 1X120Gr 1P</c:v>
                </c:pt>
                <c:pt idx="1">
                  <c:v>Boursin Salade &amp; Aperitif Fromage Frais Des Ciboulette Echalote 1X120Gr 1P</c:v>
                </c:pt>
                <c:pt idx="2">
                  <c:v>Boursin Salade &amp; Aperitif Fromage Frais Des Figue Noix 1X120Gr 1P</c:v>
                </c:pt>
                <c:pt idx="3">
                  <c:v>Boursin Salade &amp; Aperitif Fromage Frais Des Citron Romarin 1X120Gr 1P</c:v>
                </c:pt>
                <c:pt idx="4">
                  <c:v>Boursin Salade &amp; Aperitif Fromage Frais Des Noisette Et 3 Noix 1X120Gr 1P</c:v>
                </c:pt>
                <c:pt idx="5">
                  <c:v>Boursin Salade &amp; Aperitif Soft Cheese Salade 120G</c:v>
                </c:pt>
              </c:strCache>
            </c:strRef>
          </c:cat>
          <c:val>
            <c:numRef>
              <c:f>Sheet1!$D$2:$D$7</c:f>
              <c:numCache>
                <c:formatCode>General</c:formatCode>
                <c:ptCount val="6"/>
                <c:pt idx="0">
                  <c:v>8367.65306122449</c:v>
                </c:pt>
                <c:pt idx="1">
                  <c:v>2456.7441860465115</c:v>
                </c:pt>
                <c:pt idx="2">
                  <c:v>1613.590909090909</c:v>
                </c:pt>
                <c:pt idx="3">
                  <c:v>1204.2388059701493</c:v>
                </c:pt>
                <c:pt idx="4">
                  <c:v>833.7349397590361</c:v>
                </c:pt>
                <c:pt idx="5">
                  <c:v>880.45</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7</c:f>
              <c:strCache>
                <c:ptCount val="6"/>
                <c:pt idx="0">
                  <c:v>Boursin Salade &amp; Aperitif Fromage Frais Des Afh 1X120Gr 1P</c:v>
                </c:pt>
                <c:pt idx="1">
                  <c:v>Boursin Salade &amp; Aperitif Fromage Frais Des Ciboulette Echalote 1X120Gr 1P</c:v>
                </c:pt>
                <c:pt idx="2">
                  <c:v>Boursin Salade &amp; Aperitif Fromage Frais Des Figue Noix 1X120Gr 1P</c:v>
                </c:pt>
                <c:pt idx="3">
                  <c:v>Boursin Salade &amp; Aperitif Fromage Frais Des Citron Romarin 1X120Gr 1P</c:v>
                </c:pt>
                <c:pt idx="4">
                  <c:v>Boursin Salade &amp; Aperitif Fromage Frais Des Noisette Et 3 Noix 1X120Gr 1P</c:v>
                </c:pt>
                <c:pt idx="5">
                  <c:v>Boursin Salade &amp; Aperitif Soft Cheese Salade 120G</c:v>
                </c:pt>
              </c:strCache>
            </c:strRef>
          </c:cat>
          <c:val>
            <c:numRef>
              <c:f>Sheet1!$B$2:$B$7</c:f>
              <c:numCache>
                <c:formatCode>General</c:formatCode>
                <c:ptCount val="6"/>
                <c:pt idx="0">
                  <c:v>1.0</c:v>
                </c:pt>
                <c:pt idx="1">
                  <c:v>0.95</c:v>
                </c:pt>
                <c:pt idx="2">
                  <c:v>0.97</c:v>
                </c:pt>
                <c:pt idx="3">
                  <c:v>0.93</c:v>
                </c:pt>
                <c:pt idx="4">
                  <c:v>0.99</c:v>
                </c:pt>
                <c:pt idx="5">
                  <c:v>0.73</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7ECAC4"/>
              </a:solidFill>
            </c:spPr>
            <c:extLst>
              <c:ext xmlns:c16="http://schemas.microsoft.com/office/drawing/2014/chart" uri="{C3380CC4-5D6E-409C-BE32-E72D297353CC}">
                <c16:uniqueId val="{00000006-E902-46E2-9A54-39A26B3DFDC1}"/>
              </c:ext>
            </c:extLst>
          </c:dPt>
          <c:dPt>
            <c:idx val="3"/>
            <c:invertIfNegative val="0"/>
            <c:bubble3D val="0"/>
            <c:spPr>
              <a:solidFill>
                <a:srgbClr val="7ECAC4"/>
              </a:solidFill>
            </c:spPr>
            <c:extLst>
              <c:ext xmlns:c16="http://schemas.microsoft.com/office/drawing/2014/chart" uri="{C3380CC4-5D6E-409C-BE32-E72D297353CC}">
                <c16:uniqueId val="{00000007-E902-46E2-9A54-39A26B3DFDC1}"/>
              </c:ext>
            </c:extLst>
          </c:dPt>
          <c:dPt>
            <c:idx val="4"/>
            <c:invertIfNegative val="1"/>
            <c:bubble3D val="0"/>
            <c:spPr>
              <a:solidFill>
                <a:srgbClr val="AEABAB"/>
              </a:solidFill>
            </c:spPr>
            <c:extLst>
              <c:ext xmlns:c16="http://schemas.microsoft.com/office/drawing/2014/chart" uri="{C3380CC4-5D6E-409C-BE32-E72D297353CC}">
                <c16:uniqueId val="{0000000B-FA3E-4872-B6E1-C4ABDF5766E2}"/>
              </c:ext>
            </c:extLst>
          </c:dPt>
          <c:dPt>
            <c:idx val="5"/>
            <c:invertIfNegative val="1"/>
            <c:bubble3D val="0"/>
            <c:spPr>
              <a:solidFill>
                <a:srgbClr val="AEABAB"/>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7</c:f>
              <c:strCache>
                <c:ptCount val="6"/>
                <c:pt idx="0">
                  <c:v>Boursin Salade &amp; Aperitif Fromage Frais Des Afh 1X120Gr 1P</c:v>
                </c:pt>
                <c:pt idx="1">
                  <c:v>Boursin Salade &amp; Aperitif Fromage Frais Des Ciboulette Echalote 1X120Gr 1P</c:v>
                </c:pt>
                <c:pt idx="2">
                  <c:v>Boursin Salade &amp; Aperitif Fromage Frais Des Figue Noix 1X120Gr 1P</c:v>
                </c:pt>
                <c:pt idx="3">
                  <c:v>Boursin Salade &amp; Aperitif Fromage Frais Des Citron Romarin 1X120Gr 1P</c:v>
                </c:pt>
                <c:pt idx="4">
                  <c:v>Boursin Salade &amp; Aperitif Fromage Frais Des Noisette Et 3 Noix 1X120Gr 1P</c:v>
                </c:pt>
                <c:pt idx="5">
                  <c:v>Boursin Salade &amp; Aperitif Soft Cheese Salade 120G</c:v>
                </c:pt>
              </c:strCache>
            </c:strRef>
          </c:cat>
          <c:val>
            <c:numRef>
              <c:f>Sheet1!$C$2:$C$7</c:f>
              <c:numCache>
                <c:formatCode>General</c:formatCode>
                <c:ptCount val="6"/>
                <c:pt idx="0">
                  <c:v>0.5548852683025299</c:v>
                </c:pt>
                <c:pt idx="1">
                  <c:v>0.7289762073904993</c:v>
                </c:pt>
                <c:pt idx="2">
                  <c:v>0.8457498223997578</c:v>
                </c:pt>
                <c:pt idx="3">
                  <c:v>0.9169413162215986</c:v>
                </c:pt>
                <c:pt idx="4">
                  <c:v>0.9698409555863526</c:v>
                </c:pt>
                <c:pt idx="5">
                  <c:v>1.0</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7</c:f>
              <c:strCache>
                <c:ptCount val="6"/>
                <c:pt idx="0">
                  <c:v>Boursin Salade &amp; Aperitif Fromage Frais Des Afh 1X120Gr 1P</c:v>
                </c:pt>
                <c:pt idx="1">
                  <c:v>Boursin Salade &amp; Aperitif Fromage Frais Des Ciboulette Echalote 1X120Gr 1P</c:v>
                </c:pt>
                <c:pt idx="2">
                  <c:v>Boursin Salade &amp; Aperitif Fromage Frais Des Figue Noix 1X120Gr 1P</c:v>
                </c:pt>
                <c:pt idx="3">
                  <c:v>Boursin Salade &amp; Aperitif Fromage Frais Des Citron Romarin 1X120Gr 1P</c:v>
                </c:pt>
                <c:pt idx="4">
                  <c:v>Boursin Salade &amp; Aperitif Fromage Frais Des Noisette Et 3 Noix 1X120Gr 1P</c:v>
                </c:pt>
                <c:pt idx="5">
                  <c:v>Boursin Salade &amp; Aperitif Soft Cheese Salade 120G</c:v>
                </c:pt>
              </c:strCache>
            </c:strRef>
          </c:cat>
          <c:val>
            <c:numRef>
              <c:f>Sheet1!$D$2:$D$7</c:f>
              <c:numCache>
                <c:formatCode>General</c:formatCode>
                <c:ptCount val="6"/>
                <c:pt idx="0">
                  <c:v>1429.39</c:v>
                </c:pt>
                <c:pt idx="1">
                  <c:v>472.06315789473683</c:v>
                </c:pt>
                <c:pt idx="2">
                  <c:v>310.11340206185565</c:v>
                </c:pt>
                <c:pt idx="3">
                  <c:v>197.19354838709677</c:v>
                </c:pt>
                <c:pt idx="4">
                  <c:v>137.64646464646464</c:v>
                </c:pt>
                <c:pt idx="5">
                  <c:v>106.42465753424658</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7</c:f>
              <c:strCache>
                <c:ptCount val="6"/>
                <c:pt idx="0">
                  <c:v>Boursin Salade &amp; Aperitif Fromage Frais Des Afh 1X120Gr 1P</c:v>
                </c:pt>
                <c:pt idx="1">
                  <c:v>Boursin Salade &amp; Aperitif Fromage Frais Des Ciboulette Echalote 1X120Gr 1P</c:v>
                </c:pt>
                <c:pt idx="2">
                  <c:v>Boursin Salade &amp; Aperitif Fromage Frais Des Figue Noix 1X120Gr 1P</c:v>
                </c:pt>
                <c:pt idx="3">
                  <c:v>Boursin Salade &amp; Aperitif Fromage Frais Des Citron Romarin 1X120Gr 1P</c:v>
                </c:pt>
                <c:pt idx="4">
                  <c:v>Boursin Salade &amp; Aperitif Fromage Frais Des Noisette Et 3 Noix 1X120Gr 1P</c:v>
                </c:pt>
                <c:pt idx="5">
                  <c:v>Boursin Salade &amp; Aperitif Soft Cheese Salade 120G</c:v>
                </c:pt>
              </c:strCache>
            </c:strRef>
          </c:cat>
          <c:val>
            <c:numRef>
              <c:f>Sheet1!$B$2:$B$7</c:f>
              <c:numCache>
                <c:formatCode>General</c:formatCode>
                <c:ptCount val="6"/>
                <c:pt idx="0">
                  <c:v>0.85</c:v>
                </c:pt>
                <c:pt idx="1">
                  <c:v>0.43</c:v>
                </c:pt>
                <c:pt idx="2">
                  <c:v>0.47</c:v>
                </c:pt>
                <c:pt idx="3">
                  <c:v>0.28</c:v>
                </c:pt>
                <c:pt idx="4">
                  <c:v>0.41</c:v>
                </c:pt>
                <c:pt idx="5">
                  <c:v>0.14</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7ECAC4"/>
              </a:solidFill>
            </c:spPr>
            <c:extLst>
              <c:ext xmlns:c16="http://schemas.microsoft.com/office/drawing/2014/chart" uri="{C3380CC4-5D6E-409C-BE32-E72D297353CC}">
                <c16:uniqueId val="{00000008-D8F4-40C6-A5E0-DB4B53CFB1F3}"/>
              </c:ext>
            </c:extLst>
          </c:dPt>
          <c:dPt>
            <c:idx val="2"/>
            <c:invertIfNegative val="0"/>
            <c:bubble3D val="0"/>
            <c:spPr>
              <a:solidFill>
                <a:srgbClr val="7ECAC4"/>
              </a:solidFill>
            </c:spPr>
            <c:extLst>
              <c:ext xmlns:c16="http://schemas.microsoft.com/office/drawing/2014/chart" uri="{C3380CC4-5D6E-409C-BE32-E72D297353CC}">
                <c16:uniqueId val="{00000006-E902-46E2-9A54-39A26B3DFDC1}"/>
              </c:ext>
            </c:extLst>
          </c:dPt>
          <c:dPt>
            <c:idx val="3"/>
            <c:invertIfNegative val="0"/>
            <c:bubble3D val="0"/>
            <c:spPr>
              <a:solidFill>
                <a:srgbClr val="AEABAB"/>
              </a:solidFill>
            </c:spPr>
            <c:extLst>
              <c:ext xmlns:c16="http://schemas.microsoft.com/office/drawing/2014/chart" uri="{C3380CC4-5D6E-409C-BE32-E72D297353CC}">
                <c16:uniqueId val="{00000007-E902-46E2-9A54-39A26B3DFDC1}"/>
              </c:ext>
            </c:extLst>
          </c:dPt>
          <c:dPt>
            <c:idx val="4"/>
            <c:invertIfNegative val="1"/>
            <c:bubble3D val="0"/>
            <c:spPr>
              <a:solidFill>
                <a:srgbClr val="AEABAB"/>
              </a:solidFill>
            </c:spPr>
            <c:extLst>
              <c:ext xmlns:c16="http://schemas.microsoft.com/office/drawing/2014/chart" uri="{C3380CC4-5D6E-409C-BE32-E72D297353CC}">
                <c16:uniqueId val="{0000000B-FA3E-4872-B6E1-C4ABDF5766E2}"/>
              </c:ext>
            </c:extLst>
          </c:dPt>
          <c:dPt>
            <c:idx val="5"/>
            <c:invertIfNegative val="1"/>
            <c:bubble3D val="0"/>
            <c:spPr>
              <a:solidFill>
                <a:srgbClr val="AEABAB"/>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7</c:f>
              <c:strCache>
                <c:ptCount val="6"/>
                <c:pt idx="0">
                  <c:v>Boursin Salade &amp; Aperitif Fromage Frais Des Afh 1X120Gr 1P</c:v>
                </c:pt>
                <c:pt idx="1">
                  <c:v>Boursin Salade &amp; Aperitif Fromage Frais Des Ciboulette Echalote 1X120Gr 1P</c:v>
                </c:pt>
                <c:pt idx="2">
                  <c:v>Boursin Salade &amp; Aperitif Fromage Frais Des Figue Noix 1X120Gr 1P</c:v>
                </c:pt>
                <c:pt idx="3">
                  <c:v>Boursin Salade &amp; Aperitif Fromage Frais Des Citron Romarin 1X120Gr 1P</c:v>
                </c:pt>
                <c:pt idx="4">
                  <c:v>Boursin Salade &amp; Aperitif Fromage Frais Des Noisette Et 3 Noix 1X120Gr 1P</c:v>
                </c:pt>
                <c:pt idx="5">
                  <c:v>Boursin Salade &amp; Aperitif Soft Cheese Salade 120G</c:v>
                </c:pt>
              </c:strCache>
            </c:strRef>
          </c:cat>
          <c:val>
            <c:numRef>
              <c:f>Sheet1!$C$2:$C$7</c:f>
              <c:numCache>
                <c:formatCode>General</c:formatCode>
                <c:ptCount val="6"/>
                <c:pt idx="0">
                  <c:v>0.73046228737753</c:v>
                </c:pt>
                <c:pt idx="1">
                  <c:v>0.8337436696969868</c:v>
                </c:pt>
                <c:pt idx="2">
                  <c:v>0.9109074696173497</c:v>
                </c:pt>
                <c:pt idx="3">
                  <c:v>0.9530029331104992</c:v>
                </c:pt>
                <c:pt idx="4">
                  <c:v>0.9830575013039162</c:v>
                </c:pt>
                <c:pt idx="5">
                  <c:v>1.0</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7</c:f>
              <c:strCache>
                <c:ptCount val="6"/>
                <c:pt idx="0">
                  <c:v>Boursin Salade &amp; Aperitif Fromage Frais Des Afh 1X120Gr 1P</c:v>
                </c:pt>
                <c:pt idx="1">
                  <c:v>Boursin Salade &amp; Aperitif Fromage Frais Des Ciboulette Echalote 1X120Gr 1P</c:v>
                </c:pt>
                <c:pt idx="2">
                  <c:v>Boursin Salade &amp; Aperitif Fromage Frais Des Figue Noix 1X120Gr 1P</c:v>
                </c:pt>
                <c:pt idx="3">
                  <c:v>Boursin Salade &amp; Aperitif Fromage Frais Des Citron Romarin 1X120Gr 1P</c:v>
                </c:pt>
                <c:pt idx="4">
                  <c:v>Boursin Salade &amp; Aperitif Fromage Frais Des Noisette Et 3 Noix 1X120Gr 1P</c:v>
                </c:pt>
                <c:pt idx="5">
                  <c:v>Boursin Salade &amp; Aperitif Soft Cheese Salade 120G</c:v>
                </c:pt>
              </c:strCache>
            </c:strRef>
          </c:cat>
          <c:val>
            <c:numRef>
              <c:f>Sheet1!$D$2:$D$7</c:f>
              <c:numCache>
                <c:formatCode>General</c:formatCode>
                <c:ptCount val="6"/>
                <c:pt idx="0">
                  <c:v>1532.3294117647058</c:v>
                </c:pt>
                <c:pt idx="1">
                  <c:v>428.27906976744185</c:v>
                </c:pt>
                <c:pt idx="2">
                  <c:v>292.74468085106383</c:v>
                </c:pt>
                <c:pt idx="3">
                  <c:v>268.07142857142856</c:v>
                </c:pt>
                <c:pt idx="4">
                  <c:v>130.70731707317074</c:v>
                </c:pt>
                <c:pt idx="5">
                  <c:v>215.78571428571425</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12</c:f>
              <c:strCache>
                <c:ptCount val="11"/>
                <c:pt idx="0">
                  <c:v>Kiri Creme Fromage Blanc Frais Carre 1X432Gr 24P</c:v>
                </c:pt>
                <c:pt idx="1">
                  <c:v>Kiri Creme Fromage Blanc Frais Carre 1X144Gr 8P</c:v>
                </c:pt>
                <c:pt idx="2">
                  <c:v>Kiri Creme Fromage Blanc Frais Carre 1X216Gr 12P</c:v>
                </c:pt>
                <c:pt idx="3">
                  <c:v>Kiri Gouter Fromage Blanc Dips Boite 1X175Gr 5P</c:v>
                </c:pt>
                <c:pt idx="4">
                  <c:v>Kiri Gouter Fromage Blanc Dips Boite 1X280Gr 8P</c:v>
                </c:pt>
                <c:pt idx="5">
                  <c:v>Kiri Creme Fromage Blanc Frais Carre 1X432Gr 18+6P</c:v>
                </c:pt>
                <c:pt idx="6">
                  <c:v>Kiri Delicieusement Fouette Fromage Frais A Tartiner 1X125Gr 1P</c:v>
                </c:pt>
                <c:pt idx="7">
                  <c:v>Kiri Delicieusement Fouette Fromage Frais A Tartiner 1X210Gr 1P</c:v>
                </c:pt>
                <c:pt idx="8">
                  <c:v>Kiri Delicieusement Fouette Fromage Frais A Tartiner 1X160Gr 10P</c:v>
                </c:pt>
                <c:pt idx="9">
                  <c:v>Kiri Bio Fromage Blanc Frais Carre 1X144Gr 8P</c:v>
                </c:pt>
                <c:pt idx="10">
                  <c:v>Kiri Chevre Fromage Blanc Frais Carre 1X144Gr 8P</c:v>
                </c:pt>
              </c:strCache>
            </c:strRef>
          </c:cat>
          <c:val>
            <c:numRef>
              <c:f>Sheet1!$B$2:$B$12</c:f>
              <c:numCache>
                <c:formatCode>General</c:formatCode>
                <c:ptCount val="11"/>
                <c:pt idx="0">
                  <c:v>0.778</c:v>
                </c:pt>
                <c:pt idx="1">
                  <c:v>0.99</c:v>
                </c:pt>
                <c:pt idx="2">
                  <c:v>0.834</c:v>
                </c:pt>
                <c:pt idx="3">
                  <c:v>0.949</c:v>
                </c:pt>
                <c:pt idx="4">
                  <c:v>0.732</c:v>
                </c:pt>
                <c:pt idx="5">
                  <c:v>0.716</c:v>
                </c:pt>
                <c:pt idx="6">
                  <c:v>0.774</c:v>
                </c:pt>
                <c:pt idx="7">
                  <c:v>0.643</c:v>
                </c:pt>
                <c:pt idx="8">
                  <c:v>0.689</c:v>
                </c:pt>
                <c:pt idx="9">
                  <c:v>0.502</c:v>
                </c:pt>
                <c:pt idx="10">
                  <c:v>0.267</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7ECAC4"/>
              </a:solidFill>
            </c:spPr>
            <c:extLst>
              <c:ext xmlns:c16="http://schemas.microsoft.com/office/drawing/2014/chart" uri="{C3380CC4-5D6E-409C-BE32-E72D297353CC}">
                <c16:uniqueId val="{0000000B-FA3E-4872-B6E1-C4ABDF5766E2}"/>
              </c:ext>
            </c:extLst>
          </c:dPt>
          <c:dPt>
            <c:idx val="5"/>
            <c:invertIfNegative val="1"/>
            <c:bubble3D val="0"/>
            <c:spPr>
              <a:solidFill>
                <a:srgbClr val="7ECAC4"/>
              </a:solidFill>
            </c:spPr>
            <c:extLst>
              <c:ext xmlns:c16="http://schemas.microsoft.com/office/drawing/2014/chart" uri="{C3380CC4-5D6E-409C-BE32-E72D297353CC}">
                <c16:uniqueId val="{0000000D-FA3E-4872-B6E1-C4ABDF5766E2}"/>
              </c:ext>
            </c:extLst>
          </c:dPt>
          <c:dPt>
            <c:idx val="6"/>
            <c:invertIfNegative val="1"/>
            <c:bubble3D val="0"/>
            <c:spPr>
              <a:solidFill>
                <a:srgbClr val="7ECAC4"/>
              </a:solidFill>
            </c:spPr>
            <c:extLst>
              <c:ext xmlns:c16="http://schemas.microsoft.com/office/drawing/2014/chart" uri="{C3380CC4-5D6E-409C-BE32-E72D297353CC}">
                <c16:uniqueId val="{0000000F-FA3E-4872-B6E1-C4ABDF5766E2}"/>
              </c:ext>
            </c:extLst>
          </c:dPt>
          <c:dPt>
            <c:idx val="7"/>
            <c:invertIfNegative val="1"/>
            <c:bubble3D val="0"/>
            <c:spPr>
              <a:solidFill>
                <a:srgbClr val="AEABAB"/>
              </a:solidFill>
            </c:spPr>
            <c:extLst>
              <c:ext xmlns:c16="http://schemas.microsoft.com/office/drawing/2014/chart" uri="{C3380CC4-5D6E-409C-BE32-E72D297353CC}">
                <c16:uniqueId val="{00000011-FA3E-4872-B6E1-C4ABDF5766E2}"/>
              </c:ext>
            </c:extLst>
          </c:dPt>
          <c:dPt>
            <c:idx val="8"/>
            <c:invertIfNegative val="1"/>
            <c:bubble3D val="0"/>
            <c:spPr>
              <a:solidFill>
                <a:srgbClr val="AEABAB"/>
              </a:solidFill>
            </c:spPr>
            <c:extLst>
              <c:ext xmlns:c16="http://schemas.microsoft.com/office/drawing/2014/chart" uri="{C3380CC4-5D6E-409C-BE32-E72D297353CC}">
                <c16:uniqueId val="{00000013-FA3E-4872-B6E1-C4ABDF5766E2}"/>
              </c:ext>
            </c:extLst>
          </c:dPt>
          <c:dPt>
            <c:idx val="9"/>
            <c:invertIfNegative val="1"/>
            <c:bubble3D val="0"/>
            <c:spPr>
              <a:solidFill>
                <a:srgbClr val="AEABAB"/>
              </a:solidFill>
            </c:spPr>
            <c:extLst>
              <c:ext xmlns:c16="http://schemas.microsoft.com/office/drawing/2014/chart" uri="{C3380CC4-5D6E-409C-BE32-E72D297353CC}">
                <c16:uniqueId val="{00000015-FA3E-4872-B6E1-C4ABDF5766E2}"/>
              </c:ext>
            </c:extLst>
          </c:dPt>
          <c:dPt>
            <c:idx val="10"/>
            <c:invertIfNegative val="1"/>
            <c:bubble3D val="0"/>
            <c:spPr>
              <a:solidFill>
                <a:srgbClr val="AEABAB"/>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12</c:f>
              <c:strCache>
                <c:ptCount val="11"/>
                <c:pt idx="0">
                  <c:v>Kiri Creme Fromage Blanc Frais Carre 1X432Gr 24P</c:v>
                </c:pt>
                <c:pt idx="1">
                  <c:v>Kiri Creme Fromage Blanc Frais Carre 1X144Gr 8P</c:v>
                </c:pt>
                <c:pt idx="2">
                  <c:v>Kiri Creme Fromage Blanc Frais Carre 1X216Gr 12P</c:v>
                </c:pt>
                <c:pt idx="3">
                  <c:v>Kiri Gouter Fromage Blanc Dips Boite 1X175Gr 5P</c:v>
                </c:pt>
                <c:pt idx="4">
                  <c:v>Kiri Gouter Fromage Blanc Dips Boite 1X280Gr 8P</c:v>
                </c:pt>
                <c:pt idx="5">
                  <c:v>Kiri Creme Fromage Blanc Frais Carre 1X432Gr 18+6P</c:v>
                </c:pt>
                <c:pt idx="6">
                  <c:v>Kiri Delicieusement Fouette Fromage Frais A Tartiner 1X125Gr 1P</c:v>
                </c:pt>
                <c:pt idx="7">
                  <c:v>Kiri Delicieusement Fouette Fromage Frais A Tartiner 1X210Gr 1P</c:v>
                </c:pt>
                <c:pt idx="8">
                  <c:v>Kiri Delicieusement Fouette Fromage Frais A Tartiner 1X160Gr 10P</c:v>
                </c:pt>
                <c:pt idx="9">
                  <c:v>Kiri Bio Fromage Blanc Frais Carre 1X144Gr 8P</c:v>
                </c:pt>
                <c:pt idx="10">
                  <c:v>Kiri Chevre Fromage Blanc Frais Carre 1X144Gr 8P</c:v>
                </c:pt>
              </c:strCache>
            </c:strRef>
          </c:cat>
          <c:val>
            <c:numRef>
              <c:f>Sheet1!$C$2:$C$12</c:f>
              <c:numCache>
                <c:formatCode>General</c:formatCode>
                <c:ptCount val="11"/>
                <c:pt idx="0">
                  <c:v>0.2775422769608527</c:v>
                </c:pt>
                <c:pt idx="1">
                  <c:v>0.4845508186725619</c:v>
                </c:pt>
                <c:pt idx="2">
                  <c:v>0.6412251422628832</c:v>
                </c:pt>
                <c:pt idx="3">
                  <c:v>0.7845785136796636</c:v>
                </c:pt>
                <c:pt idx="4">
                  <c:v>0.8653359973250804</c:v>
                </c:pt>
                <c:pt idx="5">
                  <c:v>0.9167370802397417</c:v>
                </c:pt>
                <c:pt idx="6">
                  <c:v>0.9482542086965828</c:v>
                </c:pt>
                <c:pt idx="7">
                  <c:v>0.9691691765221198</c:v>
                </c:pt>
                <c:pt idx="8">
                  <c:v>0.9861216852606856</c:v>
                </c:pt>
                <c:pt idx="9">
                  <c:v>0.9992514590500239</c:v>
                </c:pt>
                <c:pt idx="10">
                  <c:v>0.999997983905164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12</c:f>
              <c:strCache>
                <c:ptCount val="11"/>
                <c:pt idx="0">
                  <c:v>Kiri Creme Fromage Blanc Frais Carre 1X432Gr 24P</c:v>
                </c:pt>
                <c:pt idx="1">
                  <c:v>Kiri Creme Fromage Blanc Frais Carre 1X144Gr 8P</c:v>
                </c:pt>
                <c:pt idx="2">
                  <c:v>Kiri Creme Fromage Blanc Frais Carre 1X216Gr 12P</c:v>
                </c:pt>
                <c:pt idx="3">
                  <c:v>Kiri Gouter Fromage Blanc Dips Boite 1X175Gr 5P</c:v>
                </c:pt>
                <c:pt idx="4">
                  <c:v>Kiri Gouter Fromage Blanc Dips Boite 1X280Gr 8P</c:v>
                </c:pt>
                <c:pt idx="5">
                  <c:v>Kiri Creme Fromage Blanc Frais Carre 1X432Gr 18+6P</c:v>
                </c:pt>
                <c:pt idx="6">
                  <c:v>Kiri Delicieusement Fouette Fromage Frais A Tartiner 1X125Gr 1P</c:v>
                </c:pt>
                <c:pt idx="7">
                  <c:v>Kiri Delicieusement Fouette Fromage Frais A Tartiner 1X210Gr 1P</c:v>
                </c:pt>
                <c:pt idx="8">
                  <c:v>Kiri Delicieusement Fouette Fromage Frais A Tartiner 1X160Gr 10P</c:v>
                </c:pt>
                <c:pt idx="9">
                  <c:v>Kiri Bio Fromage Blanc Frais Carre 1X144Gr 8P</c:v>
                </c:pt>
                <c:pt idx="10">
                  <c:v>Kiri Chevre Fromage Blanc Frais Carre 1X144Gr 8P</c:v>
                </c:pt>
              </c:strCache>
            </c:strRef>
          </c:cat>
          <c:val>
            <c:numRef>
              <c:f>Sheet1!$D$2:$D$12</c:f>
              <c:numCache>
                <c:formatCode>General</c:formatCode>
                <c:ptCount val="11"/>
                <c:pt idx="0">
                  <c:v>81394.7557840617</c:v>
                </c:pt>
                <c:pt idx="1">
                  <c:v>47708.9595959596</c:v>
                </c:pt>
                <c:pt idx="2">
                  <c:v>42862.6139088729</c:v>
                </c:pt>
                <c:pt idx="3">
                  <c:v>34465.81664910432</c:v>
                </c:pt>
                <c:pt idx="4">
                  <c:v>25172.049180327867</c:v>
                </c:pt>
                <c:pt idx="5">
                  <c:v>16379.706703910615</c:v>
                </c:pt>
                <c:pt idx="6">
                  <c:v>9290.78811369509</c:v>
                </c:pt>
                <c:pt idx="7">
                  <c:v>7421.524105754277</c:v>
                </c:pt>
                <c:pt idx="8">
                  <c:v>5613.860667634253</c:v>
                </c:pt>
                <c:pt idx="9">
                  <c:v>5967.609561752988</c:v>
                </c:pt>
                <c:pt idx="10">
                  <c:v>637.940074906366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Apericube</c:v>
                </c:pt>
                <c:pt idx="1">
                  <c:v>Aperivrais</c:v>
                </c:pt>
                <c:pt idx="2">
                  <c:v>Boursin</c:v>
                </c:pt>
                <c:pt idx="3">
                  <c:v>Private Label</c:v>
                </c:pt>
                <c:pt idx="4">
                  <c:v>St Moret</c:v>
                </c:pt>
                <c:pt idx="5">
                  <c:v>O'Tapas Apero</c:v>
                </c:pt>
                <c:pt idx="6">
                  <c:v>Others</c:v>
                </c:pt>
              </c:strCache>
            </c:strRef>
          </c:cat>
          <c:val>
            <c:numRef>
              <c:f>Sheet1!$B$2:$B$8</c:f>
              <c:numCache>
                <c:formatCode>General</c:formatCode>
                <c:ptCount val="7"/>
                <c:pt idx="0">
                  <c:v>0.6114962892935705</c:v>
                </c:pt>
                <c:pt idx="1">
                  <c:v>0.14785212182777938</c:v>
                </c:pt>
                <c:pt idx="2">
                  <c:v>0.09518821305351297</c:v>
                </c:pt>
                <c:pt idx="3">
                  <c:v>0.05526072161864672</c:v>
                </c:pt>
                <c:pt idx="4">
                  <c:v>0.03159713458096003</c:v>
                </c:pt>
                <c:pt idx="5">
                  <c:v>0.01385223818792536</c:v>
                </c:pt>
                <c:pt idx="6">
                  <c:v>0.04475328143760503</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Apericube</c:v>
                </c:pt>
                <c:pt idx="1">
                  <c:v>Aperivrais</c:v>
                </c:pt>
                <c:pt idx="2">
                  <c:v>Boursin</c:v>
                </c:pt>
                <c:pt idx="3">
                  <c:v>Private Label</c:v>
                </c:pt>
                <c:pt idx="4">
                  <c:v>St Moret</c:v>
                </c:pt>
                <c:pt idx="5">
                  <c:v>O'Tapas Apero</c:v>
                </c:pt>
                <c:pt idx="6">
                  <c:v>Others</c:v>
                </c:pt>
              </c:strCache>
            </c:strRef>
          </c:cat>
          <c:val>
            <c:numRef>
              <c:f>Sheet1!$C$2:$C$8</c:f>
              <c:numCache>
                <c:formatCode>General</c:formatCode>
                <c:ptCount val="7"/>
                <c:pt idx="0">
                  <c:v>0.4221011720782201</c:v>
                </c:pt>
                <c:pt idx="1">
                  <c:v>0.17538329712029865</c:v>
                </c:pt>
                <c:pt idx="2">
                  <c:v>0.07537411635095018</c:v>
                </c:pt>
                <c:pt idx="3">
                  <c:v>0.05226918015729717</c:v>
                </c:pt>
                <c:pt idx="4">
                  <c:v>0.0583896930562781</c:v>
                </c:pt>
                <c:pt idx="5">
                  <c:v>0.05600269302567554</c:v>
                </c:pt>
                <c:pt idx="6">
                  <c:v>0.16047984821128003</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Apericube</c:v>
                </c:pt>
                <c:pt idx="1">
                  <c:v>Aperivrais</c:v>
                </c:pt>
                <c:pt idx="2">
                  <c:v>Boursin</c:v>
                </c:pt>
                <c:pt idx="3">
                  <c:v>Private Label</c:v>
                </c:pt>
                <c:pt idx="4">
                  <c:v>St Moret</c:v>
                </c:pt>
                <c:pt idx="5">
                  <c:v>O'Tapas Apero</c:v>
                </c:pt>
                <c:pt idx="6">
                  <c:v>Others</c:v>
                </c:pt>
              </c:strCache>
            </c:strRef>
          </c:cat>
          <c:val>
            <c:numRef>
              <c:f>Sheet1!$D$2:$D$8</c:f>
              <c:numCache>
                <c:formatCode>General</c:formatCode>
                <c:ptCount val="7"/>
                <c:pt idx="0">
                  <c:v>69.0275933752356</c:v>
                </c:pt>
                <c:pt idx="1">
                  <c:v>118.62075089093958</c:v>
                </c:pt>
                <c:pt idx="2">
                  <c:v>79.18429596800637</c:v>
                </c:pt>
                <c:pt idx="3">
                  <c:v>94.58649584420172</c:v>
                </c:pt>
                <c:pt idx="4">
                  <c:v>184.79426641257172</c:v>
                </c:pt>
                <c:pt idx="5">
                  <c:v>404.2862407209518</c:v>
                </c:pt>
                <c:pt idx="6">
                  <c:v>358.5878913371321</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17</c:f>
              <c:strCache>
                <c:ptCount val="16"/>
                <c:pt idx="0">
                  <c:v>La Vache Qui Rit Nature Fromage Fondu Boite Ronde 1X512Gr 32P</c:v>
                </c:pt>
                <c:pt idx="1">
                  <c:v>La Vache Qui Rit Nature Fromage Fondu Boite Ronde 1X384Gr 24P</c:v>
                </c:pt>
                <c:pt idx="2">
                  <c:v>La Vache Qui Rit Nature Fromage Fondu Boite Ronde 1X192Gr 12P</c:v>
                </c:pt>
                <c:pt idx="3">
                  <c:v>La Vache Qui Rit Pik Et Croq' Fromage Fondu Dips Boite 1X175Gr 5P</c:v>
                </c:pt>
                <c:pt idx="4">
                  <c:v>La Vache Qui Rit Nature Fromage Fondu Boite Ronde 1X128Gr 8P</c:v>
                </c:pt>
                <c:pt idx="5">
                  <c:v>La Vache Qui Rit Nature Fromage Fondu Boite Ronde 1X512Gr 24+8P</c:v>
                </c:pt>
                <c:pt idx="6">
                  <c:v>Toastinette Cheddar Fondu Tranche A Chaud Sachet 1X200Gr 10P</c:v>
                </c:pt>
                <c:pt idx="7">
                  <c:v>Toastinette Fromage Fondu Tranche A Chaud Sachet 1X200Gr 10P</c:v>
                </c:pt>
                <c:pt idx="8">
                  <c:v>La Vache Qui Rit Pik Et Croq' Fromage Fondu Dips Boite 1X280Gr 8P</c:v>
                </c:pt>
                <c:pt idx="9">
                  <c:v>La Vache Qui Rit Allegee Fromage Fondu Boite Ronde Allege 1X267Gr 16P</c:v>
                </c:pt>
                <c:pt idx="10">
                  <c:v>La Vache Qui Rit Bio Fromage Fondu Boite Ronde 1X128Gr 8P</c:v>
                </c:pt>
                <c:pt idx="11">
                  <c:v>La Vache Qui Rit Le Fondant Fromage Fondu 1X200Gr 1P</c:v>
                </c:pt>
                <c:pt idx="12">
                  <c:v>La Vache Qui Rit Aro Fromage Fondu Boite Ronde Jambon 1X133Gr 8P</c:v>
                </c:pt>
                <c:pt idx="13">
                  <c:v>Toastinette Fromage Fondu Tranche A Chaud Sachet 1X340Gr 20P</c:v>
                </c:pt>
                <c:pt idx="14">
                  <c:v>Toastinette Cheddar Fondu Tranche A Chaud Sachet 1X340Gr 20P</c:v>
                </c:pt>
                <c:pt idx="15">
                  <c:v>La Vache Qui Rit Pik Et Croq' Fromage Fondu Dips Boite 1X35Gr 1P</c:v>
                </c:pt>
              </c:strCache>
            </c:strRef>
          </c:cat>
          <c:val>
            <c:numRef>
              <c:f>Sheet1!$B$2:$B$17</c:f>
              <c:numCache>
                <c:formatCode>General</c:formatCode>
                <c:ptCount val="16"/>
                <c:pt idx="0">
                  <c:v>0.827</c:v>
                </c:pt>
                <c:pt idx="1">
                  <c:v>0.898</c:v>
                </c:pt>
                <c:pt idx="2">
                  <c:v>0.981</c:v>
                </c:pt>
                <c:pt idx="3">
                  <c:v>0.908</c:v>
                </c:pt>
                <c:pt idx="4">
                  <c:v>0.694</c:v>
                </c:pt>
                <c:pt idx="5">
                  <c:v>0.725</c:v>
                </c:pt>
                <c:pt idx="6">
                  <c:v>0.854</c:v>
                </c:pt>
                <c:pt idx="7">
                  <c:v>0.764</c:v>
                </c:pt>
                <c:pt idx="8">
                  <c:v>0.434</c:v>
                </c:pt>
                <c:pt idx="9">
                  <c:v>0.495</c:v>
                </c:pt>
                <c:pt idx="10">
                  <c:v>0.482</c:v>
                </c:pt>
                <c:pt idx="11">
                  <c:v>0.269</c:v>
                </c:pt>
                <c:pt idx="12">
                  <c:v>0.037</c:v>
                </c:pt>
                <c:pt idx="13">
                  <c:v>0.073</c:v>
                </c:pt>
                <c:pt idx="14">
                  <c:v>0.073</c:v>
                </c:pt>
                <c:pt idx="15">
                  <c:v>0.008</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7ECAC4"/>
              </a:solidFill>
            </c:spPr>
            <c:extLst>
              <c:ext xmlns:c16="http://schemas.microsoft.com/office/drawing/2014/chart" uri="{C3380CC4-5D6E-409C-BE32-E72D297353CC}">
                <c16:uniqueId val="{00000007-E902-46E2-9A54-39A26B3DFDC1}"/>
              </c:ext>
            </c:extLst>
          </c:dPt>
          <c:dPt>
            <c:idx val="4"/>
            <c:invertIfNegative val="1"/>
            <c:bubble3D val="0"/>
            <c:spPr>
              <a:solidFill>
                <a:srgbClr val="7ECAC4"/>
              </a:solidFill>
            </c:spPr>
            <c:extLst>
              <c:ext xmlns:c16="http://schemas.microsoft.com/office/drawing/2014/chart" uri="{C3380CC4-5D6E-409C-BE32-E72D297353CC}">
                <c16:uniqueId val="{0000000B-FA3E-4872-B6E1-C4ABDF5766E2}"/>
              </c:ext>
            </c:extLst>
          </c:dPt>
          <c:dPt>
            <c:idx val="5"/>
            <c:invertIfNegative val="1"/>
            <c:bubble3D val="0"/>
            <c:spPr>
              <a:solidFill>
                <a:srgbClr val="7ECAC4"/>
              </a:solidFill>
            </c:spPr>
            <c:extLst>
              <c:ext xmlns:c16="http://schemas.microsoft.com/office/drawing/2014/chart" uri="{C3380CC4-5D6E-409C-BE32-E72D297353CC}">
                <c16:uniqueId val="{0000000D-FA3E-4872-B6E1-C4ABDF5766E2}"/>
              </c:ext>
            </c:extLst>
          </c:dPt>
          <c:dPt>
            <c:idx val="6"/>
            <c:invertIfNegative val="1"/>
            <c:bubble3D val="0"/>
            <c:spPr>
              <a:solidFill>
                <a:srgbClr val="7ECAC4"/>
              </a:solidFill>
            </c:spPr>
            <c:extLst>
              <c:ext xmlns:c16="http://schemas.microsoft.com/office/drawing/2014/chart" uri="{C3380CC4-5D6E-409C-BE32-E72D297353CC}">
                <c16:uniqueId val="{0000000F-FA3E-4872-B6E1-C4ABDF5766E2}"/>
              </c:ext>
            </c:extLst>
          </c:dPt>
          <c:dPt>
            <c:idx val="7"/>
            <c:invertIfNegative val="1"/>
            <c:bubble3D val="0"/>
            <c:spPr>
              <a:solidFill>
                <a:srgbClr val="AEABAB"/>
              </a:solidFill>
            </c:spPr>
            <c:extLst>
              <c:ext xmlns:c16="http://schemas.microsoft.com/office/drawing/2014/chart" uri="{C3380CC4-5D6E-409C-BE32-E72D297353CC}">
                <c16:uniqueId val="{00000011-FA3E-4872-B6E1-C4ABDF5766E2}"/>
              </c:ext>
            </c:extLst>
          </c:dPt>
          <c:dPt>
            <c:idx val="8"/>
            <c:invertIfNegative val="1"/>
            <c:bubble3D val="0"/>
            <c:spPr>
              <a:solidFill>
                <a:srgbClr val="AEABAB"/>
              </a:solidFill>
            </c:spPr>
            <c:extLst>
              <c:ext xmlns:c16="http://schemas.microsoft.com/office/drawing/2014/chart" uri="{C3380CC4-5D6E-409C-BE32-E72D297353CC}">
                <c16:uniqueId val="{00000013-FA3E-4872-B6E1-C4ABDF5766E2}"/>
              </c:ext>
            </c:extLst>
          </c:dPt>
          <c:dPt>
            <c:idx val="9"/>
            <c:invertIfNegative val="1"/>
            <c:bubble3D val="0"/>
            <c:spPr>
              <a:solidFill>
                <a:srgbClr val="AEABAB"/>
              </a:solidFill>
            </c:spPr>
            <c:extLst>
              <c:ext xmlns:c16="http://schemas.microsoft.com/office/drawing/2014/chart" uri="{C3380CC4-5D6E-409C-BE32-E72D297353CC}">
                <c16:uniqueId val="{00000015-FA3E-4872-B6E1-C4ABDF5766E2}"/>
              </c:ext>
            </c:extLst>
          </c:dPt>
          <c:dPt>
            <c:idx val="10"/>
            <c:invertIfNegative val="1"/>
            <c:bubble3D val="0"/>
            <c:spPr>
              <a:solidFill>
                <a:srgbClr val="AEABAB"/>
              </a:solidFill>
            </c:spPr>
            <c:extLst>
              <c:ext xmlns:c16="http://schemas.microsoft.com/office/drawing/2014/chart" uri="{C3380CC4-5D6E-409C-BE32-E72D297353CC}">
                <c16:uniqueId val="{00000017-FA3E-4872-B6E1-C4ABDF5766E2}"/>
              </c:ext>
            </c:extLst>
          </c:dPt>
          <c:dPt>
            <c:idx val="11"/>
            <c:invertIfNegative val="1"/>
            <c:bubble3D val="0"/>
            <c:spPr>
              <a:solidFill>
                <a:srgbClr val="AEABAB"/>
              </a:solidFill>
            </c:spPr>
            <c:extLst>
              <c:ext xmlns:c16="http://schemas.microsoft.com/office/drawing/2014/chart" uri="{C3380CC4-5D6E-409C-BE32-E72D297353CC}">
                <c16:uniqueId val="{00000019-FA3E-4872-B6E1-C4ABDF5766E2}"/>
              </c:ext>
            </c:extLst>
          </c:dPt>
          <c:dPt>
            <c:idx val="12"/>
            <c:invertIfNegative val="1"/>
            <c:bubble3D val="0"/>
            <c:spPr>
              <a:solidFill>
                <a:srgbClr val="AEABAB"/>
              </a:solidFill>
            </c:spPr>
            <c:extLst>
              <c:ext xmlns:c16="http://schemas.microsoft.com/office/drawing/2014/chart" uri="{C3380CC4-5D6E-409C-BE32-E72D297353CC}">
                <c16:uniqueId val="{0000001B-FA3E-4872-B6E1-C4ABDF5766E2}"/>
              </c:ext>
            </c:extLst>
          </c:dPt>
          <c:dPt>
            <c:idx val="13"/>
            <c:invertIfNegative val="1"/>
            <c:bubble3D val="0"/>
            <c:spPr>
              <a:solidFill>
                <a:srgbClr val="AEABAB"/>
              </a:solidFill>
            </c:spPr>
            <c:extLst>
              <c:ext xmlns:c16="http://schemas.microsoft.com/office/drawing/2014/chart" uri="{C3380CC4-5D6E-409C-BE32-E72D297353CC}">
                <c16:uniqueId val="{0000001D-FA3E-4872-B6E1-C4ABDF5766E2}"/>
              </c:ext>
            </c:extLst>
          </c:dPt>
          <c:dPt>
            <c:idx val="14"/>
            <c:invertIfNegative val="1"/>
            <c:bubble3D val="0"/>
            <c:spPr>
              <a:solidFill>
                <a:srgbClr val="AEABAB"/>
              </a:solidFill>
            </c:spPr>
            <c:extLst>
              <c:ext xmlns:c16="http://schemas.microsoft.com/office/drawing/2014/chart" uri="{C3380CC4-5D6E-409C-BE32-E72D297353CC}">
                <c16:uniqueId val="{0000001F-FA3E-4872-B6E1-C4ABDF5766E2}"/>
              </c:ext>
            </c:extLst>
          </c:dPt>
          <c:dPt>
            <c:idx val="15"/>
            <c:invertIfNegative val="1"/>
            <c:bubble3D val="0"/>
            <c:spPr>
              <a:solidFill>
                <a:srgbClr val="AEABAB"/>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17</c:f>
              <c:strCache>
                <c:ptCount val="16"/>
                <c:pt idx="0">
                  <c:v>La Vache Qui Rit Nature Fromage Fondu Boite Ronde 1X512Gr 32P</c:v>
                </c:pt>
                <c:pt idx="1">
                  <c:v>La Vache Qui Rit Nature Fromage Fondu Boite Ronde 1X384Gr 24P</c:v>
                </c:pt>
                <c:pt idx="2">
                  <c:v>La Vache Qui Rit Nature Fromage Fondu Boite Ronde 1X192Gr 12P</c:v>
                </c:pt>
                <c:pt idx="3">
                  <c:v>La Vache Qui Rit Pik Et Croq' Fromage Fondu Dips Boite 1X175Gr 5P</c:v>
                </c:pt>
                <c:pt idx="4">
                  <c:v>La Vache Qui Rit Nature Fromage Fondu Boite Ronde 1X128Gr 8P</c:v>
                </c:pt>
                <c:pt idx="5">
                  <c:v>La Vache Qui Rit Nature Fromage Fondu Boite Ronde 1X512Gr 24+8P</c:v>
                </c:pt>
                <c:pt idx="6">
                  <c:v>Toastinette Cheddar Fondu Tranche A Chaud Sachet 1X200Gr 10P</c:v>
                </c:pt>
                <c:pt idx="7">
                  <c:v>Toastinette Fromage Fondu Tranche A Chaud Sachet 1X200Gr 10P</c:v>
                </c:pt>
                <c:pt idx="8">
                  <c:v>La Vache Qui Rit Pik Et Croq' Fromage Fondu Dips Boite 1X280Gr 8P</c:v>
                </c:pt>
                <c:pt idx="9">
                  <c:v>La Vache Qui Rit Allegee Fromage Fondu Boite Ronde Allege 1X267Gr 16P</c:v>
                </c:pt>
                <c:pt idx="10">
                  <c:v>La Vache Qui Rit Bio Fromage Fondu Boite Ronde 1X128Gr 8P</c:v>
                </c:pt>
                <c:pt idx="11">
                  <c:v>La Vache Qui Rit Le Fondant Fromage Fondu 1X200Gr 1P</c:v>
                </c:pt>
                <c:pt idx="12">
                  <c:v>La Vache Qui Rit Aro Fromage Fondu Boite Ronde Jambon 1X133Gr 8P</c:v>
                </c:pt>
                <c:pt idx="13">
                  <c:v>Toastinette Fromage Fondu Tranche A Chaud Sachet 1X340Gr 20P</c:v>
                </c:pt>
                <c:pt idx="14">
                  <c:v>Toastinette Cheddar Fondu Tranche A Chaud Sachet 1X340Gr 20P</c:v>
                </c:pt>
                <c:pt idx="15">
                  <c:v>La Vache Qui Rit Pik Et Croq' Fromage Fondu Dips Boite 1X35Gr 1P</c:v>
                </c:pt>
              </c:strCache>
            </c:strRef>
          </c:cat>
          <c:val>
            <c:numRef>
              <c:f>Sheet1!$C$2:$C$17</c:f>
              <c:numCache>
                <c:formatCode>General</c:formatCode>
                <c:ptCount val="16"/>
                <c:pt idx="0">
                  <c:v>0.3683295125859046</c:v>
                </c:pt>
                <c:pt idx="1">
                  <c:v>0.5718390297557725</c:v>
                </c:pt>
                <c:pt idx="2">
                  <c:v>0.7695897134991807</c:v>
                </c:pt>
                <c:pt idx="3">
                  <c:v>0.8249275178305436</c:v>
                </c:pt>
                <c:pt idx="4">
                  <c:v>0.8726077383089096</c:v>
                </c:pt>
                <c:pt idx="5">
                  <c:v>0.9162980123866593</c:v>
                </c:pt>
                <c:pt idx="6">
                  <c:v>0.9423178703149164</c:v>
                </c:pt>
                <c:pt idx="7">
                  <c:v>0.9652468983948815</c:v>
                </c:pt>
                <c:pt idx="8">
                  <c:v>0.979030779617639</c:v>
                </c:pt>
                <c:pt idx="9">
                  <c:v>0.990389890509251</c:v>
                </c:pt>
                <c:pt idx="10">
                  <c:v>0.9953111003332477</c:v>
                </c:pt>
                <c:pt idx="11">
                  <c:v>0.9965647971845192</c:v>
                </c:pt>
                <c:pt idx="12">
                  <c:v>0.9974998261174811</c:v>
                </c:pt>
                <c:pt idx="13">
                  <c:v>0.9983466923343717</c:v>
                </c:pt>
                <c:pt idx="14">
                  <c:v>0.9991236321047348</c:v>
                </c:pt>
                <c:pt idx="15">
                  <c:v>0.999855292400377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17</c:f>
              <c:strCache>
                <c:ptCount val="16"/>
                <c:pt idx="0">
                  <c:v>La Vache Qui Rit Nature Fromage Fondu Boite Ronde 1X512Gr 32P</c:v>
                </c:pt>
                <c:pt idx="1">
                  <c:v>La Vache Qui Rit Nature Fromage Fondu Boite Ronde 1X384Gr 24P</c:v>
                </c:pt>
                <c:pt idx="2">
                  <c:v>La Vache Qui Rit Nature Fromage Fondu Boite Ronde 1X192Gr 12P</c:v>
                </c:pt>
                <c:pt idx="3">
                  <c:v>La Vache Qui Rit Pik Et Croq' Fromage Fondu Dips Boite 1X175Gr 5P</c:v>
                </c:pt>
                <c:pt idx="4">
                  <c:v>La Vache Qui Rit Nature Fromage Fondu Boite Ronde 1X128Gr 8P</c:v>
                </c:pt>
                <c:pt idx="5">
                  <c:v>La Vache Qui Rit Nature Fromage Fondu Boite Ronde 1X512Gr 24+8P</c:v>
                </c:pt>
                <c:pt idx="6">
                  <c:v>Toastinette Cheddar Fondu Tranche A Chaud Sachet 1X200Gr 10P</c:v>
                </c:pt>
                <c:pt idx="7">
                  <c:v>Toastinette Fromage Fondu Tranche A Chaud Sachet 1X200Gr 10P</c:v>
                </c:pt>
                <c:pt idx="8">
                  <c:v>La Vache Qui Rit Pik Et Croq' Fromage Fondu Dips Boite 1X280Gr 8P</c:v>
                </c:pt>
                <c:pt idx="9">
                  <c:v>La Vache Qui Rit Allegee Fromage Fondu Boite Ronde Allege 1X267Gr 16P</c:v>
                </c:pt>
                <c:pt idx="10">
                  <c:v>La Vache Qui Rit Bio Fromage Fondu Boite Ronde 1X128Gr 8P</c:v>
                </c:pt>
                <c:pt idx="11">
                  <c:v>La Vache Qui Rit Le Fondant Fromage Fondu 1X200Gr 1P</c:v>
                </c:pt>
                <c:pt idx="12">
                  <c:v>La Vache Qui Rit Aro Fromage Fondu Boite Ronde Jambon 1X133Gr 8P</c:v>
                </c:pt>
                <c:pt idx="13">
                  <c:v>Toastinette Fromage Fondu Tranche A Chaud Sachet 1X340Gr 20P</c:v>
                </c:pt>
                <c:pt idx="14">
                  <c:v>Toastinette Cheddar Fondu Tranche A Chaud Sachet 1X340Gr 20P</c:v>
                </c:pt>
                <c:pt idx="15">
                  <c:v>La Vache Qui Rit Pik Et Croq' Fromage Fondu Dips Boite 1X35Gr 1P</c:v>
                </c:pt>
              </c:strCache>
            </c:strRef>
          </c:cat>
          <c:val>
            <c:numRef>
              <c:f>Sheet1!$D$2:$D$17</c:f>
              <c:numCache>
                <c:formatCode>General</c:formatCode>
                <c:ptCount val="16"/>
                <c:pt idx="0">
                  <c:v>143117.46070133013</c:v>
                </c:pt>
                <c:pt idx="1">
                  <c:v>72823.24053452116</c:v>
                </c:pt>
                <c:pt idx="2">
                  <c:v>64775.47400611621</c:v>
                </c:pt>
                <c:pt idx="3">
                  <c:v>19583.832599118945</c:v>
                </c:pt>
                <c:pt idx="4">
                  <c:v>22077.017291066284</c:v>
                </c:pt>
                <c:pt idx="5">
                  <c:v>19364.593103448275</c:v>
                </c:pt>
                <c:pt idx="6">
                  <c:v>9790.585480093678</c:v>
                </c:pt>
                <c:pt idx="7">
                  <c:v>9643.92670157068</c:v>
                </c:pt>
                <c:pt idx="8">
                  <c:v>10205.714285714286</c:v>
                </c:pt>
                <c:pt idx="9">
                  <c:v>7373.959595959596</c:v>
                </c:pt>
                <c:pt idx="10">
                  <c:v>3280.850622406639</c:v>
                </c:pt>
                <c:pt idx="11">
                  <c:v>1497.620817843866</c:v>
                </c:pt>
                <c:pt idx="12">
                  <c:v>8120.540540540541</c:v>
                </c:pt>
                <c:pt idx="13">
                  <c:v>3727.8082191780823</c:v>
                </c:pt>
                <c:pt idx="14">
                  <c:v>3420.0</c:v>
                </c:pt>
                <c:pt idx="15">
                  <c:v>29388.75</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32</c:f>
              <c:strCache>
                <c:ptCount val="31"/>
                <c:pt idx="0">
                  <c:v>Boursin Classique Fromage Frais A Tartiner Afh Boite 1X150Gr 1P</c:v>
                </c:pt>
                <c:pt idx="1">
                  <c:v>Boursin Classique Fromage Frais A Tartiner Afh 1X160Gr 10P</c:v>
                </c:pt>
                <c:pt idx="2">
                  <c:v>Boursin Aperitif Roules Fromage Frais Roule Afh Et Jambon Fume Boite 1X100Gr 20P</c:v>
                </c:pt>
                <c:pt idx="3">
                  <c:v>Boursin Classique Fromage Frais A Tartiner Afh Boite 1X250Gr 1P</c:v>
                </c:pt>
                <c:pt idx="4">
                  <c:v>Boursin Salade &amp; Aperitif Fromage Frais Des Afh 1X120Gr 1P</c:v>
                </c:pt>
                <c:pt idx="5">
                  <c:v>Boursin Aperitif Roules Fromage Frais Roule Ciboulette &amp; Echalote Jambon Fume Boite 1X100Gr 20P</c:v>
                </c:pt>
                <c:pt idx="6">
                  <c:v>Boursin Classique Fromage Frais A Tartiner Afh Boite 1X96Gr 6P</c:v>
                </c:pt>
                <c:pt idx="7">
                  <c:v>Boursin Classique Fromage Frais A Tartiner Ciboulette &amp; Echalote Boite 1X150Gr 1P</c:v>
                </c:pt>
                <c:pt idx="8">
                  <c:v>Boursin Onctueux Fromage Frais A Tartiner Afh 1X125Gr 1P</c:v>
                </c:pt>
                <c:pt idx="9">
                  <c:v>Boursin Salade &amp; Aperitif Fromage Frais Des Ciboulette Echalote 1X120Gr 1P</c:v>
                </c:pt>
                <c:pt idx="10">
                  <c:v>Boursin Classique Fromage Frais A Tartiner Figue Et 3 Noix Boite 1X150Gr 1P</c:v>
                </c:pt>
                <c:pt idx="11">
                  <c:v>Boursin Cuisine Sauce Fromage Afh 1X240Gr 1P</c:v>
                </c:pt>
                <c:pt idx="12">
                  <c:v>Boursin Salade &amp; Aperitif Fromage Frais Des Figue Noix 1X120Gr 1P</c:v>
                </c:pt>
                <c:pt idx="13">
                  <c:v>Boursin Salade &amp; Aperitif Fromage Frais Des Citron Romarin 1X120Gr 1P</c:v>
                </c:pt>
                <c:pt idx="14">
                  <c:v>Boursin Classique Fromage Frais A Tartiner Afh Boite 1X80Gr 1P</c:v>
                </c:pt>
                <c:pt idx="15">
                  <c:v>Boursin Salade &amp; Aperitif Fromage Frais Des Noisette Et 3 Noix 1X120Gr 1P</c:v>
                </c:pt>
                <c:pt idx="16">
                  <c:v>Boursin Classique Fromage Frais A Tartiner Afh 1X256Gr 16P</c:v>
                </c:pt>
                <c:pt idx="17">
                  <c:v>Boursin Salade &amp; Aperitif Soft Cheese Salade 120G</c:v>
                </c:pt>
                <c:pt idx="18">
                  <c:v>Boursin Classique Fromage Frais A Tartiner 3 Noix Boite 1X150Gr 1P</c:v>
                </c:pt>
                <c:pt idx="19">
                  <c:v>Boursin Classique Fromage Frais A Tartiner Poivre Boite 1X150Gr 1P</c:v>
                </c:pt>
                <c:pt idx="20">
                  <c:v>Boursin Vegetal Specialite Vegetale A Tartiner Afh 1X130Gr 1P</c:v>
                </c:pt>
                <c:pt idx="21">
                  <c:v>Boursin Onctueux Fromage Frais A Tartiner Afh 1X210Gr 1P</c:v>
                </c:pt>
                <c:pt idx="22">
                  <c:v>Boursin Aperitif Roules Aperitif 100G</c:v>
                </c:pt>
                <c:pt idx="23">
                  <c:v>Boursin Aperitif Roules Fromage Frais Roule Jambon Fume &amp; Trio De Noix Boite 1X100Gr 20P</c:v>
                </c:pt>
                <c:pt idx="24">
                  <c:v>Boursin Classique Fromage Frais A Tartiner Truffe Boite 1X150Gr 1P</c:v>
                </c:pt>
                <c:pt idx="25">
                  <c:v>Boursin Classique Fromage Frais A Tartiner Afh Boite 1X320Gr 16+4P</c:v>
                </c:pt>
                <c:pt idx="26">
                  <c:v>Boursin Vegetal Alternative Vegetale 150G</c:v>
                </c:pt>
                <c:pt idx="27">
                  <c:v>Boursin Classique Fromage Frais A Tartiner 3 Noix 1X160Gr 10P</c:v>
                </c:pt>
                <c:pt idx="28">
                  <c:v>Boursin Classique Fromage Frais A Tartiner Citron &amp; Romarin Boite 1X150Gr 1P</c:v>
                </c:pt>
                <c:pt idx="29">
                  <c:v>Boursin Classique Fromage Frais A Tartiner Ciboulette &amp; Echalote 1X160Gr 10P</c:v>
                </c:pt>
                <c:pt idx="30">
                  <c:v>Boursin Aperitif Roules Fromage Frais Roule Basilic &amp; Jambon Fume Tomate Boite 1X100Gr 20P</c:v>
                </c:pt>
              </c:strCache>
            </c:strRef>
          </c:cat>
          <c:val>
            <c:numRef>
              <c:f>Sheet1!$B$2:$B$32</c:f>
              <c:numCache>
                <c:formatCode>General</c:formatCode>
                <c:ptCount val="31"/>
                <c:pt idx="0">
                  <c:v>0.968</c:v>
                </c:pt>
                <c:pt idx="1">
                  <c:v>0.915</c:v>
                </c:pt>
                <c:pt idx="2">
                  <c:v>0.905</c:v>
                </c:pt>
                <c:pt idx="3">
                  <c:v>0.817</c:v>
                </c:pt>
                <c:pt idx="4">
                  <c:v>0.962</c:v>
                </c:pt>
                <c:pt idx="5">
                  <c:v>0.788</c:v>
                </c:pt>
                <c:pt idx="6">
                  <c:v>0.821</c:v>
                </c:pt>
                <c:pt idx="7">
                  <c:v>0.793</c:v>
                </c:pt>
                <c:pt idx="8">
                  <c:v>0.774</c:v>
                </c:pt>
                <c:pt idx="9">
                  <c:v>0.817</c:v>
                </c:pt>
                <c:pt idx="10">
                  <c:v>0.694</c:v>
                </c:pt>
                <c:pt idx="11">
                  <c:v>0.773</c:v>
                </c:pt>
                <c:pt idx="12">
                  <c:v>0.801</c:v>
                </c:pt>
                <c:pt idx="13">
                  <c:v>0.707</c:v>
                </c:pt>
                <c:pt idx="14">
                  <c:v>0.447</c:v>
                </c:pt>
                <c:pt idx="15">
                  <c:v>0.738</c:v>
                </c:pt>
                <c:pt idx="16">
                  <c:v>0.265</c:v>
                </c:pt>
                <c:pt idx="17">
                  <c:v>0.698</c:v>
                </c:pt>
                <c:pt idx="18">
                  <c:v>0.537</c:v>
                </c:pt>
                <c:pt idx="19">
                  <c:v>0.402</c:v>
                </c:pt>
                <c:pt idx="20">
                  <c:v>0.442</c:v>
                </c:pt>
                <c:pt idx="21">
                  <c:v>0.281</c:v>
                </c:pt>
                <c:pt idx="22">
                  <c:v>0.352</c:v>
                </c:pt>
                <c:pt idx="23">
                  <c:v>0.409</c:v>
                </c:pt>
                <c:pt idx="24">
                  <c:v>0.511</c:v>
                </c:pt>
                <c:pt idx="25">
                  <c:v>0.528</c:v>
                </c:pt>
                <c:pt idx="26">
                  <c:v>0.455</c:v>
                </c:pt>
                <c:pt idx="27">
                  <c:v>0.379</c:v>
                </c:pt>
                <c:pt idx="28">
                  <c:v>0.324</c:v>
                </c:pt>
                <c:pt idx="29">
                  <c:v>0.075</c:v>
                </c:pt>
                <c:pt idx="30">
                  <c:v>0.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7ECAC4"/>
              </a:solidFill>
            </c:spPr>
            <c:extLst>
              <c:ext xmlns:c16="http://schemas.microsoft.com/office/drawing/2014/chart" uri="{C3380CC4-5D6E-409C-BE32-E72D297353CC}">
                <c16:uniqueId val="{00000011-FA3E-4872-B6E1-C4ABDF5766E2}"/>
              </c:ext>
            </c:extLst>
          </c:dPt>
          <c:dPt>
            <c:idx val="8"/>
            <c:invertIfNegative val="1"/>
            <c:bubble3D val="0"/>
            <c:spPr>
              <a:solidFill>
                <a:srgbClr val="7ECAC4"/>
              </a:solidFill>
            </c:spPr>
            <c:extLst>
              <c:ext xmlns:c16="http://schemas.microsoft.com/office/drawing/2014/chart" uri="{C3380CC4-5D6E-409C-BE32-E72D297353CC}">
                <c16:uniqueId val="{00000013-FA3E-4872-B6E1-C4ABDF5766E2}"/>
              </c:ext>
            </c:extLst>
          </c:dPt>
          <c:dPt>
            <c:idx val="9"/>
            <c:invertIfNegative val="1"/>
            <c:bubble3D val="0"/>
            <c:spPr>
              <a:solidFill>
                <a:srgbClr val="7ECAC4"/>
              </a:solidFill>
            </c:spPr>
            <c:extLst>
              <c:ext xmlns:c16="http://schemas.microsoft.com/office/drawing/2014/chart" uri="{C3380CC4-5D6E-409C-BE32-E72D297353CC}">
                <c16:uniqueId val="{00000015-FA3E-4872-B6E1-C4ABDF5766E2}"/>
              </c:ext>
            </c:extLst>
          </c:dPt>
          <c:dPt>
            <c:idx val="10"/>
            <c:invertIfNegative val="1"/>
            <c:bubble3D val="0"/>
            <c:spPr>
              <a:solidFill>
                <a:srgbClr val="7ECAC4"/>
              </a:solidFill>
            </c:spPr>
            <c:extLst>
              <c:ext xmlns:c16="http://schemas.microsoft.com/office/drawing/2014/chart" uri="{C3380CC4-5D6E-409C-BE32-E72D297353CC}">
                <c16:uniqueId val="{00000017-FA3E-4872-B6E1-C4ABDF5766E2}"/>
              </c:ext>
            </c:extLst>
          </c:dPt>
          <c:dPt>
            <c:idx val="11"/>
            <c:invertIfNegative val="1"/>
            <c:bubble3D val="0"/>
            <c:spPr>
              <a:solidFill>
                <a:srgbClr val="7ECAC4"/>
              </a:solidFill>
            </c:spPr>
            <c:extLst>
              <c:ext xmlns:c16="http://schemas.microsoft.com/office/drawing/2014/chart" uri="{C3380CC4-5D6E-409C-BE32-E72D297353CC}">
                <c16:uniqueId val="{00000019-FA3E-4872-B6E1-C4ABDF5766E2}"/>
              </c:ext>
            </c:extLst>
          </c:dPt>
          <c:dPt>
            <c:idx val="12"/>
            <c:invertIfNegative val="1"/>
            <c:bubble3D val="0"/>
            <c:spPr>
              <a:solidFill>
                <a:srgbClr val="7ECAC4"/>
              </a:solidFill>
            </c:spPr>
            <c:extLst>
              <c:ext xmlns:c16="http://schemas.microsoft.com/office/drawing/2014/chart" uri="{C3380CC4-5D6E-409C-BE32-E72D297353CC}">
                <c16:uniqueId val="{0000001B-FA3E-4872-B6E1-C4ABDF5766E2}"/>
              </c:ext>
            </c:extLst>
          </c:dPt>
          <c:dPt>
            <c:idx val="13"/>
            <c:invertIfNegative val="1"/>
            <c:bubble3D val="0"/>
            <c:spPr>
              <a:solidFill>
                <a:srgbClr val="7ECAC4"/>
              </a:solidFill>
            </c:spPr>
            <c:extLst>
              <c:ext xmlns:c16="http://schemas.microsoft.com/office/drawing/2014/chart" uri="{C3380CC4-5D6E-409C-BE32-E72D297353CC}">
                <c16:uniqueId val="{0000001D-FA3E-4872-B6E1-C4ABDF5766E2}"/>
              </c:ext>
            </c:extLst>
          </c:dPt>
          <c:dPt>
            <c:idx val="14"/>
            <c:invertIfNegative val="1"/>
            <c:bubble3D val="0"/>
            <c:spPr>
              <a:solidFill>
                <a:srgbClr val="7ECAC4"/>
              </a:solidFill>
            </c:spPr>
            <c:extLst>
              <c:ext xmlns:c16="http://schemas.microsoft.com/office/drawing/2014/chart" uri="{C3380CC4-5D6E-409C-BE32-E72D297353CC}">
                <c16:uniqueId val="{0000001F-FA3E-4872-B6E1-C4ABDF5766E2}"/>
              </c:ext>
            </c:extLst>
          </c:dPt>
          <c:dPt>
            <c:idx val="15"/>
            <c:invertIfNegative val="1"/>
            <c:bubble3D val="0"/>
            <c:spPr>
              <a:solidFill>
                <a:srgbClr val="AEABAB"/>
              </a:solidFill>
            </c:spPr>
            <c:extLst>
              <c:ext xmlns:c16="http://schemas.microsoft.com/office/drawing/2014/chart" uri="{C3380CC4-5D6E-409C-BE32-E72D297353CC}">
                <c16:uniqueId val="{00000021-FA3E-4872-B6E1-C4ABDF5766E2}"/>
              </c:ext>
            </c:extLst>
          </c:dPt>
          <c:dPt>
            <c:idx val="16"/>
            <c:invertIfNegative val="1"/>
            <c:bubble3D val="0"/>
            <c:spPr>
              <a:solidFill>
                <a:srgbClr val="AEABAB"/>
              </a:solidFill>
            </c:spPr>
            <c:extLst>
              <c:ext xmlns:c16="http://schemas.microsoft.com/office/drawing/2014/chart" uri="{C3380CC4-5D6E-409C-BE32-E72D297353CC}">
                <c16:uniqueId val="{00000023-FA3E-4872-B6E1-C4ABDF5766E2}"/>
              </c:ext>
            </c:extLst>
          </c:dPt>
          <c:dPt>
            <c:idx val="17"/>
            <c:invertIfNegative val="1"/>
            <c:bubble3D val="0"/>
            <c:spPr>
              <a:solidFill>
                <a:srgbClr val="AEABAB"/>
              </a:solidFill>
            </c:spPr>
            <c:extLst>
              <c:ext xmlns:c16="http://schemas.microsoft.com/office/drawing/2014/chart" uri="{C3380CC4-5D6E-409C-BE32-E72D297353CC}">
                <c16:uniqueId val="{00000025-FA3E-4872-B6E1-C4ABDF5766E2}"/>
              </c:ext>
            </c:extLst>
          </c:dPt>
          <c:dPt>
            <c:idx val="18"/>
            <c:invertIfNegative val="1"/>
            <c:bubble3D val="0"/>
            <c:spPr>
              <a:solidFill>
                <a:srgbClr val="AEABAB"/>
              </a:solidFill>
            </c:spPr>
            <c:extLst>
              <c:ext xmlns:c16="http://schemas.microsoft.com/office/drawing/2014/chart" uri="{C3380CC4-5D6E-409C-BE32-E72D297353CC}">
                <c16:uniqueId val="{00000027-FA3E-4872-B6E1-C4ABDF5766E2}"/>
              </c:ext>
            </c:extLst>
          </c:dPt>
          <c:dPt>
            <c:idx val="19"/>
            <c:invertIfNegative val="1"/>
            <c:bubble3D val="0"/>
            <c:spPr>
              <a:solidFill>
                <a:srgbClr val="AEABAB"/>
              </a:solidFill>
            </c:spPr>
            <c:extLst>
              <c:ext xmlns:c16="http://schemas.microsoft.com/office/drawing/2014/chart" uri="{C3380CC4-5D6E-409C-BE32-E72D297353CC}">
                <c16:uniqueId val="{00000029-FA3E-4872-B6E1-C4ABDF5766E2}"/>
              </c:ext>
            </c:extLst>
          </c:dPt>
          <c:dPt>
            <c:idx val="20"/>
            <c:invertIfNegative val="1"/>
            <c:bubble3D val="0"/>
            <c:spPr>
              <a:solidFill>
                <a:srgbClr val="AEABAB"/>
              </a:solidFill>
            </c:spPr>
            <c:extLst>
              <c:ext xmlns:c16="http://schemas.microsoft.com/office/drawing/2014/chart" uri="{C3380CC4-5D6E-409C-BE32-E72D297353CC}">
                <c16:uniqueId val="{0000002B-FA3E-4872-B6E1-C4ABDF5766E2}"/>
              </c:ext>
            </c:extLst>
          </c:dPt>
          <c:dPt>
            <c:idx val="21"/>
            <c:invertIfNegative val="1"/>
            <c:bubble3D val="0"/>
            <c:spPr>
              <a:solidFill>
                <a:srgbClr val="AEABAB"/>
              </a:solidFill>
            </c:spPr>
            <c:extLst>
              <c:ext xmlns:c16="http://schemas.microsoft.com/office/drawing/2014/chart" uri="{C3380CC4-5D6E-409C-BE32-E72D297353CC}">
                <c16:uniqueId val="{0000002D-FA3E-4872-B6E1-C4ABDF5766E2}"/>
              </c:ext>
            </c:extLst>
          </c:dPt>
          <c:dPt>
            <c:idx val="22"/>
            <c:invertIfNegative val="1"/>
            <c:bubble3D val="0"/>
            <c:spPr>
              <a:solidFill>
                <a:srgbClr val="AEABAB"/>
              </a:solidFill>
            </c:spPr>
            <c:extLst>
              <c:ext xmlns:c16="http://schemas.microsoft.com/office/drawing/2014/chart" uri="{C3380CC4-5D6E-409C-BE32-E72D297353CC}">
                <c16:uniqueId val="{0000002F-FA3E-4872-B6E1-C4ABDF5766E2}"/>
              </c:ext>
            </c:extLst>
          </c:dPt>
          <c:dPt>
            <c:idx val="23"/>
            <c:invertIfNegative val="1"/>
            <c:bubble3D val="0"/>
            <c:spPr>
              <a:solidFill>
                <a:srgbClr val="AEABAB"/>
              </a:solidFill>
            </c:spPr>
            <c:extLst>
              <c:ext xmlns:c16="http://schemas.microsoft.com/office/drawing/2014/chart" uri="{C3380CC4-5D6E-409C-BE32-E72D297353CC}">
                <c16:uniqueId val="{00000031-FA3E-4872-B6E1-C4ABDF5766E2}"/>
              </c:ext>
            </c:extLst>
          </c:dPt>
          <c:dPt>
            <c:idx val="24"/>
            <c:invertIfNegative val="1"/>
            <c:bubble3D val="0"/>
            <c:spPr>
              <a:solidFill>
                <a:srgbClr val="AEABAB"/>
              </a:solidFill>
            </c:spPr>
            <c:extLst>
              <c:ext xmlns:c16="http://schemas.microsoft.com/office/drawing/2014/chart" uri="{C3380CC4-5D6E-409C-BE32-E72D297353CC}">
                <c16:uniqueId val="{00000033-FA3E-4872-B6E1-C4ABDF5766E2}"/>
              </c:ext>
            </c:extLst>
          </c:dPt>
          <c:dPt>
            <c:idx val="25"/>
            <c:invertIfNegative val="1"/>
            <c:bubble3D val="0"/>
            <c:spPr>
              <a:solidFill>
                <a:srgbClr val="AEABAB"/>
              </a:solidFill>
            </c:spPr>
            <c:extLst>
              <c:ext xmlns:c16="http://schemas.microsoft.com/office/drawing/2014/chart" uri="{C3380CC4-5D6E-409C-BE32-E72D297353CC}">
                <c16:uniqueId val="{00000035-FA3E-4872-B6E1-C4ABDF5766E2}"/>
              </c:ext>
            </c:extLst>
          </c:dPt>
          <c:dPt>
            <c:idx val="26"/>
            <c:invertIfNegative val="1"/>
            <c:bubble3D val="0"/>
            <c:spPr>
              <a:solidFill>
                <a:srgbClr val="AEABAB"/>
              </a:solidFill>
            </c:spPr>
            <c:extLst>
              <c:ext xmlns:c16="http://schemas.microsoft.com/office/drawing/2014/chart" uri="{C3380CC4-5D6E-409C-BE32-E72D297353CC}">
                <c16:uniqueId val="{00000037-FA3E-4872-B6E1-C4ABDF5766E2}"/>
              </c:ext>
            </c:extLst>
          </c:dPt>
          <c:dPt>
            <c:idx val="27"/>
            <c:invertIfNegative val="1"/>
            <c:bubble3D val="0"/>
            <c:spPr>
              <a:solidFill>
                <a:srgbClr val="AEABAB"/>
              </a:solidFill>
            </c:spPr>
            <c:extLst>
              <c:ext xmlns:c16="http://schemas.microsoft.com/office/drawing/2014/chart" uri="{C3380CC4-5D6E-409C-BE32-E72D297353CC}">
                <c16:uniqueId val="{00000039-FA3E-4872-B6E1-C4ABDF5766E2}"/>
              </c:ext>
            </c:extLst>
          </c:dPt>
          <c:dPt>
            <c:idx val="28"/>
            <c:invertIfNegative val="1"/>
            <c:bubble3D val="0"/>
            <c:spPr>
              <a:solidFill>
                <a:srgbClr val="AEABAB"/>
              </a:solidFill>
            </c:spPr>
            <c:extLst>
              <c:ext xmlns:c16="http://schemas.microsoft.com/office/drawing/2014/chart" uri="{C3380CC4-5D6E-409C-BE32-E72D297353CC}">
                <c16:uniqueId val="{0000003B-FA3E-4872-B6E1-C4ABDF5766E2}"/>
              </c:ext>
            </c:extLst>
          </c:dPt>
          <c:dPt>
            <c:idx val="29"/>
            <c:invertIfNegative val="1"/>
            <c:bubble3D val="0"/>
            <c:spPr>
              <a:solidFill>
                <a:srgbClr val="AEABAB"/>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32</c:f>
              <c:strCache>
                <c:ptCount val="31"/>
                <c:pt idx="0">
                  <c:v>Boursin Classique Fromage Frais A Tartiner Afh Boite 1X150Gr 1P</c:v>
                </c:pt>
                <c:pt idx="1">
                  <c:v>Boursin Classique Fromage Frais A Tartiner Afh 1X160Gr 10P</c:v>
                </c:pt>
                <c:pt idx="2">
                  <c:v>Boursin Aperitif Roules Fromage Frais Roule Afh Et Jambon Fume Boite 1X100Gr 20P</c:v>
                </c:pt>
                <c:pt idx="3">
                  <c:v>Boursin Classique Fromage Frais A Tartiner Afh Boite 1X250Gr 1P</c:v>
                </c:pt>
                <c:pt idx="4">
                  <c:v>Boursin Salade &amp; Aperitif Fromage Frais Des Afh 1X120Gr 1P</c:v>
                </c:pt>
                <c:pt idx="5">
                  <c:v>Boursin Aperitif Roules Fromage Frais Roule Ciboulette &amp; Echalote Jambon Fume Boite 1X100Gr 20P</c:v>
                </c:pt>
                <c:pt idx="6">
                  <c:v>Boursin Classique Fromage Frais A Tartiner Afh Boite 1X96Gr 6P</c:v>
                </c:pt>
                <c:pt idx="7">
                  <c:v>Boursin Classique Fromage Frais A Tartiner Ciboulette &amp; Echalote Boite 1X150Gr 1P</c:v>
                </c:pt>
                <c:pt idx="8">
                  <c:v>Boursin Onctueux Fromage Frais A Tartiner Afh 1X125Gr 1P</c:v>
                </c:pt>
                <c:pt idx="9">
                  <c:v>Boursin Salade &amp; Aperitif Fromage Frais Des Ciboulette Echalote 1X120Gr 1P</c:v>
                </c:pt>
                <c:pt idx="10">
                  <c:v>Boursin Classique Fromage Frais A Tartiner Figue Et 3 Noix Boite 1X150Gr 1P</c:v>
                </c:pt>
                <c:pt idx="11">
                  <c:v>Boursin Cuisine Sauce Fromage Afh 1X240Gr 1P</c:v>
                </c:pt>
                <c:pt idx="12">
                  <c:v>Boursin Salade &amp; Aperitif Fromage Frais Des Figue Noix 1X120Gr 1P</c:v>
                </c:pt>
                <c:pt idx="13">
                  <c:v>Boursin Salade &amp; Aperitif Fromage Frais Des Citron Romarin 1X120Gr 1P</c:v>
                </c:pt>
                <c:pt idx="14">
                  <c:v>Boursin Classique Fromage Frais A Tartiner Afh Boite 1X80Gr 1P</c:v>
                </c:pt>
                <c:pt idx="15">
                  <c:v>Boursin Salade &amp; Aperitif Fromage Frais Des Noisette Et 3 Noix 1X120Gr 1P</c:v>
                </c:pt>
                <c:pt idx="16">
                  <c:v>Boursin Classique Fromage Frais A Tartiner Afh 1X256Gr 16P</c:v>
                </c:pt>
                <c:pt idx="17">
                  <c:v>Boursin Salade &amp; Aperitif Soft Cheese Salade 120G</c:v>
                </c:pt>
                <c:pt idx="18">
                  <c:v>Boursin Classique Fromage Frais A Tartiner 3 Noix Boite 1X150Gr 1P</c:v>
                </c:pt>
                <c:pt idx="19">
                  <c:v>Boursin Classique Fromage Frais A Tartiner Poivre Boite 1X150Gr 1P</c:v>
                </c:pt>
                <c:pt idx="20">
                  <c:v>Boursin Vegetal Specialite Vegetale A Tartiner Afh 1X130Gr 1P</c:v>
                </c:pt>
                <c:pt idx="21">
                  <c:v>Boursin Onctueux Fromage Frais A Tartiner Afh 1X210Gr 1P</c:v>
                </c:pt>
                <c:pt idx="22">
                  <c:v>Boursin Aperitif Roules Aperitif 100G</c:v>
                </c:pt>
                <c:pt idx="23">
                  <c:v>Boursin Aperitif Roules Fromage Frais Roule Jambon Fume &amp; Trio De Noix Boite 1X100Gr 20P</c:v>
                </c:pt>
                <c:pt idx="24">
                  <c:v>Boursin Classique Fromage Frais A Tartiner Truffe Boite 1X150Gr 1P</c:v>
                </c:pt>
                <c:pt idx="25">
                  <c:v>Boursin Classique Fromage Frais A Tartiner Afh Boite 1X320Gr 16+4P</c:v>
                </c:pt>
                <c:pt idx="26">
                  <c:v>Boursin Vegetal Alternative Vegetale 150G</c:v>
                </c:pt>
                <c:pt idx="27">
                  <c:v>Boursin Classique Fromage Frais A Tartiner 3 Noix 1X160Gr 10P</c:v>
                </c:pt>
                <c:pt idx="28">
                  <c:v>Boursin Classique Fromage Frais A Tartiner Citron &amp; Romarin Boite 1X150Gr 1P</c:v>
                </c:pt>
                <c:pt idx="29">
                  <c:v>Boursin Classique Fromage Frais A Tartiner Ciboulette &amp; Echalote 1X160Gr 10P</c:v>
                </c:pt>
                <c:pt idx="30">
                  <c:v>Boursin Aperitif Roules Fromage Frais Roule Basilic &amp; Jambon Fume Tomate Boite 1X100Gr 20P</c:v>
                </c:pt>
              </c:strCache>
            </c:strRef>
          </c:cat>
          <c:val>
            <c:numRef>
              <c:f>Sheet1!$C$2:$C$32</c:f>
              <c:numCache>
                <c:formatCode>General</c:formatCode>
                <c:ptCount val="31"/>
                <c:pt idx="0">
                  <c:v>0.17357360669995398</c:v>
                </c:pt>
                <c:pt idx="1">
                  <c:v>0.3427807423817848</c:v>
                </c:pt>
                <c:pt idx="2">
                  <c:v>0.47417383048797734</c:v>
                </c:pt>
                <c:pt idx="3">
                  <c:v>0.5819506941156823</c:v>
                </c:pt>
                <c:pt idx="4">
                  <c:v>0.6837769514678237</c:v>
                </c:pt>
                <c:pt idx="5">
                  <c:v>0.7350153183974489</c:v>
                </c:pt>
                <c:pt idx="6">
                  <c:v>0.78476709345729</c:v>
                </c:pt>
                <c:pt idx="7">
                  <c:v>0.819966110056519</c:v>
                </c:pt>
                <c:pt idx="8">
                  <c:v>0.8502658951035773</c:v>
                </c:pt>
                <c:pt idx="9">
                  <c:v>0.8729290542938752</c:v>
                </c:pt>
                <c:pt idx="10">
                  <c:v>0.895540275460484</c:v>
                </c:pt>
                <c:pt idx="11">
                  <c:v>0.9149992109710265</c:v>
                </c:pt>
                <c:pt idx="12">
                  <c:v>0.9322689868714771</c:v>
                </c:pt>
                <c:pt idx="13">
                  <c:v>0.9410213865154182</c:v>
                </c:pt>
                <c:pt idx="14">
                  <c:v>0.9482522625214301</c:v>
                </c:pt>
                <c:pt idx="15">
                  <c:v>0.9548566648434734</c:v>
                </c:pt>
                <c:pt idx="16">
                  <c:v>0.9613010653678585</c:v>
                </c:pt>
                <c:pt idx="17">
                  <c:v>0.9674464009298795</c:v>
                </c:pt>
                <c:pt idx="18">
                  <c:v>0.972334192838681</c:v>
                </c:pt>
                <c:pt idx="19">
                  <c:v>0.9767800774525139</c:v>
                </c:pt>
                <c:pt idx="20">
                  <c:v>0.9801969559313274</c:v>
                </c:pt>
                <c:pt idx="21">
                  <c:v>0.9834378988235042</c:v>
                </c:pt>
                <c:pt idx="22">
                  <c:v>0.9861145710925319</c:v>
                </c:pt>
                <c:pt idx="23">
                  <c:v>0.9887191327524649</c:v>
                </c:pt>
                <c:pt idx="24">
                  <c:v>0.9912163456161396</c:v>
                </c:pt>
                <c:pt idx="25">
                  <c:v>0.99367673712772</c:v>
                </c:pt>
                <c:pt idx="26">
                  <c:v>0.9961266082529876</c:v>
                </c:pt>
                <c:pt idx="27">
                  <c:v>0.9984578952179736</c:v>
                </c:pt>
                <c:pt idx="28">
                  <c:v>0.9992895164350393</c:v>
                </c:pt>
                <c:pt idx="29">
                  <c:v>0.9999945865973341</c:v>
                </c:pt>
                <c:pt idx="30">
                  <c:v>0.9999974975780128</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32</c:f>
              <c:strCache>
                <c:ptCount val="31"/>
                <c:pt idx="0">
                  <c:v>Boursin Classique Fromage Frais A Tartiner Afh Boite 1X150Gr 1P</c:v>
                </c:pt>
                <c:pt idx="1">
                  <c:v>Boursin Classique Fromage Frais A Tartiner Afh 1X160Gr 10P</c:v>
                </c:pt>
                <c:pt idx="2">
                  <c:v>Boursin Aperitif Roules Fromage Frais Roule Afh Et Jambon Fume Boite 1X100Gr 20P</c:v>
                </c:pt>
                <c:pt idx="3">
                  <c:v>Boursin Classique Fromage Frais A Tartiner Afh Boite 1X250Gr 1P</c:v>
                </c:pt>
                <c:pt idx="4">
                  <c:v>Boursin Salade &amp; Aperitif Fromage Frais Des Afh 1X120Gr 1P</c:v>
                </c:pt>
                <c:pt idx="5">
                  <c:v>Boursin Aperitif Roules Fromage Frais Roule Ciboulette &amp; Echalote Jambon Fume Boite 1X100Gr 20P</c:v>
                </c:pt>
                <c:pt idx="6">
                  <c:v>Boursin Classique Fromage Frais A Tartiner Afh Boite 1X96Gr 6P</c:v>
                </c:pt>
                <c:pt idx="7">
                  <c:v>Boursin Classique Fromage Frais A Tartiner Ciboulette &amp; Echalote Boite 1X150Gr 1P</c:v>
                </c:pt>
                <c:pt idx="8">
                  <c:v>Boursin Onctueux Fromage Frais A Tartiner Afh 1X125Gr 1P</c:v>
                </c:pt>
                <c:pt idx="9">
                  <c:v>Boursin Salade &amp; Aperitif Fromage Frais Des Ciboulette Echalote 1X120Gr 1P</c:v>
                </c:pt>
                <c:pt idx="10">
                  <c:v>Boursin Classique Fromage Frais A Tartiner Figue Et 3 Noix Boite 1X150Gr 1P</c:v>
                </c:pt>
                <c:pt idx="11">
                  <c:v>Boursin Cuisine Sauce Fromage Afh 1X240Gr 1P</c:v>
                </c:pt>
                <c:pt idx="12">
                  <c:v>Boursin Salade &amp; Aperitif Fromage Frais Des Figue Noix 1X120Gr 1P</c:v>
                </c:pt>
                <c:pt idx="13">
                  <c:v>Boursin Salade &amp; Aperitif Fromage Frais Des Citron Romarin 1X120Gr 1P</c:v>
                </c:pt>
                <c:pt idx="14">
                  <c:v>Boursin Classique Fromage Frais A Tartiner Afh Boite 1X80Gr 1P</c:v>
                </c:pt>
                <c:pt idx="15">
                  <c:v>Boursin Salade &amp; Aperitif Fromage Frais Des Noisette Et 3 Noix 1X120Gr 1P</c:v>
                </c:pt>
                <c:pt idx="16">
                  <c:v>Boursin Classique Fromage Frais A Tartiner Afh 1X256Gr 16P</c:v>
                </c:pt>
                <c:pt idx="17">
                  <c:v>Boursin Salade &amp; Aperitif Soft Cheese Salade 120G</c:v>
                </c:pt>
                <c:pt idx="18">
                  <c:v>Boursin Classique Fromage Frais A Tartiner 3 Noix Boite 1X150Gr 1P</c:v>
                </c:pt>
                <c:pt idx="19">
                  <c:v>Boursin Classique Fromage Frais A Tartiner Poivre Boite 1X150Gr 1P</c:v>
                </c:pt>
                <c:pt idx="20">
                  <c:v>Boursin Vegetal Specialite Vegetale A Tartiner Afh 1X130Gr 1P</c:v>
                </c:pt>
                <c:pt idx="21">
                  <c:v>Boursin Onctueux Fromage Frais A Tartiner Afh 1X210Gr 1P</c:v>
                </c:pt>
                <c:pt idx="22">
                  <c:v>Boursin Aperitif Roules Aperitif 100G</c:v>
                </c:pt>
                <c:pt idx="23">
                  <c:v>Boursin Aperitif Roules Fromage Frais Roule Jambon Fume &amp; Trio De Noix Boite 1X100Gr 20P</c:v>
                </c:pt>
                <c:pt idx="24">
                  <c:v>Boursin Classique Fromage Frais A Tartiner Truffe Boite 1X150Gr 1P</c:v>
                </c:pt>
                <c:pt idx="25">
                  <c:v>Boursin Classique Fromage Frais A Tartiner Afh Boite 1X320Gr 16+4P</c:v>
                </c:pt>
                <c:pt idx="26">
                  <c:v>Boursin Vegetal Alternative Vegetale 150G</c:v>
                </c:pt>
                <c:pt idx="27">
                  <c:v>Boursin Classique Fromage Frais A Tartiner 3 Noix 1X160Gr 10P</c:v>
                </c:pt>
                <c:pt idx="28">
                  <c:v>Boursin Classique Fromage Frais A Tartiner Citron &amp; Romarin Boite 1X150Gr 1P</c:v>
                </c:pt>
                <c:pt idx="29">
                  <c:v>Boursin Classique Fromage Frais A Tartiner Ciboulette &amp; Echalote 1X160Gr 10P</c:v>
                </c:pt>
                <c:pt idx="30">
                  <c:v>Boursin Aperitif Roules Fromage Frais Roule Basilic &amp; Jambon Fume Tomate Boite 1X100Gr 20P</c:v>
                </c:pt>
              </c:strCache>
            </c:strRef>
          </c:cat>
          <c:val>
            <c:numRef>
              <c:f>Sheet1!$D$2:$D$32</c:f>
              <c:numCache>
                <c:formatCode>General</c:formatCode>
                <c:ptCount val="31"/>
                <c:pt idx="0">
                  <c:v>35111.05371900827</c:v>
                </c:pt>
                <c:pt idx="1">
                  <c:v>36210.3825136612</c:v>
                </c:pt>
                <c:pt idx="2">
                  <c:v>28428.861878453037</c:v>
                </c:pt>
                <c:pt idx="3">
                  <c:v>25830.86903304774</c:v>
                </c:pt>
                <c:pt idx="4">
                  <c:v>20726.22661122661</c:v>
                </c:pt>
                <c:pt idx="5">
                  <c:v>12732.23350253807</c:v>
                </c:pt>
                <c:pt idx="6">
                  <c:v>11865.90742996346</c:v>
                </c:pt>
                <c:pt idx="7">
                  <c:v>8691.462799495586</c:v>
                </c:pt>
                <c:pt idx="8">
                  <c:v>7665.387596899224</c:v>
                </c:pt>
                <c:pt idx="9">
                  <c:v>5431.676866585068</c:v>
                </c:pt>
                <c:pt idx="10">
                  <c:v>6379.6974063400585</c:v>
                </c:pt>
                <c:pt idx="11">
                  <c:v>4929.184993531695</c:v>
                </c:pt>
                <c:pt idx="12">
                  <c:v>4221.722846441947</c:v>
                </c:pt>
                <c:pt idx="13">
                  <c:v>2424.059405940594</c:v>
                </c:pt>
                <c:pt idx="14">
                  <c:v>3167.51677852349</c:v>
                </c:pt>
                <c:pt idx="15">
                  <c:v>1752.3170731707319</c:v>
                </c:pt>
                <c:pt idx="16">
                  <c:v>4761.811320754717</c:v>
                </c:pt>
                <c:pt idx="17">
                  <c:v>1723.9541547277938</c:v>
                </c:pt>
                <c:pt idx="18">
                  <c:v>1782.2718808193667</c:v>
                </c:pt>
                <c:pt idx="19">
                  <c:v>2165.547263681592</c:v>
                </c:pt>
                <c:pt idx="20">
                  <c:v>1513.710407239819</c:v>
                </c:pt>
                <c:pt idx="21">
                  <c:v>2258.3985765124553</c:v>
                </c:pt>
                <c:pt idx="22">
                  <c:v>1488.977272727273</c:v>
                </c:pt>
                <c:pt idx="23">
                  <c:v>1246.9437652811737</c:v>
                </c:pt>
                <c:pt idx="24">
                  <c:v>956.9080234833659</c:v>
                </c:pt>
                <c:pt idx="25">
                  <c:v>912.4431818181818</c:v>
                </c:pt>
                <c:pt idx="26">
                  <c:v>1054.3076923076924</c:v>
                </c:pt>
                <c:pt idx="27">
                  <c:v>1204.4591029023748</c:v>
                </c:pt>
                <c:pt idx="28">
                  <c:v>502.5925925925926</c:v>
                </c:pt>
                <c:pt idx="29">
                  <c:v>1840.8</c:v>
                </c:pt>
                <c:pt idx="30">
                  <c:v>63.33333333333334</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12</c:f>
              <c:strCache>
                <c:ptCount val="11"/>
                <c:pt idx="0">
                  <c:v>Kiri Creme Fromage Blanc Frais Carre 1X216Gr 12P</c:v>
                </c:pt>
                <c:pt idx="1">
                  <c:v>Kiri Creme Fromage Blanc Frais Carre 1X432Gr 24P</c:v>
                </c:pt>
                <c:pt idx="2">
                  <c:v>Kiri Gouter Fromage Blanc Dips Boite 1X280Gr 8P</c:v>
                </c:pt>
                <c:pt idx="3">
                  <c:v>Kiri Creme Fromage Blanc Frais Carre 1X144Gr 8P</c:v>
                </c:pt>
                <c:pt idx="4">
                  <c:v>Kiri Gouter Fromage Blanc Dips Boite 1X175Gr 5P</c:v>
                </c:pt>
                <c:pt idx="5">
                  <c:v>Kiri Delicieusement Fouette Fromage Frais A Tartiner 1X125Gr 1P</c:v>
                </c:pt>
                <c:pt idx="6">
                  <c:v>Kiri Bio Fromage Blanc Frais Carre 1X144Gr 8P</c:v>
                </c:pt>
                <c:pt idx="7">
                  <c:v>Kiri Chevre Fromage Blanc Frais Carre 1X144Gr 8P</c:v>
                </c:pt>
                <c:pt idx="8">
                  <c:v>Kiri Creme Fromage Blanc Frais Carre 1X432Gr 18+6P</c:v>
                </c:pt>
                <c:pt idx="9">
                  <c:v>Kiri Delicieusement Fouette Fromage Frais A Tartiner 1X160Gr 10P</c:v>
                </c:pt>
                <c:pt idx="10">
                  <c:v>Kiri Delicieusement Fouette Fromage Frais A Tartiner 1X210Gr 1P</c:v>
                </c:pt>
              </c:strCache>
            </c:strRef>
          </c:cat>
          <c:val>
            <c:numRef>
              <c:f>Sheet1!$B$2:$B$12</c:f>
              <c:numCache>
                <c:formatCode>General</c:formatCode>
                <c:ptCount val="11"/>
                <c:pt idx="0">
                  <c:v>0.975</c:v>
                </c:pt>
                <c:pt idx="1">
                  <c:v>0.861</c:v>
                </c:pt>
                <c:pt idx="2">
                  <c:v>0.932</c:v>
                </c:pt>
                <c:pt idx="3">
                  <c:v>0.983</c:v>
                </c:pt>
                <c:pt idx="4">
                  <c:v>0.981</c:v>
                </c:pt>
                <c:pt idx="5">
                  <c:v>0.837</c:v>
                </c:pt>
                <c:pt idx="6">
                  <c:v>0.603</c:v>
                </c:pt>
                <c:pt idx="7">
                  <c:v>0.672</c:v>
                </c:pt>
                <c:pt idx="8">
                  <c:v>0.817</c:v>
                </c:pt>
                <c:pt idx="9">
                  <c:v>0.895</c:v>
                </c:pt>
                <c:pt idx="10">
                  <c:v>0.372</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7ECAC4"/>
              </a:solidFill>
            </c:spPr>
            <c:extLst>
              <c:ext xmlns:c16="http://schemas.microsoft.com/office/drawing/2014/chart" uri="{C3380CC4-5D6E-409C-BE32-E72D297353CC}">
                <c16:uniqueId val="{0000000B-FA3E-4872-B6E1-C4ABDF5766E2}"/>
              </c:ext>
            </c:extLst>
          </c:dPt>
          <c:dPt>
            <c:idx val="5"/>
            <c:invertIfNegative val="1"/>
            <c:bubble3D val="0"/>
            <c:spPr>
              <a:solidFill>
                <a:srgbClr val="7ECAC4"/>
              </a:solidFill>
            </c:spPr>
            <c:extLst>
              <c:ext xmlns:c16="http://schemas.microsoft.com/office/drawing/2014/chart" uri="{C3380CC4-5D6E-409C-BE32-E72D297353CC}">
                <c16:uniqueId val="{0000000D-FA3E-4872-B6E1-C4ABDF5766E2}"/>
              </c:ext>
            </c:extLst>
          </c:dPt>
          <c:dPt>
            <c:idx val="6"/>
            <c:invertIfNegative val="1"/>
            <c:bubble3D val="0"/>
            <c:spPr>
              <a:solidFill>
                <a:srgbClr val="7ECAC4"/>
              </a:solidFill>
            </c:spPr>
            <c:extLst>
              <c:ext xmlns:c16="http://schemas.microsoft.com/office/drawing/2014/chart" uri="{C3380CC4-5D6E-409C-BE32-E72D297353CC}">
                <c16:uniqueId val="{0000000F-FA3E-4872-B6E1-C4ABDF5766E2}"/>
              </c:ext>
            </c:extLst>
          </c:dPt>
          <c:dPt>
            <c:idx val="7"/>
            <c:invertIfNegative val="1"/>
            <c:bubble3D val="0"/>
            <c:spPr>
              <a:solidFill>
                <a:srgbClr val="AEABAB"/>
              </a:solidFill>
            </c:spPr>
            <c:extLst>
              <c:ext xmlns:c16="http://schemas.microsoft.com/office/drawing/2014/chart" uri="{C3380CC4-5D6E-409C-BE32-E72D297353CC}">
                <c16:uniqueId val="{00000011-FA3E-4872-B6E1-C4ABDF5766E2}"/>
              </c:ext>
            </c:extLst>
          </c:dPt>
          <c:dPt>
            <c:idx val="8"/>
            <c:invertIfNegative val="1"/>
            <c:bubble3D val="0"/>
            <c:spPr>
              <a:solidFill>
                <a:srgbClr val="AEABAB"/>
              </a:solidFill>
            </c:spPr>
            <c:extLst>
              <c:ext xmlns:c16="http://schemas.microsoft.com/office/drawing/2014/chart" uri="{C3380CC4-5D6E-409C-BE32-E72D297353CC}">
                <c16:uniqueId val="{00000013-FA3E-4872-B6E1-C4ABDF5766E2}"/>
              </c:ext>
            </c:extLst>
          </c:dPt>
          <c:dPt>
            <c:idx val="9"/>
            <c:invertIfNegative val="1"/>
            <c:bubble3D val="0"/>
            <c:spPr>
              <a:solidFill>
                <a:srgbClr val="AEABAB"/>
              </a:solidFill>
            </c:spPr>
            <c:extLst>
              <c:ext xmlns:c16="http://schemas.microsoft.com/office/drawing/2014/chart" uri="{C3380CC4-5D6E-409C-BE32-E72D297353CC}">
                <c16:uniqueId val="{00000015-FA3E-4872-B6E1-C4ABDF5766E2}"/>
              </c:ext>
            </c:extLst>
          </c:dPt>
          <c:dPt>
            <c:idx val="10"/>
            <c:invertIfNegative val="1"/>
            <c:bubble3D val="0"/>
            <c:spPr>
              <a:solidFill>
                <a:srgbClr val="AEABAB"/>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12</c:f>
              <c:strCache>
                <c:ptCount val="11"/>
                <c:pt idx="0">
                  <c:v>Kiri Creme Fromage Blanc Frais Carre 1X216Gr 12P</c:v>
                </c:pt>
                <c:pt idx="1">
                  <c:v>Kiri Creme Fromage Blanc Frais Carre 1X432Gr 24P</c:v>
                </c:pt>
                <c:pt idx="2">
                  <c:v>Kiri Gouter Fromage Blanc Dips Boite 1X280Gr 8P</c:v>
                </c:pt>
                <c:pt idx="3">
                  <c:v>Kiri Creme Fromage Blanc Frais Carre 1X144Gr 8P</c:v>
                </c:pt>
                <c:pt idx="4">
                  <c:v>Kiri Gouter Fromage Blanc Dips Boite 1X175Gr 5P</c:v>
                </c:pt>
                <c:pt idx="5">
                  <c:v>Kiri Delicieusement Fouette Fromage Frais A Tartiner 1X125Gr 1P</c:v>
                </c:pt>
                <c:pt idx="6">
                  <c:v>Kiri Bio Fromage Blanc Frais Carre 1X144Gr 8P</c:v>
                </c:pt>
                <c:pt idx="7">
                  <c:v>Kiri Chevre Fromage Blanc Frais Carre 1X144Gr 8P</c:v>
                </c:pt>
                <c:pt idx="8">
                  <c:v>Kiri Creme Fromage Blanc Frais Carre 1X432Gr 18+6P</c:v>
                </c:pt>
                <c:pt idx="9">
                  <c:v>Kiri Delicieusement Fouette Fromage Frais A Tartiner 1X160Gr 10P</c:v>
                </c:pt>
                <c:pt idx="10">
                  <c:v>Kiri Delicieusement Fouette Fromage Frais A Tartiner 1X210Gr 1P</c:v>
                </c:pt>
              </c:strCache>
            </c:strRef>
          </c:cat>
          <c:val>
            <c:numRef>
              <c:f>Sheet1!$C$2:$C$12</c:f>
              <c:numCache>
                <c:formatCode>General</c:formatCode>
                <c:ptCount val="11"/>
                <c:pt idx="0">
                  <c:v>0.25920069238372667</c:v>
                </c:pt>
                <c:pt idx="1">
                  <c:v>0.47626050228402095</c:v>
                </c:pt>
                <c:pt idx="2">
                  <c:v>0.6262255801856206</c:v>
                </c:pt>
                <c:pt idx="3">
                  <c:v>0.7736036960155901</c:v>
                </c:pt>
                <c:pt idx="4">
                  <c:v>0.8910156688097841</c:v>
                </c:pt>
                <c:pt idx="5">
                  <c:v>0.9208943103753313</c:v>
                </c:pt>
                <c:pt idx="6">
                  <c:v>0.9457542048235578</c:v>
                </c:pt>
                <c:pt idx="7">
                  <c:v>0.9672588684774994</c:v>
                </c:pt>
                <c:pt idx="8">
                  <c:v>0.9832050085027592</c:v>
                </c:pt>
                <c:pt idx="9">
                  <c:v>0.998958877855564</c:v>
                </c:pt>
                <c:pt idx="10">
                  <c:v>1.0</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12</c:f>
              <c:strCache>
                <c:ptCount val="11"/>
                <c:pt idx="0">
                  <c:v>Kiri Creme Fromage Blanc Frais Carre 1X216Gr 12P</c:v>
                </c:pt>
                <c:pt idx="1">
                  <c:v>Kiri Creme Fromage Blanc Frais Carre 1X432Gr 24P</c:v>
                </c:pt>
                <c:pt idx="2">
                  <c:v>Kiri Gouter Fromage Blanc Dips Boite 1X280Gr 8P</c:v>
                </c:pt>
                <c:pt idx="3">
                  <c:v>Kiri Creme Fromage Blanc Frais Carre 1X144Gr 8P</c:v>
                </c:pt>
                <c:pt idx="4">
                  <c:v>Kiri Gouter Fromage Blanc Dips Boite 1X175Gr 5P</c:v>
                </c:pt>
                <c:pt idx="5">
                  <c:v>Kiri Delicieusement Fouette Fromage Frais A Tartiner 1X125Gr 1P</c:v>
                </c:pt>
                <c:pt idx="6">
                  <c:v>Kiri Bio Fromage Blanc Frais Carre 1X144Gr 8P</c:v>
                </c:pt>
                <c:pt idx="7">
                  <c:v>Kiri Chevre Fromage Blanc Frais Carre 1X144Gr 8P</c:v>
                </c:pt>
                <c:pt idx="8">
                  <c:v>Kiri Creme Fromage Blanc Frais Carre 1X432Gr 18+6P</c:v>
                </c:pt>
                <c:pt idx="9">
                  <c:v>Kiri Delicieusement Fouette Fromage Frais A Tartiner 1X160Gr 10P</c:v>
                </c:pt>
                <c:pt idx="10">
                  <c:v>Kiri Delicieusement Fouette Fromage Frais A Tartiner 1X210Gr 1P</c:v>
                </c:pt>
              </c:strCache>
            </c:strRef>
          </c:cat>
          <c:val>
            <c:numRef>
              <c:f>Sheet1!$D$2:$D$12</c:f>
              <c:numCache>
                <c:formatCode>General</c:formatCode>
                <c:ptCount val="11"/>
                <c:pt idx="0">
                  <c:v>45724.89230769231</c:v>
                </c:pt>
                <c:pt idx="1">
                  <c:v>43360.813008130084</c:v>
                </c:pt>
                <c:pt idx="2">
                  <c:v>27675.493562231757</c:v>
                </c:pt>
                <c:pt idx="3">
                  <c:v>25786.988809766022</c:v>
                </c:pt>
                <c:pt idx="4">
                  <c:v>20585.647298674823</c:v>
                </c:pt>
                <c:pt idx="5">
                  <c:v>6139.832735961768</c:v>
                </c:pt>
                <c:pt idx="6">
                  <c:v>7090.928689883914</c:v>
                </c:pt>
                <c:pt idx="7">
                  <c:v>5504.077380952381</c:v>
                </c:pt>
                <c:pt idx="8">
                  <c:v>3357.02570379437</c:v>
                </c:pt>
                <c:pt idx="9">
                  <c:v>3027.5083798882683</c:v>
                </c:pt>
                <c:pt idx="10">
                  <c:v>481.37096774193543</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13</c:f>
              <c:strCache>
                <c:ptCount val="12"/>
                <c:pt idx="0">
                  <c:v>La Vache Qui Rit Nature Fromage Fondu Boite Ronde 1X512Gr 32P</c:v>
                </c:pt>
                <c:pt idx="1">
                  <c:v>La Vache Qui Rit Nature Fromage Fondu Boite Ronde 1X192Gr 12P</c:v>
                </c:pt>
                <c:pt idx="2">
                  <c:v>La Vache Qui Rit Nature Fromage Fondu Boite Ronde 1X384Gr 24P</c:v>
                </c:pt>
                <c:pt idx="3">
                  <c:v>La Vache Qui Rit Pik Et Croq' Fromage Fondu Dips Boite 1X175Gr 5P</c:v>
                </c:pt>
                <c:pt idx="4">
                  <c:v>La Vache Qui Rit Pik Et Croq' Fromage Fondu Dips Boite 1X280Gr 8P</c:v>
                </c:pt>
                <c:pt idx="5">
                  <c:v>La Vache Qui Rit Allegee Fromage Fondu Boite Ronde Allege 1X267Gr 16P</c:v>
                </c:pt>
                <c:pt idx="6">
                  <c:v>La Vache Qui Rit Aro Fromage Fondu Boite Ronde Jambon 1X133Gr 8P</c:v>
                </c:pt>
                <c:pt idx="7">
                  <c:v>La Vache Qui Rit Nature Fromage Fondu Boite Ronde 1X512Gr 24+8P</c:v>
                </c:pt>
                <c:pt idx="8">
                  <c:v>La Vache Qui Rit Nature Fromage Fondu Boite Ronde 1X128Gr 8P</c:v>
                </c:pt>
                <c:pt idx="9">
                  <c:v>Toastinette Fromage Fondu Tranche A Chaud Sachet 1X200Gr 10P</c:v>
                </c:pt>
                <c:pt idx="10">
                  <c:v>Toastinette Fromage Fondu Tranche A Chaud Sachet 1X340Gr 20P</c:v>
                </c:pt>
                <c:pt idx="11">
                  <c:v>Toastinette Cheddar Fondu Tranche A Chaud Sachet 1X340Gr 20P</c:v>
                </c:pt>
              </c:strCache>
            </c:strRef>
          </c:cat>
          <c:val>
            <c:numRef>
              <c:f>Sheet1!$B$2:$B$13</c:f>
              <c:numCache>
                <c:formatCode>General</c:formatCode>
                <c:ptCount val="12"/>
                <c:pt idx="0">
                  <c:v>0.947</c:v>
                </c:pt>
                <c:pt idx="1">
                  <c:v>0.998</c:v>
                </c:pt>
                <c:pt idx="2">
                  <c:v>0.941</c:v>
                </c:pt>
                <c:pt idx="3">
                  <c:v>0.955</c:v>
                </c:pt>
                <c:pt idx="4">
                  <c:v>0.848</c:v>
                </c:pt>
                <c:pt idx="5">
                  <c:v>0.841</c:v>
                </c:pt>
                <c:pt idx="6">
                  <c:v>0.679</c:v>
                </c:pt>
                <c:pt idx="7">
                  <c:v>0.231</c:v>
                </c:pt>
                <c:pt idx="8">
                  <c:v>0.112</c:v>
                </c:pt>
                <c:pt idx="9">
                  <c:v>0.001</c:v>
                </c:pt>
                <c:pt idx="10">
                  <c:v>0.001</c:v>
                </c:pt>
                <c:pt idx="11">
                  <c:v>0.001</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7ECAC4"/>
              </a:solidFill>
            </c:spPr>
            <c:extLst>
              <c:ext xmlns:c16="http://schemas.microsoft.com/office/drawing/2014/chart" uri="{C3380CC4-5D6E-409C-BE32-E72D297353CC}">
                <c16:uniqueId val="{00000006-E902-46E2-9A54-39A26B3DFDC1}"/>
              </c:ext>
            </c:extLst>
          </c:dPt>
          <c:dPt>
            <c:idx val="3"/>
            <c:invertIfNegative val="0"/>
            <c:bubble3D val="0"/>
            <c:spPr>
              <a:solidFill>
                <a:srgbClr val="7ECAC4"/>
              </a:solidFill>
            </c:spPr>
            <c:extLst>
              <c:ext xmlns:c16="http://schemas.microsoft.com/office/drawing/2014/chart" uri="{C3380CC4-5D6E-409C-BE32-E72D297353CC}">
                <c16:uniqueId val="{00000007-E902-46E2-9A54-39A26B3DFDC1}"/>
              </c:ext>
            </c:extLst>
          </c:dPt>
          <c:dPt>
            <c:idx val="4"/>
            <c:invertIfNegative val="1"/>
            <c:bubble3D val="0"/>
            <c:spPr>
              <a:solidFill>
                <a:srgbClr val="7ECAC4"/>
              </a:solidFill>
            </c:spPr>
            <c:extLst>
              <c:ext xmlns:c16="http://schemas.microsoft.com/office/drawing/2014/chart" uri="{C3380CC4-5D6E-409C-BE32-E72D297353CC}">
                <c16:uniqueId val="{0000000B-FA3E-4872-B6E1-C4ABDF5766E2}"/>
              </c:ext>
            </c:extLst>
          </c:dPt>
          <c:dPt>
            <c:idx val="5"/>
            <c:invertIfNegative val="1"/>
            <c:bubble3D val="0"/>
            <c:spPr>
              <a:solidFill>
                <a:srgbClr val="AEABAB"/>
              </a:solidFill>
            </c:spPr>
            <c:extLst>
              <c:ext xmlns:c16="http://schemas.microsoft.com/office/drawing/2014/chart" uri="{C3380CC4-5D6E-409C-BE32-E72D297353CC}">
                <c16:uniqueId val="{0000000D-FA3E-4872-B6E1-C4ABDF5766E2}"/>
              </c:ext>
            </c:extLst>
          </c:dPt>
          <c:dPt>
            <c:idx val="6"/>
            <c:invertIfNegative val="1"/>
            <c:bubble3D val="0"/>
            <c:spPr>
              <a:solidFill>
                <a:srgbClr val="AEABAB"/>
              </a:solidFill>
            </c:spPr>
            <c:extLst>
              <c:ext xmlns:c16="http://schemas.microsoft.com/office/drawing/2014/chart" uri="{C3380CC4-5D6E-409C-BE32-E72D297353CC}">
                <c16:uniqueId val="{0000000F-FA3E-4872-B6E1-C4ABDF5766E2}"/>
              </c:ext>
            </c:extLst>
          </c:dPt>
          <c:dPt>
            <c:idx val="7"/>
            <c:invertIfNegative val="1"/>
            <c:bubble3D val="0"/>
            <c:spPr>
              <a:solidFill>
                <a:srgbClr val="AEABAB"/>
              </a:solidFill>
            </c:spPr>
            <c:extLst>
              <c:ext xmlns:c16="http://schemas.microsoft.com/office/drawing/2014/chart" uri="{C3380CC4-5D6E-409C-BE32-E72D297353CC}">
                <c16:uniqueId val="{00000011-FA3E-4872-B6E1-C4ABDF5766E2}"/>
              </c:ext>
            </c:extLst>
          </c:dPt>
          <c:dPt>
            <c:idx val="8"/>
            <c:invertIfNegative val="1"/>
            <c:bubble3D val="0"/>
            <c:spPr>
              <a:solidFill>
                <a:srgbClr val="AEABAB"/>
              </a:solidFill>
            </c:spPr>
            <c:extLst>
              <c:ext xmlns:c16="http://schemas.microsoft.com/office/drawing/2014/chart" uri="{C3380CC4-5D6E-409C-BE32-E72D297353CC}">
                <c16:uniqueId val="{00000013-FA3E-4872-B6E1-C4ABDF5766E2}"/>
              </c:ext>
            </c:extLst>
          </c:dPt>
          <c:dPt>
            <c:idx val="9"/>
            <c:invertIfNegative val="1"/>
            <c:bubble3D val="0"/>
            <c:spPr>
              <a:solidFill>
                <a:srgbClr val="AEABAB"/>
              </a:solidFill>
            </c:spPr>
            <c:extLst>
              <c:ext xmlns:c16="http://schemas.microsoft.com/office/drawing/2014/chart" uri="{C3380CC4-5D6E-409C-BE32-E72D297353CC}">
                <c16:uniqueId val="{00000015-FA3E-4872-B6E1-C4ABDF5766E2}"/>
              </c:ext>
            </c:extLst>
          </c:dPt>
          <c:dPt>
            <c:idx val="10"/>
            <c:invertIfNegative val="1"/>
            <c:bubble3D val="0"/>
            <c:spPr>
              <a:solidFill>
                <a:srgbClr val="AEABAB"/>
              </a:solidFill>
            </c:spPr>
            <c:extLst>
              <c:ext xmlns:c16="http://schemas.microsoft.com/office/drawing/2014/chart" uri="{C3380CC4-5D6E-409C-BE32-E72D297353CC}">
                <c16:uniqueId val="{00000017-FA3E-4872-B6E1-C4ABDF5766E2}"/>
              </c:ext>
            </c:extLst>
          </c:dPt>
          <c:dPt>
            <c:idx val="11"/>
            <c:invertIfNegative val="1"/>
            <c:bubble3D val="0"/>
            <c:spPr>
              <a:solidFill>
                <a:srgbClr val="AEABAB"/>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13</c:f>
              <c:strCache>
                <c:ptCount val="12"/>
                <c:pt idx="0">
                  <c:v>La Vache Qui Rit Nature Fromage Fondu Boite Ronde 1X512Gr 32P</c:v>
                </c:pt>
                <c:pt idx="1">
                  <c:v>La Vache Qui Rit Nature Fromage Fondu Boite Ronde 1X192Gr 12P</c:v>
                </c:pt>
                <c:pt idx="2">
                  <c:v>La Vache Qui Rit Nature Fromage Fondu Boite Ronde 1X384Gr 24P</c:v>
                </c:pt>
                <c:pt idx="3">
                  <c:v>La Vache Qui Rit Pik Et Croq' Fromage Fondu Dips Boite 1X175Gr 5P</c:v>
                </c:pt>
                <c:pt idx="4">
                  <c:v>La Vache Qui Rit Pik Et Croq' Fromage Fondu Dips Boite 1X280Gr 8P</c:v>
                </c:pt>
                <c:pt idx="5">
                  <c:v>La Vache Qui Rit Allegee Fromage Fondu Boite Ronde Allege 1X267Gr 16P</c:v>
                </c:pt>
                <c:pt idx="6">
                  <c:v>La Vache Qui Rit Aro Fromage Fondu Boite Ronde Jambon 1X133Gr 8P</c:v>
                </c:pt>
                <c:pt idx="7">
                  <c:v>La Vache Qui Rit Nature Fromage Fondu Boite Ronde 1X512Gr 24+8P</c:v>
                </c:pt>
                <c:pt idx="8">
                  <c:v>La Vache Qui Rit Nature Fromage Fondu Boite Ronde 1X128Gr 8P</c:v>
                </c:pt>
                <c:pt idx="9">
                  <c:v>Toastinette Fromage Fondu Tranche A Chaud Sachet 1X200Gr 10P</c:v>
                </c:pt>
                <c:pt idx="10">
                  <c:v>Toastinette Fromage Fondu Tranche A Chaud Sachet 1X340Gr 20P</c:v>
                </c:pt>
                <c:pt idx="11">
                  <c:v>Toastinette Cheddar Fondu Tranche A Chaud Sachet 1X340Gr 20P</c:v>
                </c:pt>
              </c:strCache>
            </c:strRef>
          </c:cat>
          <c:val>
            <c:numRef>
              <c:f>Sheet1!$C$2:$C$13</c:f>
              <c:numCache>
                <c:formatCode>General</c:formatCode>
                <c:ptCount val="12"/>
                <c:pt idx="0">
                  <c:v>0.3330787016996174</c:v>
                </c:pt>
                <c:pt idx="1">
                  <c:v>0.6061815907446366</c:v>
                </c:pt>
                <c:pt idx="2">
                  <c:v>0.8240437781997109</c:v>
                </c:pt>
                <c:pt idx="3">
                  <c:v>0.8844252548654745</c:v>
                </c:pt>
                <c:pt idx="4">
                  <c:v>0.9398419023039951</c:v>
                </c:pt>
                <c:pt idx="5">
                  <c:v>0.9782574108599771</c:v>
                </c:pt>
                <c:pt idx="6">
                  <c:v>0.9985464629808649</c:v>
                </c:pt>
                <c:pt idx="7">
                  <c:v>0.9999034935469012</c:v>
                </c:pt>
                <c:pt idx="8">
                  <c:v>0.9999503947078469</c:v>
                </c:pt>
                <c:pt idx="9">
                  <c:v>0.9999896267753675</c:v>
                </c:pt>
                <c:pt idx="10">
                  <c:v>0.9999940597773472</c:v>
                </c:pt>
                <c:pt idx="11">
                  <c:v>0.999997162878733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13</c:f>
              <c:strCache>
                <c:ptCount val="12"/>
                <c:pt idx="0">
                  <c:v>La Vache Qui Rit Nature Fromage Fondu Boite Ronde 1X512Gr 32P</c:v>
                </c:pt>
                <c:pt idx="1">
                  <c:v>La Vache Qui Rit Nature Fromage Fondu Boite Ronde 1X192Gr 12P</c:v>
                </c:pt>
                <c:pt idx="2">
                  <c:v>La Vache Qui Rit Nature Fromage Fondu Boite Ronde 1X384Gr 24P</c:v>
                </c:pt>
                <c:pt idx="3">
                  <c:v>La Vache Qui Rit Pik Et Croq' Fromage Fondu Dips Boite 1X175Gr 5P</c:v>
                </c:pt>
                <c:pt idx="4">
                  <c:v>La Vache Qui Rit Pik Et Croq' Fromage Fondu Dips Boite 1X280Gr 8P</c:v>
                </c:pt>
                <c:pt idx="5">
                  <c:v>La Vache Qui Rit Allegee Fromage Fondu Boite Ronde Allege 1X267Gr 16P</c:v>
                </c:pt>
                <c:pt idx="6">
                  <c:v>La Vache Qui Rit Aro Fromage Fondu Boite Ronde Jambon 1X133Gr 8P</c:v>
                </c:pt>
                <c:pt idx="7">
                  <c:v>La Vache Qui Rit Nature Fromage Fondu Boite Ronde 1X512Gr 24+8P</c:v>
                </c:pt>
                <c:pt idx="8">
                  <c:v>La Vache Qui Rit Nature Fromage Fondu Boite Ronde 1X128Gr 8P</c:v>
                </c:pt>
                <c:pt idx="9">
                  <c:v>Toastinette Fromage Fondu Tranche A Chaud Sachet 1X200Gr 10P</c:v>
                </c:pt>
                <c:pt idx="10">
                  <c:v>Toastinette Fromage Fondu Tranche A Chaud Sachet 1X340Gr 20P</c:v>
                </c:pt>
                <c:pt idx="11">
                  <c:v>Toastinette Cheddar Fondu Tranche A Chaud Sachet 1X340Gr 20P</c:v>
                </c:pt>
              </c:strCache>
            </c:strRef>
          </c:cat>
          <c:val>
            <c:numRef>
              <c:f>Sheet1!$D$2:$D$13</c:f>
              <c:numCache>
                <c:formatCode>General</c:formatCode>
                <c:ptCount val="12"/>
                <c:pt idx="0">
                  <c:v>79341.23548046463</c:v>
                </c:pt>
                <c:pt idx="1">
                  <c:v>61730.22044088176</c:v>
                </c:pt>
                <c:pt idx="2">
                  <c:v>52226.90754516472</c:v>
                </c:pt>
                <c:pt idx="3">
                  <c:v>14262.722513089006</c:v>
                </c:pt>
                <c:pt idx="4">
                  <c:v>14741.662735849057</c:v>
                </c:pt>
                <c:pt idx="5">
                  <c:v>10304.161712247325</c:v>
                </c:pt>
                <c:pt idx="6">
                  <c:v>6740.530191458026</c:v>
                </c:pt>
                <c:pt idx="7">
                  <c:v>1325.1948051948052</c:v>
                </c:pt>
                <c:pt idx="8">
                  <c:v>94.46428571428571</c:v>
                </c:pt>
                <c:pt idx="9">
                  <c:v>3580.0</c:v>
                </c:pt>
                <c:pt idx="10">
                  <c:v>1000.0</c:v>
                </c:pt>
                <c:pt idx="11">
                  <c:v>700.0</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25</c:f>
              <c:strCache>
                <c:ptCount val="24"/>
                <c:pt idx="0">
                  <c:v>Boursin Classique Fromage Frais A Tartiner Afh Boite 1X250Gr 1P</c:v>
                </c:pt>
                <c:pt idx="1">
                  <c:v>Boursin Classique Fromage Frais A Tartiner Afh 1X160Gr 10P</c:v>
                </c:pt>
                <c:pt idx="2">
                  <c:v>Boursin Classique Fromage Frais A Tartiner Afh Boite 1X150Gr 1P</c:v>
                </c:pt>
                <c:pt idx="3">
                  <c:v>Boursin Aperitif Roules Fromage Frais Roule Afh Et Jambon Fume Boite 1X100Gr 20P</c:v>
                </c:pt>
                <c:pt idx="4">
                  <c:v>Boursin Aperitif Roules Fromage Frais Roule Ciboulette &amp; Echalote Jambon Fume Boite 1X100Gr 20P</c:v>
                </c:pt>
                <c:pt idx="5">
                  <c:v>Boursin Onctueux Fromage Frais A Tartiner Afh 1X125Gr 1P</c:v>
                </c:pt>
                <c:pt idx="6">
                  <c:v>Boursin Salade &amp; Aperitif Fromage Frais Des Afh 1X120Gr 1P</c:v>
                </c:pt>
                <c:pt idx="7">
                  <c:v>Boursin Classique Fromage Frais A Tartiner Afh Boite 1X96Gr 6P</c:v>
                </c:pt>
                <c:pt idx="8">
                  <c:v>Boursin Classique Fromage Frais A Tartiner Figue Et 3 Noix Boite 1X150Gr 1P</c:v>
                </c:pt>
                <c:pt idx="9">
                  <c:v>Boursin Classique Fromage Frais A Tartiner Ciboulette &amp; Echalote Boite 1X150Gr 1P</c:v>
                </c:pt>
                <c:pt idx="10">
                  <c:v>Boursin Classique Fromage Frais A Tartiner Afh 1X256Gr 16P</c:v>
                </c:pt>
                <c:pt idx="11">
                  <c:v>Boursin Cuisine Sauce Fromage Afh 1X240Gr 1P</c:v>
                </c:pt>
                <c:pt idx="12">
                  <c:v>Boursin Classique Fromage Frais A Tartiner Poivre Boite 1X150Gr 1P</c:v>
                </c:pt>
                <c:pt idx="13">
                  <c:v>Boursin Aperitif Roules Fromage Frais Roule Basilic &amp; Jambon Fume Tomate Boite 1X100Gr 20P</c:v>
                </c:pt>
                <c:pt idx="14">
                  <c:v>Boursin Classique Fromage Frais A Tartiner Ciboulette &amp; Echalote 1X160Gr 10P</c:v>
                </c:pt>
                <c:pt idx="15">
                  <c:v>Boursin Salade &amp; Aperitif Fromage Frais Des Ciboulette Echalote 1X120Gr 1P</c:v>
                </c:pt>
                <c:pt idx="16">
                  <c:v>Boursin Salade &amp; Aperitif Fromage Frais Des Figue Noix 1X120Gr 1P</c:v>
                </c:pt>
                <c:pt idx="17">
                  <c:v>Boursin Salade &amp; Aperitif Fromage Frais Des Citron Romarin 1X120Gr 1P</c:v>
                </c:pt>
                <c:pt idx="18">
                  <c:v>Boursin Classique Fromage Frais A Tartiner Afh Boite 1X80Gr 1P</c:v>
                </c:pt>
                <c:pt idx="19">
                  <c:v>Boursin Salade &amp; Aperitif Fromage Frais Des Noisette Et 3 Noix 1X120Gr 1P</c:v>
                </c:pt>
                <c:pt idx="20">
                  <c:v>Boursin Aperitif Roules Fromage Frais Roule Jambon Fume &amp; Trio De Noix Boite 1X100Gr 20P</c:v>
                </c:pt>
                <c:pt idx="21">
                  <c:v>Boursin Aperitif Roules Aperitif 100G</c:v>
                </c:pt>
                <c:pt idx="22">
                  <c:v>Boursin Salade &amp; Aperitif Soft Cheese Salade 120G</c:v>
                </c:pt>
                <c:pt idx="23">
                  <c:v>Boursin Classique Fromage Frais A Tartiner Truffe Boite 1X150Gr 1P</c:v>
                </c:pt>
              </c:strCache>
            </c:strRef>
          </c:cat>
          <c:val>
            <c:numRef>
              <c:f>Sheet1!$B$2:$B$25</c:f>
              <c:numCache>
                <c:formatCode>General</c:formatCode>
                <c:ptCount val="24"/>
                <c:pt idx="0">
                  <c:v>0.98</c:v>
                </c:pt>
                <c:pt idx="1">
                  <c:v>0.981</c:v>
                </c:pt>
                <c:pt idx="2">
                  <c:v>0.998</c:v>
                </c:pt>
                <c:pt idx="3">
                  <c:v>0.966</c:v>
                </c:pt>
                <c:pt idx="4">
                  <c:v>0.911</c:v>
                </c:pt>
                <c:pt idx="5">
                  <c:v>0.954</c:v>
                </c:pt>
                <c:pt idx="6">
                  <c:v>0.968</c:v>
                </c:pt>
                <c:pt idx="7">
                  <c:v>0.939</c:v>
                </c:pt>
                <c:pt idx="8">
                  <c:v>0.98</c:v>
                </c:pt>
                <c:pt idx="9">
                  <c:v>0.973</c:v>
                </c:pt>
                <c:pt idx="10">
                  <c:v>0.86</c:v>
                </c:pt>
                <c:pt idx="11">
                  <c:v>0.873</c:v>
                </c:pt>
                <c:pt idx="12">
                  <c:v>0.94</c:v>
                </c:pt>
                <c:pt idx="13">
                  <c:v>0.873</c:v>
                </c:pt>
                <c:pt idx="14">
                  <c:v>0.808</c:v>
                </c:pt>
                <c:pt idx="15">
                  <c:v>0.823</c:v>
                </c:pt>
                <c:pt idx="16">
                  <c:v>0.845</c:v>
                </c:pt>
                <c:pt idx="17">
                  <c:v>0.66</c:v>
                </c:pt>
                <c:pt idx="18">
                  <c:v>0.325</c:v>
                </c:pt>
                <c:pt idx="19">
                  <c:v>0.803</c:v>
                </c:pt>
                <c:pt idx="20">
                  <c:v>0.75</c:v>
                </c:pt>
                <c:pt idx="21">
                  <c:v>0.661</c:v>
                </c:pt>
                <c:pt idx="22">
                  <c:v>0.414</c:v>
                </c:pt>
                <c:pt idx="23">
                  <c:v>0.687</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7ECAC4"/>
              </a:solidFill>
            </c:spPr>
            <c:extLst>
              <c:ext xmlns:c16="http://schemas.microsoft.com/office/drawing/2014/chart" uri="{C3380CC4-5D6E-409C-BE32-E72D297353CC}">
                <c16:uniqueId val="{00000017-FA3E-4872-B6E1-C4ABDF5766E2}"/>
              </c:ext>
            </c:extLst>
          </c:dPt>
          <c:dPt>
            <c:idx val="11"/>
            <c:invertIfNegative val="1"/>
            <c:bubble3D val="0"/>
            <c:spPr>
              <a:solidFill>
                <a:srgbClr val="7ECAC4"/>
              </a:solidFill>
            </c:spPr>
            <c:extLst>
              <c:ext xmlns:c16="http://schemas.microsoft.com/office/drawing/2014/chart" uri="{C3380CC4-5D6E-409C-BE32-E72D297353CC}">
                <c16:uniqueId val="{00000019-FA3E-4872-B6E1-C4ABDF5766E2}"/>
              </c:ext>
            </c:extLst>
          </c:dPt>
          <c:dPt>
            <c:idx val="12"/>
            <c:invertIfNegative val="1"/>
            <c:bubble3D val="0"/>
            <c:spPr>
              <a:solidFill>
                <a:srgbClr val="7ECAC4"/>
              </a:solidFill>
            </c:spPr>
            <c:extLst>
              <c:ext xmlns:c16="http://schemas.microsoft.com/office/drawing/2014/chart" uri="{C3380CC4-5D6E-409C-BE32-E72D297353CC}">
                <c16:uniqueId val="{0000001B-FA3E-4872-B6E1-C4ABDF5766E2}"/>
              </c:ext>
            </c:extLst>
          </c:dPt>
          <c:dPt>
            <c:idx val="13"/>
            <c:invertIfNegative val="1"/>
            <c:bubble3D val="0"/>
            <c:spPr>
              <a:solidFill>
                <a:srgbClr val="7ECAC4"/>
              </a:solidFill>
            </c:spPr>
            <c:extLst>
              <c:ext xmlns:c16="http://schemas.microsoft.com/office/drawing/2014/chart" uri="{C3380CC4-5D6E-409C-BE32-E72D297353CC}">
                <c16:uniqueId val="{0000001D-FA3E-4872-B6E1-C4ABDF5766E2}"/>
              </c:ext>
            </c:extLst>
          </c:dPt>
          <c:dPt>
            <c:idx val="14"/>
            <c:invertIfNegative val="1"/>
            <c:bubble3D val="0"/>
            <c:spPr>
              <a:solidFill>
                <a:srgbClr val="AEABAB"/>
              </a:solidFill>
            </c:spPr>
            <c:extLst>
              <c:ext xmlns:c16="http://schemas.microsoft.com/office/drawing/2014/chart" uri="{C3380CC4-5D6E-409C-BE32-E72D297353CC}">
                <c16:uniqueId val="{0000001F-FA3E-4872-B6E1-C4ABDF5766E2}"/>
              </c:ext>
            </c:extLst>
          </c:dPt>
          <c:dPt>
            <c:idx val="15"/>
            <c:invertIfNegative val="1"/>
            <c:bubble3D val="0"/>
            <c:spPr>
              <a:solidFill>
                <a:srgbClr val="AEABAB"/>
              </a:solidFill>
            </c:spPr>
            <c:extLst>
              <c:ext xmlns:c16="http://schemas.microsoft.com/office/drawing/2014/chart" uri="{C3380CC4-5D6E-409C-BE32-E72D297353CC}">
                <c16:uniqueId val="{00000021-FA3E-4872-B6E1-C4ABDF5766E2}"/>
              </c:ext>
            </c:extLst>
          </c:dPt>
          <c:dPt>
            <c:idx val="16"/>
            <c:invertIfNegative val="1"/>
            <c:bubble3D val="0"/>
            <c:spPr>
              <a:solidFill>
                <a:srgbClr val="AEABAB"/>
              </a:solidFill>
            </c:spPr>
            <c:extLst>
              <c:ext xmlns:c16="http://schemas.microsoft.com/office/drawing/2014/chart" uri="{C3380CC4-5D6E-409C-BE32-E72D297353CC}">
                <c16:uniqueId val="{00000023-FA3E-4872-B6E1-C4ABDF5766E2}"/>
              </c:ext>
            </c:extLst>
          </c:dPt>
          <c:dPt>
            <c:idx val="17"/>
            <c:invertIfNegative val="1"/>
            <c:bubble3D val="0"/>
            <c:spPr>
              <a:solidFill>
                <a:srgbClr val="AEABAB"/>
              </a:solidFill>
            </c:spPr>
            <c:extLst>
              <c:ext xmlns:c16="http://schemas.microsoft.com/office/drawing/2014/chart" uri="{C3380CC4-5D6E-409C-BE32-E72D297353CC}">
                <c16:uniqueId val="{00000025-FA3E-4872-B6E1-C4ABDF5766E2}"/>
              </c:ext>
            </c:extLst>
          </c:dPt>
          <c:dPt>
            <c:idx val="18"/>
            <c:invertIfNegative val="1"/>
            <c:bubble3D val="0"/>
            <c:spPr>
              <a:solidFill>
                <a:srgbClr val="AEABAB"/>
              </a:solidFill>
            </c:spPr>
            <c:extLst>
              <c:ext xmlns:c16="http://schemas.microsoft.com/office/drawing/2014/chart" uri="{C3380CC4-5D6E-409C-BE32-E72D297353CC}">
                <c16:uniqueId val="{00000027-FA3E-4872-B6E1-C4ABDF5766E2}"/>
              </c:ext>
            </c:extLst>
          </c:dPt>
          <c:dPt>
            <c:idx val="19"/>
            <c:invertIfNegative val="1"/>
            <c:bubble3D val="0"/>
            <c:spPr>
              <a:solidFill>
                <a:srgbClr val="AEABAB"/>
              </a:solidFill>
            </c:spPr>
            <c:extLst>
              <c:ext xmlns:c16="http://schemas.microsoft.com/office/drawing/2014/chart" uri="{C3380CC4-5D6E-409C-BE32-E72D297353CC}">
                <c16:uniqueId val="{00000029-FA3E-4872-B6E1-C4ABDF5766E2}"/>
              </c:ext>
            </c:extLst>
          </c:dPt>
          <c:dPt>
            <c:idx val="20"/>
            <c:invertIfNegative val="1"/>
            <c:bubble3D val="0"/>
            <c:spPr>
              <a:solidFill>
                <a:srgbClr val="AEABAB"/>
              </a:solidFill>
            </c:spPr>
            <c:extLst>
              <c:ext xmlns:c16="http://schemas.microsoft.com/office/drawing/2014/chart" uri="{C3380CC4-5D6E-409C-BE32-E72D297353CC}">
                <c16:uniqueId val="{0000002B-FA3E-4872-B6E1-C4ABDF5766E2}"/>
              </c:ext>
            </c:extLst>
          </c:dPt>
          <c:dPt>
            <c:idx val="21"/>
            <c:invertIfNegative val="1"/>
            <c:bubble3D val="0"/>
            <c:spPr>
              <a:solidFill>
                <a:srgbClr val="AEABAB"/>
              </a:solidFill>
            </c:spPr>
            <c:extLst>
              <c:ext xmlns:c16="http://schemas.microsoft.com/office/drawing/2014/chart" uri="{C3380CC4-5D6E-409C-BE32-E72D297353CC}">
                <c16:uniqueId val="{0000002D-FA3E-4872-B6E1-C4ABDF5766E2}"/>
              </c:ext>
            </c:extLst>
          </c:dPt>
          <c:dPt>
            <c:idx val="22"/>
            <c:invertIfNegative val="1"/>
            <c:bubble3D val="0"/>
            <c:spPr>
              <a:solidFill>
                <a:srgbClr val="AEABAB"/>
              </a:solidFill>
            </c:spPr>
            <c:extLst>
              <c:ext xmlns:c16="http://schemas.microsoft.com/office/drawing/2014/chart" uri="{C3380CC4-5D6E-409C-BE32-E72D297353CC}">
                <c16:uniqueId val="{0000002F-FA3E-4872-B6E1-C4ABDF5766E2}"/>
              </c:ext>
            </c:extLst>
          </c:dPt>
          <c:dPt>
            <c:idx val="23"/>
            <c:invertIfNegative val="1"/>
            <c:bubble3D val="0"/>
            <c:spPr>
              <a:solidFill>
                <a:srgbClr val="AEABAB"/>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25</c:f>
              <c:strCache>
                <c:ptCount val="24"/>
                <c:pt idx="0">
                  <c:v>Boursin Classique Fromage Frais A Tartiner Afh Boite 1X250Gr 1P</c:v>
                </c:pt>
                <c:pt idx="1">
                  <c:v>Boursin Classique Fromage Frais A Tartiner Afh 1X160Gr 10P</c:v>
                </c:pt>
                <c:pt idx="2">
                  <c:v>Boursin Classique Fromage Frais A Tartiner Afh Boite 1X150Gr 1P</c:v>
                </c:pt>
                <c:pt idx="3">
                  <c:v>Boursin Aperitif Roules Fromage Frais Roule Afh Et Jambon Fume Boite 1X100Gr 20P</c:v>
                </c:pt>
                <c:pt idx="4">
                  <c:v>Boursin Aperitif Roules Fromage Frais Roule Ciboulette &amp; Echalote Jambon Fume Boite 1X100Gr 20P</c:v>
                </c:pt>
                <c:pt idx="5">
                  <c:v>Boursin Onctueux Fromage Frais A Tartiner Afh 1X125Gr 1P</c:v>
                </c:pt>
                <c:pt idx="6">
                  <c:v>Boursin Salade &amp; Aperitif Fromage Frais Des Afh 1X120Gr 1P</c:v>
                </c:pt>
                <c:pt idx="7">
                  <c:v>Boursin Classique Fromage Frais A Tartiner Afh Boite 1X96Gr 6P</c:v>
                </c:pt>
                <c:pt idx="8">
                  <c:v>Boursin Classique Fromage Frais A Tartiner Figue Et 3 Noix Boite 1X150Gr 1P</c:v>
                </c:pt>
                <c:pt idx="9">
                  <c:v>Boursin Classique Fromage Frais A Tartiner Ciboulette &amp; Echalote Boite 1X150Gr 1P</c:v>
                </c:pt>
                <c:pt idx="10">
                  <c:v>Boursin Classique Fromage Frais A Tartiner Afh 1X256Gr 16P</c:v>
                </c:pt>
                <c:pt idx="11">
                  <c:v>Boursin Cuisine Sauce Fromage Afh 1X240Gr 1P</c:v>
                </c:pt>
                <c:pt idx="12">
                  <c:v>Boursin Classique Fromage Frais A Tartiner Poivre Boite 1X150Gr 1P</c:v>
                </c:pt>
                <c:pt idx="13">
                  <c:v>Boursin Aperitif Roules Fromage Frais Roule Basilic &amp; Jambon Fume Tomate Boite 1X100Gr 20P</c:v>
                </c:pt>
                <c:pt idx="14">
                  <c:v>Boursin Classique Fromage Frais A Tartiner Ciboulette &amp; Echalote 1X160Gr 10P</c:v>
                </c:pt>
                <c:pt idx="15">
                  <c:v>Boursin Salade &amp; Aperitif Fromage Frais Des Ciboulette Echalote 1X120Gr 1P</c:v>
                </c:pt>
                <c:pt idx="16">
                  <c:v>Boursin Salade &amp; Aperitif Fromage Frais Des Figue Noix 1X120Gr 1P</c:v>
                </c:pt>
                <c:pt idx="17">
                  <c:v>Boursin Salade &amp; Aperitif Fromage Frais Des Citron Romarin 1X120Gr 1P</c:v>
                </c:pt>
                <c:pt idx="18">
                  <c:v>Boursin Classique Fromage Frais A Tartiner Afh Boite 1X80Gr 1P</c:v>
                </c:pt>
                <c:pt idx="19">
                  <c:v>Boursin Salade &amp; Aperitif Fromage Frais Des Noisette Et 3 Noix 1X120Gr 1P</c:v>
                </c:pt>
                <c:pt idx="20">
                  <c:v>Boursin Aperitif Roules Fromage Frais Roule Jambon Fume &amp; Trio De Noix Boite 1X100Gr 20P</c:v>
                </c:pt>
                <c:pt idx="21">
                  <c:v>Boursin Aperitif Roules Aperitif 100G</c:v>
                </c:pt>
                <c:pt idx="22">
                  <c:v>Boursin Salade &amp; Aperitif Soft Cheese Salade 120G</c:v>
                </c:pt>
                <c:pt idx="23">
                  <c:v>Boursin Classique Fromage Frais A Tartiner Truffe Boite 1X150Gr 1P</c:v>
                </c:pt>
              </c:strCache>
            </c:strRef>
          </c:cat>
          <c:val>
            <c:numRef>
              <c:f>Sheet1!$C$2:$C$25</c:f>
              <c:numCache>
                <c:formatCode>General</c:formatCode>
                <c:ptCount val="24"/>
                <c:pt idx="0">
                  <c:v>0.1312454279452836</c:v>
                </c:pt>
                <c:pt idx="1">
                  <c:v>0.2611578821477638</c:v>
                </c:pt>
                <c:pt idx="2">
                  <c:v>0.37906746296148586</c:v>
                </c:pt>
                <c:pt idx="3">
                  <c:v>0.4836032876170357</c:v>
                </c:pt>
                <c:pt idx="4">
                  <c:v>0.5480431485544105</c:v>
                </c:pt>
                <c:pt idx="5">
                  <c:v>0.6052794284935213</c:v>
                </c:pt>
                <c:pt idx="6">
                  <c:v>0.6578718045649204</c:v>
                </c:pt>
                <c:pt idx="7">
                  <c:v>0.7095414710799831</c:v>
                </c:pt>
                <c:pt idx="8">
                  <c:v>0.7581451247981514</c:v>
                </c:pt>
                <c:pt idx="9">
                  <c:v>0.7985655282059998</c:v>
                </c:pt>
                <c:pt idx="10">
                  <c:v>0.8337555443154118</c:v>
                </c:pt>
                <c:pt idx="11">
                  <c:v>0.867859187786597</c:v>
                </c:pt>
                <c:pt idx="12">
                  <c:v>0.9005503832612214</c:v>
                </c:pt>
                <c:pt idx="13">
                  <c:v>0.9321577077085121</c:v>
                </c:pt>
                <c:pt idx="14">
                  <c:v>0.9547393643772343</c:v>
                </c:pt>
                <c:pt idx="15">
                  <c:v>0.9679470039505249</c:v>
                </c:pt>
                <c:pt idx="16">
                  <c:v>0.9768871839876122</c:v>
                </c:pt>
                <c:pt idx="17">
                  <c:v>0.9820120706574226</c:v>
                </c:pt>
                <c:pt idx="18">
                  <c:v>0.9862818393729118</c:v>
                </c:pt>
                <c:pt idx="19">
                  <c:v>0.9905242828001841</c:v>
                </c:pt>
                <c:pt idx="20">
                  <c:v>0.9933210837786604</c:v>
                </c:pt>
                <c:pt idx="21">
                  <c:v>0.9956441662482083</c:v>
                </c:pt>
                <c:pt idx="22">
                  <c:v>0.9978575145937727</c:v>
                </c:pt>
                <c:pt idx="23">
                  <c:v>1.000000000000000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25</c:f>
              <c:strCache>
                <c:ptCount val="24"/>
                <c:pt idx="0">
                  <c:v>Boursin Classique Fromage Frais A Tartiner Afh Boite 1X250Gr 1P</c:v>
                </c:pt>
                <c:pt idx="1">
                  <c:v>Boursin Classique Fromage Frais A Tartiner Afh 1X160Gr 10P</c:v>
                </c:pt>
                <c:pt idx="2">
                  <c:v>Boursin Classique Fromage Frais A Tartiner Afh Boite 1X150Gr 1P</c:v>
                </c:pt>
                <c:pt idx="3">
                  <c:v>Boursin Aperitif Roules Fromage Frais Roule Afh Et Jambon Fume Boite 1X100Gr 20P</c:v>
                </c:pt>
                <c:pt idx="4">
                  <c:v>Boursin Aperitif Roules Fromage Frais Roule Ciboulette &amp; Echalote Jambon Fume Boite 1X100Gr 20P</c:v>
                </c:pt>
                <c:pt idx="5">
                  <c:v>Boursin Onctueux Fromage Frais A Tartiner Afh 1X125Gr 1P</c:v>
                </c:pt>
                <c:pt idx="6">
                  <c:v>Boursin Salade &amp; Aperitif Fromage Frais Des Afh 1X120Gr 1P</c:v>
                </c:pt>
                <c:pt idx="7">
                  <c:v>Boursin Classique Fromage Frais A Tartiner Afh Boite 1X96Gr 6P</c:v>
                </c:pt>
                <c:pt idx="8">
                  <c:v>Boursin Classique Fromage Frais A Tartiner Figue Et 3 Noix Boite 1X150Gr 1P</c:v>
                </c:pt>
                <c:pt idx="9">
                  <c:v>Boursin Classique Fromage Frais A Tartiner Ciboulette &amp; Echalote Boite 1X150Gr 1P</c:v>
                </c:pt>
                <c:pt idx="10">
                  <c:v>Boursin Classique Fromage Frais A Tartiner Afh 1X256Gr 16P</c:v>
                </c:pt>
                <c:pt idx="11">
                  <c:v>Boursin Cuisine Sauce Fromage Afh 1X240Gr 1P</c:v>
                </c:pt>
                <c:pt idx="12">
                  <c:v>Boursin Classique Fromage Frais A Tartiner Poivre Boite 1X150Gr 1P</c:v>
                </c:pt>
                <c:pt idx="13">
                  <c:v>Boursin Aperitif Roules Fromage Frais Roule Basilic &amp; Jambon Fume Tomate Boite 1X100Gr 20P</c:v>
                </c:pt>
                <c:pt idx="14">
                  <c:v>Boursin Classique Fromage Frais A Tartiner Ciboulette &amp; Echalote 1X160Gr 10P</c:v>
                </c:pt>
                <c:pt idx="15">
                  <c:v>Boursin Salade &amp; Aperitif Fromage Frais Des Ciboulette Echalote 1X120Gr 1P</c:v>
                </c:pt>
                <c:pt idx="16">
                  <c:v>Boursin Salade &amp; Aperitif Fromage Frais Des Figue Noix 1X120Gr 1P</c:v>
                </c:pt>
                <c:pt idx="17">
                  <c:v>Boursin Salade &amp; Aperitif Fromage Frais Des Citron Romarin 1X120Gr 1P</c:v>
                </c:pt>
                <c:pt idx="18">
                  <c:v>Boursin Classique Fromage Frais A Tartiner Afh Boite 1X80Gr 1P</c:v>
                </c:pt>
                <c:pt idx="19">
                  <c:v>Boursin Salade &amp; Aperitif Fromage Frais Des Noisette Et 3 Noix 1X120Gr 1P</c:v>
                </c:pt>
                <c:pt idx="20">
                  <c:v>Boursin Aperitif Roules Fromage Frais Roule Jambon Fume &amp; Trio De Noix Boite 1X100Gr 20P</c:v>
                </c:pt>
                <c:pt idx="21">
                  <c:v>Boursin Aperitif Roules Aperitif 100G</c:v>
                </c:pt>
                <c:pt idx="22">
                  <c:v>Boursin Salade &amp; Aperitif Soft Cheese Salade 120G</c:v>
                </c:pt>
                <c:pt idx="23">
                  <c:v>Boursin Classique Fromage Frais A Tartiner Truffe Boite 1X150Gr 1P</c:v>
                </c:pt>
              </c:strCache>
            </c:strRef>
          </c:cat>
          <c:val>
            <c:numRef>
              <c:f>Sheet1!$D$2:$D$25</c:f>
              <c:numCache>
                <c:formatCode>General</c:formatCode>
                <c:ptCount val="24"/>
                <c:pt idx="0">
                  <c:v>27838.23469387755</c:v>
                </c:pt>
                <c:pt idx="1">
                  <c:v>27527.410805300715</c:v>
                </c:pt>
                <c:pt idx="2">
                  <c:v>24558.517034068136</c:v>
                </c:pt>
                <c:pt idx="3">
                  <c:v>22494.254658385096</c:v>
                </c:pt>
                <c:pt idx="4">
                  <c:v>14703.468715697034</c:v>
                </c:pt>
                <c:pt idx="5">
                  <c:v>12471.153039832287</c:v>
                </c:pt>
                <c:pt idx="6">
                  <c:v>11293.564049586777</c:v>
                </c:pt>
                <c:pt idx="7">
                  <c:v>11438.093716719915</c:v>
                </c:pt>
                <c:pt idx="8">
                  <c:v>10309.234693877552</c:v>
                </c:pt>
                <c:pt idx="9">
                  <c:v>8635.179856115108</c:v>
                </c:pt>
                <c:pt idx="10">
                  <c:v>8505.593023255815</c:v>
                </c:pt>
                <c:pt idx="11">
                  <c:v>8120.263459335624</c:v>
                </c:pt>
                <c:pt idx="12">
                  <c:v>7229.13829787234</c:v>
                </c:pt>
                <c:pt idx="13">
                  <c:v>7525.876288659794</c:v>
                </c:pt>
                <c:pt idx="14">
                  <c:v>5809.356435643564</c:v>
                </c:pt>
                <c:pt idx="15">
                  <c:v>3335.868772782503</c:v>
                </c:pt>
                <c:pt idx="16">
                  <c:v>2199.242603550296</c:v>
                </c:pt>
                <c:pt idx="17">
                  <c:v>1614.0757575757575</c:v>
                </c:pt>
                <c:pt idx="18">
                  <c:v>2730.892307692308</c:v>
                </c:pt>
                <c:pt idx="19">
                  <c:v>1098.206724782067</c:v>
                </c:pt>
                <c:pt idx="20">
                  <c:v>775.1466666666666</c:v>
                </c:pt>
                <c:pt idx="21">
                  <c:v>730.5446293494704</c:v>
                </c:pt>
                <c:pt idx="22">
                  <c:v>1111.304347826087</c:v>
                </c:pt>
                <c:pt idx="23">
                  <c:v>648.2532751091703</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12</c:f>
              <c:strCache>
                <c:ptCount val="11"/>
                <c:pt idx="0">
                  <c:v>Kiri Creme Fromage Blanc Frais Carre 1X432Gr 24P</c:v>
                </c:pt>
                <c:pt idx="1">
                  <c:v>Kiri Creme Fromage Blanc Frais Carre 1X216Gr 12P</c:v>
                </c:pt>
                <c:pt idx="2">
                  <c:v>Kiri Gouter Fromage Blanc Dips Boite 1X175Gr 5P</c:v>
                </c:pt>
                <c:pt idx="3">
                  <c:v>Kiri Creme Fromage Blanc Frais Carre 1X144Gr 8P</c:v>
                </c:pt>
                <c:pt idx="4">
                  <c:v>Kiri Gouter Fromage Blanc Dips Boite 1X280Gr 8P</c:v>
                </c:pt>
                <c:pt idx="5">
                  <c:v>Kiri Creme Fromage Blanc Frais Carre 1X432Gr 18+6P</c:v>
                </c:pt>
                <c:pt idx="6">
                  <c:v>Kiri Delicieusement Fouette Fromage Frais A Tartiner 1X210Gr 1P</c:v>
                </c:pt>
                <c:pt idx="7">
                  <c:v>Kiri Delicieusement Fouette Fromage Frais A Tartiner 1X125Gr 1P</c:v>
                </c:pt>
                <c:pt idx="8">
                  <c:v>Kiri Bio Fromage Blanc Frais Carre 1X144Gr 8P</c:v>
                </c:pt>
                <c:pt idx="9">
                  <c:v>Kiri Delicieusement Fouette Fromage Frais A Tartiner 1X160Gr 10P</c:v>
                </c:pt>
                <c:pt idx="10">
                  <c:v>Kiri Chevre Fromage Blanc Frais Carre 1X144Gr 8P</c:v>
                </c:pt>
              </c:strCache>
            </c:strRef>
          </c:cat>
          <c:val>
            <c:numRef>
              <c:f>Sheet1!$B$2:$B$12</c:f>
              <c:numCache>
                <c:formatCode>General</c:formatCode>
                <c:ptCount val="11"/>
                <c:pt idx="0">
                  <c:v>0.99</c:v>
                </c:pt>
                <c:pt idx="1">
                  <c:v>1.0</c:v>
                </c:pt>
                <c:pt idx="2">
                  <c:v>1.0</c:v>
                </c:pt>
                <c:pt idx="3">
                  <c:v>1.0</c:v>
                </c:pt>
                <c:pt idx="4">
                  <c:v>0.99</c:v>
                </c:pt>
                <c:pt idx="5">
                  <c:v>0.98</c:v>
                </c:pt>
                <c:pt idx="6">
                  <c:v>0.96</c:v>
                </c:pt>
                <c:pt idx="7">
                  <c:v>0.98</c:v>
                </c:pt>
                <c:pt idx="8">
                  <c:v>0.75</c:v>
                </c:pt>
                <c:pt idx="9">
                  <c:v>0.89</c:v>
                </c:pt>
                <c:pt idx="10">
                  <c:v>0.56</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7ECAC4"/>
              </a:solidFill>
            </c:spPr>
            <c:extLst>
              <c:ext xmlns:c16="http://schemas.microsoft.com/office/drawing/2014/chart" uri="{C3380CC4-5D6E-409C-BE32-E72D297353CC}">
                <c16:uniqueId val="{0000000B-FA3E-4872-B6E1-C4ABDF5766E2}"/>
              </c:ext>
            </c:extLst>
          </c:dPt>
          <c:dPt>
            <c:idx val="5"/>
            <c:invertIfNegative val="1"/>
            <c:bubble3D val="0"/>
            <c:spPr>
              <a:solidFill>
                <a:srgbClr val="7ECAC4"/>
              </a:solidFill>
            </c:spPr>
            <c:extLst>
              <c:ext xmlns:c16="http://schemas.microsoft.com/office/drawing/2014/chart" uri="{C3380CC4-5D6E-409C-BE32-E72D297353CC}">
                <c16:uniqueId val="{0000000D-FA3E-4872-B6E1-C4ABDF5766E2}"/>
              </c:ext>
            </c:extLst>
          </c:dPt>
          <c:dPt>
            <c:idx val="6"/>
            <c:invertIfNegative val="1"/>
            <c:bubble3D val="0"/>
            <c:spPr>
              <a:solidFill>
                <a:srgbClr val="AEABAB"/>
              </a:solidFill>
            </c:spPr>
            <c:extLst>
              <c:ext xmlns:c16="http://schemas.microsoft.com/office/drawing/2014/chart" uri="{C3380CC4-5D6E-409C-BE32-E72D297353CC}">
                <c16:uniqueId val="{0000000F-FA3E-4872-B6E1-C4ABDF5766E2}"/>
              </c:ext>
            </c:extLst>
          </c:dPt>
          <c:dPt>
            <c:idx val="7"/>
            <c:invertIfNegative val="1"/>
            <c:bubble3D val="0"/>
            <c:spPr>
              <a:solidFill>
                <a:srgbClr val="AEABAB"/>
              </a:solidFill>
            </c:spPr>
            <c:extLst>
              <c:ext xmlns:c16="http://schemas.microsoft.com/office/drawing/2014/chart" uri="{C3380CC4-5D6E-409C-BE32-E72D297353CC}">
                <c16:uniqueId val="{00000011-FA3E-4872-B6E1-C4ABDF5766E2}"/>
              </c:ext>
            </c:extLst>
          </c:dPt>
          <c:dPt>
            <c:idx val="8"/>
            <c:invertIfNegative val="1"/>
            <c:bubble3D val="0"/>
            <c:spPr>
              <a:solidFill>
                <a:srgbClr val="AEABAB"/>
              </a:solidFill>
            </c:spPr>
            <c:extLst>
              <c:ext xmlns:c16="http://schemas.microsoft.com/office/drawing/2014/chart" uri="{C3380CC4-5D6E-409C-BE32-E72D297353CC}">
                <c16:uniqueId val="{00000013-FA3E-4872-B6E1-C4ABDF5766E2}"/>
              </c:ext>
            </c:extLst>
          </c:dPt>
          <c:dPt>
            <c:idx val="9"/>
            <c:invertIfNegative val="1"/>
            <c:bubble3D val="0"/>
            <c:spPr>
              <a:solidFill>
                <a:srgbClr val="AEABAB"/>
              </a:solidFill>
            </c:spPr>
            <c:extLst>
              <c:ext xmlns:c16="http://schemas.microsoft.com/office/drawing/2014/chart" uri="{C3380CC4-5D6E-409C-BE32-E72D297353CC}">
                <c16:uniqueId val="{00000015-FA3E-4872-B6E1-C4ABDF5766E2}"/>
              </c:ext>
            </c:extLst>
          </c:dPt>
          <c:dPt>
            <c:idx val="10"/>
            <c:invertIfNegative val="1"/>
            <c:bubble3D val="0"/>
            <c:spPr>
              <a:solidFill>
                <a:srgbClr val="AEABAB"/>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12</c:f>
              <c:strCache>
                <c:ptCount val="11"/>
                <c:pt idx="0">
                  <c:v>Kiri Creme Fromage Blanc Frais Carre 1X432Gr 24P</c:v>
                </c:pt>
                <c:pt idx="1">
                  <c:v>Kiri Creme Fromage Blanc Frais Carre 1X216Gr 12P</c:v>
                </c:pt>
                <c:pt idx="2">
                  <c:v>Kiri Gouter Fromage Blanc Dips Boite 1X175Gr 5P</c:v>
                </c:pt>
                <c:pt idx="3">
                  <c:v>Kiri Creme Fromage Blanc Frais Carre 1X144Gr 8P</c:v>
                </c:pt>
                <c:pt idx="4">
                  <c:v>Kiri Gouter Fromage Blanc Dips Boite 1X280Gr 8P</c:v>
                </c:pt>
                <c:pt idx="5">
                  <c:v>Kiri Creme Fromage Blanc Frais Carre 1X432Gr 18+6P</c:v>
                </c:pt>
                <c:pt idx="6">
                  <c:v>Kiri Delicieusement Fouette Fromage Frais A Tartiner 1X210Gr 1P</c:v>
                </c:pt>
                <c:pt idx="7">
                  <c:v>Kiri Delicieusement Fouette Fromage Frais A Tartiner 1X125Gr 1P</c:v>
                </c:pt>
                <c:pt idx="8">
                  <c:v>Kiri Bio Fromage Blanc Frais Carre 1X144Gr 8P</c:v>
                </c:pt>
                <c:pt idx="9">
                  <c:v>Kiri Delicieusement Fouette Fromage Frais A Tartiner 1X160Gr 10P</c:v>
                </c:pt>
                <c:pt idx="10">
                  <c:v>Kiri Chevre Fromage Blanc Frais Carre 1X144Gr 8P</c:v>
                </c:pt>
              </c:strCache>
            </c:strRef>
          </c:cat>
          <c:val>
            <c:numRef>
              <c:f>Sheet1!$C$2:$C$12</c:f>
              <c:numCache>
                <c:formatCode>General</c:formatCode>
                <c:ptCount val="11"/>
                <c:pt idx="0">
                  <c:v>0.38031066252989243</c:v>
                </c:pt>
                <c:pt idx="1">
                  <c:v>0.5442684836115993</c:v>
                </c:pt>
                <c:pt idx="2">
                  <c:v>0.6699138153315682</c:v>
                </c:pt>
                <c:pt idx="3">
                  <c:v>0.7692979336913968</c:v>
                </c:pt>
                <c:pt idx="4">
                  <c:v>0.8621044462458098</c:v>
                </c:pt>
                <c:pt idx="5">
                  <c:v>0.93013522600303</c:v>
                </c:pt>
                <c:pt idx="6">
                  <c:v>0.9578908518530377</c:v>
                </c:pt>
                <c:pt idx="7">
                  <c:v>0.976276549310135</c:v>
                </c:pt>
                <c:pt idx="8">
                  <c:v>0.9882295741156127</c:v>
                </c:pt>
                <c:pt idx="9">
                  <c:v>0.9987486033331254</c:v>
                </c:pt>
                <c:pt idx="10">
                  <c:v>1.0</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12</c:f>
              <c:strCache>
                <c:ptCount val="11"/>
                <c:pt idx="0">
                  <c:v>Kiri Creme Fromage Blanc Frais Carre 1X432Gr 24P</c:v>
                </c:pt>
                <c:pt idx="1">
                  <c:v>Kiri Creme Fromage Blanc Frais Carre 1X216Gr 12P</c:v>
                </c:pt>
                <c:pt idx="2">
                  <c:v>Kiri Gouter Fromage Blanc Dips Boite 1X175Gr 5P</c:v>
                </c:pt>
                <c:pt idx="3">
                  <c:v>Kiri Creme Fromage Blanc Frais Carre 1X144Gr 8P</c:v>
                </c:pt>
                <c:pt idx="4">
                  <c:v>Kiri Gouter Fromage Blanc Dips Boite 1X280Gr 8P</c:v>
                </c:pt>
                <c:pt idx="5">
                  <c:v>Kiri Creme Fromage Blanc Frais Carre 1X432Gr 18+6P</c:v>
                </c:pt>
                <c:pt idx="6">
                  <c:v>Kiri Delicieusement Fouette Fromage Frais A Tartiner 1X210Gr 1P</c:v>
                </c:pt>
                <c:pt idx="7">
                  <c:v>Kiri Delicieusement Fouette Fromage Frais A Tartiner 1X125Gr 1P</c:v>
                </c:pt>
                <c:pt idx="8">
                  <c:v>Kiri Bio Fromage Blanc Frais Carre 1X144Gr 8P</c:v>
                </c:pt>
                <c:pt idx="9">
                  <c:v>Kiri Delicieusement Fouette Fromage Frais A Tartiner 1X160Gr 10P</c:v>
                </c:pt>
                <c:pt idx="10">
                  <c:v>Kiri Chevre Fromage Blanc Frais Carre 1X144Gr 8P</c:v>
                </c:pt>
              </c:strCache>
            </c:strRef>
          </c:cat>
          <c:val>
            <c:numRef>
              <c:f>Sheet1!$D$2:$D$12</c:f>
              <c:numCache>
                <c:formatCode>General</c:formatCode>
                <c:ptCount val="11"/>
                <c:pt idx="0">
                  <c:v>45589.41414141414</c:v>
                </c:pt>
                <c:pt idx="1">
                  <c:v>19457.76</c:v>
                </c:pt>
                <c:pt idx="2">
                  <c:v>14911.01</c:v>
                </c:pt>
                <c:pt idx="3">
                  <c:v>11794.45</c:v>
                </c:pt>
                <c:pt idx="4">
                  <c:v>11125.10101010101</c:v>
                </c:pt>
                <c:pt idx="5">
                  <c:v>8238.34693877551</c:v>
                </c:pt>
                <c:pt idx="6">
                  <c:v>3431.15625</c:v>
                </c:pt>
                <c:pt idx="7">
                  <c:v>2226.4591836734694</c:v>
                </c:pt>
                <c:pt idx="8">
                  <c:v>1891.3733333333332</c:v>
                </c:pt>
                <c:pt idx="9">
                  <c:v>1402.6404494382023</c:v>
                </c:pt>
                <c:pt idx="10">
                  <c:v>265.19642857142856</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16</c:f>
              <c:strCache>
                <c:ptCount val="15"/>
                <c:pt idx="0">
                  <c:v>La Vache Qui Rit Nature Fromage Fondu Boite Ronde 1X512Gr 32P</c:v>
                </c:pt>
                <c:pt idx="1">
                  <c:v>La Vache Qui Rit Nature Fromage Fondu Boite Ronde 1X384Gr 24P</c:v>
                </c:pt>
                <c:pt idx="2">
                  <c:v>La Vache Qui Rit Nature Fromage Fondu Boite Ronde 1X192Gr 12P</c:v>
                </c:pt>
                <c:pt idx="3">
                  <c:v>La Vache Qui Rit Nature Fromage Fondu Boite Ronde 1X512Gr 24+8P</c:v>
                </c:pt>
                <c:pt idx="4">
                  <c:v>La Vache Qui Rit Nature Fromage Fondu Boite Ronde 1X128Gr 8P</c:v>
                </c:pt>
                <c:pt idx="5">
                  <c:v>La Vache Qui Rit Pik Et Croq' Fromage Fondu Dips Boite 1X175Gr 5P</c:v>
                </c:pt>
                <c:pt idx="6">
                  <c:v>La Vache Qui Rit Pik Et Croq' Fromage Fondu Dips Boite 1X280Gr 8P</c:v>
                </c:pt>
                <c:pt idx="7">
                  <c:v>Toastinette Fromage Fondu Tranche A Chaud Sachet 1X200Gr 10P</c:v>
                </c:pt>
                <c:pt idx="8">
                  <c:v>Toastinette Cheddar Fondu Tranche A Chaud Sachet 1X200Gr 10P</c:v>
                </c:pt>
                <c:pt idx="9">
                  <c:v>La Vache Qui Rit Allegee Fromage Fondu Boite Ronde Allege 1X267Gr 16P</c:v>
                </c:pt>
                <c:pt idx="10">
                  <c:v>La Vache Qui Rit Bio Fromage Fondu Boite Ronde 1X128Gr 8P</c:v>
                </c:pt>
                <c:pt idx="11">
                  <c:v>La Vache Qui Rit Le Fondant Fromage Fondu 1X200Gr 1P</c:v>
                </c:pt>
                <c:pt idx="12">
                  <c:v>La Vache Qui Rit Aro Fromage Fondu Boite Ronde Jambon 1X133Gr 8P</c:v>
                </c:pt>
                <c:pt idx="13">
                  <c:v>Toastinette Fromage Fondu Tranche A Chaud Sachet 1X340Gr 20P</c:v>
                </c:pt>
                <c:pt idx="14">
                  <c:v>Toastinette Cheddar Fondu Tranche A Chaud Sachet 1X340Gr 20P</c:v>
                </c:pt>
              </c:strCache>
            </c:strRef>
          </c:cat>
          <c:val>
            <c:numRef>
              <c:f>Sheet1!$B$2:$B$16</c:f>
              <c:numCache>
                <c:formatCode>General</c:formatCode>
                <c:ptCount val="15"/>
                <c:pt idx="0">
                  <c:v>0.99</c:v>
                </c:pt>
                <c:pt idx="1">
                  <c:v>1.0</c:v>
                </c:pt>
                <c:pt idx="2">
                  <c:v>1.0</c:v>
                </c:pt>
                <c:pt idx="3">
                  <c:v>0.94</c:v>
                </c:pt>
                <c:pt idx="4">
                  <c:v>0.94</c:v>
                </c:pt>
                <c:pt idx="5">
                  <c:v>1.0</c:v>
                </c:pt>
                <c:pt idx="6">
                  <c:v>0.95</c:v>
                </c:pt>
                <c:pt idx="7">
                  <c:v>1.0</c:v>
                </c:pt>
                <c:pt idx="8">
                  <c:v>1.0</c:v>
                </c:pt>
                <c:pt idx="9">
                  <c:v>0.86</c:v>
                </c:pt>
                <c:pt idx="10">
                  <c:v>0.82</c:v>
                </c:pt>
                <c:pt idx="11">
                  <c:v>0.59</c:v>
                </c:pt>
                <c:pt idx="12">
                  <c:v>0.08</c:v>
                </c:pt>
                <c:pt idx="13">
                  <c:v>0.16</c:v>
                </c:pt>
                <c:pt idx="14">
                  <c:v>0.16</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7ECAC4"/>
              </a:solidFill>
            </c:spPr>
            <c:extLst>
              <c:ext xmlns:c16="http://schemas.microsoft.com/office/drawing/2014/chart" uri="{C3380CC4-5D6E-409C-BE32-E72D297353CC}">
                <c16:uniqueId val="{00000007-E902-46E2-9A54-39A26B3DFDC1}"/>
              </c:ext>
            </c:extLst>
          </c:dPt>
          <c:dPt>
            <c:idx val="4"/>
            <c:invertIfNegative val="1"/>
            <c:bubble3D val="0"/>
            <c:spPr>
              <a:solidFill>
                <a:srgbClr val="7ECAC4"/>
              </a:solidFill>
            </c:spPr>
            <c:extLst>
              <c:ext xmlns:c16="http://schemas.microsoft.com/office/drawing/2014/chart" uri="{C3380CC4-5D6E-409C-BE32-E72D297353CC}">
                <c16:uniqueId val="{0000000B-FA3E-4872-B6E1-C4ABDF5766E2}"/>
              </c:ext>
            </c:extLst>
          </c:dPt>
          <c:dPt>
            <c:idx val="5"/>
            <c:invertIfNegative val="1"/>
            <c:bubble3D val="0"/>
            <c:spPr>
              <a:solidFill>
                <a:srgbClr val="7ECAC4"/>
              </a:solidFill>
            </c:spPr>
            <c:extLst>
              <c:ext xmlns:c16="http://schemas.microsoft.com/office/drawing/2014/chart" uri="{C3380CC4-5D6E-409C-BE32-E72D297353CC}">
                <c16:uniqueId val="{0000000D-FA3E-4872-B6E1-C4ABDF5766E2}"/>
              </c:ext>
            </c:extLst>
          </c:dPt>
          <c:dPt>
            <c:idx val="6"/>
            <c:invertIfNegative val="1"/>
            <c:bubble3D val="0"/>
            <c:spPr>
              <a:solidFill>
                <a:srgbClr val="7ECAC4"/>
              </a:solidFill>
            </c:spPr>
            <c:extLst>
              <c:ext xmlns:c16="http://schemas.microsoft.com/office/drawing/2014/chart" uri="{C3380CC4-5D6E-409C-BE32-E72D297353CC}">
                <c16:uniqueId val="{0000000F-FA3E-4872-B6E1-C4ABDF5766E2}"/>
              </c:ext>
            </c:extLst>
          </c:dPt>
          <c:dPt>
            <c:idx val="7"/>
            <c:invertIfNegative val="1"/>
            <c:bubble3D val="0"/>
            <c:spPr>
              <a:solidFill>
                <a:srgbClr val="7ECAC4"/>
              </a:solidFill>
            </c:spPr>
            <c:extLst>
              <c:ext xmlns:c16="http://schemas.microsoft.com/office/drawing/2014/chart" uri="{C3380CC4-5D6E-409C-BE32-E72D297353CC}">
                <c16:uniqueId val="{00000011-FA3E-4872-B6E1-C4ABDF5766E2}"/>
              </c:ext>
            </c:extLst>
          </c:dPt>
          <c:dPt>
            <c:idx val="8"/>
            <c:invertIfNegative val="1"/>
            <c:bubble3D val="0"/>
            <c:spPr>
              <a:solidFill>
                <a:srgbClr val="AEABAB"/>
              </a:solidFill>
            </c:spPr>
            <c:extLst>
              <c:ext xmlns:c16="http://schemas.microsoft.com/office/drawing/2014/chart" uri="{C3380CC4-5D6E-409C-BE32-E72D297353CC}">
                <c16:uniqueId val="{00000013-FA3E-4872-B6E1-C4ABDF5766E2}"/>
              </c:ext>
            </c:extLst>
          </c:dPt>
          <c:dPt>
            <c:idx val="9"/>
            <c:invertIfNegative val="1"/>
            <c:bubble3D val="0"/>
            <c:spPr>
              <a:solidFill>
                <a:srgbClr val="AEABAB"/>
              </a:solidFill>
            </c:spPr>
            <c:extLst>
              <c:ext xmlns:c16="http://schemas.microsoft.com/office/drawing/2014/chart" uri="{C3380CC4-5D6E-409C-BE32-E72D297353CC}">
                <c16:uniqueId val="{00000015-FA3E-4872-B6E1-C4ABDF5766E2}"/>
              </c:ext>
            </c:extLst>
          </c:dPt>
          <c:dPt>
            <c:idx val="10"/>
            <c:invertIfNegative val="1"/>
            <c:bubble3D val="0"/>
            <c:spPr>
              <a:solidFill>
                <a:srgbClr val="AEABAB"/>
              </a:solidFill>
            </c:spPr>
            <c:extLst>
              <c:ext xmlns:c16="http://schemas.microsoft.com/office/drawing/2014/chart" uri="{C3380CC4-5D6E-409C-BE32-E72D297353CC}">
                <c16:uniqueId val="{00000017-FA3E-4872-B6E1-C4ABDF5766E2}"/>
              </c:ext>
            </c:extLst>
          </c:dPt>
          <c:dPt>
            <c:idx val="11"/>
            <c:invertIfNegative val="1"/>
            <c:bubble3D val="0"/>
            <c:spPr>
              <a:solidFill>
                <a:srgbClr val="AEABAB"/>
              </a:solidFill>
            </c:spPr>
            <c:extLst>
              <c:ext xmlns:c16="http://schemas.microsoft.com/office/drawing/2014/chart" uri="{C3380CC4-5D6E-409C-BE32-E72D297353CC}">
                <c16:uniqueId val="{00000019-FA3E-4872-B6E1-C4ABDF5766E2}"/>
              </c:ext>
            </c:extLst>
          </c:dPt>
          <c:dPt>
            <c:idx val="12"/>
            <c:invertIfNegative val="1"/>
            <c:bubble3D val="0"/>
            <c:spPr>
              <a:solidFill>
                <a:srgbClr val="AEABAB"/>
              </a:solidFill>
            </c:spPr>
            <c:extLst>
              <c:ext xmlns:c16="http://schemas.microsoft.com/office/drawing/2014/chart" uri="{C3380CC4-5D6E-409C-BE32-E72D297353CC}">
                <c16:uniqueId val="{0000001B-FA3E-4872-B6E1-C4ABDF5766E2}"/>
              </c:ext>
            </c:extLst>
          </c:dPt>
          <c:dPt>
            <c:idx val="13"/>
            <c:invertIfNegative val="1"/>
            <c:bubble3D val="0"/>
            <c:spPr>
              <a:solidFill>
                <a:srgbClr val="AEABAB"/>
              </a:solidFill>
            </c:spPr>
            <c:extLst>
              <c:ext xmlns:c16="http://schemas.microsoft.com/office/drawing/2014/chart" uri="{C3380CC4-5D6E-409C-BE32-E72D297353CC}">
                <c16:uniqueId val="{0000001D-FA3E-4872-B6E1-C4ABDF5766E2}"/>
              </c:ext>
            </c:extLst>
          </c:dPt>
          <c:dPt>
            <c:idx val="14"/>
            <c:invertIfNegative val="1"/>
            <c:bubble3D val="0"/>
            <c:spPr>
              <a:solidFill>
                <a:srgbClr val="AEABAB"/>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16</c:f>
              <c:strCache>
                <c:ptCount val="15"/>
                <c:pt idx="0">
                  <c:v>La Vache Qui Rit Nature Fromage Fondu Boite Ronde 1X512Gr 32P</c:v>
                </c:pt>
                <c:pt idx="1">
                  <c:v>La Vache Qui Rit Nature Fromage Fondu Boite Ronde 1X384Gr 24P</c:v>
                </c:pt>
                <c:pt idx="2">
                  <c:v>La Vache Qui Rit Nature Fromage Fondu Boite Ronde 1X192Gr 12P</c:v>
                </c:pt>
                <c:pt idx="3">
                  <c:v>La Vache Qui Rit Nature Fromage Fondu Boite Ronde 1X512Gr 24+8P</c:v>
                </c:pt>
                <c:pt idx="4">
                  <c:v>La Vache Qui Rit Nature Fromage Fondu Boite Ronde 1X128Gr 8P</c:v>
                </c:pt>
                <c:pt idx="5">
                  <c:v>La Vache Qui Rit Pik Et Croq' Fromage Fondu Dips Boite 1X175Gr 5P</c:v>
                </c:pt>
                <c:pt idx="6">
                  <c:v>La Vache Qui Rit Pik Et Croq' Fromage Fondu Dips Boite 1X280Gr 8P</c:v>
                </c:pt>
                <c:pt idx="7">
                  <c:v>Toastinette Fromage Fondu Tranche A Chaud Sachet 1X200Gr 10P</c:v>
                </c:pt>
                <c:pt idx="8">
                  <c:v>Toastinette Cheddar Fondu Tranche A Chaud Sachet 1X200Gr 10P</c:v>
                </c:pt>
                <c:pt idx="9">
                  <c:v>La Vache Qui Rit Allegee Fromage Fondu Boite Ronde Allege 1X267Gr 16P</c:v>
                </c:pt>
                <c:pt idx="10">
                  <c:v>La Vache Qui Rit Bio Fromage Fondu Boite Ronde 1X128Gr 8P</c:v>
                </c:pt>
                <c:pt idx="11">
                  <c:v>La Vache Qui Rit Le Fondant Fromage Fondu 1X200Gr 1P</c:v>
                </c:pt>
                <c:pt idx="12">
                  <c:v>La Vache Qui Rit Aro Fromage Fondu Boite Ronde Jambon 1X133Gr 8P</c:v>
                </c:pt>
                <c:pt idx="13">
                  <c:v>Toastinette Fromage Fondu Tranche A Chaud Sachet 1X340Gr 20P</c:v>
                </c:pt>
                <c:pt idx="14">
                  <c:v>Toastinette Cheddar Fondu Tranche A Chaud Sachet 1X340Gr 20P</c:v>
                </c:pt>
              </c:strCache>
            </c:strRef>
          </c:cat>
          <c:val>
            <c:numRef>
              <c:f>Sheet1!$C$2:$C$16</c:f>
              <c:numCache>
                <c:formatCode>General</c:formatCode>
                <c:ptCount val="15"/>
                <c:pt idx="0">
                  <c:v>0.48162293173659715</c:v>
                </c:pt>
                <c:pt idx="1">
                  <c:v>0.6536603055667068</c:v>
                </c:pt>
                <c:pt idx="2">
                  <c:v>0.7520154469358145</c:v>
                </c:pt>
                <c:pt idx="3">
                  <c:v>0.806535349888372</c:v>
                </c:pt>
                <c:pt idx="4">
                  <c:v>0.8519993524517117</c:v>
                </c:pt>
                <c:pt idx="5">
                  <c:v>0.8946454363951936</c:v>
                </c:pt>
                <c:pt idx="6">
                  <c:v>0.9207000682469726</c:v>
                </c:pt>
                <c:pt idx="7">
                  <c:v>0.9465200845675922</c:v>
                </c:pt>
                <c:pt idx="8">
                  <c:v>0.9721687326162052</c:v>
                </c:pt>
                <c:pt idx="9">
                  <c:v>0.9879591705375186</c:v>
                </c:pt>
                <c:pt idx="10">
                  <c:v>0.9927868090950971</c:v>
                </c:pt>
                <c:pt idx="11">
                  <c:v>0.9951592290971782</c:v>
                </c:pt>
                <c:pt idx="12">
                  <c:v>0.9969286212280061</c:v>
                </c:pt>
                <c:pt idx="13">
                  <c:v>0.9985297662271766</c:v>
                </c:pt>
                <c:pt idx="14">
                  <c:v>0.9999999999999999</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16</c:f>
              <c:strCache>
                <c:ptCount val="15"/>
                <c:pt idx="0">
                  <c:v>La Vache Qui Rit Nature Fromage Fondu Boite Ronde 1X512Gr 32P</c:v>
                </c:pt>
                <c:pt idx="1">
                  <c:v>La Vache Qui Rit Nature Fromage Fondu Boite Ronde 1X384Gr 24P</c:v>
                </c:pt>
                <c:pt idx="2">
                  <c:v>La Vache Qui Rit Nature Fromage Fondu Boite Ronde 1X192Gr 12P</c:v>
                </c:pt>
                <c:pt idx="3">
                  <c:v>La Vache Qui Rit Nature Fromage Fondu Boite Ronde 1X512Gr 24+8P</c:v>
                </c:pt>
                <c:pt idx="4">
                  <c:v>La Vache Qui Rit Nature Fromage Fondu Boite Ronde 1X128Gr 8P</c:v>
                </c:pt>
                <c:pt idx="5">
                  <c:v>La Vache Qui Rit Pik Et Croq' Fromage Fondu Dips Boite 1X175Gr 5P</c:v>
                </c:pt>
                <c:pt idx="6">
                  <c:v>La Vache Qui Rit Pik Et Croq' Fromage Fondu Dips Boite 1X280Gr 8P</c:v>
                </c:pt>
                <c:pt idx="7">
                  <c:v>Toastinette Fromage Fondu Tranche A Chaud Sachet 1X200Gr 10P</c:v>
                </c:pt>
                <c:pt idx="8">
                  <c:v>Toastinette Cheddar Fondu Tranche A Chaud Sachet 1X200Gr 10P</c:v>
                </c:pt>
                <c:pt idx="9">
                  <c:v>La Vache Qui Rit Allegee Fromage Fondu Boite Ronde Allege 1X267Gr 16P</c:v>
                </c:pt>
                <c:pt idx="10">
                  <c:v>La Vache Qui Rit Bio Fromage Fondu Boite Ronde 1X128Gr 8P</c:v>
                </c:pt>
                <c:pt idx="11">
                  <c:v>La Vache Qui Rit Le Fondant Fromage Fondu 1X200Gr 1P</c:v>
                </c:pt>
                <c:pt idx="12">
                  <c:v>La Vache Qui Rit Aro Fromage Fondu Boite Ronde Jambon 1X133Gr 8P</c:v>
                </c:pt>
                <c:pt idx="13">
                  <c:v>Toastinette Fromage Fondu Tranche A Chaud Sachet 1X340Gr 20P</c:v>
                </c:pt>
                <c:pt idx="14">
                  <c:v>Toastinette Cheddar Fondu Tranche A Chaud Sachet 1X340Gr 20P</c:v>
                </c:pt>
              </c:strCache>
            </c:strRef>
          </c:cat>
          <c:val>
            <c:numRef>
              <c:f>Sheet1!$D$2:$D$16</c:f>
              <c:numCache>
                <c:formatCode>General</c:formatCode>
                <c:ptCount val="15"/>
                <c:pt idx="0">
                  <c:v>82610.36363636363</c:v>
                </c:pt>
                <c:pt idx="1">
                  <c:v>29213.62</c:v>
                </c:pt>
                <c:pt idx="2">
                  <c:v>16701.66</c:v>
                </c:pt>
                <c:pt idx="3">
                  <c:v>9848.946808510638</c:v>
                </c:pt>
                <c:pt idx="4">
                  <c:v>8213.010638297872</c:v>
                </c:pt>
                <c:pt idx="5">
                  <c:v>7241.72</c:v>
                </c:pt>
                <c:pt idx="6">
                  <c:v>4657.1894736842105</c:v>
                </c:pt>
                <c:pt idx="7">
                  <c:v>4384.49</c:v>
                </c:pt>
                <c:pt idx="8">
                  <c:v>4355.39</c:v>
                </c:pt>
                <c:pt idx="9">
                  <c:v>3117.8720930232557</c:v>
                </c:pt>
                <c:pt idx="10">
                  <c:v>999.7317073170732</c:v>
                </c:pt>
                <c:pt idx="11">
                  <c:v>682.8135593220339</c:v>
                </c:pt>
                <c:pt idx="12">
                  <c:v>3755.75</c:v>
                </c:pt>
                <c:pt idx="13">
                  <c:v>1699.3125</c:v>
                </c:pt>
                <c:pt idx="14">
                  <c:v>1560.375</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32</c:f>
              <c:strCache>
                <c:ptCount val="31"/>
                <c:pt idx="0">
                  <c:v>Boursin Classique Fromage Frais A Tartiner Afh 1X160Gr 10P</c:v>
                </c:pt>
                <c:pt idx="1">
                  <c:v>Boursin Classique Fromage Frais A Tartiner Afh Boite 1X250Gr 1P</c:v>
                </c:pt>
                <c:pt idx="2">
                  <c:v>Boursin Classique Fromage Frais A Tartiner Afh Boite 1X150Gr 1P</c:v>
                </c:pt>
                <c:pt idx="3">
                  <c:v>Boursin Aperitif Roules Fromage Frais Roule Afh Et Jambon Fume Boite 1X100Gr 20P</c:v>
                </c:pt>
                <c:pt idx="4">
                  <c:v>Boursin Salade &amp; Aperitif Fromage Frais Des Afh 1X120Gr 1P</c:v>
                </c:pt>
                <c:pt idx="5">
                  <c:v>Boursin Classique Fromage Frais A Tartiner Afh Boite 1X96Gr 6P</c:v>
                </c:pt>
                <c:pt idx="6">
                  <c:v>Boursin Aperitif Roules Fromage Frais Roule Ciboulette &amp; Echalote Jambon Fume Boite 1X100Gr 20P</c:v>
                </c:pt>
                <c:pt idx="7">
                  <c:v>Boursin Classique Fromage Frais A Tartiner Figue Et 3 Noix Boite 1X150Gr 1P</c:v>
                </c:pt>
                <c:pt idx="8">
                  <c:v>Boursin Classique Fromage Frais A Tartiner Ciboulette &amp; Echalote Boite 1X150Gr 1P</c:v>
                </c:pt>
                <c:pt idx="9">
                  <c:v>Boursin Salade &amp; Aperitif Fromage Frais Des Ciboulette Echalote 1X120Gr 1P</c:v>
                </c:pt>
                <c:pt idx="10">
                  <c:v>Boursin Onctueux Fromage Frais A Tartiner Afh 1X125Gr 1P</c:v>
                </c:pt>
                <c:pt idx="11">
                  <c:v>Boursin Cuisine Sauce Fromage Afh 1X240Gr 1P</c:v>
                </c:pt>
                <c:pt idx="12">
                  <c:v>Boursin Salade &amp; Aperitif Fromage Frais Des Figue Noix 1X120Gr 1P</c:v>
                </c:pt>
                <c:pt idx="13">
                  <c:v>Boursin Classique Fromage Frais A Tartiner Afh 1X256Gr 16P</c:v>
                </c:pt>
                <c:pt idx="14">
                  <c:v>Boursin Classique Fromage Frais A Tartiner Afh Boite 1X80Gr 1P</c:v>
                </c:pt>
                <c:pt idx="15">
                  <c:v>Boursin Classique Fromage Frais A Tartiner Poivre Boite 1X150Gr 1P</c:v>
                </c:pt>
                <c:pt idx="16">
                  <c:v>Boursin Salade &amp; Aperitif Fromage Frais Des Citron Romarin 1X120Gr 1P</c:v>
                </c:pt>
                <c:pt idx="17">
                  <c:v>Boursin Salade &amp; Aperitif Fromage Frais Des Noisette Et 3 Noix 1X120Gr 1P</c:v>
                </c:pt>
                <c:pt idx="18">
                  <c:v>Boursin Onctueux Fromage Frais A Tartiner Afh 1X210Gr 1P</c:v>
                </c:pt>
                <c:pt idx="19">
                  <c:v>Boursin Classique Fromage Frais A Tartiner 3 Noix Boite 1X150Gr 1P</c:v>
                </c:pt>
                <c:pt idx="20">
                  <c:v>Boursin Salade &amp; Aperitif Soft Cheese Salade 120G</c:v>
                </c:pt>
                <c:pt idx="21">
                  <c:v>Boursin Vegetal Specialite Vegetale A Tartiner Afh 1X130Gr 1P</c:v>
                </c:pt>
                <c:pt idx="22">
                  <c:v>Boursin Classique Fromage Frais A Tartiner Truffe Boite 1X150Gr 1P</c:v>
                </c:pt>
                <c:pt idx="23">
                  <c:v>Boursin Vegetal Alternative Vegetale 150G</c:v>
                </c:pt>
                <c:pt idx="24">
                  <c:v>Boursin Aperitif Roules Aperitif 100G</c:v>
                </c:pt>
                <c:pt idx="25">
                  <c:v>Boursin Classique Fromage Frais A Tartiner Afh Boite 1X320Gr 16+4P</c:v>
                </c:pt>
                <c:pt idx="26">
                  <c:v>Boursin Aperitif Roules Fromage Frais Roule Jambon Fume &amp; Trio De Noix Boite 1X100Gr 20P</c:v>
                </c:pt>
                <c:pt idx="27">
                  <c:v>Boursin Classique Fromage Frais A Tartiner 3 Noix 1X160Gr 10P</c:v>
                </c:pt>
                <c:pt idx="28">
                  <c:v>Boursin Classique Fromage Frais A Tartiner Citron &amp; Romarin Boite 1X150Gr 1P</c:v>
                </c:pt>
                <c:pt idx="29">
                  <c:v>Boursin Classique Fromage Frais A Tartiner Ciboulette &amp; Echalote 1X160Gr 10P</c:v>
                </c:pt>
                <c:pt idx="30">
                  <c:v>Boursin Aperitif Roules Fromage Frais Roule Basilic &amp; Jambon Fume Tomate Boite 1X100Gr 20P</c:v>
                </c:pt>
              </c:strCache>
            </c:strRef>
          </c:cat>
          <c:val>
            <c:numRef>
              <c:f>Sheet1!$B$2:$B$32</c:f>
              <c:numCache>
                <c:formatCode>General</c:formatCode>
                <c:ptCount val="31"/>
                <c:pt idx="0">
                  <c:v>1.0</c:v>
                </c:pt>
                <c:pt idx="1">
                  <c:v>1.0</c:v>
                </c:pt>
                <c:pt idx="2">
                  <c:v>1.0</c:v>
                </c:pt>
                <c:pt idx="3">
                  <c:v>1.0</c:v>
                </c:pt>
                <c:pt idx="4">
                  <c:v>1.0</c:v>
                </c:pt>
                <c:pt idx="5">
                  <c:v>1.0</c:v>
                </c:pt>
                <c:pt idx="6">
                  <c:v>0.95</c:v>
                </c:pt>
                <c:pt idx="7">
                  <c:v>0.98</c:v>
                </c:pt>
                <c:pt idx="8">
                  <c:v>0.97</c:v>
                </c:pt>
                <c:pt idx="9">
                  <c:v>1.0</c:v>
                </c:pt>
                <c:pt idx="10">
                  <c:v>0.99</c:v>
                </c:pt>
                <c:pt idx="11">
                  <c:v>0.98</c:v>
                </c:pt>
                <c:pt idx="12">
                  <c:v>1.0</c:v>
                </c:pt>
                <c:pt idx="13">
                  <c:v>0.58</c:v>
                </c:pt>
                <c:pt idx="14">
                  <c:v>0.94</c:v>
                </c:pt>
                <c:pt idx="15">
                  <c:v>0.88</c:v>
                </c:pt>
                <c:pt idx="16">
                  <c:v>0.95</c:v>
                </c:pt>
                <c:pt idx="17">
                  <c:v>0.96</c:v>
                </c:pt>
                <c:pt idx="18">
                  <c:v>0.59</c:v>
                </c:pt>
                <c:pt idx="19">
                  <c:v>0.67</c:v>
                </c:pt>
                <c:pt idx="20">
                  <c:v>0.94</c:v>
                </c:pt>
                <c:pt idx="21">
                  <c:v>0.77</c:v>
                </c:pt>
                <c:pt idx="22">
                  <c:v>0.66</c:v>
                </c:pt>
                <c:pt idx="23">
                  <c:v>0.79</c:v>
                </c:pt>
                <c:pt idx="24">
                  <c:v>0.53</c:v>
                </c:pt>
                <c:pt idx="25">
                  <c:v>0.85</c:v>
                </c:pt>
                <c:pt idx="26">
                  <c:v>0.48</c:v>
                </c:pt>
                <c:pt idx="27">
                  <c:v>0.49</c:v>
                </c:pt>
                <c:pt idx="28">
                  <c:v>0.71</c:v>
                </c:pt>
                <c:pt idx="29">
                  <c:v>0.14</c:v>
                </c:pt>
                <c:pt idx="30">
                  <c:v>0.02</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7ECAC4"/>
              </a:solidFill>
            </c:spPr>
            <c:extLst>
              <c:ext xmlns:c16="http://schemas.microsoft.com/office/drawing/2014/chart" uri="{C3380CC4-5D6E-409C-BE32-E72D297353CC}">
                <c16:uniqueId val="{00000015-FA3E-4872-B6E1-C4ABDF5766E2}"/>
              </c:ext>
            </c:extLst>
          </c:dPt>
          <c:dPt>
            <c:idx val="10"/>
            <c:invertIfNegative val="1"/>
            <c:bubble3D val="0"/>
            <c:spPr>
              <a:solidFill>
                <a:srgbClr val="7ECAC4"/>
              </a:solidFill>
            </c:spPr>
            <c:extLst>
              <c:ext xmlns:c16="http://schemas.microsoft.com/office/drawing/2014/chart" uri="{C3380CC4-5D6E-409C-BE32-E72D297353CC}">
                <c16:uniqueId val="{00000017-FA3E-4872-B6E1-C4ABDF5766E2}"/>
              </c:ext>
            </c:extLst>
          </c:dPt>
          <c:dPt>
            <c:idx val="11"/>
            <c:invertIfNegative val="1"/>
            <c:bubble3D val="0"/>
            <c:spPr>
              <a:solidFill>
                <a:srgbClr val="7ECAC4"/>
              </a:solidFill>
            </c:spPr>
            <c:extLst>
              <c:ext xmlns:c16="http://schemas.microsoft.com/office/drawing/2014/chart" uri="{C3380CC4-5D6E-409C-BE32-E72D297353CC}">
                <c16:uniqueId val="{00000019-FA3E-4872-B6E1-C4ABDF5766E2}"/>
              </c:ext>
            </c:extLst>
          </c:dPt>
          <c:dPt>
            <c:idx val="12"/>
            <c:invertIfNegative val="1"/>
            <c:bubble3D val="0"/>
            <c:spPr>
              <a:solidFill>
                <a:srgbClr val="7ECAC4"/>
              </a:solidFill>
            </c:spPr>
            <c:extLst>
              <c:ext xmlns:c16="http://schemas.microsoft.com/office/drawing/2014/chart" uri="{C3380CC4-5D6E-409C-BE32-E72D297353CC}">
                <c16:uniqueId val="{0000001B-FA3E-4872-B6E1-C4ABDF5766E2}"/>
              </c:ext>
            </c:extLst>
          </c:dPt>
          <c:dPt>
            <c:idx val="13"/>
            <c:invertIfNegative val="1"/>
            <c:bubble3D val="0"/>
            <c:spPr>
              <a:solidFill>
                <a:srgbClr val="7ECAC4"/>
              </a:solidFill>
            </c:spPr>
            <c:extLst>
              <c:ext xmlns:c16="http://schemas.microsoft.com/office/drawing/2014/chart" uri="{C3380CC4-5D6E-409C-BE32-E72D297353CC}">
                <c16:uniqueId val="{0000001D-FA3E-4872-B6E1-C4ABDF5766E2}"/>
              </c:ext>
            </c:extLst>
          </c:dPt>
          <c:dPt>
            <c:idx val="14"/>
            <c:invertIfNegative val="1"/>
            <c:bubble3D val="0"/>
            <c:spPr>
              <a:solidFill>
                <a:srgbClr val="7ECAC4"/>
              </a:solidFill>
            </c:spPr>
            <c:extLst>
              <c:ext xmlns:c16="http://schemas.microsoft.com/office/drawing/2014/chart" uri="{C3380CC4-5D6E-409C-BE32-E72D297353CC}">
                <c16:uniqueId val="{0000001F-FA3E-4872-B6E1-C4ABDF5766E2}"/>
              </c:ext>
            </c:extLst>
          </c:dPt>
          <c:dPt>
            <c:idx val="15"/>
            <c:invertIfNegative val="1"/>
            <c:bubble3D val="0"/>
            <c:spPr>
              <a:solidFill>
                <a:srgbClr val="7ECAC4"/>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AEABAB"/>
              </a:solidFill>
            </c:spPr>
            <c:extLst>
              <c:ext xmlns:c16="http://schemas.microsoft.com/office/drawing/2014/chart" uri="{C3380CC4-5D6E-409C-BE32-E72D297353CC}">
                <c16:uniqueId val="{00000027-FA3E-4872-B6E1-C4ABDF5766E2}"/>
              </c:ext>
            </c:extLst>
          </c:dPt>
          <c:dPt>
            <c:idx val="19"/>
            <c:invertIfNegative val="1"/>
            <c:bubble3D val="0"/>
            <c:spPr>
              <a:solidFill>
                <a:srgbClr val="AEABAB"/>
              </a:solidFill>
            </c:spPr>
            <c:extLst>
              <c:ext xmlns:c16="http://schemas.microsoft.com/office/drawing/2014/chart" uri="{C3380CC4-5D6E-409C-BE32-E72D297353CC}">
                <c16:uniqueId val="{00000029-FA3E-4872-B6E1-C4ABDF5766E2}"/>
              </c:ext>
            </c:extLst>
          </c:dPt>
          <c:dPt>
            <c:idx val="20"/>
            <c:invertIfNegative val="1"/>
            <c:bubble3D val="0"/>
            <c:spPr>
              <a:solidFill>
                <a:srgbClr val="AEABAB"/>
              </a:solidFill>
            </c:spPr>
            <c:extLst>
              <c:ext xmlns:c16="http://schemas.microsoft.com/office/drawing/2014/chart" uri="{C3380CC4-5D6E-409C-BE32-E72D297353CC}">
                <c16:uniqueId val="{0000002B-FA3E-4872-B6E1-C4ABDF5766E2}"/>
              </c:ext>
            </c:extLst>
          </c:dPt>
          <c:dPt>
            <c:idx val="21"/>
            <c:invertIfNegative val="1"/>
            <c:bubble3D val="0"/>
            <c:spPr>
              <a:solidFill>
                <a:srgbClr val="AEABAB"/>
              </a:solidFill>
            </c:spPr>
            <c:extLst>
              <c:ext xmlns:c16="http://schemas.microsoft.com/office/drawing/2014/chart" uri="{C3380CC4-5D6E-409C-BE32-E72D297353CC}">
                <c16:uniqueId val="{0000002D-FA3E-4872-B6E1-C4ABDF5766E2}"/>
              </c:ext>
            </c:extLst>
          </c:dPt>
          <c:dPt>
            <c:idx val="22"/>
            <c:invertIfNegative val="1"/>
            <c:bubble3D val="0"/>
            <c:spPr>
              <a:solidFill>
                <a:srgbClr val="AEABAB"/>
              </a:solidFill>
            </c:spPr>
            <c:extLst>
              <c:ext xmlns:c16="http://schemas.microsoft.com/office/drawing/2014/chart" uri="{C3380CC4-5D6E-409C-BE32-E72D297353CC}">
                <c16:uniqueId val="{0000002F-FA3E-4872-B6E1-C4ABDF5766E2}"/>
              </c:ext>
            </c:extLst>
          </c:dPt>
          <c:dPt>
            <c:idx val="23"/>
            <c:invertIfNegative val="1"/>
            <c:bubble3D val="0"/>
            <c:spPr>
              <a:solidFill>
                <a:srgbClr val="AEABAB"/>
              </a:solidFill>
            </c:spPr>
            <c:extLst>
              <c:ext xmlns:c16="http://schemas.microsoft.com/office/drawing/2014/chart" uri="{C3380CC4-5D6E-409C-BE32-E72D297353CC}">
                <c16:uniqueId val="{00000031-FA3E-4872-B6E1-C4ABDF5766E2}"/>
              </c:ext>
            </c:extLst>
          </c:dPt>
          <c:dPt>
            <c:idx val="24"/>
            <c:invertIfNegative val="1"/>
            <c:bubble3D val="0"/>
            <c:spPr>
              <a:solidFill>
                <a:srgbClr val="AEABAB"/>
              </a:solidFill>
            </c:spPr>
            <c:extLst>
              <c:ext xmlns:c16="http://schemas.microsoft.com/office/drawing/2014/chart" uri="{C3380CC4-5D6E-409C-BE32-E72D297353CC}">
                <c16:uniqueId val="{00000033-FA3E-4872-B6E1-C4ABDF5766E2}"/>
              </c:ext>
            </c:extLst>
          </c:dPt>
          <c:dPt>
            <c:idx val="25"/>
            <c:invertIfNegative val="1"/>
            <c:bubble3D val="0"/>
            <c:spPr>
              <a:solidFill>
                <a:srgbClr val="AEABAB"/>
              </a:solidFill>
            </c:spPr>
            <c:extLst>
              <c:ext xmlns:c16="http://schemas.microsoft.com/office/drawing/2014/chart" uri="{C3380CC4-5D6E-409C-BE32-E72D297353CC}">
                <c16:uniqueId val="{00000035-FA3E-4872-B6E1-C4ABDF5766E2}"/>
              </c:ext>
            </c:extLst>
          </c:dPt>
          <c:dPt>
            <c:idx val="26"/>
            <c:invertIfNegative val="1"/>
            <c:bubble3D val="0"/>
            <c:spPr>
              <a:solidFill>
                <a:srgbClr val="AEABAB"/>
              </a:solidFill>
            </c:spPr>
            <c:extLst>
              <c:ext xmlns:c16="http://schemas.microsoft.com/office/drawing/2014/chart" uri="{C3380CC4-5D6E-409C-BE32-E72D297353CC}">
                <c16:uniqueId val="{00000037-FA3E-4872-B6E1-C4ABDF5766E2}"/>
              </c:ext>
            </c:extLst>
          </c:dPt>
          <c:dPt>
            <c:idx val="27"/>
            <c:invertIfNegative val="1"/>
            <c:bubble3D val="0"/>
            <c:spPr>
              <a:solidFill>
                <a:srgbClr val="AEABAB"/>
              </a:solidFill>
            </c:spPr>
            <c:extLst>
              <c:ext xmlns:c16="http://schemas.microsoft.com/office/drawing/2014/chart" uri="{C3380CC4-5D6E-409C-BE32-E72D297353CC}">
                <c16:uniqueId val="{00000039-FA3E-4872-B6E1-C4ABDF5766E2}"/>
              </c:ext>
            </c:extLst>
          </c:dPt>
          <c:dPt>
            <c:idx val="28"/>
            <c:invertIfNegative val="1"/>
            <c:bubble3D val="0"/>
            <c:spPr>
              <a:solidFill>
                <a:srgbClr val="AEABAB"/>
              </a:solidFill>
            </c:spPr>
            <c:extLst>
              <c:ext xmlns:c16="http://schemas.microsoft.com/office/drawing/2014/chart" uri="{C3380CC4-5D6E-409C-BE32-E72D297353CC}">
                <c16:uniqueId val="{0000003B-FA3E-4872-B6E1-C4ABDF5766E2}"/>
              </c:ext>
            </c:extLst>
          </c:dPt>
          <c:dPt>
            <c:idx val="29"/>
            <c:invertIfNegative val="1"/>
            <c:bubble3D val="0"/>
            <c:spPr>
              <a:solidFill>
                <a:srgbClr val="AEABAB"/>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32</c:f>
              <c:strCache>
                <c:ptCount val="31"/>
                <c:pt idx="0">
                  <c:v>Boursin Classique Fromage Frais A Tartiner Afh 1X160Gr 10P</c:v>
                </c:pt>
                <c:pt idx="1">
                  <c:v>Boursin Classique Fromage Frais A Tartiner Afh Boite 1X250Gr 1P</c:v>
                </c:pt>
                <c:pt idx="2">
                  <c:v>Boursin Classique Fromage Frais A Tartiner Afh Boite 1X150Gr 1P</c:v>
                </c:pt>
                <c:pt idx="3">
                  <c:v>Boursin Aperitif Roules Fromage Frais Roule Afh Et Jambon Fume Boite 1X100Gr 20P</c:v>
                </c:pt>
                <c:pt idx="4">
                  <c:v>Boursin Salade &amp; Aperitif Fromage Frais Des Afh 1X120Gr 1P</c:v>
                </c:pt>
                <c:pt idx="5">
                  <c:v>Boursin Classique Fromage Frais A Tartiner Afh Boite 1X96Gr 6P</c:v>
                </c:pt>
                <c:pt idx="6">
                  <c:v>Boursin Aperitif Roules Fromage Frais Roule Ciboulette &amp; Echalote Jambon Fume Boite 1X100Gr 20P</c:v>
                </c:pt>
                <c:pt idx="7">
                  <c:v>Boursin Classique Fromage Frais A Tartiner Figue Et 3 Noix Boite 1X150Gr 1P</c:v>
                </c:pt>
                <c:pt idx="8">
                  <c:v>Boursin Classique Fromage Frais A Tartiner Ciboulette &amp; Echalote Boite 1X150Gr 1P</c:v>
                </c:pt>
                <c:pt idx="9">
                  <c:v>Boursin Salade &amp; Aperitif Fromage Frais Des Ciboulette Echalote 1X120Gr 1P</c:v>
                </c:pt>
                <c:pt idx="10">
                  <c:v>Boursin Onctueux Fromage Frais A Tartiner Afh 1X125Gr 1P</c:v>
                </c:pt>
                <c:pt idx="11">
                  <c:v>Boursin Cuisine Sauce Fromage Afh 1X240Gr 1P</c:v>
                </c:pt>
                <c:pt idx="12">
                  <c:v>Boursin Salade &amp; Aperitif Fromage Frais Des Figue Noix 1X120Gr 1P</c:v>
                </c:pt>
                <c:pt idx="13">
                  <c:v>Boursin Classique Fromage Frais A Tartiner Afh 1X256Gr 16P</c:v>
                </c:pt>
                <c:pt idx="14">
                  <c:v>Boursin Classique Fromage Frais A Tartiner Afh Boite 1X80Gr 1P</c:v>
                </c:pt>
                <c:pt idx="15">
                  <c:v>Boursin Classique Fromage Frais A Tartiner Poivre Boite 1X150Gr 1P</c:v>
                </c:pt>
                <c:pt idx="16">
                  <c:v>Boursin Salade &amp; Aperitif Fromage Frais Des Citron Romarin 1X120Gr 1P</c:v>
                </c:pt>
                <c:pt idx="17">
                  <c:v>Boursin Salade &amp; Aperitif Fromage Frais Des Noisette Et 3 Noix 1X120Gr 1P</c:v>
                </c:pt>
                <c:pt idx="18">
                  <c:v>Boursin Onctueux Fromage Frais A Tartiner Afh 1X210Gr 1P</c:v>
                </c:pt>
                <c:pt idx="19">
                  <c:v>Boursin Classique Fromage Frais A Tartiner 3 Noix Boite 1X150Gr 1P</c:v>
                </c:pt>
                <c:pt idx="20">
                  <c:v>Boursin Salade &amp; Aperitif Soft Cheese Salade 120G</c:v>
                </c:pt>
                <c:pt idx="21">
                  <c:v>Boursin Vegetal Specialite Vegetale A Tartiner Afh 1X130Gr 1P</c:v>
                </c:pt>
                <c:pt idx="22">
                  <c:v>Boursin Classique Fromage Frais A Tartiner Truffe Boite 1X150Gr 1P</c:v>
                </c:pt>
                <c:pt idx="23">
                  <c:v>Boursin Vegetal Alternative Vegetale 150G</c:v>
                </c:pt>
                <c:pt idx="24">
                  <c:v>Boursin Aperitif Roules Aperitif 100G</c:v>
                </c:pt>
                <c:pt idx="25">
                  <c:v>Boursin Classique Fromage Frais A Tartiner Afh Boite 1X320Gr 16+4P</c:v>
                </c:pt>
                <c:pt idx="26">
                  <c:v>Boursin Aperitif Roules Fromage Frais Roule Jambon Fume &amp; Trio De Noix Boite 1X100Gr 20P</c:v>
                </c:pt>
                <c:pt idx="27">
                  <c:v>Boursin Classique Fromage Frais A Tartiner 3 Noix 1X160Gr 10P</c:v>
                </c:pt>
                <c:pt idx="28">
                  <c:v>Boursin Classique Fromage Frais A Tartiner Citron &amp; Romarin Boite 1X150Gr 1P</c:v>
                </c:pt>
                <c:pt idx="29">
                  <c:v>Boursin Classique Fromage Frais A Tartiner Ciboulette &amp; Echalote 1X160Gr 10P</c:v>
                </c:pt>
                <c:pt idx="30">
                  <c:v>Boursin Aperitif Roules Fromage Frais Roule Basilic &amp; Jambon Fume Tomate Boite 1X100Gr 20P</c:v>
                </c:pt>
              </c:strCache>
            </c:strRef>
          </c:cat>
          <c:val>
            <c:numRef>
              <c:f>Sheet1!$C$2:$C$32</c:f>
              <c:numCache>
                <c:formatCode>General</c:formatCode>
                <c:ptCount val="31"/>
                <c:pt idx="0">
                  <c:v>0.17232250513021669</c:v>
                </c:pt>
                <c:pt idx="1">
                  <c:v>0.3113510150293127</c:v>
                </c:pt>
                <c:pt idx="2">
                  <c:v>0.4287728347780384</c:v>
                </c:pt>
                <c:pt idx="3">
                  <c:v>0.5236057597551408</c:v>
                </c:pt>
                <c:pt idx="4">
                  <c:v>0.6026230527397869</c:v>
                </c:pt>
                <c:pt idx="5">
                  <c:v>0.6542741178152812</c:v>
                </c:pt>
                <c:pt idx="6">
                  <c:v>0.7002534433318777</c:v>
                </c:pt>
                <c:pt idx="7">
                  <c:v>0.744907825174582</c:v>
                </c:pt>
                <c:pt idx="8">
                  <c:v>0.7841001203813558</c:v>
                </c:pt>
                <c:pt idx="9">
                  <c:v>0.8172133261967607</c:v>
                </c:pt>
                <c:pt idx="10">
                  <c:v>0.8489933761270052</c:v>
                </c:pt>
                <c:pt idx="11">
                  <c:v>0.8722493922963661</c:v>
                </c:pt>
                <c:pt idx="12">
                  <c:v>0.8911234691472053</c:v>
                </c:pt>
                <c:pt idx="13">
                  <c:v>0.9063617102268116</c:v>
                </c:pt>
                <c:pt idx="14">
                  <c:v>0.9209040871692411</c:v>
                </c:pt>
                <c:pt idx="15">
                  <c:v>0.9314175291098736</c:v>
                </c:pt>
                <c:pt idx="16">
                  <c:v>0.9411079384064832</c:v>
                </c:pt>
                <c:pt idx="17">
                  <c:v>0.9493194250679198</c:v>
                </c:pt>
                <c:pt idx="18">
                  <c:v>0.956624911597961</c:v>
                </c:pt>
                <c:pt idx="19">
                  <c:v>0.9636781141671272</c:v>
                </c:pt>
                <c:pt idx="20">
                  <c:v>0.9704196150115357</c:v>
                </c:pt>
                <c:pt idx="21">
                  <c:v>0.9753445264162682</c:v>
                </c:pt>
                <c:pt idx="22">
                  <c:v>0.9791711753316766</c:v>
                </c:pt>
                <c:pt idx="23">
                  <c:v>0.9829705307213992</c:v>
                </c:pt>
                <c:pt idx="24">
                  <c:v>0.9867527370817085</c:v>
                </c:pt>
                <c:pt idx="25">
                  <c:v>0.9901765045737185</c:v>
                </c:pt>
                <c:pt idx="26">
                  <c:v>0.9932917103041029</c:v>
                </c:pt>
                <c:pt idx="27">
                  <c:v>0.9963979792163424</c:v>
                </c:pt>
                <c:pt idx="28">
                  <c:v>0.9983626299944736</c:v>
                </c:pt>
                <c:pt idx="29">
                  <c:v>0.999993116234672</c:v>
                </c:pt>
                <c:pt idx="30">
                  <c:v>0.9999999999999999</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32</c:f>
              <c:strCache>
                <c:ptCount val="31"/>
                <c:pt idx="0">
                  <c:v>Boursin Classique Fromage Frais A Tartiner Afh 1X160Gr 10P</c:v>
                </c:pt>
                <c:pt idx="1">
                  <c:v>Boursin Classique Fromage Frais A Tartiner Afh Boite 1X250Gr 1P</c:v>
                </c:pt>
                <c:pt idx="2">
                  <c:v>Boursin Classique Fromage Frais A Tartiner Afh Boite 1X150Gr 1P</c:v>
                </c:pt>
                <c:pt idx="3">
                  <c:v>Boursin Aperitif Roules Fromage Frais Roule Afh Et Jambon Fume Boite 1X100Gr 20P</c:v>
                </c:pt>
                <c:pt idx="4">
                  <c:v>Boursin Salade &amp; Aperitif Fromage Frais Des Afh 1X120Gr 1P</c:v>
                </c:pt>
                <c:pt idx="5">
                  <c:v>Boursin Classique Fromage Frais A Tartiner Afh Boite 1X96Gr 6P</c:v>
                </c:pt>
                <c:pt idx="6">
                  <c:v>Boursin Aperitif Roules Fromage Frais Roule Ciboulette &amp; Echalote Jambon Fume Boite 1X100Gr 20P</c:v>
                </c:pt>
                <c:pt idx="7">
                  <c:v>Boursin Classique Fromage Frais A Tartiner Figue Et 3 Noix Boite 1X150Gr 1P</c:v>
                </c:pt>
                <c:pt idx="8">
                  <c:v>Boursin Classique Fromage Frais A Tartiner Ciboulette &amp; Echalote Boite 1X150Gr 1P</c:v>
                </c:pt>
                <c:pt idx="9">
                  <c:v>Boursin Salade &amp; Aperitif Fromage Frais Des Ciboulette Echalote 1X120Gr 1P</c:v>
                </c:pt>
                <c:pt idx="10">
                  <c:v>Boursin Onctueux Fromage Frais A Tartiner Afh 1X125Gr 1P</c:v>
                </c:pt>
                <c:pt idx="11">
                  <c:v>Boursin Cuisine Sauce Fromage Afh 1X240Gr 1P</c:v>
                </c:pt>
                <c:pt idx="12">
                  <c:v>Boursin Salade &amp; Aperitif Fromage Frais Des Figue Noix 1X120Gr 1P</c:v>
                </c:pt>
                <c:pt idx="13">
                  <c:v>Boursin Classique Fromage Frais A Tartiner Afh 1X256Gr 16P</c:v>
                </c:pt>
                <c:pt idx="14">
                  <c:v>Boursin Classique Fromage Frais A Tartiner Afh Boite 1X80Gr 1P</c:v>
                </c:pt>
                <c:pt idx="15">
                  <c:v>Boursin Classique Fromage Frais A Tartiner Poivre Boite 1X150Gr 1P</c:v>
                </c:pt>
                <c:pt idx="16">
                  <c:v>Boursin Salade &amp; Aperitif Fromage Frais Des Citron Romarin 1X120Gr 1P</c:v>
                </c:pt>
                <c:pt idx="17">
                  <c:v>Boursin Salade &amp; Aperitif Fromage Frais Des Noisette Et 3 Noix 1X120Gr 1P</c:v>
                </c:pt>
                <c:pt idx="18">
                  <c:v>Boursin Onctueux Fromage Frais A Tartiner Afh 1X210Gr 1P</c:v>
                </c:pt>
                <c:pt idx="19">
                  <c:v>Boursin Classique Fromage Frais A Tartiner 3 Noix Boite 1X150Gr 1P</c:v>
                </c:pt>
                <c:pt idx="20">
                  <c:v>Boursin Salade &amp; Aperitif Soft Cheese Salade 120G</c:v>
                </c:pt>
                <c:pt idx="21">
                  <c:v>Boursin Vegetal Specialite Vegetale A Tartiner Afh 1X130Gr 1P</c:v>
                </c:pt>
                <c:pt idx="22">
                  <c:v>Boursin Classique Fromage Frais A Tartiner Truffe Boite 1X150Gr 1P</c:v>
                </c:pt>
                <c:pt idx="23">
                  <c:v>Boursin Vegetal Alternative Vegetale 150G</c:v>
                </c:pt>
                <c:pt idx="24">
                  <c:v>Boursin Aperitif Roules Aperitif 100G</c:v>
                </c:pt>
                <c:pt idx="25">
                  <c:v>Boursin Classique Fromage Frais A Tartiner Afh Boite 1X320Gr 16+4P</c:v>
                </c:pt>
                <c:pt idx="26">
                  <c:v>Boursin Aperitif Roules Fromage Frais Roule Jambon Fume &amp; Trio De Noix Boite 1X100Gr 20P</c:v>
                </c:pt>
                <c:pt idx="27">
                  <c:v>Boursin Classique Fromage Frais A Tartiner 3 Noix 1X160Gr 10P</c:v>
                </c:pt>
                <c:pt idx="28">
                  <c:v>Boursin Classique Fromage Frais A Tartiner Citron &amp; Romarin Boite 1X150Gr 1P</c:v>
                </c:pt>
                <c:pt idx="29">
                  <c:v>Boursin Classique Fromage Frais A Tartiner Ciboulette &amp; Echalote 1X160Gr 10P</c:v>
                </c:pt>
                <c:pt idx="30">
                  <c:v>Boursin Aperitif Roules Fromage Frais Roule Basilic &amp; Jambon Fume Tomate Boite 1X100Gr 20P</c:v>
                </c:pt>
              </c:strCache>
            </c:strRef>
          </c:cat>
          <c:val>
            <c:numRef>
              <c:f>Sheet1!$D$2:$D$32</c:f>
              <c:numCache>
                <c:formatCode>General</c:formatCode>
                <c:ptCount val="31"/>
                <c:pt idx="0">
                  <c:v>14268.91</c:v>
                </c:pt>
                <c:pt idx="1">
                  <c:v>11512.05</c:v>
                </c:pt>
                <c:pt idx="2">
                  <c:v>9722.94</c:v>
                </c:pt>
                <c:pt idx="3">
                  <c:v>7852.5</c:v>
                </c:pt>
                <c:pt idx="4">
                  <c:v>6542.91</c:v>
                </c:pt>
                <c:pt idx="5">
                  <c:v>4276.89</c:v>
                </c:pt>
                <c:pt idx="6">
                  <c:v>4007.6315789473683</c:v>
                </c:pt>
                <c:pt idx="7">
                  <c:v>3773.0</c:v>
                </c:pt>
                <c:pt idx="8">
                  <c:v>3345.6288659793813</c:v>
                </c:pt>
                <c:pt idx="9">
                  <c:v>2741.89</c:v>
                </c:pt>
                <c:pt idx="10">
                  <c:v>2658.080808080808</c:v>
                </c:pt>
                <c:pt idx="11">
                  <c:v>1964.9795918367347</c:v>
                </c:pt>
                <c:pt idx="12">
                  <c:v>1562.84</c:v>
                </c:pt>
                <c:pt idx="13">
                  <c:v>2175.4827586206898</c:v>
                </c:pt>
                <c:pt idx="14">
                  <c:v>1281.0212765957447</c:v>
                </c:pt>
                <c:pt idx="15">
                  <c:v>989.2613636363636</c:v>
                </c:pt>
                <c:pt idx="16">
                  <c:v>844.6315789473684</c:v>
                </c:pt>
                <c:pt idx="17">
                  <c:v>708.2708333333334</c:v>
                </c:pt>
                <c:pt idx="18">
                  <c:v>1025.2881355932204</c:v>
                </c:pt>
                <c:pt idx="19">
                  <c:v>871.6865671641791</c:v>
                </c:pt>
                <c:pt idx="20">
                  <c:v>593.8510638297872</c:v>
                </c:pt>
                <c:pt idx="21">
                  <c:v>529.6103896103896</c:v>
                </c:pt>
                <c:pt idx="22">
                  <c:v>480.09090909090907</c:v>
                </c:pt>
                <c:pt idx="23">
                  <c:v>398.2278481012658</c:v>
                </c:pt>
                <c:pt idx="24">
                  <c:v>590.9056603773585</c:v>
                </c:pt>
                <c:pt idx="25">
                  <c:v>333.52941176470586</c:v>
                </c:pt>
                <c:pt idx="26">
                  <c:v>537.3958333333334</c:v>
                </c:pt>
                <c:pt idx="27">
                  <c:v>524.9183673469388</c:v>
                </c:pt>
                <c:pt idx="28">
                  <c:v>229.1267605633803</c:v>
                </c:pt>
                <c:pt idx="29">
                  <c:v>964.3571428571428</c:v>
                </c:pt>
                <c:pt idx="30">
                  <c:v>28.5</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12</c:f>
              <c:strCache>
                <c:ptCount val="11"/>
                <c:pt idx="0">
                  <c:v>Kiri Creme Fromage Blanc Frais Carre 1X432Gr 24P</c:v>
                </c:pt>
                <c:pt idx="1">
                  <c:v>Kiri Creme Fromage Blanc Frais Carre 1X216Gr 12P</c:v>
                </c:pt>
                <c:pt idx="2">
                  <c:v>Kiri Creme Fromage Blanc Frais Carre 1X144Gr 8P</c:v>
                </c:pt>
                <c:pt idx="3">
                  <c:v>Kiri Gouter Fromage Blanc Dips Boite 1X175Gr 5P</c:v>
                </c:pt>
                <c:pt idx="4">
                  <c:v>Kiri Gouter Fromage Blanc Dips Boite 1X280Gr 8P</c:v>
                </c:pt>
                <c:pt idx="5">
                  <c:v>Kiri Creme Fromage Blanc Frais Carre 1X432Gr 18+6P</c:v>
                </c:pt>
                <c:pt idx="6">
                  <c:v>Kiri Bio Fromage Blanc Frais Carre 1X144Gr 8P</c:v>
                </c:pt>
                <c:pt idx="7">
                  <c:v>Kiri Delicieusement Fouette Fromage Frais A Tartiner 1X160Gr 10P</c:v>
                </c:pt>
                <c:pt idx="8">
                  <c:v>Kiri Delicieusement Fouette Fromage Frais A Tartiner 1X210Gr 1P</c:v>
                </c:pt>
                <c:pt idx="9">
                  <c:v>Kiri Delicieusement Fouette Fromage Frais A Tartiner 1X125Gr 1P</c:v>
                </c:pt>
                <c:pt idx="10">
                  <c:v>Kiri Chevre Fromage Blanc Frais Carre 1X144Gr 8P</c:v>
                </c:pt>
              </c:strCache>
            </c:strRef>
          </c:cat>
          <c:val>
            <c:numRef>
              <c:f>Sheet1!$B$2:$B$12</c:f>
              <c:numCache>
                <c:formatCode>General</c:formatCode>
                <c:ptCount val="11"/>
                <c:pt idx="0">
                  <c:v>0.86</c:v>
                </c:pt>
                <c:pt idx="1">
                  <c:v>0.97</c:v>
                </c:pt>
                <c:pt idx="2">
                  <c:v>0.99</c:v>
                </c:pt>
                <c:pt idx="3">
                  <c:v>0.99</c:v>
                </c:pt>
                <c:pt idx="4">
                  <c:v>0.73</c:v>
                </c:pt>
                <c:pt idx="5">
                  <c:v>0.71</c:v>
                </c:pt>
                <c:pt idx="6">
                  <c:v>0.42</c:v>
                </c:pt>
                <c:pt idx="7">
                  <c:v>0.63</c:v>
                </c:pt>
                <c:pt idx="8">
                  <c:v>0.54</c:v>
                </c:pt>
                <c:pt idx="9">
                  <c:v>0.62</c:v>
                </c:pt>
                <c:pt idx="10">
                  <c:v>0.03</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7ECAC4"/>
              </a:solidFill>
            </c:spPr>
            <c:extLst>
              <c:ext xmlns:c16="http://schemas.microsoft.com/office/drawing/2014/chart" uri="{C3380CC4-5D6E-409C-BE32-E72D297353CC}">
                <c16:uniqueId val="{0000000B-FA3E-4872-B6E1-C4ABDF5766E2}"/>
              </c:ext>
            </c:extLst>
          </c:dPt>
          <c:dPt>
            <c:idx val="5"/>
            <c:invertIfNegative val="1"/>
            <c:bubble3D val="0"/>
            <c:spPr>
              <a:solidFill>
                <a:srgbClr val="7ECAC4"/>
              </a:solidFill>
            </c:spPr>
            <c:extLst>
              <c:ext xmlns:c16="http://schemas.microsoft.com/office/drawing/2014/chart" uri="{C3380CC4-5D6E-409C-BE32-E72D297353CC}">
                <c16:uniqueId val="{0000000D-FA3E-4872-B6E1-C4ABDF5766E2}"/>
              </c:ext>
            </c:extLst>
          </c:dPt>
          <c:dPt>
            <c:idx val="6"/>
            <c:invertIfNegative val="1"/>
            <c:bubble3D val="0"/>
            <c:spPr>
              <a:solidFill>
                <a:srgbClr val="7ECAC4"/>
              </a:solidFill>
            </c:spPr>
            <c:extLst>
              <c:ext xmlns:c16="http://schemas.microsoft.com/office/drawing/2014/chart" uri="{C3380CC4-5D6E-409C-BE32-E72D297353CC}">
                <c16:uniqueId val="{0000000F-FA3E-4872-B6E1-C4ABDF5766E2}"/>
              </c:ext>
            </c:extLst>
          </c:dPt>
          <c:dPt>
            <c:idx val="7"/>
            <c:invertIfNegative val="1"/>
            <c:bubble3D val="0"/>
            <c:spPr>
              <a:solidFill>
                <a:srgbClr val="AEABAB"/>
              </a:solidFill>
            </c:spPr>
            <c:extLst>
              <c:ext xmlns:c16="http://schemas.microsoft.com/office/drawing/2014/chart" uri="{C3380CC4-5D6E-409C-BE32-E72D297353CC}">
                <c16:uniqueId val="{00000011-FA3E-4872-B6E1-C4ABDF5766E2}"/>
              </c:ext>
            </c:extLst>
          </c:dPt>
          <c:dPt>
            <c:idx val="8"/>
            <c:invertIfNegative val="1"/>
            <c:bubble3D val="0"/>
            <c:spPr>
              <a:solidFill>
                <a:srgbClr val="AEABAB"/>
              </a:solidFill>
            </c:spPr>
            <c:extLst>
              <c:ext xmlns:c16="http://schemas.microsoft.com/office/drawing/2014/chart" uri="{C3380CC4-5D6E-409C-BE32-E72D297353CC}">
                <c16:uniqueId val="{00000013-FA3E-4872-B6E1-C4ABDF5766E2}"/>
              </c:ext>
            </c:extLst>
          </c:dPt>
          <c:dPt>
            <c:idx val="9"/>
            <c:invertIfNegative val="1"/>
            <c:bubble3D val="0"/>
            <c:spPr>
              <a:solidFill>
                <a:srgbClr val="AEABAB"/>
              </a:solidFill>
            </c:spPr>
            <c:extLst>
              <c:ext xmlns:c16="http://schemas.microsoft.com/office/drawing/2014/chart" uri="{C3380CC4-5D6E-409C-BE32-E72D297353CC}">
                <c16:uniqueId val="{00000015-FA3E-4872-B6E1-C4ABDF5766E2}"/>
              </c:ext>
            </c:extLst>
          </c:dPt>
          <c:dPt>
            <c:idx val="10"/>
            <c:invertIfNegative val="1"/>
            <c:bubble3D val="0"/>
            <c:spPr>
              <a:solidFill>
                <a:srgbClr val="AEABAB"/>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12</c:f>
              <c:strCache>
                <c:ptCount val="11"/>
                <c:pt idx="0">
                  <c:v>Kiri Creme Fromage Blanc Frais Carre 1X432Gr 24P</c:v>
                </c:pt>
                <c:pt idx="1">
                  <c:v>Kiri Creme Fromage Blanc Frais Carre 1X216Gr 12P</c:v>
                </c:pt>
                <c:pt idx="2">
                  <c:v>Kiri Creme Fromage Blanc Frais Carre 1X144Gr 8P</c:v>
                </c:pt>
                <c:pt idx="3">
                  <c:v>Kiri Gouter Fromage Blanc Dips Boite 1X175Gr 5P</c:v>
                </c:pt>
                <c:pt idx="4">
                  <c:v>Kiri Gouter Fromage Blanc Dips Boite 1X280Gr 8P</c:v>
                </c:pt>
                <c:pt idx="5">
                  <c:v>Kiri Creme Fromage Blanc Frais Carre 1X432Gr 18+6P</c:v>
                </c:pt>
                <c:pt idx="6">
                  <c:v>Kiri Bio Fromage Blanc Frais Carre 1X144Gr 8P</c:v>
                </c:pt>
                <c:pt idx="7">
                  <c:v>Kiri Delicieusement Fouette Fromage Frais A Tartiner 1X160Gr 10P</c:v>
                </c:pt>
                <c:pt idx="8">
                  <c:v>Kiri Delicieusement Fouette Fromage Frais A Tartiner 1X210Gr 1P</c:v>
                </c:pt>
                <c:pt idx="9">
                  <c:v>Kiri Delicieusement Fouette Fromage Frais A Tartiner 1X125Gr 1P</c:v>
                </c:pt>
                <c:pt idx="10">
                  <c:v>Kiri Chevre Fromage Blanc Frais Carre 1X144Gr 8P</c:v>
                </c:pt>
              </c:strCache>
            </c:strRef>
          </c:cat>
          <c:val>
            <c:numRef>
              <c:f>Sheet1!$C$2:$C$12</c:f>
              <c:numCache>
                <c:formatCode>General</c:formatCode>
                <c:ptCount val="11"/>
                <c:pt idx="0">
                  <c:v>0.2520123198616733</c:v>
                </c:pt>
                <c:pt idx="1">
                  <c:v>0.47218853336749356</c:v>
                </c:pt>
                <c:pt idx="2">
                  <c:v>0.6360254748742145</c:v>
                </c:pt>
                <c:pt idx="3">
                  <c:v>0.7650927455557053</c:v>
                </c:pt>
                <c:pt idx="4">
                  <c:v>0.8658591600689194</c:v>
                </c:pt>
                <c:pt idx="5">
                  <c:v>0.9165212361785582</c:v>
                </c:pt>
                <c:pt idx="6">
                  <c:v>0.938387243819135</c:v>
                </c:pt>
                <c:pt idx="7">
                  <c:v>0.9589673908522698</c:v>
                </c:pt>
                <c:pt idx="8">
                  <c:v>0.9794597804983954</c:v>
                </c:pt>
                <c:pt idx="9">
                  <c:v>0.9997087231119962</c:v>
                </c:pt>
                <c:pt idx="10">
                  <c:v>0.999993622685936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12</c:f>
              <c:strCache>
                <c:ptCount val="11"/>
                <c:pt idx="0">
                  <c:v>Kiri Creme Fromage Blanc Frais Carre 1X432Gr 24P</c:v>
                </c:pt>
                <c:pt idx="1">
                  <c:v>Kiri Creme Fromage Blanc Frais Carre 1X216Gr 12P</c:v>
                </c:pt>
                <c:pt idx="2">
                  <c:v>Kiri Creme Fromage Blanc Frais Carre 1X144Gr 8P</c:v>
                </c:pt>
                <c:pt idx="3">
                  <c:v>Kiri Gouter Fromage Blanc Dips Boite 1X175Gr 5P</c:v>
                </c:pt>
                <c:pt idx="4">
                  <c:v>Kiri Gouter Fromage Blanc Dips Boite 1X280Gr 8P</c:v>
                </c:pt>
                <c:pt idx="5">
                  <c:v>Kiri Creme Fromage Blanc Frais Carre 1X432Gr 18+6P</c:v>
                </c:pt>
                <c:pt idx="6">
                  <c:v>Kiri Bio Fromage Blanc Frais Carre 1X144Gr 8P</c:v>
                </c:pt>
                <c:pt idx="7">
                  <c:v>Kiri Delicieusement Fouette Fromage Frais A Tartiner 1X160Gr 10P</c:v>
                </c:pt>
                <c:pt idx="8">
                  <c:v>Kiri Delicieusement Fouette Fromage Frais A Tartiner 1X210Gr 1P</c:v>
                </c:pt>
                <c:pt idx="9">
                  <c:v>Kiri Delicieusement Fouette Fromage Frais A Tartiner 1X125Gr 1P</c:v>
                </c:pt>
                <c:pt idx="10">
                  <c:v>Kiri Chevre Fromage Blanc Frais Carre 1X144Gr 8P</c:v>
                </c:pt>
              </c:strCache>
            </c:strRef>
          </c:cat>
          <c:val>
            <c:numRef>
              <c:f>Sheet1!$D$2:$D$12</c:f>
              <c:numCache>
                <c:formatCode>General</c:formatCode>
                <c:ptCount val="11"/>
                <c:pt idx="0">
                  <c:v>21137.0</c:v>
                </c:pt>
                <c:pt idx="1">
                  <c:v>16372.639175257733</c:v>
                </c:pt>
                <c:pt idx="2">
                  <c:v>11937.040404040405</c:v>
                </c:pt>
                <c:pt idx="3">
                  <c:v>9403.747474747475</c:v>
                </c:pt>
                <c:pt idx="4">
                  <c:v>9956.643835616438</c:v>
                </c:pt>
                <c:pt idx="5">
                  <c:v>5146.887323943662</c:v>
                </c:pt>
                <c:pt idx="6">
                  <c:v>3755.2619047619046</c:v>
                </c:pt>
                <c:pt idx="7">
                  <c:v>2356.285714285714</c:v>
                </c:pt>
                <c:pt idx="8">
                  <c:v>2737.277777777778</c:v>
                </c:pt>
                <c:pt idx="9">
                  <c:v>2355.7580645161293</c:v>
                </c:pt>
                <c:pt idx="10">
                  <c:v>685.0</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11</c:f>
              <c:strCache>
                <c:ptCount val="10"/>
                <c:pt idx="0">
                  <c:v>La Vache Qui Rit Nature Fromage Fondu Boite Ronde 1X512Gr 32P</c:v>
                </c:pt>
                <c:pt idx="1">
                  <c:v>La Vache Qui Rit Nature Fromage Fondu Boite Ronde 1X384Gr 24P</c:v>
                </c:pt>
                <c:pt idx="2">
                  <c:v>La Vache Qui Rit Nature Fromage Fondu Boite Ronde 1X192Gr 12P</c:v>
                </c:pt>
                <c:pt idx="3">
                  <c:v>La Vache Qui Rit Nature Fromage Fondu Boite Ronde 1X128Gr 8P</c:v>
                </c:pt>
                <c:pt idx="4">
                  <c:v>La Vache Qui Rit Pik Et Croq' Fromage Fondu Dips Boite 1X175Gr 5P</c:v>
                </c:pt>
                <c:pt idx="5">
                  <c:v>La Vache Qui Rit Nature Fromage Fondu Boite Ronde 1X512Gr 24+8P</c:v>
                </c:pt>
                <c:pt idx="6">
                  <c:v>Toastinette Cheddar Fondu Tranche A Chaud Sachet 1X200Gr 10P</c:v>
                </c:pt>
                <c:pt idx="7">
                  <c:v>Toastinette Fromage Fondu Tranche A Chaud Sachet 1X200Gr 10P</c:v>
                </c:pt>
                <c:pt idx="8">
                  <c:v>La Vache Qui Rit Allegee Fromage Fondu Boite Ronde Allege 1X267Gr 16P</c:v>
                </c:pt>
                <c:pt idx="9">
                  <c:v>La Vache Qui Rit Bio Fromage Fondu Boite Ronde 1X128Gr 8P</c:v>
                </c:pt>
              </c:strCache>
            </c:strRef>
          </c:cat>
          <c:val>
            <c:numRef>
              <c:f>Sheet1!$B$2:$B$11</c:f>
              <c:numCache>
                <c:formatCode>General</c:formatCode>
                <c:ptCount val="10"/>
                <c:pt idx="0">
                  <c:v>0.99</c:v>
                </c:pt>
                <c:pt idx="1">
                  <c:v>0.96</c:v>
                </c:pt>
                <c:pt idx="2">
                  <c:v>0.99</c:v>
                </c:pt>
                <c:pt idx="3">
                  <c:v>0.66</c:v>
                </c:pt>
                <c:pt idx="4">
                  <c:v>0.97</c:v>
                </c:pt>
                <c:pt idx="5">
                  <c:v>0.78</c:v>
                </c:pt>
                <c:pt idx="6">
                  <c:v>0.97</c:v>
                </c:pt>
                <c:pt idx="7">
                  <c:v>0.79</c:v>
                </c:pt>
                <c:pt idx="8">
                  <c:v>0.27</c:v>
                </c:pt>
                <c:pt idx="9">
                  <c:v>0.25</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7ECAC4"/>
              </a:solidFill>
            </c:spPr>
            <c:extLst>
              <c:ext xmlns:c16="http://schemas.microsoft.com/office/drawing/2014/chart" uri="{C3380CC4-5D6E-409C-BE32-E72D297353CC}">
                <c16:uniqueId val="{00000007-E902-46E2-9A54-39A26B3DFDC1}"/>
              </c:ext>
            </c:extLst>
          </c:dPt>
          <c:dPt>
            <c:idx val="4"/>
            <c:invertIfNegative val="1"/>
            <c:bubble3D val="0"/>
            <c:spPr>
              <a:solidFill>
                <a:srgbClr val="7ECAC4"/>
              </a:solidFill>
            </c:spPr>
            <c:extLst>
              <c:ext xmlns:c16="http://schemas.microsoft.com/office/drawing/2014/chart" uri="{C3380CC4-5D6E-409C-BE32-E72D297353CC}">
                <c16:uniqueId val="{0000000B-FA3E-4872-B6E1-C4ABDF5766E2}"/>
              </c:ext>
            </c:extLst>
          </c:dPt>
          <c:dPt>
            <c:idx val="5"/>
            <c:invertIfNegative val="1"/>
            <c:bubble3D val="0"/>
            <c:spPr>
              <a:solidFill>
                <a:srgbClr val="7ECAC4"/>
              </a:solidFill>
            </c:spPr>
            <c:extLst>
              <c:ext xmlns:c16="http://schemas.microsoft.com/office/drawing/2014/chart" uri="{C3380CC4-5D6E-409C-BE32-E72D297353CC}">
                <c16:uniqueId val="{0000000D-FA3E-4872-B6E1-C4ABDF5766E2}"/>
              </c:ext>
            </c:extLst>
          </c:dPt>
          <c:dPt>
            <c:idx val="6"/>
            <c:invertIfNegative val="1"/>
            <c:bubble3D val="0"/>
            <c:spPr>
              <a:solidFill>
                <a:srgbClr val="AEABAB"/>
              </a:solidFill>
            </c:spPr>
            <c:extLst>
              <c:ext xmlns:c16="http://schemas.microsoft.com/office/drawing/2014/chart" uri="{C3380CC4-5D6E-409C-BE32-E72D297353CC}">
                <c16:uniqueId val="{0000000F-FA3E-4872-B6E1-C4ABDF5766E2}"/>
              </c:ext>
            </c:extLst>
          </c:dPt>
          <c:dPt>
            <c:idx val="7"/>
            <c:invertIfNegative val="1"/>
            <c:bubble3D val="0"/>
            <c:spPr>
              <a:solidFill>
                <a:srgbClr val="AEABAB"/>
              </a:solidFill>
            </c:spPr>
            <c:extLst>
              <c:ext xmlns:c16="http://schemas.microsoft.com/office/drawing/2014/chart" uri="{C3380CC4-5D6E-409C-BE32-E72D297353CC}">
                <c16:uniqueId val="{00000011-FA3E-4872-B6E1-C4ABDF5766E2}"/>
              </c:ext>
            </c:extLst>
          </c:dPt>
          <c:dPt>
            <c:idx val="8"/>
            <c:invertIfNegative val="1"/>
            <c:bubble3D val="0"/>
            <c:spPr>
              <a:solidFill>
                <a:srgbClr val="AEABAB"/>
              </a:solidFill>
            </c:spPr>
            <c:extLst>
              <c:ext xmlns:c16="http://schemas.microsoft.com/office/drawing/2014/chart" uri="{C3380CC4-5D6E-409C-BE32-E72D297353CC}">
                <c16:uniqueId val="{00000013-FA3E-4872-B6E1-C4ABDF5766E2}"/>
              </c:ext>
            </c:extLst>
          </c:dPt>
          <c:dPt>
            <c:idx val="9"/>
            <c:invertIfNegative val="1"/>
            <c:bubble3D val="0"/>
            <c:spPr>
              <a:solidFill>
                <a:srgbClr val="AEABAB"/>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11</c:f>
              <c:strCache>
                <c:ptCount val="10"/>
                <c:pt idx="0">
                  <c:v>La Vache Qui Rit Nature Fromage Fondu Boite Ronde 1X512Gr 32P</c:v>
                </c:pt>
                <c:pt idx="1">
                  <c:v>La Vache Qui Rit Nature Fromage Fondu Boite Ronde 1X384Gr 24P</c:v>
                </c:pt>
                <c:pt idx="2">
                  <c:v>La Vache Qui Rit Nature Fromage Fondu Boite Ronde 1X192Gr 12P</c:v>
                </c:pt>
                <c:pt idx="3">
                  <c:v>La Vache Qui Rit Nature Fromage Fondu Boite Ronde 1X128Gr 8P</c:v>
                </c:pt>
                <c:pt idx="4">
                  <c:v>La Vache Qui Rit Pik Et Croq' Fromage Fondu Dips Boite 1X175Gr 5P</c:v>
                </c:pt>
                <c:pt idx="5">
                  <c:v>La Vache Qui Rit Nature Fromage Fondu Boite Ronde 1X512Gr 24+8P</c:v>
                </c:pt>
                <c:pt idx="6">
                  <c:v>Toastinette Cheddar Fondu Tranche A Chaud Sachet 1X200Gr 10P</c:v>
                </c:pt>
                <c:pt idx="7">
                  <c:v>Toastinette Fromage Fondu Tranche A Chaud Sachet 1X200Gr 10P</c:v>
                </c:pt>
                <c:pt idx="8">
                  <c:v>La Vache Qui Rit Allegee Fromage Fondu Boite Ronde Allege 1X267Gr 16P</c:v>
                </c:pt>
                <c:pt idx="9">
                  <c:v>La Vache Qui Rit Bio Fromage Fondu Boite Ronde 1X128Gr 8P</c:v>
                </c:pt>
              </c:strCache>
            </c:strRef>
          </c:cat>
          <c:val>
            <c:numRef>
              <c:f>Sheet1!$C$2:$C$11</c:f>
              <c:numCache>
                <c:formatCode>General</c:formatCode>
                <c:ptCount val="10"/>
                <c:pt idx="0">
                  <c:v>0.3525713208682542</c:v>
                </c:pt>
                <c:pt idx="1">
                  <c:v>0.5741959691811118</c:v>
                </c:pt>
                <c:pt idx="2">
                  <c:v>0.7585275381484836</c:v>
                </c:pt>
                <c:pt idx="3">
                  <c:v>0.819598714083688</c:v>
                </c:pt>
                <c:pt idx="4">
                  <c:v>0.8786117634654004</c:v>
                </c:pt>
                <c:pt idx="5">
                  <c:v>0.9247494280406925</c:v>
                </c:pt>
                <c:pt idx="6">
                  <c:v>0.959194539162146</c:v>
                </c:pt>
                <c:pt idx="7">
                  <c:v>0.9859920903826059</c:v>
                </c:pt>
                <c:pt idx="8">
                  <c:v>0.9953409962780885</c:v>
                </c:pt>
                <c:pt idx="9">
                  <c:v>0.9999459277095963</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11</c:f>
              <c:strCache>
                <c:ptCount val="10"/>
                <c:pt idx="0">
                  <c:v>La Vache Qui Rit Nature Fromage Fondu Boite Ronde 1X512Gr 32P</c:v>
                </c:pt>
                <c:pt idx="1">
                  <c:v>La Vache Qui Rit Nature Fromage Fondu Boite Ronde 1X384Gr 24P</c:v>
                </c:pt>
                <c:pt idx="2">
                  <c:v>La Vache Qui Rit Nature Fromage Fondu Boite Ronde 1X192Gr 12P</c:v>
                </c:pt>
                <c:pt idx="3">
                  <c:v>La Vache Qui Rit Nature Fromage Fondu Boite Ronde 1X128Gr 8P</c:v>
                </c:pt>
                <c:pt idx="4">
                  <c:v>La Vache Qui Rit Pik Et Croq' Fromage Fondu Dips Boite 1X175Gr 5P</c:v>
                </c:pt>
                <c:pt idx="5">
                  <c:v>La Vache Qui Rit Nature Fromage Fondu Boite Ronde 1X512Gr 24+8P</c:v>
                </c:pt>
                <c:pt idx="6">
                  <c:v>Toastinette Cheddar Fondu Tranche A Chaud Sachet 1X200Gr 10P</c:v>
                </c:pt>
                <c:pt idx="7">
                  <c:v>Toastinette Fromage Fondu Tranche A Chaud Sachet 1X200Gr 10P</c:v>
                </c:pt>
                <c:pt idx="8">
                  <c:v>La Vache Qui Rit Allegee Fromage Fondu Boite Ronde Allege 1X267Gr 16P</c:v>
                </c:pt>
                <c:pt idx="9">
                  <c:v>La Vache Qui Rit Bio Fromage Fondu Boite Ronde 1X128Gr 8P</c:v>
                </c:pt>
              </c:strCache>
            </c:strRef>
          </c:cat>
          <c:val>
            <c:numRef>
              <c:f>Sheet1!$D$2:$D$11</c:f>
              <c:numCache>
                <c:formatCode>General</c:formatCode>
                <c:ptCount val="10"/>
                <c:pt idx="0">
                  <c:v>36882.89898989899</c:v>
                </c:pt>
                <c:pt idx="1">
                  <c:v>23908.927083333332</c:v>
                </c:pt>
                <c:pt idx="2">
                  <c:v>19283.141414141413</c:v>
                </c:pt>
                <c:pt idx="3">
                  <c:v>9583.09090909091</c:v>
                </c:pt>
                <c:pt idx="4">
                  <c:v>6300.711340206186</c:v>
                </c:pt>
                <c:pt idx="5">
                  <c:v>6125.961538461538</c:v>
                </c:pt>
                <c:pt idx="6">
                  <c:v>3677.639175257732</c:v>
                </c:pt>
                <c:pt idx="7">
                  <c:v>3513.025316455696</c:v>
                </c:pt>
                <c:pt idx="8">
                  <c:v>3586.0</c:v>
                </c:pt>
                <c:pt idx="9">
                  <c:v>1907.64</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Apericube</c:v>
                </c:pt>
                <c:pt idx="1">
                  <c:v>Aperivrais</c:v>
                </c:pt>
                <c:pt idx="2">
                  <c:v>Boursin</c:v>
                </c:pt>
                <c:pt idx="3">
                  <c:v>St Moret</c:v>
                </c:pt>
                <c:pt idx="4">
                  <c:v>Private Label</c:v>
                </c:pt>
                <c:pt idx="5">
                  <c:v>Entremont</c:v>
                </c:pt>
                <c:pt idx="6">
                  <c:v>Others</c:v>
                </c:pt>
              </c:strCache>
            </c:strRef>
          </c:cat>
          <c:val>
            <c:numRef>
              <c:f>Sheet1!$B$2:$B$8</c:f>
              <c:numCache>
                <c:formatCode>General</c:formatCode>
                <c:ptCount val="7"/>
                <c:pt idx="0">
                  <c:v>0.6103175088987497</c:v>
                </c:pt>
                <c:pt idx="1">
                  <c:v>0.12406596632729176</c:v>
                </c:pt>
                <c:pt idx="2">
                  <c:v>0.11214055862343275</c:v>
                </c:pt>
                <c:pt idx="3">
                  <c:v>0.06998602185173407</c:v>
                </c:pt>
                <c:pt idx="4">
                  <c:v>0.06930717763672518</c:v>
                </c:pt>
                <c:pt idx="5">
                  <c:v>0.012423604455068585</c:v>
                </c:pt>
                <c:pt idx="6">
                  <c:v>0.00175916220699797</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Apericube</c:v>
                </c:pt>
                <c:pt idx="1">
                  <c:v>Aperivrais</c:v>
                </c:pt>
                <c:pt idx="2">
                  <c:v>Boursin</c:v>
                </c:pt>
                <c:pt idx="3">
                  <c:v>St Moret</c:v>
                </c:pt>
                <c:pt idx="4">
                  <c:v>Private Label</c:v>
                </c:pt>
                <c:pt idx="5">
                  <c:v>Entremont</c:v>
                </c:pt>
                <c:pt idx="6">
                  <c:v>Others</c:v>
                </c:pt>
              </c:strCache>
            </c:strRef>
          </c:cat>
          <c:val>
            <c:numRef>
              <c:f>Sheet1!$C$2:$C$8</c:f>
              <c:numCache>
                <c:formatCode>General</c:formatCode>
                <c:ptCount val="7"/>
                <c:pt idx="0">
                  <c:v>0.40425531914893614</c:v>
                </c:pt>
                <c:pt idx="1">
                  <c:v>0.20598585865108315</c:v>
                </c:pt>
                <c:pt idx="2">
                  <c:v>0.13434281470958573</c:v>
                </c:pt>
                <c:pt idx="3">
                  <c:v>0.11212991960739997</c:v>
                </c:pt>
                <c:pt idx="4">
                  <c:v>0.05704968843831723</c:v>
                </c:pt>
                <c:pt idx="5">
                  <c:v>0.08168404739611919</c:v>
                </c:pt>
                <c:pt idx="6">
                  <c:v>0.004552352048558421</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Apericube</c:v>
                </c:pt>
                <c:pt idx="1">
                  <c:v>Aperivrais</c:v>
                </c:pt>
                <c:pt idx="2">
                  <c:v>Boursin</c:v>
                </c:pt>
                <c:pt idx="3">
                  <c:v>St Moret</c:v>
                </c:pt>
                <c:pt idx="4">
                  <c:v>Private Label</c:v>
                </c:pt>
                <c:pt idx="5">
                  <c:v>Entremont</c:v>
                </c:pt>
                <c:pt idx="6">
                  <c:v>Others</c:v>
                </c:pt>
              </c:strCache>
            </c:strRef>
          </c:cat>
          <c:val>
            <c:numRef>
              <c:f>Sheet1!$D$2:$D$8</c:f>
              <c:numCache>
                <c:formatCode>General</c:formatCode>
                <c:ptCount val="7"/>
                <c:pt idx="0">
                  <c:v>66.2368870718407</c:v>
                </c:pt>
                <c:pt idx="1">
                  <c:v>166.02930259510728</c:v>
                </c:pt>
                <c:pt idx="2">
                  <c:v>119.79859593950127</c:v>
                </c:pt>
                <c:pt idx="3">
                  <c:v>160.21759294298522</c:v>
                </c:pt>
                <c:pt idx="4">
                  <c:v>82.31425717166583</c:v>
                </c:pt>
                <c:pt idx="5">
                  <c:v>657.4907281662023</c:v>
                </c:pt>
                <c:pt idx="6">
                  <c:v>258.7795503137292</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27</c:f>
              <c:strCache>
                <c:ptCount val="26"/>
                <c:pt idx="0">
                  <c:v>Boursin Classique Fromage Frais A Tartiner Afh 1X160Gr 10P</c:v>
                </c:pt>
                <c:pt idx="1">
                  <c:v>Boursin Classique Fromage Frais A Tartiner Afh Boite 1X150Gr 1P</c:v>
                </c:pt>
                <c:pt idx="2">
                  <c:v>Boursin Classique Fromage Frais A Tartiner Afh Boite 1X250Gr 1P</c:v>
                </c:pt>
                <c:pt idx="3">
                  <c:v>Boursin Aperitif Roules Fromage Frais Roule Afh Et Jambon Fume Boite 1X100Gr 20P</c:v>
                </c:pt>
                <c:pt idx="4">
                  <c:v>Boursin Salade &amp; Aperitif Fromage Frais Des Afh 1X120Gr 1P</c:v>
                </c:pt>
                <c:pt idx="5">
                  <c:v>Boursin Aperitif Roules Fromage Frais Roule Ciboulette &amp; Echalote Jambon Fume Boite 1X100Gr 20P</c:v>
                </c:pt>
                <c:pt idx="6">
                  <c:v>Boursin Classique Fromage Frais A Tartiner Afh Boite 1X96Gr 6P</c:v>
                </c:pt>
                <c:pt idx="7">
                  <c:v>Boursin Onctueux Fromage Frais A Tartiner Afh 1X125Gr 1P</c:v>
                </c:pt>
                <c:pt idx="8">
                  <c:v>Boursin Classique Fromage Frais A Tartiner Ciboulette &amp; Echalote Boite 1X150Gr 1P</c:v>
                </c:pt>
                <c:pt idx="9">
                  <c:v>Boursin Salade &amp; Aperitif Fromage Frais Des Figue Noix 1X120Gr 1P</c:v>
                </c:pt>
                <c:pt idx="10">
                  <c:v>Boursin Salade &amp; Aperitif Fromage Frais Des Ciboulette Echalote 1X120Gr 1P</c:v>
                </c:pt>
                <c:pt idx="11">
                  <c:v>Boursin Cuisine Sauce Fromage Afh 1X240Gr 1P</c:v>
                </c:pt>
                <c:pt idx="12">
                  <c:v>Boursin Salade &amp; Aperitif Fromage Frais Des Citron Romarin 1X120Gr 1P</c:v>
                </c:pt>
                <c:pt idx="13">
                  <c:v>Boursin Classique Fromage Frais A Tartiner Figue Et 3 Noix Boite 1X150Gr 1P</c:v>
                </c:pt>
                <c:pt idx="14">
                  <c:v>Boursin Salade &amp; Aperitif Soft Cheese Salade 120G</c:v>
                </c:pt>
                <c:pt idx="15">
                  <c:v>Boursin Salade &amp; Aperitif Fromage Frais Des Noisette Et 3 Noix 1X120Gr 1P</c:v>
                </c:pt>
                <c:pt idx="16">
                  <c:v>Boursin Classique Fromage Frais A Tartiner 3 Noix Boite 1X150Gr 1P</c:v>
                </c:pt>
                <c:pt idx="17">
                  <c:v>Boursin Vegetal Specialite Vegetale A Tartiner Afh 1X130Gr 1P</c:v>
                </c:pt>
                <c:pt idx="18">
                  <c:v>Boursin Aperitif Roules Fromage Frais Roule Jambon Fume &amp; Trio De Noix Boite 1X100Gr 20P</c:v>
                </c:pt>
                <c:pt idx="19">
                  <c:v>Boursin Aperitif Roules Aperitif 100G</c:v>
                </c:pt>
                <c:pt idx="20">
                  <c:v>Boursin Classique Fromage Frais A Tartiner 3 Noix 1X160Gr 10P</c:v>
                </c:pt>
                <c:pt idx="21">
                  <c:v>Boursin Classique Fromage Frais A Tartiner Afh Boite 1X320Gr 16+4P</c:v>
                </c:pt>
                <c:pt idx="22">
                  <c:v>Boursin Vegetal Alternative Vegetale 150G</c:v>
                </c:pt>
                <c:pt idx="23">
                  <c:v>Boursin Classique Fromage Frais A Tartiner Truffe Boite 1X150Gr 1P</c:v>
                </c:pt>
                <c:pt idx="24">
                  <c:v>Boursin Onctueux Fromage Frais A Tartiner Afh 1X210Gr 1P</c:v>
                </c:pt>
                <c:pt idx="25">
                  <c:v>Boursin Classique Fromage Frais A Tartiner Ciboulette &amp; Echalote 1X160Gr 10P</c:v>
                </c:pt>
              </c:strCache>
            </c:strRef>
          </c:cat>
          <c:val>
            <c:numRef>
              <c:f>Sheet1!$B$2:$B$27</c:f>
              <c:numCache>
                <c:formatCode>General</c:formatCode>
                <c:ptCount val="26"/>
                <c:pt idx="0">
                  <c:v>0.98</c:v>
                </c:pt>
                <c:pt idx="1">
                  <c:v>0.99</c:v>
                </c:pt>
                <c:pt idx="2">
                  <c:v>0.95</c:v>
                </c:pt>
                <c:pt idx="3">
                  <c:v>0.94</c:v>
                </c:pt>
                <c:pt idx="4">
                  <c:v>0.99</c:v>
                </c:pt>
                <c:pt idx="5">
                  <c:v>0.86</c:v>
                </c:pt>
                <c:pt idx="6">
                  <c:v>0.91</c:v>
                </c:pt>
                <c:pt idx="7">
                  <c:v>0.85</c:v>
                </c:pt>
                <c:pt idx="8">
                  <c:v>0.89</c:v>
                </c:pt>
                <c:pt idx="9">
                  <c:v>0.91</c:v>
                </c:pt>
                <c:pt idx="10">
                  <c:v>0.95</c:v>
                </c:pt>
                <c:pt idx="11">
                  <c:v>0.72</c:v>
                </c:pt>
                <c:pt idx="12">
                  <c:v>0.72</c:v>
                </c:pt>
                <c:pt idx="13">
                  <c:v>0.65</c:v>
                </c:pt>
                <c:pt idx="14">
                  <c:v>0.71</c:v>
                </c:pt>
                <c:pt idx="15">
                  <c:v>0.79</c:v>
                </c:pt>
                <c:pt idx="16">
                  <c:v>0.61</c:v>
                </c:pt>
                <c:pt idx="17">
                  <c:v>0.24</c:v>
                </c:pt>
                <c:pt idx="18">
                  <c:v>0.5</c:v>
                </c:pt>
                <c:pt idx="19">
                  <c:v>0.29</c:v>
                </c:pt>
                <c:pt idx="20">
                  <c:v>0.41</c:v>
                </c:pt>
                <c:pt idx="21">
                  <c:v>0.37</c:v>
                </c:pt>
                <c:pt idx="22">
                  <c:v>0.25</c:v>
                </c:pt>
                <c:pt idx="23">
                  <c:v>0.51</c:v>
                </c:pt>
                <c:pt idx="24">
                  <c:v>0.03</c:v>
                </c:pt>
                <c:pt idx="25">
                  <c:v>0.03</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7ECAC4"/>
              </a:solidFill>
            </c:spPr>
            <c:extLst>
              <c:ext xmlns:c16="http://schemas.microsoft.com/office/drawing/2014/chart" uri="{C3380CC4-5D6E-409C-BE32-E72D297353CC}">
                <c16:uniqueId val="{00000011-FA3E-4872-B6E1-C4ABDF5766E2}"/>
              </c:ext>
            </c:extLst>
          </c:dPt>
          <c:dPt>
            <c:idx val="8"/>
            <c:invertIfNegative val="1"/>
            <c:bubble3D val="0"/>
            <c:spPr>
              <a:solidFill>
                <a:srgbClr val="7ECAC4"/>
              </a:solidFill>
            </c:spPr>
            <c:extLst>
              <c:ext xmlns:c16="http://schemas.microsoft.com/office/drawing/2014/chart" uri="{C3380CC4-5D6E-409C-BE32-E72D297353CC}">
                <c16:uniqueId val="{00000013-FA3E-4872-B6E1-C4ABDF5766E2}"/>
              </c:ext>
            </c:extLst>
          </c:dPt>
          <c:dPt>
            <c:idx val="9"/>
            <c:invertIfNegative val="1"/>
            <c:bubble3D val="0"/>
            <c:spPr>
              <a:solidFill>
                <a:srgbClr val="7ECAC4"/>
              </a:solidFill>
            </c:spPr>
            <c:extLst>
              <c:ext xmlns:c16="http://schemas.microsoft.com/office/drawing/2014/chart" uri="{C3380CC4-5D6E-409C-BE32-E72D297353CC}">
                <c16:uniqueId val="{00000015-FA3E-4872-B6E1-C4ABDF5766E2}"/>
              </c:ext>
            </c:extLst>
          </c:dPt>
          <c:dPt>
            <c:idx val="10"/>
            <c:invertIfNegative val="1"/>
            <c:bubble3D val="0"/>
            <c:spPr>
              <a:solidFill>
                <a:srgbClr val="7ECAC4"/>
              </a:solidFill>
            </c:spPr>
            <c:extLst>
              <c:ext xmlns:c16="http://schemas.microsoft.com/office/drawing/2014/chart" uri="{C3380CC4-5D6E-409C-BE32-E72D297353CC}">
                <c16:uniqueId val="{00000017-FA3E-4872-B6E1-C4ABDF5766E2}"/>
              </c:ext>
            </c:extLst>
          </c:dPt>
          <c:dPt>
            <c:idx val="11"/>
            <c:invertIfNegative val="1"/>
            <c:bubble3D val="0"/>
            <c:spPr>
              <a:solidFill>
                <a:srgbClr val="7ECAC4"/>
              </a:solidFill>
            </c:spPr>
            <c:extLst>
              <c:ext xmlns:c16="http://schemas.microsoft.com/office/drawing/2014/chart" uri="{C3380CC4-5D6E-409C-BE32-E72D297353CC}">
                <c16:uniqueId val="{00000019-FA3E-4872-B6E1-C4ABDF5766E2}"/>
              </c:ext>
            </c:extLst>
          </c:dPt>
          <c:dPt>
            <c:idx val="12"/>
            <c:invertIfNegative val="1"/>
            <c:bubble3D val="0"/>
            <c:spPr>
              <a:solidFill>
                <a:srgbClr val="7ECAC4"/>
              </a:solidFill>
            </c:spPr>
            <c:extLst>
              <c:ext xmlns:c16="http://schemas.microsoft.com/office/drawing/2014/chart" uri="{C3380CC4-5D6E-409C-BE32-E72D297353CC}">
                <c16:uniqueId val="{0000001B-FA3E-4872-B6E1-C4ABDF5766E2}"/>
              </c:ext>
            </c:extLst>
          </c:dPt>
          <c:dPt>
            <c:idx val="13"/>
            <c:invertIfNegative val="1"/>
            <c:bubble3D val="0"/>
            <c:spPr>
              <a:solidFill>
                <a:srgbClr val="AEABAB"/>
              </a:solidFill>
            </c:spPr>
            <c:extLst>
              <c:ext xmlns:c16="http://schemas.microsoft.com/office/drawing/2014/chart" uri="{C3380CC4-5D6E-409C-BE32-E72D297353CC}">
                <c16:uniqueId val="{0000001D-FA3E-4872-B6E1-C4ABDF5766E2}"/>
              </c:ext>
            </c:extLst>
          </c:dPt>
          <c:dPt>
            <c:idx val="14"/>
            <c:invertIfNegative val="1"/>
            <c:bubble3D val="0"/>
            <c:spPr>
              <a:solidFill>
                <a:srgbClr val="AEABAB"/>
              </a:solidFill>
            </c:spPr>
            <c:extLst>
              <c:ext xmlns:c16="http://schemas.microsoft.com/office/drawing/2014/chart" uri="{C3380CC4-5D6E-409C-BE32-E72D297353CC}">
                <c16:uniqueId val="{0000001F-FA3E-4872-B6E1-C4ABDF5766E2}"/>
              </c:ext>
            </c:extLst>
          </c:dPt>
          <c:dPt>
            <c:idx val="15"/>
            <c:invertIfNegative val="1"/>
            <c:bubble3D val="0"/>
            <c:spPr>
              <a:solidFill>
                <a:srgbClr val="AEABAB"/>
              </a:solidFill>
            </c:spPr>
            <c:extLst>
              <c:ext xmlns:c16="http://schemas.microsoft.com/office/drawing/2014/chart" uri="{C3380CC4-5D6E-409C-BE32-E72D297353CC}">
                <c16:uniqueId val="{00000021-FA3E-4872-B6E1-C4ABDF5766E2}"/>
              </c:ext>
            </c:extLst>
          </c:dPt>
          <c:dPt>
            <c:idx val="16"/>
            <c:invertIfNegative val="1"/>
            <c:bubble3D val="0"/>
            <c:spPr>
              <a:solidFill>
                <a:srgbClr val="AEABAB"/>
              </a:solidFill>
            </c:spPr>
            <c:extLst>
              <c:ext xmlns:c16="http://schemas.microsoft.com/office/drawing/2014/chart" uri="{C3380CC4-5D6E-409C-BE32-E72D297353CC}">
                <c16:uniqueId val="{00000023-FA3E-4872-B6E1-C4ABDF5766E2}"/>
              </c:ext>
            </c:extLst>
          </c:dPt>
          <c:dPt>
            <c:idx val="17"/>
            <c:invertIfNegative val="1"/>
            <c:bubble3D val="0"/>
            <c:spPr>
              <a:solidFill>
                <a:srgbClr val="AEABAB"/>
              </a:solidFill>
            </c:spPr>
            <c:extLst>
              <c:ext xmlns:c16="http://schemas.microsoft.com/office/drawing/2014/chart" uri="{C3380CC4-5D6E-409C-BE32-E72D297353CC}">
                <c16:uniqueId val="{00000025-FA3E-4872-B6E1-C4ABDF5766E2}"/>
              </c:ext>
            </c:extLst>
          </c:dPt>
          <c:dPt>
            <c:idx val="18"/>
            <c:invertIfNegative val="1"/>
            <c:bubble3D val="0"/>
            <c:spPr>
              <a:solidFill>
                <a:srgbClr val="AEABAB"/>
              </a:solidFill>
            </c:spPr>
            <c:extLst>
              <c:ext xmlns:c16="http://schemas.microsoft.com/office/drawing/2014/chart" uri="{C3380CC4-5D6E-409C-BE32-E72D297353CC}">
                <c16:uniqueId val="{00000027-FA3E-4872-B6E1-C4ABDF5766E2}"/>
              </c:ext>
            </c:extLst>
          </c:dPt>
          <c:dPt>
            <c:idx val="19"/>
            <c:invertIfNegative val="1"/>
            <c:bubble3D val="0"/>
            <c:spPr>
              <a:solidFill>
                <a:srgbClr val="AEABAB"/>
              </a:solidFill>
            </c:spPr>
            <c:extLst>
              <c:ext xmlns:c16="http://schemas.microsoft.com/office/drawing/2014/chart" uri="{C3380CC4-5D6E-409C-BE32-E72D297353CC}">
                <c16:uniqueId val="{00000029-FA3E-4872-B6E1-C4ABDF5766E2}"/>
              </c:ext>
            </c:extLst>
          </c:dPt>
          <c:dPt>
            <c:idx val="20"/>
            <c:invertIfNegative val="1"/>
            <c:bubble3D val="0"/>
            <c:spPr>
              <a:solidFill>
                <a:srgbClr val="AEABAB"/>
              </a:solidFill>
            </c:spPr>
            <c:extLst>
              <c:ext xmlns:c16="http://schemas.microsoft.com/office/drawing/2014/chart" uri="{C3380CC4-5D6E-409C-BE32-E72D297353CC}">
                <c16:uniqueId val="{0000002B-FA3E-4872-B6E1-C4ABDF5766E2}"/>
              </c:ext>
            </c:extLst>
          </c:dPt>
          <c:dPt>
            <c:idx val="21"/>
            <c:invertIfNegative val="1"/>
            <c:bubble3D val="0"/>
            <c:spPr>
              <a:solidFill>
                <a:srgbClr val="AEABAB"/>
              </a:solidFill>
            </c:spPr>
            <c:extLst>
              <c:ext xmlns:c16="http://schemas.microsoft.com/office/drawing/2014/chart" uri="{C3380CC4-5D6E-409C-BE32-E72D297353CC}">
                <c16:uniqueId val="{0000002D-FA3E-4872-B6E1-C4ABDF5766E2}"/>
              </c:ext>
            </c:extLst>
          </c:dPt>
          <c:dPt>
            <c:idx val="22"/>
            <c:invertIfNegative val="1"/>
            <c:bubble3D val="0"/>
            <c:spPr>
              <a:solidFill>
                <a:srgbClr val="AEABAB"/>
              </a:solidFill>
            </c:spPr>
            <c:extLst>
              <c:ext xmlns:c16="http://schemas.microsoft.com/office/drawing/2014/chart" uri="{C3380CC4-5D6E-409C-BE32-E72D297353CC}">
                <c16:uniqueId val="{0000002F-FA3E-4872-B6E1-C4ABDF5766E2}"/>
              </c:ext>
            </c:extLst>
          </c:dPt>
          <c:dPt>
            <c:idx val="23"/>
            <c:invertIfNegative val="1"/>
            <c:bubble3D val="0"/>
            <c:spPr>
              <a:solidFill>
                <a:srgbClr val="AEABAB"/>
              </a:solidFill>
            </c:spPr>
            <c:extLst>
              <c:ext xmlns:c16="http://schemas.microsoft.com/office/drawing/2014/chart" uri="{C3380CC4-5D6E-409C-BE32-E72D297353CC}">
                <c16:uniqueId val="{00000031-FA3E-4872-B6E1-C4ABDF5766E2}"/>
              </c:ext>
            </c:extLst>
          </c:dPt>
          <c:dPt>
            <c:idx val="24"/>
            <c:invertIfNegative val="1"/>
            <c:bubble3D val="0"/>
            <c:spPr>
              <a:solidFill>
                <a:srgbClr val="AEABAB"/>
              </a:solidFill>
            </c:spPr>
            <c:extLst>
              <c:ext xmlns:c16="http://schemas.microsoft.com/office/drawing/2014/chart" uri="{C3380CC4-5D6E-409C-BE32-E72D297353CC}">
                <c16:uniqueId val="{00000033-FA3E-4872-B6E1-C4ABDF5766E2}"/>
              </c:ext>
            </c:extLst>
          </c:dPt>
          <c:dPt>
            <c:idx val="25"/>
            <c:invertIfNegative val="1"/>
            <c:bubble3D val="0"/>
            <c:spPr>
              <a:solidFill>
                <a:srgbClr val="AEABAB"/>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27</c:f>
              <c:strCache>
                <c:ptCount val="26"/>
                <c:pt idx="0">
                  <c:v>Boursin Classique Fromage Frais A Tartiner Afh 1X160Gr 10P</c:v>
                </c:pt>
                <c:pt idx="1">
                  <c:v>Boursin Classique Fromage Frais A Tartiner Afh Boite 1X150Gr 1P</c:v>
                </c:pt>
                <c:pt idx="2">
                  <c:v>Boursin Classique Fromage Frais A Tartiner Afh Boite 1X250Gr 1P</c:v>
                </c:pt>
                <c:pt idx="3">
                  <c:v>Boursin Aperitif Roules Fromage Frais Roule Afh Et Jambon Fume Boite 1X100Gr 20P</c:v>
                </c:pt>
                <c:pt idx="4">
                  <c:v>Boursin Salade &amp; Aperitif Fromage Frais Des Afh 1X120Gr 1P</c:v>
                </c:pt>
                <c:pt idx="5">
                  <c:v>Boursin Aperitif Roules Fromage Frais Roule Ciboulette &amp; Echalote Jambon Fume Boite 1X100Gr 20P</c:v>
                </c:pt>
                <c:pt idx="6">
                  <c:v>Boursin Classique Fromage Frais A Tartiner Afh Boite 1X96Gr 6P</c:v>
                </c:pt>
                <c:pt idx="7">
                  <c:v>Boursin Onctueux Fromage Frais A Tartiner Afh 1X125Gr 1P</c:v>
                </c:pt>
                <c:pt idx="8">
                  <c:v>Boursin Classique Fromage Frais A Tartiner Ciboulette &amp; Echalote Boite 1X150Gr 1P</c:v>
                </c:pt>
                <c:pt idx="9">
                  <c:v>Boursin Salade &amp; Aperitif Fromage Frais Des Figue Noix 1X120Gr 1P</c:v>
                </c:pt>
                <c:pt idx="10">
                  <c:v>Boursin Salade &amp; Aperitif Fromage Frais Des Ciboulette Echalote 1X120Gr 1P</c:v>
                </c:pt>
                <c:pt idx="11">
                  <c:v>Boursin Cuisine Sauce Fromage Afh 1X240Gr 1P</c:v>
                </c:pt>
                <c:pt idx="12">
                  <c:v>Boursin Salade &amp; Aperitif Fromage Frais Des Citron Romarin 1X120Gr 1P</c:v>
                </c:pt>
                <c:pt idx="13">
                  <c:v>Boursin Classique Fromage Frais A Tartiner Figue Et 3 Noix Boite 1X150Gr 1P</c:v>
                </c:pt>
                <c:pt idx="14">
                  <c:v>Boursin Salade &amp; Aperitif Soft Cheese Salade 120G</c:v>
                </c:pt>
                <c:pt idx="15">
                  <c:v>Boursin Salade &amp; Aperitif Fromage Frais Des Noisette Et 3 Noix 1X120Gr 1P</c:v>
                </c:pt>
                <c:pt idx="16">
                  <c:v>Boursin Classique Fromage Frais A Tartiner 3 Noix Boite 1X150Gr 1P</c:v>
                </c:pt>
                <c:pt idx="17">
                  <c:v>Boursin Vegetal Specialite Vegetale A Tartiner Afh 1X130Gr 1P</c:v>
                </c:pt>
                <c:pt idx="18">
                  <c:v>Boursin Aperitif Roules Fromage Frais Roule Jambon Fume &amp; Trio De Noix Boite 1X100Gr 20P</c:v>
                </c:pt>
                <c:pt idx="19">
                  <c:v>Boursin Aperitif Roules Aperitif 100G</c:v>
                </c:pt>
                <c:pt idx="20">
                  <c:v>Boursin Classique Fromage Frais A Tartiner 3 Noix 1X160Gr 10P</c:v>
                </c:pt>
                <c:pt idx="21">
                  <c:v>Boursin Classique Fromage Frais A Tartiner Afh Boite 1X320Gr 16+4P</c:v>
                </c:pt>
                <c:pt idx="22">
                  <c:v>Boursin Vegetal Alternative Vegetale 150G</c:v>
                </c:pt>
                <c:pt idx="23">
                  <c:v>Boursin Classique Fromage Frais A Tartiner Truffe Boite 1X150Gr 1P</c:v>
                </c:pt>
                <c:pt idx="24">
                  <c:v>Boursin Onctueux Fromage Frais A Tartiner Afh 1X210Gr 1P</c:v>
                </c:pt>
                <c:pt idx="25">
                  <c:v>Boursin Classique Fromage Frais A Tartiner Ciboulette &amp; Echalote 1X160Gr 10P</c:v>
                </c:pt>
              </c:strCache>
            </c:strRef>
          </c:cat>
          <c:val>
            <c:numRef>
              <c:f>Sheet1!$C$2:$C$27</c:f>
              <c:numCache>
                <c:formatCode>General</c:formatCode>
                <c:ptCount val="26"/>
                <c:pt idx="0">
                  <c:v>0.15730791006827385</c:v>
                </c:pt>
                <c:pt idx="1">
                  <c:v>0.30353368703196437</c:v>
                </c:pt>
                <c:pt idx="2">
                  <c:v>0.4304748457785722</c:v>
                </c:pt>
                <c:pt idx="3">
                  <c:v>0.5519532461661116</c:v>
                </c:pt>
                <c:pt idx="4">
                  <c:v>0.6518613831028939</c:v>
                </c:pt>
                <c:pt idx="5">
                  <c:v>0.7241594556215808</c:v>
                </c:pt>
                <c:pt idx="6">
                  <c:v>0.7907921754877334</c:v>
                </c:pt>
                <c:pt idx="7">
                  <c:v>0.8345290901687706</c:v>
                </c:pt>
                <c:pt idx="8">
                  <c:v>0.8764951266731088</c:v>
                </c:pt>
                <c:pt idx="9">
                  <c:v>0.9005939100075883</c:v>
                </c:pt>
                <c:pt idx="10">
                  <c:v>0.9230606763946377</c:v>
                </c:pt>
                <c:pt idx="11">
                  <c:v>0.9374696489500672</c:v>
                </c:pt>
                <c:pt idx="12">
                  <c:v>0.9495406383085006</c:v>
                </c:pt>
                <c:pt idx="13">
                  <c:v>0.959204743859995</c:v>
                </c:pt>
                <c:pt idx="14">
                  <c:v>0.9677523945280725</c:v>
                </c:pt>
                <c:pt idx="15">
                  <c:v>0.9758782939625973</c:v>
                </c:pt>
                <c:pt idx="16">
                  <c:v>0.9808212502201176</c:v>
                </c:pt>
                <c:pt idx="17">
                  <c:v>0.9842829758650439</c:v>
                </c:pt>
                <c:pt idx="18">
                  <c:v>0.9876226679296679</c:v>
                </c:pt>
                <c:pt idx="19">
                  <c:v>0.9904176476722261</c:v>
                </c:pt>
                <c:pt idx="20">
                  <c:v>0.9930581310471052</c:v>
                </c:pt>
                <c:pt idx="21">
                  <c:v>0.9956852318035146</c:v>
                </c:pt>
                <c:pt idx="22">
                  <c:v>0.9978729586703667</c:v>
                </c:pt>
                <c:pt idx="23">
                  <c:v>0.9995483035013568</c:v>
                </c:pt>
                <c:pt idx="24">
                  <c:v>0.9999416994838948</c:v>
                </c:pt>
                <c:pt idx="25">
                  <c:v>0.9999821123416496</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27</c:f>
              <c:strCache>
                <c:ptCount val="26"/>
                <c:pt idx="0">
                  <c:v>Boursin Classique Fromage Frais A Tartiner Afh 1X160Gr 10P</c:v>
                </c:pt>
                <c:pt idx="1">
                  <c:v>Boursin Classique Fromage Frais A Tartiner Afh Boite 1X150Gr 1P</c:v>
                </c:pt>
                <c:pt idx="2">
                  <c:v>Boursin Classique Fromage Frais A Tartiner Afh Boite 1X250Gr 1P</c:v>
                </c:pt>
                <c:pt idx="3">
                  <c:v>Boursin Aperitif Roules Fromage Frais Roule Afh Et Jambon Fume Boite 1X100Gr 20P</c:v>
                </c:pt>
                <c:pt idx="4">
                  <c:v>Boursin Salade &amp; Aperitif Fromage Frais Des Afh 1X120Gr 1P</c:v>
                </c:pt>
                <c:pt idx="5">
                  <c:v>Boursin Aperitif Roules Fromage Frais Roule Ciboulette &amp; Echalote Jambon Fume Boite 1X100Gr 20P</c:v>
                </c:pt>
                <c:pt idx="6">
                  <c:v>Boursin Classique Fromage Frais A Tartiner Afh Boite 1X96Gr 6P</c:v>
                </c:pt>
                <c:pt idx="7">
                  <c:v>Boursin Onctueux Fromage Frais A Tartiner Afh 1X125Gr 1P</c:v>
                </c:pt>
                <c:pt idx="8">
                  <c:v>Boursin Classique Fromage Frais A Tartiner Ciboulette &amp; Echalote Boite 1X150Gr 1P</c:v>
                </c:pt>
                <c:pt idx="9">
                  <c:v>Boursin Salade &amp; Aperitif Fromage Frais Des Figue Noix 1X120Gr 1P</c:v>
                </c:pt>
                <c:pt idx="10">
                  <c:v>Boursin Salade &amp; Aperitif Fromage Frais Des Ciboulette Echalote 1X120Gr 1P</c:v>
                </c:pt>
                <c:pt idx="11">
                  <c:v>Boursin Cuisine Sauce Fromage Afh 1X240Gr 1P</c:v>
                </c:pt>
                <c:pt idx="12">
                  <c:v>Boursin Salade &amp; Aperitif Fromage Frais Des Citron Romarin 1X120Gr 1P</c:v>
                </c:pt>
                <c:pt idx="13">
                  <c:v>Boursin Classique Fromage Frais A Tartiner Figue Et 3 Noix Boite 1X150Gr 1P</c:v>
                </c:pt>
                <c:pt idx="14">
                  <c:v>Boursin Salade &amp; Aperitif Soft Cheese Salade 120G</c:v>
                </c:pt>
                <c:pt idx="15">
                  <c:v>Boursin Salade &amp; Aperitif Fromage Frais Des Noisette Et 3 Noix 1X120Gr 1P</c:v>
                </c:pt>
                <c:pt idx="16">
                  <c:v>Boursin Classique Fromage Frais A Tartiner 3 Noix Boite 1X150Gr 1P</c:v>
                </c:pt>
                <c:pt idx="17">
                  <c:v>Boursin Vegetal Specialite Vegetale A Tartiner Afh 1X130Gr 1P</c:v>
                </c:pt>
                <c:pt idx="18">
                  <c:v>Boursin Aperitif Roules Fromage Frais Roule Jambon Fume &amp; Trio De Noix Boite 1X100Gr 20P</c:v>
                </c:pt>
                <c:pt idx="19">
                  <c:v>Boursin Aperitif Roules Aperitif 100G</c:v>
                </c:pt>
                <c:pt idx="20">
                  <c:v>Boursin Classique Fromage Frais A Tartiner 3 Noix 1X160Gr 10P</c:v>
                </c:pt>
                <c:pt idx="21">
                  <c:v>Boursin Classique Fromage Frais A Tartiner Afh Boite 1X320Gr 16+4P</c:v>
                </c:pt>
                <c:pt idx="22">
                  <c:v>Boursin Vegetal Alternative Vegetale 150G</c:v>
                </c:pt>
                <c:pt idx="23">
                  <c:v>Boursin Classique Fromage Frais A Tartiner Truffe Boite 1X150Gr 1P</c:v>
                </c:pt>
                <c:pt idx="24">
                  <c:v>Boursin Onctueux Fromage Frais A Tartiner Afh 1X210Gr 1P</c:v>
                </c:pt>
                <c:pt idx="25">
                  <c:v>Boursin Classique Fromage Frais A Tartiner Ciboulette &amp; Echalote 1X160Gr 10P</c:v>
                </c:pt>
              </c:strCache>
            </c:strRef>
          </c:cat>
          <c:val>
            <c:numRef>
              <c:f>Sheet1!$D$2:$D$27</c:f>
              <c:numCache>
                <c:formatCode>General</c:formatCode>
                <c:ptCount val="26"/>
                <c:pt idx="0">
                  <c:v>12114.479591836734</c:v>
                </c:pt>
                <c:pt idx="1">
                  <c:v>11147.282828282829</c:v>
                </c:pt>
                <c:pt idx="2">
                  <c:v>10084.61052631579</c:v>
                </c:pt>
                <c:pt idx="3">
                  <c:v>9753.297872340425</c:v>
                </c:pt>
                <c:pt idx="4">
                  <c:v>7616.333333333333</c:v>
                </c:pt>
                <c:pt idx="5">
                  <c:v>6344.662790697675</c:v>
                </c:pt>
                <c:pt idx="6">
                  <c:v>5526.197802197802</c:v>
                </c:pt>
                <c:pt idx="7">
                  <c:v>3883.3764705882354</c:v>
                </c:pt>
                <c:pt idx="8">
                  <c:v>3558.674157303371</c:v>
                </c:pt>
                <c:pt idx="9">
                  <c:v>1998.6373626373627</c:v>
                </c:pt>
                <c:pt idx="10">
                  <c:v>1784.8315789473684</c:v>
                </c:pt>
                <c:pt idx="11">
                  <c:v>1510.361111111111</c:v>
                </c:pt>
                <c:pt idx="12">
                  <c:v>1265.2916666666667</c:v>
                </c:pt>
                <c:pt idx="13">
                  <c:v>1122.0923076923077</c:v>
                </c:pt>
                <c:pt idx="14">
                  <c:v>908.5915492957746</c:v>
                </c:pt>
                <c:pt idx="15">
                  <c:v>776.2911392405064</c:v>
                </c:pt>
                <c:pt idx="16">
                  <c:v>611.5573770491803</c:v>
                </c:pt>
                <c:pt idx="17">
                  <c:v>1088.5833333333333</c:v>
                </c:pt>
                <c:pt idx="18">
                  <c:v>504.1</c:v>
                </c:pt>
                <c:pt idx="19">
                  <c:v>727.3793103448277</c:v>
                </c:pt>
                <c:pt idx="20">
                  <c:v>486.0487804878049</c:v>
                </c:pt>
                <c:pt idx="21">
                  <c:v>535.8648648648649</c:v>
                </c:pt>
                <c:pt idx="22">
                  <c:v>660.44</c:v>
                </c:pt>
                <c:pt idx="23">
                  <c:v>247.92156862745097</c:v>
                </c:pt>
                <c:pt idx="24">
                  <c:v>989.6666666666666</c:v>
                </c:pt>
                <c:pt idx="25">
                  <c:v>101.66666666666667</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7</c:f>
              <c:strCache>
                <c:ptCount val="6"/>
                <c:pt idx="0">
                  <c:v>Kiri Creme Fromage Blanc Frais Carre 1X144Gr 8P</c:v>
                </c:pt>
                <c:pt idx="1">
                  <c:v>Kiri Gouter Fromage Blanc Dips Boite 1X175Gr 5P</c:v>
                </c:pt>
                <c:pt idx="2">
                  <c:v>Kiri Delicieusement Fouette Fromage Frais A Tartiner 1X125Gr 1P</c:v>
                </c:pt>
                <c:pt idx="3">
                  <c:v>Kiri Delicieusement Fouette Fromage Frais A Tartiner 1X160Gr 10P</c:v>
                </c:pt>
                <c:pt idx="4">
                  <c:v>Kiri Creme Fromage Blanc Frais Carre 1X216Gr 12P</c:v>
                </c:pt>
                <c:pt idx="5">
                  <c:v>Kiri Gouter Fromage Blanc Dips Boite 1X280Gr 8P</c:v>
                </c:pt>
              </c:strCache>
            </c:strRef>
          </c:cat>
          <c:val>
            <c:numRef>
              <c:f>Sheet1!$B$2:$B$7</c:f>
              <c:numCache>
                <c:formatCode>General</c:formatCode>
                <c:ptCount val="6"/>
                <c:pt idx="0">
                  <c:v>0.96</c:v>
                </c:pt>
                <c:pt idx="1">
                  <c:v>0.71</c:v>
                </c:pt>
                <c:pt idx="2">
                  <c:v>0.56</c:v>
                </c:pt>
                <c:pt idx="3">
                  <c:v>0.27</c:v>
                </c:pt>
                <c:pt idx="4">
                  <c:v>0.06</c:v>
                </c:pt>
                <c:pt idx="5">
                  <c:v>0.02</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7ECAC4"/>
              </a:solidFill>
            </c:spPr>
            <c:extLst>
              <c:ext xmlns:c16="http://schemas.microsoft.com/office/drawing/2014/chart" uri="{C3380CC4-5D6E-409C-BE32-E72D297353CC}">
                <c16:uniqueId val="{00000008-D8F4-40C6-A5E0-DB4B53CFB1F3}"/>
              </c:ext>
            </c:extLst>
          </c:dPt>
          <c:dPt>
            <c:idx val="2"/>
            <c:invertIfNegative val="0"/>
            <c:bubble3D val="0"/>
            <c:spPr>
              <a:solidFill>
                <a:srgbClr val="AEABAB"/>
              </a:solidFill>
            </c:spPr>
            <c:extLst>
              <c:ext xmlns:c16="http://schemas.microsoft.com/office/drawing/2014/chart" uri="{C3380CC4-5D6E-409C-BE32-E72D297353CC}">
                <c16:uniqueId val="{00000006-E902-46E2-9A54-39A26B3DFDC1}"/>
              </c:ext>
            </c:extLst>
          </c:dPt>
          <c:dPt>
            <c:idx val="3"/>
            <c:invertIfNegative val="0"/>
            <c:bubble3D val="0"/>
            <c:spPr>
              <a:solidFill>
                <a:srgbClr val="AEABAB"/>
              </a:solidFill>
            </c:spPr>
            <c:extLst>
              <c:ext xmlns:c16="http://schemas.microsoft.com/office/drawing/2014/chart" uri="{C3380CC4-5D6E-409C-BE32-E72D297353CC}">
                <c16:uniqueId val="{00000007-E902-46E2-9A54-39A26B3DFDC1}"/>
              </c:ext>
            </c:extLst>
          </c:dPt>
          <c:dPt>
            <c:idx val="4"/>
            <c:invertIfNegative val="1"/>
            <c:bubble3D val="0"/>
            <c:spPr>
              <a:solidFill>
                <a:srgbClr val="AEABAB"/>
              </a:solidFill>
            </c:spPr>
            <c:extLst>
              <c:ext xmlns:c16="http://schemas.microsoft.com/office/drawing/2014/chart" uri="{C3380CC4-5D6E-409C-BE32-E72D297353CC}">
                <c16:uniqueId val="{0000000B-FA3E-4872-B6E1-C4ABDF5766E2}"/>
              </c:ext>
            </c:extLst>
          </c:dPt>
          <c:dPt>
            <c:idx val="5"/>
            <c:invertIfNegative val="1"/>
            <c:bubble3D val="0"/>
            <c:spPr>
              <a:solidFill>
                <a:srgbClr val="AEABAB"/>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7</c:f>
              <c:strCache>
                <c:ptCount val="6"/>
                <c:pt idx="0">
                  <c:v>Kiri Creme Fromage Blanc Frais Carre 1X144Gr 8P</c:v>
                </c:pt>
                <c:pt idx="1">
                  <c:v>Kiri Gouter Fromage Blanc Dips Boite 1X175Gr 5P</c:v>
                </c:pt>
                <c:pt idx="2">
                  <c:v>Kiri Delicieusement Fouette Fromage Frais A Tartiner 1X125Gr 1P</c:v>
                </c:pt>
                <c:pt idx="3">
                  <c:v>Kiri Delicieusement Fouette Fromage Frais A Tartiner 1X160Gr 10P</c:v>
                </c:pt>
                <c:pt idx="4">
                  <c:v>Kiri Creme Fromage Blanc Frais Carre 1X216Gr 12P</c:v>
                </c:pt>
                <c:pt idx="5">
                  <c:v>Kiri Gouter Fromage Blanc Dips Boite 1X280Gr 8P</c:v>
                </c:pt>
              </c:strCache>
            </c:strRef>
          </c:cat>
          <c:val>
            <c:numRef>
              <c:f>Sheet1!$C$2:$C$7</c:f>
              <c:numCache>
                <c:formatCode>General</c:formatCode>
                <c:ptCount val="6"/>
                <c:pt idx="0">
                  <c:v>0.6322576897616268</c:v>
                </c:pt>
                <c:pt idx="1">
                  <c:v>0.8594483238971042</c:v>
                </c:pt>
                <c:pt idx="2">
                  <c:v>0.954437079923625</c:v>
                </c:pt>
                <c:pt idx="3">
                  <c:v>0.9848227103369873</c:v>
                </c:pt>
                <c:pt idx="4">
                  <c:v>0.9957494808980939</c:v>
                </c:pt>
                <c:pt idx="5">
                  <c:v>0.9995971389099838</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7</c:f>
              <c:strCache>
                <c:ptCount val="6"/>
                <c:pt idx="0">
                  <c:v>Kiri Creme Fromage Blanc Frais Carre 1X144Gr 8P</c:v>
                </c:pt>
                <c:pt idx="1">
                  <c:v>Kiri Gouter Fromage Blanc Dips Boite 1X175Gr 5P</c:v>
                </c:pt>
                <c:pt idx="2">
                  <c:v>Kiri Delicieusement Fouette Fromage Frais A Tartiner 1X125Gr 1P</c:v>
                </c:pt>
                <c:pt idx="3">
                  <c:v>Kiri Delicieusement Fouette Fromage Frais A Tartiner 1X160Gr 10P</c:v>
                </c:pt>
                <c:pt idx="4">
                  <c:v>Kiri Creme Fromage Blanc Frais Carre 1X216Gr 12P</c:v>
                </c:pt>
                <c:pt idx="5">
                  <c:v>Kiri Gouter Fromage Blanc Dips Boite 1X280Gr 8P</c:v>
                </c:pt>
              </c:strCache>
            </c:strRef>
          </c:cat>
          <c:val>
            <c:numRef>
              <c:f>Sheet1!$D$2:$D$7</c:f>
              <c:numCache>
                <c:formatCode>General</c:formatCode>
                <c:ptCount val="6"/>
                <c:pt idx="0">
                  <c:v>24603.90625</c:v>
                </c:pt>
                <c:pt idx="1">
                  <c:v>11954.0</c:v>
                </c:pt>
                <c:pt idx="2">
                  <c:v>6336.732142857142</c:v>
                </c:pt>
                <c:pt idx="3">
                  <c:v>4204.222222222223</c:v>
                </c:pt>
                <c:pt idx="4">
                  <c:v>6803.333333333333</c:v>
                </c:pt>
                <c:pt idx="5">
                  <c:v>7187.0</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9</c:f>
              <c:strCache>
                <c:ptCount val="8"/>
                <c:pt idx="0">
                  <c:v>La Vache Qui Rit Nature Fromage Fondu Boite Ronde 1X192Gr 12P</c:v>
                </c:pt>
                <c:pt idx="1">
                  <c:v>La Vache Qui Rit Nature Fromage Fondu Boite Ronde 1X384Gr 24P</c:v>
                </c:pt>
                <c:pt idx="2">
                  <c:v>La Vache Qui Rit Pik Et Croq' Fromage Fondu Dips Boite 1X175Gr 5P</c:v>
                </c:pt>
                <c:pt idx="3">
                  <c:v>La Vache Qui Rit Nature Fromage Fondu Boite Ronde 1X128Gr 8P</c:v>
                </c:pt>
                <c:pt idx="4">
                  <c:v>Toastinette Cheddar Fondu Tranche A Chaud Sachet 1X200Gr 10P</c:v>
                </c:pt>
                <c:pt idx="5">
                  <c:v>La Vache Qui Rit Bio Fromage Fondu Boite Ronde 1X128Gr 8P</c:v>
                </c:pt>
                <c:pt idx="6">
                  <c:v>La Vache Qui Rit Pik Et Croq' Fromage Fondu Dips Boite 1X35Gr 1P</c:v>
                </c:pt>
                <c:pt idx="7">
                  <c:v>Toastinette Fromage Fondu Tranche A Chaud Sachet 1X200Gr 10P</c:v>
                </c:pt>
              </c:strCache>
            </c:strRef>
          </c:cat>
          <c:val>
            <c:numRef>
              <c:f>Sheet1!$B$2:$B$9</c:f>
              <c:numCache>
                <c:formatCode>General</c:formatCode>
                <c:ptCount val="8"/>
                <c:pt idx="0">
                  <c:v>0.91</c:v>
                </c:pt>
                <c:pt idx="1">
                  <c:v>0.47</c:v>
                </c:pt>
                <c:pt idx="2">
                  <c:v>0.51</c:v>
                </c:pt>
                <c:pt idx="3">
                  <c:v>0.09</c:v>
                </c:pt>
                <c:pt idx="4">
                  <c:v>0.18</c:v>
                </c:pt>
                <c:pt idx="5">
                  <c:v>0.08</c:v>
                </c:pt>
                <c:pt idx="6">
                  <c:v>0.05</c:v>
                </c:pt>
                <c:pt idx="7">
                  <c:v>0.05</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7ECAC4"/>
              </a:solidFill>
            </c:spPr>
            <c:extLst>
              <c:ext xmlns:c16="http://schemas.microsoft.com/office/drawing/2014/chart" uri="{C3380CC4-5D6E-409C-BE32-E72D297353CC}">
                <c16:uniqueId val="{00000008-D8F4-40C6-A5E0-DB4B53CFB1F3}"/>
              </c:ext>
            </c:extLst>
          </c:dPt>
          <c:dPt>
            <c:idx val="2"/>
            <c:invertIfNegative val="0"/>
            <c:bubble3D val="0"/>
            <c:spPr>
              <a:solidFill>
                <a:srgbClr val="7ECAC4"/>
              </a:solidFill>
            </c:spPr>
            <c:extLst>
              <c:ext xmlns:c16="http://schemas.microsoft.com/office/drawing/2014/chart" uri="{C3380CC4-5D6E-409C-BE32-E72D297353CC}">
                <c16:uniqueId val="{00000006-E902-46E2-9A54-39A26B3DFDC1}"/>
              </c:ext>
            </c:extLst>
          </c:dPt>
          <c:dPt>
            <c:idx val="3"/>
            <c:invertIfNegative val="0"/>
            <c:bubble3D val="0"/>
            <c:spPr>
              <a:solidFill>
                <a:srgbClr val="AEABAB"/>
              </a:solidFill>
            </c:spPr>
            <c:extLst>
              <c:ext xmlns:c16="http://schemas.microsoft.com/office/drawing/2014/chart" uri="{C3380CC4-5D6E-409C-BE32-E72D297353CC}">
                <c16:uniqueId val="{00000007-E902-46E2-9A54-39A26B3DFDC1}"/>
              </c:ext>
            </c:extLst>
          </c:dPt>
          <c:dPt>
            <c:idx val="4"/>
            <c:invertIfNegative val="1"/>
            <c:bubble3D val="0"/>
            <c:spPr>
              <a:solidFill>
                <a:srgbClr val="AEABAB"/>
              </a:solidFill>
            </c:spPr>
            <c:extLst>
              <c:ext xmlns:c16="http://schemas.microsoft.com/office/drawing/2014/chart" uri="{C3380CC4-5D6E-409C-BE32-E72D297353CC}">
                <c16:uniqueId val="{0000000B-FA3E-4872-B6E1-C4ABDF5766E2}"/>
              </c:ext>
            </c:extLst>
          </c:dPt>
          <c:dPt>
            <c:idx val="5"/>
            <c:invertIfNegative val="1"/>
            <c:bubble3D val="0"/>
            <c:spPr>
              <a:solidFill>
                <a:srgbClr val="AEABAB"/>
              </a:solidFill>
            </c:spPr>
            <c:extLst>
              <c:ext xmlns:c16="http://schemas.microsoft.com/office/drawing/2014/chart" uri="{C3380CC4-5D6E-409C-BE32-E72D297353CC}">
                <c16:uniqueId val="{0000000D-FA3E-4872-B6E1-C4ABDF5766E2}"/>
              </c:ext>
            </c:extLst>
          </c:dPt>
          <c:dPt>
            <c:idx val="6"/>
            <c:invertIfNegative val="1"/>
            <c:bubble3D val="0"/>
            <c:spPr>
              <a:solidFill>
                <a:srgbClr val="AEABAB"/>
              </a:solidFill>
            </c:spPr>
            <c:extLst>
              <c:ext xmlns:c16="http://schemas.microsoft.com/office/drawing/2014/chart" uri="{C3380CC4-5D6E-409C-BE32-E72D297353CC}">
                <c16:uniqueId val="{0000000F-FA3E-4872-B6E1-C4ABDF5766E2}"/>
              </c:ext>
            </c:extLst>
          </c:dPt>
          <c:dPt>
            <c:idx val="7"/>
            <c:invertIfNegative val="1"/>
            <c:bubble3D val="0"/>
            <c:spPr>
              <a:solidFill>
                <a:srgbClr val="AEABAB"/>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9</c:f>
              <c:strCache>
                <c:ptCount val="8"/>
                <c:pt idx="0">
                  <c:v>La Vache Qui Rit Nature Fromage Fondu Boite Ronde 1X192Gr 12P</c:v>
                </c:pt>
                <c:pt idx="1">
                  <c:v>La Vache Qui Rit Nature Fromage Fondu Boite Ronde 1X384Gr 24P</c:v>
                </c:pt>
                <c:pt idx="2">
                  <c:v>La Vache Qui Rit Pik Et Croq' Fromage Fondu Dips Boite 1X175Gr 5P</c:v>
                </c:pt>
                <c:pt idx="3">
                  <c:v>La Vache Qui Rit Nature Fromage Fondu Boite Ronde 1X128Gr 8P</c:v>
                </c:pt>
                <c:pt idx="4">
                  <c:v>Toastinette Cheddar Fondu Tranche A Chaud Sachet 1X200Gr 10P</c:v>
                </c:pt>
                <c:pt idx="5">
                  <c:v>La Vache Qui Rit Bio Fromage Fondu Boite Ronde 1X128Gr 8P</c:v>
                </c:pt>
                <c:pt idx="6">
                  <c:v>La Vache Qui Rit Pik Et Croq' Fromage Fondu Dips Boite 1X35Gr 1P</c:v>
                </c:pt>
                <c:pt idx="7">
                  <c:v>Toastinette Fromage Fondu Tranche A Chaud Sachet 1X200Gr 10P</c:v>
                </c:pt>
              </c:strCache>
            </c:strRef>
          </c:cat>
          <c:val>
            <c:numRef>
              <c:f>Sheet1!$C$2:$C$9</c:f>
              <c:numCache>
                <c:formatCode>General</c:formatCode>
                <c:ptCount val="8"/>
                <c:pt idx="0">
                  <c:v>0.5786304236236121</c:v>
                </c:pt>
                <c:pt idx="1">
                  <c:v>0.8544496721004543</c:v>
                </c:pt>
                <c:pt idx="2">
                  <c:v>0.9467859089303681</c:v>
                </c:pt>
                <c:pt idx="3">
                  <c:v>0.9733977498422737</c:v>
                </c:pt>
                <c:pt idx="4">
                  <c:v>0.9825394065324711</c:v>
                </c:pt>
                <c:pt idx="5">
                  <c:v>0.9884748324015706</c:v>
                </c:pt>
                <c:pt idx="6">
                  <c:v>0.993376750260514</c:v>
                </c:pt>
                <c:pt idx="7">
                  <c:v>0.9977171920106515</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9</c:f>
              <c:strCache>
                <c:ptCount val="8"/>
                <c:pt idx="0">
                  <c:v>La Vache Qui Rit Nature Fromage Fondu Boite Ronde 1X192Gr 12P</c:v>
                </c:pt>
                <c:pt idx="1">
                  <c:v>La Vache Qui Rit Nature Fromage Fondu Boite Ronde 1X384Gr 24P</c:v>
                </c:pt>
                <c:pt idx="2">
                  <c:v>La Vache Qui Rit Pik Et Croq' Fromage Fondu Dips Boite 1X175Gr 5P</c:v>
                </c:pt>
                <c:pt idx="3">
                  <c:v>La Vache Qui Rit Nature Fromage Fondu Boite Ronde 1X128Gr 8P</c:v>
                </c:pt>
                <c:pt idx="4">
                  <c:v>Toastinette Cheddar Fondu Tranche A Chaud Sachet 1X200Gr 10P</c:v>
                </c:pt>
                <c:pt idx="5">
                  <c:v>La Vache Qui Rit Bio Fromage Fondu Boite Ronde 1X128Gr 8P</c:v>
                </c:pt>
                <c:pt idx="6">
                  <c:v>La Vache Qui Rit Pik Et Croq' Fromage Fondu Dips Boite 1X35Gr 1P</c:v>
                </c:pt>
                <c:pt idx="7">
                  <c:v>Toastinette Fromage Fondu Tranche A Chaud Sachet 1X200Gr 10P</c:v>
                </c:pt>
              </c:strCache>
            </c:strRef>
          </c:cat>
          <c:val>
            <c:numRef>
              <c:f>Sheet1!$D$2:$D$9</c:f>
              <c:numCache>
                <c:formatCode>General</c:formatCode>
                <c:ptCount val="8"/>
                <c:pt idx="0">
                  <c:v>30497.54945054945</c:v>
                </c:pt>
                <c:pt idx="1">
                  <c:v>28146.978723404256</c:v>
                </c:pt>
                <c:pt idx="2">
                  <c:v>8683.745098039215</c:v>
                </c:pt>
                <c:pt idx="3">
                  <c:v>14182.0</c:v>
                </c:pt>
                <c:pt idx="4">
                  <c:v>2435.8888888888887</c:v>
                </c:pt>
                <c:pt idx="5">
                  <c:v>3558.5</c:v>
                </c:pt>
                <c:pt idx="6">
                  <c:v>4702.2</c:v>
                </c:pt>
                <c:pt idx="7">
                  <c:v>4163.6</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11</c:f>
              <c:strCache>
                <c:ptCount val="10"/>
                <c:pt idx="0">
                  <c:v>Boursin Classique Fromage Frais A Tartiner Afh Boite 1X150Gr 1P</c:v>
                </c:pt>
                <c:pt idx="1">
                  <c:v>Boursin Aperitif Roules Fromage Frais Roule Afh Et Jambon Fume Boite 1X100Gr 20P</c:v>
                </c:pt>
                <c:pt idx="2">
                  <c:v>Boursin Classique Fromage Frais A Tartiner Afh 1X160Gr 10P</c:v>
                </c:pt>
                <c:pt idx="3">
                  <c:v>Boursin Salade &amp; Aperitif Fromage Frais Des Afh 1X120Gr 1P</c:v>
                </c:pt>
                <c:pt idx="4">
                  <c:v>Boursin Cuisine Sauce Fromage Afh 1X240Gr 1P</c:v>
                </c:pt>
                <c:pt idx="5">
                  <c:v>Boursin Aperitif Roules Fromage Frais Roule Ciboulette &amp; Echalote Jambon Fume Boite 1X100Gr 20P</c:v>
                </c:pt>
                <c:pt idx="6">
                  <c:v>Boursin Classique Fromage Frais A Tartiner Ciboulette &amp; Echalote Boite 1X150Gr 1P</c:v>
                </c:pt>
                <c:pt idx="7">
                  <c:v>Boursin Classique Fromage Frais A Tartiner Afh Boite 1X96Gr 6P</c:v>
                </c:pt>
                <c:pt idx="8">
                  <c:v>Boursin Classique Fromage Frais A Tartiner Afh Boite 1X80Gr 1P</c:v>
                </c:pt>
                <c:pt idx="9">
                  <c:v>Boursin Classique Fromage Frais A Tartiner Truffe Boite 1X150Gr 1P</c:v>
                </c:pt>
              </c:strCache>
            </c:strRef>
          </c:cat>
          <c:val>
            <c:numRef>
              <c:f>Sheet1!$B$2:$B$11</c:f>
              <c:numCache>
                <c:formatCode>General</c:formatCode>
                <c:ptCount val="10"/>
                <c:pt idx="0">
                  <c:v>0.83</c:v>
                </c:pt>
                <c:pt idx="1">
                  <c:v>0.56</c:v>
                </c:pt>
                <c:pt idx="2">
                  <c:v>0.53</c:v>
                </c:pt>
                <c:pt idx="3">
                  <c:v>0.79</c:v>
                </c:pt>
                <c:pt idx="4">
                  <c:v>0.32</c:v>
                </c:pt>
                <c:pt idx="5">
                  <c:v>0.17</c:v>
                </c:pt>
                <c:pt idx="6">
                  <c:v>0.08</c:v>
                </c:pt>
                <c:pt idx="7">
                  <c:v>0.12</c:v>
                </c:pt>
                <c:pt idx="8">
                  <c:v>0.11</c:v>
                </c:pt>
                <c:pt idx="9">
                  <c:v>0.1</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7ECAC4"/>
              </a:solidFill>
            </c:spPr>
            <c:extLst>
              <c:ext xmlns:c16="http://schemas.microsoft.com/office/drawing/2014/chart" uri="{C3380CC4-5D6E-409C-BE32-E72D297353CC}">
                <c16:uniqueId val="{00000007-E902-46E2-9A54-39A26B3DFDC1}"/>
              </c:ext>
            </c:extLst>
          </c:dPt>
          <c:dPt>
            <c:idx val="4"/>
            <c:invertIfNegative val="1"/>
            <c:bubble3D val="0"/>
            <c:spPr>
              <a:solidFill>
                <a:srgbClr val="7ECAC4"/>
              </a:solidFill>
            </c:spPr>
            <c:extLst>
              <c:ext xmlns:c16="http://schemas.microsoft.com/office/drawing/2014/chart" uri="{C3380CC4-5D6E-409C-BE32-E72D297353CC}">
                <c16:uniqueId val="{0000000B-FA3E-4872-B6E1-C4ABDF5766E2}"/>
              </c:ext>
            </c:extLst>
          </c:dPt>
          <c:dPt>
            <c:idx val="5"/>
            <c:invertIfNegative val="1"/>
            <c:bubble3D val="0"/>
            <c:spPr>
              <a:solidFill>
                <a:srgbClr val="AEABAB"/>
              </a:solidFill>
            </c:spPr>
            <c:extLst>
              <c:ext xmlns:c16="http://schemas.microsoft.com/office/drawing/2014/chart" uri="{C3380CC4-5D6E-409C-BE32-E72D297353CC}">
                <c16:uniqueId val="{0000000D-FA3E-4872-B6E1-C4ABDF5766E2}"/>
              </c:ext>
            </c:extLst>
          </c:dPt>
          <c:dPt>
            <c:idx val="6"/>
            <c:invertIfNegative val="1"/>
            <c:bubble3D val="0"/>
            <c:spPr>
              <a:solidFill>
                <a:srgbClr val="AEABAB"/>
              </a:solidFill>
            </c:spPr>
            <c:extLst>
              <c:ext xmlns:c16="http://schemas.microsoft.com/office/drawing/2014/chart" uri="{C3380CC4-5D6E-409C-BE32-E72D297353CC}">
                <c16:uniqueId val="{0000000F-FA3E-4872-B6E1-C4ABDF5766E2}"/>
              </c:ext>
            </c:extLst>
          </c:dPt>
          <c:dPt>
            <c:idx val="7"/>
            <c:invertIfNegative val="1"/>
            <c:bubble3D val="0"/>
            <c:spPr>
              <a:solidFill>
                <a:srgbClr val="AEABAB"/>
              </a:solidFill>
            </c:spPr>
            <c:extLst>
              <c:ext xmlns:c16="http://schemas.microsoft.com/office/drawing/2014/chart" uri="{C3380CC4-5D6E-409C-BE32-E72D297353CC}">
                <c16:uniqueId val="{00000011-FA3E-4872-B6E1-C4ABDF5766E2}"/>
              </c:ext>
            </c:extLst>
          </c:dPt>
          <c:dPt>
            <c:idx val="8"/>
            <c:invertIfNegative val="1"/>
            <c:bubble3D val="0"/>
            <c:spPr>
              <a:solidFill>
                <a:srgbClr val="AEABAB"/>
              </a:solidFill>
            </c:spPr>
            <c:extLst>
              <c:ext xmlns:c16="http://schemas.microsoft.com/office/drawing/2014/chart" uri="{C3380CC4-5D6E-409C-BE32-E72D297353CC}">
                <c16:uniqueId val="{00000013-FA3E-4872-B6E1-C4ABDF5766E2}"/>
              </c:ext>
            </c:extLst>
          </c:dPt>
          <c:dPt>
            <c:idx val="9"/>
            <c:invertIfNegative val="1"/>
            <c:bubble3D val="0"/>
            <c:spPr>
              <a:solidFill>
                <a:srgbClr val="AEABAB"/>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11</c:f>
              <c:strCache>
                <c:ptCount val="10"/>
                <c:pt idx="0">
                  <c:v>Boursin Classique Fromage Frais A Tartiner Afh Boite 1X150Gr 1P</c:v>
                </c:pt>
                <c:pt idx="1">
                  <c:v>Boursin Aperitif Roules Fromage Frais Roule Afh Et Jambon Fume Boite 1X100Gr 20P</c:v>
                </c:pt>
                <c:pt idx="2">
                  <c:v>Boursin Classique Fromage Frais A Tartiner Afh 1X160Gr 10P</c:v>
                </c:pt>
                <c:pt idx="3">
                  <c:v>Boursin Salade &amp; Aperitif Fromage Frais Des Afh 1X120Gr 1P</c:v>
                </c:pt>
                <c:pt idx="4">
                  <c:v>Boursin Cuisine Sauce Fromage Afh 1X240Gr 1P</c:v>
                </c:pt>
                <c:pt idx="5">
                  <c:v>Boursin Aperitif Roules Fromage Frais Roule Ciboulette &amp; Echalote Jambon Fume Boite 1X100Gr 20P</c:v>
                </c:pt>
                <c:pt idx="6">
                  <c:v>Boursin Classique Fromage Frais A Tartiner Ciboulette &amp; Echalote Boite 1X150Gr 1P</c:v>
                </c:pt>
                <c:pt idx="7">
                  <c:v>Boursin Classique Fromage Frais A Tartiner Afh Boite 1X96Gr 6P</c:v>
                </c:pt>
                <c:pt idx="8">
                  <c:v>Boursin Classique Fromage Frais A Tartiner Afh Boite 1X80Gr 1P</c:v>
                </c:pt>
                <c:pt idx="9">
                  <c:v>Boursin Classique Fromage Frais A Tartiner Truffe Boite 1X150Gr 1P</c:v>
                </c:pt>
              </c:strCache>
            </c:strRef>
          </c:cat>
          <c:val>
            <c:numRef>
              <c:f>Sheet1!$C$2:$C$11</c:f>
              <c:numCache>
                <c:formatCode>General</c:formatCode>
                <c:ptCount val="10"/>
                <c:pt idx="0">
                  <c:v>0.3524306827491125</c:v>
                </c:pt>
                <c:pt idx="1">
                  <c:v>0.5844100624071717</c:v>
                </c:pt>
                <c:pt idx="2">
                  <c:v>0.770669828097214</c:v>
                </c:pt>
                <c:pt idx="3">
                  <c:v>0.9266691087829602</c:v>
                </c:pt>
                <c:pt idx="4">
                  <c:v>0.9479053968549982</c:v>
                </c:pt>
                <c:pt idx="5">
                  <c:v>0.9684015904837388</c:v>
                </c:pt>
                <c:pt idx="6">
                  <c:v>0.9811854032489026</c:v>
                </c:pt>
                <c:pt idx="7">
                  <c:v>0.992805791811806</c:v>
                </c:pt>
                <c:pt idx="8">
                  <c:v>0.9984172422290748</c:v>
                </c:pt>
                <c:pt idx="9">
                  <c:v>0.9996342153813363</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11</c:f>
              <c:strCache>
                <c:ptCount val="10"/>
                <c:pt idx="0">
                  <c:v>Boursin Classique Fromage Frais A Tartiner Afh Boite 1X150Gr 1P</c:v>
                </c:pt>
                <c:pt idx="1">
                  <c:v>Boursin Aperitif Roules Fromage Frais Roule Afh Et Jambon Fume Boite 1X100Gr 20P</c:v>
                </c:pt>
                <c:pt idx="2">
                  <c:v>Boursin Classique Fromage Frais A Tartiner Afh 1X160Gr 10P</c:v>
                </c:pt>
                <c:pt idx="3">
                  <c:v>Boursin Salade &amp; Aperitif Fromage Frais Des Afh 1X120Gr 1P</c:v>
                </c:pt>
                <c:pt idx="4">
                  <c:v>Boursin Cuisine Sauce Fromage Afh 1X240Gr 1P</c:v>
                </c:pt>
                <c:pt idx="5">
                  <c:v>Boursin Aperitif Roules Fromage Frais Roule Ciboulette &amp; Echalote Jambon Fume Boite 1X100Gr 20P</c:v>
                </c:pt>
                <c:pt idx="6">
                  <c:v>Boursin Classique Fromage Frais A Tartiner Ciboulette &amp; Echalote Boite 1X150Gr 1P</c:v>
                </c:pt>
                <c:pt idx="7">
                  <c:v>Boursin Classique Fromage Frais A Tartiner Afh Boite 1X96Gr 6P</c:v>
                </c:pt>
                <c:pt idx="8">
                  <c:v>Boursin Classique Fromage Frais A Tartiner Afh Boite 1X80Gr 1P</c:v>
                </c:pt>
                <c:pt idx="9">
                  <c:v>Boursin Classique Fromage Frais A Tartiner Truffe Boite 1X150Gr 1P</c:v>
                </c:pt>
              </c:strCache>
            </c:strRef>
          </c:cat>
          <c:val>
            <c:numRef>
              <c:f>Sheet1!$D$2:$D$11</c:f>
              <c:numCache>
                <c:formatCode>General</c:formatCode>
                <c:ptCount val="10"/>
                <c:pt idx="0">
                  <c:v>15938.253012048193</c:v>
                </c:pt>
                <c:pt idx="1">
                  <c:v>15549.142857142855</c:v>
                </c:pt>
                <c:pt idx="2">
                  <c:v>13191.32075471698</c:v>
                </c:pt>
                <c:pt idx="3">
                  <c:v>7412.088607594937</c:v>
                </c:pt>
                <c:pt idx="4">
                  <c:v>2491.0</c:v>
                </c:pt>
                <c:pt idx="5">
                  <c:v>4525.529411764706</c:v>
                </c:pt>
                <c:pt idx="6">
                  <c:v>5998.125</c:v>
                </c:pt>
                <c:pt idx="7">
                  <c:v>3634.8333333333335</c:v>
                </c:pt>
                <c:pt idx="8">
                  <c:v>1914.8181818181818</c:v>
                </c:pt>
                <c:pt idx="9">
                  <c:v>456.8</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12</c:f>
              <c:strCache>
                <c:ptCount val="11"/>
                <c:pt idx="0">
                  <c:v>Kiri Creme Fromage Blanc Frais Carre 1X216Gr 12P</c:v>
                </c:pt>
                <c:pt idx="1">
                  <c:v>Kiri Creme Fromage Blanc Frais Carre 1X432Gr 24P</c:v>
                </c:pt>
                <c:pt idx="2">
                  <c:v>Kiri Gouter Fromage Blanc Dips Boite 1X280Gr 8P</c:v>
                </c:pt>
                <c:pt idx="3">
                  <c:v>Kiri Creme Fromage Blanc Frais Carre 1X144Gr 8P</c:v>
                </c:pt>
                <c:pt idx="4">
                  <c:v>Kiri Gouter Fromage Blanc Dips Boite 1X175Gr 5P</c:v>
                </c:pt>
                <c:pt idx="5">
                  <c:v>Kiri Delicieusement Fouette Fromage Frais A Tartiner 1X125Gr 1P</c:v>
                </c:pt>
                <c:pt idx="6">
                  <c:v>Kiri Bio Fromage Blanc Frais Carre 1X144Gr 8P</c:v>
                </c:pt>
                <c:pt idx="7">
                  <c:v>Kiri Chevre Fromage Blanc Frais Carre 1X144Gr 8P</c:v>
                </c:pt>
                <c:pt idx="8">
                  <c:v>Kiri Delicieusement Fouette Fromage Frais A Tartiner 1X160Gr 10P</c:v>
                </c:pt>
                <c:pt idx="9">
                  <c:v>Kiri Creme Fromage Blanc Frais Carre 1X432Gr 18+6P</c:v>
                </c:pt>
                <c:pt idx="10">
                  <c:v>Kiri Delicieusement Fouette Fromage Frais A Tartiner 1X210Gr 1P</c:v>
                </c:pt>
              </c:strCache>
            </c:strRef>
          </c:cat>
          <c:val>
            <c:numRef>
              <c:f>Sheet1!$B$2:$B$12</c:f>
              <c:numCache>
                <c:formatCode>General</c:formatCode>
                <c:ptCount val="11"/>
                <c:pt idx="0">
                  <c:v>0.99</c:v>
                </c:pt>
                <c:pt idx="1">
                  <c:v>0.89</c:v>
                </c:pt>
                <c:pt idx="2">
                  <c:v>0.96</c:v>
                </c:pt>
                <c:pt idx="3">
                  <c:v>0.99</c:v>
                </c:pt>
                <c:pt idx="4">
                  <c:v>0.99</c:v>
                </c:pt>
                <c:pt idx="5">
                  <c:v>0.87</c:v>
                </c:pt>
                <c:pt idx="6">
                  <c:v>0.6</c:v>
                </c:pt>
                <c:pt idx="7">
                  <c:v>0.68</c:v>
                </c:pt>
                <c:pt idx="8">
                  <c:v>0.94</c:v>
                </c:pt>
                <c:pt idx="9">
                  <c:v>0.83</c:v>
                </c:pt>
                <c:pt idx="10">
                  <c:v>0.38</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7ECAC4"/>
              </a:solidFill>
            </c:spPr>
            <c:extLst>
              <c:ext xmlns:c16="http://schemas.microsoft.com/office/drawing/2014/chart" uri="{C3380CC4-5D6E-409C-BE32-E72D297353CC}">
                <c16:uniqueId val="{0000000B-FA3E-4872-B6E1-C4ABDF5766E2}"/>
              </c:ext>
            </c:extLst>
          </c:dPt>
          <c:dPt>
            <c:idx val="5"/>
            <c:invertIfNegative val="1"/>
            <c:bubble3D val="0"/>
            <c:spPr>
              <a:solidFill>
                <a:srgbClr val="7ECAC4"/>
              </a:solidFill>
            </c:spPr>
            <c:extLst>
              <c:ext xmlns:c16="http://schemas.microsoft.com/office/drawing/2014/chart" uri="{C3380CC4-5D6E-409C-BE32-E72D297353CC}">
                <c16:uniqueId val="{0000000D-FA3E-4872-B6E1-C4ABDF5766E2}"/>
              </c:ext>
            </c:extLst>
          </c:dPt>
          <c:dPt>
            <c:idx val="6"/>
            <c:invertIfNegative val="1"/>
            <c:bubble3D val="0"/>
            <c:spPr>
              <a:solidFill>
                <a:srgbClr val="7ECAC4"/>
              </a:solidFill>
            </c:spPr>
            <c:extLst>
              <c:ext xmlns:c16="http://schemas.microsoft.com/office/drawing/2014/chart" uri="{C3380CC4-5D6E-409C-BE32-E72D297353CC}">
                <c16:uniqueId val="{0000000F-FA3E-4872-B6E1-C4ABDF5766E2}"/>
              </c:ext>
            </c:extLst>
          </c:dPt>
          <c:dPt>
            <c:idx val="7"/>
            <c:invertIfNegative val="1"/>
            <c:bubble3D val="0"/>
            <c:spPr>
              <a:solidFill>
                <a:srgbClr val="AEABAB"/>
              </a:solidFill>
            </c:spPr>
            <c:extLst>
              <c:ext xmlns:c16="http://schemas.microsoft.com/office/drawing/2014/chart" uri="{C3380CC4-5D6E-409C-BE32-E72D297353CC}">
                <c16:uniqueId val="{00000011-FA3E-4872-B6E1-C4ABDF5766E2}"/>
              </c:ext>
            </c:extLst>
          </c:dPt>
          <c:dPt>
            <c:idx val="8"/>
            <c:invertIfNegative val="1"/>
            <c:bubble3D val="0"/>
            <c:spPr>
              <a:solidFill>
                <a:srgbClr val="AEABAB"/>
              </a:solidFill>
            </c:spPr>
            <c:extLst>
              <c:ext xmlns:c16="http://schemas.microsoft.com/office/drawing/2014/chart" uri="{C3380CC4-5D6E-409C-BE32-E72D297353CC}">
                <c16:uniqueId val="{00000013-FA3E-4872-B6E1-C4ABDF5766E2}"/>
              </c:ext>
            </c:extLst>
          </c:dPt>
          <c:dPt>
            <c:idx val="9"/>
            <c:invertIfNegative val="1"/>
            <c:bubble3D val="0"/>
            <c:spPr>
              <a:solidFill>
                <a:srgbClr val="AEABAB"/>
              </a:solidFill>
            </c:spPr>
            <c:extLst>
              <c:ext xmlns:c16="http://schemas.microsoft.com/office/drawing/2014/chart" uri="{C3380CC4-5D6E-409C-BE32-E72D297353CC}">
                <c16:uniqueId val="{00000015-FA3E-4872-B6E1-C4ABDF5766E2}"/>
              </c:ext>
            </c:extLst>
          </c:dPt>
          <c:dPt>
            <c:idx val="10"/>
            <c:invertIfNegative val="1"/>
            <c:bubble3D val="0"/>
            <c:spPr>
              <a:solidFill>
                <a:srgbClr val="AEABAB"/>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12</c:f>
              <c:strCache>
                <c:ptCount val="11"/>
                <c:pt idx="0">
                  <c:v>Kiri Creme Fromage Blanc Frais Carre 1X216Gr 12P</c:v>
                </c:pt>
                <c:pt idx="1">
                  <c:v>Kiri Creme Fromage Blanc Frais Carre 1X432Gr 24P</c:v>
                </c:pt>
                <c:pt idx="2">
                  <c:v>Kiri Gouter Fromage Blanc Dips Boite 1X280Gr 8P</c:v>
                </c:pt>
                <c:pt idx="3">
                  <c:v>Kiri Creme Fromage Blanc Frais Carre 1X144Gr 8P</c:v>
                </c:pt>
                <c:pt idx="4">
                  <c:v>Kiri Gouter Fromage Blanc Dips Boite 1X175Gr 5P</c:v>
                </c:pt>
                <c:pt idx="5">
                  <c:v>Kiri Delicieusement Fouette Fromage Frais A Tartiner 1X125Gr 1P</c:v>
                </c:pt>
                <c:pt idx="6">
                  <c:v>Kiri Bio Fromage Blanc Frais Carre 1X144Gr 8P</c:v>
                </c:pt>
                <c:pt idx="7">
                  <c:v>Kiri Chevre Fromage Blanc Frais Carre 1X144Gr 8P</c:v>
                </c:pt>
                <c:pt idx="8">
                  <c:v>Kiri Delicieusement Fouette Fromage Frais A Tartiner 1X160Gr 10P</c:v>
                </c:pt>
                <c:pt idx="9">
                  <c:v>Kiri Creme Fromage Blanc Frais Carre 1X432Gr 18+6P</c:v>
                </c:pt>
                <c:pt idx="10">
                  <c:v>Kiri Delicieusement Fouette Fromage Frais A Tartiner 1X210Gr 1P</c:v>
                </c:pt>
              </c:strCache>
            </c:strRef>
          </c:cat>
          <c:val>
            <c:numRef>
              <c:f>Sheet1!$C$2:$C$12</c:f>
              <c:numCache>
                <c:formatCode>General</c:formatCode>
                <c:ptCount val="11"/>
                <c:pt idx="0">
                  <c:v>0.2579199746917641</c:v>
                </c:pt>
                <c:pt idx="1">
                  <c:v>0.4814800024691721</c:v>
                </c:pt>
                <c:pt idx="2">
                  <c:v>0.6350182942146254</c:v>
                </c:pt>
                <c:pt idx="3">
                  <c:v>0.7784304114199678</c:v>
                </c:pt>
                <c:pt idx="4">
                  <c:v>0.8908174430975313</c:v>
                </c:pt>
                <c:pt idx="5">
                  <c:v>0.9209943539872731</c:v>
                </c:pt>
                <c:pt idx="6">
                  <c:v>0.9453199029674514</c:v>
                </c:pt>
                <c:pt idx="7">
                  <c:v>0.9674474839704257</c:v>
                </c:pt>
                <c:pt idx="8">
                  <c:v>0.9832712031399276</c:v>
                </c:pt>
                <c:pt idx="9">
                  <c:v>0.9988979801440262</c:v>
                </c:pt>
                <c:pt idx="10">
                  <c:v>1.0</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12</c:f>
              <c:strCache>
                <c:ptCount val="11"/>
                <c:pt idx="0">
                  <c:v>Kiri Creme Fromage Blanc Frais Carre 1X216Gr 12P</c:v>
                </c:pt>
                <c:pt idx="1">
                  <c:v>Kiri Creme Fromage Blanc Frais Carre 1X432Gr 24P</c:v>
                </c:pt>
                <c:pt idx="2">
                  <c:v>Kiri Gouter Fromage Blanc Dips Boite 1X280Gr 8P</c:v>
                </c:pt>
                <c:pt idx="3">
                  <c:v>Kiri Creme Fromage Blanc Frais Carre 1X144Gr 8P</c:v>
                </c:pt>
                <c:pt idx="4">
                  <c:v>Kiri Gouter Fromage Blanc Dips Boite 1X175Gr 5P</c:v>
                </c:pt>
                <c:pt idx="5">
                  <c:v>Kiri Delicieusement Fouette Fromage Frais A Tartiner 1X125Gr 1P</c:v>
                </c:pt>
                <c:pt idx="6">
                  <c:v>Kiri Bio Fromage Blanc Frais Carre 1X144Gr 8P</c:v>
                </c:pt>
                <c:pt idx="7">
                  <c:v>Kiri Chevre Fromage Blanc Frais Carre 1X144Gr 8P</c:v>
                </c:pt>
                <c:pt idx="8">
                  <c:v>Kiri Delicieusement Fouette Fromage Frais A Tartiner 1X160Gr 10P</c:v>
                </c:pt>
                <c:pt idx="9">
                  <c:v>Kiri Creme Fromage Blanc Frais Carre 1X432Gr 18+6P</c:v>
                </c:pt>
                <c:pt idx="10">
                  <c:v>Kiri Delicieusement Fouette Fromage Frais A Tartiner 1X210Gr 1P</c:v>
                </c:pt>
              </c:strCache>
            </c:strRef>
          </c:cat>
          <c:val>
            <c:numRef>
              <c:f>Sheet1!$D$2:$D$12</c:f>
              <c:numCache>
                <c:formatCode>General</c:formatCode>
                <c:ptCount val="11"/>
                <c:pt idx="0">
                  <c:v>33468.14141414141</c:v>
                </c:pt>
                <c:pt idx="1">
                  <c:v>32269.03370786517</c:v>
                </c:pt>
                <c:pt idx="2">
                  <c:v>20546.0</c:v>
                </c:pt>
                <c:pt idx="3">
                  <c:v>18609.40404040404</c:v>
                </c:pt>
                <c:pt idx="4">
                  <c:v>14583.535353535353</c:v>
                </c:pt>
                <c:pt idx="5">
                  <c:v>4455.919540229885</c:v>
                </c:pt>
                <c:pt idx="6">
                  <c:v>5208.266666666666</c:v>
                </c:pt>
                <c:pt idx="7">
                  <c:v>4180.294117647059</c:v>
                </c:pt>
                <c:pt idx="8">
                  <c:v>2162.531914893617</c:v>
                </c:pt>
                <c:pt idx="9">
                  <c:v>2418.6506024096384</c:v>
                </c:pt>
                <c:pt idx="10">
                  <c:v>372.55263157894734</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10</c:f>
              <c:strCache>
                <c:ptCount val="9"/>
                <c:pt idx="0">
                  <c:v>La Vache Qui Rit Nature Fromage Fondu Boite Ronde 1X512Gr 32P</c:v>
                </c:pt>
                <c:pt idx="1">
                  <c:v>La Vache Qui Rit Nature Fromage Fondu Boite Ronde 1X192Gr 12P</c:v>
                </c:pt>
                <c:pt idx="2">
                  <c:v>La Vache Qui Rit Nature Fromage Fondu Boite Ronde 1X384Gr 24P</c:v>
                </c:pt>
                <c:pt idx="3">
                  <c:v>La Vache Qui Rit Pik Et Croq' Fromage Fondu Dips Boite 1X175Gr 5P</c:v>
                </c:pt>
                <c:pt idx="4">
                  <c:v>La Vache Qui Rit Pik Et Croq' Fromage Fondu Dips Boite 1X280Gr 8P</c:v>
                </c:pt>
                <c:pt idx="5">
                  <c:v>La Vache Qui Rit Allegee Fromage Fondu Boite Ronde Allege 1X267Gr 16P</c:v>
                </c:pt>
                <c:pt idx="6">
                  <c:v>La Vache Qui Rit Aro Fromage Fondu Boite Ronde Jambon 1X133Gr 8P</c:v>
                </c:pt>
                <c:pt idx="7">
                  <c:v>La Vache Qui Rit Nature Fromage Fondu Boite Ronde 1X512Gr 24+8P</c:v>
                </c:pt>
                <c:pt idx="8">
                  <c:v>La Vache Qui Rit Nature Fromage Fondu Boite Ronde 1X128Gr 8P</c:v>
                </c:pt>
              </c:strCache>
            </c:strRef>
          </c:cat>
          <c:val>
            <c:numRef>
              <c:f>Sheet1!$B$2:$B$10</c:f>
              <c:numCache>
                <c:formatCode>General</c:formatCode>
                <c:ptCount val="9"/>
                <c:pt idx="0">
                  <c:v>0.98</c:v>
                </c:pt>
                <c:pt idx="1">
                  <c:v>1.0</c:v>
                </c:pt>
                <c:pt idx="2">
                  <c:v>0.97</c:v>
                </c:pt>
                <c:pt idx="3">
                  <c:v>0.97</c:v>
                </c:pt>
                <c:pt idx="4">
                  <c:v>0.89</c:v>
                </c:pt>
                <c:pt idx="5">
                  <c:v>0.87</c:v>
                </c:pt>
                <c:pt idx="6">
                  <c:v>0.69</c:v>
                </c:pt>
                <c:pt idx="7">
                  <c:v>0.25</c:v>
                </c:pt>
                <c:pt idx="8">
                  <c:v>0.12</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7ECAC4"/>
              </a:solidFill>
            </c:spPr>
            <c:extLst>
              <c:ext xmlns:c16="http://schemas.microsoft.com/office/drawing/2014/chart" uri="{C3380CC4-5D6E-409C-BE32-E72D297353CC}">
                <c16:uniqueId val="{00000006-E902-46E2-9A54-39A26B3DFDC1}"/>
              </c:ext>
            </c:extLst>
          </c:dPt>
          <c:dPt>
            <c:idx val="3"/>
            <c:invertIfNegative val="0"/>
            <c:bubble3D val="0"/>
            <c:spPr>
              <a:solidFill>
                <a:srgbClr val="7ECAC4"/>
              </a:solidFill>
            </c:spPr>
            <c:extLst>
              <c:ext xmlns:c16="http://schemas.microsoft.com/office/drawing/2014/chart" uri="{C3380CC4-5D6E-409C-BE32-E72D297353CC}">
                <c16:uniqueId val="{00000007-E902-46E2-9A54-39A26B3DFDC1}"/>
              </c:ext>
            </c:extLst>
          </c:dPt>
          <c:dPt>
            <c:idx val="4"/>
            <c:invertIfNegative val="1"/>
            <c:bubble3D val="0"/>
            <c:spPr>
              <a:solidFill>
                <a:srgbClr val="7ECAC4"/>
              </a:solidFill>
            </c:spPr>
            <c:extLst>
              <c:ext xmlns:c16="http://schemas.microsoft.com/office/drawing/2014/chart" uri="{C3380CC4-5D6E-409C-BE32-E72D297353CC}">
                <c16:uniqueId val="{0000000B-FA3E-4872-B6E1-C4ABDF5766E2}"/>
              </c:ext>
            </c:extLst>
          </c:dPt>
          <c:dPt>
            <c:idx val="5"/>
            <c:invertIfNegative val="1"/>
            <c:bubble3D val="0"/>
            <c:spPr>
              <a:solidFill>
                <a:srgbClr val="AEABAB"/>
              </a:solidFill>
            </c:spPr>
            <c:extLst>
              <c:ext xmlns:c16="http://schemas.microsoft.com/office/drawing/2014/chart" uri="{C3380CC4-5D6E-409C-BE32-E72D297353CC}">
                <c16:uniqueId val="{0000000D-FA3E-4872-B6E1-C4ABDF5766E2}"/>
              </c:ext>
            </c:extLst>
          </c:dPt>
          <c:dPt>
            <c:idx val="6"/>
            <c:invertIfNegative val="1"/>
            <c:bubble3D val="0"/>
            <c:spPr>
              <a:solidFill>
                <a:srgbClr val="AEABAB"/>
              </a:solidFill>
            </c:spPr>
            <c:extLst>
              <c:ext xmlns:c16="http://schemas.microsoft.com/office/drawing/2014/chart" uri="{C3380CC4-5D6E-409C-BE32-E72D297353CC}">
                <c16:uniqueId val="{0000000F-FA3E-4872-B6E1-C4ABDF5766E2}"/>
              </c:ext>
            </c:extLst>
          </c:dPt>
          <c:dPt>
            <c:idx val="7"/>
            <c:invertIfNegative val="1"/>
            <c:bubble3D val="0"/>
            <c:spPr>
              <a:solidFill>
                <a:srgbClr val="AEABAB"/>
              </a:solidFill>
            </c:spPr>
            <c:extLst>
              <c:ext xmlns:c16="http://schemas.microsoft.com/office/drawing/2014/chart" uri="{C3380CC4-5D6E-409C-BE32-E72D297353CC}">
                <c16:uniqueId val="{00000011-FA3E-4872-B6E1-C4ABDF5766E2}"/>
              </c:ext>
            </c:extLst>
          </c:dPt>
          <c:dPt>
            <c:idx val="8"/>
            <c:invertIfNegative val="1"/>
            <c:bubble3D val="0"/>
            <c:spPr>
              <a:solidFill>
                <a:srgbClr val="AEABAB"/>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10</c:f>
              <c:strCache>
                <c:ptCount val="9"/>
                <c:pt idx="0">
                  <c:v>La Vache Qui Rit Nature Fromage Fondu Boite Ronde 1X512Gr 32P</c:v>
                </c:pt>
                <c:pt idx="1">
                  <c:v>La Vache Qui Rit Nature Fromage Fondu Boite Ronde 1X192Gr 12P</c:v>
                </c:pt>
                <c:pt idx="2">
                  <c:v>La Vache Qui Rit Nature Fromage Fondu Boite Ronde 1X384Gr 24P</c:v>
                </c:pt>
                <c:pt idx="3">
                  <c:v>La Vache Qui Rit Pik Et Croq' Fromage Fondu Dips Boite 1X175Gr 5P</c:v>
                </c:pt>
                <c:pt idx="4">
                  <c:v>La Vache Qui Rit Pik Et Croq' Fromage Fondu Dips Boite 1X280Gr 8P</c:v>
                </c:pt>
                <c:pt idx="5">
                  <c:v>La Vache Qui Rit Allegee Fromage Fondu Boite Ronde Allege 1X267Gr 16P</c:v>
                </c:pt>
                <c:pt idx="6">
                  <c:v>La Vache Qui Rit Aro Fromage Fondu Boite Ronde Jambon 1X133Gr 8P</c:v>
                </c:pt>
                <c:pt idx="7">
                  <c:v>La Vache Qui Rit Nature Fromage Fondu Boite Ronde 1X512Gr 24+8P</c:v>
                </c:pt>
                <c:pt idx="8">
                  <c:v>La Vache Qui Rit Nature Fromage Fondu Boite Ronde 1X128Gr 8P</c:v>
                </c:pt>
              </c:strCache>
            </c:strRef>
          </c:cat>
          <c:val>
            <c:numRef>
              <c:f>Sheet1!$C$2:$C$10</c:f>
              <c:numCache>
                <c:formatCode>General</c:formatCode>
                <c:ptCount val="9"/>
                <c:pt idx="0">
                  <c:v>0.3394099379958972</c:v>
                </c:pt>
                <c:pt idx="1">
                  <c:v>0.6051406232173799</c:v>
                </c:pt>
                <c:pt idx="2">
                  <c:v>0.8248143253699813</c:v>
                </c:pt>
                <c:pt idx="3">
                  <c:v>0.8824445377182664</c:v>
                </c:pt>
                <c:pt idx="4">
                  <c:v>0.9390381449635459</c:v>
                </c:pt>
                <c:pt idx="5">
                  <c:v>0.9778804482088617</c:v>
                </c:pt>
                <c:pt idx="6">
                  <c:v>0.9984477961238283</c:v>
                </c:pt>
                <c:pt idx="7">
                  <c:v>0.9999037807579033</c:v>
                </c:pt>
                <c:pt idx="8">
                  <c:v>0.999957444880099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10</c:f>
              <c:strCache>
                <c:ptCount val="9"/>
                <c:pt idx="0">
                  <c:v>La Vache Qui Rit Nature Fromage Fondu Boite Ronde 1X512Gr 32P</c:v>
                </c:pt>
                <c:pt idx="1">
                  <c:v>La Vache Qui Rit Nature Fromage Fondu Boite Ronde 1X192Gr 12P</c:v>
                </c:pt>
                <c:pt idx="2">
                  <c:v>La Vache Qui Rit Nature Fromage Fondu Boite Ronde 1X384Gr 24P</c:v>
                </c:pt>
                <c:pt idx="3">
                  <c:v>La Vache Qui Rit Pik Et Croq' Fromage Fondu Dips Boite 1X175Gr 5P</c:v>
                </c:pt>
                <c:pt idx="4">
                  <c:v>La Vache Qui Rit Pik Et Croq' Fromage Fondu Dips Boite 1X280Gr 8P</c:v>
                </c:pt>
                <c:pt idx="5">
                  <c:v>La Vache Qui Rit Allegee Fromage Fondu Boite Ronde Allege 1X267Gr 16P</c:v>
                </c:pt>
                <c:pt idx="6">
                  <c:v>La Vache Qui Rit Aro Fromage Fondu Boite Ronde Jambon 1X133Gr 8P</c:v>
                </c:pt>
                <c:pt idx="7">
                  <c:v>La Vache Qui Rit Nature Fromage Fondu Boite Ronde 1X512Gr 24+8P</c:v>
                </c:pt>
                <c:pt idx="8">
                  <c:v>La Vache Qui Rit Nature Fromage Fondu Boite Ronde 1X128Gr 8P</c:v>
                </c:pt>
              </c:strCache>
            </c:strRef>
          </c:cat>
          <c:val>
            <c:numRef>
              <c:f>Sheet1!$D$2:$D$10</c:f>
              <c:numCache>
                <c:formatCode>General</c:formatCode>
                <c:ptCount val="9"/>
                <c:pt idx="0">
                  <c:v>58923.051020408166</c:v>
                </c:pt>
                <c:pt idx="1">
                  <c:v>45209.37</c:v>
                </c:pt>
                <c:pt idx="2">
                  <c:v>38529.47422680412</c:v>
                </c:pt>
                <c:pt idx="3">
                  <c:v>10108.0</c:v>
                </c:pt>
                <c:pt idx="4">
                  <c:v>10818.426966292134</c:v>
                </c:pt>
                <c:pt idx="5">
                  <c:v>7595.781609195402</c:v>
                </c:pt>
                <c:pt idx="6">
                  <c:v>5071.260869565217</c:v>
                </c:pt>
                <c:pt idx="7">
                  <c:v>990.84</c:v>
                </c:pt>
                <c:pt idx="8">
                  <c:v>76.08333333333333</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25</c:f>
              <c:strCache>
                <c:ptCount val="24"/>
                <c:pt idx="0">
                  <c:v>Boursin Classique Fromage Frais A Tartiner Afh Boite 1X250Gr 1P</c:v>
                </c:pt>
                <c:pt idx="1">
                  <c:v>Boursin Classique Fromage Frais A Tartiner Afh 1X160Gr 10P</c:v>
                </c:pt>
                <c:pt idx="2">
                  <c:v>Boursin Classique Fromage Frais A Tartiner Afh Boite 1X150Gr 1P</c:v>
                </c:pt>
                <c:pt idx="3">
                  <c:v>Boursin Aperitif Roules Fromage Frais Roule Afh Et Jambon Fume Boite 1X100Gr 20P</c:v>
                </c:pt>
                <c:pt idx="4">
                  <c:v>Boursin Aperitif Roules Fromage Frais Roule Ciboulette &amp; Echalote Jambon Fume Boite 1X100Gr 20P</c:v>
                </c:pt>
                <c:pt idx="5">
                  <c:v>Boursin Onctueux Fromage Frais A Tartiner Afh 1X125Gr 1P</c:v>
                </c:pt>
                <c:pt idx="6">
                  <c:v>Boursin Salade &amp; Aperitif Fromage Frais Des Afh 1X120Gr 1P</c:v>
                </c:pt>
                <c:pt idx="7">
                  <c:v>Boursin Classique Fromage Frais A Tartiner Afh Boite 1X96Gr 6P</c:v>
                </c:pt>
                <c:pt idx="8">
                  <c:v>Boursin Classique Fromage Frais A Tartiner Figue Et 3 Noix Boite 1X150Gr 1P</c:v>
                </c:pt>
                <c:pt idx="9">
                  <c:v>Boursin Classique Fromage Frais A Tartiner Ciboulette &amp; Echalote Boite 1X150Gr 1P</c:v>
                </c:pt>
                <c:pt idx="10">
                  <c:v>Boursin Classique Fromage Frais A Tartiner Afh 1X256Gr 16P</c:v>
                </c:pt>
                <c:pt idx="11">
                  <c:v>Boursin Cuisine Sauce Fromage Afh 1X240Gr 1P</c:v>
                </c:pt>
                <c:pt idx="12">
                  <c:v>Boursin Aperitif Roules Fromage Frais Roule Basilic &amp; Jambon Fume Tomate Boite 1X100Gr 20P</c:v>
                </c:pt>
                <c:pt idx="13">
                  <c:v>Boursin Classique Fromage Frais A Tartiner Poivre Boite 1X150Gr 1P</c:v>
                </c:pt>
                <c:pt idx="14">
                  <c:v>Boursin Classique Fromage Frais A Tartiner Ciboulette &amp; Echalote 1X160Gr 10P</c:v>
                </c:pt>
                <c:pt idx="15">
                  <c:v>Boursin Salade &amp; Aperitif Fromage Frais Des Ciboulette Echalote 1X120Gr 1P</c:v>
                </c:pt>
                <c:pt idx="16">
                  <c:v>Boursin Salade &amp; Aperitif Fromage Frais Des Figue Noix 1X120Gr 1P</c:v>
                </c:pt>
                <c:pt idx="17">
                  <c:v>Boursin Salade &amp; Aperitif Fromage Frais Des Citron Romarin 1X120Gr 1P</c:v>
                </c:pt>
                <c:pt idx="18">
                  <c:v>Boursin Salade &amp; Aperitif Fromage Frais Des Noisette Et 3 Noix 1X120Gr 1P</c:v>
                </c:pt>
                <c:pt idx="19">
                  <c:v>Boursin Classique Fromage Frais A Tartiner Afh Boite 1X80Gr 1P</c:v>
                </c:pt>
                <c:pt idx="20">
                  <c:v>Boursin Aperitif Roules Fromage Frais Roule Jambon Fume &amp; Trio De Noix Boite 1X100Gr 20P</c:v>
                </c:pt>
                <c:pt idx="21">
                  <c:v>Boursin Aperitif Roules Aperitif 100G</c:v>
                </c:pt>
                <c:pt idx="22">
                  <c:v>Boursin Salade &amp; Aperitif Soft Cheese Salade 120G</c:v>
                </c:pt>
                <c:pt idx="23">
                  <c:v>Boursin Classique Fromage Frais A Tartiner Truffe Boite 1X150Gr 1P</c:v>
                </c:pt>
              </c:strCache>
            </c:strRef>
          </c:cat>
          <c:val>
            <c:numRef>
              <c:f>Sheet1!$B$2:$B$25</c:f>
              <c:numCache>
                <c:formatCode>General</c:formatCode>
                <c:ptCount val="24"/>
                <c:pt idx="0">
                  <c:v>0.99</c:v>
                </c:pt>
                <c:pt idx="1">
                  <c:v>0.99</c:v>
                </c:pt>
                <c:pt idx="2">
                  <c:v>1.0</c:v>
                </c:pt>
                <c:pt idx="3">
                  <c:v>0.98</c:v>
                </c:pt>
                <c:pt idx="4">
                  <c:v>0.95</c:v>
                </c:pt>
                <c:pt idx="5">
                  <c:v>0.97</c:v>
                </c:pt>
                <c:pt idx="6">
                  <c:v>0.98</c:v>
                </c:pt>
                <c:pt idx="7">
                  <c:v>0.96</c:v>
                </c:pt>
                <c:pt idx="8">
                  <c:v>0.99</c:v>
                </c:pt>
                <c:pt idx="9">
                  <c:v>0.99</c:v>
                </c:pt>
                <c:pt idx="10">
                  <c:v>0.87</c:v>
                </c:pt>
                <c:pt idx="11">
                  <c:v>0.88</c:v>
                </c:pt>
                <c:pt idx="12">
                  <c:v>0.9</c:v>
                </c:pt>
                <c:pt idx="13">
                  <c:v>0.96</c:v>
                </c:pt>
                <c:pt idx="14">
                  <c:v>0.83</c:v>
                </c:pt>
                <c:pt idx="15">
                  <c:v>0.86</c:v>
                </c:pt>
                <c:pt idx="16">
                  <c:v>0.88</c:v>
                </c:pt>
                <c:pt idx="17">
                  <c:v>0.67</c:v>
                </c:pt>
                <c:pt idx="18">
                  <c:v>0.83</c:v>
                </c:pt>
                <c:pt idx="19">
                  <c:v>0.29</c:v>
                </c:pt>
                <c:pt idx="20">
                  <c:v>0.8</c:v>
                </c:pt>
                <c:pt idx="21">
                  <c:v>0.7</c:v>
                </c:pt>
                <c:pt idx="22">
                  <c:v>0.4</c:v>
                </c:pt>
                <c:pt idx="23">
                  <c:v>0.7</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7ECAC4"/>
              </a:solidFill>
            </c:spPr>
            <c:extLst>
              <c:ext xmlns:c16="http://schemas.microsoft.com/office/drawing/2014/chart" uri="{C3380CC4-5D6E-409C-BE32-E72D297353CC}">
                <c16:uniqueId val="{00000017-FA3E-4872-B6E1-C4ABDF5766E2}"/>
              </c:ext>
            </c:extLst>
          </c:dPt>
          <c:dPt>
            <c:idx val="11"/>
            <c:invertIfNegative val="1"/>
            <c:bubble3D val="0"/>
            <c:spPr>
              <a:solidFill>
                <a:srgbClr val="7ECAC4"/>
              </a:solidFill>
            </c:spPr>
            <c:extLst>
              <c:ext xmlns:c16="http://schemas.microsoft.com/office/drawing/2014/chart" uri="{C3380CC4-5D6E-409C-BE32-E72D297353CC}">
                <c16:uniqueId val="{00000019-FA3E-4872-B6E1-C4ABDF5766E2}"/>
              </c:ext>
            </c:extLst>
          </c:dPt>
          <c:dPt>
            <c:idx val="12"/>
            <c:invertIfNegative val="1"/>
            <c:bubble3D val="0"/>
            <c:spPr>
              <a:solidFill>
                <a:srgbClr val="7ECAC4"/>
              </a:solidFill>
            </c:spPr>
            <c:extLst>
              <c:ext xmlns:c16="http://schemas.microsoft.com/office/drawing/2014/chart" uri="{C3380CC4-5D6E-409C-BE32-E72D297353CC}">
                <c16:uniqueId val="{0000001B-FA3E-4872-B6E1-C4ABDF5766E2}"/>
              </c:ext>
            </c:extLst>
          </c:dPt>
          <c:dPt>
            <c:idx val="13"/>
            <c:invertIfNegative val="1"/>
            <c:bubble3D val="0"/>
            <c:spPr>
              <a:solidFill>
                <a:srgbClr val="7ECAC4"/>
              </a:solidFill>
            </c:spPr>
            <c:extLst>
              <c:ext xmlns:c16="http://schemas.microsoft.com/office/drawing/2014/chart" uri="{C3380CC4-5D6E-409C-BE32-E72D297353CC}">
                <c16:uniqueId val="{0000001D-FA3E-4872-B6E1-C4ABDF5766E2}"/>
              </c:ext>
            </c:extLst>
          </c:dPt>
          <c:dPt>
            <c:idx val="14"/>
            <c:invertIfNegative val="1"/>
            <c:bubble3D val="0"/>
            <c:spPr>
              <a:solidFill>
                <a:srgbClr val="AEABAB"/>
              </a:solidFill>
            </c:spPr>
            <c:extLst>
              <c:ext xmlns:c16="http://schemas.microsoft.com/office/drawing/2014/chart" uri="{C3380CC4-5D6E-409C-BE32-E72D297353CC}">
                <c16:uniqueId val="{0000001F-FA3E-4872-B6E1-C4ABDF5766E2}"/>
              </c:ext>
            </c:extLst>
          </c:dPt>
          <c:dPt>
            <c:idx val="15"/>
            <c:invertIfNegative val="1"/>
            <c:bubble3D val="0"/>
            <c:spPr>
              <a:solidFill>
                <a:srgbClr val="AEABAB"/>
              </a:solidFill>
            </c:spPr>
            <c:extLst>
              <c:ext xmlns:c16="http://schemas.microsoft.com/office/drawing/2014/chart" uri="{C3380CC4-5D6E-409C-BE32-E72D297353CC}">
                <c16:uniqueId val="{00000021-FA3E-4872-B6E1-C4ABDF5766E2}"/>
              </c:ext>
            </c:extLst>
          </c:dPt>
          <c:dPt>
            <c:idx val="16"/>
            <c:invertIfNegative val="1"/>
            <c:bubble3D val="0"/>
            <c:spPr>
              <a:solidFill>
                <a:srgbClr val="AEABAB"/>
              </a:solidFill>
            </c:spPr>
            <c:extLst>
              <c:ext xmlns:c16="http://schemas.microsoft.com/office/drawing/2014/chart" uri="{C3380CC4-5D6E-409C-BE32-E72D297353CC}">
                <c16:uniqueId val="{00000023-FA3E-4872-B6E1-C4ABDF5766E2}"/>
              </c:ext>
            </c:extLst>
          </c:dPt>
          <c:dPt>
            <c:idx val="17"/>
            <c:invertIfNegative val="1"/>
            <c:bubble3D val="0"/>
            <c:spPr>
              <a:solidFill>
                <a:srgbClr val="AEABAB"/>
              </a:solidFill>
            </c:spPr>
            <c:extLst>
              <c:ext xmlns:c16="http://schemas.microsoft.com/office/drawing/2014/chart" uri="{C3380CC4-5D6E-409C-BE32-E72D297353CC}">
                <c16:uniqueId val="{00000025-FA3E-4872-B6E1-C4ABDF5766E2}"/>
              </c:ext>
            </c:extLst>
          </c:dPt>
          <c:dPt>
            <c:idx val="18"/>
            <c:invertIfNegative val="1"/>
            <c:bubble3D val="0"/>
            <c:spPr>
              <a:solidFill>
                <a:srgbClr val="AEABAB"/>
              </a:solidFill>
            </c:spPr>
            <c:extLst>
              <c:ext xmlns:c16="http://schemas.microsoft.com/office/drawing/2014/chart" uri="{C3380CC4-5D6E-409C-BE32-E72D297353CC}">
                <c16:uniqueId val="{00000027-FA3E-4872-B6E1-C4ABDF5766E2}"/>
              </c:ext>
            </c:extLst>
          </c:dPt>
          <c:dPt>
            <c:idx val="19"/>
            <c:invertIfNegative val="1"/>
            <c:bubble3D val="0"/>
            <c:spPr>
              <a:solidFill>
                <a:srgbClr val="AEABAB"/>
              </a:solidFill>
            </c:spPr>
            <c:extLst>
              <c:ext xmlns:c16="http://schemas.microsoft.com/office/drawing/2014/chart" uri="{C3380CC4-5D6E-409C-BE32-E72D297353CC}">
                <c16:uniqueId val="{00000029-FA3E-4872-B6E1-C4ABDF5766E2}"/>
              </c:ext>
            </c:extLst>
          </c:dPt>
          <c:dPt>
            <c:idx val="20"/>
            <c:invertIfNegative val="1"/>
            <c:bubble3D val="0"/>
            <c:spPr>
              <a:solidFill>
                <a:srgbClr val="AEABAB"/>
              </a:solidFill>
            </c:spPr>
            <c:extLst>
              <c:ext xmlns:c16="http://schemas.microsoft.com/office/drawing/2014/chart" uri="{C3380CC4-5D6E-409C-BE32-E72D297353CC}">
                <c16:uniqueId val="{0000002B-FA3E-4872-B6E1-C4ABDF5766E2}"/>
              </c:ext>
            </c:extLst>
          </c:dPt>
          <c:dPt>
            <c:idx val="21"/>
            <c:invertIfNegative val="1"/>
            <c:bubble3D val="0"/>
            <c:spPr>
              <a:solidFill>
                <a:srgbClr val="AEABAB"/>
              </a:solidFill>
            </c:spPr>
            <c:extLst>
              <c:ext xmlns:c16="http://schemas.microsoft.com/office/drawing/2014/chart" uri="{C3380CC4-5D6E-409C-BE32-E72D297353CC}">
                <c16:uniqueId val="{0000002D-FA3E-4872-B6E1-C4ABDF5766E2}"/>
              </c:ext>
            </c:extLst>
          </c:dPt>
          <c:dPt>
            <c:idx val="22"/>
            <c:invertIfNegative val="1"/>
            <c:bubble3D val="0"/>
            <c:spPr>
              <a:solidFill>
                <a:srgbClr val="AEABAB"/>
              </a:solidFill>
            </c:spPr>
            <c:extLst>
              <c:ext xmlns:c16="http://schemas.microsoft.com/office/drawing/2014/chart" uri="{C3380CC4-5D6E-409C-BE32-E72D297353CC}">
                <c16:uniqueId val="{0000002F-FA3E-4872-B6E1-C4ABDF5766E2}"/>
              </c:ext>
            </c:extLst>
          </c:dPt>
          <c:dPt>
            <c:idx val="23"/>
            <c:invertIfNegative val="1"/>
            <c:bubble3D val="0"/>
            <c:spPr>
              <a:solidFill>
                <a:srgbClr val="AEABAB"/>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25</c:f>
              <c:strCache>
                <c:ptCount val="24"/>
                <c:pt idx="0">
                  <c:v>Boursin Classique Fromage Frais A Tartiner Afh Boite 1X250Gr 1P</c:v>
                </c:pt>
                <c:pt idx="1">
                  <c:v>Boursin Classique Fromage Frais A Tartiner Afh 1X160Gr 10P</c:v>
                </c:pt>
                <c:pt idx="2">
                  <c:v>Boursin Classique Fromage Frais A Tartiner Afh Boite 1X150Gr 1P</c:v>
                </c:pt>
                <c:pt idx="3">
                  <c:v>Boursin Aperitif Roules Fromage Frais Roule Afh Et Jambon Fume Boite 1X100Gr 20P</c:v>
                </c:pt>
                <c:pt idx="4">
                  <c:v>Boursin Aperitif Roules Fromage Frais Roule Ciboulette &amp; Echalote Jambon Fume Boite 1X100Gr 20P</c:v>
                </c:pt>
                <c:pt idx="5">
                  <c:v>Boursin Onctueux Fromage Frais A Tartiner Afh 1X125Gr 1P</c:v>
                </c:pt>
                <c:pt idx="6">
                  <c:v>Boursin Salade &amp; Aperitif Fromage Frais Des Afh 1X120Gr 1P</c:v>
                </c:pt>
                <c:pt idx="7">
                  <c:v>Boursin Classique Fromage Frais A Tartiner Afh Boite 1X96Gr 6P</c:v>
                </c:pt>
                <c:pt idx="8">
                  <c:v>Boursin Classique Fromage Frais A Tartiner Figue Et 3 Noix Boite 1X150Gr 1P</c:v>
                </c:pt>
                <c:pt idx="9">
                  <c:v>Boursin Classique Fromage Frais A Tartiner Ciboulette &amp; Echalote Boite 1X150Gr 1P</c:v>
                </c:pt>
                <c:pt idx="10">
                  <c:v>Boursin Classique Fromage Frais A Tartiner Afh 1X256Gr 16P</c:v>
                </c:pt>
                <c:pt idx="11">
                  <c:v>Boursin Cuisine Sauce Fromage Afh 1X240Gr 1P</c:v>
                </c:pt>
                <c:pt idx="12">
                  <c:v>Boursin Aperitif Roules Fromage Frais Roule Basilic &amp; Jambon Fume Tomate Boite 1X100Gr 20P</c:v>
                </c:pt>
                <c:pt idx="13">
                  <c:v>Boursin Classique Fromage Frais A Tartiner Poivre Boite 1X150Gr 1P</c:v>
                </c:pt>
                <c:pt idx="14">
                  <c:v>Boursin Classique Fromage Frais A Tartiner Ciboulette &amp; Echalote 1X160Gr 10P</c:v>
                </c:pt>
                <c:pt idx="15">
                  <c:v>Boursin Salade &amp; Aperitif Fromage Frais Des Ciboulette Echalote 1X120Gr 1P</c:v>
                </c:pt>
                <c:pt idx="16">
                  <c:v>Boursin Salade &amp; Aperitif Fromage Frais Des Figue Noix 1X120Gr 1P</c:v>
                </c:pt>
                <c:pt idx="17">
                  <c:v>Boursin Salade &amp; Aperitif Fromage Frais Des Citron Romarin 1X120Gr 1P</c:v>
                </c:pt>
                <c:pt idx="18">
                  <c:v>Boursin Salade &amp; Aperitif Fromage Frais Des Noisette Et 3 Noix 1X120Gr 1P</c:v>
                </c:pt>
                <c:pt idx="19">
                  <c:v>Boursin Classique Fromage Frais A Tartiner Afh Boite 1X80Gr 1P</c:v>
                </c:pt>
                <c:pt idx="20">
                  <c:v>Boursin Aperitif Roules Fromage Frais Roule Jambon Fume &amp; Trio De Noix Boite 1X100Gr 20P</c:v>
                </c:pt>
                <c:pt idx="21">
                  <c:v>Boursin Aperitif Roules Aperitif 100G</c:v>
                </c:pt>
                <c:pt idx="22">
                  <c:v>Boursin Salade &amp; Aperitif Soft Cheese Salade 120G</c:v>
                </c:pt>
                <c:pt idx="23">
                  <c:v>Boursin Classique Fromage Frais A Tartiner Truffe Boite 1X150Gr 1P</c:v>
                </c:pt>
              </c:strCache>
            </c:strRef>
          </c:cat>
          <c:val>
            <c:numRef>
              <c:f>Sheet1!$C$2:$C$25</c:f>
              <c:numCache>
                <c:formatCode>General</c:formatCode>
                <c:ptCount val="24"/>
                <c:pt idx="0">
                  <c:v>0.13440509089042285</c:v>
                </c:pt>
                <c:pt idx="1">
                  <c:v>0.26355600806420587</c:v>
                </c:pt>
                <c:pt idx="2">
                  <c:v>0.3793657865830323</c:v>
                </c:pt>
                <c:pt idx="3">
                  <c:v>0.4824919821204341</c:v>
                </c:pt>
                <c:pt idx="4">
                  <c:v>0.5496112824398174</c:v>
                </c:pt>
                <c:pt idx="5">
                  <c:v>0.6052510960715995</c:v>
                </c:pt>
                <c:pt idx="6">
                  <c:v>0.6582712906602332</c:v>
                </c:pt>
                <c:pt idx="7">
                  <c:v>0.7094614502652239</c:v>
                </c:pt>
                <c:pt idx="8">
                  <c:v>0.7568945552903135</c:v>
                </c:pt>
                <c:pt idx="9">
                  <c:v>0.7968602977388813</c:v>
                </c:pt>
                <c:pt idx="10">
                  <c:v>0.8316584414016708</c:v>
                </c:pt>
                <c:pt idx="11">
                  <c:v>0.8649889492499566</c:v>
                </c:pt>
                <c:pt idx="12">
                  <c:v>0.8977795114316087</c:v>
                </c:pt>
                <c:pt idx="13">
                  <c:v>0.9304511704781944</c:v>
                </c:pt>
                <c:pt idx="14">
                  <c:v>0.9538320915746817</c:v>
                </c:pt>
                <c:pt idx="15">
                  <c:v>0.9674926975435932</c:v>
                </c:pt>
                <c:pt idx="16">
                  <c:v>0.976673648912211</c:v>
                </c:pt>
                <c:pt idx="17">
                  <c:v>0.9818903865683812</c:v>
                </c:pt>
                <c:pt idx="18">
                  <c:v>0.9863646100303686</c:v>
                </c:pt>
                <c:pt idx="19">
                  <c:v>0.9901457814506067</c:v>
                </c:pt>
                <c:pt idx="20">
                  <c:v>0.9931159675401554</c:v>
                </c:pt>
                <c:pt idx="21">
                  <c:v>0.9956192050481655</c:v>
                </c:pt>
                <c:pt idx="22">
                  <c:v>0.9978962744395566</c:v>
                </c:pt>
                <c:pt idx="23">
                  <c:v>1.0</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25</c:f>
              <c:strCache>
                <c:ptCount val="24"/>
                <c:pt idx="0">
                  <c:v>Boursin Classique Fromage Frais A Tartiner Afh Boite 1X250Gr 1P</c:v>
                </c:pt>
                <c:pt idx="1">
                  <c:v>Boursin Classique Fromage Frais A Tartiner Afh 1X160Gr 10P</c:v>
                </c:pt>
                <c:pt idx="2">
                  <c:v>Boursin Classique Fromage Frais A Tartiner Afh Boite 1X150Gr 1P</c:v>
                </c:pt>
                <c:pt idx="3">
                  <c:v>Boursin Aperitif Roules Fromage Frais Roule Afh Et Jambon Fume Boite 1X100Gr 20P</c:v>
                </c:pt>
                <c:pt idx="4">
                  <c:v>Boursin Aperitif Roules Fromage Frais Roule Ciboulette &amp; Echalote Jambon Fume Boite 1X100Gr 20P</c:v>
                </c:pt>
                <c:pt idx="5">
                  <c:v>Boursin Onctueux Fromage Frais A Tartiner Afh 1X125Gr 1P</c:v>
                </c:pt>
                <c:pt idx="6">
                  <c:v>Boursin Salade &amp; Aperitif Fromage Frais Des Afh 1X120Gr 1P</c:v>
                </c:pt>
                <c:pt idx="7">
                  <c:v>Boursin Classique Fromage Frais A Tartiner Afh Boite 1X96Gr 6P</c:v>
                </c:pt>
                <c:pt idx="8">
                  <c:v>Boursin Classique Fromage Frais A Tartiner Figue Et 3 Noix Boite 1X150Gr 1P</c:v>
                </c:pt>
                <c:pt idx="9">
                  <c:v>Boursin Classique Fromage Frais A Tartiner Ciboulette &amp; Echalote Boite 1X150Gr 1P</c:v>
                </c:pt>
                <c:pt idx="10">
                  <c:v>Boursin Classique Fromage Frais A Tartiner Afh 1X256Gr 16P</c:v>
                </c:pt>
                <c:pt idx="11">
                  <c:v>Boursin Cuisine Sauce Fromage Afh 1X240Gr 1P</c:v>
                </c:pt>
                <c:pt idx="12">
                  <c:v>Boursin Aperitif Roules Fromage Frais Roule Basilic &amp; Jambon Fume Tomate Boite 1X100Gr 20P</c:v>
                </c:pt>
                <c:pt idx="13">
                  <c:v>Boursin Classique Fromage Frais A Tartiner Poivre Boite 1X150Gr 1P</c:v>
                </c:pt>
                <c:pt idx="14">
                  <c:v>Boursin Classique Fromage Frais A Tartiner Ciboulette &amp; Echalote 1X160Gr 10P</c:v>
                </c:pt>
                <c:pt idx="15">
                  <c:v>Boursin Salade &amp; Aperitif Fromage Frais Des Ciboulette Echalote 1X120Gr 1P</c:v>
                </c:pt>
                <c:pt idx="16">
                  <c:v>Boursin Salade &amp; Aperitif Fromage Frais Des Figue Noix 1X120Gr 1P</c:v>
                </c:pt>
                <c:pt idx="17">
                  <c:v>Boursin Salade &amp; Aperitif Fromage Frais Des Citron Romarin 1X120Gr 1P</c:v>
                </c:pt>
                <c:pt idx="18">
                  <c:v>Boursin Salade &amp; Aperitif Fromage Frais Des Noisette Et 3 Noix 1X120Gr 1P</c:v>
                </c:pt>
                <c:pt idx="19">
                  <c:v>Boursin Classique Fromage Frais A Tartiner Afh Boite 1X80Gr 1P</c:v>
                </c:pt>
                <c:pt idx="20">
                  <c:v>Boursin Aperitif Roules Fromage Frais Roule Jambon Fume &amp; Trio De Noix Boite 1X100Gr 20P</c:v>
                </c:pt>
                <c:pt idx="21">
                  <c:v>Boursin Aperitif Roules Aperitif 100G</c:v>
                </c:pt>
                <c:pt idx="22">
                  <c:v>Boursin Salade &amp; Aperitif Soft Cheese Salade 120G</c:v>
                </c:pt>
                <c:pt idx="23">
                  <c:v>Boursin Classique Fromage Frais A Tartiner Truffe Boite 1X150Gr 1P</c:v>
                </c:pt>
              </c:strCache>
            </c:strRef>
          </c:cat>
          <c:val>
            <c:numRef>
              <c:f>Sheet1!$D$2:$D$25</c:f>
              <c:numCache>
                <c:formatCode>General</c:formatCode>
                <c:ptCount val="24"/>
                <c:pt idx="0">
                  <c:v>20997.565656565657</c:v>
                </c:pt>
                <c:pt idx="1">
                  <c:v>20176.727272727272</c:v>
                </c:pt>
                <c:pt idx="2">
                  <c:v>17911.57</c:v>
                </c:pt>
                <c:pt idx="3">
                  <c:v>16275.387755102041</c:v>
                </c:pt>
                <c:pt idx="4">
                  <c:v>10927.284210526315</c:v>
                </c:pt>
                <c:pt idx="5">
                  <c:v>8871.60824742268</c:v>
                </c:pt>
                <c:pt idx="6">
                  <c:v>8367.65306122449</c:v>
                </c:pt>
                <c:pt idx="7">
                  <c:v>8247.145833333334</c:v>
                </c:pt>
                <c:pt idx="8">
                  <c:v>7410.282828282829</c:v>
                </c:pt>
                <c:pt idx="9">
                  <c:v>6243.686868686868</c:v>
                </c:pt>
                <c:pt idx="10">
                  <c:v>6186.218390804598</c:v>
                </c:pt>
                <c:pt idx="11">
                  <c:v>5857.977272727273</c:v>
                </c:pt>
                <c:pt idx="12">
                  <c:v>5635.011111111111</c:v>
                </c:pt>
                <c:pt idx="13">
                  <c:v>5263.666666666667</c:v>
                </c:pt>
                <c:pt idx="14">
                  <c:v>4356.843373493976</c:v>
                </c:pt>
                <c:pt idx="15">
                  <c:v>2456.7441860465115</c:v>
                </c:pt>
                <c:pt idx="16">
                  <c:v>1613.590909090909</c:v>
                </c:pt>
                <c:pt idx="17">
                  <c:v>1204.2388059701493</c:v>
                </c:pt>
                <c:pt idx="18">
                  <c:v>833.7349397590361</c:v>
                </c:pt>
                <c:pt idx="19">
                  <c:v>2016.586206896552</c:v>
                </c:pt>
                <c:pt idx="20">
                  <c:v>574.225</c:v>
                </c:pt>
                <c:pt idx="21">
                  <c:v>553.0857142857143</c:v>
                </c:pt>
                <c:pt idx="22">
                  <c:v>880.45</c:v>
                </c:pt>
                <c:pt idx="23">
                  <c:v>464.8142857142857</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12</c:f>
              <c:strCache>
                <c:ptCount val="11"/>
                <c:pt idx="0">
                  <c:v>Kiri Creme Fromage Blanc Frais Carre 1X432Gr 24P</c:v>
                </c:pt>
                <c:pt idx="1">
                  <c:v>Kiri Creme Fromage Blanc Frais Carre 1X216Gr 12P</c:v>
                </c:pt>
                <c:pt idx="2">
                  <c:v>Kiri Gouter Fromage Blanc Dips Boite 1X280Gr 8P</c:v>
                </c:pt>
                <c:pt idx="3">
                  <c:v>Kiri Creme Fromage Blanc Frais Carre 1X144Gr 8P</c:v>
                </c:pt>
                <c:pt idx="4">
                  <c:v>Kiri Gouter Fromage Blanc Dips Boite 1X175Gr 5P</c:v>
                </c:pt>
                <c:pt idx="5">
                  <c:v>Kiri Delicieusement Fouette Fromage Frais A Tartiner 1X125Gr 1P</c:v>
                </c:pt>
                <c:pt idx="6">
                  <c:v>Kiri Bio Fromage Blanc Frais Carre 1X144Gr 8P</c:v>
                </c:pt>
                <c:pt idx="7">
                  <c:v>Kiri Chevre Fromage Blanc Frais Carre 1X144Gr 8P</c:v>
                </c:pt>
                <c:pt idx="8">
                  <c:v>Kiri Delicieusement Fouette Fromage Frais A Tartiner 1X160Gr 10P</c:v>
                </c:pt>
                <c:pt idx="9">
                  <c:v>Kiri Creme Fromage Blanc Frais Carre 1X432Gr 18+6P</c:v>
                </c:pt>
                <c:pt idx="10">
                  <c:v>Kiri Delicieusement Fouette Fromage Frais A Tartiner 1X210Gr 1P</c:v>
                </c:pt>
              </c:strCache>
            </c:strRef>
          </c:cat>
          <c:val>
            <c:numRef>
              <c:f>Sheet1!$B$2:$B$12</c:f>
              <c:numCache>
                <c:formatCode>General</c:formatCode>
                <c:ptCount val="11"/>
                <c:pt idx="0">
                  <c:v>0.99</c:v>
                </c:pt>
                <c:pt idx="1">
                  <c:v>1.0</c:v>
                </c:pt>
                <c:pt idx="2">
                  <c:v>0.99</c:v>
                </c:pt>
                <c:pt idx="3">
                  <c:v>1.0</c:v>
                </c:pt>
                <c:pt idx="4">
                  <c:v>1.0</c:v>
                </c:pt>
                <c:pt idx="5">
                  <c:v>0.99</c:v>
                </c:pt>
                <c:pt idx="6">
                  <c:v>0.87</c:v>
                </c:pt>
                <c:pt idx="7">
                  <c:v>0.88</c:v>
                </c:pt>
                <c:pt idx="8">
                  <c:v>0.98</c:v>
                </c:pt>
                <c:pt idx="9">
                  <c:v>0.94</c:v>
                </c:pt>
                <c:pt idx="10">
                  <c:v>0.64</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7ECAC4"/>
              </a:solidFill>
            </c:spPr>
            <c:extLst>
              <c:ext xmlns:c16="http://schemas.microsoft.com/office/drawing/2014/chart" uri="{C3380CC4-5D6E-409C-BE32-E72D297353CC}">
                <c16:uniqueId val="{0000000B-FA3E-4872-B6E1-C4ABDF5766E2}"/>
              </c:ext>
            </c:extLst>
          </c:dPt>
          <c:dPt>
            <c:idx val="5"/>
            <c:invertIfNegative val="1"/>
            <c:bubble3D val="0"/>
            <c:spPr>
              <a:solidFill>
                <a:srgbClr val="7ECAC4"/>
              </a:solidFill>
            </c:spPr>
            <c:extLst>
              <c:ext xmlns:c16="http://schemas.microsoft.com/office/drawing/2014/chart" uri="{C3380CC4-5D6E-409C-BE32-E72D297353CC}">
                <c16:uniqueId val="{0000000D-FA3E-4872-B6E1-C4ABDF5766E2}"/>
              </c:ext>
            </c:extLst>
          </c:dPt>
          <c:dPt>
            <c:idx val="6"/>
            <c:invertIfNegative val="1"/>
            <c:bubble3D val="0"/>
            <c:spPr>
              <a:solidFill>
                <a:srgbClr val="7ECAC4"/>
              </a:solidFill>
            </c:spPr>
            <c:extLst>
              <c:ext xmlns:c16="http://schemas.microsoft.com/office/drawing/2014/chart" uri="{C3380CC4-5D6E-409C-BE32-E72D297353CC}">
                <c16:uniqueId val="{0000000F-FA3E-4872-B6E1-C4ABDF5766E2}"/>
              </c:ext>
            </c:extLst>
          </c:dPt>
          <c:dPt>
            <c:idx val="7"/>
            <c:invertIfNegative val="1"/>
            <c:bubble3D val="0"/>
            <c:spPr>
              <a:solidFill>
                <a:srgbClr val="AEABAB"/>
              </a:solidFill>
            </c:spPr>
            <c:extLst>
              <c:ext xmlns:c16="http://schemas.microsoft.com/office/drawing/2014/chart" uri="{C3380CC4-5D6E-409C-BE32-E72D297353CC}">
                <c16:uniqueId val="{00000011-FA3E-4872-B6E1-C4ABDF5766E2}"/>
              </c:ext>
            </c:extLst>
          </c:dPt>
          <c:dPt>
            <c:idx val="8"/>
            <c:invertIfNegative val="1"/>
            <c:bubble3D val="0"/>
            <c:spPr>
              <a:solidFill>
                <a:srgbClr val="AEABAB"/>
              </a:solidFill>
            </c:spPr>
            <c:extLst>
              <c:ext xmlns:c16="http://schemas.microsoft.com/office/drawing/2014/chart" uri="{C3380CC4-5D6E-409C-BE32-E72D297353CC}">
                <c16:uniqueId val="{00000013-FA3E-4872-B6E1-C4ABDF5766E2}"/>
              </c:ext>
            </c:extLst>
          </c:dPt>
          <c:dPt>
            <c:idx val="9"/>
            <c:invertIfNegative val="1"/>
            <c:bubble3D val="0"/>
            <c:spPr>
              <a:solidFill>
                <a:srgbClr val="AEABAB"/>
              </a:solidFill>
            </c:spPr>
            <c:extLst>
              <c:ext xmlns:c16="http://schemas.microsoft.com/office/drawing/2014/chart" uri="{C3380CC4-5D6E-409C-BE32-E72D297353CC}">
                <c16:uniqueId val="{00000015-FA3E-4872-B6E1-C4ABDF5766E2}"/>
              </c:ext>
            </c:extLst>
          </c:dPt>
          <c:dPt>
            <c:idx val="10"/>
            <c:invertIfNegative val="1"/>
            <c:bubble3D val="0"/>
            <c:spPr>
              <a:solidFill>
                <a:srgbClr val="AEABAB"/>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12</c:f>
              <c:strCache>
                <c:ptCount val="11"/>
                <c:pt idx="0">
                  <c:v>Kiri Creme Fromage Blanc Frais Carre 1X432Gr 24P</c:v>
                </c:pt>
                <c:pt idx="1">
                  <c:v>Kiri Creme Fromage Blanc Frais Carre 1X216Gr 12P</c:v>
                </c:pt>
                <c:pt idx="2">
                  <c:v>Kiri Gouter Fromage Blanc Dips Boite 1X280Gr 8P</c:v>
                </c:pt>
                <c:pt idx="3">
                  <c:v>Kiri Creme Fromage Blanc Frais Carre 1X144Gr 8P</c:v>
                </c:pt>
                <c:pt idx="4">
                  <c:v>Kiri Gouter Fromage Blanc Dips Boite 1X175Gr 5P</c:v>
                </c:pt>
                <c:pt idx="5">
                  <c:v>Kiri Delicieusement Fouette Fromage Frais A Tartiner 1X125Gr 1P</c:v>
                </c:pt>
                <c:pt idx="6">
                  <c:v>Kiri Bio Fromage Blanc Frais Carre 1X144Gr 8P</c:v>
                </c:pt>
                <c:pt idx="7">
                  <c:v>Kiri Chevre Fromage Blanc Frais Carre 1X144Gr 8P</c:v>
                </c:pt>
                <c:pt idx="8">
                  <c:v>Kiri Delicieusement Fouette Fromage Frais A Tartiner 1X160Gr 10P</c:v>
                </c:pt>
                <c:pt idx="9">
                  <c:v>Kiri Creme Fromage Blanc Frais Carre 1X432Gr 18+6P</c:v>
                </c:pt>
                <c:pt idx="10">
                  <c:v>Kiri Delicieusement Fouette Fromage Frais A Tartiner 1X210Gr 1P</c:v>
                </c:pt>
              </c:strCache>
            </c:strRef>
          </c:cat>
          <c:val>
            <c:numRef>
              <c:f>Sheet1!$C$2:$C$12</c:f>
              <c:numCache>
                <c:formatCode>General</c:formatCode>
                <c:ptCount val="11"/>
                <c:pt idx="0">
                  <c:v>0.24895243454716698</c:v>
                </c:pt>
                <c:pt idx="1">
                  <c:v>0.49502459061967685</c:v>
                </c:pt>
                <c:pt idx="2">
                  <c:v>0.651864556989751</c:v>
                </c:pt>
                <c:pt idx="3">
                  <c:v>0.7746601204005263</c:v>
                </c:pt>
                <c:pt idx="4">
                  <c:v>0.8820395808727268</c:v>
                </c:pt>
                <c:pt idx="5">
                  <c:v>0.9142529556762293</c:v>
                </c:pt>
                <c:pt idx="6">
                  <c:v>0.9398422796911303</c:v>
                </c:pt>
                <c:pt idx="7">
                  <c:v>0.9626250381200938</c:v>
                </c:pt>
                <c:pt idx="8">
                  <c:v>0.9822217148903404</c:v>
                </c:pt>
                <c:pt idx="9">
                  <c:v>0.9984309685115387</c:v>
                </c:pt>
                <c:pt idx="10">
                  <c:v>0.9999999999999999</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12</c:f>
              <c:strCache>
                <c:ptCount val="11"/>
                <c:pt idx="0">
                  <c:v>Kiri Creme Fromage Blanc Frais Carre 1X432Gr 24P</c:v>
                </c:pt>
                <c:pt idx="1">
                  <c:v>Kiri Creme Fromage Blanc Frais Carre 1X216Gr 12P</c:v>
                </c:pt>
                <c:pt idx="2">
                  <c:v>Kiri Gouter Fromage Blanc Dips Boite 1X280Gr 8P</c:v>
                </c:pt>
                <c:pt idx="3">
                  <c:v>Kiri Creme Fromage Blanc Frais Carre 1X144Gr 8P</c:v>
                </c:pt>
                <c:pt idx="4">
                  <c:v>Kiri Gouter Fromage Blanc Dips Boite 1X175Gr 5P</c:v>
                </c:pt>
                <c:pt idx="5">
                  <c:v>Kiri Delicieusement Fouette Fromage Frais A Tartiner 1X125Gr 1P</c:v>
                </c:pt>
                <c:pt idx="6">
                  <c:v>Kiri Bio Fromage Blanc Frais Carre 1X144Gr 8P</c:v>
                </c:pt>
                <c:pt idx="7">
                  <c:v>Kiri Chevre Fromage Blanc Frais Carre 1X144Gr 8P</c:v>
                </c:pt>
                <c:pt idx="8">
                  <c:v>Kiri Delicieusement Fouette Fromage Frais A Tartiner 1X160Gr 10P</c:v>
                </c:pt>
                <c:pt idx="9">
                  <c:v>Kiri Creme Fromage Blanc Frais Carre 1X432Gr 18+6P</c:v>
                </c:pt>
                <c:pt idx="10">
                  <c:v>Kiri Delicieusement Fouette Fromage Frais A Tartiner 1X210Gr 1P</c:v>
                </c:pt>
              </c:strCache>
            </c:strRef>
          </c:cat>
          <c:val>
            <c:numRef>
              <c:f>Sheet1!$D$2:$D$12</c:f>
              <c:numCache>
                <c:formatCode>General</c:formatCode>
                <c:ptCount val="11"/>
                <c:pt idx="0">
                  <c:v>5970.020202020202</c:v>
                </c:pt>
                <c:pt idx="1">
                  <c:v>5841.94</c:v>
                </c:pt>
                <c:pt idx="2">
                  <c:v>3761.1111111111113</c:v>
                </c:pt>
                <c:pt idx="3">
                  <c:v>2915.26</c:v>
                </c:pt>
                <c:pt idx="4">
                  <c:v>2549.27</c:v>
                </c:pt>
                <c:pt idx="5">
                  <c:v>772.4949494949495</c:v>
                </c:pt>
                <c:pt idx="6">
                  <c:v>698.2873563218391</c:v>
                </c:pt>
                <c:pt idx="7">
                  <c:v>614.6363636363636</c:v>
                </c:pt>
                <c:pt idx="8">
                  <c:v>474.734693877551</c:v>
                </c:pt>
                <c:pt idx="9">
                  <c:v>409.3829787234043</c:v>
                </c:pt>
                <c:pt idx="10">
                  <c:v>58.203125</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10</c:f>
              <c:strCache>
                <c:ptCount val="9"/>
                <c:pt idx="0">
                  <c:v>La Vache Qui Rit Nature Fromage Fondu Boite Ronde 1X512Gr 32P</c:v>
                </c:pt>
                <c:pt idx="1">
                  <c:v>La Vache Qui Rit Nature Fromage Fondu Boite Ronde 1X192Gr 12P</c:v>
                </c:pt>
                <c:pt idx="2">
                  <c:v>La Vache Qui Rit Nature Fromage Fondu Boite Ronde 1X384Gr 24P</c:v>
                </c:pt>
                <c:pt idx="3">
                  <c:v>La Vache Qui Rit Pik Et Croq' Fromage Fondu Dips Boite 1X280Gr 8P</c:v>
                </c:pt>
                <c:pt idx="4">
                  <c:v>La Vache Qui Rit Pik Et Croq' Fromage Fondu Dips Boite 1X175Gr 5P</c:v>
                </c:pt>
                <c:pt idx="5">
                  <c:v>La Vache Qui Rit Allegee Fromage Fondu Boite Ronde Allege 1X267Gr 16P</c:v>
                </c:pt>
                <c:pt idx="6">
                  <c:v>La Vache Qui Rit Aro Fromage Fondu Boite Ronde Jambon 1X133Gr 8P</c:v>
                </c:pt>
                <c:pt idx="7">
                  <c:v>La Vache Qui Rit Nature Fromage Fondu Boite Ronde 1X512Gr 24+8P</c:v>
                </c:pt>
                <c:pt idx="8">
                  <c:v>La Vache Qui Rit Nature Fromage Fondu Boite Ronde 1X128Gr 8P</c:v>
                </c:pt>
              </c:strCache>
            </c:strRef>
          </c:cat>
          <c:val>
            <c:numRef>
              <c:f>Sheet1!$B$2:$B$10</c:f>
              <c:numCache>
                <c:formatCode>General</c:formatCode>
                <c:ptCount val="9"/>
                <c:pt idx="0">
                  <c:v>0.99</c:v>
                </c:pt>
                <c:pt idx="1">
                  <c:v>1.0</c:v>
                </c:pt>
                <c:pt idx="2">
                  <c:v>1.0</c:v>
                </c:pt>
                <c:pt idx="3">
                  <c:v>0.98</c:v>
                </c:pt>
                <c:pt idx="4">
                  <c:v>0.99</c:v>
                </c:pt>
                <c:pt idx="5">
                  <c:v>0.97</c:v>
                </c:pt>
                <c:pt idx="6">
                  <c:v>0.92</c:v>
                </c:pt>
                <c:pt idx="7">
                  <c:v>0.32</c:v>
                </c:pt>
                <c:pt idx="8">
                  <c:v>0.13</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7ECAC4"/>
              </a:solidFill>
            </c:spPr>
            <c:extLst>
              <c:ext xmlns:c16="http://schemas.microsoft.com/office/drawing/2014/chart" uri="{C3380CC4-5D6E-409C-BE32-E72D297353CC}">
                <c16:uniqueId val="{00000006-E902-46E2-9A54-39A26B3DFDC1}"/>
              </c:ext>
            </c:extLst>
          </c:dPt>
          <c:dPt>
            <c:idx val="3"/>
            <c:invertIfNegative val="0"/>
            <c:bubble3D val="0"/>
            <c:spPr>
              <a:solidFill>
                <a:srgbClr val="7ECAC4"/>
              </a:solidFill>
            </c:spPr>
            <c:extLst>
              <c:ext xmlns:c16="http://schemas.microsoft.com/office/drawing/2014/chart" uri="{C3380CC4-5D6E-409C-BE32-E72D297353CC}">
                <c16:uniqueId val="{00000007-E902-46E2-9A54-39A26B3DFDC1}"/>
              </c:ext>
            </c:extLst>
          </c:dPt>
          <c:dPt>
            <c:idx val="4"/>
            <c:invertIfNegative val="1"/>
            <c:bubble3D val="0"/>
            <c:spPr>
              <a:solidFill>
                <a:srgbClr val="7ECAC4"/>
              </a:solidFill>
            </c:spPr>
            <c:extLst>
              <c:ext xmlns:c16="http://schemas.microsoft.com/office/drawing/2014/chart" uri="{C3380CC4-5D6E-409C-BE32-E72D297353CC}">
                <c16:uniqueId val="{0000000B-FA3E-4872-B6E1-C4ABDF5766E2}"/>
              </c:ext>
            </c:extLst>
          </c:dPt>
          <c:dPt>
            <c:idx val="5"/>
            <c:invertIfNegative val="1"/>
            <c:bubble3D val="0"/>
            <c:spPr>
              <a:solidFill>
                <a:srgbClr val="AEABAB"/>
              </a:solidFill>
            </c:spPr>
            <c:extLst>
              <c:ext xmlns:c16="http://schemas.microsoft.com/office/drawing/2014/chart" uri="{C3380CC4-5D6E-409C-BE32-E72D297353CC}">
                <c16:uniqueId val="{0000000D-FA3E-4872-B6E1-C4ABDF5766E2}"/>
              </c:ext>
            </c:extLst>
          </c:dPt>
          <c:dPt>
            <c:idx val="6"/>
            <c:invertIfNegative val="1"/>
            <c:bubble3D val="0"/>
            <c:spPr>
              <a:solidFill>
                <a:srgbClr val="AEABAB"/>
              </a:solidFill>
            </c:spPr>
            <c:extLst>
              <c:ext xmlns:c16="http://schemas.microsoft.com/office/drawing/2014/chart" uri="{C3380CC4-5D6E-409C-BE32-E72D297353CC}">
                <c16:uniqueId val="{0000000F-FA3E-4872-B6E1-C4ABDF5766E2}"/>
              </c:ext>
            </c:extLst>
          </c:dPt>
          <c:dPt>
            <c:idx val="7"/>
            <c:invertIfNegative val="1"/>
            <c:bubble3D val="0"/>
            <c:spPr>
              <a:solidFill>
                <a:srgbClr val="AEABAB"/>
              </a:solidFill>
            </c:spPr>
            <c:extLst>
              <c:ext xmlns:c16="http://schemas.microsoft.com/office/drawing/2014/chart" uri="{C3380CC4-5D6E-409C-BE32-E72D297353CC}">
                <c16:uniqueId val="{00000011-FA3E-4872-B6E1-C4ABDF5766E2}"/>
              </c:ext>
            </c:extLst>
          </c:dPt>
          <c:dPt>
            <c:idx val="8"/>
            <c:invertIfNegative val="1"/>
            <c:bubble3D val="0"/>
            <c:spPr>
              <a:solidFill>
                <a:srgbClr val="AEABAB"/>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10</c:f>
              <c:strCache>
                <c:ptCount val="9"/>
                <c:pt idx="0">
                  <c:v>La Vache Qui Rit Nature Fromage Fondu Boite Ronde 1X512Gr 32P</c:v>
                </c:pt>
                <c:pt idx="1">
                  <c:v>La Vache Qui Rit Nature Fromage Fondu Boite Ronde 1X192Gr 12P</c:v>
                </c:pt>
                <c:pt idx="2">
                  <c:v>La Vache Qui Rit Nature Fromage Fondu Boite Ronde 1X384Gr 24P</c:v>
                </c:pt>
                <c:pt idx="3">
                  <c:v>La Vache Qui Rit Pik Et Croq' Fromage Fondu Dips Boite 1X280Gr 8P</c:v>
                </c:pt>
                <c:pt idx="4">
                  <c:v>La Vache Qui Rit Pik Et Croq' Fromage Fondu Dips Boite 1X175Gr 5P</c:v>
                </c:pt>
                <c:pt idx="5">
                  <c:v>La Vache Qui Rit Allegee Fromage Fondu Boite Ronde Allege 1X267Gr 16P</c:v>
                </c:pt>
                <c:pt idx="6">
                  <c:v>La Vache Qui Rit Aro Fromage Fondu Boite Ronde Jambon 1X133Gr 8P</c:v>
                </c:pt>
                <c:pt idx="7">
                  <c:v>La Vache Qui Rit Nature Fromage Fondu Boite Ronde 1X512Gr 24+8P</c:v>
                </c:pt>
                <c:pt idx="8">
                  <c:v>La Vache Qui Rit Nature Fromage Fondu Boite Ronde 1X128Gr 8P</c:v>
                </c:pt>
              </c:strCache>
            </c:strRef>
          </c:cat>
          <c:val>
            <c:numRef>
              <c:f>Sheet1!$C$2:$C$10</c:f>
              <c:numCache>
                <c:formatCode>General</c:formatCode>
                <c:ptCount val="9"/>
                <c:pt idx="0">
                  <c:v>0.35159754212337546</c:v>
                </c:pt>
                <c:pt idx="1">
                  <c:v>0.5909459406971235</c:v>
                </c:pt>
                <c:pt idx="2">
                  <c:v>0.8063379658041312</c:v>
                </c:pt>
                <c:pt idx="3">
                  <c:v>0.8751945560052514</c:v>
                </c:pt>
                <c:pt idx="4">
                  <c:v>0.9395430711028596</c:v>
                </c:pt>
                <c:pt idx="5">
                  <c:v>0.9748050555818815</c:v>
                </c:pt>
                <c:pt idx="6">
                  <c:v>0.9981853350837808</c:v>
                </c:pt>
                <c:pt idx="7">
                  <c:v>0.9999487295015111</c:v>
                </c:pt>
                <c:pt idx="8">
                  <c:v>0.9999801132611923</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10</c:f>
              <c:strCache>
                <c:ptCount val="9"/>
                <c:pt idx="0">
                  <c:v>La Vache Qui Rit Nature Fromage Fondu Boite Ronde 1X512Gr 32P</c:v>
                </c:pt>
                <c:pt idx="1">
                  <c:v>La Vache Qui Rit Nature Fromage Fondu Boite Ronde 1X192Gr 12P</c:v>
                </c:pt>
                <c:pt idx="2">
                  <c:v>La Vache Qui Rit Nature Fromage Fondu Boite Ronde 1X384Gr 24P</c:v>
                </c:pt>
                <c:pt idx="3">
                  <c:v>La Vache Qui Rit Pik Et Croq' Fromage Fondu Dips Boite 1X280Gr 8P</c:v>
                </c:pt>
                <c:pt idx="4">
                  <c:v>La Vache Qui Rit Pik Et Croq' Fromage Fondu Dips Boite 1X175Gr 5P</c:v>
                </c:pt>
                <c:pt idx="5">
                  <c:v>La Vache Qui Rit Allegee Fromage Fondu Boite Ronde Allege 1X267Gr 16P</c:v>
                </c:pt>
                <c:pt idx="6">
                  <c:v>La Vache Qui Rit Aro Fromage Fondu Boite Ronde Jambon 1X133Gr 8P</c:v>
                </c:pt>
                <c:pt idx="7">
                  <c:v>La Vache Qui Rit Nature Fromage Fondu Boite Ronde 1X512Gr 24+8P</c:v>
                </c:pt>
                <c:pt idx="8">
                  <c:v>La Vache Qui Rit Nature Fromage Fondu Boite Ronde 1X128Gr 8P</c:v>
                </c:pt>
              </c:strCache>
            </c:strRef>
          </c:cat>
          <c:val>
            <c:numRef>
              <c:f>Sheet1!$D$2:$D$10</c:f>
              <c:numCache>
                <c:formatCode>General</c:formatCode>
                <c:ptCount val="9"/>
                <c:pt idx="0">
                  <c:v>11429.494949494949</c:v>
                </c:pt>
                <c:pt idx="1">
                  <c:v>7702.77</c:v>
                </c:pt>
                <c:pt idx="2">
                  <c:v>6931.8</c:v>
                </c:pt>
                <c:pt idx="3">
                  <c:v>2261.183673469388</c:v>
                </c:pt>
                <c:pt idx="4">
                  <c:v>2091.7979797979797</c:v>
                </c:pt>
                <c:pt idx="5">
                  <c:v>1169.9072164948454</c:v>
                </c:pt>
                <c:pt idx="6">
                  <c:v>817.8586956521739</c:v>
                </c:pt>
                <c:pt idx="7">
                  <c:v>177.34375</c:v>
                </c:pt>
                <c:pt idx="8">
                  <c:v>7.76923076923076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25</c:f>
              <c:strCache>
                <c:ptCount val="24"/>
                <c:pt idx="0">
                  <c:v>Boursin Classique Fromage Frais A Tartiner Afh Boite 1X250Gr 1P</c:v>
                </c:pt>
                <c:pt idx="1">
                  <c:v>Boursin Classique Fromage Frais A Tartiner Afh 1X160Gr 10P</c:v>
                </c:pt>
                <c:pt idx="2">
                  <c:v>Boursin Aperitif Roules Fromage Frais Roule Afh Et Jambon Fume Boite 1X100Gr 20P</c:v>
                </c:pt>
                <c:pt idx="3">
                  <c:v>Boursin Classique Fromage Frais A Tartiner Afh Boite 1X150Gr 1P</c:v>
                </c:pt>
                <c:pt idx="4">
                  <c:v>Boursin Aperitif Roules Fromage Frais Roule Ciboulette &amp; Echalote Jambon Fume Boite 1X100Gr 20P</c:v>
                </c:pt>
                <c:pt idx="5">
                  <c:v>Boursin Salade &amp; Aperitif Fromage Frais Des Afh 1X120Gr 1P</c:v>
                </c:pt>
                <c:pt idx="6">
                  <c:v>Boursin Classique Fromage Frais A Tartiner Afh 1X256Gr 16P</c:v>
                </c:pt>
                <c:pt idx="7">
                  <c:v>Boursin Onctueux Fromage Frais A Tartiner Afh 1X125Gr 1P</c:v>
                </c:pt>
                <c:pt idx="8">
                  <c:v>Boursin Classique Fromage Frais A Tartiner Afh Boite 1X96Gr 6P</c:v>
                </c:pt>
                <c:pt idx="9">
                  <c:v>Boursin Classique Fromage Frais A Tartiner Figue Et 3 Noix Boite 1X150Gr 1P</c:v>
                </c:pt>
                <c:pt idx="10">
                  <c:v>Boursin Aperitif Roules Fromage Frais Roule Basilic &amp; Jambon Fume Tomate Boite 1X100Gr 20P</c:v>
                </c:pt>
                <c:pt idx="11">
                  <c:v>Boursin Classique Fromage Frais A Tartiner Ciboulette &amp; Echalote Boite 1X150Gr 1P</c:v>
                </c:pt>
                <c:pt idx="12">
                  <c:v>Boursin Classique Fromage Frais A Tartiner Poivre Boite 1X150Gr 1P</c:v>
                </c:pt>
                <c:pt idx="13">
                  <c:v>Boursin Cuisine Sauce Fromage Afh 1X240Gr 1P</c:v>
                </c:pt>
                <c:pt idx="14">
                  <c:v>Boursin Classique Fromage Frais A Tartiner Ciboulette &amp; Echalote 1X160Gr 10P</c:v>
                </c:pt>
                <c:pt idx="15">
                  <c:v>Boursin Salade &amp; Aperitif Fromage Frais Des Ciboulette Echalote 1X120Gr 1P</c:v>
                </c:pt>
                <c:pt idx="16">
                  <c:v>Boursin Salade &amp; Aperitif Fromage Frais Des Figue Noix 1X120Gr 1P</c:v>
                </c:pt>
                <c:pt idx="17">
                  <c:v>Boursin Classique Fromage Frais A Tartiner Afh Boite 1X80Gr 1P</c:v>
                </c:pt>
                <c:pt idx="18">
                  <c:v>Boursin Salade &amp; Aperitif Fromage Frais Des Citron Romarin 1X120Gr 1P</c:v>
                </c:pt>
                <c:pt idx="19">
                  <c:v>Boursin Salade &amp; Aperitif Fromage Frais Des Noisette Et 3 Noix 1X120Gr 1P</c:v>
                </c:pt>
                <c:pt idx="20">
                  <c:v>Boursin Aperitif Roules Fromage Frais Roule Jambon Fume &amp; Trio De Noix Boite 1X100Gr 20P</c:v>
                </c:pt>
                <c:pt idx="21">
                  <c:v>Boursin Classique Fromage Frais A Tartiner Truffe Boite 1X150Gr 1P</c:v>
                </c:pt>
                <c:pt idx="22">
                  <c:v>Boursin Salade &amp; Aperitif Soft Cheese Salade 120G</c:v>
                </c:pt>
                <c:pt idx="23">
                  <c:v>Boursin Aperitif Roules Aperitif 100G</c:v>
                </c:pt>
              </c:strCache>
            </c:strRef>
          </c:cat>
          <c:val>
            <c:numRef>
              <c:f>Sheet1!$B$2:$B$25</c:f>
              <c:numCache>
                <c:formatCode>General</c:formatCode>
                <c:ptCount val="24"/>
                <c:pt idx="0">
                  <c:v>1.0</c:v>
                </c:pt>
                <c:pt idx="1">
                  <c:v>1.0</c:v>
                </c:pt>
                <c:pt idx="2">
                  <c:v>0.99</c:v>
                </c:pt>
                <c:pt idx="3">
                  <c:v>1.0</c:v>
                </c:pt>
                <c:pt idx="4">
                  <c:v>0.99</c:v>
                </c:pt>
                <c:pt idx="5">
                  <c:v>1.0</c:v>
                </c:pt>
                <c:pt idx="6">
                  <c:v>0.99</c:v>
                </c:pt>
                <c:pt idx="7">
                  <c:v>0.99</c:v>
                </c:pt>
                <c:pt idx="8">
                  <c:v>0.99</c:v>
                </c:pt>
                <c:pt idx="9">
                  <c:v>1.0</c:v>
                </c:pt>
                <c:pt idx="10">
                  <c:v>0.98</c:v>
                </c:pt>
                <c:pt idx="11">
                  <c:v>1.0</c:v>
                </c:pt>
                <c:pt idx="12">
                  <c:v>0.99</c:v>
                </c:pt>
                <c:pt idx="13">
                  <c:v>0.96</c:v>
                </c:pt>
                <c:pt idx="14">
                  <c:v>0.98</c:v>
                </c:pt>
                <c:pt idx="15">
                  <c:v>0.95</c:v>
                </c:pt>
                <c:pt idx="16">
                  <c:v>0.97</c:v>
                </c:pt>
                <c:pt idx="17">
                  <c:v>0.7</c:v>
                </c:pt>
                <c:pt idx="18">
                  <c:v>0.93</c:v>
                </c:pt>
                <c:pt idx="19">
                  <c:v>0.99</c:v>
                </c:pt>
                <c:pt idx="20">
                  <c:v>0.96</c:v>
                </c:pt>
                <c:pt idx="21">
                  <c:v>0.92</c:v>
                </c:pt>
                <c:pt idx="22">
                  <c:v>0.73</c:v>
                </c:pt>
                <c:pt idx="23">
                  <c:v>0.86</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7ECAC4"/>
              </a:solidFill>
            </c:spPr>
            <c:extLst>
              <c:ext xmlns:c16="http://schemas.microsoft.com/office/drawing/2014/chart" uri="{C3380CC4-5D6E-409C-BE32-E72D297353CC}">
                <c16:uniqueId val="{00000017-FA3E-4872-B6E1-C4ABDF5766E2}"/>
              </c:ext>
            </c:extLst>
          </c:dPt>
          <c:dPt>
            <c:idx val="11"/>
            <c:invertIfNegative val="1"/>
            <c:bubble3D val="0"/>
            <c:spPr>
              <a:solidFill>
                <a:srgbClr val="7ECAC4"/>
              </a:solidFill>
            </c:spPr>
            <c:extLst>
              <c:ext xmlns:c16="http://schemas.microsoft.com/office/drawing/2014/chart" uri="{C3380CC4-5D6E-409C-BE32-E72D297353CC}">
                <c16:uniqueId val="{00000019-FA3E-4872-B6E1-C4ABDF5766E2}"/>
              </c:ext>
            </c:extLst>
          </c:dPt>
          <c:dPt>
            <c:idx val="12"/>
            <c:invertIfNegative val="1"/>
            <c:bubble3D val="0"/>
            <c:spPr>
              <a:solidFill>
                <a:srgbClr val="7ECAC4"/>
              </a:solidFill>
            </c:spPr>
            <c:extLst>
              <c:ext xmlns:c16="http://schemas.microsoft.com/office/drawing/2014/chart" uri="{C3380CC4-5D6E-409C-BE32-E72D297353CC}">
                <c16:uniqueId val="{0000001B-FA3E-4872-B6E1-C4ABDF5766E2}"/>
              </c:ext>
            </c:extLst>
          </c:dPt>
          <c:dPt>
            <c:idx val="13"/>
            <c:invertIfNegative val="1"/>
            <c:bubble3D val="0"/>
            <c:spPr>
              <a:solidFill>
                <a:srgbClr val="7ECAC4"/>
              </a:solidFill>
            </c:spPr>
            <c:extLst>
              <c:ext xmlns:c16="http://schemas.microsoft.com/office/drawing/2014/chart" uri="{C3380CC4-5D6E-409C-BE32-E72D297353CC}">
                <c16:uniqueId val="{0000001D-FA3E-4872-B6E1-C4ABDF5766E2}"/>
              </c:ext>
            </c:extLst>
          </c:dPt>
          <c:dPt>
            <c:idx val="14"/>
            <c:invertIfNegative val="1"/>
            <c:bubble3D val="0"/>
            <c:spPr>
              <a:solidFill>
                <a:srgbClr val="7ECAC4"/>
              </a:solidFill>
            </c:spPr>
            <c:extLst>
              <c:ext xmlns:c16="http://schemas.microsoft.com/office/drawing/2014/chart" uri="{C3380CC4-5D6E-409C-BE32-E72D297353CC}">
                <c16:uniqueId val="{0000001F-FA3E-4872-B6E1-C4ABDF5766E2}"/>
              </c:ext>
            </c:extLst>
          </c:dPt>
          <c:dPt>
            <c:idx val="15"/>
            <c:invertIfNegative val="1"/>
            <c:bubble3D val="0"/>
            <c:spPr>
              <a:solidFill>
                <a:srgbClr val="AEABAB"/>
              </a:solidFill>
            </c:spPr>
            <c:extLst>
              <c:ext xmlns:c16="http://schemas.microsoft.com/office/drawing/2014/chart" uri="{C3380CC4-5D6E-409C-BE32-E72D297353CC}">
                <c16:uniqueId val="{00000021-FA3E-4872-B6E1-C4ABDF5766E2}"/>
              </c:ext>
            </c:extLst>
          </c:dPt>
          <c:dPt>
            <c:idx val="16"/>
            <c:invertIfNegative val="1"/>
            <c:bubble3D val="0"/>
            <c:spPr>
              <a:solidFill>
                <a:srgbClr val="AEABAB"/>
              </a:solidFill>
            </c:spPr>
            <c:extLst>
              <c:ext xmlns:c16="http://schemas.microsoft.com/office/drawing/2014/chart" uri="{C3380CC4-5D6E-409C-BE32-E72D297353CC}">
                <c16:uniqueId val="{00000023-FA3E-4872-B6E1-C4ABDF5766E2}"/>
              </c:ext>
            </c:extLst>
          </c:dPt>
          <c:dPt>
            <c:idx val="17"/>
            <c:invertIfNegative val="1"/>
            <c:bubble3D val="0"/>
            <c:spPr>
              <a:solidFill>
                <a:srgbClr val="AEABAB"/>
              </a:solidFill>
            </c:spPr>
            <c:extLst>
              <c:ext xmlns:c16="http://schemas.microsoft.com/office/drawing/2014/chart" uri="{C3380CC4-5D6E-409C-BE32-E72D297353CC}">
                <c16:uniqueId val="{00000025-FA3E-4872-B6E1-C4ABDF5766E2}"/>
              </c:ext>
            </c:extLst>
          </c:dPt>
          <c:dPt>
            <c:idx val="18"/>
            <c:invertIfNegative val="1"/>
            <c:bubble3D val="0"/>
            <c:spPr>
              <a:solidFill>
                <a:srgbClr val="AEABAB"/>
              </a:solidFill>
            </c:spPr>
            <c:extLst>
              <c:ext xmlns:c16="http://schemas.microsoft.com/office/drawing/2014/chart" uri="{C3380CC4-5D6E-409C-BE32-E72D297353CC}">
                <c16:uniqueId val="{00000027-FA3E-4872-B6E1-C4ABDF5766E2}"/>
              </c:ext>
            </c:extLst>
          </c:dPt>
          <c:dPt>
            <c:idx val="19"/>
            <c:invertIfNegative val="1"/>
            <c:bubble3D val="0"/>
            <c:spPr>
              <a:solidFill>
                <a:srgbClr val="AEABAB"/>
              </a:solidFill>
            </c:spPr>
            <c:extLst>
              <c:ext xmlns:c16="http://schemas.microsoft.com/office/drawing/2014/chart" uri="{C3380CC4-5D6E-409C-BE32-E72D297353CC}">
                <c16:uniqueId val="{00000029-FA3E-4872-B6E1-C4ABDF5766E2}"/>
              </c:ext>
            </c:extLst>
          </c:dPt>
          <c:dPt>
            <c:idx val="20"/>
            <c:invertIfNegative val="1"/>
            <c:bubble3D val="0"/>
            <c:spPr>
              <a:solidFill>
                <a:srgbClr val="AEABAB"/>
              </a:solidFill>
            </c:spPr>
            <c:extLst>
              <c:ext xmlns:c16="http://schemas.microsoft.com/office/drawing/2014/chart" uri="{C3380CC4-5D6E-409C-BE32-E72D297353CC}">
                <c16:uniqueId val="{0000002B-FA3E-4872-B6E1-C4ABDF5766E2}"/>
              </c:ext>
            </c:extLst>
          </c:dPt>
          <c:dPt>
            <c:idx val="21"/>
            <c:invertIfNegative val="1"/>
            <c:bubble3D val="0"/>
            <c:spPr>
              <a:solidFill>
                <a:srgbClr val="AEABAB"/>
              </a:solidFill>
            </c:spPr>
            <c:extLst>
              <c:ext xmlns:c16="http://schemas.microsoft.com/office/drawing/2014/chart" uri="{C3380CC4-5D6E-409C-BE32-E72D297353CC}">
                <c16:uniqueId val="{0000002D-FA3E-4872-B6E1-C4ABDF5766E2}"/>
              </c:ext>
            </c:extLst>
          </c:dPt>
          <c:dPt>
            <c:idx val="22"/>
            <c:invertIfNegative val="1"/>
            <c:bubble3D val="0"/>
            <c:spPr>
              <a:solidFill>
                <a:srgbClr val="AEABAB"/>
              </a:solidFill>
            </c:spPr>
            <c:extLst>
              <c:ext xmlns:c16="http://schemas.microsoft.com/office/drawing/2014/chart" uri="{C3380CC4-5D6E-409C-BE32-E72D297353CC}">
                <c16:uniqueId val="{0000002F-FA3E-4872-B6E1-C4ABDF5766E2}"/>
              </c:ext>
            </c:extLst>
          </c:dPt>
          <c:dPt>
            <c:idx val="23"/>
            <c:invertIfNegative val="1"/>
            <c:bubble3D val="0"/>
            <c:spPr>
              <a:solidFill>
                <a:srgbClr val="AEABAB"/>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25</c:f>
              <c:strCache>
                <c:ptCount val="24"/>
                <c:pt idx="0">
                  <c:v>Boursin Classique Fromage Frais A Tartiner Afh Boite 1X250Gr 1P</c:v>
                </c:pt>
                <c:pt idx="1">
                  <c:v>Boursin Classique Fromage Frais A Tartiner Afh 1X160Gr 10P</c:v>
                </c:pt>
                <c:pt idx="2">
                  <c:v>Boursin Aperitif Roules Fromage Frais Roule Afh Et Jambon Fume Boite 1X100Gr 20P</c:v>
                </c:pt>
                <c:pt idx="3">
                  <c:v>Boursin Classique Fromage Frais A Tartiner Afh Boite 1X150Gr 1P</c:v>
                </c:pt>
                <c:pt idx="4">
                  <c:v>Boursin Aperitif Roules Fromage Frais Roule Ciboulette &amp; Echalote Jambon Fume Boite 1X100Gr 20P</c:v>
                </c:pt>
                <c:pt idx="5">
                  <c:v>Boursin Salade &amp; Aperitif Fromage Frais Des Afh 1X120Gr 1P</c:v>
                </c:pt>
                <c:pt idx="6">
                  <c:v>Boursin Classique Fromage Frais A Tartiner Afh 1X256Gr 16P</c:v>
                </c:pt>
                <c:pt idx="7">
                  <c:v>Boursin Onctueux Fromage Frais A Tartiner Afh 1X125Gr 1P</c:v>
                </c:pt>
                <c:pt idx="8">
                  <c:v>Boursin Classique Fromage Frais A Tartiner Afh Boite 1X96Gr 6P</c:v>
                </c:pt>
                <c:pt idx="9">
                  <c:v>Boursin Classique Fromage Frais A Tartiner Figue Et 3 Noix Boite 1X150Gr 1P</c:v>
                </c:pt>
                <c:pt idx="10">
                  <c:v>Boursin Aperitif Roules Fromage Frais Roule Basilic &amp; Jambon Fume Tomate Boite 1X100Gr 20P</c:v>
                </c:pt>
                <c:pt idx="11">
                  <c:v>Boursin Classique Fromage Frais A Tartiner Ciboulette &amp; Echalote Boite 1X150Gr 1P</c:v>
                </c:pt>
                <c:pt idx="12">
                  <c:v>Boursin Classique Fromage Frais A Tartiner Poivre Boite 1X150Gr 1P</c:v>
                </c:pt>
                <c:pt idx="13">
                  <c:v>Boursin Cuisine Sauce Fromage Afh 1X240Gr 1P</c:v>
                </c:pt>
                <c:pt idx="14">
                  <c:v>Boursin Classique Fromage Frais A Tartiner Ciboulette &amp; Echalote 1X160Gr 10P</c:v>
                </c:pt>
                <c:pt idx="15">
                  <c:v>Boursin Salade &amp; Aperitif Fromage Frais Des Ciboulette Echalote 1X120Gr 1P</c:v>
                </c:pt>
                <c:pt idx="16">
                  <c:v>Boursin Salade &amp; Aperitif Fromage Frais Des Figue Noix 1X120Gr 1P</c:v>
                </c:pt>
                <c:pt idx="17">
                  <c:v>Boursin Classique Fromage Frais A Tartiner Afh Boite 1X80Gr 1P</c:v>
                </c:pt>
                <c:pt idx="18">
                  <c:v>Boursin Salade &amp; Aperitif Fromage Frais Des Citron Romarin 1X120Gr 1P</c:v>
                </c:pt>
                <c:pt idx="19">
                  <c:v>Boursin Salade &amp; Aperitif Fromage Frais Des Noisette Et 3 Noix 1X120Gr 1P</c:v>
                </c:pt>
                <c:pt idx="20">
                  <c:v>Boursin Aperitif Roules Fromage Frais Roule Jambon Fume &amp; Trio De Noix Boite 1X100Gr 20P</c:v>
                </c:pt>
                <c:pt idx="21">
                  <c:v>Boursin Classique Fromage Frais A Tartiner Truffe Boite 1X150Gr 1P</c:v>
                </c:pt>
                <c:pt idx="22">
                  <c:v>Boursin Salade &amp; Aperitif Soft Cheese Salade 120G</c:v>
                </c:pt>
                <c:pt idx="23">
                  <c:v>Boursin Aperitif Roules Aperitif 100G</c:v>
                </c:pt>
              </c:strCache>
            </c:strRef>
          </c:cat>
          <c:val>
            <c:numRef>
              <c:f>Sheet1!$C$2:$C$25</c:f>
              <c:numCache>
                <c:formatCode>General</c:formatCode>
                <c:ptCount val="24"/>
                <c:pt idx="0">
                  <c:v>0.1429616768730996</c:v>
                </c:pt>
                <c:pt idx="1">
                  <c:v>0.26548944490444504</c:v>
                </c:pt>
                <c:pt idx="2">
                  <c:v>0.38002110809843653</c:v>
                </c:pt>
                <c:pt idx="3">
                  <c:v>0.48467500434229716</c:v>
                </c:pt>
                <c:pt idx="4">
                  <c:v>0.5558227589386797</c:v>
                </c:pt>
                <c:pt idx="5">
                  <c:v>0.6056768647288976</c:v>
                </c:pt>
                <c:pt idx="6">
                  <c:v>0.6550904627807582</c:v>
                </c:pt>
                <c:pt idx="7">
                  <c:v>0.7030709283726744</c:v>
                </c:pt>
                <c:pt idx="8">
                  <c:v>0.7501620077945106</c:v>
                </c:pt>
                <c:pt idx="9">
                  <c:v>0.7905010766804341</c:v>
                </c:pt>
                <c:pt idx="10">
                  <c:v>0.8260671064535953</c:v>
                </c:pt>
                <c:pt idx="11">
                  <c:v>0.8603482347951587</c:v>
                </c:pt>
                <c:pt idx="12">
                  <c:v>0.8910386844618307</c:v>
                </c:pt>
                <c:pt idx="13">
                  <c:v>0.9184851416704974</c:v>
                </c:pt>
                <c:pt idx="14">
                  <c:v>0.9439449543204288</c:v>
                </c:pt>
                <c:pt idx="15">
                  <c:v>0.9595862924315679</c:v>
                </c:pt>
                <c:pt idx="16">
                  <c:v>0.9700779102284991</c:v>
                </c:pt>
                <c:pt idx="17">
                  <c:v>0.9775627052127797</c:v>
                </c:pt>
                <c:pt idx="18">
                  <c:v>0.9839589612806604</c:v>
                </c:pt>
                <c:pt idx="19">
                  <c:v>0.9887117712177895</c:v>
                </c:pt>
                <c:pt idx="20">
                  <c:v>0.9920614436795337</c:v>
                </c:pt>
                <c:pt idx="21">
                  <c:v>0.9947951726211363</c:v>
                </c:pt>
                <c:pt idx="22">
                  <c:v>0.9975048358193132</c:v>
                </c:pt>
                <c:pt idx="23">
                  <c:v>1.000000000000000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25</c:f>
              <c:strCache>
                <c:ptCount val="24"/>
                <c:pt idx="0">
                  <c:v>Boursin Classique Fromage Frais A Tartiner Afh Boite 1X250Gr 1P</c:v>
                </c:pt>
                <c:pt idx="1">
                  <c:v>Boursin Classique Fromage Frais A Tartiner Afh 1X160Gr 10P</c:v>
                </c:pt>
                <c:pt idx="2">
                  <c:v>Boursin Aperitif Roules Fromage Frais Roule Afh Et Jambon Fume Boite 1X100Gr 20P</c:v>
                </c:pt>
                <c:pt idx="3">
                  <c:v>Boursin Classique Fromage Frais A Tartiner Afh Boite 1X150Gr 1P</c:v>
                </c:pt>
                <c:pt idx="4">
                  <c:v>Boursin Aperitif Roules Fromage Frais Roule Ciboulette &amp; Echalote Jambon Fume Boite 1X100Gr 20P</c:v>
                </c:pt>
                <c:pt idx="5">
                  <c:v>Boursin Salade &amp; Aperitif Fromage Frais Des Afh 1X120Gr 1P</c:v>
                </c:pt>
                <c:pt idx="6">
                  <c:v>Boursin Classique Fromage Frais A Tartiner Afh 1X256Gr 16P</c:v>
                </c:pt>
                <c:pt idx="7">
                  <c:v>Boursin Onctueux Fromage Frais A Tartiner Afh 1X125Gr 1P</c:v>
                </c:pt>
                <c:pt idx="8">
                  <c:v>Boursin Classique Fromage Frais A Tartiner Afh Boite 1X96Gr 6P</c:v>
                </c:pt>
                <c:pt idx="9">
                  <c:v>Boursin Classique Fromage Frais A Tartiner Figue Et 3 Noix Boite 1X150Gr 1P</c:v>
                </c:pt>
                <c:pt idx="10">
                  <c:v>Boursin Aperitif Roules Fromage Frais Roule Basilic &amp; Jambon Fume Tomate Boite 1X100Gr 20P</c:v>
                </c:pt>
                <c:pt idx="11">
                  <c:v>Boursin Classique Fromage Frais A Tartiner Ciboulette &amp; Echalote Boite 1X150Gr 1P</c:v>
                </c:pt>
                <c:pt idx="12">
                  <c:v>Boursin Classique Fromage Frais A Tartiner Poivre Boite 1X150Gr 1P</c:v>
                </c:pt>
                <c:pt idx="13">
                  <c:v>Boursin Cuisine Sauce Fromage Afh 1X240Gr 1P</c:v>
                </c:pt>
                <c:pt idx="14">
                  <c:v>Boursin Classique Fromage Frais A Tartiner Ciboulette &amp; Echalote 1X160Gr 10P</c:v>
                </c:pt>
                <c:pt idx="15">
                  <c:v>Boursin Salade &amp; Aperitif Fromage Frais Des Ciboulette Echalote 1X120Gr 1P</c:v>
                </c:pt>
                <c:pt idx="16">
                  <c:v>Boursin Salade &amp; Aperitif Fromage Frais Des Figue Noix 1X120Gr 1P</c:v>
                </c:pt>
                <c:pt idx="17">
                  <c:v>Boursin Classique Fromage Frais A Tartiner Afh Boite 1X80Gr 1P</c:v>
                </c:pt>
                <c:pt idx="18">
                  <c:v>Boursin Salade &amp; Aperitif Fromage Frais Des Citron Romarin 1X120Gr 1P</c:v>
                </c:pt>
                <c:pt idx="19">
                  <c:v>Boursin Salade &amp; Aperitif Fromage Frais Des Noisette Et 3 Noix 1X120Gr 1P</c:v>
                </c:pt>
                <c:pt idx="20">
                  <c:v>Boursin Aperitif Roules Fromage Frais Roule Jambon Fume &amp; Trio De Noix Boite 1X100Gr 20P</c:v>
                </c:pt>
                <c:pt idx="21">
                  <c:v>Boursin Classique Fromage Frais A Tartiner Truffe Boite 1X150Gr 1P</c:v>
                </c:pt>
                <c:pt idx="22">
                  <c:v>Boursin Salade &amp; Aperitif Soft Cheese Salade 120G</c:v>
                </c:pt>
                <c:pt idx="23">
                  <c:v>Boursin Aperitif Roules Aperitif 100G</c:v>
                </c:pt>
              </c:strCache>
            </c:strRef>
          </c:cat>
          <c:val>
            <c:numRef>
              <c:f>Sheet1!$D$2:$D$25</c:f>
              <c:numCache>
                <c:formatCode>General</c:formatCode>
                <c:ptCount val="24"/>
                <c:pt idx="0">
                  <c:v>4098.92</c:v>
                </c:pt>
                <c:pt idx="1">
                  <c:v>3513.05</c:v>
                </c:pt>
                <c:pt idx="2">
                  <c:v>3316.959595959596</c:v>
                </c:pt>
                <c:pt idx="3">
                  <c:v>3000.58</c:v>
                </c:pt>
                <c:pt idx="4">
                  <c:v>2060.5151515151515</c:v>
                </c:pt>
                <c:pt idx="5">
                  <c:v>1429.39</c:v>
                </c:pt>
                <c:pt idx="6">
                  <c:v>1431.0707070707072</c:v>
                </c:pt>
                <c:pt idx="7">
                  <c:v>1389.5656565656566</c:v>
                </c:pt>
                <c:pt idx="8">
                  <c:v>1363.8080808080808</c:v>
                </c:pt>
                <c:pt idx="9">
                  <c:v>1156.58</c:v>
                </c:pt>
                <c:pt idx="10">
                  <c:v>1040.5408163265306</c:v>
                </c:pt>
                <c:pt idx="11">
                  <c:v>982.89</c:v>
                </c:pt>
                <c:pt idx="12">
                  <c:v>888.8282828282828</c:v>
                </c:pt>
                <c:pt idx="13">
                  <c:v>819.71875</c:v>
                </c:pt>
                <c:pt idx="14">
                  <c:v>744.8673469387755</c:v>
                </c:pt>
                <c:pt idx="15">
                  <c:v>472.06315789473683</c:v>
                </c:pt>
                <c:pt idx="16">
                  <c:v>310.11340206185565</c:v>
                </c:pt>
                <c:pt idx="17">
                  <c:v>306.57142857142856</c:v>
                </c:pt>
                <c:pt idx="18">
                  <c:v>197.19354838709677</c:v>
                </c:pt>
                <c:pt idx="19">
                  <c:v>137.64646464646464</c:v>
                </c:pt>
                <c:pt idx="20">
                  <c:v>100.04166666666667</c:v>
                </c:pt>
                <c:pt idx="21">
                  <c:v>85.19565217391305</c:v>
                </c:pt>
                <c:pt idx="22">
                  <c:v>106.42465753424658</c:v>
                </c:pt>
                <c:pt idx="23">
                  <c:v>83.18604651162791</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Apericube</c:v>
                </c:pt>
                <c:pt idx="1">
                  <c:v>Aperivrais</c:v>
                </c:pt>
                <c:pt idx="2">
                  <c:v>Boursin</c:v>
                </c:pt>
                <c:pt idx="3">
                  <c:v>Private Label</c:v>
                </c:pt>
                <c:pt idx="4">
                  <c:v>St Moret</c:v>
                </c:pt>
                <c:pt idx="5">
                  <c:v>O'Tapas Apero</c:v>
                </c:pt>
                <c:pt idx="6">
                  <c:v>Others</c:v>
                </c:pt>
              </c:strCache>
            </c:strRef>
          </c:cat>
          <c:val>
            <c:numRef>
              <c:f>Sheet1!$B$2:$B$8</c:f>
              <c:numCache>
                <c:formatCode>General</c:formatCode>
                <c:ptCount val="7"/>
                <c:pt idx="0">
                  <c:v>0.6580294332313682</c:v>
                </c:pt>
                <c:pt idx="1">
                  <c:v>0.11778543216502418</c:v>
                </c:pt>
                <c:pt idx="2">
                  <c:v>0.07183814124899325</c:v>
                </c:pt>
                <c:pt idx="3">
                  <c:v>0.044912603667680566</c:v>
                </c:pt>
                <c:pt idx="4">
                  <c:v>0.037828252723520375</c:v>
                </c:pt>
                <c:pt idx="5">
                  <c:v>0.01826404769862991</c:v>
                </c:pt>
                <c:pt idx="6">
                  <c:v>0.05134208926478356</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Apericube</c:v>
                </c:pt>
                <c:pt idx="1">
                  <c:v>Aperivrais</c:v>
                </c:pt>
                <c:pt idx="2">
                  <c:v>Boursin</c:v>
                </c:pt>
                <c:pt idx="3">
                  <c:v>Private Label</c:v>
                </c:pt>
                <c:pt idx="4">
                  <c:v>St Moret</c:v>
                </c:pt>
                <c:pt idx="5">
                  <c:v>O'Tapas Apero</c:v>
                </c:pt>
                <c:pt idx="6">
                  <c:v>Others</c:v>
                </c:pt>
              </c:strCache>
            </c:strRef>
          </c:cat>
          <c:val>
            <c:numRef>
              <c:f>Sheet1!$C$2:$C$8</c:f>
              <c:numCache>
                <c:formatCode>General</c:formatCode>
                <c:ptCount val="7"/>
                <c:pt idx="0">
                  <c:v>0.41932643627558874</c:v>
                </c:pt>
                <c:pt idx="1">
                  <c:v>0.1611270085846357</c:v>
                </c:pt>
                <c:pt idx="2">
                  <c:v>0.06559542152762492</c:v>
                </c:pt>
                <c:pt idx="3">
                  <c:v>0.05855161787365177</c:v>
                </c:pt>
                <c:pt idx="4">
                  <c:v>0.062293638564825</c:v>
                </c:pt>
                <c:pt idx="5">
                  <c:v>0.06097292537970503</c:v>
                </c:pt>
                <c:pt idx="6">
                  <c:v>0.17213295179396873</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Apericube</c:v>
                </c:pt>
                <c:pt idx="1">
                  <c:v>Aperivrais</c:v>
                </c:pt>
                <c:pt idx="2">
                  <c:v>Boursin</c:v>
                </c:pt>
                <c:pt idx="3">
                  <c:v>Private Label</c:v>
                </c:pt>
                <c:pt idx="4">
                  <c:v>St Moret</c:v>
                </c:pt>
                <c:pt idx="5">
                  <c:v>O'Tapas Apero</c:v>
                </c:pt>
                <c:pt idx="6">
                  <c:v>Others</c:v>
                </c:pt>
              </c:strCache>
            </c:strRef>
          </c:cat>
          <c:val>
            <c:numRef>
              <c:f>Sheet1!$D$2:$D$8</c:f>
              <c:numCache>
                <c:formatCode>General</c:formatCode>
                <c:ptCount val="7"/>
                <c:pt idx="0">
                  <c:v>63.72457143997544</c:v>
                </c:pt>
                <c:pt idx="1">
                  <c:v>136.79706023312582</c:v>
                </c:pt>
                <c:pt idx="2">
                  <c:v>91.31002053667999</c:v>
                </c:pt>
                <c:pt idx="3">
                  <c:v>130.36789919125962</c:v>
                </c:pt>
                <c:pt idx="4">
                  <c:v>164.6749032267431</c:v>
                </c:pt>
                <c:pt idx="5">
                  <c:v>333.8412513250223</c:v>
                </c:pt>
                <c:pt idx="6">
                  <c:v>335.266745586136</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12</c:f>
              <c:strCache>
                <c:ptCount val="11"/>
                <c:pt idx="0">
                  <c:v>Kiri Creme Fromage Blanc Frais Carre 1X216Gr 12P</c:v>
                </c:pt>
                <c:pt idx="1">
                  <c:v>Kiri Creme Fromage Blanc Frais Carre 1X144Gr 8P</c:v>
                </c:pt>
                <c:pt idx="2">
                  <c:v>Kiri Gouter Fromage Blanc Dips Boite 1X175Gr 5P</c:v>
                </c:pt>
                <c:pt idx="3">
                  <c:v>Kiri Creme Fromage Blanc Frais Carre 1X432Gr 24P</c:v>
                </c:pt>
                <c:pt idx="4">
                  <c:v>Kiri Gouter Fromage Blanc Dips Boite 1X280Gr 8P</c:v>
                </c:pt>
                <c:pt idx="5">
                  <c:v>Kiri Bio Fromage Blanc Frais Carre 1X144Gr 8P</c:v>
                </c:pt>
                <c:pt idx="6">
                  <c:v>Kiri Delicieusement Fouette Fromage Frais A Tartiner 1X125Gr 1P</c:v>
                </c:pt>
                <c:pt idx="7">
                  <c:v>Kiri Creme Fromage Blanc Frais Carre 1X432Gr 18+6P</c:v>
                </c:pt>
                <c:pt idx="8">
                  <c:v>Kiri Chevre Fromage Blanc Frais Carre 1X144Gr 8P</c:v>
                </c:pt>
                <c:pt idx="9">
                  <c:v>Kiri Delicieusement Fouette Fromage Frais A Tartiner 1X160Gr 10P</c:v>
                </c:pt>
                <c:pt idx="10">
                  <c:v>Kiri Delicieusement Fouette Fromage Frais A Tartiner 1X210Gr 1P</c:v>
                </c:pt>
              </c:strCache>
            </c:strRef>
          </c:cat>
          <c:val>
            <c:numRef>
              <c:f>Sheet1!$B$2:$B$12</c:f>
              <c:numCache>
                <c:formatCode>General</c:formatCode>
                <c:ptCount val="11"/>
                <c:pt idx="0">
                  <c:v>0.85</c:v>
                </c:pt>
                <c:pt idx="1">
                  <c:v>0.92</c:v>
                </c:pt>
                <c:pt idx="2">
                  <c:v>0.9</c:v>
                </c:pt>
                <c:pt idx="3">
                  <c:v>0.52</c:v>
                </c:pt>
                <c:pt idx="4">
                  <c:v>0.68</c:v>
                </c:pt>
                <c:pt idx="5">
                  <c:v>0.31</c:v>
                </c:pt>
                <c:pt idx="6">
                  <c:v>0.44</c:v>
                </c:pt>
                <c:pt idx="7">
                  <c:v>0.59</c:v>
                </c:pt>
                <c:pt idx="8">
                  <c:v>0.38</c:v>
                </c:pt>
                <c:pt idx="9">
                  <c:v>0.5</c:v>
                </c:pt>
                <c:pt idx="10">
                  <c:v>0.01</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7ECAC4"/>
              </a:solidFill>
            </c:spPr>
            <c:extLst>
              <c:ext xmlns:c16="http://schemas.microsoft.com/office/drawing/2014/chart" uri="{C3380CC4-5D6E-409C-BE32-E72D297353CC}">
                <c16:uniqueId val="{0000000B-FA3E-4872-B6E1-C4ABDF5766E2}"/>
              </c:ext>
            </c:extLst>
          </c:dPt>
          <c:dPt>
            <c:idx val="5"/>
            <c:invertIfNegative val="1"/>
            <c:bubble3D val="0"/>
            <c:spPr>
              <a:solidFill>
                <a:srgbClr val="7ECAC4"/>
              </a:solidFill>
            </c:spPr>
            <c:extLst>
              <c:ext xmlns:c16="http://schemas.microsoft.com/office/drawing/2014/chart" uri="{C3380CC4-5D6E-409C-BE32-E72D297353CC}">
                <c16:uniqueId val="{0000000D-FA3E-4872-B6E1-C4ABDF5766E2}"/>
              </c:ext>
            </c:extLst>
          </c:dPt>
          <c:dPt>
            <c:idx val="6"/>
            <c:invertIfNegative val="1"/>
            <c:bubble3D val="0"/>
            <c:spPr>
              <a:solidFill>
                <a:srgbClr val="AEABAB"/>
              </a:solidFill>
            </c:spPr>
            <c:extLst>
              <c:ext xmlns:c16="http://schemas.microsoft.com/office/drawing/2014/chart" uri="{C3380CC4-5D6E-409C-BE32-E72D297353CC}">
                <c16:uniqueId val="{0000000F-FA3E-4872-B6E1-C4ABDF5766E2}"/>
              </c:ext>
            </c:extLst>
          </c:dPt>
          <c:dPt>
            <c:idx val="7"/>
            <c:invertIfNegative val="1"/>
            <c:bubble3D val="0"/>
            <c:spPr>
              <a:solidFill>
                <a:srgbClr val="AEABAB"/>
              </a:solidFill>
            </c:spPr>
            <c:extLst>
              <c:ext xmlns:c16="http://schemas.microsoft.com/office/drawing/2014/chart" uri="{C3380CC4-5D6E-409C-BE32-E72D297353CC}">
                <c16:uniqueId val="{00000011-FA3E-4872-B6E1-C4ABDF5766E2}"/>
              </c:ext>
            </c:extLst>
          </c:dPt>
          <c:dPt>
            <c:idx val="8"/>
            <c:invertIfNegative val="1"/>
            <c:bubble3D val="0"/>
            <c:spPr>
              <a:solidFill>
                <a:srgbClr val="AEABAB"/>
              </a:solidFill>
            </c:spPr>
            <c:extLst>
              <c:ext xmlns:c16="http://schemas.microsoft.com/office/drawing/2014/chart" uri="{C3380CC4-5D6E-409C-BE32-E72D297353CC}">
                <c16:uniqueId val="{00000013-FA3E-4872-B6E1-C4ABDF5766E2}"/>
              </c:ext>
            </c:extLst>
          </c:dPt>
          <c:dPt>
            <c:idx val="9"/>
            <c:invertIfNegative val="1"/>
            <c:bubble3D val="0"/>
            <c:spPr>
              <a:solidFill>
                <a:srgbClr val="AEABAB"/>
              </a:solidFill>
            </c:spPr>
            <c:extLst>
              <c:ext xmlns:c16="http://schemas.microsoft.com/office/drawing/2014/chart" uri="{C3380CC4-5D6E-409C-BE32-E72D297353CC}">
                <c16:uniqueId val="{00000015-FA3E-4872-B6E1-C4ABDF5766E2}"/>
              </c:ext>
            </c:extLst>
          </c:dPt>
          <c:dPt>
            <c:idx val="10"/>
            <c:invertIfNegative val="1"/>
            <c:bubble3D val="0"/>
            <c:spPr>
              <a:solidFill>
                <a:srgbClr val="AEABAB"/>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12</c:f>
              <c:strCache>
                <c:ptCount val="11"/>
                <c:pt idx="0">
                  <c:v>Kiri Creme Fromage Blanc Frais Carre 1X216Gr 12P</c:v>
                </c:pt>
                <c:pt idx="1">
                  <c:v>Kiri Creme Fromage Blanc Frais Carre 1X144Gr 8P</c:v>
                </c:pt>
                <c:pt idx="2">
                  <c:v>Kiri Gouter Fromage Blanc Dips Boite 1X175Gr 5P</c:v>
                </c:pt>
                <c:pt idx="3">
                  <c:v>Kiri Creme Fromage Blanc Frais Carre 1X432Gr 24P</c:v>
                </c:pt>
                <c:pt idx="4">
                  <c:v>Kiri Gouter Fromage Blanc Dips Boite 1X280Gr 8P</c:v>
                </c:pt>
                <c:pt idx="5">
                  <c:v>Kiri Bio Fromage Blanc Frais Carre 1X144Gr 8P</c:v>
                </c:pt>
                <c:pt idx="6">
                  <c:v>Kiri Delicieusement Fouette Fromage Frais A Tartiner 1X125Gr 1P</c:v>
                </c:pt>
                <c:pt idx="7">
                  <c:v>Kiri Creme Fromage Blanc Frais Carre 1X432Gr 18+6P</c:v>
                </c:pt>
                <c:pt idx="8">
                  <c:v>Kiri Chevre Fromage Blanc Frais Carre 1X144Gr 8P</c:v>
                </c:pt>
                <c:pt idx="9">
                  <c:v>Kiri Delicieusement Fouette Fromage Frais A Tartiner 1X160Gr 10P</c:v>
                </c:pt>
                <c:pt idx="10">
                  <c:v>Kiri Delicieusement Fouette Fromage Frais A Tartiner 1X210Gr 1P</c:v>
                </c:pt>
              </c:strCache>
            </c:strRef>
          </c:cat>
          <c:val>
            <c:numRef>
              <c:f>Sheet1!$C$2:$C$12</c:f>
              <c:numCache>
                <c:formatCode>General</c:formatCode>
                <c:ptCount val="11"/>
                <c:pt idx="0">
                  <c:v>0.28326101542826887</c:v>
                </c:pt>
                <c:pt idx="1">
                  <c:v>0.4858676936011286</c:v>
                </c:pt>
                <c:pt idx="2">
                  <c:v>0.6479286831606731</c:v>
                </c:pt>
                <c:pt idx="3">
                  <c:v>0.7845428309276767</c:v>
                </c:pt>
                <c:pt idx="4">
                  <c:v>0.9030690816198672</c:v>
                </c:pt>
                <c:pt idx="5">
                  <c:v>0.9305222652918518</c:v>
                </c:pt>
                <c:pt idx="6">
                  <c:v>0.955664442225842</c:v>
                </c:pt>
                <c:pt idx="7">
                  <c:v>0.973367845175685</c:v>
                </c:pt>
                <c:pt idx="8">
                  <c:v>0.9892963100689967</c:v>
                </c:pt>
                <c:pt idx="9">
                  <c:v>0.9999873687869588</c:v>
                </c:pt>
                <c:pt idx="10">
                  <c:v>0.9999999999999999</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12</c:f>
              <c:strCache>
                <c:ptCount val="11"/>
                <c:pt idx="0">
                  <c:v>Kiri Creme Fromage Blanc Frais Carre 1X216Gr 12P</c:v>
                </c:pt>
                <c:pt idx="1">
                  <c:v>Kiri Creme Fromage Blanc Frais Carre 1X144Gr 8P</c:v>
                </c:pt>
                <c:pt idx="2">
                  <c:v>Kiri Gouter Fromage Blanc Dips Boite 1X175Gr 5P</c:v>
                </c:pt>
                <c:pt idx="3">
                  <c:v>Kiri Creme Fromage Blanc Frais Carre 1X432Gr 24P</c:v>
                </c:pt>
                <c:pt idx="4">
                  <c:v>Kiri Gouter Fromage Blanc Dips Boite 1X280Gr 8P</c:v>
                </c:pt>
                <c:pt idx="5">
                  <c:v>Kiri Bio Fromage Blanc Frais Carre 1X144Gr 8P</c:v>
                </c:pt>
                <c:pt idx="6">
                  <c:v>Kiri Delicieusement Fouette Fromage Frais A Tartiner 1X125Gr 1P</c:v>
                </c:pt>
                <c:pt idx="7">
                  <c:v>Kiri Creme Fromage Blanc Frais Carre 1X432Gr 18+6P</c:v>
                </c:pt>
                <c:pt idx="8">
                  <c:v>Kiri Chevre Fromage Blanc Frais Carre 1X144Gr 8P</c:v>
                </c:pt>
                <c:pt idx="9">
                  <c:v>Kiri Delicieusement Fouette Fromage Frais A Tartiner 1X160Gr 10P</c:v>
                </c:pt>
                <c:pt idx="10">
                  <c:v>Kiri Delicieusement Fouette Fromage Frais A Tartiner 1X210Gr 1P</c:v>
                </c:pt>
              </c:strCache>
            </c:strRef>
          </c:cat>
          <c:val>
            <c:numRef>
              <c:f>Sheet1!$D$2:$D$12</c:f>
              <c:numCache>
                <c:formatCode>General</c:formatCode>
                <c:ptCount val="11"/>
                <c:pt idx="0">
                  <c:v>6595.729411764706</c:v>
                </c:pt>
                <c:pt idx="1">
                  <c:v>4358.739130434783</c:v>
                </c:pt>
                <c:pt idx="2">
                  <c:v>3563.9444444444443</c:v>
                </c:pt>
                <c:pt idx="3">
                  <c:v>5199.807692307692</c:v>
                </c:pt>
                <c:pt idx="4">
                  <c:v>3449.8529411764707</c:v>
                </c:pt>
                <c:pt idx="5">
                  <c:v>1752.774193548387</c:v>
                </c:pt>
                <c:pt idx="6">
                  <c:v>1130.9545454545455</c:v>
                </c:pt>
                <c:pt idx="7">
                  <c:v>593.8813559322034</c:v>
                </c:pt>
                <c:pt idx="8">
                  <c:v>829.6315789473684</c:v>
                </c:pt>
                <c:pt idx="9">
                  <c:v>423.2</c:v>
                </c:pt>
                <c:pt idx="10">
                  <c:v>25.0</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12</c:f>
              <c:strCache>
                <c:ptCount val="11"/>
                <c:pt idx="0">
                  <c:v>La Vache Qui Rit Nature Fromage Fondu Boite Ronde 1X192Gr 12P</c:v>
                </c:pt>
                <c:pt idx="1">
                  <c:v>La Vache Qui Rit Nature Fromage Fondu Boite Ronde 1X512Gr 32P</c:v>
                </c:pt>
                <c:pt idx="2">
                  <c:v>La Vache Qui Rit Nature Fromage Fondu Boite Ronde 1X384Gr 24P</c:v>
                </c:pt>
                <c:pt idx="3">
                  <c:v>La Vache Qui Rit Pik Et Croq' Fromage Fondu Dips Boite 1X175Gr 5P</c:v>
                </c:pt>
                <c:pt idx="4">
                  <c:v>La Vache Qui Rit Allegee Fromage Fondu Boite Ronde Allege 1X267Gr 16P</c:v>
                </c:pt>
                <c:pt idx="5">
                  <c:v>La Vache Qui Rit Pik Et Croq' Fromage Fondu Dips Boite 1X280Gr 8P</c:v>
                </c:pt>
                <c:pt idx="6">
                  <c:v>La Vache Qui Rit Aro Fromage Fondu Boite Ronde Jambon 1X133Gr 8P</c:v>
                </c:pt>
                <c:pt idx="7">
                  <c:v>Toastinette Fromage Fondu Tranche A Chaud Sachet 1X200Gr 10P</c:v>
                </c:pt>
                <c:pt idx="8">
                  <c:v>La Vache Qui Rit Nature Fromage Fondu Boite Ronde 1X128Gr 8P</c:v>
                </c:pt>
                <c:pt idx="9">
                  <c:v>Toastinette Fromage Fondu Tranche A Chaud Sachet 1X340Gr 20P</c:v>
                </c:pt>
                <c:pt idx="10">
                  <c:v>Toastinette Cheddar Fondu Tranche A Chaud Sachet 1X340Gr 20P</c:v>
                </c:pt>
              </c:strCache>
            </c:strRef>
          </c:cat>
          <c:val>
            <c:numRef>
              <c:f>Sheet1!$B$2:$B$12</c:f>
              <c:numCache>
                <c:formatCode>General</c:formatCode>
                <c:ptCount val="11"/>
                <c:pt idx="0">
                  <c:v>0.98</c:v>
                </c:pt>
                <c:pt idx="1">
                  <c:v>0.68</c:v>
                </c:pt>
                <c:pt idx="2">
                  <c:v>0.68</c:v>
                </c:pt>
                <c:pt idx="3">
                  <c:v>0.82</c:v>
                </c:pt>
                <c:pt idx="4">
                  <c:v>0.5</c:v>
                </c:pt>
                <c:pt idx="5">
                  <c:v>0.42</c:v>
                </c:pt>
                <c:pt idx="6">
                  <c:v>0.33</c:v>
                </c:pt>
                <c:pt idx="7">
                  <c:v>0.01</c:v>
                </c:pt>
                <c:pt idx="8">
                  <c:v>0.04</c:v>
                </c:pt>
                <c:pt idx="9">
                  <c:v>0.01</c:v>
                </c:pt>
                <c:pt idx="10">
                  <c:v>0.01</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7ECAC4"/>
              </a:solidFill>
            </c:spPr>
            <c:extLst>
              <c:ext xmlns:c16="http://schemas.microsoft.com/office/drawing/2014/chart" uri="{C3380CC4-5D6E-409C-BE32-E72D297353CC}">
                <c16:uniqueId val="{00000006-E902-46E2-9A54-39A26B3DFDC1}"/>
              </c:ext>
            </c:extLst>
          </c:dPt>
          <c:dPt>
            <c:idx val="3"/>
            <c:invertIfNegative val="0"/>
            <c:bubble3D val="0"/>
            <c:spPr>
              <a:solidFill>
                <a:srgbClr val="7ECAC4"/>
              </a:solidFill>
            </c:spPr>
            <c:extLst>
              <c:ext xmlns:c16="http://schemas.microsoft.com/office/drawing/2014/chart" uri="{C3380CC4-5D6E-409C-BE32-E72D297353CC}">
                <c16:uniqueId val="{00000007-E902-46E2-9A54-39A26B3DFDC1}"/>
              </c:ext>
            </c:extLst>
          </c:dPt>
          <c:dPt>
            <c:idx val="4"/>
            <c:invertIfNegative val="1"/>
            <c:bubble3D val="0"/>
            <c:spPr>
              <a:solidFill>
                <a:srgbClr val="AEABAB"/>
              </a:solidFill>
            </c:spPr>
            <c:extLst>
              <c:ext xmlns:c16="http://schemas.microsoft.com/office/drawing/2014/chart" uri="{C3380CC4-5D6E-409C-BE32-E72D297353CC}">
                <c16:uniqueId val="{0000000B-FA3E-4872-B6E1-C4ABDF5766E2}"/>
              </c:ext>
            </c:extLst>
          </c:dPt>
          <c:dPt>
            <c:idx val="5"/>
            <c:invertIfNegative val="1"/>
            <c:bubble3D val="0"/>
            <c:spPr>
              <a:solidFill>
                <a:srgbClr val="AEABAB"/>
              </a:solidFill>
            </c:spPr>
            <c:extLst>
              <c:ext xmlns:c16="http://schemas.microsoft.com/office/drawing/2014/chart" uri="{C3380CC4-5D6E-409C-BE32-E72D297353CC}">
                <c16:uniqueId val="{0000000D-FA3E-4872-B6E1-C4ABDF5766E2}"/>
              </c:ext>
            </c:extLst>
          </c:dPt>
          <c:dPt>
            <c:idx val="6"/>
            <c:invertIfNegative val="1"/>
            <c:bubble3D val="0"/>
            <c:spPr>
              <a:solidFill>
                <a:srgbClr val="AEABAB"/>
              </a:solidFill>
            </c:spPr>
            <c:extLst>
              <c:ext xmlns:c16="http://schemas.microsoft.com/office/drawing/2014/chart" uri="{C3380CC4-5D6E-409C-BE32-E72D297353CC}">
                <c16:uniqueId val="{0000000F-FA3E-4872-B6E1-C4ABDF5766E2}"/>
              </c:ext>
            </c:extLst>
          </c:dPt>
          <c:dPt>
            <c:idx val="7"/>
            <c:invertIfNegative val="1"/>
            <c:bubble3D val="0"/>
            <c:spPr>
              <a:solidFill>
                <a:srgbClr val="AEABAB"/>
              </a:solidFill>
            </c:spPr>
            <c:extLst>
              <c:ext xmlns:c16="http://schemas.microsoft.com/office/drawing/2014/chart" uri="{C3380CC4-5D6E-409C-BE32-E72D297353CC}">
                <c16:uniqueId val="{00000011-FA3E-4872-B6E1-C4ABDF5766E2}"/>
              </c:ext>
            </c:extLst>
          </c:dPt>
          <c:dPt>
            <c:idx val="8"/>
            <c:invertIfNegative val="1"/>
            <c:bubble3D val="0"/>
            <c:spPr>
              <a:solidFill>
                <a:srgbClr val="AEABAB"/>
              </a:solidFill>
            </c:spPr>
            <c:extLst>
              <c:ext xmlns:c16="http://schemas.microsoft.com/office/drawing/2014/chart" uri="{C3380CC4-5D6E-409C-BE32-E72D297353CC}">
                <c16:uniqueId val="{00000013-FA3E-4872-B6E1-C4ABDF5766E2}"/>
              </c:ext>
            </c:extLst>
          </c:dPt>
          <c:dPt>
            <c:idx val="9"/>
            <c:invertIfNegative val="1"/>
            <c:bubble3D val="0"/>
            <c:spPr>
              <a:solidFill>
                <a:srgbClr val="AEABAB"/>
              </a:solidFill>
            </c:spPr>
            <c:extLst>
              <c:ext xmlns:c16="http://schemas.microsoft.com/office/drawing/2014/chart" uri="{C3380CC4-5D6E-409C-BE32-E72D297353CC}">
                <c16:uniqueId val="{00000015-FA3E-4872-B6E1-C4ABDF5766E2}"/>
              </c:ext>
            </c:extLst>
          </c:dPt>
          <c:dPt>
            <c:idx val="10"/>
            <c:invertIfNegative val="1"/>
            <c:bubble3D val="0"/>
            <c:spPr>
              <a:solidFill>
                <a:srgbClr val="AEABAB"/>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12</c:f>
              <c:strCache>
                <c:ptCount val="11"/>
                <c:pt idx="0">
                  <c:v>La Vache Qui Rit Nature Fromage Fondu Boite Ronde 1X192Gr 12P</c:v>
                </c:pt>
                <c:pt idx="1">
                  <c:v>La Vache Qui Rit Nature Fromage Fondu Boite Ronde 1X512Gr 32P</c:v>
                </c:pt>
                <c:pt idx="2">
                  <c:v>La Vache Qui Rit Nature Fromage Fondu Boite Ronde 1X384Gr 24P</c:v>
                </c:pt>
                <c:pt idx="3">
                  <c:v>La Vache Qui Rit Pik Et Croq' Fromage Fondu Dips Boite 1X175Gr 5P</c:v>
                </c:pt>
                <c:pt idx="4">
                  <c:v>La Vache Qui Rit Allegee Fromage Fondu Boite Ronde Allege 1X267Gr 16P</c:v>
                </c:pt>
                <c:pt idx="5">
                  <c:v>La Vache Qui Rit Pik Et Croq' Fromage Fondu Dips Boite 1X280Gr 8P</c:v>
                </c:pt>
                <c:pt idx="6">
                  <c:v>La Vache Qui Rit Aro Fromage Fondu Boite Ronde Jambon 1X133Gr 8P</c:v>
                </c:pt>
                <c:pt idx="7">
                  <c:v>Toastinette Fromage Fondu Tranche A Chaud Sachet 1X200Gr 10P</c:v>
                </c:pt>
                <c:pt idx="8">
                  <c:v>La Vache Qui Rit Nature Fromage Fondu Boite Ronde 1X128Gr 8P</c:v>
                </c:pt>
                <c:pt idx="9">
                  <c:v>Toastinette Fromage Fondu Tranche A Chaud Sachet 1X340Gr 20P</c:v>
                </c:pt>
                <c:pt idx="10">
                  <c:v>Toastinette Cheddar Fondu Tranche A Chaud Sachet 1X340Gr 20P</c:v>
                </c:pt>
              </c:strCache>
            </c:strRef>
          </c:cat>
          <c:val>
            <c:numRef>
              <c:f>Sheet1!$C$2:$C$12</c:f>
              <c:numCache>
                <c:formatCode>General</c:formatCode>
                <c:ptCount val="11"/>
                <c:pt idx="0">
                  <c:v>0.3737012829323874</c:v>
                </c:pt>
                <c:pt idx="1">
                  <c:v>0.6348677890659553</c:v>
                </c:pt>
                <c:pt idx="2">
                  <c:v>0.8429002034278867</c:v>
                </c:pt>
                <c:pt idx="3">
                  <c:v>0.9179127860422596</c:v>
                </c:pt>
                <c:pt idx="4">
                  <c:v>0.9575694042395352</c:v>
                </c:pt>
                <c:pt idx="5">
                  <c:v>0.9857892748416912</c:v>
                </c:pt>
                <c:pt idx="6">
                  <c:v>0.9997674741460048</c:v>
                </c:pt>
                <c:pt idx="7">
                  <c:v>0.9999656154005183</c:v>
                </c:pt>
                <c:pt idx="8">
                  <c:v>0.9999845269302333</c:v>
                </c:pt>
                <c:pt idx="9">
                  <c:v>0.9999948423100778</c:v>
                </c:pt>
                <c:pt idx="10">
                  <c:v>1.0</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12</c:f>
              <c:strCache>
                <c:ptCount val="11"/>
                <c:pt idx="0">
                  <c:v>La Vache Qui Rit Nature Fromage Fondu Boite Ronde 1X192Gr 12P</c:v>
                </c:pt>
                <c:pt idx="1">
                  <c:v>La Vache Qui Rit Nature Fromage Fondu Boite Ronde 1X512Gr 32P</c:v>
                </c:pt>
                <c:pt idx="2">
                  <c:v>La Vache Qui Rit Nature Fromage Fondu Boite Ronde 1X384Gr 24P</c:v>
                </c:pt>
                <c:pt idx="3">
                  <c:v>La Vache Qui Rit Pik Et Croq' Fromage Fondu Dips Boite 1X175Gr 5P</c:v>
                </c:pt>
                <c:pt idx="4">
                  <c:v>La Vache Qui Rit Allegee Fromage Fondu Boite Ronde Allege 1X267Gr 16P</c:v>
                </c:pt>
                <c:pt idx="5">
                  <c:v>La Vache Qui Rit Pik Et Croq' Fromage Fondu Dips Boite 1X280Gr 8P</c:v>
                </c:pt>
                <c:pt idx="6">
                  <c:v>La Vache Qui Rit Aro Fromage Fondu Boite Ronde Jambon 1X133Gr 8P</c:v>
                </c:pt>
                <c:pt idx="7">
                  <c:v>Toastinette Fromage Fondu Tranche A Chaud Sachet 1X200Gr 10P</c:v>
                </c:pt>
                <c:pt idx="8">
                  <c:v>La Vache Qui Rit Nature Fromage Fondu Boite Ronde 1X128Gr 8P</c:v>
                </c:pt>
                <c:pt idx="9">
                  <c:v>Toastinette Fromage Fondu Tranche A Chaud Sachet 1X340Gr 20P</c:v>
                </c:pt>
                <c:pt idx="10">
                  <c:v>Toastinette Cheddar Fondu Tranche A Chaud Sachet 1X340Gr 20P</c:v>
                </c:pt>
              </c:strCache>
            </c:strRef>
          </c:cat>
          <c:val>
            <c:numRef>
              <c:f>Sheet1!$D$2:$D$12</c:f>
              <c:numCache>
                <c:formatCode>General</c:formatCode>
                <c:ptCount val="11"/>
                <c:pt idx="0">
                  <c:v>8872.061224489797</c:v>
                </c:pt>
                <c:pt idx="1">
                  <c:v>8935.823529411764</c:v>
                </c:pt>
                <c:pt idx="2">
                  <c:v>7117.838235294118</c:v>
                </c:pt>
                <c:pt idx="3">
                  <c:v>2128.3658536585367</c:v>
                </c:pt>
                <c:pt idx="4">
                  <c:v>1845.32</c:v>
                </c:pt>
                <c:pt idx="5">
                  <c:v>1563.2619047619048</c:v>
                </c:pt>
                <c:pt idx="6">
                  <c:v>985.5151515151515</c:v>
                </c:pt>
                <c:pt idx="7">
                  <c:v>139.0</c:v>
                </c:pt>
                <c:pt idx="8">
                  <c:v>11.0</c:v>
                </c:pt>
                <c:pt idx="9">
                  <c:v>24.0</c:v>
                </c:pt>
                <c:pt idx="10">
                  <c:v>12.0</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25</c:f>
              <c:strCache>
                <c:ptCount val="24"/>
                <c:pt idx="0">
                  <c:v>Boursin Classique Fromage Frais A Tartiner Afh Boite 1X150Gr 1P</c:v>
                </c:pt>
                <c:pt idx="1">
                  <c:v>Boursin Classique Fromage Frais A Tartiner Afh 1X160Gr 10P</c:v>
                </c:pt>
                <c:pt idx="2">
                  <c:v>Boursin Aperitif Roules Fromage Frais Roule Afh Et Jambon Fume Boite 1X100Gr 20P</c:v>
                </c:pt>
                <c:pt idx="3">
                  <c:v>Boursin Classique Fromage Frais A Tartiner Afh Boite 1X250Gr 1P</c:v>
                </c:pt>
                <c:pt idx="4">
                  <c:v>Boursin Onctueux Fromage Frais A Tartiner Afh 1X125Gr 1P</c:v>
                </c:pt>
                <c:pt idx="5">
                  <c:v>Boursin Classique Fromage Frais A Tartiner Figue Et 3 Noix Boite 1X150Gr 1P</c:v>
                </c:pt>
                <c:pt idx="6">
                  <c:v>Boursin Classique Fromage Frais A Tartiner Afh Boite 1X96Gr 6P</c:v>
                </c:pt>
                <c:pt idx="7">
                  <c:v>Boursin Salade &amp; Aperitif Fromage Frais Des Afh 1X120Gr 1P</c:v>
                </c:pt>
                <c:pt idx="8">
                  <c:v>Boursin Classique Fromage Frais A Tartiner Ciboulette &amp; Echalote Boite 1X150Gr 1P</c:v>
                </c:pt>
                <c:pt idx="9">
                  <c:v>Boursin Cuisine Sauce Fromage Afh 1X240Gr 1P</c:v>
                </c:pt>
                <c:pt idx="10">
                  <c:v>Boursin Aperitif Roules Fromage Frais Roule Ciboulette &amp; Echalote Jambon Fume Boite 1X100Gr 20P</c:v>
                </c:pt>
                <c:pt idx="11">
                  <c:v>Boursin Classique Fromage Frais A Tartiner Poivre Boite 1X150Gr 1P</c:v>
                </c:pt>
                <c:pt idx="12">
                  <c:v>Boursin Classique Fromage Frais A Tartiner Afh 1X256Gr 16P</c:v>
                </c:pt>
                <c:pt idx="13">
                  <c:v>Boursin Aperitif Roules Fromage Frais Roule Basilic &amp; Jambon Fume Tomate Boite 1X100Gr 20P</c:v>
                </c:pt>
                <c:pt idx="14">
                  <c:v>Boursin Classique Fromage Frais A Tartiner Ciboulette &amp; Echalote 1X160Gr 10P</c:v>
                </c:pt>
                <c:pt idx="15">
                  <c:v>Boursin Salade &amp; Aperitif Fromage Frais Des Ciboulette Echalote 1X120Gr 1P</c:v>
                </c:pt>
                <c:pt idx="16">
                  <c:v>Boursin Salade &amp; Aperitif Fromage Frais Des Figue Noix 1X120Gr 1P</c:v>
                </c:pt>
                <c:pt idx="17">
                  <c:v>Boursin Classique Fromage Frais A Tartiner Afh Boite 1X80Gr 1P</c:v>
                </c:pt>
                <c:pt idx="18">
                  <c:v>Boursin Salade &amp; Aperitif Fromage Frais Des Citron Romarin 1X120Gr 1P</c:v>
                </c:pt>
                <c:pt idx="19">
                  <c:v>Boursin Salade &amp; Aperitif Fromage Frais Des Noisette Et 3 Noix 1X120Gr 1P</c:v>
                </c:pt>
                <c:pt idx="20">
                  <c:v>Boursin Classique Fromage Frais A Tartiner Truffe Boite 1X150Gr 1P</c:v>
                </c:pt>
                <c:pt idx="21">
                  <c:v>Boursin Salade &amp; Aperitif Soft Cheese Salade 120G</c:v>
                </c:pt>
                <c:pt idx="22">
                  <c:v>Boursin Aperitif Roules Fromage Frais Roule Jambon Fume &amp; Trio De Noix Boite 1X100Gr 20P</c:v>
                </c:pt>
                <c:pt idx="23">
                  <c:v>Boursin Aperitif Roules Aperitif 100G</c:v>
                </c:pt>
              </c:strCache>
            </c:strRef>
          </c:cat>
          <c:val>
            <c:numRef>
              <c:f>Sheet1!$B$2:$B$25</c:f>
              <c:numCache>
                <c:formatCode>General</c:formatCode>
                <c:ptCount val="24"/>
                <c:pt idx="0">
                  <c:v>0.98</c:v>
                </c:pt>
                <c:pt idx="1">
                  <c:v>0.9</c:v>
                </c:pt>
                <c:pt idx="2">
                  <c:v>0.85</c:v>
                </c:pt>
                <c:pt idx="3">
                  <c:v>0.89</c:v>
                </c:pt>
                <c:pt idx="4">
                  <c:v>0.81</c:v>
                </c:pt>
                <c:pt idx="5">
                  <c:v>0.89</c:v>
                </c:pt>
                <c:pt idx="6">
                  <c:v>0.74</c:v>
                </c:pt>
                <c:pt idx="7">
                  <c:v>0.85</c:v>
                </c:pt>
                <c:pt idx="8">
                  <c:v>0.83</c:v>
                </c:pt>
                <c:pt idx="9">
                  <c:v>0.73</c:v>
                </c:pt>
                <c:pt idx="10">
                  <c:v>0.56</c:v>
                </c:pt>
                <c:pt idx="11">
                  <c:v>0.75</c:v>
                </c:pt>
                <c:pt idx="12">
                  <c:v>0.64</c:v>
                </c:pt>
                <c:pt idx="13">
                  <c:v>0.57</c:v>
                </c:pt>
                <c:pt idx="14">
                  <c:v>0.46</c:v>
                </c:pt>
                <c:pt idx="15">
                  <c:v>0.43</c:v>
                </c:pt>
                <c:pt idx="16">
                  <c:v>0.47</c:v>
                </c:pt>
                <c:pt idx="17">
                  <c:v>0.12</c:v>
                </c:pt>
                <c:pt idx="18">
                  <c:v>0.28</c:v>
                </c:pt>
                <c:pt idx="19">
                  <c:v>0.41</c:v>
                </c:pt>
                <c:pt idx="20">
                  <c:v>0.33</c:v>
                </c:pt>
                <c:pt idx="21">
                  <c:v>0.14</c:v>
                </c:pt>
                <c:pt idx="22">
                  <c:v>0.18</c:v>
                </c:pt>
                <c:pt idx="23">
                  <c:v>0.17</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7ECAC4"/>
              </a:solidFill>
            </c:spPr>
            <c:extLst>
              <c:ext xmlns:c16="http://schemas.microsoft.com/office/drawing/2014/chart" uri="{C3380CC4-5D6E-409C-BE32-E72D297353CC}">
                <c16:uniqueId val="{00000015-FA3E-4872-B6E1-C4ABDF5766E2}"/>
              </c:ext>
            </c:extLst>
          </c:dPt>
          <c:dPt>
            <c:idx val="10"/>
            <c:invertIfNegative val="1"/>
            <c:bubble3D val="0"/>
            <c:spPr>
              <a:solidFill>
                <a:srgbClr val="7ECAC4"/>
              </a:solidFill>
            </c:spPr>
            <c:extLst>
              <c:ext xmlns:c16="http://schemas.microsoft.com/office/drawing/2014/chart" uri="{C3380CC4-5D6E-409C-BE32-E72D297353CC}">
                <c16:uniqueId val="{00000017-FA3E-4872-B6E1-C4ABDF5766E2}"/>
              </c:ext>
            </c:extLst>
          </c:dPt>
          <c:dPt>
            <c:idx val="11"/>
            <c:invertIfNegative val="1"/>
            <c:bubble3D val="0"/>
            <c:spPr>
              <a:solidFill>
                <a:srgbClr val="7ECAC4"/>
              </a:solidFill>
            </c:spPr>
            <c:extLst>
              <c:ext xmlns:c16="http://schemas.microsoft.com/office/drawing/2014/chart" uri="{C3380CC4-5D6E-409C-BE32-E72D297353CC}">
                <c16:uniqueId val="{00000019-FA3E-4872-B6E1-C4ABDF5766E2}"/>
              </c:ext>
            </c:extLst>
          </c:dPt>
          <c:dPt>
            <c:idx val="12"/>
            <c:invertIfNegative val="1"/>
            <c:bubble3D val="0"/>
            <c:spPr>
              <a:solidFill>
                <a:srgbClr val="7ECAC4"/>
              </a:solidFill>
            </c:spPr>
            <c:extLst>
              <c:ext xmlns:c16="http://schemas.microsoft.com/office/drawing/2014/chart" uri="{C3380CC4-5D6E-409C-BE32-E72D297353CC}">
                <c16:uniqueId val="{0000001B-FA3E-4872-B6E1-C4ABDF5766E2}"/>
              </c:ext>
            </c:extLst>
          </c:dPt>
          <c:dPt>
            <c:idx val="13"/>
            <c:invertIfNegative val="1"/>
            <c:bubble3D val="0"/>
            <c:spPr>
              <a:solidFill>
                <a:srgbClr val="AEABAB"/>
              </a:solidFill>
            </c:spPr>
            <c:extLst>
              <c:ext xmlns:c16="http://schemas.microsoft.com/office/drawing/2014/chart" uri="{C3380CC4-5D6E-409C-BE32-E72D297353CC}">
                <c16:uniqueId val="{0000001D-FA3E-4872-B6E1-C4ABDF5766E2}"/>
              </c:ext>
            </c:extLst>
          </c:dPt>
          <c:dPt>
            <c:idx val="14"/>
            <c:invertIfNegative val="1"/>
            <c:bubble3D val="0"/>
            <c:spPr>
              <a:solidFill>
                <a:srgbClr val="AEABAB"/>
              </a:solidFill>
            </c:spPr>
            <c:extLst>
              <c:ext xmlns:c16="http://schemas.microsoft.com/office/drawing/2014/chart" uri="{C3380CC4-5D6E-409C-BE32-E72D297353CC}">
                <c16:uniqueId val="{0000001F-FA3E-4872-B6E1-C4ABDF5766E2}"/>
              </c:ext>
            </c:extLst>
          </c:dPt>
          <c:dPt>
            <c:idx val="15"/>
            <c:invertIfNegative val="1"/>
            <c:bubble3D val="0"/>
            <c:spPr>
              <a:solidFill>
                <a:srgbClr val="AEABAB"/>
              </a:solidFill>
            </c:spPr>
            <c:extLst>
              <c:ext xmlns:c16="http://schemas.microsoft.com/office/drawing/2014/chart" uri="{C3380CC4-5D6E-409C-BE32-E72D297353CC}">
                <c16:uniqueId val="{00000021-FA3E-4872-B6E1-C4ABDF5766E2}"/>
              </c:ext>
            </c:extLst>
          </c:dPt>
          <c:dPt>
            <c:idx val="16"/>
            <c:invertIfNegative val="1"/>
            <c:bubble3D val="0"/>
            <c:spPr>
              <a:solidFill>
                <a:srgbClr val="AEABAB"/>
              </a:solidFill>
            </c:spPr>
            <c:extLst>
              <c:ext xmlns:c16="http://schemas.microsoft.com/office/drawing/2014/chart" uri="{C3380CC4-5D6E-409C-BE32-E72D297353CC}">
                <c16:uniqueId val="{00000023-FA3E-4872-B6E1-C4ABDF5766E2}"/>
              </c:ext>
            </c:extLst>
          </c:dPt>
          <c:dPt>
            <c:idx val="17"/>
            <c:invertIfNegative val="1"/>
            <c:bubble3D val="0"/>
            <c:spPr>
              <a:solidFill>
                <a:srgbClr val="AEABAB"/>
              </a:solidFill>
            </c:spPr>
            <c:extLst>
              <c:ext xmlns:c16="http://schemas.microsoft.com/office/drawing/2014/chart" uri="{C3380CC4-5D6E-409C-BE32-E72D297353CC}">
                <c16:uniqueId val="{00000025-FA3E-4872-B6E1-C4ABDF5766E2}"/>
              </c:ext>
            </c:extLst>
          </c:dPt>
          <c:dPt>
            <c:idx val="18"/>
            <c:invertIfNegative val="1"/>
            <c:bubble3D val="0"/>
            <c:spPr>
              <a:solidFill>
                <a:srgbClr val="AEABAB"/>
              </a:solidFill>
            </c:spPr>
            <c:extLst>
              <c:ext xmlns:c16="http://schemas.microsoft.com/office/drawing/2014/chart" uri="{C3380CC4-5D6E-409C-BE32-E72D297353CC}">
                <c16:uniqueId val="{00000027-FA3E-4872-B6E1-C4ABDF5766E2}"/>
              </c:ext>
            </c:extLst>
          </c:dPt>
          <c:dPt>
            <c:idx val="19"/>
            <c:invertIfNegative val="1"/>
            <c:bubble3D val="0"/>
            <c:spPr>
              <a:solidFill>
                <a:srgbClr val="AEABAB"/>
              </a:solidFill>
            </c:spPr>
            <c:extLst>
              <c:ext xmlns:c16="http://schemas.microsoft.com/office/drawing/2014/chart" uri="{C3380CC4-5D6E-409C-BE32-E72D297353CC}">
                <c16:uniqueId val="{00000029-FA3E-4872-B6E1-C4ABDF5766E2}"/>
              </c:ext>
            </c:extLst>
          </c:dPt>
          <c:dPt>
            <c:idx val="20"/>
            <c:invertIfNegative val="1"/>
            <c:bubble3D val="0"/>
            <c:spPr>
              <a:solidFill>
                <a:srgbClr val="AEABAB"/>
              </a:solidFill>
            </c:spPr>
            <c:extLst>
              <c:ext xmlns:c16="http://schemas.microsoft.com/office/drawing/2014/chart" uri="{C3380CC4-5D6E-409C-BE32-E72D297353CC}">
                <c16:uniqueId val="{0000002B-FA3E-4872-B6E1-C4ABDF5766E2}"/>
              </c:ext>
            </c:extLst>
          </c:dPt>
          <c:dPt>
            <c:idx val="21"/>
            <c:invertIfNegative val="1"/>
            <c:bubble3D val="0"/>
            <c:spPr>
              <a:solidFill>
                <a:srgbClr val="AEABAB"/>
              </a:solidFill>
            </c:spPr>
            <c:extLst>
              <c:ext xmlns:c16="http://schemas.microsoft.com/office/drawing/2014/chart" uri="{C3380CC4-5D6E-409C-BE32-E72D297353CC}">
                <c16:uniqueId val="{0000002D-FA3E-4872-B6E1-C4ABDF5766E2}"/>
              </c:ext>
            </c:extLst>
          </c:dPt>
          <c:dPt>
            <c:idx val="22"/>
            <c:invertIfNegative val="1"/>
            <c:bubble3D val="0"/>
            <c:spPr>
              <a:solidFill>
                <a:srgbClr val="AEABAB"/>
              </a:solidFill>
            </c:spPr>
            <c:extLst>
              <c:ext xmlns:c16="http://schemas.microsoft.com/office/drawing/2014/chart" uri="{C3380CC4-5D6E-409C-BE32-E72D297353CC}">
                <c16:uniqueId val="{0000002F-FA3E-4872-B6E1-C4ABDF5766E2}"/>
              </c:ext>
            </c:extLst>
          </c:dPt>
          <c:dPt>
            <c:idx val="23"/>
            <c:invertIfNegative val="1"/>
            <c:bubble3D val="0"/>
            <c:spPr>
              <a:solidFill>
                <a:srgbClr val="AEABAB"/>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25</c:f>
              <c:strCache>
                <c:ptCount val="24"/>
                <c:pt idx="0">
                  <c:v>Boursin Classique Fromage Frais A Tartiner Afh Boite 1X150Gr 1P</c:v>
                </c:pt>
                <c:pt idx="1">
                  <c:v>Boursin Classique Fromage Frais A Tartiner Afh 1X160Gr 10P</c:v>
                </c:pt>
                <c:pt idx="2">
                  <c:v>Boursin Aperitif Roules Fromage Frais Roule Afh Et Jambon Fume Boite 1X100Gr 20P</c:v>
                </c:pt>
                <c:pt idx="3">
                  <c:v>Boursin Classique Fromage Frais A Tartiner Afh Boite 1X250Gr 1P</c:v>
                </c:pt>
                <c:pt idx="4">
                  <c:v>Boursin Onctueux Fromage Frais A Tartiner Afh 1X125Gr 1P</c:v>
                </c:pt>
                <c:pt idx="5">
                  <c:v>Boursin Classique Fromage Frais A Tartiner Figue Et 3 Noix Boite 1X150Gr 1P</c:v>
                </c:pt>
                <c:pt idx="6">
                  <c:v>Boursin Classique Fromage Frais A Tartiner Afh Boite 1X96Gr 6P</c:v>
                </c:pt>
                <c:pt idx="7">
                  <c:v>Boursin Salade &amp; Aperitif Fromage Frais Des Afh 1X120Gr 1P</c:v>
                </c:pt>
                <c:pt idx="8">
                  <c:v>Boursin Classique Fromage Frais A Tartiner Ciboulette &amp; Echalote Boite 1X150Gr 1P</c:v>
                </c:pt>
                <c:pt idx="9">
                  <c:v>Boursin Cuisine Sauce Fromage Afh 1X240Gr 1P</c:v>
                </c:pt>
                <c:pt idx="10">
                  <c:v>Boursin Aperitif Roules Fromage Frais Roule Ciboulette &amp; Echalote Jambon Fume Boite 1X100Gr 20P</c:v>
                </c:pt>
                <c:pt idx="11">
                  <c:v>Boursin Classique Fromage Frais A Tartiner Poivre Boite 1X150Gr 1P</c:v>
                </c:pt>
                <c:pt idx="12">
                  <c:v>Boursin Classique Fromage Frais A Tartiner Afh 1X256Gr 16P</c:v>
                </c:pt>
                <c:pt idx="13">
                  <c:v>Boursin Aperitif Roules Fromage Frais Roule Basilic &amp; Jambon Fume Tomate Boite 1X100Gr 20P</c:v>
                </c:pt>
                <c:pt idx="14">
                  <c:v>Boursin Classique Fromage Frais A Tartiner Ciboulette &amp; Echalote 1X160Gr 10P</c:v>
                </c:pt>
                <c:pt idx="15">
                  <c:v>Boursin Salade &amp; Aperitif Fromage Frais Des Ciboulette Echalote 1X120Gr 1P</c:v>
                </c:pt>
                <c:pt idx="16">
                  <c:v>Boursin Salade &amp; Aperitif Fromage Frais Des Figue Noix 1X120Gr 1P</c:v>
                </c:pt>
                <c:pt idx="17">
                  <c:v>Boursin Classique Fromage Frais A Tartiner Afh Boite 1X80Gr 1P</c:v>
                </c:pt>
                <c:pt idx="18">
                  <c:v>Boursin Salade &amp; Aperitif Fromage Frais Des Citron Romarin 1X120Gr 1P</c:v>
                </c:pt>
                <c:pt idx="19">
                  <c:v>Boursin Salade &amp; Aperitif Fromage Frais Des Noisette Et 3 Noix 1X120Gr 1P</c:v>
                </c:pt>
                <c:pt idx="20">
                  <c:v>Boursin Classique Fromage Frais A Tartiner Truffe Boite 1X150Gr 1P</c:v>
                </c:pt>
                <c:pt idx="21">
                  <c:v>Boursin Salade &amp; Aperitif Soft Cheese Salade 120G</c:v>
                </c:pt>
                <c:pt idx="22">
                  <c:v>Boursin Aperitif Roules Fromage Frais Roule Jambon Fume &amp; Trio De Noix Boite 1X100Gr 20P</c:v>
                </c:pt>
                <c:pt idx="23">
                  <c:v>Boursin Aperitif Roules Aperitif 100G</c:v>
                </c:pt>
              </c:strCache>
            </c:strRef>
          </c:cat>
          <c:val>
            <c:numRef>
              <c:f>Sheet1!$C$2:$C$25</c:f>
              <c:numCache>
                <c:formatCode>General</c:formatCode>
                <c:ptCount val="24"/>
                <c:pt idx="0">
                  <c:v>0.1466416424353132</c:v>
                </c:pt>
                <c:pt idx="1">
                  <c:v>0.28998662502665007</c:v>
                </c:pt>
                <c:pt idx="2">
                  <c:v>0.39172692062945946</c:v>
                </c:pt>
                <c:pt idx="3">
                  <c:v>0.48935729604592415</c:v>
                </c:pt>
                <c:pt idx="4">
                  <c:v>0.5674771685821428</c:v>
                </c:pt>
                <c:pt idx="5">
                  <c:v>0.6331205268133362</c:v>
                </c:pt>
                <c:pt idx="6">
                  <c:v>0.6931648219856679</c:v>
                </c:pt>
                <c:pt idx="7">
                  <c:v>0.7462603272853126</c:v>
                </c:pt>
                <c:pt idx="8">
                  <c:v>0.796722825792297</c:v>
                </c:pt>
                <c:pt idx="9">
                  <c:v>0.8434818304594738</c:v>
                </c:pt>
                <c:pt idx="10">
                  <c:v>0.8831880946838864</c:v>
                </c:pt>
                <c:pt idx="11">
                  <c:v>0.9183409162896251</c:v>
                </c:pt>
                <c:pt idx="12">
                  <c:v>0.9393772504788861</c:v>
                </c:pt>
                <c:pt idx="13">
                  <c:v>0.9588975369421983</c:v>
                </c:pt>
                <c:pt idx="14">
                  <c:v>0.9730759870514278</c:v>
                </c:pt>
                <c:pt idx="15">
                  <c:v>0.9805832564574706</c:v>
                </c:pt>
                <c:pt idx="16">
                  <c:v>0.9861921030993984</c:v>
                </c:pt>
                <c:pt idx="17">
                  <c:v>0.9897847163311239</c:v>
                </c:pt>
                <c:pt idx="18">
                  <c:v>0.9928445319350421</c:v>
                </c:pt>
                <c:pt idx="19">
                  <c:v>0.9950291245038401</c:v>
                </c:pt>
                <c:pt idx="20">
                  <c:v>0.9967249455686282</c:v>
                </c:pt>
                <c:pt idx="21">
                  <c:v>0.9979564540870717</c:v>
                </c:pt>
                <c:pt idx="22">
                  <c:v>0.9990138963567977</c:v>
                </c:pt>
                <c:pt idx="23">
                  <c:v>1.000000000000000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25</c:f>
              <c:strCache>
                <c:ptCount val="24"/>
                <c:pt idx="0">
                  <c:v>Boursin Classique Fromage Frais A Tartiner Afh Boite 1X150Gr 1P</c:v>
                </c:pt>
                <c:pt idx="1">
                  <c:v>Boursin Classique Fromage Frais A Tartiner Afh 1X160Gr 10P</c:v>
                </c:pt>
                <c:pt idx="2">
                  <c:v>Boursin Aperitif Roules Fromage Frais Roule Afh Et Jambon Fume Boite 1X100Gr 20P</c:v>
                </c:pt>
                <c:pt idx="3">
                  <c:v>Boursin Classique Fromage Frais A Tartiner Afh Boite 1X250Gr 1P</c:v>
                </c:pt>
                <c:pt idx="4">
                  <c:v>Boursin Onctueux Fromage Frais A Tartiner Afh 1X125Gr 1P</c:v>
                </c:pt>
                <c:pt idx="5">
                  <c:v>Boursin Classique Fromage Frais A Tartiner Figue Et 3 Noix Boite 1X150Gr 1P</c:v>
                </c:pt>
                <c:pt idx="6">
                  <c:v>Boursin Classique Fromage Frais A Tartiner Afh Boite 1X96Gr 6P</c:v>
                </c:pt>
                <c:pt idx="7">
                  <c:v>Boursin Salade &amp; Aperitif Fromage Frais Des Afh 1X120Gr 1P</c:v>
                </c:pt>
                <c:pt idx="8">
                  <c:v>Boursin Classique Fromage Frais A Tartiner Ciboulette &amp; Echalote Boite 1X150Gr 1P</c:v>
                </c:pt>
                <c:pt idx="9">
                  <c:v>Boursin Cuisine Sauce Fromage Afh 1X240Gr 1P</c:v>
                </c:pt>
                <c:pt idx="10">
                  <c:v>Boursin Aperitif Roules Fromage Frais Roule Ciboulette &amp; Echalote Jambon Fume Boite 1X100Gr 20P</c:v>
                </c:pt>
                <c:pt idx="11">
                  <c:v>Boursin Classique Fromage Frais A Tartiner Poivre Boite 1X150Gr 1P</c:v>
                </c:pt>
                <c:pt idx="12">
                  <c:v>Boursin Classique Fromage Frais A Tartiner Afh 1X256Gr 16P</c:v>
                </c:pt>
                <c:pt idx="13">
                  <c:v>Boursin Aperitif Roules Fromage Frais Roule Basilic &amp; Jambon Fume Tomate Boite 1X100Gr 20P</c:v>
                </c:pt>
                <c:pt idx="14">
                  <c:v>Boursin Classique Fromage Frais A Tartiner Ciboulette &amp; Echalote 1X160Gr 10P</c:v>
                </c:pt>
                <c:pt idx="15">
                  <c:v>Boursin Salade &amp; Aperitif Fromage Frais Des Ciboulette Echalote 1X120Gr 1P</c:v>
                </c:pt>
                <c:pt idx="16">
                  <c:v>Boursin Salade &amp; Aperitif Fromage Frais Des Figue Noix 1X120Gr 1P</c:v>
                </c:pt>
                <c:pt idx="17">
                  <c:v>Boursin Classique Fromage Frais A Tartiner Afh Boite 1X80Gr 1P</c:v>
                </c:pt>
                <c:pt idx="18">
                  <c:v>Boursin Salade &amp; Aperitif Fromage Frais Des Citron Romarin 1X120Gr 1P</c:v>
                </c:pt>
                <c:pt idx="19">
                  <c:v>Boursin Salade &amp; Aperitif Fromage Frais Des Noisette Et 3 Noix 1X120Gr 1P</c:v>
                </c:pt>
                <c:pt idx="20">
                  <c:v>Boursin Classique Fromage Frais A Tartiner Truffe Boite 1X150Gr 1P</c:v>
                </c:pt>
                <c:pt idx="21">
                  <c:v>Boursin Salade &amp; Aperitif Soft Cheese Salade 120G</c:v>
                </c:pt>
                <c:pt idx="22">
                  <c:v>Boursin Aperitif Roules Fromage Frais Roule Jambon Fume &amp; Trio De Noix Boite 1X100Gr 20P</c:v>
                </c:pt>
                <c:pt idx="23">
                  <c:v>Boursin Aperitif Roules Aperitif 100G</c:v>
                </c:pt>
              </c:strCache>
            </c:strRef>
          </c:cat>
          <c:val>
            <c:numRef>
              <c:f>Sheet1!$D$2:$D$25</c:f>
              <c:numCache>
                <c:formatCode>General</c:formatCode>
                <c:ptCount val="24"/>
                <c:pt idx="0">
                  <c:v>3670.6632653061224</c:v>
                </c:pt>
                <c:pt idx="1">
                  <c:v>3907.088888888889</c:v>
                </c:pt>
                <c:pt idx="2">
                  <c:v>2936.211764705882</c:v>
                </c:pt>
                <c:pt idx="3">
                  <c:v>2690.9662921348313</c:v>
                </c:pt>
                <c:pt idx="4">
                  <c:v>2365.864197530864</c:v>
                </c:pt>
                <c:pt idx="5">
                  <c:v>1809.314606741573</c:v>
                </c:pt>
                <c:pt idx="6">
                  <c:v>1990.4594594594594</c:v>
                </c:pt>
                <c:pt idx="7">
                  <c:v>1532.3294117647058</c:v>
                </c:pt>
                <c:pt idx="8">
                  <c:v>1491.433734939759</c:v>
                </c:pt>
                <c:pt idx="9">
                  <c:v>1571.2876712328766</c:v>
                </c:pt>
                <c:pt idx="10">
                  <c:v>1739.3392857142856</c:v>
                </c:pt>
                <c:pt idx="11">
                  <c:v>1149.7733333333333</c:v>
                </c:pt>
                <c:pt idx="12">
                  <c:v>806.3125</c:v>
                </c:pt>
                <c:pt idx="13">
                  <c:v>840.0877192982457</c:v>
                </c:pt>
                <c:pt idx="14">
                  <c:v>756.1086956521739</c:v>
                </c:pt>
                <c:pt idx="15">
                  <c:v>428.27906976744185</c:v>
                </c:pt>
                <c:pt idx="16">
                  <c:v>292.74468085106383</c:v>
                </c:pt>
                <c:pt idx="17">
                  <c:v>734.4166666666666</c:v>
                </c:pt>
                <c:pt idx="18">
                  <c:v>268.07142857142856</c:v>
                </c:pt>
                <c:pt idx="19">
                  <c:v>130.70731707317074</c:v>
                </c:pt>
                <c:pt idx="20">
                  <c:v>126.06060606060606</c:v>
                </c:pt>
                <c:pt idx="21">
                  <c:v>215.78571428571425</c:v>
                </c:pt>
                <c:pt idx="22">
                  <c:v>144.11111111111111</c:v>
                </c:pt>
                <c:pt idx="23">
                  <c:v>142.2941176470588</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12</c:f>
              <c:strCache>
                <c:ptCount val="11"/>
                <c:pt idx="0">
                  <c:v>Kiri Creme Fromage Blanc Frais Carre 1X432Gr 24P</c:v>
                </c:pt>
                <c:pt idx="1">
                  <c:v>Kiri Creme Fromage Blanc Frais Carre 1X144Gr 8P</c:v>
                </c:pt>
                <c:pt idx="2">
                  <c:v>Kiri Creme Fromage Blanc Frais Carre 1X216Gr 12P</c:v>
                </c:pt>
                <c:pt idx="3">
                  <c:v>Kiri Gouter Fromage Blanc Dips Boite 1X175Gr 5P</c:v>
                </c:pt>
                <c:pt idx="4">
                  <c:v>Kiri Gouter Fromage Blanc Dips Boite 1X280Gr 8P</c:v>
                </c:pt>
                <c:pt idx="5">
                  <c:v>Kiri Creme Fromage Blanc Frais Carre 1X432Gr 18+6P</c:v>
                </c:pt>
                <c:pt idx="6">
                  <c:v>Kiri Delicieusement Fouette Fromage Frais A Tartiner 1X125Gr 1P</c:v>
                </c:pt>
                <c:pt idx="7">
                  <c:v>Kiri Delicieusement Fouette Fromage Frais A Tartiner 1X210Gr 1P</c:v>
                </c:pt>
                <c:pt idx="8">
                  <c:v>Kiri Delicieusement Fouette Fromage Frais A Tartiner 1X160Gr 10P</c:v>
                </c:pt>
                <c:pt idx="9">
                  <c:v>Kiri Bio Fromage Blanc Frais Carre 1X144Gr 8P</c:v>
                </c:pt>
                <c:pt idx="10">
                  <c:v>Kiri Chevre Fromage Blanc Frais Carre 1X144Gr 8P</c:v>
                </c:pt>
              </c:strCache>
            </c:strRef>
          </c:cat>
          <c:val>
            <c:numRef>
              <c:f>Sheet1!$B$2:$B$12</c:f>
              <c:numCache>
                <c:formatCode>General</c:formatCode>
                <c:ptCount val="11"/>
                <c:pt idx="0">
                  <c:v>0.778</c:v>
                </c:pt>
                <c:pt idx="1">
                  <c:v>0.99</c:v>
                </c:pt>
                <c:pt idx="2">
                  <c:v>0.834</c:v>
                </c:pt>
                <c:pt idx="3">
                  <c:v>0.949</c:v>
                </c:pt>
                <c:pt idx="4">
                  <c:v>0.732</c:v>
                </c:pt>
                <c:pt idx="5">
                  <c:v>0.716</c:v>
                </c:pt>
                <c:pt idx="6">
                  <c:v>0.774</c:v>
                </c:pt>
                <c:pt idx="7">
                  <c:v>0.643</c:v>
                </c:pt>
                <c:pt idx="8">
                  <c:v>0.689</c:v>
                </c:pt>
                <c:pt idx="9">
                  <c:v>0.502</c:v>
                </c:pt>
                <c:pt idx="10">
                  <c:v>0.267</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7ECAC4"/>
              </a:solidFill>
            </c:spPr>
            <c:extLst>
              <c:ext xmlns:c16="http://schemas.microsoft.com/office/drawing/2014/chart" uri="{C3380CC4-5D6E-409C-BE32-E72D297353CC}">
                <c16:uniqueId val="{0000000B-FA3E-4872-B6E1-C4ABDF5766E2}"/>
              </c:ext>
            </c:extLst>
          </c:dPt>
          <c:dPt>
            <c:idx val="5"/>
            <c:invertIfNegative val="1"/>
            <c:bubble3D val="0"/>
            <c:spPr>
              <a:solidFill>
                <a:srgbClr val="7ECAC4"/>
              </a:solidFill>
            </c:spPr>
            <c:extLst>
              <c:ext xmlns:c16="http://schemas.microsoft.com/office/drawing/2014/chart" uri="{C3380CC4-5D6E-409C-BE32-E72D297353CC}">
                <c16:uniqueId val="{0000000D-FA3E-4872-B6E1-C4ABDF5766E2}"/>
              </c:ext>
            </c:extLst>
          </c:dPt>
          <c:dPt>
            <c:idx val="6"/>
            <c:invertIfNegative val="1"/>
            <c:bubble3D val="0"/>
            <c:spPr>
              <a:solidFill>
                <a:srgbClr val="7ECAC4"/>
              </a:solidFill>
            </c:spPr>
            <c:extLst>
              <c:ext xmlns:c16="http://schemas.microsoft.com/office/drawing/2014/chart" uri="{C3380CC4-5D6E-409C-BE32-E72D297353CC}">
                <c16:uniqueId val="{0000000F-FA3E-4872-B6E1-C4ABDF5766E2}"/>
              </c:ext>
            </c:extLst>
          </c:dPt>
          <c:dPt>
            <c:idx val="7"/>
            <c:invertIfNegative val="1"/>
            <c:bubble3D val="0"/>
            <c:spPr>
              <a:solidFill>
                <a:srgbClr val="AEABAB"/>
              </a:solidFill>
            </c:spPr>
            <c:extLst>
              <c:ext xmlns:c16="http://schemas.microsoft.com/office/drawing/2014/chart" uri="{C3380CC4-5D6E-409C-BE32-E72D297353CC}">
                <c16:uniqueId val="{00000011-FA3E-4872-B6E1-C4ABDF5766E2}"/>
              </c:ext>
            </c:extLst>
          </c:dPt>
          <c:dPt>
            <c:idx val="8"/>
            <c:invertIfNegative val="1"/>
            <c:bubble3D val="0"/>
            <c:spPr>
              <a:solidFill>
                <a:srgbClr val="AEABAB"/>
              </a:solidFill>
            </c:spPr>
            <c:extLst>
              <c:ext xmlns:c16="http://schemas.microsoft.com/office/drawing/2014/chart" uri="{C3380CC4-5D6E-409C-BE32-E72D297353CC}">
                <c16:uniqueId val="{00000013-FA3E-4872-B6E1-C4ABDF5766E2}"/>
              </c:ext>
            </c:extLst>
          </c:dPt>
          <c:dPt>
            <c:idx val="9"/>
            <c:invertIfNegative val="1"/>
            <c:bubble3D val="0"/>
            <c:spPr>
              <a:solidFill>
                <a:srgbClr val="AEABAB"/>
              </a:solidFill>
            </c:spPr>
            <c:extLst>
              <c:ext xmlns:c16="http://schemas.microsoft.com/office/drawing/2014/chart" uri="{C3380CC4-5D6E-409C-BE32-E72D297353CC}">
                <c16:uniqueId val="{00000015-FA3E-4872-B6E1-C4ABDF5766E2}"/>
              </c:ext>
            </c:extLst>
          </c:dPt>
          <c:dPt>
            <c:idx val="10"/>
            <c:invertIfNegative val="1"/>
            <c:bubble3D val="0"/>
            <c:spPr>
              <a:solidFill>
                <a:srgbClr val="AEABAB"/>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12</c:f>
              <c:strCache>
                <c:ptCount val="11"/>
                <c:pt idx="0">
                  <c:v>Kiri Creme Fromage Blanc Frais Carre 1X432Gr 24P</c:v>
                </c:pt>
                <c:pt idx="1">
                  <c:v>Kiri Creme Fromage Blanc Frais Carre 1X144Gr 8P</c:v>
                </c:pt>
                <c:pt idx="2">
                  <c:v>Kiri Creme Fromage Blanc Frais Carre 1X216Gr 12P</c:v>
                </c:pt>
                <c:pt idx="3">
                  <c:v>Kiri Gouter Fromage Blanc Dips Boite 1X175Gr 5P</c:v>
                </c:pt>
                <c:pt idx="4">
                  <c:v>Kiri Gouter Fromage Blanc Dips Boite 1X280Gr 8P</c:v>
                </c:pt>
                <c:pt idx="5">
                  <c:v>Kiri Creme Fromage Blanc Frais Carre 1X432Gr 18+6P</c:v>
                </c:pt>
                <c:pt idx="6">
                  <c:v>Kiri Delicieusement Fouette Fromage Frais A Tartiner 1X125Gr 1P</c:v>
                </c:pt>
                <c:pt idx="7">
                  <c:v>Kiri Delicieusement Fouette Fromage Frais A Tartiner 1X210Gr 1P</c:v>
                </c:pt>
                <c:pt idx="8">
                  <c:v>Kiri Delicieusement Fouette Fromage Frais A Tartiner 1X160Gr 10P</c:v>
                </c:pt>
                <c:pt idx="9">
                  <c:v>Kiri Bio Fromage Blanc Frais Carre 1X144Gr 8P</c:v>
                </c:pt>
                <c:pt idx="10">
                  <c:v>Kiri Chevre Fromage Blanc Frais Carre 1X144Gr 8P</c:v>
                </c:pt>
              </c:strCache>
            </c:strRef>
          </c:cat>
          <c:val>
            <c:numRef>
              <c:f>Sheet1!$C$2:$C$12</c:f>
              <c:numCache>
                <c:formatCode>General</c:formatCode>
                <c:ptCount val="11"/>
                <c:pt idx="0">
                  <c:v>0.2775422769608527</c:v>
                </c:pt>
                <c:pt idx="1">
                  <c:v>0.4845508186725619</c:v>
                </c:pt>
                <c:pt idx="2">
                  <c:v>0.6412251422628832</c:v>
                </c:pt>
                <c:pt idx="3">
                  <c:v>0.7845785136796636</c:v>
                </c:pt>
                <c:pt idx="4">
                  <c:v>0.8653359973250804</c:v>
                </c:pt>
                <c:pt idx="5">
                  <c:v>0.9167370802397417</c:v>
                </c:pt>
                <c:pt idx="6">
                  <c:v>0.9482542086965828</c:v>
                </c:pt>
                <c:pt idx="7">
                  <c:v>0.9691691765221198</c:v>
                </c:pt>
                <c:pt idx="8">
                  <c:v>0.9861216852606856</c:v>
                </c:pt>
                <c:pt idx="9">
                  <c:v>0.9992514590500239</c:v>
                </c:pt>
                <c:pt idx="10">
                  <c:v>0.999997983905164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12</c:f>
              <c:strCache>
                <c:ptCount val="11"/>
                <c:pt idx="0">
                  <c:v>Kiri Creme Fromage Blanc Frais Carre 1X432Gr 24P</c:v>
                </c:pt>
                <c:pt idx="1">
                  <c:v>Kiri Creme Fromage Blanc Frais Carre 1X144Gr 8P</c:v>
                </c:pt>
                <c:pt idx="2">
                  <c:v>Kiri Creme Fromage Blanc Frais Carre 1X216Gr 12P</c:v>
                </c:pt>
                <c:pt idx="3">
                  <c:v>Kiri Gouter Fromage Blanc Dips Boite 1X175Gr 5P</c:v>
                </c:pt>
                <c:pt idx="4">
                  <c:v>Kiri Gouter Fromage Blanc Dips Boite 1X280Gr 8P</c:v>
                </c:pt>
                <c:pt idx="5">
                  <c:v>Kiri Creme Fromage Blanc Frais Carre 1X432Gr 18+6P</c:v>
                </c:pt>
                <c:pt idx="6">
                  <c:v>Kiri Delicieusement Fouette Fromage Frais A Tartiner 1X125Gr 1P</c:v>
                </c:pt>
                <c:pt idx="7">
                  <c:v>Kiri Delicieusement Fouette Fromage Frais A Tartiner 1X210Gr 1P</c:v>
                </c:pt>
                <c:pt idx="8">
                  <c:v>Kiri Delicieusement Fouette Fromage Frais A Tartiner 1X160Gr 10P</c:v>
                </c:pt>
                <c:pt idx="9">
                  <c:v>Kiri Bio Fromage Blanc Frais Carre 1X144Gr 8P</c:v>
                </c:pt>
                <c:pt idx="10">
                  <c:v>Kiri Chevre Fromage Blanc Frais Carre 1X144Gr 8P</c:v>
                </c:pt>
              </c:strCache>
            </c:strRef>
          </c:cat>
          <c:val>
            <c:numRef>
              <c:f>Sheet1!$D$2:$D$12</c:f>
              <c:numCache>
                <c:formatCode>General</c:formatCode>
                <c:ptCount val="11"/>
                <c:pt idx="0">
                  <c:v>81394.7557840617</c:v>
                </c:pt>
                <c:pt idx="1">
                  <c:v>47708.9595959596</c:v>
                </c:pt>
                <c:pt idx="2">
                  <c:v>42862.6139088729</c:v>
                </c:pt>
                <c:pt idx="3">
                  <c:v>34465.81664910432</c:v>
                </c:pt>
                <c:pt idx="4">
                  <c:v>25172.049180327867</c:v>
                </c:pt>
                <c:pt idx="5">
                  <c:v>16379.706703910615</c:v>
                </c:pt>
                <c:pt idx="6">
                  <c:v>9290.78811369509</c:v>
                </c:pt>
                <c:pt idx="7">
                  <c:v>7421.524105754277</c:v>
                </c:pt>
                <c:pt idx="8">
                  <c:v>5613.860667634253</c:v>
                </c:pt>
                <c:pt idx="9">
                  <c:v>5967.609561752988</c:v>
                </c:pt>
                <c:pt idx="10">
                  <c:v>637.940074906366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12</c:f>
              <c:strCache>
                <c:ptCount val="11"/>
                <c:pt idx="0">
                  <c:v>La Vache Qui Rit Nature Fromage Fondu Boite Ronde 1X512Gr 32P</c:v>
                </c:pt>
                <c:pt idx="1">
                  <c:v>La Vache Qui Rit Nature Fromage Fondu Boite Ronde 1X384Gr 24P</c:v>
                </c:pt>
                <c:pt idx="2">
                  <c:v>La Vache Qui Rit Nature Fromage Fondu Boite Ronde 1X192Gr 12P</c:v>
                </c:pt>
                <c:pt idx="3">
                  <c:v>La Vache Qui Rit Pik Et Croq' Fromage Fondu Dips Boite 1X175Gr 5P</c:v>
                </c:pt>
                <c:pt idx="4">
                  <c:v>La Vache Qui Rit Nature Fromage Fondu Boite Ronde 1X128Gr 8P</c:v>
                </c:pt>
                <c:pt idx="5">
                  <c:v>La Vache Qui Rit Nature Fromage Fondu Boite Ronde 1X512Gr 24+8P</c:v>
                </c:pt>
                <c:pt idx="6">
                  <c:v>La Vache Qui Rit Pik Et Croq' Fromage Fondu Dips Boite 1X280Gr 8P</c:v>
                </c:pt>
                <c:pt idx="7">
                  <c:v>La Vache Qui Rit Allegee Fromage Fondu Boite Ronde Allege 1X267Gr 16P</c:v>
                </c:pt>
                <c:pt idx="8">
                  <c:v>La Vache Qui Rit Bio Fromage Fondu Boite Ronde 1X128Gr 8P</c:v>
                </c:pt>
                <c:pt idx="9">
                  <c:v>La Vache Qui Rit Aro Fromage Fondu Boite Ronde Jambon 1X133Gr 8P</c:v>
                </c:pt>
                <c:pt idx="10">
                  <c:v>La Vache Qui Rit Pik Et Croq' Fromage Fondu Dips Boite 1X35Gr 1P</c:v>
                </c:pt>
              </c:strCache>
            </c:strRef>
          </c:cat>
          <c:val>
            <c:numRef>
              <c:f>Sheet1!$B$2:$B$12</c:f>
              <c:numCache>
                <c:formatCode>General</c:formatCode>
                <c:ptCount val="11"/>
                <c:pt idx="0">
                  <c:v>0.827</c:v>
                </c:pt>
                <c:pt idx="1">
                  <c:v>0.898</c:v>
                </c:pt>
                <c:pt idx="2">
                  <c:v>0.981</c:v>
                </c:pt>
                <c:pt idx="3">
                  <c:v>0.908</c:v>
                </c:pt>
                <c:pt idx="4">
                  <c:v>0.694</c:v>
                </c:pt>
                <c:pt idx="5">
                  <c:v>0.725</c:v>
                </c:pt>
                <c:pt idx="6">
                  <c:v>0.434</c:v>
                </c:pt>
                <c:pt idx="7">
                  <c:v>0.495</c:v>
                </c:pt>
                <c:pt idx="8">
                  <c:v>0.482</c:v>
                </c:pt>
                <c:pt idx="9">
                  <c:v>0.037</c:v>
                </c:pt>
                <c:pt idx="10">
                  <c:v>0.008</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7ECAC4"/>
              </a:solidFill>
            </c:spPr>
            <c:extLst>
              <c:ext xmlns:c16="http://schemas.microsoft.com/office/drawing/2014/chart" uri="{C3380CC4-5D6E-409C-BE32-E72D297353CC}">
                <c16:uniqueId val="{00000006-E902-46E2-9A54-39A26B3DFDC1}"/>
              </c:ext>
            </c:extLst>
          </c:dPt>
          <c:dPt>
            <c:idx val="3"/>
            <c:invertIfNegative val="0"/>
            <c:bubble3D val="0"/>
            <c:spPr>
              <a:solidFill>
                <a:srgbClr val="7ECAC4"/>
              </a:solidFill>
            </c:spPr>
            <c:extLst>
              <c:ext xmlns:c16="http://schemas.microsoft.com/office/drawing/2014/chart" uri="{C3380CC4-5D6E-409C-BE32-E72D297353CC}">
                <c16:uniqueId val="{00000007-E902-46E2-9A54-39A26B3DFDC1}"/>
              </c:ext>
            </c:extLst>
          </c:dPt>
          <c:dPt>
            <c:idx val="4"/>
            <c:invertIfNegative val="1"/>
            <c:bubble3D val="0"/>
            <c:spPr>
              <a:solidFill>
                <a:srgbClr val="7ECAC4"/>
              </a:solidFill>
            </c:spPr>
            <c:extLst>
              <c:ext xmlns:c16="http://schemas.microsoft.com/office/drawing/2014/chart" uri="{C3380CC4-5D6E-409C-BE32-E72D297353CC}">
                <c16:uniqueId val="{0000000B-FA3E-4872-B6E1-C4ABDF5766E2}"/>
              </c:ext>
            </c:extLst>
          </c:dPt>
          <c:dPt>
            <c:idx val="5"/>
            <c:invertIfNegative val="1"/>
            <c:bubble3D val="0"/>
            <c:spPr>
              <a:solidFill>
                <a:srgbClr val="AEABAB"/>
              </a:solidFill>
            </c:spPr>
            <c:extLst>
              <c:ext xmlns:c16="http://schemas.microsoft.com/office/drawing/2014/chart" uri="{C3380CC4-5D6E-409C-BE32-E72D297353CC}">
                <c16:uniqueId val="{0000000D-FA3E-4872-B6E1-C4ABDF5766E2}"/>
              </c:ext>
            </c:extLst>
          </c:dPt>
          <c:dPt>
            <c:idx val="6"/>
            <c:invertIfNegative val="1"/>
            <c:bubble3D val="0"/>
            <c:spPr>
              <a:solidFill>
                <a:srgbClr val="AEABAB"/>
              </a:solidFill>
            </c:spPr>
            <c:extLst>
              <c:ext xmlns:c16="http://schemas.microsoft.com/office/drawing/2014/chart" uri="{C3380CC4-5D6E-409C-BE32-E72D297353CC}">
                <c16:uniqueId val="{0000000F-FA3E-4872-B6E1-C4ABDF5766E2}"/>
              </c:ext>
            </c:extLst>
          </c:dPt>
          <c:dPt>
            <c:idx val="7"/>
            <c:invertIfNegative val="1"/>
            <c:bubble3D val="0"/>
            <c:spPr>
              <a:solidFill>
                <a:srgbClr val="AEABAB"/>
              </a:solidFill>
            </c:spPr>
            <c:extLst>
              <c:ext xmlns:c16="http://schemas.microsoft.com/office/drawing/2014/chart" uri="{C3380CC4-5D6E-409C-BE32-E72D297353CC}">
                <c16:uniqueId val="{00000011-FA3E-4872-B6E1-C4ABDF5766E2}"/>
              </c:ext>
            </c:extLst>
          </c:dPt>
          <c:dPt>
            <c:idx val="8"/>
            <c:invertIfNegative val="1"/>
            <c:bubble3D val="0"/>
            <c:spPr>
              <a:solidFill>
                <a:srgbClr val="AEABAB"/>
              </a:solidFill>
            </c:spPr>
            <c:extLst>
              <c:ext xmlns:c16="http://schemas.microsoft.com/office/drawing/2014/chart" uri="{C3380CC4-5D6E-409C-BE32-E72D297353CC}">
                <c16:uniqueId val="{00000013-FA3E-4872-B6E1-C4ABDF5766E2}"/>
              </c:ext>
            </c:extLst>
          </c:dPt>
          <c:dPt>
            <c:idx val="9"/>
            <c:invertIfNegative val="1"/>
            <c:bubble3D val="0"/>
            <c:spPr>
              <a:solidFill>
                <a:srgbClr val="AEABAB"/>
              </a:solidFill>
            </c:spPr>
            <c:extLst>
              <c:ext xmlns:c16="http://schemas.microsoft.com/office/drawing/2014/chart" uri="{C3380CC4-5D6E-409C-BE32-E72D297353CC}">
                <c16:uniqueId val="{00000015-FA3E-4872-B6E1-C4ABDF5766E2}"/>
              </c:ext>
            </c:extLst>
          </c:dPt>
          <c:dPt>
            <c:idx val="10"/>
            <c:invertIfNegative val="1"/>
            <c:bubble3D val="0"/>
            <c:spPr>
              <a:solidFill>
                <a:srgbClr val="AEABAB"/>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12</c:f>
              <c:strCache>
                <c:ptCount val="11"/>
                <c:pt idx="0">
                  <c:v>La Vache Qui Rit Nature Fromage Fondu Boite Ronde 1X512Gr 32P</c:v>
                </c:pt>
                <c:pt idx="1">
                  <c:v>La Vache Qui Rit Nature Fromage Fondu Boite Ronde 1X384Gr 24P</c:v>
                </c:pt>
                <c:pt idx="2">
                  <c:v>La Vache Qui Rit Nature Fromage Fondu Boite Ronde 1X192Gr 12P</c:v>
                </c:pt>
                <c:pt idx="3">
                  <c:v>La Vache Qui Rit Pik Et Croq' Fromage Fondu Dips Boite 1X175Gr 5P</c:v>
                </c:pt>
                <c:pt idx="4">
                  <c:v>La Vache Qui Rit Nature Fromage Fondu Boite Ronde 1X128Gr 8P</c:v>
                </c:pt>
                <c:pt idx="5">
                  <c:v>La Vache Qui Rit Nature Fromage Fondu Boite Ronde 1X512Gr 24+8P</c:v>
                </c:pt>
                <c:pt idx="6">
                  <c:v>La Vache Qui Rit Pik Et Croq' Fromage Fondu Dips Boite 1X280Gr 8P</c:v>
                </c:pt>
                <c:pt idx="7">
                  <c:v>La Vache Qui Rit Allegee Fromage Fondu Boite Ronde Allege 1X267Gr 16P</c:v>
                </c:pt>
                <c:pt idx="8">
                  <c:v>La Vache Qui Rit Bio Fromage Fondu Boite Ronde 1X128Gr 8P</c:v>
                </c:pt>
                <c:pt idx="9">
                  <c:v>La Vache Qui Rit Aro Fromage Fondu Boite Ronde Jambon 1X133Gr 8P</c:v>
                </c:pt>
                <c:pt idx="10">
                  <c:v>La Vache Qui Rit Pik Et Croq' Fromage Fondu Dips Boite 1X35Gr 1P</c:v>
                </c:pt>
              </c:strCache>
            </c:strRef>
          </c:cat>
          <c:val>
            <c:numRef>
              <c:f>Sheet1!$C$2:$C$12</c:f>
              <c:numCache>
                <c:formatCode>General</c:formatCode>
                <c:ptCount val="11"/>
                <c:pt idx="0">
                  <c:v>0.3884621004563812</c:v>
                </c:pt>
                <c:pt idx="1">
                  <c:v>0.6030952802622835</c:v>
                </c:pt>
                <c:pt idx="2">
                  <c:v>0.8116548535485368</c:v>
                </c:pt>
                <c:pt idx="3">
                  <c:v>0.8700173766987606</c:v>
                </c:pt>
                <c:pt idx="4">
                  <c:v>0.9203037587679399</c:v>
                </c:pt>
                <c:pt idx="5">
                  <c:v>0.9663821072516208</c:v>
                </c:pt>
                <c:pt idx="6">
                  <c:v>0.9809194040721811</c:v>
                </c:pt>
                <c:pt idx="7">
                  <c:v>0.9928993946118841</c:v>
                </c:pt>
                <c:pt idx="8">
                  <c:v>0.9980895937126701</c:v>
                </c:pt>
                <c:pt idx="9">
                  <c:v>0.9990757305571925</c:v>
                </c:pt>
                <c:pt idx="10">
                  <c:v>0.9998473828021356</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12</c:f>
              <c:strCache>
                <c:ptCount val="11"/>
                <c:pt idx="0">
                  <c:v>La Vache Qui Rit Nature Fromage Fondu Boite Ronde 1X512Gr 32P</c:v>
                </c:pt>
                <c:pt idx="1">
                  <c:v>La Vache Qui Rit Nature Fromage Fondu Boite Ronde 1X384Gr 24P</c:v>
                </c:pt>
                <c:pt idx="2">
                  <c:v>La Vache Qui Rit Nature Fromage Fondu Boite Ronde 1X192Gr 12P</c:v>
                </c:pt>
                <c:pt idx="3">
                  <c:v>La Vache Qui Rit Pik Et Croq' Fromage Fondu Dips Boite 1X175Gr 5P</c:v>
                </c:pt>
                <c:pt idx="4">
                  <c:v>La Vache Qui Rit Nature Fromage Fondu Boite Ronde 1X128Gr 8P</c:v>
                </c:pt>
                <c:pt idx="5">
                  <c:v>La Vache Qui Rit Nature Fromage Fondu Boite Ronde 1X512Gr 24+8P</c:v>
                </c:pt>
                <c:pt idx="6">
                  <c:v>La Vache Qui Rit Pik Et Croq' Fromage Fondu Dips Boite 1X280Gr 8P</c:v>
                </c:pt>
                <c:pt idx="7">
                  <c:v>La Vache Qui Rit Allegee Fromage Fondu Boite Ronde Allege 1X267Gr 16P</c:v>
                </c:pt>
                <c:pt idx="8">
                  <c:v>La Vache Qui Rit Bio Fromage Fondu Boite Ronde 1X128Gr 8P</c:v>
                </c:pt>
                <c:pt idx="9">
                  <c:v>La Vache Qui Rit Aro Fromage Fondu Boite Ronde Jambon 1X133Gr 8P</c:v>
                </c:pt>
                <c:pt idx="10">
                  <c:v>La Vache Qui Rit Pik Et Croq' Fromage Fondu Dips Boite 1X35Gr 1P</c:v>
                </c:pt>
              </c:strCache>
            </c:strRef>
          </c:cat>
          <c:val>
            <c:numRef>
              <c:f>Sheet1!$D$2:$D$12</c:f>
              <c:numCache>
                <c:formatCode>General</c:formatCode>
                <c:ptCount val="11"/>
                <c:pt idx="0">
                  <c:v>143117.46070133013</c:v>
                </c:pt>
                <c:pt idx="1">
                  <c:v>72823.24053452116</c:v>
                </c:pt>
                <c:pt idx="2">
                  <c:v>64775.47400611621</c:v>
                </c:pt>
                <c:pt idx="3">
                  <c:v>19583.832599118945</c:v>
                </c:pt>
                <c:pt idx="4">
                  <c:v>22077.017291066284</c:v>
                </c:pt>
                <c:pt idx="5">
                  <c:v>19364.593103448275</c:v>
                </c:pt>
                <c:pt idx="6">
                  <c:v>10205.714285714286</c:v>
                </c:pt>
                <c:pt idx="7">
                  <c:v>7373.959595959596</c:v>
                </c:pt>
                <c:pt idx="8">
                  <c:v>3280.850622406639</c:v>
                </c:pt>
                <c:pt idx="9">
                  <c:v>8120.540540540541</c:v>
                </c:pt>
                <c:pt idx="10">
                  <c:v>29388.75</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24</c:f>
              <c:strCache>
                <c:ptCount val="23"/>
                <c:pt idx="0">
                  <c:v>Boursin Classique Fromage Frais A Tartiner Afh Boite 1X150Gr 1P</c:v>
                </c:pt>
                <c:pt idx="1">
                  <c:v>Boursin Classique Fromage Frais A Tartiner Afh 1X160Gr 10P</c:v>
                </c:pt>
                <c:pt idx="2">
                  <c:v>Boursin Classique Fromage Frais A Tartiner Afh Boite 1X250Gr 1P</c:v>
                </c:pt>
                <c:pt idx="3">
                  <c:v>Boursin Salade &amp; Aperitif Fromage Frais Des Afh 1X120Gr 1P</c:v>
                </c:pt>
                <c:pt idx="4">
                  <c:v>Boursin Classique Fromage Frais A Tartiner Afh Boite 1X96Gr 6P</c:v>
                </c:pt>
                <c:pt idx="5">
                  <c:v>Boursin Classique Fromage Frais A Tartiner Ciboulette &amp; Echalote Boite 1X150Gr 1P</c:v>
                </c:pt>
                <c:pt idx="6">
                  <c:v>Boursin Onctueux Fromage Frais A Tartiner Afh 1X125Gr 1P</c:v>
                </c:pt>
                <c:pt idx="7">
                  <c:v>Boursin Salade &amp; Aperitif Fromage Frais Des Ciboulette Echalote 1X120Gr 1P</c:v>
                </c:pt>
                <c:pt idx="8">
                  <c:v>Boursin Classique Fromage Frais A Tartiner Figue Et 3 Noix Boite 1X150Gr 1P</c:v>
                </c:pt>
                <c:pt idx="9">
                  <c:v>Boursin Salade &amp; Aperitif Fromage Frais Des Figue Noix 1X120Gr 1P</c:v>
                </c:pt>
                <c:pt idx="10">
                  <c:v>Boursin Salade &amp; Aperitif Fromage Frais Des Citron Romarin 1X120Gr 1P</c:v>
                </c:pt>
                <c:pt idx="11">
                  <c:v>Boursin Classique Fromage Frais A Tartiner Afh Boite 1X80Gr 1P</c:v>
                </c:pt>
                <c:pt idx="12">
                  <c:v>Boursin Salade &amp; Aperitif Fromage Frais Des Noisette Et 3 Noix 1X120Gr 1P</c:v>
                </c:pt>
                <c:pt idx="13">
                  <c:v>Boursin Classique Fromage Frais A Tartiner Afh 1X256Gr 16P</c:v>
                </c:pt>
                <c:pt idx="14">
                  <c:v>Boursin Salade &amp; Aperitif Soft Cheese Salade 120G</c:v>
                </c:pt>
                <c:pt idx="15">
                  <c:v>Boursin Classique Fromage Frais A Tartiner 3 Noix Boite 1X150Gr 1P</c:v>
                </c:pt>
                <c:pt idx="16">
                  <c:v>Boursin Classique Fromage Frais A Tartiner Poivre Boite 1X150Gr 1P</c:v>
                </c:pt>
                <c:pt idx="17">
                  <c:v>Boursin Onctueux Fromage Frais A Tartiner Afh 1X210Gr 1P</c:v>
                </c:pt>
                <c:pt idx="18">
                  <c:v>Boursin Classique Fromage Frais A Tartiner Truffe Boite 1X150Gr 1P</c:v>
                </c:pt>
                <c:pt idx="19">
                  <c:v>Boursin Classique Fromage Frais A Tartiner Afh Boite 1X320Gr 16+4P</c:v>
                </c:pt>
                <c:pt idx="20">
                  <c:v>Boursin Classique Fromage Frais A Tartiner 3 Noix 1X160Gr 10P</c:v>
                </c:pt>
                <c:pt idx="21">
                  <c:v>Boursin Classique Fromage Frais A Tartiner Citron &amp; Romarin Boite 1X150Gr 1P</c:v>
                </c:pt>
                <c:pt idx="22">
                  <c:v>Boursin Classique Fromage Frais A Tartiner Ciboulette &amp; Echalote 1X160Gr 10P</c:v>
                </c:pt>
              </c:strCache>
            </c:strRef>
          </c:cat>
          <c:val>
            <c:numRef>
              <c:f>Sheet1!$B$2:$B$24</c:f>
              <c:numCache>
                <c:formatCode>General</c:formatCode>
                <c:ptCount val="23"/>
                <c:pt idx="0">
                  <c:v>0.968</c:v>
                </c:pt>
                <c:pt idx="1">
                  <c:v>0.915</c:v>
                </c:pt>
                <c:pt idx="2">
                  <c:v>0.817</c:v>
                </c:pt>
                <c:pt idx="3">
                  <c:v>0.962</c:v>
                </c:pt>
                <c:pt idx="4">
                  <c:v>0.821</c:v>
                </c:pt>
                <c:pt idx="5">
                  <c:v>0.793</c:v>
                </c:pt>
                <c:pt idx="6">
                  <c:v>0.774</c:v>
                </c:pt>
                <c:pt idx="7">
                  <c:v>0.817</c:v>
                </c:pt>
                <c:pt idx="8">
                  <c:v>0.694</c:v>
                </c:pt>
                <c:pt idx="9">
                  <c:v>0.801</c:v>
                </c:pt>
                <c:pt idx="10">
                  <c:v>0.707</c:v>
                </c:pt>
                <c:pt idx="11">
                  <c:v>0.447</c:v>
                </c:pt>
                <c:pt idx="12">
                  <c:v>0.738</c:v>
                </c:pt>
                <c:pt idx="13">
                  <c:v>0.265</c:v>
                </c:pt>
                <c:pt idx="14">
                  <c:v>0.698</c:v>
                </c:pt>
                <c:pt idx="15">
                  <c:v>0.537</c:v>
                </c:pt>
                <c:pt idx="16">
                  <c:v>0.402</c:v>
                </c:pt>
                <c:pt idx="17">
                  <c:v>0.281</c:v>
                </c:pt>
                <c:pt idx="18">
                  <c:v>0.511</c:v>
                </c:pt>
                <c:pt idx="19">
                  <c:v>0.528</c:v>
                </c:pt>
                <c:pt idx="20">
                  <c:v>0.379</c:v>
                </c:pt>
                <c:pt idx="21">
                  <c:v>0.324</c:v>
                </c:pt>
                <c:pt idx="22">
                  <c:v>0.075</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7ECAC4"/>
              </a:solidFill>
            </c:spPr>
            <c:extLst>
              <c:ext xmlns:c16="http://schemas.microsoft.com/office/drawing/2014/chart" uri="{C3380CC4-5D6E-409C-BE32-E72D297353CC}">
                <c16:uniqueId val="{0000000D-FA3E-4872-B6E1-C4ABDF5766E2}"/>
              </c:ext>
            </c:extLst>
          </c:dPt>
          <c:dPt>
            <c:idx val="6"/>
            <c:invertIfNegative val="1"/>
            <c:bubble3D val="0"/>
            <c:spPr>
              <a:solidFill>
                <a:srgbClr val="7ECAC4"/>
              </a:solidFill>
            </c:spPr>
            <c:extLst>
              <c:ext xmlns:c16="http://schemas.microsoft.com/office/drawing/2014/chart" uri="{C3380CC4-5D6E-409C-BE32-E72D297353CC}">
                <c16:uniqueId val="{0000000F-FA3E-4872-B6E1-C4ABDF5766E2}"/>
              </c:ext>
            </c:extLst>
          </c:dPt>
          <c:dPt>
            <c:idx val="7"/>
            <c:invertIfNegative val="1"/>
            <c:bubble3D val="0"/>
            <c:spPr>
              <a:solidFill>
                <a:srgbClr val="7ECAC4"/>
              </a:solidFill>
            </c:spPr>
            <c:extLst>
              <c:ext xmlns:c16="http://schemas.microsoft.com/office/drawing/2014/chart" uri="{C3380CC4-5D6E-409C-BE32-E72D297353CC}">
                <c16:uniqueId val="{00000011-FA3E-4872-B6E1-C4ABDF5766E2}"/>
              </c:ext>
            </c:extLst>
          </c:dPt>
          <c:dPt>
            <c:idx val="8"/>
            <c:invertIfNegative val="1"/>
            <c:bubble3D val="0"/>
            <c:spPr>
              <a:solidFill>
                <a:srgbClr val="7ECAC4"/>
              </a:solidFill>
            </c:spPr>
            <c:extLst>
              <c:ext xmlns:c16="http://schemas.microsoft.com/office/drawing/2014/chart" uri="{C3380CC4-5D6E-409C-BE32-E72D297353CC}">
                <c16:uniqueId val="{00000013-FA3E-4872-B6E1-C4ABDF5766E2}"/>
              </c:ext>
            </c:extLst>
          </c:dPt>
          <c:dPt>
            <c:idx val="9"/>
            <c:invertIfNegative val="1"/>
            <c:bubble3D val="0"/>
            <c:spPr>
              <a:solidFill>
                <a:srgbClr val="7ECAC4"/>
              </a:solidFill>
            </c:spPr>
            <c:extLst>
              <c:ext xmlns:c16="http://schemas.microsoft.com/office/drawing/2014/chart" uri="{C3380CC4-5D6E-409C-BE32-E72D297353CC}">
                <c16:uniqueId val="{00000015-FA3E-4872-B6E1-C4ABDF5766E2}"/>
              </c:ext>
            </c:extLst>
          </c:dPt>
          <c:dPt>
            <c:idx val="10"/>
            <c:invertIfNegative val="1"/>
            <c:bubble3D val="0"/>
            <c:spPr>
              <a:solidFill>
                <a:srgbClr val="7ECAC4"/>
              </a:solidFill>
            </c:spPr>
            <c:extLst>
              <c:ext xmlns:c16="http://schemas.microsoft.com/office/drawing/2014/chart" uri="{C3380CC4-5D6E-409C-BE32-E72D297353CC}">
                <c16:uniqueId val="{00000017-FA3E-4872-B6E1-C4ABDF5766E2}"/>
              </c:ext>
            </c:extLst>
          </c:dPt>
          <c:dPt>
            <c:idx val="11"/>
            <c:invertIfNegative val="1"/>
            <c:bubble3D val="0"/>
            <c:spPr>
              <a:solidFill>
                <a:srgbClr val="7ECAC4"/>
              </a:solidFill>
            </c:spPr>
            <c:extLst>
              <c:ext xmlns:c16="http://schemas.microsoft.com/office/drawing/2014/chart" uri="{C3380CC4-5D6E-409C-BE32-E72D297353CC}">
                <c16:uniqueId val="{00000019-FA3E-4872-B6E1-C4ABDF5766E2}"/>
              </c:ext>
            </c:extLst>
          </c:dPt>
          <c:dPt>
            <c:idx val="12"/>
            <c:invertIfNegative val="1"/>
            <c:bubble3D val="0"/>
            <c:spPr>
              <a:solidFill>
                <a:srgbClr val="AEABAB"/>
              </a:solidFill>
            </c:spPr>
            <c:extLst>
              <c:ext xmlns:c16="http://schemas.microsoft.com/office/drawing/2014/chart" uri="{C3380CC4-5D6E-409C-BE32-E72D297353CC}">
                <c16:uniqueId val="{0000001B-FA3E-4872-B6E1-C4ABDF5766E2}"/>
              </c:ext>
            </c:extLst>
          </c:dPt>
          <c:dPt>
            <c:idx val="13"/>
            <c:invertIfNegative val="1"/>
            <c:bubble3D val="0"/>
            <c:spPr>
              <a:solidFill>
                <a:srgbClr val="AEABAB"/>
              </a:solidFill>
            </c:spPr>
            <c:extLst>
              <c:ext xmlns:c16="http://schemas.microsoft.com/office/drawing/2014/chart" uri="{C3380CC4-5D6E-409C-BE32-E72D297353CC}">
                <c16:uniqueId val="{0000001D-FA3E-4872-B6E1-C4ABDF5766E2}"/>
              </c:ext>
            </c:extLst>
          </c:dPt>
          <c:dPt>
            <c:idx val="14"/>
            <c:invertIfNegative val="1"/>
            <c:bubble3D val="0"/>
            <c:spPr>
              <a:solidFill>
                <a:srgbClr val="AEABAB"/>
              </a:solidFill>
            </c:spPr>
            <c:extLst>
              <c:ext xmlns:c16="http://schemas.microsoft.com/office/drawing/2014/chart" uri="{C3380CC4-5D6E-409C-BE32-E72D297353CC}">
                <c16:uniqueId val="{0000001F-FA3E-4872-B6E1-C4ABDF5766E2}"/>
              </c:ext>
            </c:extLst>
          </c:dPt>
          <c:dPt>
            <c:idx val="15"/>
            <c:invertIfNegative val="1"/>
            <c:bubble3D val="0"/>
            <c:spPr>
              <a:solidFill>
                <a:srgbClr val="AEABAB"/>
              </a:solidFill>
            </c:spPr>
            <c:extLst>
              <c:ext xmlns:c16="http://schemas.microsoft.com/office/drawing/2014/chart" uri="{C3380CC4-5D6E-409C-BE32-E72D297353CC}">
                <c16:uniqueId val="{00000021-FA3E-4872-B6E1-C4ABDF5766E2}"/>
              </c:ext>
            </c:extLst>
          </c:dPt>
          <c:dPt>
            <c:idx val="16"/>
            <c:invertIfNegative val="1"/>
            <c:bubble3D val="0"/>
            <c:spPr>
              <a:solidFill>
                <a:srgbClr val="AEABAB"/>
              </a:solidFill>
            </c:spPr>
            <c:extLst>
              <c:ext xmlns:c16="http://schemas.microsoft.com/office/drawing/2014/chart" uri="{C3380CC4-5D6E-409C-BE32-E72D297353CC}">
                <c16:uniqueId val="{00000023-FA3E-4872-B6E1-C4ABDF5766E2}"/>
              </c:ext>
            </c:extLst>
          </c:dPt>
          <c:dPt>
            <c:idx val="17"/>
            <c:invertIfNegative val="1"/>
            <c:bubble3D val="0"/>
            <c:spPr>
              <a:solidFill>
                <a:srgbClr val="AEABAB"/>
              </a:solidFill>
            </c:spPr>
            <c:extLst>
              <c:ext xmlns:c16="http://schemas.microsoft.com/office/drawing/2014/chart" uri="{C3380CC4-5D6E-409C-BE32-E72D297353CC}">
                <c16:uniqueId val="{00000025-FA3E-4872-B6E1-C4ABDF5766E2}"/>
              </c:ext>
            </c:extLst>
          </c:dPt>
          <c:dPt>
            <c:idx val="18"/>
            <c:invertIfNegative val="1"/>
            <c:bubble3D val="0"/>
            <c:spPr>
              <a:solidFill>
                <a:srgbClr val="AEABAB"/>
              </a:solidFill>
            </c:spPr>
            <c:extLst>
              <c:ext xmlns:c16="http://schemas.microsoft.com/office/drawing/2014/chart" uri="{C3380CC4-5D6E-409C-BE32-E72D297353CC}">
                <c16:uniqueId val="{00000027-FA3E-4872-B6E1-C4ABDF5766E2}"/>
              </c:ext>
            </c:extLst>
          </c:dPt>
          <c:dPt>
            <c:idx val="19"/>
            <c:invertIfNegative val="1"/>
            <c:bubble3D val="0"/>
            <c:spPr>
              <a:solidFill>
                <a:srgbClr val="AEABAB"/>
              </a:solidFill>
            </c:spPr>
            <c:extLst>
              <c:ext xmlns:c16="http://schemas.microsoft.com/office/drawing/2014/chart" uri="{C3380CC4-5D6E-409C-BE32-E72D297353CC}">
                <c16:uniqueId val="{00000029-FA3E-4872-B6E1-C4ABDF5766E2}"/>
              </c:ext>
            </c:extLst>
          </c:dPt>
          <c:dPt>
            <c:idx val="20"/>
            <c:invertIfNegative val="1"/>
            <c:bubble3D val="0"/>
            <c:spPr>
              <a:solidFill>
                <a:srgbClr val="AEABAB"/>
              </a:solidFill>
            </c:spPr>
            <c:extLst>
              <c:ext xmlns:c16="http://schemas.microsoft.com/office/drawing/2014/chart" uri="{C3380CC4-5D6E-409C-BE32-E72D297353CC}">
                <c16:uniqueId val="{0000002B-FA3E-4872-B6E1-C4ABDF5766E2}"/>
              </c:ext>
            </c:extLst>
          </c:dPt>
          <c:dPt>
            <c:idx val="21"/>
            <c:invertIfNegative val="1"/>
            <c:bubble3D val="0"/>
            <c:spPr>
              <a:solidFill>
                <a:srgbClr val="AEABAB"/>
              </a:solidFill>
            </c:spPr>
            <c:extLst>
              <c:ext xmlns:c16="http://schemas.microsoft.com/office/drawing/2014/chart" uri="{C3380CC4-5D6E-409C-BE32-E72D297353CC}">
                <c16:uniqueId val="{0000002D-FA3E-4872-B6E1-C4ABDF5766E2}"/>
              </c:ext>
            </c:extLst>
          </c:dPt>
          <c:dPt>
            <c:idx val="22"/>
            <c:invertIfNegative val="1"/>
            <c:bubble3D val="0"/>
            <c:spPr>
              <a:solidFill>
                <a:srgbClr val="AEABAB"/>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24</c:f>
              <c:strCache>
                <c:ptCount val="23"/>
                <c:pt idx="0">
                  <c:v>Boursin Classique Fromage Frais A Tartiner Afh Boite 1X150Gr 1P</c:v>
                </c:pt>
                <c:pt idx="1">
                  <c:v>Boursin Classique Fromage Frais A Tartiner Afh 1X160Gr 10P</c:v>
                </c:pt>
                <c:pt idx="2">
                  <c:v>Boursin Classique Fromage Frais A Tartiner Afh Boite 1X250Gr 1P</c:v>
                </c:pt>
                <c:pt idx="3">
                  <c:v>Boursin Salade &amp; Aperitif Fromage Frais Des Afh 1X120Gr 1P</c:v>
                </c:pt>
                <c:pt idx="4">
                  <c:v>Boursin Classique Fromage Frais A Tartiner Afh Boite 1X96Gr 6P</c:v>
                </c:pt>
                <c:pt idx="5">
                  <c:v>Boursin Classique Fromage Frais A Tartiner Ciboulette &amp; Echalote Boite 1X150Gr 1P</c:v>
                </c:pt>
                <c:pt idx="6">
                  <c:v>Boursin Onctueux Fromage Frais A Tartiner Afh 1X125Gr 1P</c:v>
                </c:pt>
                <c:pt idx="7">
                  <c:v>Boursin Salade &amp; Aperitif Fromage Frais Des Ciboulette Echalote 1X120Gr 1P</c:v>
                </c:pt>
                <c:pt idx="8">
                  <c:v>Boursin Classique Fromage Frais A Tartiner Figue Et 3 Noix Boite 1X150Gr 1P</c:v>
                </c:pt>
                <c:pt idx="9">
                  <c:v>Boursin Salade &amp; Aperitif Fromage Frais Des Figue Noix 1X120Gr 1P</c:v>
                </c:pt>
                <c:pt idx="10">
                  <c:v>Boursin Salade &amp; Aperitif Fromage Frais Des Citron Romarin 1X120Gr 1P</c:v>
                </c:pt>
                <c:pt idx="11">
                  <c:v>Boursin Classique Fromage Frais A Tartiner Afh Boite 1X80Gr 1P</c:v>
                </c:pt>
                <c:pt idx="12">
                  <c:v>Boursin Salade &amp; Aperitif Fromage Frais Des Noisette Et 3 Noix 1X120Gr 1P</c:v>
                </c:pt>
                <c:pt idx="13">
                  <c:v>Boursin Classique Fromage Frais A Tartiner Afh 1X256Gr 16P</c:v>
                </c:pt>
                <c:pt idx="14">
                  <c:v>Boursin Salade &amp; Aperitif Soft Cheese Salade 120G</c:v>
                </c:pt>
                <c:pt idx="15">
                  <c:v>Boursin Classique Fromage Frais A Tartiner 3 Noix Boite 1X150Gr 1P</c:v>
                </c:pt>
                <c:pt idx="16">
                  <c:v>Boursin Classique Fromage Frais A Tartiner Poivre Boite 1X150Gr 1P</c:v>
                </c:pt>
                <c:pt idx="17">
                  <c:v>Boursin Onctueux Fromage Frais A Tartiner Afh 1X210Gr 1P</c:v>
                </c:pt>
                <c:pt idx="18">
                  <c:v>Boursin Classique Fromage Frais A Tartiner Truffe Boite 1X150Gr 1P</c:v>
                </c:pt>
                <c:pt idx="19">
                  <c:v>Boursin Classique Fromage Frais A Tartiner Afh Boite 1X320Gr 16+4P</c:v>
                </c:pt>
                <c:pt idx="20">
                  <c:v>Boursin Classique Fromage Frais A Tartiner 3 Noix 1X160Gr 10P</c:v>
                </c:pt>
                <c:pt idx="21">
                  <c:v>Boursin Classique Fromage Frais A Tartiner Citron &amp; Romarin Boite 1X150Gr 1P</c:v>
                </c:pt>
                <c:pt idx="22">
                  <c:v>Boursin Classique Fromage Frais A Tartiner Ciboulette &amp; Echalote 1X160Gr 10P</c:v>
                </c:pt>
              </c:strCache>
            </c:strRef>
          </c:cat>
          <c:val>
            <c:numRef>
              <c:f>Sheet1!$C$2:$C$24</c:f>
              <c:numCache>
                <c:formatCode>General</c:formatCode>
                <c:ptCount val="23"/>
                <c:pt idx="0">
                  <c:v>0.22061930231786744</c:v>
                </c:pt>
                <c:pt idx="1">
                  <c:v>0.4356886376336966</c:v>
                </c:pt>
                <c:pt idx="2">
                  <c:v>0.5726775319225339</c:v>
                </c:pt>
                <c:pt idx="3">
                  <c:v>0.7021029571457513</c:v>
                </c:pt>
                <c:pt idx="4">
                  <c:v>0.7653395408145547</c:v>
                </c:pt>
                <c:pt idx="5">
                  <c:v>0.8100789607761437</c:v>
                </c:pt>
                <c:pt idx="6">
                  <c:v>0.8485912528495511</c:v>
                </c:pt>
                <c:pt idx="7">
                  <c:v>0.8773970745637093</c:v>
                </c:pt>
                <c:pt idx="8">
                  <c:v>0.906136880880896</c:v>
                </c:pt>
                <c:pt idx="9">
                  <c:v>0.9280874872131681</c:v>
                </c:pt>
                <c:pt idx="10">
                  <c:v>0.9392121526491486</c:v>
                </c:pt>
                <c:pt idx="11">
                  <c:v>0.948402898004524</c:v>
                </c:pt>
                <c:pt idx="12">
                  <c:v>0.9567973691468702</c:v>
                </c:pt>
                <c:pt idx="13">
                  <c:v>0.9649884713229311</c:v>
                </c:pt>
                <c:pt idx="14">
                  <c:v>0.9727994494432735</c:v>
                </c:pt>
                <c:pt idx="15">
                  <c:v>0.9790120370670288</c:v>
                </c:pt>
                <c:pt idx="16">
                  <c:v>0.9846629420654199</c:v>
                </c:pt>
                <c:pt idx="17">
                  <c:v>0.9887823158188276</c:v>
                </c:pt>
                <c:pt idx="18">
                  <c:v>0.9919563776488354</c:v>
                </c:pt>
                <c:pt idx="19">
                  <c:v>0.9950836380027207</c:v>
                </c:pt>
                <c:pt idx="20">
                  <c:v>0.9980468010866511</c:v>
                </c:pt>
                <c:pt idx="21">
                  <c:v>0.9991038263809341</c:v>
                </c:pt>
                <c:pt idx="22">
                  <c:v>1.0</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24</c:f>
              <c:strCache>
                <c:ptCount val="23"/>
                <c:pt idx="0">
                  <c:v>Boursin Classique Fromage Frais A Tartiner Afh Boite 1X150Gr 1P</c:v>
                </c:pt>
                <c:pt idx="1">
                  <c:v>Boursin Classique Fromage Frais A Tartiner Afh 1X160Gr 10P</c:v>
                </c:pt>
                <c:pt idx="2">
                  <c:v>Boursin Classique Fromage Frais A Tartiner Afh Boite 1X250Gr 1P</c:v>
                </c:pt>
                <c:pt idx="3">
                  <c:v>Boursin Salade &amp; Aperitif Fromage Frais Des Afh 1X120Gr 1P</c:v>
                </c:pt>
                <c:pt idx="4">
                  <c:v>Boursin Classique Fromage Frais A Tartiner Afh Boite 1X96Gr 6P</c:v>
                </c:pt>
                <c:pt idx="5">
                  <c:v>Boursin Classique Fromage Frais A Tartiner Ciboulette &amp; Echalote Boite 1X150Gr 1P</c:v>
                </c:pt>
                <c:pt idx="6">
                  <c:v>Boursin Onctueux Fromage Frais A Tartiner Afh 1X125Gr 1P</c:v>
                </c:pt>
                <c:pt idx="7">
                  <c:v>Boursin Salade &amp; Aperitif Fromage Frais Des Ciboulette Echalote 1X120Gr 1P</c:v>
                </c:pt>
                <c:pt idx="8">
                  <c:v>Boursin Classique Fromage Frais A Tartiner Figue Et 3 Noix Boite 1X150Gr 1P</c:v>
                </c:pt>
                <c:pt idx="9">
                  <c:v>Boursin Salade &amp; Aperitif Fromage Frais Des Figue Noix 1X120Gr 1P</c:v>
                </c:pt>
                <c:pt idx="10">
                  <c:v>Boursin Salade &amp; Aperitif Fromage Frais Des Citron Romarin 1X120Gr 1P</c:v>
                </c:pt>
                <c:pt idx="11">
                  <c:v>Boursin Classique Fromage Frais A Tartiner Afh Boite 1X80Gr 1P</c:v>
                </c:pt>
                <c:pt idx="12">
                  <c:v>Boursin Salade &amp; Aperitif Fromage Frais Des Noisette Et 3 Noix 1X120Gr 1P</c:v>
                </c:pt>
                <c:pt idx="13">
                  <c:v>Boursin Classique Fromage Frais A Tartiner Afh 1X256Gr 16P</c:v>
                </c:pt>
                <c:pt idx="14">
                  <c:v>Boursin Salade &amp; Aperitif Soft Cheese Salade 120G</c:v>
                </c:pt>
                <c:pt idx="15">
                  <c:v>Boursin Classique Fromage Frais A Tartiner 3 Noix Boite 1X150Gr 1P</c:v>
                </c:pt>
                <c:pt idx="16">
                  <c:v>Boursin Classique Fromage Frais A Tartiner Poivre Boite 1X150Gr 1P</c:v>
                </c:pt>
                <c:pt idx="17">
                  <c:v>Boursin Onctueux Fromage Frais A Tartiner Afh 1X210Gr 1P</c:v>
                </c:pt>
                <c:pt idx="18">
                  <c:v>Boursin Classique Fromage Frais A Tartiner Truffe Boite 1X150Gr 1P</c:v>
                </c:pt>
                <c:pt idx="19">
                  <c:v>Boursin Classique Fromage Frais A Tartiner Afh Boite 1X320Gr 16+4P</c:v>
                </c:pt>
                <c:pt idx="20">
                  <c:v>Boursin Classique Fromage Frais A Tartiner 3 Noix 1X160Gr 10P</c:v>
                </c:pt>
                <c:pt idx="21">
                  <c:v>Boursin Classique Fromage Frais A Tartiner Citron &amp; Romarin Boite 1X150Gr 1P</c:v>
                </c:pt>
                <c:pt idx="22">
                  <c:v>Boursin Classique Fromage Frais A Tartiner Ciboulette &amp; Echalote 1X160Gr 10P</c:v>
                </c:pt>
              </c:strCache>
            </c:strRef>
          </c:cat>
          <c:val>
            <c:numRef>
              <c:f>Sheet1!$D$2:$D$24</c:f>
              <c:numCache>
                <c:formatCode>General</c:formatCode>
                <c:ptCount val="23"/>
                <c:pt idx="0">
                  <c:v>35111.05371900827</c:v>
                </c:pt>
                <c:pt idx="1">
                  <c:v>36210.3825136612</c:v>
                </c:pt>
                <c:pt idx="2">
                  <c:v>25830.86903304774</c:v>
                </c:pt>
                <c:pt idx="3">
                  <c:v>20726.22661122661</c:v>
                </c:pt>
                <c:pt idx="4">
                  <c:v>11865.90742996346</c:v>
                </c:pt>
                <c:pt idx="5">
                  <c:v>8691.462799495586</c:v>
                </c:pt>
                <c:pt idx="6">
                  <c:v>7665.387596899224</c:v>
                </c:pt>
                <c:pt idx="7">
                  <c:v>5431.676866585068</c:v>
                </c:pt>
                <c:pt idx="8">
                  <c:v>6379.6974063400585</c:v>
                </c:pt>
                <c:pt idx="9">
                  <c:v>4221.722846441947</c:v>
                </c:pt>
                <c:pt idx="10">
                  <c:v>2424.059405940594</c:v>
                </c:pt>
                <c:pt idx="11">
                  <c:v>3167.51677852349</c:v>
                </c:pt>
                <c:pt idx="12">
                  <c:v>1752.3170731707319</c:v>
                </c:pt>
                <c:pt idx="13">
                  <c:v>4761.811320754717</c:v>
                </c:pt>
                <c:pt idx="14">
                  <c:v>1723.9541547277938</c:v>
                </c:pt>
                <c:pt idx="15">
                  <c:v>1782.2718808193667</c:v>
                </c:pt>
                <c:pt idx="16">
                  <c:v>2165.547263681592</c:v>
                </c:pt>
                <c:pt idx="17">
                  <c:v>2258.3985765124553</c:v>
                </c:pt>
                <c:pt idx="18">
                  <c:v>956.9080234833659</c:v>
                </c:pt>
                <c:pt idx="19">
                  <c:v>912.4431818181818</c:v>
                </c:pt>
                <c:pt idx="20">
                  <c:v>1204.4591029023748</c:v>
                </c:pt>
                <c:pt idx="21">
                  <c:v>502.5925925925926</c:v>
                </c:pt>
                <c:pt idx="22">
                  <c:v>1840.8</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12</c:f>
              <c:strCache>
                <c:ptCount val="11"/>
                <c:pt idx="0">
                  <c:v>Kiri Creme Fromage Blanc Frais Carre 1X216Gr 12P</c:v>
                </c:pt>
                <c:pt idx="1">
                  <c:v>Kiri Creme Fromage Blanc Frais Carre 1X432Gr 24P</c:v>
                </c:pt>
                <c:pt idx="2">
                  <c:v>Kiri Gouter Fromage Blanc Dips Boite 1X280Gr 8P</c:v>
                </c:pt>
                <c:pt idx="3">
                  <c:v>Kiri Creme Fromage Blanc Frais Carre 1X144Gr 8P</c:v>
                </c:pt>
                <c:pt idx="4">
                  <c:v>Kiri Gouter Fromage Blanc Dips Boite 1X175Gr 5P</c:v>
                </c:pt>
                <c:pt idx="5">
                  <c:v>Kiri Delicieusement Fouette Fromage Frais A Tartiner 1X125Gr 1P</c:v>
                </c:pt>
                <c:pt idx="6">
                  <c:v>Kiri Bio Fromage Blanc Frais Carre 1X144Gr 8P</c:v>
                </c:pt>
                <c:pt idx="7">
                  <c:v>Kiri Chevre Fromage Blanc Frais Carre 1X144Gr 8P</c:v>
                </c:pt>
                <c:pt idx="8">
                  <c:v>Kiri Creme Fromage Blanc Frais Carre 1X432Gr 18+6P</c:v>
                </c:pt>
                <c:pt idx="9">
                  <c:v>Kiri Delicieusement Fouette Fromage Frais A Tartiner 1X160Gr 10P</c:v>
                </c:pt>
                <c:pt idx="10">
                  <c:v>Kiri Delicieusement Fouette Fromage Frais A Tartiner 1X210Gr 1P</c:v>
                </c:pt>
              </c:strCache>
            </c:strRef>
          </c:cat>
          <c:val>
            <c:numRef>
              <c:f>Sheet1!$B$2:$B$12</c:f>
              <c:numCache>
                <c:formatCode>General</c:formatCode>
                <c:ptCount val="11"/>
                <c:pt idx="0">
                  <c:v>0.975</c:v>
                </c:pt>
                <c:pt idx="1">
                  <c:v>0.861</c:v>
                </c:pt>
                <c:pt idx="2">
                  <c:v>0.932</c:v>
                </c:pt>
                <c:pt idx="3">
                  <c:v>0.983</c:v>
                </c:pt>
                <c:pt idx="4">
                  <c:v>0.981</c:v>
                </c:pt>
                <c:pt idx="5">
                  <c:v>0.837</c:v>
                </c:pt>
                <c:pt idx="6">
                  <c:v>0.603</c:v>
                </c:pt>
                <c:pt idx="7">
                  <c:v>0.672</c:v>
                </c:pt>
                <c:pt idx="8">
                  <c:v>0.817</c:v>
                </c:pt>
                <c:pt idx="9">
                  <c:v>0.895</c:v>
                </c:pt>
                <c:pt idx="10">
                  <c:v>0.372</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7ECAC4"/>
              </a:solidFill>
            </c:spPr>
            <c:extLst>
              <c:ext xmlns:c16="http://schemas.microsoft.com/office/drawing/2014/chart" uri="{C3380CC4-5D6E-409C-BE32-E72D297353CC}">
                <c16:uniqueId val="{0000000B-FA3E-4872-B6E1-C4ABDF5766E2}"/>
              </c:ext>
            </c:extLst>
          </c:dPt>
          <c:dPt>
            <c:idx val="5"/>
            <c:invertIfNegative val="1"/>
            <c:bubble3D val="0"/>
            <c:spPr>
              <a:solidFill>
                <a:srgbClr val="7ECAC4"/>
              </a:solidFill>
            </c:spPr>
            <c:extLst>
              <c:ext xmlns:c16="http://schemas.microsoft.com/office/drawing/2014/chart" uri="{C3380CC4-5D6E-409C-BE32-E72D297353CC}">
                <c16:uniqueId val="{0000000D-FA3E-4872-B6E1-C4ABDF5766E2}"/>
              </c:ext>
            </c:extLst>
          </c:dPt>
          <c:dPt>
            <c:idx val="6"/>
            <c:invertIfNegative val="1"/>
            <c:bubble3D val="0"/>
            <c:spPr>
              <a:solidFill>
                <a:srgbClr val="7ECAC4"/>
              </a:solidFill>
            </c:spPr>
            <c:extLst>
              <c:ext xmlns:c16="http://schemas.microsoft.com/office/drawing/2014/chart" uri="{C3380CC4-5D6E-409C-BE32-E72D297353CC}">
                <c16:uniqueId val="{0000000F-FA3E-4872-B6E1-C4ABDF5766E2}"/>
              </c:ext>
            </c:extLst>
          </c:dPt>
          <c:dPt>
            <c:idx val="7"/>
            <c:invertIfNegative val="1"/>
            <c:bubble3D val="0"/>
            <c:spPr>
              <a:solidFill>
                <a:srgbClr val="AEABAB"/>
              </a:solidFill>
            </c:spPr>
            <c:extLst>
              <c:ext xmlns:c16="http://schemas.microsoft.com/office/drawing/2014/chart" uri="{C3380CC4-5D6E-409C-BE32-E72D297353CC}">
                <c16:uniqueId val="{00000011-FA3E-4872-B6E1-C4ABDF5766E2}"/>
              </c:ext>
            </c:extLst>
          </c:dPt>
          <c:dPt>
            <c:idx val="8"/>
            <c:invertIfNegative val="1"/>
            <c:bubble3D val="0"/>
            <c:spPr>
              <a:solidFill>
                <a:srgbClr val="AEABAB"/>
              </a:solidFill>
            </c:spPr>
            <c:extLst>
              <c:ext xmlns:c16="http://schemas.microsoft.com/office/drawing/2014/chart" uri="{C3380CC4-5D6E-409C-BE32-E72D297353CC}">
                <c16:uniqueId val="{00000013-FA3E-4872-B6E1-C4ABDF5766E2}"/>
              </c:ext>
            </c:extLst>
          </c:dPt>
          <c:dPt>
            <c:idx val="9"/>
            <c:invertIfNegative val="1"/>
            <c:bubble3D val="0"/>
            <c:spPr>
              <a:solidFill>
                <a:srgbClr val="AEABAB"/>
              </a:solidFill>
            </c:spPr>
            <c:extLst>
              <c:ext xmlns:c16="http://schemas.microsoft.com/office/drawing/2014/chart" uri="{C3380CC4-5D6E-409C-BE32-E72D297353CC}">
                <c16:uniqueId val="{00000015-FA3E-4872-B6E1-C4ABDF5766E2}"/>
              </c:ext>
            </c:extLst>
          </c:dPt>
          <c:dPt>
            <c:idx val="10"/>
            <c:invertIfNegative val="1"/>
            <c:bubble3D val="0"/>
            <c:spPr>
              <a:solidFill>
                <a:srgbClr val="AEABAB"/>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12</c:f>
              <c:strCache>
                <c:ptCount val="11"/>
                <c:pt idx="0">
                  <c:v>Kiri Creme Fromage Blanc Frais Carre 1X216Gr 12P</c:v>
                </c:pt>
                <c:pt idx="1">
                  <c:v>Kiri Creme Fromage Blanc Frais Carre 1X432Gr 24P</c:v>
                </c:pt>
                <c:pt idx="2">
                  <c:v>Kiri Gouter Fromage Blanc Dips Boite 1X280Gr 8P</c:v>
                </c:pt>
                <c:pt idx="3">
                  <c:v>Kiri Creme Fromage Blanc Frais Carre 1X144Gr 8P</c:v>
                </c:pt>
                <c:pt idx="4">
                  <c:v>Kiri Gouter Fromage Blanc Dips Boite 1X175Gr 5P</c:v>
                </c:pt>
                <c:pt idx="5">
                  <c:v>Kiri Delicieusement Fouette Fromage Frais A Tartiner 1X125Gr 1P</c:v>
                </c:pt>
                <c:pt idx="6">
                  <c:v>Kiri Bio Fromage Blanc Frais Carre 1X144Gr 8P</c:v>
                </c:pt>
                <c:pt idx="7">
                  <c:v>Kiri Chevre Fromage Blanc Frais Carre 1X144Gr 8P</c:v>
                </c:pt>
                <c:pt idx="8">
                  <c:v>Kiri Creme Fromage Blanc Frais Carre 1X432Gr 18+6P</c:v>
                </c:pt>
                <c:pt idx="9">
                  <c:v>Kiri Delicieusement Fouette Fromage Frais A Tartiner 1X160Gr 10P</c:v>
                </c:pt>
                <c:pt idx="10">
                  <c:v>Kiri Delicieusement Fouette Fromage Frais A Tartiner 1X210Gr 1P</c:v>
                </c:pt>
              </c:strCache>
            </c:strRef>
          </c:cat>
          <c:val>
            <c:numRef>
              <c:f>Sheet1!$C$2:$C$12</c:f>
              <c:numCache>
                <c:formatCode>General</c:formatCode>
                <c:ptCount val="11"/>
                <c:pt idx="0">
                  <c:v>0.25920069238372667</c:v>
                </c:pt>
                <c:pt idx="1">
                  <c:v>0.47626050228402095</c:v>
                </c:pt>
                <c:pt idx="2">
                  <c:v>0.6262255801856206</c:v>
                </c:pt>
                <c:pt idx="3">
                  <c:v>0.7736036960155901</c:v>
                </c:pt>
                <c:pt idx="4">
                  <c:v>0.8910156688097841</c:v>
                </c:pt>
                <c:pt idx="5">
                  <c:v>0.9208943103753313</c:v>
                </c:pt>
                <c:pt idx="6">
                  <c:v>0.9457542048235578</c:v>
                </c:pt>
                <c:pt idx="7">
                  <c:v>0.9672588684774994</c:v>
                </c:pt>
                <c:pt idx="8">
                  <c:v>0.9832050085027592</c:v>
                </c:pt>
                <c:pt idx="9">
                  <c:v>0.998958877855564</c:v>
                </c:pt>
                <c:pt idx="10">
                  <c:v>1.0</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12</c:f>
              <c:strCache>
                <c:ptCount val="11"/>
                <c:pt idx="0">
                  <c:v>Kiri Creme Fromage Blanc Frais Carre 1X216Gr 12P</c:v>
                </c:pt>
                <c:pt idx="1">
                  <c:v>Kiri Creme Fromage Blanc Frais Carre 1X432Gr 24P</c:v>
                </c:pt>
                <c:pt idx="2">
                  <c:v>Kiri Gouter Fromage Blanc Dips Boite 1X280Gr 8P</c:v>
                </c:pt>
                <c:pt idx="3">
                  <c:v>Kiri Creme Fromage Blanc Frais Carre 1X144Gr 8P</c:v>
                </c:pt>
                <c:pt idx="4">
                  <c:v>Kiri Gouter Fromage Blanc Dips Boite 1X175Gr 5P</c:v>
                </c:pt>
                <c:pt idx="5">
                  <c:v>Kiri Delicieusement Fouette Fromage Frais A Tartiner 1X125Gr 1P</c:v>
                </c:pt>
                <c:pt idx="6">
                  <c:v>Kiri Bio Fromage Blanc Frais Carre 1X144Gr 8P</c:v>
                </c:pt>
                <c:pt idx="7">
                  <c:v>Kiri Chevre Fromage Blanc Frais Carre 1X144Gr 8P</c:v>
                </c:pt>
                <c:pt idx="8">
                  <c:v>Kiri Creme Fromage Blanc Frais Carre 1X432Gr 18+6P</c:v>
                </c:pt>
                <c:pt idx="9">
                  <c:v>Kiri Delicieusement Fouette Fromage Frais A Tartiner 1X160Gr 10P</c:v>
                </c:pt>
                <c:pt idx="10">
                  <c:v>Kiri Delicieusement Fouette Fromage Frais A Tartiner 1X210Gr 1P</c:v>
                </c:pt>
              </c:strCache>
            </c:strRef>
          </c:cat>
          <c:val>
            <c:numRef>
              <c:f>Sheet1!$D$2:$D$12</c:f>
              <c:numCache>
                <c:formatCode>General</c:formatCode>
                <c:ptCount val="11"/>
                <c:pt idx="0">
                  <c:v>45724.89230769231</c:v>
                </c:pt>
                <c:pt idx="1">
                  <c:v>43360.813008130084</c:v>
                </c:pt>
                <c:pt idx="2">
                  <c:v>27675.493562231757</c:v>
                </c:pt>
                <c:pt idx="3">
                  <c:v>25786.988809766022</c:v>
                </c:pt>
                <c:pt idx="4">
                  <c:v>20585.647298674823</c:v>
                </c:pt>
                <c:pt idx="5">
                  <c:v>6139.832735961768</c:v>
                </c:pt>
                <c:pt idx="6">
                  <c:v>7090.928689883914</c:v>
                </c:pt>
                <c:pt idx="7">
                  <c:v>5504.077380952381</c:v>
                </c:pt>
                <c:pt idx="8">
                  <c:v>3357.02570379437</c:v>
                </c:pt>
                <c:pt idx="9">
                  <c:v>3027.5083798882683</c:v>
                </c:pt>
                <c:pt idx="10">
                  <c:v>481.37096774193543</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10</c:f>
              <c:strCache>
                <c:ptCount val="9"/>
                <c:pt idx="0">
                  <c:v>La Vache Qui Rit Nature Fromage Fondu Boite Ronde 1X512Gr 32P</c:v>
                </c:pt>
                <c:pt idx="1">
                  <c:v>La Vache Qui Rit Nature Fromage Fondu Boite Ronde 1X192Gr 12P</c:v>
                </c:pt>
                <c:pt idx="2">
                  <c:v>La Vache Qui Rit Nature Fromage Fondu Boite Ronde 1X384Gr 24P</c:v>
                </c:pt>
                <c:pt idx="3">
                  <c:v>La Vache Qui Rit Pik Et Croq' Fromage Fondu Dips Boite 1X175Gr 5P</c:v>
                </c:pt>
                <c:pt idx="4">
                  <c:v>La Vache Qui Rit Pik Et Croq' Fromage Fondu Dips Boite 1X280Gr 8P</c:v>
                </c:pt>
                <c:pt idx="5">
                  <c:v>La Vache Qui Rit Allegee Fromage Fondu Boite Ronde Allege 1X267Gr 16P</c:v>
                </c:pt>
                <c:pt idx="6">
                  <c:v>La Vache Qui Rit Aro Fromage Fondu Boite Ronde Jambon 1X133Gr 8P</c:v>
                </c:pt>
                <c:pt idx="7">
                  <c:v>La Vache Qui Rit Nature Fromage Fondu Boite Ronde 1X512Gr 24+8P</c:v>
                </c:pt>
                <c:pt idx="8">
                  <c:v>La Vache Qui Rit Nature Fromage Fondu Boite Ronde 1X128Gr 8P</c:v>
                </c:pt>
              </c:strCache>
            </c:strRef>
          </c:cat>
          <c:val>
            <c:numRef>
              <c:f>Sheet1!$B$2:$B$10</c:f>
              <c:numCache>
                <c:formatCode>General</c:formatCode>
                <c:ptCount val="9"/>
                <c:pt idx="0">
                  <c:v>0.947</c:v>
                </c:pt>
                <c:pt idx="1">
                  <c:v>0.998</c:v>
                </c:pt>
                <c:pt idx="2">
                  <c:v>0.941</c:v>
                </c:pt>
                <c:pt idx="3">
                  <c:v>0.955</c:v>
                </c:pt>
                <c:pt idx="4">
                  <c:v>0.848</c:v>
                </c:pt>
                <c:pt idx="5">
                  <c:v>0.841</c:v>
                </c:pt>
                <c:pt idx="6">
                  <c:v>0.679</c:v>
                </c:pt>
                <c:pt idx="7">
                  <c:v>0.231</c:v>
                </c:pt>
                <c:pt idx="8">
                  <c:v>0.112</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7ECAC4"/>
              </a:solidFill>
            </c:spPr>
            <c:extLst>
              <c:ext xmlns:c16="http://schemas.microsoft.com/office/drawing/2014/chart" uri="{C3380CC4-5D6E-409C-BE32-E72D297353CC}">
                <c16:uniqueId val="{00000006-E902-46E2-9A54-39A26B3DFDC1}"/>
              </c:ext>
            </c:extLst>
          </c:dPt>
          <c:dPt>
            <c:idx val="3"/>
            <c:invertIfNegative val="0"/>
            <c:bubble3D val="0"/>
            <c:spPr>
              <a:solidFill>
                <a:srgbClr val="7ECAC4"/>
              </a:solidFill>
            </c:spPr>
            <c:extLst>
              <c:ext xmlns:c16="http://schemas.microsoft.com/office/drawing/2014/chart" uri="{C3380CC4-5D6E-409C-BE32-E72D297353CC}">
                <c16:uniqueId val="{00000007-E902-46E2-9A54-39A26B3DFDC1}"/>
              </c:ext>
            </c:extLst>
          </c:dPt>
          <c:dPt>
            <c:idx val="4"/>
            <c:invertIfNegative val="1"/>
            <c:bubble3D val="0"/>
            <c:spPr>
              <a:solidFill>
                <a:srgbClr val="7ECAC4"/>
              </a:solidFill>
            </c:spPr>
            <c:extLst>
              <c:ext xmlns:c16="http://schemas.microsoft.com/office/drawing/2014/chart" uri="{C3380CC4-5D6E-409C-BE32-E72D297353CC}">
                <c16:uniqueId val="{0000000B-FA3E-4872-B6E1-C4ABDF5766E2}"/>
              </c:ext>
            </c:extLst>
          </c:dPt>
          <c:dPt>
            <c:idx val="5"/>
            <c:invertIfNegative val="1"/>
            <c:bubble3D val="0"/>
            <c:spPr>
              <a:solidFill>
                <a:srgbClr val="AEABAB"/>
              </a:solidFill>
            </c:spPr>
            <c:extLst>
              <c:ext xmlns:c16="http://schemas.microsoft.com/office/drawing/2014/chart" uri="{C3380CC4-5D6E-409C-BE32-E72D297353CC}">
                <c16:uniqueId val="{0000000D-FA3E-4872-B6E1-C4ABDF5766E2}"/>
              </c:ext>
            </c:extLst>
          </c:dPt>
          <c:dPt>
            <c:idx val="6"/>
            <c:invertIfNegative val="1"/>
            <c:bubble3D val="0"/>
            <c:spPr>
              <a:solidFill>
                <a:srgbClr val="AEABAB"/>
              </a:solidFill>
            </c:spPr>
            <c:extLst>
              <c:ext xmlns:c16="http://schemas.microsoft.com/office/drawing/2014/chart" uri="{C3380CC4-5D6E-409C-BE32-E72D297353CC}">
                <c16:uniqueId val="{0000000F-FA3E-4872-B6E1-C4ABDF5766E2}"/>
              </c:ext>
            </c:extLst>
          </c:dPt>
          <c:dPt>
            <c:idx val="7"/>
            <c:invertIfNegative val="1"/>
            <c:bubble3D val="0"/>
            <c:spPr>
              <a:solidFill>
                <a:srgbClr val="AEABAB"/>
              </a:solidFill>
            </c:spPr>
            <c:extLst>
              <c:ext xmlns:c16="http://schemas.microsoft.com/office/drawing/2014/chart" uri="{C3380CC4-5D6E-409C-BE32-E72D297353CC}">
                <c16:uniqueId val="{00000011-FA3E-4872-B6E1-C4ABDF5766E2}"/>
              </c:ext>
            </c:extLst>
          </c:dPt>
          <c:dPt>
            <c:idx val="8"/>
            <c:invertIfNegative val="1"/>
            <c:bubble3D val="0"/>
            <c:spPr>
              <a:solidFill>
                <a:srgbClr val="AEABAB"/>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10</c:f>
              <c:strCache>
                <c:ptCount val="9"/>
                <c:pt idx="0">
                  <c:v>La Vache Qui Rit Nature Fromage Fondu Boite Ronde 1X512Gr 32P</c:v>
                </c:pt>
                <c:pt idx="1">
                  <c:v>La Vache Qui Rit Nature Fromage Fondu Boite Ronde 1X192Gr 12P</c:v>
                </c:pt>
                <c:pt idx="2">
                  <c:v>La Vache Qui Rit Nature Fromage Fondu Boite Ronde 1X384Gr 24P</c:v>
                </c:pt>
                <c:pt idx="3">
                  <c:v>La Vache Qui Rit Pik Et Croq' Fromage Fondu Dips Boite 1X175Gr 5P</c:v>
                </c:pt>
                <c:pt idx="4">
                  <c:v>La Vache Qui Rit Pik Et Croq' Fromage Fondu Dips Boite 1X280Gr 8P</c:v>
                </c:pt>
                <c:pt idx="5">
                  <c:v>La Vache Qui Rit Allegee Fromage Fondu Boite Ronde Allege 1X267Gr 16P</c:v>
                </c:pt>
                <c:pt idx="6">
                  <c:v>La Vache Qui Rit Aro Fromage Fondu Boite Ronde Jambon 1X133Gr 8P</c:v>
                </c:pt>
                <c:pt idx="7">
                  <c:v>La Vache Qui Rit Nature Fromage Fondu Boite Ronde 1X512Gr 24+8P</c:v>
                </c:pt>
                <c:pt idx="8">
                  <c:v>La Vache Qui Rit Nature Fromage Fondu Boite Ronde 1X128Gr 8P</c:v>
                </c:pt>
              </c:strCache>
            </c:strRef>
          </c:cat>
          <c:val>
            <c:numRef>
              <c:f>Sheet1!$C$2:$C$10</c:f>
              <c:numCache>
                <c:formatCode>General</c:formatCode>
                <c:ptCount val="9"/>
                <c:pt idx="0">
                  <c:v>0.33309427990982143</c:v>
                </c:pt>
                <c:pt idx="1">
                  <c:v>0.6062099420748004</c:v>
                </c:pt>
                <c:pt idx="2">
                  <c:v>0.8240823190224311</c:v>
                </c:pt>
                <c:pt idx="3">
                  <c:v>0.8844666197514901</c:v>
                </c:pt>
                <c:pt idx="4">
                  <c:v>0.9398858590464644</c:v>
                </c:pt>
                <c:pt idx="5">
                  <c:v>0.9783031643095439</c:v>
                </c:pt>
                <c:pt idx="6">
                  <c:v>0.998593165356668</c:v>
                </c:pt>
                <c:pt idx="7">
                  <c:v>0.9999502593915099</c:v>
                </c:pt>
                <c:pt idx="8">
                  <c:v>0.9999971627460397</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10</c:f>
              <c:strCache>
                <c:ptCount val="9"/>
                <c:pt idx="0">
                  <c:v>La Vache Qui Rit Nature Fromage Fondu Boite Ronde 1X512Gr 32P</c:v>
                </c:pt>
                <c:pt idx="1">
                  <c:v>La Vache Qui Rit Nature Fromage Fondu Boite Ronde 1X192Gr 12P</c:v>
                </c:pt>
                <c:pt idx="2">
                  <c:v>La Vache Qui Rit Nature Fromage Fondu Boite Ronde 1X384Gr 24P</c:v>
                </c:pt>
                <c:pt idx="3">
                  <c:v>La Vache Qui Rit Pik Et Croq' Fromage Fondu Dips Boite 1X175Gr 5P</c:v>
                </c:pt>
                <c:pt idx="4">
                  <c:v>La Vache Qui Rit Pik Et Croq' Fromage Fondu Dips Boite 1X280Gr 8P</c:v>
                </c:pt>
                <c:pt idx="5">
                  <c:v>La Vache Qui Rit Allegee Fromage Fondu Boite Ronde Allege 1X267Gr 16P</c:v>
                </c:pt>
                <c:pt idx="6">
                  <c:v>La Vache Qui Rit Aro Fromage Fondu Boite Ronde Jambon 1X133Gr 8P</c:v>
                </c:pt>
                <c:pt idx="7">
                  <c:v>La Vache Qui Rit Nature Fromage Fondu Boite Ronde 1X512Gr 24+8P</c:v>
                </c:pt>
                <c:pt idx="8">
                  <c:v>La Vache Qui Rit Nature Fromage Fondu Boite Ronde 1X128Gr 8P</c:v>
                </c:pt>
              </c:strCache>
            </c:strRef>
          </c:cat>
          <c:val>
            <c:numRef>
              <c:f>Sheet1!$D$2:$D$10</c:f>
              <c:numCache>
                <c:formatCode>General</c:formatCode>
                <c:ptCount val="9"/>
                <c:pt idx="0">
                  <c:v>79341.23548046463</c:v>
                </c:pt>
                <c:pt idx="1">
                  <c:v>61730.22044088176</c:v>
                </c:pt>
                <c:pt idx="2">
                  <c:v>52226.90754516472</c:v>
                </c:pt>
                <c:pt idx="3">
                  <c:v>14262.722513089006</c:v>
                </c:pt>
                <c:pt idx="4">
                  <c:v>14741.662735849057</c:v>
                </c:pt>
                <c:pt idx="5">
                  <c:v>10304.161712247325</c:v>
                </c:pt>
                <c:pt idx="6">
                  <c:v>6740.530191458026</c:v>
                </c:pt>
                <c:pt idx="7">
                  <c:v>1325.1948051948052</c:v>
                </c:pt>
                <c:pt idx="8">
                  <c:v>94.46428571428571</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19</c:f>
              <c:strCache>
                <c:ptCount val="18"/>
                <c:pt idx="0">
                  <c:v>Boursin Classique Fromage Frais A Tartiner Afh Boite 1X250Gr 1P</c:v>
                </c:pt>
                <c:pt idx="1">
                  <c:v>Boursin Classique Fromage Frais A Tartiner Afh 1X160Gr 10P</c:v>
                </c:pt>
                <c:pt idx="2">
                  <c:v>Boursin Classique Fromage Frais A Tartiner Afh Boite 1X150Gr 1P</c:v>
                </c:pt>
                <c:pt idx="3">
                  <c:v>Boursin Onctueux Fromage Frais A Tartiner Afh 1X125Gr 1P</c:v>
                </c:pt>
                <c:pt idx="4">
                  <c:v>Boursin Salade &amp; Aperitif Fromage Frais Des Afh 1X120Gr 1P</c:v>
                </c:pt>
                <c:pt idx="5">
                  <c:v>Boursin Classique Fromage Frais A Tartiner Afh Boite 1X96Gr 6P</c:v>
                </c:pt>
                <c:pt idx="6">
                  <c:v>Boursin Classique Fromage Frais A Tartiner Figue Et 3 Noix Boite 1X150Gr 1P</c:v>
                </c:pt>
                <c:pt idx="7">
                  <c:v>Boursin Classique Fromage Frais A Tartiner Ciboulette &amp; Echalote Boite 1X150Gr 1P</c:v>
                </c:pt>
                <c:pt idx="8">
                  <c:v>Boursin Classique Fromage Frais A Tartiner Afh 1X256Gr 16P</c:v>
                </c:pt>
                <c:pt idx="9">
                  <c:v>Boursin Classique Fromage Frais A Tartiner Poivre Boite 1X150Gr 1P</c:v>
                </c:pt>
                <c:pt idx="10">
                  <c:v>Boursin Classique Fromage Frais A Tartiner Ciboulette &amp; Echalote 1X160Gr 10P</c:v>
                </c:pt>
                <c:pt idx="11">
                  <c:v>Boursin Salade &amp; Aperitif Fromage Frais Des Ciboulette Echalote 1X120Gr 1P</c:v>
                </c:pt>
                <c:pt idx="12">
                  <c:v>Boursin Salade &amp; Aperitif Fromage Frais Des Figue Noix 1X120Gr 1P</c:v>
                </c:pt>
                <c:pt idx="13">
                  <c:v>Boursin Salade &amp; Aperitif Fromage Frais Des Citron Romarin 1X120Gr 1P</c:v>
                </c:pt>
                <c:pt idx="14">
                  <c:v>Boursin Classique Fromage Frais A Tartiner Afh Boite 1X80Gr 1P</c:v>
                </c:pt>
                <c:pt idx="15">
                  <c:v>Boursin Salade &amp; Aperitif Fromage Frais Des Noisette Et 3 Noix 1X120Gr 1P</c:v>
                </c:pt>
                <c:pt idx="16">
                  <c:v>Boursin Salade &amp; Aperitif Soft Cheese Salade 120G</c:v>
                </c:pt>
                <c:pt idx="17">
                  <c:v>Boursin Classique Fromage Frais A Tartiner Truffe Boite 1X150Gr 1P</c:v>
                </c:pt>
              </c:strCache>
            </c:strRef>
          </c:cat>
          <c:val>
            <c:numRef>
              <c:f>Sheet1!$B$2:$B$19</c:f>
              <c:numCache>
                <c:formatCode>General</c:formatCode>
                <c:ptCount val="18"/>
                <c:pt idx="0">
                  <c:v>0.98</c:v>
                </c:pt>
                <c:pt idx="1">
                  <c:v>0.981</c:v>
                </c:pt>
                <c:pt idx="2">
                  <c:v>0.998</c:v>
                </c:pt>
                <c:pt idx="3">
                  <c:v>0.954</c:v>
                </c:pt>
                <c:pt idx="4">
                  <c:v>0.968</c:v>
                </c:pt>
                <c:pt idx="5">
                  <c:v>0.939</c:v>
                </c:pt>
                <c:pt idx="6">
                  <c:v>0.98</c:v>
                </c:pt>
                <c:pt idx="7">
                  <c:v>0.973</c:v>
                </c:pt>
                <c:pt idx="8">
                  <c:v>0.86</c:v>
                </c:pt>
                <c:pt idx="9">
                  <c:v>0.94</c:v>
                </c:pt>
                <c:pt idx="10">
                  <c:v>0.808</c:v>
                </c:pt>
                <c:pt idx="11">
                  <c:v>0.823</c:v>
                </c:pt>
                <c:pt idx="12">
                  <c:v>0.845</c:v>
                </c:pt>
                <c:pt idx="13">
                  <c:v>0.66</c:v>
                </c:pt>
                <c:pt idx="14">
                  <c:v>0.325</c:v>
                </c:pt>
                <c:pt idx="15">
                  <c:v>0.803</c:v>
                </c:pt>
                <c:pt idx="16">
                  <c:v>0.414</c:v>
                </c:pt>
                <c:pt idx="17">
                  <c:v>0.687</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7ECAC4"/>
              </a:solidFill>
            </c:spPr>
            <c:extLst>
              <c:ext xmlns:c16="http://schemas.microsoft.com/office/drawing/2014/chart" uri="{C3380CC4-5D6E-409C-BE32-E72D297353CC}">
                <c16:uniqueId val="{00000011-FA3E-4872-B6E1-C4ABDF5766E2}"/>
              </c:ext>
            </c:extLst>
          </c:dPt>
          <c:dPt>
            <c:idx val="8"/>
            <c:invertIfNegative val="1"/>
            <c:bubble3D val="0"/>
            <c:spPr>
              <a:solidFill>
                <a:srgbClr val="7ECAC4"/>
              </a:solidFill>
            </c:spPr>
            <c:extLst>
              <c:ext xmlns:c16="http://schemas.microsoft.com/office/drawing/2014/chart" uri="{C3380CC4-5D6E-409C-BE32-E72D297353CC}">
                <c16:uniqueId val="{00000013-FA3E-4872-B6E1-C4ABDF5766E2}"/>
              </c:ext>
            </c:extLst>
          </c:dPt>
          <c:dPt>
            <c:idx val="9"/>
            <c:invertIfNegative val="1"/>
            <c:bubble3D val="0"/>
            <c:spPr>
              <a:solidFill>
                <a:srgbClr val="7ECAC4"/>
              </a:solidFill>
            </c:spPr>
            <c:extLst>
              <c:ext xmlns:c16="http://schemas.microsoft.com/office/drawing/2014/chart" uri="{C3380CC4-5D6E-409C-BE32-E72D297353CC}">
                <c16:uniqueId val="{00000015-FA3E-4872-B6E1-C4ABDF5766E2}"/>
              </c:ext>
            </c:extLst>
          </c:dPt>
          <c:dPt>
            <c:idx val="10"/>
            <c:invertIfNegative val="1"/>
            <c:bubble3D val="0"/>
            <c:spPr>
              <a:solidFill>
                <a:srgbClr val="7ECAC4"/>
              </a:solidFill>
            </c:spPr>
            <c:extLst>
              <c:ext xmlns:c16="http://schemas.microsoft.com/office/drawing/2014/chart" uri="{C3380CC4-5D6E-409C-BE32-E72D297353CC}">
                <c16:uniqueId val="{00000017-FA3E-4872-B6E1-C4ABDF5766E2}"/>
              </c:ext>
            </c:extLst>
          </c:dPt>
          <c:dPt>
            <c:idx val="11"/>
            <c:invertIfNegative val="1"/>
            <c:bubble3D val="0"/>
            <c:spPr>
              <a:solidFill>
                <a:srgbClr val="AEABAB"/>
              </a:solidFill>
            </c:spPr>
            <c:extLst>
              <c:ext xmlns:c16="http://schemas.microsoft.com/office/drawing/2014/chart" uri="{C3380CC4-5D6E-409C-BE32-E72D297353CC}">
                <c16:uniqueId val="{00000019-FA3E-4872-B6E1-C4ABDF5766E2}"/>
              </c:ext>
            </c:extLst>
          </c:dPt>
          <c:dPt>
            <c:idx val="12"/>
            <c:invertIfNegative val="1"/>
            <c:bubble3D val="0"/>
            <c:spPr>
              <a:solidFill>
                <a:srgbClr val="AEABAB"/>
              </a:solidFill>
            </c:spPr>
            <c:extLst>
              <c:ext xmlns:c16="http://schemas.microsoft.com/office/drawing/2014/chart" uri="{C3380CC4-5D6E-409C-BE32-E72D297353CC}">
                <c16:uniqueId val="{0000001B-FA3E-4872-B6E1-C4ABDF5766E2}"/>
              </c:ext>
            </c:extLst>
          </c:dPt>
          <c:dPt>
            <c:idx val="13"/>
            <c:invertIfNegative val="1"/>
            <c:bubble3D val="0"/>
            <c:spPr>
              <a:solidFill>
                <a:srgbClr val="AEABAB"/>
              </a:solidFill>
            </c:spPr>
            <c:extLst>
              <c:ext xmlns:c16="http://schemas.microsoft.com/office/drawing/2014/chart" uri="{C3380CC4-5D6E-409C-BE32-E72D297353CC}">
                <c16:uniqueId val="{0000001D-FA3E-4872-B6E1-C4ABDF5766E2}"/>
              </c:ext>
            </c:extLst>
          </c:dPt>
          <c:dPt>
            <c:idx val="14"/>
            <c:invertIfNegative val="1"/>
            <c:bubble3D val="0"/>
            <c:spPr>
              <a:solidFill>
                <a:srgbClr val="AEABAB"/>
              </a:solidFill>
            </c:spPr>
            <c:extLst>
              <c:ext xmlns:c16="http://schemas.microsoft.com/office/drawing/2014/chart" uri="{C3380CC4-5D6E-409C-BE32-E72D297353CC}">
                <c16:uniqueId val="{0000001F-FA3E-4872-B6E1-C4ABDF5766E2}"/>
              </c:ext>
            </c:extLst>
          </c:dPt>
          <c:dPt>
            <c:idx val="15"/>
            <c:invertIfNegative val="1"/>
            <c:bubble3D val="0"/>
            <c:spPr>
              <a:solidFill>
                <a:srgbClr val="AEABAB"/>
              </a:solidFill>
            </c:spPr>
            <c:extLst>
              <c:ext xmlns:c16="http://schemas.microsoft.com/office/drawing/2014/chart" uri="{C3380CC4-5D6E-409C-BE32-E72D297353CC}">
                <c16:uniqueId val="{00000021-FA3E-4872-B6E1-C4ABDF5766E2}"/>
              </c:ext>
            </c:extLst>
          </c:dPt>
          <c:dPt>
            <c:idx val="16"/>
            <c:invertIfNegative val="1"/>
            <c:bubble3D val="0"/>
            <c:spPr>
              <a:solidFill>
                <a:srgbClr val="AEABAB"/>
              </a:solidFill>
            </c:spPr>
            <c:extLst>
              <c:ext xmlns:c16="http://schemas.microsoft.com/office/drawing/2014/chart" uri="{C3380CC4-5D6E-409C-BE32-E72D297353CC}">
                <c16:uniqueId val="{00000023-FA3E-4872-B6E1-C4ABDF5766E2}"/>
              </c:ext>
            </c:extLst>
          </c:dPt>
          <c:dPt>
            <c:idx val="17"/>
            <c:invertIfNegative val="1"/>
            <c:bubble3D val="0"/>
            <c:spPr>
              <a:solidFill>
                <a:srgbClr val="AEABAB"/>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19</c:f>
              <c:strCache>
                <c:ptCount val="18"/>
                <c:pt idx="0">
                  <c:v>Boursin Classique Fromage Frais A Tartiner Afh Boite 1X250Gr 1P</c:v>
                </c:pt>
                <c:pt idx="1">
                  <c:v>Boursin Classique Fromage Frais A Tartiner Afh 1X160Gr 10P</c:v>
                </c:pt>
                <c:pt idx="2">
                  <c:v>Boursin Classique Fromage Frais A Tartiner Afh Boite 1X150Gr 1P</c:v>
                </c:pt>
                <c:pt idx="3">
                  <c:v>Boursin Onctueux Fromage Frais A Tartiner Afh 1X125Gr 1P</c:v>
                </c:pt>
                <c:pt idx="4">
                  <c:v>Boursin Salade &amp; Aperitif Fromage Frais Des Afh 1X120Gr 1P</c:v>
                </c:pt>
                <c:pt idx="5">
                  <c:v>Boursin Classique Fromage Frais A Tartiner Afh Boite 1X96Gr 6P</c:v>
                </c:pt>
                <c:pt idx="6">
                  <c:v>Boursin Classique Fromage Frais A Tartiner Figue Et 3 Noix Boite 1X150Gr 1P</c:v>
                </c:pt>
                <c:pt idx="7">
                  <c:v>Boursin Classique Fromage Frais A Tartiner Ciboulette &amp; Echalote Boite 1X150Gr 1P</c:v>
                </c:pt>
                <c:pt idx="8">
                  <c:v>Boursin Classique Fromage Frais A Tartiner Afh 1X256Gr 16P</c:v>
                </c:pt>
                <c:pt idx="9">
                  <c:v>Boursin Classique Fromage Frais A Tartiner Poivre Boite 1X150Gr 1P</c:v>
                </c:pt>
                <c:pt idx="10">
                  <c:v>Boursin Classique Fromage Frais A Tartiner Ciboulette &amp; Echalote 1X160Gr 10P</c:v>
                </c:pt>
                <c:pt idx="11">
                  <c:v>Boursin Salade &amp; Aperitif Fromage Frais Des Ciboulette Echalote 1X120Gr 1P</c:v>
                </c:pt>
                <c:pt idx="12">
                  <c:v>Boursin Salade &amp; Aperitif Fromage Frais Des Figue Noix 1X120Gr 1P</c:v>
                </c:pt>
                <c:pt idx="13">
                  <c:v>Boursin Salade &amp; Aperitif Fromage Frais Des Citron Romarin 1X120Gr 1P</c:v>
                </c:pt>
                <c:pt idx="14">
                  <c:v>Boursin Classique Fromage Frais A Tartiner Afh Boite 1X80Gr 1P</c:v>
                </c:pt>
                <c:pt idx="15">
                  <c:v>Boursin Salade &amp; Aperitif Fromage Frais Des Noisette Et 3 Noix 1X120Gr 1P</c:v>
                </c:pt>
                <c:pt idx="16">
                  <c:v>Boursin Salade &amp; Aperitif Soft Cheese Salade 120G</c:v>
                </c:pt>
                <c:pt idx="17">
                  <c:v>Boursin Classique Fromage Frais A Tartiner Truffe Boite 1X150Gr 1P</c:v>
                </c:pt>
              </c:strCache>
            </c:strRef>
          </c:cat>
          <c:val>
            <c:numRef>
              <c:f>Sheet1!$C$2:$C$19</c:f>
              <c:numCache>
                <c:formatCode>General</c:formatCode>
                <c:ptCount val="18"/>
                <c:pt idx="0">
                  <c:v>0.17264740401783538</c:v>
                </c:pt>
                <c:pt idx="1">
                  <c:v>0.3435413415727103</c:v>
                </c:pt>
                <c:pt idx="2">
                  <c:v>0.49864604392323375</c:v>
                </c:pt>
                <c:pt idx="3">
                  <c:v>0.5739377725710711</c:v>
                </c:pt>
                <c:pt idx="4">
                  <c:v>0.6431206564399264</c:v>
                </c:pt>
                <c:pt idx="5">
                  <c:v>0.7110897577636835</c:v>
                </c:pt>
                <c:pt idx="6">
                  <c:v>0.7750256584010903</c:v>
                </c:pt>
                <c:pt idx="7">
                  <c:v>0.828196864644008</c:v>
                </c:pt>
                <c:pt idx="8">
                  <c:v>0.874487733771797</c:v>
                </c:pt>
                <c:pt idx="9">
                  <c:v>0.9174915177610307</c:v>
                </c:pt>
                <c:pt idx="10">
                  <c:v>0.9471966622625387</c:v>
                </c:pt>
                <c:pt idx="11">
                  <c:v>0.9645707127055188</c:v>
                </c:pt>
                <c:pt idx="12">
                  <c:v>0.9763311138030617</c:v>
                </c:pt>
                <c:pt idx="13">
                  <c:v>0.9830726696292749</c:v>
                </c:pt>
                <c:pt idx="14">
                  <c:v>0.9886893565952628</c:v>
                </c:pt>
                <c:pt idx="15">
                  <c:v>0.9942700983847327</c:v>
                </c:pt>
                <c:pt idx="16">
                  <c:v>0.997181657682693</c:v>
                </c:pt>
                <c:pt idx="17">
                  <c:v>1.0</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19</c:f>
              <c:strCache>
                <c:ptCount val="18"/>
                <c:pt idx="0">
                  <c:v>Boursin Classique Fromage Frais A Tartiner Afh Boite 1X250Gr 1P</c:v>
                </c:pt>
                <c:pt idx="1">
                  <c:v>Boursin Classique Fromage Frais A Tartiner Afh 1X160Gr 10P</c:v>
                </c:pt>
                <c:pt idx="2">
                  <c:v>Boursin Classique Fromage Frais A Tartiner Afh Boite 1X150Gr 1P</c:v>
                </c:pt>
                <c:pt idx="3">
                  <c:v>Boursin Onctueux Fromage Frais A Tartiner Afh 1X125Gr 1P</c:v>
                </c:pt>
                <c:pt idx="4">
                  <c:v>Boursin Salade &amp; Aperitif Fromage Frais Des Afh 1X120Gr 1P</c:v>
                </c:pt>
                <c:pt idx="5">
                  <c:v>Boursin Classique Fromage Frais A Tartiner Afh Boite 1X96Gr 6P</c:v>
                </c:pt>
                <c:pt idx="6">
                  <c:v>Boursin Classique Fromage Frais A Tartiner Figue Et 3 Noix Boite 1X150Gr 1P</c:v>
                </c:pt>
                <c:pt idx="7">
                  <c:v>Boursin Classique Fromage Frais A Tartiner Ciboulette &amp; Echalote Boite 1X150Gr 1P</c:v>
                </c:pt>
                <c:pt idx="8">
                  <c:v>Boursin Classique Fromage Frais A Tartiner Afh 1X256Gr 16P</c:v>
                </c:pt>
                <c:pt idx="9">
                  <c:v>Boursin Classique Fromage Frais A Tartiner Poivre Boite 1X150Gr 1P</c:v>
                </c:pt>
                <c:pt idx="10">
                  <c:v>Boursin Classique Fromage Frais A Tartiner Ciboulette &amp; Echalote 1X160Gr 10P</c:v>
                </c:pt>
                <c:pt idx="11">
                  <c:v>Boursin Salade &amp; Aperitif Fromage Frais Des Ciboulette Echalote 1X120Gr 1P</c:v>
                </c:pt>
                <c:pt idx="12">
                  <c:v>Boursin Salade &amp; Aperitif Fromage Frais Des Figue Noix 1X120Gr 1P</c:v>
                </c:pt>
                <c:pt idx="13">
                  <c:v>Boursin Salade &amp; Aperitif Fromage Frais Des Citron Romarin 1X120Gr 1P</c:v>
                </c:pt>
                <c:pt idx="14">
                  <c:v>Boursin Classique Fromage Frais A Tartiner Afh Boite 1X80Gr 1P</c:v>
                </c:pt>
                <c:pt idx="15">
                  <c:v>Boursin Salade &amp; Aperitif Fromage Frais Des Noisette Et 3 Noix 1X120Gr 1P</c:v>
                </c:pt>
                <c:pt idx="16">
                  <c:v>Boursin Salade &amp; Aperitif Soft Cheese Salade 120G</c:v>
                </c:pt>
                <c:pt idx="17">
                  <c:v>Boursin Classique Fromage Frais A Tartiner Truffe Boite 1X150Gr 1P</c:v>
                </c:pt>
              </c:strCache>
            </c:strRef>
          </c:cat>
          <c:val>
            <c:numRef>
              <c:f>Sheet1!$D$2:$D$19</c:f>
              <c:numCache>
                <c:formatCode>General</c:formatCode>
                <c:ptCount val="18"/>
                <c:pt idx="0">
                  <c:v>27838.23469387755</c:v>
                </c:pt>
                <c:pt idx="1">
                  <c:v>27527.410805300715</c:v>
                </c:pt>
                <c:pt idx="2">
                  <c:v>24558.517034068136</c:v>
                </c:pt>
                <c:pt idx="3">
                  <c:v>12471.153039832287</c:v>
                </c:pt>
                <c:pt idx="4">
                  <c:v>11293.564049586777</c:v>
                </c:pt>
                <c:pt idx="5">
                  <c:v>11438.093716719915</c:v>
                </c:pt>
                <c:pt idx="6">
                  <c:v>10309.234693877552</c:v>
                </c:pt>
                <c:pt idx="7">
                  <c:v>8635.179856115108</c:v>
                </c:pt>
                <c:pt idx="8">
                  <c:v>8505.593023255815</c:v>
                </c:pt>
                <c:pt idx="9">
                  <c:v>7229.13829787234</c:v>
                </c:pt>
                <c:pt idx="10">
                  <c:v>5809.356435643564</c:v>
                </c:pt>
                <c:pt idx="11">
                  <c:v>3335.868772782503</c:v>
                </c:pt>
                <c:pt idx="12">
                  <c:v>2199.242603550296</c:v>
                </c:pt>
                <c:pt idx="13">
                  <c:v>1614.0757575757575</c:v>
                </c:pt>
                <c:pt idx="14">
                  <c:v>2730.892307692308</c:v>
                </c:pt>
                <c:pt idx="15">
                  <c:v>1098.206724782067</c:v>
                </c:pt>
                <c:pt idx="16">
                  <c:v>1111.304347826087</c:v>
                </c:pt>
                <c:pt idx="17">
                  <c:v>648.2532751091703</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12</c:f>
              <c:strCache>
                <c:ptCount val="11"/>
                <c:pt idx="0">
                  <c:v>Kiri Creme Fromage Blanc Frais Carre 1X432Gr 24P</c:v>
                </c:pt>
                <c:pt idx="1">
                  <c:v>Kiri Creme Fromage Blanc Frais Carre 1X216Gr 12P</c:v>
                </c:pt>
                <c:pt idx="2">
                  <c:v>Kiri Gouter Fromage Blanc Dips Boite 1X175Gr 5P</c:v>
                </c:pt>
                <c:pt idx="3">
                  <c:v>Kiri Creme Fromage Blanc Frais Carre 1X144Gr 8P</c:v>
                </c:pt>
                <c:pt idx="4">
                  <c:v>Kiri Gouter Fromage Blanc Dips Boite 1X280Gr 8P</c:v>
                </c:pt>
                <c:pt idx="5">
                  <c:v>Kiri Creme Fromage Blanc Frais Carre 1X432Gr 18+6P</c:v>
                </c:pt>
                <c:pt idx="6">
                  <c:v>Kiri Delicieusement Fouette Fromage Frais A Tartiner 1X210Gr 1P</c:v>
                </c:pt>
                <c:pt idx="7">
                  <c:v>Kiri Delicieusement Fouette Fromage Frais A Tartiner 1X125Gr 1P</c:v>
                </c:pt>
                <c:pt idx="8">
                  <c:v>Kiri Bio Fromage Blanc Frais Carre 1X144Gr 8P</c:v>
                </c:pt>
                <c:pt idx="9">
                  <c:v>Kiri Delicieusement Fouette Fromage Frais A Tartiner 1X160Gr 10P</c:v>
                </c:pt>
                <c:pt idx="10">
                  <c:v>Kiri Chevre Fromage Blanc Frais Carre 1X144Gr 8P</c:v>
                </c:pt>
              </c:strCache>
            </c:strRef>
          </c:cat>
          <c:val>
            <c:numRef>
              <c:f>Sheet1!$B$2:$B$12</c:f>
              <c:numCache>
                <c:formatCode>General</c:formatCode>
                <c:ptCount val="11"/>
                <c:pt idx="0">
                  <c:v>0.99</c:v>
                </c:pt>
                <c:pt idx="1">
                  <c:v>1.0</c:v>
                </c:pt>
                <c:pt idx="2">
                  <c:v>1.0</c:v>
                </c:pt>
                <c:pt idx="3">
                  <c:v>1.0</c:v>
                </c:pt>
                <c:pt idx="4">
                  <c:v>0.99</c:v>
                </c:pt>
                <c:pt idx="5">
                  <c:v>0.98</c:v>
                </c:pt>
                <c:pt idx="6">
                  <c:v>0.96</c:v>
                </c:pt>
                <c:pt idx="7">
                  <c:v>0.98</c:v>
                </c:pt>
                <c:pt idx="8">
                  <c:v>0.75</c:v>
                </c:pt>
                <c:pt idx="9">
                  <c:v>0.89</c:v>
                </c:pt>
                <c:pt idx="10">
                  <c:v>0.56</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7ECAC4"/>
              </a:solidFill>
            </c:spPr>
            <c:extLst>
              <c:ext xmlns:c16="http://schemas.microsoft.com/office/drawing/2014/chart" uri="{C3380CC4-5D6E-409C-BE32-E72D297353CC}">
                <c16:uniqueId val="{0000000B-FA3E-4872-B6E1-C4ABDF5766E2}"/>
              </c:ext>
            </c:extLst>
          </c:dPt>
          <c:dPt>
            <c:idx val="5"/>
            <c:invertIfNegative val="1"/>
            <c:bubble3D val="0"/>
            <c:spPr>
              <a:solidFill>
                <a:srgbClr val="7ECAC4"/>
              </a:solidFill>
            </c:spPr>
            <c:extLst>
              <c:ext xmlns:c16="http://schemas.microsoft.com/office/drawing/2014/chart" uri="{C3380CC4-5D6E-409C-BE32-E72D297353CC}">
                <c16:uniqueId val="{0000000D-FA3E-4872-B6E1-C4ABDF5766E2}"/>
              </c:ext>
            </c:extLst>
          </c:dPt>
          <c:dPt>
            <c:idx val="6"/>
            <c:invertIfNegative val="1"/>
            <c:bubble3D val="0"/>
            <c:spPr>
              <a:solidFill>
                <a:srgbClr val="AEABAB"/>
              </a:solidFill>
            </c:spPr>
            <c:extLst>
              <c:ext xmlns:c16="http://schemas.microsoft.com/office/drawing/2014/chart" uri="{C3380CC4-5D6E-409C-BE32-E72D297353CC}">
                <c16:uniqueId val="{0000000F-FA3E-4872-B6E1-C4ABDF5766E2}"/>
              </c:ext>
            </c:extLst>
          </c:dPt>
          <c:dPt>
            <c:idx val="7"/>
            <c:invertIfNegative val="1"/>
            <c:bubble3D val="0"/>
            <c:spPr>
              <a:solidFill>
                <a:srgbClr val="AEABAB"/>
              </a:solidFill>
            </c:spPr>
            <c:extLst>
              <c:ext xmlns:c16="http://schemas.microsoft.com/office/drawing/2014/chart" uri="{C3380CC4-5D6E-409C-BE32-E72D297353CC}">
                <c16:uniqueId val="{00000011-FA3E-4872-B6E1-C4ABDF5766E2}"/>
              </c:ext>
            </c:extLst>
          </c:dPt>
          <c:dPt>
            <c:idx val="8"/>
            <c:invertIfNegative val="1"/>
            <c:bubble3D val="0"/>
            <c:spPr>
              <a:solidFill>
                <a:srgbClr val="AEABAB"/>
              </a:solidFill>
            </c:spPr>
            <c:extLst>
              <c:ext xmlns:c16="http://schemas.microsoft.com/office/drawing/2014/chart" uri="{C3380CC4-5D6E-409C-BE32-E72D297353CC}">
                <c16:uniqueId val="{00000013-FA3E-4872-B6E1-C4ABDF5766E2}"/>
              </c:ext>
            </c:extLst>
          </c:dPt>
          <c:dPt>
            <c:idx val="9"/>
            <c:invertIfNegative val="1"/>
            <c:bubble3D val="0"/>
            <c:spPr>
              <a:solidFill>
                <a:srgbClr val="AEABAB"/>
              </a:solidFill>
            </c:spPr>
            <c:extLst>
              <c:ext xmlns:c16="http://schemas.microsoft.com/office/drawing/2014/chart" uri="{C3380CC4-5D6E-409C-BE32-E72D297353CC}">
                <c16:uniqueId val="{00000015-FA3E-4872-B6E1-C4ABDF5766E2}"/>
              </c:ext>
            </c:extLst>
          </c:dPt>
          <c:dPt>
            <c:idx val="10"/>
            <c:invertIfNegative val="1"/>
            <c:bubble3D val="0"/>
            <c:spPr>
              <a:solidFill>
                <a:srgbClr val="AEABAB"/>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12</c:f>
              <c:strCache>
                <c:ptCount val="11"/>
                <c:pt idx="0">
                  <c:v>Kiri Creme Fromage Blanc Frais Carre 1X432Gr 24P</c:v>
                </c:pt>
                <c:pt idx="1">
                  <c:v>Kiri Creme Fromage Blanc Frais Carre 1X216Gr 12P</c:v>
                </c:pt>
                <c:pt idx="2">
                  <c:v>Kiri Gouter Fromage Blanc Dips Boite 1X175Gr 5P</c:v>
                </c:pt>
                <c:pt idx="3">
                  <c:v>Kiri Creme Fromage Blanc Frais Carre 1X144Gr 8P</c:v>
                </c:pt>
                <c:pt idx="4">
                  <c:v>Kiri Gouter Fromage Blanc Dips Boite 1X280Gr 8P</c:v>
                </c:pt>
                <c:pt idx="5">
                  <c:v>Kiri Creme Fromage Blanc Frais Carre 1X432Gr 18+6P</c:v>
                </c:pt>
                <c:pt idx="6">
                  <c:v>Kiri Delicieusement Fouette Fromage Frais A Tartiner 1X210Gr 1P</c:v>
                </c:pt>
                <c:pt idx="7">
                  <c:v>Kiri Delicieusement Fouette Fromage Frais A Tartiner 1X125Gr 1P</c:v>
                </c:pt>
                <c:pt idx="8">
                  <c:v>Kiri Bio Fromage Blanc Frais Carre 1X144Gr 8P</c:v>
                </c:pt>
                <c:pt idx="9">
                  <c:v>Kiri Delicieusement Fouette Fromage Frais A Tartiner 1X160Gr 10P</c:v>
                </c:pt>
                <c:pt idx="10">
                  <c:v>Kiri Chevre Fromage Blanc Frais Carre 1X144Gr 8P</c:v>
                </c:pt>
              </c:strCache>
            </c:strRef>
          </c:cat>
          <c:val>
            <c:numRef>
              <c:f>Sheet1!$C$2:$C$12</c:f>
              <c:numCache>
                <c:formatCode>General</c:formatCode>
                <c:ptCount val="11"/>
                <c:pt idx="0">
                  <c:v>0.38031066252989243</c:v>
                </c:pt>
                <c:pt idx="1">
                  <c:v>0.5442684836115993</c:v>
                </c:pt>
                <c:pt idx="2">
                  <c:v>0.6699138153315682</c:v>
                </c:pt>
                <c:pt idx="3">
                  <c:v>0.7692979336913968</c:v>
                </c:pt>
                <c:pt idx="4">
                  <c:v>0.8621044462458098</c:v>
                </c:pt>
                <c:pt idx="5">
                  <c:v>0.93013522600303</c:v>
                </c:pt>
                <c:pt idx="6">
                  <c:v>0.9578908518530377</c:v>
                </c:pt>
                <c:pt idx="7">
                  <c:v>0.976276549310135</c:v>
                </c:pt>
                <c:pt idx="8">
                  <c:v>0.9882295741156127</c:v>
                </c:pt>
                <c:pt idx="9">
                  <c:v>0.9987486033331254</c:v>
                </c:pt>
                <c:pt idx="10">
                  <c:v>1.0</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12</c:f>
              <c:strCache>
                <c:ptCount val="11"/>
                <c:pt idx="0">
                  <c:v>Kiri Creme Fromage Blanc Frais Carre 1X432Gr 24P</c:v>
                </c:pt>
                <c:pt idx="1">
                  <c:v>Kiri Creme Fromage Blanc Frais Carre 1X216Gr 12P</c:v>
                </c:pt>
                <c:pt idx="2">
                  <c:v>Kiri Gouter Fromage Blanc Dips Boite 1X175Gr 5P</c:v>
                </c:pt>
                <c:pt idx="3">
                  <c:v>Kiri Creme Fromage Blanc Frais Carre 1X144Gr 8P</c:v>
                </c:pt>
                <c:pt idx="4">
                  <c:v>Kiri Gouter Fromage Blanc Dips Boite 1X280Gr 8P</c:v>
                </c:pt>
                <c:pt idx="5">
                  <c:v>Kiri Creme Fromage Blanc Frais Carre 1X432Gr 18+6P</c:v>
                </c:pt>
                <c:pt idx="6">
                  <c:v>Kiri Delicieusement Fouette Fromage Frais A Tartiner 1X210Gr 1P</c:v>
                </c:pt>
                <c:pt idx="7">
                  <c:v>Kiri Delicieusement Fouette Fromage Frais A Tartiner 1X125Gr 1P</c:v>
                </c:pt>
                <c:pt idx="8">
                  <c:v>Kiri Bio Fromage Blanc Frais Carre 1X144Gr 8P</c:v>
                </c:pt>
                <c:pt idx="9">
                  <c:v>Kiri Delicieusement Fouette Fromage Frais A Tartiner 1X160Gr 10P</c:v>
                </c:pt>
                <c:pt idx="10">
                  <c:v>Kiri Chevre Fromage Blanc Frais Carre 1X144Gr 8P</c:v>
                </c:pt>
              </c:strCache>
            </c:strRef>
          </c:cat>
          <c:val>
            <c:numRef>
              <c:f>Sheet1!$D$2:$D$12</c:f>
              <c:numCache>
                <c:formatCode>General</c:formatCode>
                <c:ptCount val="11"/>
                <c:pt idx="0">
                  <c:v>45589.41414141414</c:v>
                </c:pt>
                <c:pt idx="1">
                  <c:v>19457.76</c:v>
                </c:pt>
                <c:pt idx="2">
                  <c:v>14911.01</c:v>
                </c:pt>
                <c:pt idx="3">
                  <c:v>11794.45</c:v>
                </c:pt>
                <c:pt idx="4">
                  <c:v>11125.10101010101</c:v>
                </c:pt>
                <c:pt idx="5">
                  <c:v>8238.34693877551</c:v>
                </c:pt>
                <c:pt idx="6">
                  <c:v>3431.15625</c:v>
                </c:pt>
                <c:pt idx="7">
                  <c:v>2226.4591836734694</c:v>
                </c:pt>
                <c:pt idx="8">
                  <c:v>1891.3733333333332</c:v>
                </c:pt>
                <c:pt idx="9">
                  <c:v>1402.6404494382023</c:v>
                </c:pt>
                <c:pt idx="10">
                  <c:v>265.19642857142856</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President</c:v>
                </c:pt>
                <c:pt idx="2">
                  <c:v>Entremont</c:v>
                </c:pt>
                <c:pt idx="3">
                  <c:v>Soignon</c:v>
                </c:pt>
                <c:pt idx="4">
                  <c:v>St Moret</c:v>
                </c:pt>
                <c:pt idx="5">
                  <c:v>Galbani</c:v>
                </c:pt>
                <c:pt idx="6">
                  <c:v>La Vache Qui Rit</c:v>
                </c:pt>
                <c:pt idx="7">
                  <c:v>Boursin</c:v>
                </c:pt>
                <c:pt idx="8">
                  <c:v>Kiri</c:v>
                </c:pt>
                <c:pt idx="9">
                  <c:v>Others</c:v>
                </c:pt>
              </c:strCache>
            </c:strRef>
          </c:cat>
          <c:val>
            <c:numRef>
              <c:f>Sheet1!$B$2:$B$11</c:f>
              <c:numCache>
                <c:formatCode>General</c:formatCode>
                <c:ptCount val="10"/>
                <c:pt idx="0">
                  <c:v>0.4515302741811513</c:v>
                </c:pt>
                <c:pt idx="1">
                  <c:v>0.07638420809464146</c:v>
                </c:pt>
                <c:pt idx="2">
                  <c:v>0.04715350000259808</c:v>
                </c:pt>
                <c:pt idx="3">
                  <c:v>0.025743281949529156</c:v>
                </c:pt>
                <c:pt idx="4">
                  <c:v>0.023385839125199658</c:v>
                </c:pt>
                <c:pt idx="5">
                  <c:v>0.023324142233218152</c:v>
                </c:pt>
                <c:pt idx="6">
                  <c:v>0.016023985262558493</c:v>
                </c:pt>
                <c:pt idx="7">
                  <c:v>0.014765632203605383</c:v>
                </c:pt>
                <c:pt idx="8">
                  <c:v>0.012217704354155062</c:v>
                </c:pt>
                <c:pt idx="9">
                  <c:v>0.30947143259334325</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President</c:v>
                </c:pt>
                <c:pt idx="2">
                  <c:v>Entremont</c:v>
                </c:pt>
                <c:pt idx="3">
                  <c:v>Soignon</c:v>
                </c:pt>
                <c:pt idx="4">
                  <c:v>St Moret</c:v>
                </c:pt>
                <c:pt idx="5">
                  <c:v>Galbani</c:v>
                </c:pt>
                <c:pt idx="6">
                  <c:v>La Vache Qui Rit</c:v>
                </c:pt>
                <c:pt idx="7">
                  <c:v>Boursin</c:v>
                </c:pt>
                <c:pt idx="8">
                  <c:v>Kiri</c:v>
                </c:pt>
                <c:pt idx="9">
                  <c:v>Others</c:v>
                </c:pt>
              </c:strCache>
            </c:strRef>
          </c:cat>
          <c:val>
            <c:numRef>
              <c:f>Sheet1!$C$2:$C$11</c:f>
              <c:numCache>
                <c:formatCode>General</c:formatCode>
                <c:ptCount val="10"/>
                <c:pt idx="0">
                  <c:v>0.28856145146365936</c:v>
                </c:pt>
                <c:pt idx="1">
                  <c:v>0.05598624130681429</c:v>
                </c:pt>
                <c:pt idx="2">
                  <c:v>0.050888854739196264</c:v>
                </c:pt>
                <c:pt idx="3">
                  <c:v>0.02810919327890454</c:v>
                </c:pt>
                <c:pt idx="4">
                  <c:v>0.019107842912867063</c:v>
                </c:pt>
                <c:pt idx="5">
                  <c:v>0.029533126473386673</c:v>
                </c:pt>
                <c:pt idx="6">
                  <c:v>0.013573957880350375</c:v>
                </c:pt>
                <c:pt idx="7">
                  <c:v>0.03265237393041529</c:v>
                </c:pt>
                <c:pt idx="8">
                  <c:v>0.017911150492246026</c:v>
                </c:pt>
                <c:pt idx="9">
                  <c:v>0.46367580752216014</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President</c:v>
                </c:pt>
                <c:pt idx="2">
                  <c:v>Entremont</c:v>
                </c:pt>
                <c:pt idx="3">
                  <c:v>Soignon</c:v>
                </c:pt>
                <c:pt idx="4">
                  <c:v>St Moret</c:v>
                </c:pt>
                <c:pt idx="5">
                  <c:v>Galbani</c:v>
                </c:pt>
                <c:pt idx="6">
                  <c:v>La Vache Qui Rit</c:v>
                </c:pt>
                <c:pt idx="7">
                  <c:v>Boursin</c:v>
                </c:pt>
                <c:pt idx="8">
                  <c:v>Kiri</c:v>
                </c:pt>
                <c:pt idx="9">
                  <c:v>Others</c:v>
                </c:pt>
              </c:strCache>
            </c:strRef>
          </c:cat>
          <c:val>
            <c:numRef>
              <c:f>Sheet1!$D$2:$D$11</c:f>
              <c:numCache>
                <c:formatCode>General</c:formatCode>
                <c:ptCount val="10"/>
                <c:pt idx="0">
                  <c:v>63.90744274832172</c:v>
                </c:pt>
                <c:pt idx="1">
                  <c:v>73.29557077746529</c:v>
                </c:pt>
                <c:pt idx="2">
                  <c:v>107.9216913620248</c:v>
                </c:pt>
                <c:pt idx="3">
                  <c:v>109.1904028942924</c:v>
                </c:pt>
                <c:pt idx="4">
                  <c:v>81.70689454661135</c:v>
                </c:pt>
                <c:pt idx="5">
                  <c:v>126.62041835487399</c:v>
                </c:pt>
                <c:pt idx="6">
                  <c:v>84.71024940385567</c:v>
                </c:pt>
                <c:pt idx="7">
                  <c:v>221.13766264909694</c:v>
                </c:pt>
                <c:pt idx="8">
                  <c:v>146.59996651625232</c:v>
                </c:pt>
                <c:pt idx="9">
                  <c:v>149.82830681223075</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Apericube</c:v>
                </c:pt>
                <c:pt idx="1">
                  <c:v>Aperivrais</c:v>
                </c:pt>
                <c:pt idx="2">
                  <c:v>Boursin</c:v>
                </c:pt>
                <c:pt idx="3">
                  <c:v>Private Label</c:v>
                </c:pt>
                <c:pt idx="4">
                  <c:v>St Moret</c:v>
                </c:pt>
                <c:pt idx="5">
                  <c:v>O'Tapas Apero</c:v>
                </c:pt>
                <c:pt idx="6">
                  <c:v>Entremont</c:v>
                </c:pt>
                <c:pt idx="7">
                  <c:v>Others</c:v>
                </c:pt>
              </c:strCache>
            </c:strRef>
          </c:cat>
          <c:val>
            <c:numRef>
              <c:f>Sheet1!$B$2:$B$9</c:f>
              <c:numCache>
                <c:formatCode>General</c:formatCode>
                <c:ptCount val="8"/>
                <c:pt idx="0">
                  <c:v>0.6251717108304198</c:v>
                </c:pt>
                <c:pt idx="1">
                  <c:v>0.14050312056819525</c:v>
                </c:pt>
                <c:pt idx="2">
                  <c:v>0.09271493796041762</c:v>
                </c:pt>
                <c:pt idx="3">
                  <c:v>0.05485110979550296</c:v>
                </c:pt>
                <c:pt idx="4">
                  <c:v>0.028432867748155566</c:v>
                </c:pt>
                <c:pt idx="5">
                  <c:v>0.010639035290239697</c:v>
                </c:pt>
                <c:pt idx="6">
                  <c:v>0.010342470391749571</c:v>
                </c:pt>
                <c:pt idx="7">
                  <c:v>0.03734474741531954</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Apericube</c:v>
                </c:pt>
                <c:pt idx="1">
                  <c:v>Aperivrais</c:v>
                </c:pt>
                <c:pt idx="2">
                  <c:v>Boursin</c:v>
                </c:pt>
                <c:pt idx="3">
                  <c:v>Private Label</c:v>
                </c:pt>
                <c:pt idx="4">
                  <c:v>St Moret</c:v>
                </c:pt>
                <c:pt idx="5">
                  <c:v>O'Tapas Apero</c:v>
                </c:pt>
                <c:pt idx="6">
                  <c:v>Entremont</c:v>
                </c:pt>
                <c:pt idx="7">
                  <c:v>Others</c:v>
                </c:pt>
              </c:strCache>
            </c:strRef>
          </c:cat>
          <c:val>
            <c:numRef>
              <c:f>Sheet1!$C$2:$C$9</c:f>
              <c:numCache>
                <c:formatCode>General</c:formatCode>
                <c:ptCount val="8"/>
                <c:pt idx="0">
                  <c:v>0.42372881355932207</c:v>
                </c:pt>
                <c:pt idx="1">
                  <c:v>0.1961259079903148</c:v>
                </c:pt>
                <c:pt idx="2">
                  <c:v>0.08958837772397095</c:v>
                </c:pt>
                <c:pt idx="3">
                  <c:v>0.03943272224143895</c:v>
                </c:pt>
                <c:pt idx="4">
                  <c:v>0.052576962988585274</c:v>
                </c:pt>
                <c:pt idx="5">
                  <c:v>0.04842615012106539</c:v>
                </c:pt>
                <c:pt idx="6">
                  <c:v>0.04808024904877206</c:v>
                </c:pt>
                <c:pt idx="7">
                  <c:v>0.10204081632653064</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Apericube</c:v>
                </c:pt>
                <c:pt idx="1">
                  <c:v>Aperivrais</c:v>
                </c:pt>
                <c:pt idx="2">
                  <c:v>Boursin</c:v>
                </c:pt>
                <c:pt idx="3">
                  <c:v>Private Label</c:v>
                </c:pt>
                <c:pt idx="4">
                  <c:v>St Moret</c:v>
                </c:pt>
                <c:pt idx="5">
                  <c:v>O'Tapas Apero</c:v>
                </c:pt>
                <c:pt idx="6">
                  <c:v>Entremont</c:v>
                </c:pt>
                <c:pt idx="7">
                  <c:v>Others</c:v>
                </c:pt>
              </c:strCache>
            </c:strRef>
          </c:cat>
          <c:val>
            <c:numRef>
              <c:f>Sheet1!$D$2:$D$9</c:f>
              <c:numCache>
                <c:formatCode>General</c:formatCode>
                <c:ptCount val="8"/>
                <c:pt idx="0">
                  <c:v>67.77798902584384</c:v>
                </c:pt>
                <c:pt idx="1">
                  <c:v>139.588293268634</c:v>
                </c:pt>
                <c:pt idx="2">
                  <c:v>96.62777077219047</c:v>
                </c:pt>
                <c:pt idx="3">
                  <c:v>71.89047293382548</c:v>
                </c:pt>
                <c:pt idx="4">
                  <c:v>184.91614512572664</c:v>
                </c:pt>
                <c:pt idx="5">
                  <c:v>455.17425969525436</c:v>
                </c:pt>
                <c:pt idx="6">
                  <c:v>464.88166973266647</c:v>
                </c:pt>
                <c:pt idx="7">
                  <c:v>273.24007628626117</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11</c:f>
              <c:strCache>
                <c:ptCount val="10"/>
                <c:pt idx="0">
                  <c:v>La Vache Qui Rit Nature Fromage Fondu Boite Ronde 1X512Gr 32P</c:v>
                </c:pt>
                <c:pt idx="1">
                  <c:v>La Vache Qui Rit Nature Fromage Fondu Boite Ronde 1X384Gr 24P</c:v>
                </c:pt>
                <c:pt idx="2">
                  <c:v>La Vache Qui Rit Nature Fromage Fondu Boite Ronde 1X192Gr 12P</c:v>
                </c:pt>
                <c:pt idx="3">
                  <c:v>La Vache Qui Rit Nature Fromage Fondu Boite Ronde 1X512Gr 24+8P</c:v>
                </c:pt>
                <c:pt idx="4">
                  <c:v>La Vache Qui Rit Nature Fromage Fondu Boite Ronde 1X128Gr 8P</c:v>
                </c:pt>
                <c:pt idx="5">
                  <c:v>La Vache Qui Rit Pik Et Croq' Fromage Fondu Dips Boite 1X175Gr 5P</c:v>
                </c:pt>
                <c:pt idx="6">
                  <c:v>La Vache Qui Rit Pik Et Croq' Fromage Fondu Dips Boite 1X280Gr 8P</c:v>
                </c:pt>
                <c:pt idx="7">
                  <c:v>La Vache Qui Rit Allegee Fromage Fondu Boite Ronde Allege 1X267Gr 16P</c:v>
                </c:pt>
                <c:pt idx="8">
                  <c:v>La Vache Qui Rit Bio Fromage Fondu Boite Ronde 1X128Gr 8P</c:v>
                </c:pt>
                <c:pt idx="9">
                  <c:v>La Vache Qui Rit Aro Fromage Fondu Boite Ronde Jambon 1X133Gr 8P</c:v>
                </c:pt>
              </c:strCache>
            </c:strRef>
          </c:cat>
          <c:val>
            <c:numRef>
              <c:f>Sheet1!$B$2:$B$11</c:f>
              <c:numCache>
                <c:formatCode>General</c:formatCode>
                <c:ptCount val="10"/>
                <c:pt idx="0">
                  <c:v>0.99</c:v>
                </c:pt>
                <c:pt idx="1">
                  <c:v>1.0</c:v>
                </c:pt>
                <c:pt idx="2">
                  <c:v>1.0</c:v>
                </c:pt>
                <c:pt idx="3">
                  <c:v>0.94</c:v>
                </c:pt>
                <c:pt idx="4">
                  <c:v>0.94</c:v>
                </c:pt>
                <c:pt idx="5">
                  <c:v>1.0</c:v>
                </c:pt>
                <c:pt idx="6">
                  <c:v>0.95</c:v>
                </c:pt>
                <c:pt idx="7">
                  <c:v>0.86</c:v>
                </c:pt>
                <c:pt idx="8">
                  <c:v>0.82</c:v>
                </c:pt>
                <c:pt idx="9">
                  <c:v>0.08</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7ECAC4"/>
              </a:solidFill>
            </c:spPr>
            <c:extLst>
              <c:ext xmlns:c16="http://schemas.microsoft.com/office/drawing/2014/chart" uri="{C3380CC4-5D6E-409C-BE32-E72D297353CC}">
                <c16:uniqueId val="{00000007-E902-46E2-9A54-39A26B3DFDC1}"/>
              </c:ext>
            </c:extLst>
          </c:dPt>
          <c:dPt>
            <c:idx val="4"/>
            <c:invertIfNegative val="1"/>
            <c:bubble3D val="0"/>
            <c:spPr>
              <a:solidFill>
                <a:srgbClr val="7ECAC4"/>
              </a:solidFill>
            </c:spPr>
            <c:extLst>
              <c:ext xmlns:c16="http://schemas.microsoft.com/office/drawing/2014/chart" uri="{C3380CC4-5D6E-409C-BE32-E72D297353CC}">
                <c16:uniqueId val="{0000000B-FA3E-4872-B6E1-C4ABDF5766E2}"/>
              </c:ext>
            </c:extLst>
          </c:dPt>
          <c:dPt>
            <c:idx val="5"/>
            <c:invertIfNegative val="1"/>
            <c:bubble3D val="0"/>
            <c:spPr>
              <a:solidFill>
                <a:srgbClr val="7ECAC4"/>
              </a:solidFill>
            </c:spPr>
            <c:extLst>
              <c:ext xmlns:c16="http://schemas.microsoft.com/office/drawing/2014/chart" uri="{C3380CC4-5D6E-409C-BE32-E72D297353CC}">
                <c16:uniqueId val="{0000000D-FA3E-4872-B6E1-C4ABDF5766E2}"/>
              </c:ext>
            </c:extLst>
          </c:dPt>
          <c:dPt>
            <c:idx val="6"/>
            <c:invertIfNegative val="1"/>
            <c:bubble3D val="0"/>
            <c:spPr>
              <a:solidFill>
                <a:srgbClr val="AEABAB"/>
              </a:solidFill>
            </c:spPr>
            <c:extLst>
              <c:ext xmlns:c16="http://schemas.microsoft.com/office/drawing/2014/chart" uri="{C3380CC4-5D6E-409C-BE32-E72D297353CC}">
                <c16:uniqueId val="{0000000F-FA3E-4872-B6E1-C4ABDF5766E2}"/>
              </c:ext>
            </c:extLst>
          </c:dPt>
          <c:dPt>
            <c:idx val="7"/>
            <c:invertIfNegative val="1"/>
            <c:bubble3D val="0"/>
            <c:spPr>
              <a:solidFill>
                <a:srgbClr val="AEABAB"/>
              </a:solidFill>
            </c:spPr>
            <c:extLst>
              <c:ext xmlns:c16="http://schemas.microsoft.com/office/drawing/2014/chart" uri="{C3380CC4-5D6E-409C-BE32-E72D297353CC}">
                <c16:uniqueId val="{00000011-FA3E-4872-B6E1-C4ABDF5766E2}"/>
              </c:ext>
            </c:extLst>
          </c:dPt>
          <c:dPt>
            <c:idx val="8"/>
            <c:invertIfNegative val="1"/>
            <c:bubble3D val="0"/>
            <c:spPr>
              <a:solidFill>
                <a:srgbClr val="AEABAB"/>
              </a:solidFill>
            </c:spPr>
            <c:extLst>
              <c:ext xmlns:c16="http://schemas.microsoft.com/office/drawing/2014/chart" uri="{C3380CC4-5D6E-409C-BE32-E72D297353CC}">
                <c16:uniqueId val="{00000013-FA3E-4872-B6E1-C4ABDF5766E2}"/>
              </c:ext>
            </c:extLst>
          </c:dPt>
          <c:dPt>
            <c:idx val="9"/>
            <c:invertIfNegative val="1"/>
            <c:bubble3D val="0"/>
            <c:spPr>
              <a:solidFill>
                <a:srgbClr val="AEABAB"/>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11</c:f>
              <c:strCache>
                <c:ptCount val="10"/>
                <c:pt idx="0">
                  <c:v>La Vache Qui Rit Nature Fromage Fondu Boite Ronde 1X512Gr 32P</c:v>
                </c:pt>
                <c:pt idx="1">
                  <c:v>La Vache Qui Rit Nature Fromage Fondu Boite Ronde 1X384Gr 24P</c:v>
                </c:pt>
                <c:pt idx="2">
                  <c:v>La Vache Qui Rit Nature Fromage Fondu Boite Ronde 1X192Gr 12P</c:v>
                </c:pt>
                <c:pt idx="3">
                  <c:v>La Vache Qui Rit Nature Fromage Fondu Boite Ronde 1X512Gr 24+8P</c:v>
                </c:pt>
                <c:pt idx="4">
                  <c:v>La Vache Qui Rit Nature Fromage Fondu Boite Ronde 1X128Gr 8P</c:v>
                </c:pt>
                <c:pt idx="5">
                  <c:v>La Vache Qui Rit Pik Et Croq' Fromage Fondu Dips Boite 1X175Gr 5P</c:v>
                </c:pt>
                <c:pt idx="6">
                  <c:v>La Vache Qui Rit Pik Et Croq' Fromage Fondu Dips Boite 1X280Gr 8P</c:v>
                </c:pt>
                <c:pt idx="7">
                  <c:v>La Vache Qui Rit Allegee Fromage Fondu Boite Ronde Allege 1X267Gr 16P</c:v>
                </c:pt>
                <c:pt idx="8">
                  <c:v>La Vache Qui Rit Bio Fromage Fondu Boite Ronde 1X128Gr 8P</c:v>
                </c:pt>
                <c:pt idx="9">
                  <c:v>La Vache Qui Rit Aro Fromage Fondu Boite Ronde Jambon 1X133Gr 8P</c:v>
                </c:pt>
              </c:strCache>
            </c:strRef>
          </c:cat>
          <c:val>
            <c:numRef>
              <c:f>Sheet1!$C$2:$C$11</c:f>
              <c:numCache>
                <c:formatCode>General</c:formatCode>
                <c:ptCount val="10"/>
                <c:pt idx="0">
                  <c:v>0.510687410144179</c:v>
                </c:pt>
                <c:pt idx="1">
                  <c:v>0.6931067159951604</c:v>
                </c:pt>
                <c:pt idx="2">
                  <c:v>0.7973972908626059</c:v>
                </c:pt>
                <c:pt idx="3">
                  <c:v>0.855207304060609</c:v>
                </c:pt>
                <c:pt idx="4">
                  <c:v>0.9034149208369593</c:v>
                </c:pt>
                <c:pt idx="5">
                  <c:v>0.948634566179343</c:v>
                </c:pt>
                <c:pt idx="6">
                  <c:v>0.9762615157821541</c:v>
                </c:pt>
                <c:pt idx="7">
                  <c:v>0.9930048585835477</c:v>
                </c:pt>
                <c:pt idx="8">
                  <c:v>0.9981238304381319</c:v>
                </c:pt>
                <c:pt idx="9">
                  <c:v>1.000000000000000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11</c:f>
              <c:strCache>
                <c:ptCount val="10"/>
                <c:pt idx="0">
                  <c:v>La Vache Qui Rit Nature Fromage Fondu Boite Ronde 1X512Gr 32P</c:v>
                </c:pt>
                <c:pt idx="1">
                  <c:v>La Vache Qui Rit Nature Fromage Fondu Boite Ronde 1X384Gr 24P</c:v>
                </c:pt>
                <c:pt idx="2">
                  <c:v>La Vache Qui Rit Nature Fromage Fondu Boite Ronde 1X192Gr 12P</c:v>
                </c:pt>
                <c:pt idx="3">
                  <c:v>La Vache Qui Rit Nature Fromage Fondu Boite Ronde 1X512Gr 24+8P</c:v>
                </c:pt>
                <c:pt idx="4">
                  <c:v>La Vache Qui Rit Nature Fromage Fondu Boite Ronde 1X128Gr 8P</c:v>
                </c:pt>
                <c:pt idx="5">
                  <c:v>La Vache Qui Rit Pik Et Croq' Fromage Fondu Dips Boite 1X175Gr 5P</c:v>
                </c:pt>
                <c:pt idx="6">
                  <c:v>La Vache Qui Rit Pik Et Croq' Fromage Fondu Dips Boite 1X280Gr 8P</c:v>
                </c:pt>
                <c:pt idx="7">
                  <c:v>La Vache Qui Rit Allegee Fromage Fondu Boite Ronde Allege 1X267Gr 16P</c:v>
                </c:pt>
                <c:pt idx="8">
                  <c:v>La Vache Qui Rit Bio Fromage Fondu Boite Ronde 1X128Gr 8P</c:v>
                </c:pt>
                <c:pt idx="9">
                  <c:v>La Vache Qui Rit Aro Fromage Fondu Boite Ronde Jambon 1X133Gr 8P</c:v>
                </c:pt>
              </c:strCache>
            </c:strRef>
          </c:cat>
          <c:val>
            <c:numRef>
              <c:f>Sheet1!$D$2:$D$11</c:f>
              <c:numCache>
                <c:formatCode>General</c:formatCode>
                <c:ptCount val="10"/>
                <c:pt idx="0">
                  <c:v>82610.36363636363</c:v>
                </c:pt>
                <c:pt idx="1">
                  <c:v>29213.62</c:v>
                </c:pt>
                <c:pt idx="2">
                  <c:v>16701.66</c:v>
                </c:pt>
                <c:pt idx="3">
                  <c:v>9848.946808510638</c:v>
                </c:pt>
                <c:pt idx="4">
                  <c:v>8213.010638297872</c:v>
                </c:pt>
                <c:pt idx="5">
                  <c:v>7241.72</c:v>
                </c:pt>
                <c:pt idx="6">
                  <c:v>4657.1894736842105</c:v>
                </c:pt>
                <c:pt idx="7">
                  <c:v>3117.8720930232557</c:v>
                </c:pt>
                <c:pt idx="8">
                  <c:v>999.7317073170732</c:v>
                </c:pt>
                <c:pt idx="9">
                  <c:v>3755.75</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24</c:f>
              <c:strCache>
                <c:ptCount val="23"/>
                <c:pt idx="0">
                  <c:v>Boursin Classique Fromage Frais A Tartiner Afh 1X160Gr 10P</c:v>
                </c:pt>
                <c:pt idx="1">
                  <c:v>Boursin Classique Fromage Frais A Tartiner Afh Boite 1X250Gr 1P</c:v>
                </c:pt>
                <c:pt idx="2">
                  <c:v>Boursin Classique Fromage Frais A Tartiner Afh Boite 1X150Gr 1P</c:v>
                </c:pt>
                <c:pt idx="3">
                  <c:v>Boursin Salade &amp; Aperitif Fromage Frais Des Afh 1X120Gr 1P</c:v>
                </c:pt>
                <c:pt idx="4">
                  <c:v>Boursin Classique Fromage Frais A Tartiner Afh Boite 1X96Gr 6P</c:v>
                </c:pt>
                <c:pt idx="5">
                  <c:v>Boursin Classique Fromage Frais A Tartiner Figue Et 3 Noix Boite 1X150Gr 1P</c:v>
                </c:pt>
                <c:pt idx="6">
                  <c:v>Boursin Classique Fromage Frais A Tartiner Ciboulette &amp; Echalote Boite 1X150Gr 1P</c:v>
                </c:pt>
                <c:pt idx="7">
                  <c:v>Boursin Salade &amp; Aperitif Fromage Frais Des Ciboulette Echalote 1X120Gr 1P</c:v>
                </c:pt>
                <c:pt idx="8">
                  <c:v>Boursin Onctueux Fromage Frais A Tartiner Afh 1X125Gr 1P</c:v>
                </c:pt>
                <c:pt idx="9">
                  <c:v>Boursin Salade &amp; Aperitif Fromage Frais Des Figue Noix 1X120Gr 1P</c:v>
                </c:pt>
                <c:pt idx="10">
                  <c:v>Boursin Classique Fromage Frais A Tartiner Afh 1X256Gr 16P</c:v>
                </c:pt>
                <c:pt idx="11">
                  <c:v>Boursin Classique Fromage Frais A Tartiner Afh Boite 1X80Gr 1P</c:v>
                </c:pt>
                <c:pt idx="12">
                  <c:v>Boursin Classique Fromage Frais A Tartiner Poivre Boite 1X150Gr 1P</c:v>
                </c:pt>
                <c:pt idx="13">
                  <c:v>Boursin Salade &amp; Aperitif Fromage Frais Des Citron Romarin 1X120Gr 1P</c:v>
                </c:pt>
                <c:pt idx="14">
                  <c:v>Boursin Salade &amp; Aperitif Fromage Frais Des Noisette Et 3 Noix 1X120Gr 1P</c:v>
                </c:pt>
                <c:pt idx="15">
                  <c:v>Boursin Onctueux Fromage Frais A Tartiner Afh 1X210Gr 1P</c:v>
                </c:pt>
                <c:pt idx="16">
                  <c:v>Boursin Classique Fromage Frais A Tartiner 3 Noix Boite 1X150Gr 1P</c:v>
                </c:pt>
                <c:pt idx="17">
                  <c:v>Boursin Salade &amp; Aperitif Soft Cheese Salade 120G</c:v>
                </c:pt>
                <c:pt idx="18">
                  <c:v>Boursin Classique Fromage Frais A Tartiner Truffe Boite 1X150Gr 1P</c:v>
                </c:pt>
                <c:pt idx="19">
                  <c:v>Boursin Classique Fromage Frais A Tartiner Afh Boite 1X320Gr 16+4P</c:v>
                </c:pt>
                <c:pt idx="20">
                  <c:v>Boursin Classique Fromage Frais A Tartiner 3 Noix 1X160Gr 10P</c:v>
                </c:pt>
                <c:pt idx="21">
                  <c:v>Boursin Classique Fromage Frais A Tartiner Citron &amp; Romarin Boite 1X150Gr 1P</c:v>
                </c:pt>
                <c:pt idx="22">
                  <c:v>Boursin Classique Fromage Frais A Tartiner Ciboulette &amp; Echalote 1X160Gr 10P</c:v>
                </c:pt>
              </c:strCache>
            </c:strRef>
          </c:cat>
          <c:val>
            <c:numRef>
              <c:f>Sheet1!$B$2:$B$24</c:f>
              <c:numCache>
                <c:formatCode>General</c:formatCode>
                <c:ptCount val="23"/>
                <c:pt idx="0">
                  <c:v>1.0</c:v>
                </c:pt>
                <c:pt idx="1">
                  <c:v>1.0</c:v>
                </c:pt>
                <c:pt idx="2">
                  <c:v>1.0</c:v>
                </c:pt>
                <c:pt idx="3">
                  <c:v>1.0</c:v>
                </c:pt>
                <c:pt idx="4">
                  <c:v>1.0</c:v>
                </c:pt>
                <c:pt idx="5">
                  <c:v>0.98</c:v>
                </c:pt>
                <c:pt idx="6">
                  <c:v>0.97</c:v>
                </c:pt>
                <c:pt idx="7">
                  <c:v>1.0</c:v>
                </c:pt>
                <c:pt idx="8">
                  <c:v>0.99</c:v>
                </c:pt>
                <c:pt idx="9">
                  <c:v>1.0</c:v>
                </c:pt>
                <c:pt idx="10">
                  <c:v>0.58</c:v>
                </c:pt>
                <c:pt idx="11">
                  <c:v>0.94</c:v>
                </c:pt>
                <c:pt idx="12">
                  <c:v>0.88</c:v>
                </c:pt>
                <c:pt idx="13">
                  <c:v>0.95</c:v>
                </c:pt>
                <c:pt idx="14">
                  <c:v>0.96</c:v>
                </c:pt>
                <c:pt idx="15">
                  <c:v>0.59</c:v>
                </c:pt>
                <c:pt idx="16">
                  <c:v>0.67</c:v>
                </c:pt>
                <c:pt idx="17">
                  <c:v>0.94</c:v>
                </c:pt>
                <c:pt idx="18">
                  <c:v>0.66</c:v>
                </c:pt>
                <c:pt idx="19">
                  <c:v>0.85</c:v>
                </c:pt>
                <c:pt idx="20">
                  <c:v>0.49</c:v>
                </c:pt>
                <c:pt idx="21">
                  <c:v>0.71</c:v>
                </c:pt>
                <c:pt idx="22">
                  <c:v>0.14</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7ECAC4"/>
              </a:solidFill>
            </c:spPr>
            <c:extLst>
              <c:ext xmlns:c16="http://schemas.microsoft.com/office/drawing/2014/chart" uri="{C3380CC4-5D6E-409C-BE32-E72D297353CC}">
                <c16:uniqueId val="{00000011-FA3E-4872-B6E1-C4ABDF5766E2}"/>
              </c:ext>
            </c:extLst>
          </c:dPt>
          <c:dPt>
            <c:idx val="8"/>
            <c:invertIfNegative val="1"/>
            <c:bubble3D val="0"/>
            <c:spPr>
              <a:solidFill>
                <a:srgbClr val="7ECAC4"/>
              </a:solidFill>
            </c:spPr>
            <c:extLst>
              <c:ext xmlns:c16="http://schemas.microsoft.com/office/drawing/2014/chart" uri="{C3380CC4-5D6E-409C-BE32-E72D297353CC}">
                <c16:uniqueId val="{00000013-FA3E-4872-B6E1-C4ABDF5766E2}"/>
              </c:ext>
            </c:extLst>
          </c:dPt>
          <c:dPt>
            <c:idx val="9"/>
            <c:invertIfNegative val="1"/>
            <c:bubble3D val="0"/>
            <c:spPr>
              <a:solidFill>
                <a:srgbClr val="7ECAC4"/>
              </a:solidFill>
            </c:spPr>
            <c:extLst>
              <c:ext xmlns:c16="http://schemas.microsoft.com/office/drawing/2014/chart" uri="{C3380CC4-5D6E-409C-BE32-E72D297353CC}">
                <c16:uniqueId val="{00000015-FA3E-4872-B6E1-C4ABDF5766E2}"/>
              </c:ext>
            </c:extLst>
          </c:dPt>
          <c:dPt>
            <c:idx val="10"/>
            <c:invertIfNegative val="1"/>
            <c:bubble3D val="0"/>
            <c:spPr>
              <a:solidFill>
                <a:srgbClr val="7ECAC4"/>
              </a:solidFill>
            </c:spPr>
            <c:extLst>
              <c:ext xmlns:c16="http://schemas.microsoft.com/office/drawing/2014/chart" uri="{C3380CC4-5D6E-409C-BE32-E72D297353CC}">
                <c16:uniqueId val="{00000017-FA3E-4872-B6E1-C4ABDF5766E2}"/>
              </c:ext>
            </c:extLst>
          </c:dPt>
          <c:dPt>
            <c:idx val="11"/>
            <c:invertIfNegative val="1"/>
            <c:bubble3D val="0"/>
            <c:spPr>
              <a:solidFill>
                <a:srgbClr val="7ECAC4"/>
              </a:solidFill>
            </c:spPr>
            <c:extLst>
              <c:ext xmlns:c16="http://schemas.microsoft.com/office/drawing/2014/chart" uri="{C3380CC4-5D6E-409C-BE32-E72D297353CC}">
                <c16:uniqueId val="{00000019-FA3E-4872-B6E1-C4ABDF5766E2}"/>
              </c:ext>
            </c:extLst>
          </c:dPt>
          <c:dPt>
            <c:idx val="12"/>
            <c:invertIfNegative val="1"/>
            <c:bubble3D val="0"/>
            <c:spPr>
              <a:solidFill>
                <a:srgbClr val="7ECAC4"/>
              </a:solidFill>
            </c:spPr>
            <c:extLst>
              <c:ext xmlns:c16="http://schemas.microsoft.com/office/drawing/2014/chart" uri="{C3380CC4-5D6E-409C-BE32-E72D297353CC}">
                <c16:uniqueId val="{0000001B-FA3E-4872-B6E1-C4ABDF5766E2}"/>
              </c:ext>
            </c:extLst>
          </c:dPt>
          <c:dPt>
            <c:idx val="13"/>
            <c:invertIfNegative val="1"/>
            <c:bubble3D val="0"/>
            <c:spPr>
              <a:solidFill>
                <a:srgbClr val="7ECAC4"/>
              </a:solidFill>
            </c:spPr>
            <c:extLst>
              <c:ext xmlns:c16="http://schemas.microsoft.com/office/drawing/2014/chart" uri="{C3380CC4-5D6E-409C-BE32-E72D297353CC}">
                <c16:uniqueId val="{0000001D-FA3E-4872-B6E1-C4ABDF5766E2}"/>
              </c:ext>
            </c:extLst>
          </c:dPt>
          <c:dPt>
            <c:idx val="14"/>
            <c:invertIfNegative val="1"/>
            <c:bubble3D val="0"/>
            <c:spPr>
              <a:solidFill>
                <a:srgbClr val="AEABAB"/>
              </a:solidFill>
            </c:spPr>
            <c:extLst>
              <c:ext xmlns:c16="http://schemas.microsoft.com/office/drawing/2014/chart" uri="{C3380CC4-5D6E-409C-BE32-E72D297353CC}">
                <c16:uniqueId val="{0000001F-FA3E-4872-B6E1-C4ABDF5766E2}"/>
              </c:ext>
            </c:extLst>
          </c:dPt>
          <c:dPt>
            <c:idx val="15"/>
            <c:invertIfNegative val="1"/>
            <c:bubble3D val="0"/>
            <c:spPr>
              <a:solidFill>
                <a:srgbClr val="AEABAB"/>
              </a:solidFill>
            </c:spPr>
            <c:extLst>
              <c:ext xmlns:c16="http://schemas.microsoft.com/office/drawing/2014/chart" uri="{C3380CC4-5D6E-409C-BE32-E72D297353CC}">
                <c16:uniqueId val="{00000021-FA3E-4872-B6E1-C4ABDF5766E2}"/>
              </c:ext>
            </c:extLst>
          </c:dPt>
          <c:dPt>
            <c:idx val="16"/>
            <c:invertIfNegative val="1"/>
            <c:bubble3D val="0"/>
            <c:spPr>
              <a:solidFill>
                <a:srgbClr val="AEABAB"/>
              </a:solidFill>
            </c:spPr>
            <c:extLst>
              <c:ext xmlns:c16="http://schemas.microsoft.com/office/drawing/2014/chart" uri="{C3380CC4-5D6E-409C-BE32-E72D297353CC}">
                <c16:uniqueId val="{00000023-FA3E-4872-B6E1-C4ABDF5766E2}"/>
              </c:ext>
            </c:extLst>
          </c:dPt>
          <c:dPt>
            <c:idx val="17"/>
            <c:invertIfNegative val="1"/>
            <c:bubble3D val="0"/>
            <c:spPr>
              <a:solidFill>
                <a:srgbClr val="AEABAB"/>
              </a:solidFill>
            </c:spPr>
            <c:extLst>
              <c:ext xmlns:c16="http://schemas.microsoft.com/office/drawing/2014/chart" uri="{C3380CC4-5D6E-409C-BE32-E72D297353CC}">
                <c16:uniqueId val="{00000025-FA3E-4872-B6E1-C4ABDF5766E2}"/>
              </c:ext>
            </c:extLst>
          </c:dPt>
          <c:dPt>
            <c:idx val="18"/>
            <c:invertIfNegative val="1"/>
            <c:bubble3D val="0"/>
            <c:spPr>
              <a:solidFill>
                <a:srgbClr val="AEABAB"/>
              </a:solidFill>
            </c:spPr>
            <c:extLst>
              <c:ext xmlns:c16="http://schemas.microsoft.com/office/drawing/2014/chart" uri="{C3380CC4-5D6E-409C-BE32-E72D297353CC}">
                <c16:uniqueId val="{00000027-FA3E-4872-B6E1-C4ABDF5766E2}"/>
              </c:ext>
            </c:extLst>
          </c:dPt>
          <c:dPt>
            <c:idx val="19"/>
            <c:invertIfNegative val="1"/>
            <c:bubble3D val="0"/>
            <c:spPr>
              <a:solidFill>
                <a:srgbClr val="AEABAB"/>
              </a:solidFill>
            </c:spPr>
            <c:extLst>
              <c:ext xmlns:c16="http://schemas.microsoft.com/office/drawing/2014/chart" uri="{C3380CC4-5D6E-409C-BE32-E72D297353CC}">
                <c16:uniqueId val="{00000029-FA3E-4872-B6E1-C4ABDF5766E2}"/>
              </c:ext>
            </c:extLst>
          </c:dPt>
          <c:dPt>
            <c:idx val="20"/>
            <c:invertIfNegative val="1"/>
            <c:bubble3D val="0"/>
            <c:spPr>
              <a:solidFill>
                <a:srgbClr val="AEABAB"/>
              </a:solidFill>
            </c:spPr>
            <c:extLst>
              <c:ext xmlns:c16="http://schemas.microsoft.com/office/drawing/2014/chart" uri="{C3380CC4-5D6E-409C-BE32-E72D297353CC}">
                <c16:uniqueId val="{0000002B-FA3E-4872-B6E1-C4ABDF5766E2}"/>
              </c:ext>
            </c:extLst>
          </c:dPt>
          <c:dPt>
            <c:idx val="21"/>
            <c:invertIfNegative val="1"/>
            <c:bubble3D val="0"/>
            <c:spPr>
              <a:solidFill>
                <a:srgbClr val="AEABAB"/>
              </a:solidFill>
            </c:spPr>
            <c:extLst>
              <c:ext xmlns:c16="http://schemas.microsoft.com/office/drawing/2014/chart" uri="{C3380CC4-5D6E-409C-BE32-E72D297353CC}">
                <c16:uniqueId val="{0000002D-FA3E-4872-B6E1-C4ABDF5766E2}"/>
              </c:ext>
            </c:extLst>
          </c:dPt>
          <c:dPt>
            <c:idx val="22"/>
            <c:invertIfNegative val="1"/>
            <c:bubble3D val="0"/>
            <c:spPr>
              <a:solidFill>
                <a:srgbClr val="AEABAB"/>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24</c:f>
              <c:strCache>
                <c:ptCount val="23"/>
                <c:pt idx="0">
                  <c:v>Boursin Classique Fromage Frais A Tartiner Afh 1X160Gr 10P</c:v>
                </c:pt>
                <c:pt idx="1">
                  <c:v>Boursin Classique Fromage Frais A Tartiner Afh Boite 1X250Gr 1P</c:v>
                </c:pt>
                <c:pt idx="2">
                  <c:v>Boursin Classique Fromage Frais A Tartiner Afh Boite 1X150Gr 1P</c:v>
                </c:pt>
                <c:pt idx="3">
                  <c:v>Boursin Salade &amp; Aperitif Fromage Frais Des Afh 1X120Gr 1P</c:v>
                </c:pt>
                <c:pt idx="4">
                  <c:v>Boursin Classique Fromage Frais A Tartiner Afh Boite 1X96Gr 6P</c:v>
                </c:pt>
                <c:pt idx="5">
                  <c:v>Boursin Classique Fromage Frais A Tartiner Figue Et 3 Noix Boite 1X150Gr 1P</c:v>
                </c:pt>
                <c:pt idx="6">
                  <c:v>Boursin Classique Fromage Frais A Tartiner Ciboulette &amp; Echalote Boite 1X150Gr 1P</c:v>
                </c:pt>
                <c:pt idx="7">
                  <c:v>Boursin Salade &amp; Aperitif Fromage Frais Des Ciboulette Echalote 1X120Gr 1P</c:v>
                </c:pt>
                <c:pt idx="8">
                  <c:v>Boursin Onctueux Fromage Frais A Tartiner Afh 1X125Gr 1P</c:v>
                </c:pt>
                <c:pt idx="9">
                  <c:v>Boursin Salade &amp; Aperitif Fromage Frais Des Figue Noix 1X120Gr 1P</c:v>
                </c:pt>
                <c:pt idx="10">
                  <c:v>Boursin Classique Fromage Frais A Tartiner Afh 1X256Gr 16P</c:v>
                </c:pt>
                <c:pt idx="11">
                  <c:v>Boursin Classique Fromage Frais A Tartiner Afh Boite 1X80Gr 1P</c:v>
                </c:pt>
                <c:pt idx="12">
                  <c:v>Boursin Classique Fromage Frais A Tartiner Poivre Boite 1X150Gr 1P</c:v>
                </c:pt>
                <c:pt idx="13">
                  <c:v>Boursin Salade &amp; Aperitif Fromage Frais Des Citron Romarin 1X120Gr 1P</c:v>
                </c:pt>
                <c:pt idx="14">
                  <c:v>Boursin Salade &amp; Aperitif Fromage Frais Des Noisette Et 3 Noix 1X120Gr 1P</c:v>
                </c:pt>
                <c:pt idx="15">
                  <c:v>Boursin Onctueux Fromage Frais A Tartiner Afh 1X210Gr 1P</c:v>
                </c:pt>
                <c:pt idx="16">
                  <c:v>Boursin Classique Fromage Frais A Tartiner 3 Noix Boite 1X150Gr 1P</c:v>
                </c:pt>
                <c:pt idx="17">
                  <c:v>Boursin Salade &amp; Aperitif Soft Cheese Salade 120G</c:v>
                </c:pt>
                <c:pt idx="18">
                  <c:v>Boursin Classique Fromage Frais A Tartiner Truffe Boite 1X150Gr 1P</c:v>
                </c:pt>
                <c:pt idx="19">
                  <c:v>Boursin Classique Fromage Frais A Tartiner Afh Boite 1X320Gr 16+4P</c:v>
                </c:pt>
                <c:pt idx="20">
                  <c:v>Boursin Classique Fromage Frais A Tartiner 3 Noix 1X160Gr 10P</c:v>
                </c:pt>
                <c:pt idx="21">
                  <c:v>Boursin Classique Fromage Frais A Tartiner Citron &amp; Romarin Boite 1X150Gr 1P</c:v>
                </c:pt>
                <c:pt idx="22">
                  <c:v>Boursin Classique Fromage Frais A Tartiner Ciboulette &amp; Echalote 1X160Gr 10P</c:v>
                </c:pt>
              </c:strCache>
            </c:strRef>
          </c:cat>
          <c:val>
            <c:numRef>
              <c:f>Sheet1!$C$2:$C$24</c:f>
              <c:numCache>
                <c:formatCode>General</c:formatCode>
                <c:ptCount val="23"/>
                <c:pt idx="0">
                  <c:v>0.21007172870733892</c:v>
                </c:pt>
                <c:pt idx="1">
                  <c:v>0.3795560302037616</c:v>
                </c:pt>
                <c:pt idx="2">
                  <c:v>0.5227004479566056</c:v>
                </c:pt>
                <c:pt idx="3">
                  <c:v>0.6190273863475924</c:v>
                </c:pt>
                <c:pt idx="4">
                  <c:v>0.6819932103517476</c:v>
                </c:pt>
                <c:pt idx="5">
                  <c:v>0.7364296473160662</c:v>
                </c:pt>
                <c:pt idx="6">
                  <c:v>0.784207464844159</c:v>
                </c:pt>
                <c:pt idx="7">
                  <c:v>0.8245744986417908</c:v>
                </c:pt>
                <c:pt idx="8">
                  <c:v>0.8633163334486094</c:v>
                </c:pt>
                <c:pt idx="9">
                  <c:v>0.8863249935700186</c:v>
                </c:pt>
                <c:pt idx="10">
                  <c:v>0.9049013463431699</c:v>
                </c:pt>
                <c:pt idx="11">
                  <c:v>0.9226293979490899</c:v>
                </c:pt>
                <c:pt idx="12">
                  <c:v>0.9354459300756626</c:v>
                </c:pt>
                <c:pt idx="13">
                  <c:v>0.9472591348064212</c:v>
                </c:pt>
                <c:pt idx="14">
                  <c:v>0.9572694419158828</c:v>
                </c:pt>
                <c:pt idx="15">
                  <c:v>0.9661752791613096</c:v>
                </c:pt>
                <c:pt idx="16">
                  <c:v>0.9747735667471832</c:v>
                </c:pt>
                <c:pt idx="17">
                  <c:v>0.9829918707661314</c:v>
                </c:pt>
                <c:pt idx="18">
                  <c:v>0.9876567910689581</c:v>
                </c:pt>
                <c:pt idx="19">
                  <c:v>0.991830574146189</c:v>
                </c:pt>
                <c:pt idx="20">
                  <c:v>0.9956173069338241</c:v>
                </c:pt>
                <c:pt idx="21">
                  <c:v>0.9980123370255487</c:v>
                </c:pt>
                <c:pt idx="22">
                  <c:v>1.0</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24</c:f>
              <c:strCache>
                <c:ptCount val="23"/>
                <c:pt idx="0">
                  <c:v>Boursin Classique Fromage Frais A Tartiner Afh 1X160Gr 10P</c:v>
                </c:pt>
                <c:pt idx="1">
                  <c:v>Boursin Classique Fromage Frais A Tartiner Afh Boite 1X250Gr 1P</c:v>
                </c:pt>
                <c:pt idx="2">
                  <c:v>Boursin Classique Fromage Frais A Tartiner Afh Boite 1X150Gr 1P</c:v>
                </c:pt>
                <c:pt idx="3">
                  <c:v>Boursin Salade &amp; Aperitif Fromage Frais Des Afh 1X120Gr 1P</c:v>
                </c:pt>
                <c:pt idx="4">
                  <c:v>Boursin Classique Fromage Frais A Tartiner Afh Boite 1X96Gr 6P</c:v>
                </c:pt>
                <c:pt idx="5">
                  <c:v>Boursin Classique Fromage Frais A Tartiner Figue Et 3 Noix Boite 1X150Gr 1P</c:v>
                </c:pt>
                <c:pt idx="6">
                  <c:v>Boursin Classique Fromage Frais A Tartiner Ciboulette &amp; Echalote Boite 1X150Gr 1P</c:v>
                </c:pt>
                <c:pt idx="7">
                  <c:v>Boursin Salade &amp; Aperitif Fromage Frais Des Ciboulette Echalote 1X120Gr 1P</c:v>
                </c:pt>
                <c:pt idx="8">
                  <c:v>Boursin Onctueux Fromage Frais A Tartiner Afh 1X125Gr 1P</c:v>
                </c:pt>
                <c:pt idx="9">
                  <c:v>Boursin Salade &amp; Aperitif Fromage Frais Des Figue Noix 1X120Gr 1P</c:v>
                </c:pt>
                <c:pt idx="10">
                  <c:v>Boursin Classique Fromage Frais A Tartiner Afh 1X256Gr 16P</c:v>
                </c:pt>
                <c:pt idx="11">
                  <c:v>Boursin Classique Fromage Frais A Tartiner Afh Boite 1X80Gr 1P</c:v>
                </c:pt>
                <c:pt idx="12">
                  <c:v>Boursin Classique Fromage Frais A Tartiner Poivre Boite 1X150Gr 1P</c:v>
                </c:pt>
                <c:pt idx="13">
                  <c:v>Boursin Salade &amp; Aperitif Fromage Frais Des Citron Romarin 1X120Gr 1P</c:v>
                </c:pt>
                <c:pt idx="14">
                  <c:v>Boursin Salade &amp; Aperitif Fromage Frais Des Noisette Et 3 Noix 1X120Gr 1P</c:v>
                </c:pt>
                <c:pt idx="15">
                  <c:v>Boursin Onctueux Fromage Frais A Tartiner Afh 1X210Gr 1P</c:v>
                </c:pt>
                <c:pt idx="16">
                  <c:v>Boursin Classique Fromage Frais A Tartiner 3 Noix Boite 1X150Gr 1P</c:v>
                </c:pt>
                <c:pt idx="17">
                  <c:v>Boursin Salade &amp; Aperitif Soft Cheese Salade 120G</c:v>
                </c:pt>
                <c:pt idx="18">
                  <c:v>Boursin Classique Fromage Frais A Tartiner Truffe Boite 1X150Gr 1P</c:v>
                </c:pt>
                <c:pt idx="19">
                  <c:v>Boursin Classique Fromage Frais A Tartiner Afh Boite 1X320Gr 16+4P</c:v>
                </c:pt>
                <c:pt idx="20">
                  <c:v>Boursin Classique Fromage Frais A Tartiner 3 Noix 1X160Gr 10P</c:v>
                </c:pt>
                <c:pt idx="21">
                  <c:v>Boursin Classique Fromage Frais A Tartiner Citron &amp; Romarin Boite 1X150Gr 1P</c:v>
                </c:pt>
                <c:pt idx="22">
                  <c:v>Boursin Classique Fromage Frais A Tartiner Ciboulette &amp; Echalote 1X160Gr 10P</c:v>
                </c:pt>
              </c:strCache>
            </c:strRef>
          </c:cat>
          <c:val>
            <c:numRef>
              <c:f>Sheet1!$D$2:$D$24</c:f>
              <c:numCache>
                <c:formatCode>General</c:formatCode>
                <c:ptCount val="23"/>
                <c:pt idx="0">
                  <c:v>14268.91</c:v>
                </c:pt>
                <c:pt idx="1">
                  <c:v>11512.05</c:v>
                </c:pt>
                <c:pt idx="2">
                  <c:v>9722.94</c:v>
                </c:pt>
                <c:pt idx="3">
                  <c:v>6542.91</c:v>
                </c:pt>
                <c:pt idx="4">
                  <c:v>4276.89</c:v>
                </c:pt>
                <c:pt idx="5">
                  <c:v>3773.0</c:v>
                </c:pt>
                <c:pt idx="6">
                  <c:v>3345.6288659793813</c:v>
                </c:pt>
                <c:pt idx="7">
                  <c:v>2741.89</c:v>
                </c:pt>
                <c:pt idx="8">
                  <c:v>2658.080808080808</c:v>
                </c:pt>
                <c:pt idx="9">
                  <c:v>1562.84</c:v>
                </c:pt>
                <c:pt idx="10">
                  <c:v>2175.4827586206898</c:v>
                </c:pt>
                <c:pt idx="11">
                  <c:v>1281.0212765957447</c:v>
                </c:pt>
                <c:pt idx="12">
                  <c:v>989.2613636363636</c:v>
                </c:pt>
                <c:pt idx="13">
                  <c:v>844.6315789473684</c:v>
                </c:pt>
                <c:pt idx="14">
                  <c:v>708.2708333333334</c:v>
                </c:pt>
                <c:pt idx="15">
                  <c:v>1025.2881355932204</c:v>
                </c:pt>
                <c:pt idx="16">
                  <c:v>871.6865671641791</c:v>
                </c:pt>
                <c:pt idx="17">
                  <c:v>593.8510638297872</c:v>
                </c:pt>
                <c:pt idx="18">
                  <c:v>480.09090909090907</c:v>
                </c:pt>
                <c:pt idx="19">
                  <c:v>333.52941176470586</c:v>
                </c:pt>
                <c:pt idx="20">
                  <c:v>524.9183673469388</c:v>
                </c:pt>
                <c:pt idx="21">
                  <c:v>229.1267605633803</c:v>
                </c:pt>
                <c:pt idx="22">
                  <c:v>964.3571428571428</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12</c:f>
              <c:strCache>
                <c:ptCount val="11"/>
                <c:pt idx="0">
                  <c:v>Kiri Creme Fromage Blanc Frais Carre 1X432Gr 24P</c:v>
                </c:pt>
                <c:pt idx="1">
                  <c:v>Kiri Creme Fromage Blanc Frais Carre 1X216Gr 12P</c:v>
                </c:pt>
                <c:pt idx="2">
                  <c:v>Kiri Creme Fromage Blanc Frais Carre 1X144Gr 8P</c:v>
                </c:pt>
                <c:pt idx="3">
                  <c:v>Kiri Gouter Fromage Blanc Dips Boite 1X175Gr 5P</c:v>
                </c:pt>
                <c:pt idx="4">
                  <c:v>Kiri Gouter Fromage Blanc Dips Boite 1X280Gr 8P</c:v>
                </c:pt>
                <c:pt idx="5">
                  <c:v>Kiri Creme Fromage Blanc Frais Carre 1X432Gr 18+6P</c:v>
                </c:pt>
                <c:pt idx="6">
                  <c:v>Kiri Bio Fromage Blanc Frais Carre 1X144Gr 8P</c:v>
                </c:pt>
                <c:pt idx="7">
                  <c:v>Kiri Delicieusement Fouette Fromage Frais A Tartiner 1X160Gr 10P</c:v>
                </c:pt>
                <c:pt idx="8">
                  <c:v>Kiri Delicieusement Fouette Fromage Frais A Tartiner 1X210Gr 1P</c:v>
                </c:pt>
                <c:pt idx="9">
                  <c:v>Kiri Delicieusement Fouette Fromage Frais A Tartiner 1X125Gr 1P</c:v>
                </c:pt>
                <c:pt idx="10">
                  <c:v>Kiri Chevre Fromage Blanc Frais Carre 1X144Gr 8P</c:v>
                </c:pt>
              </c:strCache>
            </c:strRef>
          </c:cat>
          <c:val>
            <c:numRef>
              <c:f>Sheet1!$B$2:$B$12</c:f>
              <c:numCache>
                <c:formatCode>General</c:formatCode>
                <c:ptCount val="11"/>
                <c:pt idx="0">
                  <c:v>0.86</c:v>
                </c:pt>
                <c:pt idx="1">
                  <c:v>0.97</c:v>
                </c:pt>
                <c:pt idx="2">
                  <c:v>0.99</c:v>
                </c:pt>
                <c:pt idx="3">
                  <c:v>0.99</c:v>
                </c:pt>
                <c:pt idx="4">
                  <c:v>0.73</c:v>
                </c:pt>
                <c:pt idx="5">
                  <c:v>0.71</c:v>
                </c:pt>
                <c:pt idx="6">
                  <c:v>0.42</c:v>
                </c:pt>
                <c:pt idx="7">
                  <c:v>0.63</c:v>
                </c:pt>
                <c:pt idx="8">
                  <c:v>0.54</c:v>
                </c:pt>
                <c:pt idx="9">
                  <c:v>0.62</c:v>
                </c:pt>
                <c:pt idx="10">
                  <c:v>0.03</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7ECAC4"/>
              </a:solidFill>
            </c:spPr>
            <c:extLst>
              <c:ext xmlns:c16="http://schemas.microsoft.com/office/drawing/2014/chart" uri="{C3380CC4-5D6E-409C-BE32-E72D297353CC}">
                <c16:uniqueId val="{0000000B-FA3E-4872-B6E1-C4ABDF5766E2}"/>
              </c:ext>
            </c:extLst>
          </c:dPt>
          <c:dPt>
            <c:idx val="5"/>
            <c:invertIfNegative val="1"/>
            <c:bubble3D val="0"/>
            <c:spPr>
              <a:solidFill>
                <a:srgbClr val="7ECAC4"/>
              </a:solidFill>
            </c:spPr>
            <c:extLst>
              <c:ext xmlns:c16="http://schemas.microsoft.com/office/drawing/2014/chart" uri="{C3380CC4-5D6E-409C-BE32-E72D297353CC}">
                <c16:uniqueId val="{0000000D-FA3E-4872-B6E1-C4ABDF5766E2}"/>
              </c:ext>
            </c:extLst>
          </c:dPt>
          <c:dPt>
            <c:idx val="6"/>
            <c:invertIfNegative val="1"/>
            <c:bubble3D val="0"/>
            <c:spPr>
              <a:solidFill>
                <a:srgbClr val="7ECAC4"/>
              </a:solidFill>
            </c:spPr>
            <c:extLst>
              <c:ext xmlns:c16="http://schemas.microsoft.com/office/drawing/2014/chart" uri="{C3380CC4-5D6E-409C-BE32-E72D297353CC}">
                <c16:uniqueId val="{0000000F-FA3E-4872-B6E1-C4ABDF5766E2}"/>
              </c:ext>
            </c:extLst>
          </c:dPt>
          <c:dPt>
            <c:idx val="7"/>
            <c:invertIfNegative val="1"/>
            <c:bubble3D val="0"/>
            <c:spPr>
              <a:solidFill>
                <a:srgbClr val="AEABAB"/>
              </a:solidFill>
            </c:spPr>
            <c:extLst>
              <c:ext xmlns:c16="http://schemas.microsoft.com/office/drawing/2014/chart" uri="{C3380CC4-5D6E-409C-BE32-E72D297353CC}">
                <c16:uniqueId val="{00000011-FA3E-4872-B6E1-C4ABDF5766E2}"/>
              </c:ext>
            </c:extLst>
          </c:dPt>
          <c:dPt>
            <c:idx val="8"/>
            <c:invertIfNegative val="1"/>
            <c:bubble3D val="0"/>
            <c:spPr>
              <a:solidFill>
                <a:srgbClr val="AEABAB"/>
              </a:solidFill>
            </c:spPr>
            <c:extLst>
              <c:ext xmlns:c16="http://schemas.microsoft.com/office/drawing/2014/chart" uri="{C3380CC4-5D6E-409C-BE32-E72D297353CC}">
                <c16:uniqueId val="{00000013-FA3E-4872-B6E1-C4ABDF5766E2}"/>
              </c:ext>
            </c:extLst>
          </c:dPt>
          <c:dPt>
            <c:idx val="9"/>
            <c:invertIfNegative val="1"/>
            <c:bubble3D val="0"/>
            <c:spPr>
              <a:solidFill>
                <a:srgbClr val="AEABAB"/>
              </a:solidFill>
            </c:spPr>
            <c:extLst>
              <c:ext xmlns:c16="http://schemas.microsoft.com/office/drawing/2014/chart" uri="{C3380CC4-5D6E-409C-BE32-E72D297353CC}">
                <c16:uniqueId val="{00000015-FA3E-4872-B6E1-C4ABDF5766E2}"/>
              </c:ext>
            </c:extLst>
          </c:dPt>
          <c:dPt>
            <c:idx val="10"/>
            <c:invertIfNegative val="1"/>
            <c:bubble3D val="0"/>
            <c:spPr>
              <a:solidFill>
                <a:srgbClr val="AEABAB"/>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12</c:f>
              <c:strCache>
                <c:ptCount val="11"/>
                <c:pt idx="0">
                  <c:v>Kiri Creme Fromage Blanc Frais Carre 1X432Gr 24P</c:v>
                </c:pt>
                <c:pt idx="1">
                  <c:v>Kiri Creme Fromage Blanc Frais Carre 1X216Gr 12P</c:v>
                </c:pt>
                <c:pt idx="2">
                  <c:v>Kiri Creme Fromage Blanc Frais Carre 1X144Gr 8P</c:v>
                </c:pt>
                <c:pt idx="3">
                  <c:v>Kiri Gouter Fromage Blanc Dips Boite 1X175Gr 5P</c:v>
                </c:pt>
                <c:pt idx="4">
                  <c:v>Kiri Gouter Fromage Blanc Dips Boite 1X280Gr 8P</c:v>
                </c:pt>
                <c:pt idx="5">
                  <c:v>Kiri Creme Fromage Blanc Frais Carre 1X432Gr 18+6P</c:v>
                </c:pt>
                <c:pt idx="6">
                  <c:v>Kiri Bio Fromage Blanc Frais Carre 1X144Gr 8P</c:v>
                </c:pt>
                <c:pt idx="7">
                  <c:v>Kiri Delicieusement Fouette Fromage Frais A Tartiner 1X160Gr 10P</c:v>
                </c:pt>
                <c:pt idx="8">
                  <c:v>Kiri Delicieusement Fouette Fromage Frais A Tartiner 1X210Gr 1P</c:v>
                </c:pt>
                <c:pt idx="9">
                  <c:v>Kiri Delicieusement Fouette Fromage Frais A Tartiner 1X125Gr 1P</c:v>
                </c:pt>
                <c:pt idx="10">
                  <c:v>Kiri Chevre Fromage Blanc Frais Carre 1X144Gr 8P</c:v>
                </c:pt>
              </c:strCache>
            </c:strRef>
          </c:cat>
          <c:val>
            <c:numRef>
              <c:f>Sheet1!$C$2:$C$12</c:f>
              <c:numCache>
                <c:formatCode>General</c:formatCode>
                <c:ptCount val="11"/>
                <c:pt idx="0">
                  <c:v>0.2520123198616733</c:v>
                </c:pt>
                <c:pt idx="1">
                  <c:v>0.47218853336749356</c:v>
                </c:pt>
                <c:pt idx="2">
                  <c:v>0.6360254748742145</c:v>
                </c:pt>
                <c:pt idx="3">
                  <c:v>0.7650927455557053</c:v>
                </c:pt>
                <c:pt idx="4">
                  <c:v>0.8658591600689194</c:v>
                </c:pt>
                <c:pt idx="5">
                  <c:v>0.9165212361785582</c:v>
                </c:pt>
                <c:pt idx="6">
                  <c:v>0.938387243819135</c:v>
                </c:pt>
                <c:pt idx="7">
                  <c:v>0.9589673908522698</c:v>
                </c:pt>
                <c:pt idx="8">
                  <c:v>0.9794597804983954</c:v>
                </c:pt>
                <c:pt idx="9">
                  <c:v>0.9997087231119962</c:v>
                </c:pt>
                <c:pt idx="10">
                  <c:v>0.999993622685936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12</c:f>
              <c:strCache>
                <c:ptCount val="11"/>
                <c:pt idx="0">
                  <c:v>Kiri Creme Fromage Blanc Frais Carre 1X432Gr 24P</c:v>
                </c:pt>
                <c:pt idx="1">
                  <c:v>Kiri Creme Fromage Blanc Frais Carre 1X216Gr 12P</c:v>
                </c:pt>
                <c:pt idx="2">
                  <c:v>Kiri Creme Fromage Blanc Frais Carre 1X144Gr 8P</c:v>
                </c:pt>
                <c:pt idx="3">
                  <c:v>Kiri Gouter Fromage Blanc Dips Boite 1X175Gr 5P</c:v>
                </c:pt>
                <c:pt idx="4">
                  <c:v>Kiri Gouter Fromage Blanc Dips Boite 1X280Gr 8P</c:v>
                </c:pt>
                <c:pt idx="5">
                  <c:v>Kiri Creme Fromage Blanc Frais Carre 1X432Gr 18+6P</c:v>
                </c:pt>
                <c:pt idx="6">
                  <c:v>Kiri Bio Fromage Blanc Frais Carre 1X144Gr 8P</c:v>
                </c:pt>
                <c:pt idx="7">
                  <c:v>Kiri Delicieusement Fouette Fromage Frais A Tartiner 1X160Gr 10P</c:v>
                </c:pt>
                <c:pt idx="8">
                  <c:v>Kiri Delicieusement Fouette Fromage Frais A Tartiner 1X210Gr 1P</c:v>
                </c:pt>
                <c:pt idx="9">
                  <c:v>Kiri Delicieusement Fouette Fromage Frais A Tartiner 1X125Gr 1P</c:v>
                </c:pt>
                <c:pt idx="10">
                  <c:v>Kiri Chevre Fromage Blanc Frais Carre 1X144Gr 8P</c:v>
                </c:pt>
              </c:strCache>
            </c:strRef>
          </c:cat>
          <c:val>
            <c:numRef>
              <c:f>Sheet1!$D$2:$D$12</c:f>
              <c:numCache>
                <c:formatCode>General</c:formatCode>
                <c:ptCount val="11"/>
                <c:pt idx="0">
                  <c:v>21137.0</c:v>
                </c:pt>
                <c:pt idx="1">
                  <c:v>16372.639175257733</c:v>
                </c:pt>
                <c:pt idx="2">
                  <c:v>11937.040404040405</c:v>
                </c:pt>
                <c:pt idx="3">
                  <c:v>9403.747474747475</c:v>
                </c:pt>
                <c:pt idx="4">
                  <c:v>9956.643835616438</c:v>
                </c:pt>
                <c:pt idx="5">
                  <c:v>5146.887323943662</c:v>
                </c:pt>
                <c:pt idx="6">
                  <c:v>3755.2619047619046</c:v>
                </c:pt>
                <c:pt idx="7">
                  <c:v>2356.285714285714</c:v>
                </c:pt>
                <c:pt idx="8">
                  <c:v>2737.277777777778</c:v>
                </c:pt>
                <c:pt idx="9">
                  <c:v>2355.7580645161293</c:v>
                </c:pt>
                <c:pt idx="10">
                  <c:v>685.0</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9</c:f>
              <c:strCache>
                <c:ptCount val="8"/>
                <c:pt idx="0">
                  <c:v>La Vache Qui Rit Nature Fromage Fondu Boite Ronde 1X512Gr 32P</c:v>
                </c:pt>
                <c:pt idx="1">
                  <c:v>La Vache Qui Rit Nature Fromage Fondu Boite Ronde 1X384Gr 24P</c:v>
                </c:pt>
                <c:pt idx="2">
                  <c:v>La Vache Qui Rit Nature Fromage Fondu Boite Ronde 1X192Gr 12P</c:v>
                </c:pt>
                <c:pt idx="3">
                  <c:v>La Vache Qui Rit Nature Fromage Fondu Boite Ronde 1X128Gr 8P</c:v>
                </c:pt>
                <c:pt idx="4">
                  <c:v>La Vache Qui Rit Pik Et Croq' Fromage Fondu Dips Boite 1X175Gr 5P</c:v>
                </c:pt>
                <c:pt idx="5">
                  <c:v>La Vache Qui Rit Nature Fromage Fondu Boite Ronde 1X512Gr 24+8P</c:v>
                </c:pt>
                <c:pt idx="6">
                  <c:v>La Vache Qui Rit Allegee Fromage Fondu Boite Ronde Allege 1X267Gr 16P</c:v>
                </c:pt>
                <c:pt idx="7">
                  <c:v>La Vache Qui Rit Bio Fromage Fondu Boite Ronde 1X128Gr 8P</c:v>
                </c:pt>
              </c:strCache>
            </c:strRef>
          </c:cat>
          <c:val>
            <c:numRef>
              <c:f>Sheet1!$B$2:$B$9</c:f>
              <c:numCache>
                <c:formatCode>General</c:formatCode>
                <c:ptCount val="8"/>
                <c:pt idx="0">
                  <c:v>0.99</c:v>
                </c:pt>
                <c:pt idx="1">
                  <c:v>0.96</c:v>
                </c:pt>
                <c:pt idx="2">
                  <c:v>0.99</c:v>
                </c:pt>
                <c:pt idx="3">
                  <c:v>0.66</c:v>
                </c:pt>
                <c:pt idx="4">
                  <c:v>0.97</c:v>
                </c:pt>
                <c:pt idx="5">
                  <c:v>0.78</c:v>
                </c:pt>
                <c:pt idx="6">
                  <c:v>0.27</c:v>
                </c:pt>
                <c:pt idx="7">
                  <c:v>0.25</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7ECAC4"/>
              </a:solidFill>
            </c:spPr>
            <c:extLst>
              <c:ext xmlns:c16="http://schemas.microsoft.com/office/drawing/2014/chart" uri="{C3380CC4-5D6E-409C-BE32-E72D297353CC}">
                <c16:uniqueId val="{00000006-E902-46E2-9A54-39A26B3DFDC1}"/>
              </c:ext>
            </c:extLst>
          </c:dPt>
          <c:dPt>
            <c:idx val="3"/>
            <c:invertIfNegative val="0"/>
            <c:bubble3D val="0"/>
            <c:spPr>
              <a:solidFill>
                <a:srgbClr val="7ECAC4"/>
              </a:solidFill>
            </c:spPr>
            <c:extLst>
              <c:ext xmlns:c16="http://schemas.microsoft.com/office/drawing/2014/chart" uri="{C3380CC4-5D6E-409C-BE32-E72D297353CC}">
                <c16:uniqueId val="{00000007-E902-46E2-9A54-39A26B3DFDC1}"/>
              </c:ext>
            </c:extLst>
          </c:dPt>
          <c:dPt>
            <c:idx val="4"/>
            <c:invertIfNegative val="1"/>
            <c:bubble3D val="0"/>
            <c:spPr>
              <a:solidFill>
                <a:srgbClr val="7ECAC4"/>
              </a:solidFill>
            </c:spPr>
            <c:extLst>
              <c:ext xmlns:c16="http://schemas.microsoft.com/office/drawing/2014/chart" uri="{C3380CC4-5D6E-409C-BE32-E72D297353CC}">
                <c16:uniqueId val="{0000000B-FA3E-4872-B6E1-C4ABDF5766E2}"/>
              </c:ext>
            </c:extLst>
          </c:dPt>
          <c:dPt>
            <c:idx val="5"/>
            <c:invertIfNegative val="1"/>
            <c:bubble3D val="0"/>
            <c:spPr>
              <a:solidFill>
                <a:srgbClr val="AEABAB"/>
              </a:solidFill>
            </c:spPr>
            <c:extLst>
              <c:ext xmlns:c16="http://schemas.microsoft.com/office/drawing/2014/chart" uri="{C3380CC4-5D6E-409C-BE32-E72D297353CC}">
                <c16:uniqueId val="{0000000D-FA3E-4872-B6E1-C4ABDF5766E2}"/>
              </c:ext>
            </c:extLst>
          </c:dPt>
          <c:dPt>
            <c:idx val="6"/>
            <c:invertIfNegative val="1"/>
            <c:bubble3D val="0"/>
            <c:spPr>
              <a:solidFill>
                <a:srgbClr val="AEABAB"/>
              </a:solidFill>
            </c:spPr>
            <c:extLst>
              <c:ext xmlns:c16="http://schemas.microsoft.com/office/drawing/2014/chart" uri="{C3380CC4-5D6E-409C-BE32-E72D297353CC}">
                <c16:uniqueId val="{0000000F-FA3E-4872-B6E1-C4ABDF5766E2}"/>
              </c:ext>
            </c:extLst>
          </c:dPt>
          <c:dPt>
            <c:idx val="7"/>
            <c:invertIfNegative val="1"/>
            <c:bubble3D val="0"/>
            <c:spPr>
              <a:solidFill>
                <a:srgbClr val="AEABAB"/>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9</c:f>
              <c:strCache>
                <c:ptCount val="8"/>
                <c:pt idx="0">
                  <c:v>La Vache Qui Rit Nature Fromage Fondu Boite Ronde 1X512Gr 32P</c:v>
                </c:pt>
                <c:pt idx="1">
                  <c:v>La Vache Qui Rit Nature Fromage Fondu Boite Ronde 1X384Gr 24P</c:v>
                </c:pt>
                <c:pt idx="2">
                  <c:v>La Vache Qui Rit Nature Fromage Fondu Boite Ronde 1X192Gr 12P</c:v>
                </c:pt>
                <c:pt idx="3">
                  <c:v>La Vache Qui Rit Nature Fromage Fondu Boite Ronde 1X128Gr 8P</c:v>
                </c:pt>
                <c:pt idx="4">
                  <c:v>La Vache Qui Rit Pik Et Croq' Fromage Fondu Dips Boite 1X175Gr 5P</c:v>
                </c:pt>
                <c:pt idx="5">
                  <c:v>La Vache Qui Rit Nature Fromage Fondu Boite Ronde 1X512Gr 24+8P</c:v>
                </c:pt>
                <c:pt idx="6">
                  <c:v>La Vache Qui Rit Allegee Fromage Fondu Boite Ronde Allege 1X267Gr 16P</c:v>
                </c:pt>
                <c:pt idx="7">
                  <c:v>La Vache Qui Rit Bio Fromage Fondu Boite Ronde 1X128Gr 8P</c:v>
                </c:pt>
              </c:strCache>
            </c:strRef>
          </c:cat>
          <c:val>
            <c:numRef>
              <c:f>Sheet1!$C$2:$C$9</c:f>
              <c:numCache>
                <c:formatCode>General</c:formatCode>
                <c:ptCount val="8"/>
                <c:pt idx="0">
                  <c:v>0.37557330001310396</c:v>
                </c:pt>
                <c:pt idx="1">
                  <c:v>0.6116568825521573</c:v>
                </c:pt>
                <c:pt idx="2">
                  <c:v>0.8080143613260425</c:v>
                </c:pt>
                <c:pt idx="3">
                  <c:v>0.8730698599558825</c:v>
                </c:pt>
                <c:pt idx="4">
                  <c:v>0.9359329585356104</c:v>
                </c:pt>
                <c:pt idx="5">
                  <c:v>0.9850806739447011</c:v>
                </c:pt>
                <c:pt idx="6">
                  <c:v>0.9950395084580459</c:v>
                </c:pt>
                <c:pt idx="7">
                  <c:v>0.9999448685701684</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9</c:f>
              <c:strCache>
                <c:ptCount val="8"/>
                <c:pt idx="0">
                  <c:v>La Vache Qui Rit Nature Fromage Fondu Boite Ronde 1X512Gr 32P</c:v>
                </c:pt>
                <c:pt idx="1">
                  <c:v>La Vache Qui Rit Nature Fromage Fondu Boite Ronde 1X384Gr 24P</c:v>
                </c:pt>
                <c:pt idx="2">
                  <c:v>La Vache Qui Rit Nature Fromage Fondu Boite Ronde 1X192Gr 12P</c:v>
                </c:pt>
                <c:pt idx="3">
                  <c:v>La Vache Qui Rit Nature Fromage Fondu Boite Ronde 1X128Gr 8P</c:v>
                </c:pt>
                <c:pt idx="4">
                  <c:v>La Vache Qui Rit Pik Et Croq' Fromage Fondu Dips Boite 1X175Gr 5P</c:v>
                </c:pt>
                <c:pt idx="5">
                  <c:v>La Vache Qui Rit Nature Fromage Fondu Boite Ronde 1X512Gr 24+8P</c:v>
                </c:pt>
                <c:pt idx="6">
                  <c:v>La Vache Qui Rit Allegee Fromage Fondu Boite Ronde Allege 1X267Gr 16P</c:v>
                </c:pt>
                <c:pt idx="7">
                  <c:v>La Vache Qui Rit Bio Fromage Fondu Boite Ronde 1X128Gr 8P</c:v>
                </c:pt>
              </c:strCache>
            </c:strRef>
          </c:cat>
          <c:val>
            <c:numRef>
              <c:f>Sheet1!$D$2:$D$9</c:f>
              <c:numCache>
                <c:formatCode>General</c:formatCode>
                <c:ptCount val="8"/>
                <c:pt idx="0">
                  <c:v>36882.89898989899</c:v>
                </c:pt>
                <c:pt idx="1">
                  <c:v>23908.927083333332</c:v>
                </c:pt>
                <c:pt idx="2">
                  <c:v>19283.141414141413</c:v>
                </c:pt>
                <c:pt idx="3">
                  <c:v>9583.09090909091</c:v>
                </c:pt>
                <c:pt idx="4">
                  <c:v>6300.711340206186</c:v>
                </c:pt>
                <c:pt idx="5">
                  <c:v>6125.961538461538</c:v>
                </c:pt>
                <c:pt idx="6">
                  <c:v>3586.0</c:v>
                </c:pt>
                <c:pt idx="7">
                  <c:v>1907.64</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20</c:f>
              <c:strCache>
                <c:ptCount val="19"/>
                <c:pt idx="0">
                  <c:v>Boursin Classique Fromage Frais A Tartiner Afh 1X160Gr 10P</c:v>
                </c:pt>
                <c:pt idx="1">
                  <c:v>Boursin Classique Fromage Frais A Tartiner Afh Boite 1X150Gr 1P</c:v>
                </c:pt>
                <c:pt idx="2">
                  <c:v>Boursin Classique Fromage Frais A Tartiner Afh Boite 1X250Gr 1P</c:v>
                </c:pt>
                <c:pt idx="3">
                  <c:v>Boursin Salade &amp; Aperitif Fromage Frais Des Afh 1X120Gr 1P</c:v>
                </c:pt>
                <c:pt idx="4">
                  <c:v>Boursin Classique Fromage Frais A Tartiner Afh Boite 1X96Gr 6P</c:v>
                </c:pt>
                <c:pt idx="5">
                  <c:v>Boursin Onctueux Fromage Frais A Tartiner Afh 1X125Gr 1P</c:v>
                </c:pt>
                <c:pt idx="6">
                  <c:v>Boursin Classique Fromage Frais A Tartiner Ciboulette &amp; Echalote Boite 1X150Gr 1P</c:v>
                </c:pt>
                <c:pt idx="7">
                  <c:v>Boursin Salade &amp; Aperitif Fromage Frais Des Figue Noix 1X120Gr 1P</c:v>
                </c:pt>
                <c:pt idx="8">
                  <c:v>Boursin Salade &amp; Aperitif Fromage Frais Des Ciboulette Echalote 1X120Gr 1P</c:v>
                </c:pt>
                <c:pt idx="9">
                  <c:v>Boursin Salade &amp; Aperitif Fromage Frais Des Citron Romarin 1X120Gr 1P</c:v>
                </c:pt>
                <c:pt idx="10">
                  <c:v>Boursin Classique Fromage Frais A Tartiner Figue Et 3 Noix Boite 1X150Gr 1P</c:v>
                </c:pt>
                <c:pt idx="11">
                  <c:v>Boursin Salade &amp; Aperitif Soft Cheese Salade 120G</c:v>
                </c:pt>
                <c:pt idx="12">
                  <c:v>Boursin Salade &amp; Aperitif Fromage Frais Des Noisette Et 3 Noix 1X120Gr 1P</c:v>
                </c:pt>
                <c:pt idx="13">
                  <c:v>Boursin Classique Fromage Frais A Tartiner 3 Noix Boite 1X150Gr 1P</c:v>
                </c:pt>
                <c:pt idx="14">
                  <c:v>Boursin Classique Fromage Frais A Tartiner 3 Noix 1X160Gr 10P</c:v>
                </c:pt>
                <c:pt idx="15">
                  <c:v>Boursin Classique Fromage Frais A Tartiner Afh Boite 1X320Gr 16+4P</c:v>
                </c:pt>
                <c:pt idx="16">
                  <c:v>Boursin Classique Fromage Frais A Tartiner Truffe Boite 1X150Gr 1P</c:v>
                </c:pt>
                <c:pt idx="17">
                  <c:v>Boursin Onctueux Fromage Frais A Tartiner Afh 1X210Gr 1P</c:v>
                </c:pt>
                <c:pt idx="18">
                  <c:v>Boursin Classique Fromage Frais A Tartiner Ciboulette &amp; Echalote 1X160Gr 10P</c:v>
                </c:pt>
              </c:strCache>
            </c:strRef>
          </c:cat>
          <c:val>
            <c:numRef>
              <c:f>Sheet1!$B$2:$B$20</c:f>
              <c:numCache>
                <c:formatCode>General</c:formatCode>
                <c:ptCount val="19"/>
                <c:pt idx="0">
                  <c:v>0.98</c:v>
                </c:pt>
                <c:pt idx="1">
                  <c:v>0.99</c:v>
                </c:pt>
                <c:pt idx="2">
                  <c:v>0.95</c:v>
                </c:pt>
                <c:pt idx="3">
                  <c:v>0.99</c:v>
                </c:pt>
                <c:pt idx="4">
                  <c:v>0.91</c:v>
                </c:pt>
                <c:pt idx="5">
                  <c:v>0.85</c:v>
                </c:pt>
                <c:pt idx="6">
                  <c:v>0.89</c:v>
                </c:pt>
                <c:pt idx="7">
                  <c:v>0.91</c:v>
                </c:pt>
                <c:pt idx="8">
                  <c:v>0.95</c:v>
                </c:pt>
                <c:pt idx="9">
                  <c:v>0.72</c:v>
                </c:pt>
                <c:pt idx="10">
                  <c:v>0.65</c:v>
                </c:pt>
                <c:pt idx="11">
                  <c:v>0.71</c:v>
                </c:pt>
                <c:pt idx="12">
                  <c:v>0.79</c:v>
                </c:pt>
                <c:pt idx="13">
                  <c:v>0.61</c:v>
                </c:pt>
                <c:pt idx="14">
                  <c:v>0.41</c:v>
                </c:pt>
                <c:pt idx="15">
                  <c:v>0.37</c:v>
                </c:pt>
                <c:pt idx="16">
                  <c:v>0.51</c:v>
                </c:pt>
                <c:pt idx="17">
                  <c:v>0.03</c:v>
                </c:pt>
                <c:pt idx="18">
                  <c:v>0.03</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7ECAC4"/>
              </a:solidFill>
            </c:spPr>
            <c:extLst>
              <c:ext xmlns:c16="http://schemas.microsoft.com/office/drawing/2014/chart" uri="{C3380CC4-5D6E-409C-BE32-E72D297353CC}">
                <c16:uniqueId val="{0000000D-FA3E-4872-B6E1-C4ABDF5766E2}"/>
              </c:ext>
            </c:extLst>
          </c:dPt>
          <c:dPt>
            <c:idx val="6"/>
            <c:invertIfNegative val="1"/>
            <c:bubble3D val="0"/>
            <c:spPr>
              <a:solidFill>
                <a:srgbClr val="7ECAC4"/>
              </a:solidFill>
            </c:spPr>
            <c:extLst>
              <c:ext xmlns:c16="http://schemas.microsoft.com/office/drawing/2014/chart" uri="{C3380CC4-5D6E-409C-BE32-E72D297353CC}">
                <c16:uniqueId val="{0000000F-FA3E-4872-B6E1-C4ABDF5766E2}"/>
              </c:ext>
            </c:extLst>
          </c:dPt>
          <c:dPt>
            <c:idx val="7"/>
            <c:invertIfNegative val="1"/>
            <c:bubble3D val="0"/>
            <c:spPr>
              <a:solidFill>
                <a:srgbClr val="7ECAC4"/>
              </a:solidFill>
            </c:spPr>
            <c:extLst>
              <c:ext xmlns:c16="http://schemas.microsoft.com/office/drawing/2014/chart" uri="{C3380CC4-5D6E-409C-BE32-E72D297353CC}">
                <c16:uniqueId val="{00000011-FA3E-4872-B6E1-C4ABDF5766E2}"/>
              </c:ext>
            </c:extLst>
          </c:dPt>
          <c:dPt>
            <c:idx val="8"/>
            <c:invertIfNegative val="1"/>
            <c:bubble3D val="0"/>
            <c:spPr>
              <a:solidFill>
                <a:srgbClr val="7ECAC4"/>
              </a:solidFill>
            </c:spPr>
            <c:extLst>
              <c:ext xmlns:c16="http://schemas.microsoft.com/office/drawing/2014/chart" uri="{C3380CC4-5D6E-409C-BE32-E72D297353CC}">
                <c16:uniqueId val="{00000013-FA3E-4872-B6E1-C4ABDF5766E2}"/>
              </c:ext>
            </c:extLst>
          </c:dPt>
          <c:dPt>
            <c:idx val="9"/>
            <c:invertIfNegative val="1"/>
            <c:bubble3D val="0"/>
            <c:spPr>
              <a:solidFill>
                <a:srgbClr val="AEABAB"/>
              </a:solidFill>
            </c:spPr>
            <c:extLst>
              <c:ext xmlns:c16="http://schemas.microsoft.com/office/drawing/2014/chart" uri="{C3380CC4-5D6E-409C-BE32-E72D297353CC}">
                <c16:uniqueId val="{00000015-FA3E-4872-B6E1-C4ABDF5766E2}"/>
              </c:ext>
            </c:extLst>
          </c:dPt>
          <c:dPt>
            <c:idx val="10"/>
            <c:invertIfNegative val="1"/>
            <c:bubble3D val="0"/>
            <c:spPr>
              <a:solidFill>
                <a:srgbClr val="AEABAB"/>
              </a:solidFill>
            </c:spPr>
            <c:extLst>
              <c:ext xmlns:c16="http://schemas.microsoft.com/office/drawing/2014/chart" uri="{C3380CC4-5D6E-409C-BE32-E72D297353CC}">
                <c16:uniqueId val="{00000017-FA3E-4872-B6E1-C4ABDF5766E2}"/>
              </c:ext>
            </c:extLst>
          </c:dPt>
          <c:dPt>
            <c:idx val="11"/>
            <c:invertIfNegative val="1"/>
            <c:bubble3D val="0"/>
            <c:spPr>
              <a:solidFill>
                <a:srgbClr val="AEABAB"/>
              </a:solidFill>
            </c:spPr>
            <c:extLst>
              <c:ext xmlns:c16="http://schemas.microsoft.com/office/drawing/2014/chart" uri="{C3380CC4-5D6E-409C-BE32-E72D297353CC}">
                <c16:uniqueId val="{00000019-FA3E-4872-B6E1-C4ABDF5766E2}"/>
              </c:ext>
            </c:extLst>
          </c:dPt>
          <c:dPt>
            <c:idx val="12"/>
            <c:invertIfNegative val="1"/>
            <c:bubble3D val="0"/>
            <c:spPr>
              <a:solidFill>
                <a:srgbClr val="AEABAB"/>
              </a:solidFill>
            </c:spPr>
            <c:extLst>
              <c:ext xmlns:c16="http://schemas.microsoft.com/office/drawing/2014/chart" uri="{C3380CC4-5D6E-409C-BE32-E72D297353CC}">
                <c16:uniqueId val="{0000001B-FA3E-4872-B6E1-C4ABDF5766E2}"/>
              </c:ext>
            </c:extLst>
          </c:dPt>
          <c:dPt>
            <c:idx val="13"/>
            <c:invertIfNegative val="1"/>
            <c:bubble3D val="0"/>
            <c:spPr>
              <a:solidFill>
                <a:srgbClr val="AEABAB"/>
              </a:solidFill>
            </c:spPr>
            <c:extLst>
              <c:ext xmlns:c16="http://schemas.microsoft.com/office/drawing/2014/chart" uri="{C3380CC4-5D6E-409C-BE32-E72D297353CC}">
                <c16:uniqueId val="{0000001D-FA3E-4872-B6E1-C4ABDF5766E2}"/>
              </c:ext>
            </c:extLst>
          </c:dPt>
          <c:dPt>
            <c:idx val="14"/>
            <c:invertIfNegative val="1"/>
            <c:bubble3D val="0"/>
            <c:spPr>
              <a:solidFill>
                <a:srgbClr val="AEABAB"/>
              </a:solidFill>
            </c:spPr>
            <c:extLst>
              <c:ext xmlns:c16="http://schemas.microsoft.com/office/drawing/2014/chart" uri="{C3380CC4-5D6E-409C-BE32-E72D297353CC}">
                <c16:uniqueId val="{0000001F-FA3E-4872-B6E1-C4ABDF5766E2}"/>
              </c:ext>
            </c:extLst>
          </c:dPt>
          <c:dPt>
            <c:idx val="15"/>
            <c:invertIfNegative val="1"/>
            <c:bubble3D val="0"/>
            <c:spPr>
              <a:solidFill>
                <a:srgbClr val="AEABAB"/>
              </a:solidFill>
            </c:spPr>
            <c:extLst>
              <c:ext xmlns:c16="http://schemas.microsoft.com/office/drawing/2014/chart" uri="{C3380CC4-5D6E-409C-BE32-E72D297353CC}">
                <c16:uniqueId val="{00000021-FA3E-4872-B6E1-C4ABDF5766E2}"/>
              </c:ext>
            </c:extLst>
          </c:dPt>
          <c:dPt>
            <c:idx val="16"/>
            <c:invertIfNegative val="1"/>
            <c:bubble3D val="0"/>
            <c:spPr>
              <a:solidFill>
                <a:srgbClr val="AEABAB"/>
              </a:solidFill>
            </c:spPr>
            <c:extLst>
              <c:ext xmlns:c16="http://schemas.microsoft.com/office/drawing/2014/chart" uri="{C3380CC4-5D6E-409C-BE32-E72D297353CC}">
                <c16:uniqueId val="{00000023-FA3E-4872-B6E1-C4ABDF5766E2}"/>
              </c:ext>
            </c:extLst>
          </c:dPt>
          <c:dPt>
            <c:idx val="17"/>
            <c:invertIfNegative val="1"/>
            <c:bubble3D val="0"/>
            <c:spPr>
              <a:solidFill>
                <a:srgbClr val="AEABAB"/>
              </a:solidFill>
            </c:spPr>
            <c:extLst>
              <c:ext xmlns:c16="http://schemas.microsoft.com/office/drawing/2014/chart" uri="{C3380CC4-5D6E-409C-BE32-E72D297353CC}">
                <c16:uniqueId val="{00000025-FA3E-4872-B6E1-C4ABDF5766E2}"/>
              </c:ext>
            </c:extLst>
          </c:dPt>
          <c:dPt>
            <c:idx val="18"/>
            <c:invertIfNegative val="1"/>
            <c:bubble3D val="0"/>
            <c:spPr>
              <a:solidFill>
                <a:srgbClr val="AEABAB"/>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20</c:f>
              <c:strCache>
                <c:ptCount val="19"/>
                <c:pt idx="0">
                  <c:v>Boursin Classique Fromage Frais A Tartiner Afh 1X160Gr 10P</c:v>
                </c:pt>
                <c:pt idx="1">
                  <c:v>Boursin Classique Fromage Frais A Tartiner Afh Boite 1X150Gr 1P</c:v>
                </c:pt>
                <c:pt idx="2">
                  <c:v>Boursin Classique Fromage Frais A Tartiner Afh Boite 1X250Gr 1P</c:v>
                </c:pt>
                <c:pt idx="3">
                  <c:v>Boursin Salade &amp; Aperitif Fromage Frais Des Afh 1X120Gr 1P</c:v>
                </c:pt>
                <c:pt idx="4">
                  <c:v>Boursin Classique Fromage Frais A Tartiner Afh Boite 1X96Gr 6P</c:v>
                </c:pt>
                <c:pt idx="5">
                  <c:v>Boursin Onctueux Fromage Frais A Tartiner Afh 1X125Gr 1P</c:v>
                </c:pt>
                <c:pt idx="6">
                  <c:v>Boursin Classique Fromage Frais A Tartiner Ciboulette &amp; Echalote Boite 1X150Gr 1P</c:v>
                </c:pt>
                <c:pt idx="7">
                  <c:v>Boursin Salade &amp; Aperitif Fromage Frais Des Figue Noix 1X120Gr 1P</c:v>
                </c:pt>
                <c:pt idx="8">
                  <c:v>Boursin Salade &amp; Aperitif Fromage Frais Des Ciboulette Echalote 1X120Gr 1P</c:v>
                </c:pt>
                <c:pt idx="9">
                  <c:v>Boursin Salade &amp; Aperitif Fromage Frais Des Citron Romarin 1X120Gr 1P</c:v>
                </c:pt>
                <c:pt idx="10">
                  <c:v>Boursin Classique Fromage Frais A Tartiner Figue Et 3 Noix Boite 1X150Gr 1P</c:v>
                </c:pt>
                <c:pt idx="11">
                  <c:v>Boursin Salade &amp; Aperitif Soft Cheese Salade 120G</c:v>
                </c:pt>
                <c:pt idx="12">
                  <c:v>Boursin Salade &amp; Aperitif Fromage Frais Des Noisette Et 3 Noix 1X120Gr 1P</c:v>
                </c:pt>
                <c:pt idx="13">
                  <c:v>Boursin Classique Fromage Frais A Tartiner 3 Noix Boite 1X150Gr 1P</c:v>
                </c:pt>
                <c:pt idx="14">
                  <c:v>Boursin Classique Fromage Frais A Tartiner 3 Noix 1X160Gr 10P</c:v>
                </c:pt>
                <c:pt idx="15">
                  <c:v>Boursin Classique Fromage Frais A Tartiner Afh Boite 1X320Gr 16+4P</c:v>
                </c:pt>
                <c:pt idx="16">
                  <c:v>Boursin Classique Fromage Frais A Tartiner Truffe Boite 1X150Gr 1P</c:v>
                </c:pt>
                <c:pt idx="17">
                  <c:v>Boursin Onctueux Fromage Frais A Tartiner Afh 1X210Gr 1P</c:v>
                </c:pt>
                <c:pt idx="18">
                  <c:v>Boursin Classique Fromage Frais A Tartiner Ciboulette &amp; Echalote 1X160Gr 10P</c:v>
                </c:pt>
              </c:strCache>
            </c:strRef>
          </c:cat>
          <c:val>
            <c:numRef>
              <c:f>Sheet1!$C$2:$C$20</c:f>
              <c:numCache>
                <c:formatCode>General</c:formatCode>
                <c:ptCount val="19"/>
                <c:pt idx="0">
                  <c:v>0.20166894004895558</c:v>
                </c:pt>
                <c:pt idx="1">
                  <c:v>0.3891305714144968</c:v>
                </c:pt>
                <c:pt idx="2">
                  <c:v>0.5518692977881661</c:v>
                </c:pt>
                <c:pt idx="3">
                  <c:v>0.6799516559452485</c:v>
                </c:pt>
                <c:pt idx="4">
                  <c:v>0.7653748872509967</c:v>
                </c:pt>
                <c:pt idx="5">
                  <c:v>0.8214456672957395</c:v>
                </c:pt>
                <c:pt idx="6">
                  <c:v>0.8752461792738879</c:v>
                </c:pt>
                <c:pt idx="7">
                  <c:v>0.9061408500467982</c:v>
                </c:pt>
                <c:pt idx="8">
                  <c:v>0.9349432730250027</c:v>
                </c:pt>
                <c:pt idx="9">
                  <c:v>0.9504182966789367</c:v>
                </c:pt>
                <c:pt idx="10">
                  <c:v>0.962807692242359</c:v>
                </c:pt>
                <c:pt idx="11">
                  <c:v>0.9737657912304631</c:v>
                </c:pt>
                <c:pt idx="12">
                  <c:v>0.9841832046027073</c:v>
                </c:pt>
                <c:pt idx="13">
                  <c:v>0.990520080788589</c:v>
                </c:pt>
                <c:pt idx="14">
                  <c:v>0.9939051838212187</c:v>
                </c:pt>
                <c:pt idx="15">
                  <c:v>0.9972731303200119</c:v>
                </c:pt>
                <c:pt idx="16">
                  <c:v>0.9994209245163471</c:v>
                </c:pt>
                <c:pt idx="17">
                  <c:v>0.9999252586644742</c:v>
                </c:pt>
                <c:pt idx="18">
                  <c:v>0.9999770679993273</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20</c:f>
              <c:strCache>
                <c:ptCount val="19"/>
                <c:pt idx="0">
                  <c:v>Boursin Classique Fromage Frais A Tartiner Afh 1X160Gr 10P</c:v>
                </c:pt>
                <c:pt idx="1">
                  <c:v>Boursin Classique Fromage Frais A Tartiner Afh Boite 1X150Gr 1P</c:v>
                </c:pt>
                <c:pt idx="2">
                  <c:v>Boursin Classique Fromage Frais A Tartiner Afh Boite 1X250Gr 1P</c:v>
                </c:pt>
                <c:pt idx="3">
                  <c:v>Boursin Salade &amp; Aperitif Fromage Frais Des Afh 1X120Gr 1P</c:v>
                </c:pt>
                <c:pt idx="4">
                  <c:v>Boursin Classique Fromage Frais A Tartiner Afh Boite 1X96Gr 6P</c:v>
                </c:pt>
                <c:pt idx="5">
                  <c:v>Boursin Onctueux Fromage Frais A Tartiner Afh 1X125Gr 1P</c:v>
                </c:pt>
                <c:pt idx="6">
                  <c:v>Boursin Classique Fromage Frais A Tartiner Ciboulette &amp; Echalote Boite 1X150Gr 1P</c:v>
                </c:pt>
                <c:pt idx="7">
                  <c:v>Boursin Salade &amp; Aperitif Fromage Frais Des Figue Noix 1X120Gr 1P</c:v>
                </c:pt>
                <c:pt idx="8">
                  <c:v>Boursin Salade &amp; Aperitif Fromage Frais Des Ciboulette Echalote 1X120Gr 1P</c:v>
                </c:pt>
                <c:pt idx="9">
                  <c:v>Boursin Salade &amp; Aperitif Fromage Frais Des Citron Romarin 1X120Gr 1P</c:v>
                </c:pt>
                <c:pt idx="10">
                  <c:v>Boursin Classique Fromage Frais A Tartiner Figue Et 3 Noix Boite 1X150Gr 1P</c:v>
                </c:pt>
                <c:pt idx="11">
                  <c:v>Boursin Salade &amp; Aperitif Soft Cheese Salade 120G</c:v>
                </c:pt>
                <c:pt idx="12">
                  <c:v>Boursin Salade &amp; Aperitif Fromage Frais Des Noisette Et 3 Noix 1X120Gr 1P</c:v>
                </c:pt>
                <c:pt idx="13">
                  <c:v>Boursin Classique Fromage Frais A Tartiner 3 Noix Boite 1X150Gr 1P</c:v>
                </c:pt>
                <c:pt idx="14">
                  <c:v>Boursin Classique Fromage Frais A Tartiner 3 Noix 1X160Gr 10P</c:v>
                </c:pt>
                <c:pt idx="15">
                  <c:v>Boursin Classique Fromage Frais A Tartiner Afh Boite 1X320Gr 16+4P</c:v>
                </c:pt>
                <c:pt idx="16">
                  <c:v>Boursin Classique Fromage Frais A Tartiner Truffe Boite 1X150Gr 1P</c:v>
                </c:pt>
                <c:pt idx="17">
                  <c:v>Boursin Onctueux Fromage Frais A Tartiner Afh 1X210Gr 1P</c:v>
                </c:pt>
                <c:pt idx="18">
                  <c:v>Boursin Classique Fromage Frais A Tartiner Ciboulette &amp; Echalote 1X160Gr 10P</c:v>
                </c:pt>
              </c:strCache>
            </c:strRef>
          </c:cat>
          <c:val>
            <c:numRef>
              <c:f>Sheet1!$D$2:$D$20</c:f>
              <c:numCache>
                <c:formatCode>General</c:formatCode>
                <c:ptCount val="19"/>
                <c:pt idx="0">
                  <c:v>12114.479591836734</c:v>
                </c:pt>
                <c:pt idx="1">
                  <c:v>11147.282828282829</c:v>
                </c:pt>
                <c:pt idx="2">
                  <c:v>10084.61052631579</c:v>
                </c:pt>
                <c:pt idx="3">
                  <c:v>7616.333333333333</c:v>
                </c:pt>
                <c:pt idx="4">
                  <c:v>5526.197802197802</c:v>
                </c:pt>
                <c:pt idx="5">
                  <c:v>3883.3764705882354</c:v>
                </c:pt>
                <c:pt idx="6">
                  <c:v>3558.674157303371</c:v>
                </c:pt>
                <c:pt idx="7">
                  <c:v>1998.6373626373627</c:v>
                </c:pt>
                <c:pt idx="8">
                  <c:v>1784.8315789473684</c:v>
                </c:pt>
                <c:pt idx="9">
                  <c:v>1265.2916666666667</c:v>
                </c:pt>
                <c:pt idx="10">
                  <c:v>1122.0923076923077</c:v>
                </c:pt>
                <c:pt idx="11">
                  <c:v>908.5915492957746</c:v>
                </c:pt>
                <c:pt idx="12">
                  <c:v>776.2911392405064</c:v>
                </c:pt>
                <c:pt idx="13">
                  <c:v>611.5573770491803</c:v>
                </c:pt>
                <c:pt idx="14">
                  <c:v>486.0487804878049</c:v>
                </c:pt>
                <c:pt idx="15">
                  <c:v>535.8648648648649</c:v>
                </c:pt>
                <c:pt idx="16">
                  <c:v>247.92156862745097</c:v>
                </c:pt>
                <c:pt idx="17">
                  <c:v>989.6666666666666</c:v>
                </c:pt>
                <c:pt idx="18">
                  <c:v>101.66666666666667</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7</c:f>
              <c:strCache>
                <c:ptCount val="6"/>
                <c:pt idx="0">
                  <c:v>Kiri Creme Fromage Blanc Frais Carre 1X144Gr 8P</c:v>
                </c:pt>
                <c:pt idx="1">
                  <c:v>Kiri Gouter Fromage Blanc Dips Boite 1X175Gr 5P</c:v>
                </c:pt>
                <c:pt idx="2">
                  <c:v>Kiri Delicieusement Fouette Fromage Frais A Tartiner 1X125Gr 1P</c:v>
                </c:pt>
                <c:pt idx="3">
                  <c:v>Kiri Delicieusement Fouette Fromage Frais A Tartiner 1X160Gr 10P</c:v>
                </c:pt>
                <c:pt idx="4">
                  <c:v>Kiri Creme Fromage Blanc Frais Carre 1X216Gr 12P</c:v>
                </c:pt>
                <c:pt idx="5">
                  <c:v>Kiri Gouter Fromage Blanc Dips Boite 1X280Gr 8P</c:v>
                </c:pt>
              </c:strCache>
            </c:strRef>
          </c:cat>
          <c:val>
            <c:numRef>
              <c:f>Sheet1!$B$2:$B$7</c:f>
              <c:numCache>
                <c:formatCode>General</c:formatCode>
                <c:ptCount val="6"/>
                <c:pt idx="0">
                  <c:v>0.96</c:v>
                </c:pt>
                <c:pt idx="1">
                  <c:v>0.71</c:v>
                </c:pt>
                <c:pt idx="2">
                  <c:v>0.56</c:v>
                </c:pt>
                <c:pt idx="3">
                  <c:v>0.27</c:v>
                </c:pt>
                <c:pt idx="4">
                  <c:v>0.06</c:v>
                </c:pt>
                <c:pt idx="5">
                  <c:v>0.02</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7ECAC4"/>
              </a:solidFill>
            </c:spPr>
            <c:extLst>
              <c:ext xmlns:c16="http://schemas.microsoft.com/office/drawing/2014/chart" uri="{C3380CC4-5D6E-409C-BE32-E72D297353CC}">
                <c16:uniqueId val="{00000008-D8F4-40C6-A5E0-DB4B53CFB1F3}"/>
              </c:ext>
            </c:extLst>
          </c:dPt>
          <c:dPt>
            <c:idx val="2"/>
            <c:invertIfNegative val="0"/>
            <c:bubble3D val="0"/>
            <c:spPr>
              <a:solidFill>
                <a:srgbClr val="AEABAB"/>
              </a:solidFill>
            </c:spPr>
            <c:extLst>
              <c:ext xmlns:c16="http://schemas.microsoft.com/office/drawing/2014/chart" uri="{C3380CC4-5D6E-409C-BE32-E72D297353CC}">
                <c16:uniqueId val="{00000006-E902-46E2-9A54-39A26B3DFDC1}"/>
              </c:ext>
            </c:extLst>
          </c:dPt>
          <c:dPt>
            <c:idx val="3"/>
            <c:invertIfNegative val="0"/>
            <c:bubble3D val="0"/>
            <c:spPr>
              <a:solidFill>
                <a:srgbClr val="AEABAB"/>
              </a:solidFill>
            </c:spPr>
            <c:extLst>
              <c:ext xmlns:c16="http://schemas.microsoft.com/office/drawing/2014/chart" uri="{C3380CC4-5D6E-409C-BE32-E72D297353CC}">
                <c16:uniqueId val="{00000007-E902-46E2-9A54-39A26B3DFDC1}"/>
              </c:ext>
            </c:extLst>
          </c:dPt>
          <c:dPt>
            <c:idx val="4"/>
            <c:invertIfNegative val="1"/>
            <c:bubble3D val="0"/>
            <c:spPr>
              <a:solidFill>
                <a:srgbClr val="AEABAB"/>
              </a:solidFill>
            </c:spPr>
            <c:extLst>
              <c:ext xmlns:c16="http://schemas.microsoft.com/office/drawing/2014/chart" uri="{C3380CC4-5D6E-409C-BE32-E72D297353CC}">
                <c16:uniqueId val="{0000000B-FA3E-4872-B6E1-C4ABDF5766E2}"/>
              </c:ext>
            </c:extLst>
          </c:dPt>
          <c:dPt>
            <c:idx val="5"/>
            <c:invertIfNegative val="1"/>
            <c:bubble3D val="0"/>
            <c:spPr>
              <a:solidFill>
                <a:srgbClr val="AEABAB"/>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7</c:f>
              <c:strCache>
                <c:ptCount val="6"/>
                <c:pt idx="0">
                  <c:v>Kiri Creme Fromage Blanc Frais Carre 1X144Gr 8P</c:v>
                </c:pt>
                <c:pt idx="1">
                  <c:v>Kiri Gouter Fromage Blanc Dips Boite 1X175Gr 5P</c:v>
                </c:pt>
                <c:pt idx="2">
                  <c:v>Kiri Delicieusement Fouette Fromage Frais A Tartiner 1X125Gr 1P</c:v>
                </c:pt>
                <c:pt idx="3">
                  <c:v>Kiri Delicieusement Fouette Fromage Frais A Tartiner 1X160Gr 10P</c:v>
                </c:pt>
                <c:pt idx="4">
                  <c:v>Kiri Creme Fromage Blanc Frais Carre 1X216Gr 12P</c:v>
                </c:pt>
                <c:pt idx="5">
                  <c:v>Kiri Gouter Fromage Blanc Dips Boite 1X280Gr 8P</c:v>
                </c:pt>
              </c:strCache>
            </c:strRef>
          </c:cat>
          <c:val>
            <c:numRef>
              <c:f>Sheet1!$C$2:$C$7</c:f>
              <c:numCache>
                <c:formatCode>General</c:formatCode>
                <c:ptCount val="6"/>
                <c:pt idx="0">
                  <c:v>0.6322576897616267</c:v>
                </c:pt>
                <c:pt idx="1">
                  <c:v>0.8594483238971042</c:v>
                </c:pt>
                <c:pt idx="2">
                  <c:v>0.954437079923625</c:v>
                </c:pt>
                <c:pt idx="3">
                  <c:v>0.9848227103369873</c:v>
                </c:pt>
                <c:pt idx="4">
                  <c:v>0.9957494808980939</c:v>
                </c:pt>
                <c:pt idx="5">
                  <c:v>0.9995971389099838</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7</c:f>
              <c:strCache>
                <c:ptCount val="6"/>
                <c:pt idx="0">
                  <c:v>Kiri Creme Fromage Blanc Frais Carre 1X144Gr 8P</c:v>
                </c:pt>
                <c:pt idx="1">
                  <c:v>Kiri Gouter Fromage Blanc Dips Boite 1X175Gr 5P</c:v>
                </c:pt>
                <c:pt idx="2">
                  <c:v>Kiri Delicieusement Fouette Fromage Frais A Tartiner 1X125Gr 1P</c:v>
                </c:pt>
                <c:pt idx="3">
                  <c:v>Kiri Delicieusement Fouette Fromage Frais A Tartiner 1X160Gr 10P</c:v>
                </c:pt>
                <c:pt idx="4">
                  <c:v>Kiri Creme Fromage Blanc Frais Carre 1X216Gr 12P</c:v>
                </c:pt>
                <c:pt idx="5">
                  <c:v>Kiri Gouter Fromage Blanc Dips Boite 1X280Gr 8P</c:v>
                </c:pt>
              </c:strCache>
            </c:strRef>
          </c:cat>
          <c:val>
            <c:numRef>
              <c:f>Sheet1!$D$2:$D$7</c:f>
              <c:numCache>
                <c:formatCode>General</c:formatCode>
                <c:ptCount val="6"/>
                <c:pt idx="0">
                  <c:v>24603.90625</c:v>
                </c:pt>
                <c:pt idx="1">
                  <c:v>11954.0</c:v>
                </c:pt>
                <c:pt idx="2">
                  <c:v>6336.732142857142</c:v>
                </c:pt>
                <c:pt idx="3">
                  <c:v>4204.222222222223</c:v>
                </c:pt>
                <c:pt idx="4">
                  <c:v>6803.333333333333</c:v>
                </c:pt>
                <c:pt idx="5">
                  <c:v>7187.0</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7</c:f>
              <c:strCache>
                <c:ptCount val="6"/>
                <c:pt idx="0">
                  <c:v>La Vache Qui Rit Nature Fromage Fondu Boite Ronde 1X192Gr 12P</c:v>
                </c:pt>
                <c:pt idx="1">
                  <c:v>La Vache Qui Rit Nature Fromage Fondu Boite Ronde 1X384Gr 24P</c:v>
                </c:pt>
                <c:pt idx="2">
                  <c:v>La Vache Qui Rit Pik Et Croq' Fromage Fondu Dips Boite 1X175Gr 5P</c:v>
                </c:pt>
                <c:pt idx="3">
                  <c:v>La Vache Qui Rit Nature Fromage Fondu Boite Ronde 1X128Gr 8P</c:v>
                </c:pt>
                <c:pt idx="4">
                  <c:v>La Vache Qui Rit Bio Fromage Fondu Boite Ronde 1X128Gr 8P</c:v>
                </c:pt>
                <c:pt idx="5">
                  <c:v>La Vache Qui Rit Pik Et Croq' Fromage Fondu Dips Boite 1X35Gr 1P</c:v>
                </c:pt>
              </c:strCache>
            </c:strRef>
          </c:cat>
          <c:val>
            <c:numRef>
              <c:f>Sheet1!$B$2:$B$7</c:f>
              <c:numCache>
                <c:formatCode>General</c:formatCode>
                <c:ptCount val="6"/>
                <c:pt idx="0">
                  <c:v>0.91</c:v>
                </c:pt>
                <c:pt idx="1">
                  <c:v>0.47</c:v>
                </c:pt>
                <c:pt idx="2">
                  <c:v>0.51</c:v>
                </c:pt>
                <c:pt idx="3">
                  <c:v>0.09</c:v>
                </c:pt>
                <c:pt idx="4">
                  <c:v>0.08</c:v>
                </c:pt>
                <c:pt idx="5">
                  <c:v>0.05</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7ECAC4"/>
              </a:solidFill>
            </c:spPr>
            <c:extLst>
              <c:ext xmlns:c16="http://schemas.microsoft.com/office/drawing/2014/chart" uri="{C3380CC4-5D6E-409C-BE32-E72D297353CC}">
                <c16:uniqueId val="{00000008-D8F4-40C6-A5E0-DB4B53CFB1F3}"/>
              </c:ext>
            </c:extLst>
          </c:dPt>
          <c:dPt>
            <c:idx val="2"/>
            <c:invertIfNegative val="0"/>
            <c:bubble3D val="0"/>
            <c:spPr>
              <a:solidFill>
                <a:srgbClr val="AEABAB"/>
              </a:solidFill>
            </c:spPr>
            <c:extLst>
              <c:ext xmlns:c16="http://schemas.microsoft.com/office/drawing/2014/chart" uri="{C3380CC4-5D6E-409C-BE32-E72D297353CC}">
                <c16:uniqueId val="{00000006-E902-46E2-9A54-39A26B3DFDC1}"/>
              </c:ext>
            </c:extLst>
          </c:dPt>
          <c:dPt>
            <c:idx val="3"/>
            <c:invertIfNegative val="0"/>
            <c:bubble3D val="0"/>
            <c:spPr>
              <a:solidFill>
                <a:srgbClr val="AEABAB"/>
              </a:solidFill>
            </c:spPr>
            <c:extLst>
              <c:ext xmlns:c16="http://schemas.microsoft.com/office/drawing/2014/chart" uri="{C3380CC4-5D6E-409C-BE32-E72D297353CC}">
                <c16:uniqueId val="{00000007-E902-46E2-9A54-39A26B3DFDC1}"/>
              </c:ext>
            </c:extLst>
          </c:dPt>
          <c:dPt>
            <c:idx val="4"/>
            <c:invertIfNegative val="1"/>
            <c:bubble3D val="0"/>
            <c:spPr>
              <a:solidFill>
                <a:srgbClr val="AEABAB"/>
              </a:solidFill>
            </c:spPr>
            <c:extLst>
              <c:ext xmlns:c16="http://schemas.microsoft.com/office/drawing/2014/chart" uri="{C3380CC4-5D6E-409C-BE32-E72D297353CC}">
                <c16:uniqueId val="{0000000B-FA3E-4872-B6E1-C4ABDF5766E2}"/>
              </c:ext>
            </c:extLst>
          </c:dPt>
          <c:dPt>
            <c:idx val="5"/>
            <c:invertIfNegative val="1"/>
            <c:bubble3D val="0"/>
            <c:spPr>
              <a:solidFill>
                <a:srgbClr val="AEABAB"/>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7</c:f>
              <c:strCache>
                <c:ptCount val="6"/>
                <c:pt idx="0">
                  <c:v>La Vache Qui Rit Nature Fromage Fondu Boite Ronde 1X192Gr 12P</c:v>
                </c:pt>
                <c:pt idx="1">
                  <c:v>La Vache Qui Rit Nature Fromage Fondu Boite Ronde 1X384Gr 24P</c:v>
                </c:pt>
                <c:pt idx="2">
                  <c:v>La Vache Qui Rit Pik Et Croq' Fromage Fondu Dips Boite 1X175Gr 5P</c:v>
                </c:pt>
                <c:pt idx="3">
                  <c:v>La Vache Qui Rit Nature Fromage Fondu Boite Ronde 1X128Gr 8P</c:v>
                </c:pt>
                <c:pt idx="4">
                  <c:v>La Vache Qui Rit Bio Fromage Fondu Boite Ronde 1X128Gr 8P</c:v>
                </c:pt>
                <c:pt idx="5">
                  <c:v>La Vache Qui Rit Pik Et Croq' Fromage Fondu Dips Boite 1X35Gr 1P</c:v>
                </c:pt>
              </c:strCache>
            </c:strRef>
          </c:cat>
          <c:val>
            <c:numRef>
              <c:f>Sheet1!$C$2:$C$7</c:f>
              <c:numCache>
                <c:formatCode>General</c:formatCode>
                <c:ptCount val="6"/>
                <c:pt idx="0">
                  <c:v>0.5865381892298244</c:v>
                </c:pt>
                <c:pt idx="1">
                  <c:v>0.8661268799578665</c:v>
                </c:pt>
                <c:pt idx="2">
                  <c:v>0.9597250160727125</c:v>
                </c:pt>
                <c:pt idx="3">
                  <c:v>0.9867005437036179</c:v>
                </c:pt>
                <c:pt idx="4">
                  <c:v>0.9927170851771338</c:v>
                </c:pt>
                <c:pt idx="5">
                  <c:v>0.9976859943588055</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7</c:f>
              <c:strCache>
                <c:ptCount val="6"/>
                <c:pt idx="0">
                  <c:v>La Vache Qui Rit Nature Fromage Fondu Boite Ronde 1X192Gr 12P</c:v>
                </c:pt>
                <c:pt idx="1">
                  <c:v>La Vache Qui Rit Nature Fromage Fondu Boite Ronde 1X384Gr 24P</c:v>
                </c:pt>
                <c:pt idx="2">
                  <c:v>La Vache Qui Rit Pik Et Croq' Fromage Fondu Dips Boite 1X175Gr 5P</c:v>
                </c:pt>
                <c:pt idx="3">
                  <c:v>La Vache Qui Rit Nature Fromage Fondu Boite Ronde 1X128Gr 8P</c:v>
                </c:pt>
                <c:pt idx="4">
                  <c:v>La Vache Qui Rit Bio Fromage Fondu Boite Ronde 1X128Gr 8P</c:v>
                </c:pt>
                <c:pt idx="5">
                  <c:v>La Vache Qui Rit Pik Et Croq' Fromage Fondu Dips Boite 1X35Gr 1P</c:v>
                </c:pt>
              </c:strCache>
            </c:strRef>
          </c:cat>
          <c:val>
            <c:numRef>
              <c:f>Sheet1!$D$2:$D$7</c:f>
              <c:numCache>
                <c:formatCode>General</c:formatCode>
                <c:ptCount val="6"/>
                <c:pt idx="0">
                  <c:v>30497.54945054945</c:v>
                </c:pt>
                <c:pt idx="1">
                  <c:v>28146.978723404256</c:v>
                </c:pt>
                <c:pt idx="2">
                  <c:v>8683.745098039215</c:v>
                </c:pt>
                <c:pt idx="3">
                  <c:v>14182.0</c:v>
                </c:pt>
                <c:pt idx="4">
                  <c:v>3558.5</c:v>
                </c:pt>
                <c:pt idx="5">
                  <c:v>4702.2</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8</c:f>
              <c:strCache>
                <c:ptCount val="7"/>
                <c:pt idx="0">
                  <c:v>Boursin Classique Fromage Frais A Tartiner Afh Boite 1X150Gr 1P</c:v>
                </c:pt>
                <c:pt idx="1">
                  <c:v>Boursin Classique Fromage Frais A Tartiner Afh 1X160Gr 10P</c:v>
                </c:pt>
                <c:pt idx="2">
                  <c:v>Boursin Salade &amp; Aperitif Fromage Frais Des Afh 1X120Gr 1P</c:v>
                </c:pt>
                <c:pt idx="3">
                  <c:v>Boursin Classique Fromage Frais A Tartiner Ciboulette &amp; Echalote Boite 1X150Gr 1P</c:v>
                </c:pt>
                <c:pt idx="4">
                  <c:v>Boursin Classique Fromage Frais A Tartiner Afh Boite 1X96Gr 6P</c:v>
                </c:pt>
                <c:pt idx="5">
                  <c:v>Boursin Classique Fromage Frais A Tartiner Afh Boite 1X80Gr 1P</c:v>
                </c:pt>
                <c:pt idx="6">
                  <c:v>Boursin Classique Fromage Frais A Tartiner Truffe Boite 1X150Gr 1P</c:v>
                </c:pt>
              </c:strCache>
            </c:strRef>
          </c:cat>
          <c:val>
            <c:numRef>
              <c:f>Sheet1!$B$2:$B$8</c:f>
              <c:numCache>
                <c:formatCode>General</c:formatCode>
                <c:ptCount val="7"/>
                <c:pt idx="0">
                  <c:v>0.83</c:v>
                </c:pt>
                <c:pt idx="1">
                  <c:v>0.53</c:v>
                </c:pt>
                <c:pt idx="2">
                  <c:v>0.79</c:v>
                </c:pt>
                <c:pt idx="3">
                  <c:v>0.08</c:v>
                </c:pt>
                <c:pt idx="4">
                  <c:v>0.12</c:v>
                </c:pt>
                <c:pt idx="5">
                  <c:v>0.11</c:v>
                </c:pt>
                <c:pt idx="6">
                  <c:v>0.1</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AEABAB"/>
              </a:solidFill>
            </c:spPr>
            <c:extLst>
              <c:ext xmlns:c16="http://schemas.microsoft.com/office/drawing/2014/chart" uri="{C3380CC4-5D6E-409C-BE32-E72D297353CC}">
                <c16:uniqueId val="{00000006-E902-46E2-9A54-39A26B3DFDC1}"/>
              </c:ext>
            </c:extLst>
          </c:dPt>
          <c:dPt>
            <c:idx val="3"/>
            <c:invertIfNegative val="0"/>
            <c:bubble3D val="0"/>
            <c:spPr>
              <a:solidFill>
                <a:srgbClr val="AEABAB"/>
              </a:solidFill>
            </c:spPr>
            <c:extLst>
              <c:ext xmlns:c16="http://schemas.microsoft.com/office/drawing/2014/chart" uri="{C3380CC4-5D6E-409C-BE32-E72D297353CC}">
                <c16:uniqueId val="{00000007-E902-46E2-9A54-39A26B3DFDC1}"/>
              </c:ext>
            </c:extLst>
          </c:dPt>
          <c:dPt>
            <c:idx val="4"/>
            <c:invertIfNegative val="1"/>
            <c:bubble3D val="0"/>
            <c:spPr>
              <a:solidFill>
                <a:srgbClr val="AEABAB"/>
              </a:solidFill>
            </c:spPr>
            <c:extLst>
              <c:ext xmlns:c16="http://schemas.microsoft.com/office/drawing/2014/chart" uri="{C3380CC4-5D6E-409C-BE32-E72D297353CC}">
                <c16:uniqueId val="{0000000B-FA3E-4872-B6E1-C4ABDF5766E2}"/>
              </c:ext>
            </c:extLst>
          </c:dPt>
          <c:dPt>
            <c:idx val="5"/>
            <c:invertIfNegative val="1"/>
            <c:bubble3D val="0"/>
            <c:spPr>
              <a:solidFill>
                <a:srgbClr val="AEABAB"/>
              </a:solidFill>
            </c:spPr>
            <c:extLst>
              <c:ext xmlns:c16="http://schemas.microsoft.com/office/drawing/2014/chart" uri="{C3380CC4-5D6E-409C-BE32-E72D297353CC}">
                <c16:uniqueId val="{0000000D-FA3E-4872-B6E1-C4ABDF5766E2}"/>
              </c:ext>
            </c:extLst>
          </c:dPt>
          <c:dPt>
            <c:idx val="6"/>
            <c:invertIfNegative val="1"/>
            <c:bubble3D val="0"/>
            <c:spPr>
              <a:solidFill>
                <a:srgbClr val="AEABAB"/>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8</c:f>
              <c:strCache>
                <c:ptCount val="7"/>
                <c:pt idx="0">
                  <c:v>Boursin Classique Fromage Frais A Tartiner Afh Boite 1X150Gr 1P</c:v>
                </c:pt>
                <c:pt idx="1">
                  <c:v>Boursin Classique Fromage Frais A Tartiner Afh 1X160Gr 10P</c:v>
                </c:pt>
                <c:pt idx="2">
                  <c:v>Boursin Salade &amp; Aperitif Fromage Frais Des Afh 1X120Gr 1P</c:v>
                </c:pt>
                <c:pt idx="3">
                  <c:v>Boursin Classique Fromage Frais A Tartiner Ciboulette &amp; Echalote Boite 1X150Gr 1P</c:v>
                </c:pt>
                <c:pt idx="4">
                  <c:v>Boursin Classique Fromage Frais A Tartiner Afh Boite 1X96Gr 6P</c:v>
                </c:pt>
                <c:pt idx="5">
                  <c:v>Boursin Classique Fromage Frais A Tartiner Afh Boite 1X80Gr 1P</c:v>
                </c:pt>
                <c:pt idx="6">
                  <c:v>Boursin Classique Fromage Frais A Tartiner Truffe Boite 1X150Gr 1P</c:v>
                </c:pt>
              </c:strCache>
            </c:strRef>
          </c:cat>
          <c:val>
            <c:numRef>
              <c:f>Sheet1!$C$2:$C$8</c:f>
              <c:numCache>
                <c:formatCode>General</c:formatCode>
                <c:ptCount val="7"/>
                <c:pt idx="0">
                  <c:v>0.48525784555970963</c:v>
                </c:pt>
                <c:pt idx="1">
                  <c:v>0.7417168232746225</c:v>
                </c:pt>
                <c:pt idx="2">
                  <c:v>0.9565104793318583</c:v>
                </c:pt>
                <c:pt idx="3">
                  <c:v>0.9741123674310231</c:v>
                </c:pt>
                <c:pt idx="4">
                  <c:v>0.9901123498236327</c:v>
                </c:pt>
                <c:pt idx="5">
                  <c:v>0.9978386928273362</c:v>
                </c:pt>
                <c:pt idx="6">
                  <c:v>0.9995143294812276</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8</c:f>
              <c:strCache>
                <c:ptCount val="7"/>
                <c:pt idx="0">
                  <c:v>Boursin Classique Fromage Frais A Tartiner Afh Boite 1X150Gr 1P</c:v>
                </c:pt>
                <c:pt idx="1">
                  <c:v>Boursin Classique Fromage Frais A Tartiner Afh 1X160Gr 10P</c:v>
                </c:pt>
                <c:pt idx="2">
                  <c:v>Boursin Salade &amp; Aperitif Fromage Frais Des Afh 1X120Gr 1P</c:v>
                </c:pt>
                <c:pt idx="3">
                  <c:v>Boursin Classique Fromage Frais A Tartiner Ciboulette &amp; Echalote Boite 1X150Gr 1P</c:v>
                </c:pt>
                <c:pt idx="4">
                  <c:v>Boursin Classique Fromage Frais A Tartiner Afh Boite 1X96Gr 6P</c:v>
                </c:pt>
                <c:pt idx="5">
                  <c:v>Boursin Classique Fromage Frais A Tartiner Afh Boite 1X80Gr 1P</c:v>
                </c:pt>
                <c:pt idx="6">
                  <c:v>Boursin Classique Fromage Frais A Tartiner Truffe Boite 1X150Gr 1P</c:v>
                </c:pt>
              </c:strCache>
            </c:strRef>
          </c:cat>
          <c:val>
            <c:numRef>
              <c:f>Sheet1!$D$2:$D$8</c:f>
              <c:numCache>
                <c:formatCode>General</c:formatCode>
                <c:ptCount val="7"/>
                <c:pt idx="0">
                  <c:v>15938.253012048193</c:v>
                </c:pt>
                <c:pt idx="1">
                  <c:v>13191.32075471698</c:v>
                </c:pt>
                <c:pt idx="2">
                  <c:v>7412.088607594937</c:v>
                </c:pt>
                <c:pt idx="3">
                  <c:v>5998.125</c:v>
                </c:pt>
                <c:pt idx="4">
                  <c:v>3634.8333333333335</c:v>
                </c:pt>
                <c:pt idx="5">
                  <c:v>1914.8181818181818</c:v>
                </c:pt>
                <c:pt idx="6">
                  <c:v>456.8</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12</c:f>
              <c:strCache>
                <c:ptCount val="11"/>
                <c:pt idx="0">
                  <c:v>Kiri Creme Fromage Blanc Frais Carre 1X216Gr 12P</c:v>
                </c:pt>
                <c:pt idx="1">
                  <c:v>Kiri Creme Fromage Blanc Frais Carre 1X432Gr 24P</c:v>
                </c:pt>
                <c:pt idx="2">
                  <c:v>Kiri Gouter Fromage Blanc Dips Boite 1X280Gr 8P</c:v>
                </c:pt>
                <c:pt idx="3">
                  <c:v>Kiri Creme Fromage Blanc Frais Carre 1X144Gr 8P</c:v>
                </c:pt>
                <c:pt idx="4">
                  <c:v>Kiri Gouter Fromage Blanc Dips Boite 1X175Gr 5P</c:v>
                </c:pt>
                <c:pt idx="5">
                  <c:v>Kiri Delicieusement Fouette Fromage Frais A Tartiner 1X125Gr 1P</c:v>
                </c:pt>
                <c:pt idx="6">
                  <c:v>Kiri Bio Fromage Blanc Frais Carre 1X144Gr 8P</c:v>
                </c:pt>
                <c:pt idx="7">
                  <c:v>Kiri Chevre Fromage Blanc Frais Carre 1X144Gr 8P</c:v>
                </c:pt>
                <c:pt idx="8">
                  <c:v>Kiri Delicieusement Fouette Fromage Frais A Tartiner 1X160Gr 10P</c:v>
                </c:pt>
                <c:pt idx="9">
                  <c:v>Kiri Creme Fromage Blanc Frais Carre 1X432Gr 18+6P</c:v>
                </c:pt>
                <c:pt idx="10">
                  <c:v>Kiri Delicieusement Fouette Fromage Frais A Tartiner 1X210Gr 1P</c:v>
                </c:pt>
              </c:strCache>
            </c:strRef>
          </c:cat>
          <c:val>
            <c:numRef>
              <c:f>Sheet1!$B$2:$B$12</c:f>
              <c:numCache>
                <c:formatCode>General</c:formatCode>
                <c:ptCount val="11"/>
                <c:pt idx="0">
                  <c:v>0.99</c:v>
                </c:pt>
                <c:pt idx="1">
                  <c:v>0.89</c:v>
                </c:pt>
                <c:pt idx="2">
                  <c:v>0.96</c:v>
                </c:pt>
                <c:pt idx="3">
                  <c:v>0.99</c:v>
                </c:pt>
                <c:pt idx="4">
                  <c:v>0.99</c:v>
                </c:pt>
                <c:pt idx="5">
                  <c:v>0.87</c:v>
                </c:pt>
                <c:pt idx="6">
                  <c:v>0.6</c:v>
                </c:pt>
                <c:pt idx="7">
                  <c:v>0.68</c:v>
                </c:pt>
                <c:pt idx="8">
                  <c:v>0.94</c:v>
                </c:pt>
                <c:pt idx="9">
                  <c:v>0.83</c:v>
                </c:pt>
                <c:pt idx="10">
                  <c:v>0.38</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7ECAC4"/>
              </a:solidFill>
            </c:spPr>
            <c:extLst>
              <c:ext xmlns:c16="http://schemas.microsoft.com/office/drawing/2014/chart" uri="{C3380CC4-5D6E-409C-BE32-E72D297353CC}">
                <c16:uniqueId val="{0000000B-FA3E-4872-B6E1-C4ABDF5766E2}"/>
              </c:ext>
            </c:extLst>
          </c:dPt>
          <c:dPt>
            <c:idx val="5"/>
            <c:invertIfNegative val="1"/>
            <c:bubble3D val="0"/>
            <c:spPr>
              <a:solidFill>
                <a:srgbClr val="7ECAC4"/>
              </a:solidFill>
            </c:spPr>
            <c:extLst>
              <c:ext xmlns:c16="http://schemas.microsoft.com/office/drawing/2014/chart" uri="{C3380CC4-5D6E-409C-BE32-E72D297353CC}">
                <c16:uniqueId val="{0000000D-FA3E-4872-B6E1-C4ABDF5766E2}"/>
              </c:ext>
            </c:extLst>
          </c:dPt>
          <c:dPt>
            <c:idx val="6"/>
            <c:invertIfNegative val="1"/>
            <c:bubble3D val="0"/>
            <c:spPr>
              <a:solidFill>
                <a:srgbClr val="7ECAC4"/>
              </a:solidFill>
            </c:spPr>
            <c:extLst>
              <c:ext xmlns:c16="http://schemas.microsoft.com/office/drawing/2014/chart" uri="{C3380CC4-5D6E-409C-BE32-E72D297353CC}">
                <c16:uniqueId val="{0000000F-FA3E-4872-B6E1-C4ABDF5766E2}"/>
              </c:ext>
            </c:extLst>
          </c:dPt>
          <c:dPt>
            <c:idx val="7"/>
            <c:invertIfNegative val="1"/>
            <c:bubble3D val="0"/>
            <c:spPr>
              <a:solidFill>
                <a:srgbClr val="AEABAB"/>
              </a:solidFill>
            </c:spPr>
            <c:extLst>
              <c:ext xmlns:c16="http://schemas.microsoft.com/office/drawing/2014/chart" uri="{C3380CC4-5D6E-409C-BE32-E72D297353CC}">
                <c16:uniqueId val="{00000011-FA3E-4872-B6E1-C4ABDF5766E2}"/>
              </c:ext>
            </c:extLst>
          </c:dPt>
          <c:dPt>
            <c:idx val="8"/>
            <c:invertIfNegative val="1"/>
            <c:bubble3D val="0"/>
            <c:spPr>
              <a:solidFill>
                <a:srgbClr val="AEABAB"/>
              </a:solidFill>
            </c:spPr>
            <c:extLst>
              <c:ext xmlns:c16="http://schemas.microsoft.com/office/drawing/2014/chart" uri="{C3380CC4-5D6E-409C-BE32-E72D297353CC}">
                <c16:uniqueId val="{00000013-FA3E-4872-B6E1-C4ABDF5766E2}"/>
              </c:ext>
            </c:extLst>
          </c:dPt>
          <c:dPt>
            <c:idx val="9"/>
            <c:invertIfNegative val="1"/>
            <c:bubble3D val="0"/>
            <c:spPr>
              <a:solidFill>
                <a:srgbClr val="AEABAB"/>
              </a:solidFill>
            </c:spPr>
            <c:extLst>
              <c:ext xmlns:c16="http://schemas.microsoft.com/office/drawing/2014/chart" uri="{C3380CC4-5D6E-409C-BE32-E72D297353CC}">
                <c16:uniqueId val="{00000015-FA3E-4872-B6E1-C4ABDF5766E2}"/>
              </c:ext>
            </c:extLst>
          </c:dPt>
          <c:dPt>
            <c:idx val="10"/>
            <c:invertIfNegative val="1"/>
            <c:bubble3D val="0"/>
            <c:spPr>
              <a:solidFill>
                <a:srgbClr val="AEABAB"/>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12</c:f>
              <c:strCache>
                <c:ptCount val="11"/>
                <c:pt idx="0">
                  <c:v>Kiri Creme Fromage Blanc Frais Carre 1X216Gr 12P</c:v>
                </c:pt>
                <c:pt idx="1">
                  <c:v>Kiri Creme Fromage Blanc Frais Carre 1X432Gr 24P</c:v>
                </c:pt>
                <c:pt idx="2">
                  <c:v>Kiri Gouter Fromage Blanc Dips Boite 1X280Gr 8P</c:v>
                </c:pt>
                <c:pt idx="3">
                  <c:v>Kiri Creme Fromage Blanc Frais Carre 1X144Gr 8P</c:v>
                </c:pt>
                <c:pt idx="4">
                  <c:v>Kiri Gouter Fromage Blanc Dips Boite 1X175Gr 5P</c:v>
                </c:pt>
                <c:pt idx="5">
                  <c:v>Kiri Delicieusement Fouette Fromage Frais A Tartiner 1X125Gr 1P</c:v>
                </c:pt>
                <c:pt idx="6">
                  <c:v>Kiri Bio Fromage Blanc Frais Carre 1X144Gr 8P</c:v>
                </c:pt>
                <c:pt idx="7">
                  <c:v>Kiri Chevre Fromage Blanc Frais Carre 1X144Gr 8P</c:v>
                </c:pt>
                <c:pt idx="8">
                  <c:v>Kiri Delicieusement Fouette Fromage Frais A Tartiner 1X160Gr 10P</c:v>
                </c:pt>
                <c:pt idx="9">
                  <c:v>Kiri Creme Fromage Blanc Frais Carre 1X432Gr 18+6P</c:v>
                </c:pt>
                <c:pt idx="10">
                  <c:v>Kiri Delicieusement Fouette Fromage Frais A Tartiner 1X210Gr 1P</c:v>
                </c:pt>
              </c:strCache>
            </c:strRef>
          </c:cat>
          <c:val>
            <c:numRef>
              <c:f>Sheet1!$C$2:$C$12</c:f>
              <c:numCache>
                <c:formatCode>General</c:formatCode>
                <c:ptCount val="11"/>
                <c:pt idx="0">
                  <c:v>0.2579199746917641</c:v>
                </c:pt>
                <c:pt idx="1">
                  <c:v>0.4814800024691721</c:v>
                </c:pt>
                <c:pt idx="2">
                  <c:v>0.6350182942146254</c:v>
                </c:pt>
                <c:pt idx="3">
                  <c:v>0.7784304114199678</c:v>
                </c:pt>
                <c:pt idx="4">
                  <c:v>0.8908174430975313</c:v>
                </c:pt>
                <c:pt idx="5">
                  <c:v>0.9209943539872731</c:v>
                </c:pt>
                <c:pt idx="6">
                  <c:v>0.9453199029674514</c:v>
                </c:pt>
                <c:pt idx="7">
                  <c:v>0.9674474839704257</c:v>
                </c:pt>
                <c:pt idx="8">
                  <c:v>0.9832712031399276</c:v>
                </c:pt>
                <c:pt idx="9">
                  <c:v>0.9988979801440262</c:v>
                </c:pt>
                <c:pt idx="10">
                  <c:v>1.0</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12</c:f>
              <c:strCache>
                <c:ptCount val="11"/>
                <c:pt idx="0">
                  <c:v>Kiri Creme Fromage Blanc Frais Carre 1X216Gr 12P</c:v>
                </c:pt>
                <c:pt idx="1">
                  <c:v>Kiri Creme Fromage Blanc Frais Carre 1X432Gr 24P</c:v>
                </c:pt>
                <c:pt idx="2">
                  <c:v>Kiri Gouter Fromage Blanc Dips Boite 1X280Gr 8P</c:v>
                </c:pt>
                <c:pt idx="3">
                  <c:v>Kiri Creme Fromage Blanc Frais Carre 1X144Gr 8P</c:v>
                </c:pt>
                <c:pt idx="4">
                  <c:v>Kiri Gouter Fromage Blanc Dips Boite 1X175Gr 5P</c:v>
                </c:pt>
                <c:pt idx="5">
                  <c:v>Kiri Delicieusement Fouette Fromage Frais A Tartiner 1X125Gr 1P</c:v>
                </c:pt>
                <c:pt idx="6">
                  <c:v>Kiri Bio Fromage Blanc Frais Carre 1X144Gr 8P</c:v>
                </c:pt>
                <c:pt idx="7">
                  <c:v>Kiri Chevre Fromage Blanc Frais Carre 1X144Gr 8P</c:v>
                </c:pt>
                <c:pt idx="8">
                  <c:v>Kiri Delicieusement Fouette Fromage Frais A Tartiner 1X160Gr 10P</c:v>
                </c:pt>
                <c:pt idx="9">
                  <c:v>Kiri Creme Fromage Blanc Frais Carre 1X432Gr 18+6P</c:v>
                </c:pt>
                <c:pt idx="10">
                  <c:v>Kiri Delicieusement Fouette Fromage Frais A Tartiner 1X210Gr 1P</c:v>
                </c:pt>
              </c:strCache>
            </c:strRef>
          </c:cat>
          <c:val>
            <c:numRef>
              <c:f>Sheet1!$D$2:$D$12</c:f>
              <c:numCache>
                <c:formatCode>General</c:formatCode>
                <c:ptCount val="11"/>
                <c:pt idx="0">
                  <c:v>33468.14141414141</c:v>
                </c:pt>
                <c:pt idx="1">
                  <c:v>32269.03370786517</c:v>
                </c:pt>
                <c:pt idx="2">
                  <c:v>20546.0</c:v>
                </c:pt>
                <c:pt idx="3">
                  <c:v>18609.40404040404</c:v>
                </c:pt>
                <c:pt idx="4">
                  <c:v>14583.535353535353</c:v>
                </c:pt>
                <c:pt idx="5">
                  <c:v>4455.919540229885</c:v>
                </c:pt>
                <c:pt idx="6">
                  <c:v>5208.266666666666</c:v>
                </c:pt>
                <c:pt idx="7">
                  <c:v>4180.294117647059</c:v>
                </c:pt>
                <c:pt idx="8">
                  <c:v>2162.531914893617</c:v>
                </c:pt>
                <c:pt idx="9">
                  <c:v>2418.6506024096384</c:v>
                </c:pt>
                <c:pt idx="10">
                  <c:v>372.55263157894734</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10</c:f>
              <c:strCache>
                <c:ptCount val="9"/>
                <c:pt idx="0">
                  <c:v>La Vache Qui Rit Nature Fromage Fondu Boite Ronde 1X512Gr 32P</c:v>
                </c:pt>
                <c:pt idx="1">
                  <c:v>La Vache Qui Rit Nature Fromage Fondu Boite Ronde 1X192Gr 12P</c:v>
                </c:pt>
                <c:pt idx="2">
                  <c:v>La Vache Qui Rit Nature Fromage Fondu Boite Ronde 1X384Gr 24P</c:v>
                </c:pt>
                <c:pt idx="3">
                  <c:v>La Vache Qui Rit Pik Et Croq' Fromage Fondu Dips Boite 1X175Gr 5P</c:v>
                </c:pt>
                <c:pt idx="4">
                  <c:v>La Vache Qui Rit Pik Et Croq' Fromage Fondu Dips Boite 1X280Gr 8P</c:v>
                </c:pt>
                <c:pt idx="5">
                  <c:v>La Vache Qui Rit Allegee Fromage Fondu Boite Ronde Allege 1X267Gr 16P</c:v>
                </c:pt>
                <c:pt idx="6">
                  <c:v>La Vache Qui Rit Aro Fromage Fondu Boite Ronde Jambon 1X133Gr 8P</c:v>
                </c:pt>
                <c:pt idx="7">
                  <c:v>La Vache Qui Rit Nature Fromage Fondu Boite Ronde 1X512Gr 24+8P</c:v>
                </c:pt>
                <c:pt idx="8">
                  <c:v>La Vache Qui Rit Nature Fromage Fondu Boite Ronde 1X128Gr 8P</c:v>
                </c:pt>
              </c:strCache>
            </c:strRef>
          </c:cat>
          <c:val>
            <c:numRef>
              <c:f>Sheet1!$B$2:$B$10</c:f>
              <c:numCache>
                <c:formatCode>General</c:formatCode>
                <c:ptCount val="9"/>
                <c:pt idx="0">
                  <c:v>0.98</c:v>
                </c:pt>
                <c:pt idx="1">
                  <c:v>1.0</c:v>
                </c:pt>
                <c:pt idx="2">
                  <c:v>0.97</c:v>
                </c:pt>
                <c:pt idx="3">
                  <c:v>0.97</c:v>
                </c:pt>
                <c:pt idx="4">
                  <c:v>0.89</c:v>
                </c:pt>
                <c:pt idx="5">
                  <c:v>0.87</c:v>
                </c:pt>
                <c:pt idx="6">
                  <c:v>0.69</c:v>
                </c:pt>
                <c:pt idx="7">
                  <c:v>0.25</c:v>
                </c:pt>
                <c:pt idx="8">
                  <c:v>0.12</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7ECAC4"/>
              </a:solidFill>
            </c:spPr>
            <c:extLst>
              <c:ext xmlns:c16="http://schemas.microsoft.com/office/drawing/2014/chart" uri="{C3380CC4-5D6E-409C-BE32-E72D297353CC}">
                <c16:uniqueId val="{00000006-E902-46E2-9A54-39A26B3DFDC1}"/>
              </c:ext>
            </c:extLst>
          </c:dPt>
          <c:dPt>
            <c:idx val="3"/>
            <c:invertIfNegative val="0"/>
            <c:bubble3D val="0"/>
            <c:spPr>
              <a:solidFill>
                <a:srgbClr val="7ECAC4"/>
              </a:solidFill>
            </c:spPr>
            <c:extLst>
              <c:ext xmlns:c16="http://schemas.microsoft.com/office/drawing/2014/chart" uri="{C3380CC4-5D6E-409C-BE32-E72D297353CC}">
                <c16:uniqueId val="{00000007-E902-46E2-9A54-39A26B3DFDC1}"/>
              </c:ext>
            </c:extLst>
          </c:dPt>
          <c:dPt>
            <c:idx val="4"/>
            <c:invertIfNegative val="1"/>
            <c:bubble3D val="0"/>
            <c:spPr>
              <a:solidFill>
                <a:srgbClr val="7ECAC4"/>
              </a:solidFill>
            </c:spPr>
            <c:extLst>
              <c:ext xmlns:c16="http://schemas.microsoft.com/office/drawing/2014/chart" uri="{C3380CC4-5D6E-409C-BE32-E72D297353CC}">
                <c16:uniqueId val="{0000000B-FA3E-4872-B6E1-C4ABDF5766E2}"/>
              </c:ext>
            </c:extLst>
          </c:dPt>
          <c:dPt>
            <c:idx val="5"/>
            <c:invertIfNegative val="1"/>
            <c:bubble3D val="0"/>
            <c:spPr>
              <a:solidFill>
                <a:srgbClr val="AEABAB"/>
              </a:solidFill>
            </c:spPr>
            <c:extLst>
              <c:ext xmlns:c16="http://schemas.microsoft.com/office/drawing/2014/chart" uri="{C3380CC4-5D6E-409C-BE32-E72D297353CC}">
                <c16:uniqueId val="{0000000D-FA3E-4872-B6E1-C4ABDF5766E2}"/>
              </c:ext>
            </c:extLst>
          </c:dPt>
          <c:dPt>
            <c:idx val="6"/>
            <c:invertIfNegative val="1"/>
            <c:bubble3D val="0"/>
            <c:spPr>
              <a:solidFill>
                <a:srgbClr val="AEABAB"/>
              </a:solidFill>
            </c:spPr>
            <c:extLst>
              <c:ext xmlns:c16="http://schemas.microsoft.com/office/drawing/2014/chart" uri="{C3380CC4-5D6E-409C-BE32-E72D297353CC}">
                <c16:uniqueId val="{0000000F-FA3E-4872-B6E1-C4ABDF5766E2}"/>
              </c:ext>
            </c:extLst>
          </c:dPt>
          <c:dPt>
            <c:idx val="7"/>
            <c:invertIfNegative val="1"/>
            <c:bubble3D val="0"/>
            <c:spPr>
              <a:solidFill>
                <a:srgbClr val="AEABAB"/>
              </a:solidFill>
            </c:spPr>
            <c:extLst>
              <c:ext xmlns:c16="http://schemas.microsoft.com/office/drawing/2014/chart" uri="{C3380CC4-5D6E-409C-BE32-E72D297353CC}">
                <c16:uniqueId val="{00000011-FA3E-4872-B6E1-C4ABDF5766E2}"/>
              </c:ext>
            </c:extLst>
          </c:dPt>
          <c:dPt>
            <c:idx val="8"/>
            <c:invertIfNegative val="1"/>
            <c:bubble3D val="0"/>
            <c:spPr>
              <a:solidFill>
                <a:srgbClr val="AEABAB"/>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10</c:f>
              <c:strCache>
                <c:ptCount val="9"/>
                <c:pt idx="0">
                  <c:v>La Vache Qui Rit Nature Fromage Fondu Boite Ronde 1X512Gr 32P</c:v>
                </c:pt>
                <c:pt idx="1">
                  <c:v>La Vache Qui Rit Nature Fromage Fondu Boite Ronde 1X192Gr 12P</c:v>
                </c:pt>
                <c:pt idx="2">
                  <c:v>La Vache Qui Rit Nature Fromage Fondu Boite Ronde 1X384Gr 24P</c:v>
                </c:pt>
                <c:pt idx="3">
                  <c:v>La Vache Qui Rit Pik Et Croq' Fromage Fondu Dips Boite 1X175Gr 5P</c:v>
                </c:pt>
                <c:pt idx="4">
                  <c:v>La Vache Qui Rit Pik Et Croq' Fromage Fondu Dips Boite 1X280Gr 8P</c:v>
                </c:pt>
                <c:pt idx="5">
                  <c:v>La Vache Qui Rit Allegee Fromage Fondu Boite Ronde Allege 1X267Gr 16P</c:v>
                </c:pt>
                <c:pt idx="6">
                  <c:v>La Vache Qui Rit Aro Fromage Fondu Boite Ronde Jambon 1X133Gr 8P</c:v>
                </c:pt>
                <c:pt idx="7">
                  <c:v>La Vache Qui Rit Nature Fromage Fondu Boite Ronde 1X512Gr 24+8P</c:v>
                </c:pt>
                <c:pt idx="8">
                  <c:v>La Vache Qui Rit Nature Fromage Fondu Boite Ronde 1X128Gr 8P</c:v>
                </c:pt>
              </c:strCache>
            </c:strRef>
          </c:cat>
          <c:val>
            <c:numRef>
              <c:f>Sheet1!$C$2:$C$10</c:f>
              <c:numCache>
                <c:formatCode>General</c:formatCode>
                <c:ptCount val="9"/>
                <c:pt idx="0">
                  <c:v>0.3394243822411808</c:v>
                </c:pt>
                <c:pt idx="1">
                  <c:v>0.6051663761450767</c:v>
                </c:pt>
                <c:pt idx="2">
                  <c:v>0.8248494269362447</c:v>
                </c:pt>
                <c:pt idx="3">
                  <c:v>0.8824820918494953</c:v>
                </c:pt>
                <c:pt idx="4">
                  <c:v>0.9390781075450088</c:v>
                </c:pt>
                <c:pt idx="5">
                  <c:v>0.9779220637995404</c:v>
                </c:pt>
                <c:pt idx="6">
                  <c:v>0.9984902869977114</c:v>
                </c:pt>
                <c:pt idx="7">
                  <c:v>0.9999463335940239</c:v>
                </c:pt>
                <c:pt idx="8">
                  <c:v>0.9999999999999999</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10</c:f>
              <c:strCache>
                <c:ptCount val="9"/>
                <c:pt idx="0">
                  <c:v>La Vache Qui Rit Nature Fromage Fondu Boite Ronde 1X512Gr 32P</c:v>
                </c:pt>
                <c:pt idx="1">
                  <c:v>La Vache Qui Rit Nature Fromage Fondu Boite Ronde 1X192Gr 12P</c:v>
                </c:pt>
                <c:pt idx="2">
                  <c:v>La Vache Qui Rit Nature Fromage Fondu Boite Ronde 1X384Gr 24P</c:v>
                </c:pt>
                <c:pt idx="3">
                  <c:v>La Vache Qui Rit Pik Et Croq' Fromage Fondu Dips Boite 1X175Gr 5P</c:v>
                </c:pt>
                <c:pt idx="4">
                  <c:v>La Vache Qui Rit Pik Et Croq' Fromage Fondu Dips Boite 1X280Gr 8P</c:v>
                </c:pt>
                <c:pt idx="5">
                  <c:v>La Vache Qui Rit Allegee Fromage Fondu Boite Ronde Allege 1X267Gr 16P</c:v>
                </c:pt>
                <c:pt idx="6">
                  <c:v>La Vache Qui Rit Aro Fromage Fondu Boite Ronde Jambon 1X133Gr 8P</c:v>
                </c:pt>
                <c:pt idx="7">
                  <c:v>La Vache Qui Rit Nature Fromage Fondu Boite Ronde 1X512Gr 24+8P</c:v>
                </c:pt>
                <c:pt idx="8">
                  <c:v>La Vache Qui Rit Nature Fromage Fondu Boite Ronde 1X128Gr 8P</c:v>
                </c:pt>
              </c:strCache>
            </c:strRef>
          </c:cat>
          <c:val>
            <c:numRef>
              <c:f>Sheet1!$D$2:$D$10</c:f>
              <c:numCache>
                <c:formatCode>General</c:formatCode>
                <c:ptCount val="9"/>
                <c:pt idx="0">
                  <c:v>58923.051020408166</c:v>
                </c:pt>
                <c:pt idx="1">
                  <c:v>45209.37</c:v>
                </c:pt>
                <c:pt idx="2">
                  <c:v>38529.47422680412</c:v>
                </c:pt>
                <c:pt idx="3">
                  <c:v>10108.0</c:v>
                </c:pt>
                <c:pt idx="4">
                  <c:v>10818.426966292134</c:v>
                </c:pt>
                <c:pt idx="5">
                  <c:v>7595.781609195402</c:v>
                </c:pt>
                <c:pt idx="6">
                  <c:v>5071.260869565217</c:v>
                </c:pt>
                <c:pt idx="7">
                  <c:v>990.84</c:v>
                </c:pt>
                <c:pt idx="8">
                  <c:v>76.08333333333333</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Apericube</c:v>
                </c:pt>
                <c:pt idx="1">
                  <c:v>Aperivrais</c:v>
                </c:pt>
                <c:pt idx="2">
                  <c:v>Boursin</c:v>
                </c:pt>
                <c:pt idx="3">
                  <c:v>Private Label</c:v>
                </c:pt>
                <c:pt idx="4">
                  <c:v>St Moret</c:v>
                </c:pt>
                <c:pt idx="5">
                  <c:v>Others</c:v>
                </c:pt>
              </c:strCache>
            </c:strRef>
          </c:cat>
          <c:val>
            <c:numRef>
              <c:f>Sheet1!$B$2:$B$7</c:f>
              <c:numCache>
                <c:formatCode>General</c:formatCode>
                <c:ptCount val="6"/>
                <c:pt idx="0">
                  <c:v>0.42203639426724576</c:v>
                </c:pt>
                <c:pt idx="1">
                  <c:v>0.2657507363088375</c:v>
                </c:pt>
                <c:pt idx="2">
                  <c:v>0.17692433493240298</c:v>
                </c:pt>
                <c:pt idx="3">
                  <c:v>0.08939842223802041</c:v>
                </c:pt>
                <c:pt idx="4">
                  <c:v>0.02140354951639594</c:v>
                </c:pt>
                <c:pt idx="5">
                  <c:v>0.02448656273709742</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Apericube</c:v>
                </c:pt>
                <c:pt idx="1">
                  <c:v>Aperivrais</c:v>
                </c:pt>
                <c:pt idx="2">
                  <c:v>Boursin</c:v>
                </c:pt>
                <c:pt idx="3">
                  <c:v>Private Label</c:v>
                </c:pt>
                <c:pt idx="4">
                  <c:v>St Moret</c:v>
                </c:pt>
                <c:pt idx="5">
                  <c:v>Others</c:v>
                </c:pt>
              </c:strCache>
            </c:strRef>
          </c:cat>
          <c:val>
            <c:numRef>
              <c:f>Sheet1!$C$2:$C$7</c:f>
              <c:numCache>
                <c:formatCode>General</c:formatCode>
                <c:ptCount val="6"/>
                <c:pt idx="0">
                  <c:v>0.46700507614213194</c:v>
                </c:pt>
                <c:pt idx="1">
                  <c:v>0.2470389170896785</c:v>
                </c:pt>
                <c:pt idx="2">
                  <c:v>0.12351945854483927</c:v>
                </c:pt>
                <c:pt idx="3">
                  <c:v>0.06260575296108291</c:v>
                </c:pt>
                <c:pt idx="4">
                  <c:v>0.04060913705583756</c:v>
                </c:pt>
                <c:pt idx="5">
                  <c:v>0.05922165820642977</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Apericube</c:v>
                </c:pt>
                <c:pt idx="1">
                  <c:v>Aperivrais</c:v>
                </c:pt>
                <c:pt idx="2">
                  <c:v>Boursin</c:v>
                </c:pt>
                <c:pt idx="3">
                  <c:v>Private Label</c:v>
                </c:pt>
                <c:pt idx="4">
                  <c:v>St Moret</c:v>
                </c:pt>
                <c:pt idx="5">
                  <c:v>Others</c:v>
                </c:pt>
              </c:strCache>
            </c:strRef>
          </c:cat>
          <c:val>
            <c:numRef>
              <c:f>Sheet1!$D$2:$D$7</c:f>
              <c:numCache>
                <c:formatCode>General</c:formatCode>
                <c:ptCount val="6"/>
                <c:pt idx="0">
                  <c:v>110.65516682582846</c:v>
                </c:pt>
                <c:pt idx="1">
                  <c:v>92.958883396126</c:v>
                </c:pt>
                <c:pt idx="2">
                  <c:v>69.81484971642371</c:v>
                </c:pt>
                <c:pt idx="3">
                  <c:v>70.03004235846257</c:v>
                </c:pt>
                <c:pt idx="4">
                  <c:v>189.73085293506762</c:v>
                </c:pt>
                <c:pt idx="5">
                  <c:v>241.8537009145358</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19</c:f>
              <c:strCache>
                <c:ptCount val="18"/>
                <c:pt idx="0">
                  <c:v>Boursin Classique Fromage Frais A Tartiner Afh Boite 1X250Gr 1P</c:v>
                </c:pt>
                <c:pt idx="1">
                  <c:v>Boursin Classique Fromage Frais A Tartiner Afh 1X160Gr 10P</c:v>
                </c:pt>
                <c:pt idx="2">
                  <c:v>Boursin Classique Fromage Frais A Tartiner Afh Boite 1X150Gr 1P</c:v>
                </c:pt>
                <c:pt idx="3">
                  <c:v>Boursin Onctueux Fromage Frais A Tartiner Afh 1X125Gr 1P</c:v>
                </c:pt>
                <c:pt idx="4">
                  <c:v>Boursin Salade &amp; Aperitif Fromage Frais Des Afh 1X120Gr 1P</c:v>
                </c:pt>
                <c:pt idx="5">
                  <c:v>Boursin Classique Fromage Frais A Tartiner Afh Boite 1X96Gr 6P</c:v>
                </c:pt>
                <c:pt idx="6">
                  <c:v>Boursin Classique Fromage Frais A Tartiner Figue Et 3 Noix Boite 1X150Gr 1P</c:v>
                </c:pt>
                <c:pt idx="7">
                  <c:v>Boursin Classique Fromage Frais A Tartiner Ciboulette &amp; Echalote Boite 1X150Gr 1P</c:v>
                </c:pt>
                <c:pt idx="8">
                  <c:v>Boursin Classique Fromage Frais A Tartiner Afh 1X256Gr 16P</c:v>
                </c:pt>
                <c:pt idx="9">
                  <c:v>Boursin Classique Fromage Frais A Tartiner Poivre Boite 1X150Gr 1P</c:v>
                </c:pt>
                <c:pt idx="10">
                  <c:v>Boursin Classique Fromage Frais A Tartiner Ciboulette &amp; Echalote 1X160Gr 10P</c:v>
                </c:pt>
                <c:pt idx="11">
                  <c:v>Boursin Salade &amp; Aperitif Fromage Frais Des Ciboulette Echalote 1X120Gr 1P</c:v>
                </c:pt>
                <c:pt idx="12">
                  <c:v>Boursin Salade &amp; Aperitif Fromage Frais Des Figue Noix 1X120Gr 1P</c:v>
                </c:pt>
                <c:pt idx="13">
                  <c:v>Boursin Salade &amp; Aperitif Fromage Frais Des Citron Romarin 1X120Gr 1P</c:v>
                </c:pt>
                <c:pt idx="14">
                  <c:v>Boursin Salade &amp; Aperitif Fromage Frais Des Noisette Et 3 Noix 1X120Gr 1P</c:v>
                </c:pt>
                <c:pt idx="15">
                  <c:v>Boursin Classique Fromage Frais A Tartiner Afh Boite 1X80Gr 1P</c:v>
                </c:pt>
                <c:pt idx="16">
                  <c:v>Boursin Salade &amp; Aperitif Soft Cheese Salade 120G</c:v>
                </c:pt>
                <c:pt idx="17">
                  <c:v>Boursin Classique Fromage Frais A Tartiner Truffe Boite 1X150Gr 1P</c:v>
                </c:pt>
              </c:strCache>
            </c:strRef>
          </c:cat>
          <c:val>
            <c:numRef>
              <c:f>Sheet1!$B$2:$B$19</c:f>
              <c:numCache>
                <c:formatCode>General</c:formatCode>
                <c:ptCount val="18"/>
                <c:pt idx="0">
                  <c:v>0.99</c:v>
                </c:pt>
                <c:pt idx="1">
                  <c:v>0.99</c:v>
                </c:pt>
                <c:pt idx="2">
                  <c:v>1.0</c:v>
                </c:pt>
                <c:pt idx="3">
                  <c:v>0.97</c:v>
                </c:pt>
                <c:pt idx="4">
                  <c:v>0.98</c:v>
                </c:pt>
                <c:pt idx="5">
                  <c:v>0.96</c:v>
                </c:pt>
                <c:pt idx="6">
                  <c:v>0.99</c:v>
                </c:pt>
                <c:pt idx="7">
                  <c:v>0.99</c:v>
                </c:pt>
                <c:pt idx="8">
                  <c:v>0.87</c:v>
                </c:pt>
                <c:pt idx="9">
                  <c:v>0.96</c:v>
                </c:pt>
                <c:pt idx="10">
                  <c:v>0.83</c:v>
                </c:pt>
                <c:pt idx="11">
                  <c:v>0.86</c:v>
                </c:pt>
                <c:pt idx="12">
                  <c:v>0.88</c:v>
                </c:pt>
                <c:pt idx="13">
                  <c:v>0.67</c:v>
                </c:pt>
                <c:pt idx="14">
                  <c:v>0.83</c:v>
                </c:pt>
                <c:pt idx="15">
                  <c:v>0.29</c:v>
                </c:pt>
                <c:pt idx="16">
                  <c:v>0.4</c:v>
                </c:pt>
                <c:pt idx="17">
                  <c:v>0.7</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7ECAC4"/>
              </a:solidFill>
            </c:spPr>
            <c:extLst>
              <c:ext xmlns:c16="http://schemas.microsoft.com/office/drawing/2014/chart" uri="{C3380CC4-5D6E-409C-BE32-E72D297353CC}">
                <c16:uniqueId val="{00000011-FA3E-4872-B6E1-C4ABDF5766E2}"/>
              </c:ext>
            </c:extLst>
          </c:dPt>
          <c:dPt>
            <c:idx val="8"/>
            <c:invertIfNegative val="1"/>
            <c:bubble3D val="0"/>
            <c:spPr>
              <a:solidFill>
                <a:srgbClr val="7ECAC4"/>
              </a:solidFill>
            </c:spPr>
            <c:extLst>
              <c:ext xmlns:c16="http://schemas.microsoft.com/office/drawing/2014/chart" uri="{C3380CC4-5D6E-409C-BE32-E72D297353CC}">
                <c16:uniqueId val="{00000013-FA3E-4872-B6E1-C4ABDF5766E2}"/>
              </c:ext>
            </c:extLst>
          </c:dPt>
          <c:dPt>
            <c:idx val="9"/>
            <c:invertIfNegative val="1"/>
            <c:bubble3D val="0"/>
            <c:spPr>
              <a:solidFill>
                <a:srgbClr val="7ECAC4"/>
              </a:solidFill>
            </c:spPr>
            <c:extLst>
              <c:ext xmlns:c16="http://schemas.microsoft.com/office/drawing/2014/chart" uri="{C3380CC4-5D6E-409C-BE32-E72D297353CC}">
                <c16:uniqueId val="{00000015-FA3E-4872-B6E1-C4ABDF5766E2}"/>
              </c:ext>
            </c:extLst>
          </c:dPt>
          <c:dPt>
            <c:idx val="10"/>
            <c:invertIfNegative val="1"/>
            <c:bubble3D val="0"/>
            <c:spPr>
              <a:solidFill>
                <a:srgbClr val="7ECAC4"/>
              </a:solidFill>
            </c:spPr>
            <c:extLst>
              <c:ext xmlns:c16="http://schemas.microsoft.com/office/drawing/2014/chart" uri="{C3380CC4-5D6E-409C-BE32-E72D297353CC}">
                <c16:uniqueId val="{00000017-FA3E-4872-B6E1-C4ABDF5766E2}"/>
              </c:ext>
            </c:extLst>
          </c:dPt>
          <c:dPt>
            <c:idx val="11"/>
            <c:invertIfNegative val="1"/>
            <c:bubble3D val="0"/>
            <c:spPr>
              <a:solidFill>
                <a:srgbClr val="AEABAB"/>
              </a:solidFill>
            </c:spPr>
            <c:extLst>
              <c:ext xmlns:c16="http://schemas.microsoft.com/office/drawing/2014/chart" uri="{C3380CC4-5D6E-409C-BE32-E72D297353CC}">
                <c16:uniqueId val="{00000019-FA3E-4872-B6E1-C4ABDF5766E2}"/>
              </c:ext>
            </c:extLst>
          </c:dPt>
          <c:dPt>
            <c:idx val="12"/>
            <c:invertIfNegative val="1"/>
            <c:bubble3D val="0"/>
            <c:spPr>
              <a:solidFill>
                <a:srgbClr val="AEABAB"/>
              </a:solidFill>
            </c:spPr>
            <c:extLst>
              <c:ext xmlns:c16="http://schemas.microsoft.com/office/drawing/2014/chart" uri="{C3380CC4-5D6E-409C-BE32-E72D297353CC}">
                <c16:uniqueId val="{0000001B-FA3E-4872-B6E1-C4ABDF5766E2}"/>
              </c:ext>
            </c:extLst>
          </c:dPt>
          <c:dPt>
            <c:idx val="13"/>
            <c:invertIfNegative val="1"/>
            <c:bubble3D val="0"/>
            <c:spPr>
              <a:solidFill>
                <a:srgbClr val="AEABAB"/>
              </a:solidFill>
            </c:spPr>
            <c:extLst>
              <c:ext xmlns:c16="http://schemas.microsoft.com/office/drawing/2014/chart" uri="{C3380CC4-5D6E-409C-BE32-E72D297353CC}">
                <c16:uniqueId val="{0000001D-FA3E-4872-B6E1-C4ABDF5766E2}"/>
              </c:ext>
            </c:extLst>
          </c:dPt>
          <c:dPt>
            <c:idx val="14"/>
            <c:invertIfNegative val="1"/>
            <c:bubble3D val="0"/>
            <c:spPr>
              <a:solidFill>
                <a:srgbClr val="AEABAB"/>
              </a:solidFill>
            </c:spPr>
            <c:extLst>
              <c:ext xmlns:c16="http://schemas.microsoft.com/office/drawing/2014/chart" uri="{C3380CC4-5D6E-409C-BE32-E72D297353CC}">
                <c16:uniqueId val="{0000001F-FA3E-4872-B6E1-C4ABDF5766E2}"/>
              </c:ext>
            </c:extLst>
          </c:dPt>
          <c:dPt>
            <c:idx val="15"/>
            <c:invertIfNegative val="1"/>
            <c:bubble3D val="0"/>
            <c:spPr>
              <a:solidFill>
                <a:srgbClr val="AEABAB"/>
              </a:solidFill>
            </c:spPr>
            <c:extLst>
              <c:ext xmlns:c16="http://schemas.microsoft.com/office/drawing/2014/chart" uri="{C3380CC4-5D6E-409C-BE32-E72D297353CC}">
                <c16:uniqueId val="{00000021-FA3E-4872-B6E1-C4ABDF5766E2}"/>
              </c:ext>
            </c:extLst>
          </c:dPt>
          <c:dPt>
            <c:idx val="16"/>
            <c:invertIfNegative val="1"/>
            <c:bubble3D val="0"/>
            <c:spPr>
              <a:solidFill>
                <a:srgbClr val="AEABAB"/>
              </a:solidFill>
            </c:spPr>
            <c:extLst>
              <c:ext xmlns:c16="http://schemas.microsoft.com/office/drawing/2014/chart" uri="{C3380CC4-5D6E-409C-BE32-E72D297353CC}">
                <c16:uniqueId val="{00000023-FA3E-4872-B6E1-C4ABDF5766E2}"/>
              </c:ext>
            </c:extLst>
          </c:dPt>
          <c:dPt>
            <c:idx val="17"/>
            <c:invertIfNegative val="1"/>
            <c:bubble3D val="0"/>
            <c:spPr>
              <a:solidFill>
                <a:srgbClr val="AEABAB"/>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19</c:f>
              <c:strCache>
                <c:ptCount val="18"/>
                <c:pt idx="0">
                  <c:v>Boursin Classique Fromage Frais A Tartiner Afh Boite 1X250Gr 1P</c:v>
                </c:pt>
                <c:pt idx="1">
                  <c:v>Boursin Classique Fromage Frais A Tartiner Afh 1X160Gr 10P</c:v>
                </c:pt>
                <c:pt idx="2">
                  <c:v>Boursin Classique Fromage Frais A Tartiner Afh Boite 1X150Gr 1P</c:v>
                </c:pt>
                <c:pt idx="3">
                  <c:v>Boursin Onctueux Fromage Frais A Tartiner Afh 1X125Gr 1P</c:v>
                </c:pt>
                <c:pt idx="4">
                  <c:v>Boursin Salade &amp; Aperitif Fromage Frais Des Afh 1X120Gr 1P</c:v>
                </c:pt>
                <c:pt idx="5">
                  <c:v>Boursin Classique Fromage Frais A Tartiner Afh Boite 1X96Gr 6P</c:v>
                </c:pt>
                <c:pt idx="6">
                  <c:v>Boursin Classique Fromage Frais A Tartiner Figue Et 3 Noix Boite 1X150Gr 1P</c:v>
                </c:pt>
                <c:pt idx="7">
                  <c:v>Boursin Classique Fromage Frais A Tartiner Ciboulette &amp; Echalote Boite 1X150Gr 1P</c:v>
                </c:pt>
                <c:pt idx="8">
                  <c:v>Boursin Classique Fromage Frais A Tartiner Afh 1X256Gr 16P</c:v>
                </c:pt>
                <c:pt idx="9">
                  <c:v>Boursin Classique Fromage Frais A Tartiner Poivre Boite 1X150Gr 1P</c:v>
                </c:pt>
                <c:pt idx="10">
                  <c:v>Boursin Classique Fromage Frais A Tartiner Ciboulette &amp; Echalote 1X160Gr 10P</c:v>
                </c:pt>
                <c:pt idx="11">
                  <c:v>Boursin Salade &amp; Aperitif Fromage Frais Des Ciboulette Echalote 1X120Gr 1P</c:v>
                </c:pt>
                <c:pt idx="12">
                  <c:v>Boursin Salade &amp; Aperitif Fromage Frais Des Figue Noix 1X120Gr 1P</c:v>
                </c:pt>
                <c:pt idx="13">
                  <c:v>Boursin Salade &amp; Aperitif Fromage Frais Des Citron Romarin 1X120Gr 1P</c:v>
                </c:pt>
                <c:pt idx="14">
                  <c:v>Boursin Salade &amp; Aperitif Fromage Frais Des Noisette Et 3 Noix 1X120Gr 1P</c:v>
                </c:pt>
                <c:pt idx="15">
                  <c:v>Boursin Classique Fromage Frais A Tartiner Afh Boite 1X80Gr 1P</c:v>
                </c:pt>
                <c:pt idx="16">
                  <c:v>Boursin Salade &amp; Aperitif Soft Cheese Salade 120G</c:v>
                </c:pt>
                <c:pt idx="17">
                  <c:v>Boursin Classique Fromage Frais A Tartiner Truffe Boite 1X150Gr 1P</c:v>
                </c:pt>
              </c:strCache>
            </c:strRef>
          </c:cat>
          <c:val>
            <c:numRef>
              <c:f>Sheet1!$C$2:$C$19</c:f>
              <c:numCache>
                <c:formatCode>General</c:formatCode>
                <c:ptCount val="18"/>
                <c:pt idx="0">
                  <c:v>0.17727800072045125</c:v>
                </c:pt>
                <c:pt idx="1">
                  <c:v>0.34762583677412484</c:v>
                </c:pt>
                <c:pt idx="2">
                  <c:v>0.500376940647369</c:v>
                </c:pt>
                <c:pt idx="3">
                  <c:v>0.5737648968308331</c:v>
                </c:pt>
                <c:pt idx="4">
                  <c:v>0.6436976206005398</c:v>
                </c:pt>
                <c:pt idx="5">
                  <c:v>0.7112165597360529</c:v>
                </c:pt>
                <c:pt idx="6">
                  <c:v>0.7737800085690038</c:v>
                </c:pt>
                <c:pt idx="7">
                  <c:v>0.8264941347353024</c:v>
                </c:pt>
                <c:pt idx="8">
                  <c:v>0.8723922870779971</c:v>
                </c:pt>
                <c:pt idx="9">
                  <c:v>0.9154856428253698</c:v>
                </c:pt>
                <c:pt idx="10">
                  <c:v>0.9463246751829101</c:v>
                </c:pt>
                <c:pt idx="11">
                  <c:v>0.9643427792499121</c:v>
                </c:pt>
                <c:pt idx="12">
                  <c:v>0.9764522960290583</c:v>
                </c:pt>
                <c:pt idx="13">
                  <c:v>0.9833330831766444</c:v>
                </c:pt>
                <c:pt idx="14">
                  <c:v>0.9892345068865863</c:v>
                </c:pt>
                <c:pt idx="15">
                  <c:v>0.9942218068863135</c:v>
                </c:pt>
                <c:pt idx="16">
                  <c:v>0.9972252222073645</c:v>
                </c:pt>
                <c:pt idx="17">
                  <c:v>1.0</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19</c:f>
              <c:strCache>
                <c:ptCount val="18"/>
                <c:pt idx="0">
                  <c:v>Boursin Classique Fromage Frais A Tartiner Afh Boite 1X250Gr 1P</c:v>
                </c:pt>
                <c:pt idx="1">
                  <c:v>Boursin Classique Fromage Frais A Tartiner Afh 1X160Gr 10P</c:v>
                </c:pt>
                <c:pt idx="2">
                  <c:v>Boursin Classique Fromage Frais A Tartiner Afh Boite 1X150Gr 1P</c:v>
                </c:pt>
                <c:pt idx="3">
                  <c:v>Boursin Onctueux Fromage Frais A Tartiner Afh 1X125Gr 1P</c:v>
                </c:pt>
                <c:pt idx="4">
                  <c:v>Boursin Salade &amp; Aperitif Fromage Frais Des Afh 1X120Gr 1P</c:v>
                </c:pt>
                <c:pt idx="5">
                  <c:v>Boursin Classique Fromage Frais A Tartiner Afh Boite 1X96Gr 6P</c:v>
                </c:pt>
                <c:pt idx="6">
                  <c:v>Boursin Classique Fromage Frais A Tartiner Figue Et 3 Noix Boite 1X150Gr 1P</c:v>
                </c:pt>
                <c:pt idx="7">
                  <c:v>Boursin Classique Fromage Frais A Tartiner Ciboulette &amp; Echalote Boite 1X150Gr 1P</c:v>
                </c:pt>
                <c:pt idx="8">
                  <c:v>Boursin Classique Fromage Frais A Tartiner Afh 1X256Gr 16P</c:v>
                </c:pt>
                <c:pt idx="9">
                  <c:v>Boursin Classique Fromage Frais A Tartiner Poivre Boite 1X150Gr 1P</c:v>
                </c:pt>
                <c:pt idx="10">
                  <c:v>Boursin Classique Fromage Frais A Tartiner Ciboulette &amp; Echalote 1X160Gr 10P</c:v>
                </c:pt>
                <c:pt idx="11">
                  <c:v>Boursin Salade &amp; Aperitif Fromage Frais Des Ciboulette Echalote 1X120Gr 1P</c:v>
                </c:pt>
                <c:pt idx="12">
                  <c:v>Boursin Salade &amp; Aperitif Fromage Frais Des Figue Noix 1X120Gr 1P</c:v>
                </c:pt>
                <c:pt idx="13">
                  <c:v>Boursin Salade &amp; Aperitif Fromage Frais Des Citron Romarin 1X120Gr 1P</c:v>
                </c:pt>
                <c:pt idx="14">
                  <c:v>Boursin Salade &amp; Aperitif Fromage Frais Des Noisette Et 3 Noix 1X120Gr 1P</c:v>
                </c:pt>
                <c:pt idx="15">
                  <c:v>Boursin Classique Fromage Frais A Tartiner Afh Boite 1X80Gr 1P</c:v>
                </c:pt>
                <c:pt idx="16">
                  <c:v>Boursin Salade &amp; Aperitif Soft Cheese Salade 120G</c:v>
                </c:pt>
                <c:pt idx="17">
                  <c:v>Boursin Classique Fromage Frais A Tartiner Truffe Boite 1X150Gr 1P</c:v>
                </c:pt>
              </c:strCache>
            </c:strRef>
          </c:cat>
          <c:val>
            <c:numRef>
              <c:f>Sheet1!$D$2:$D$19</c:f>
              <c:numCache>
                <c:formatCode>General</c:formatCode>
                <c:ptCount val="18"/>
                <c:pt idx="0">
                  <c:v>20997.565656565657</c:v>
                </c:pt>
                <c:pt idx="1">
                  <c:v>20176.727272727272</c:v>
                </c:pt>
                <c:pt idx="2">
                  <c:v>17911.57</c:v>
                </c:pt>
                <c:pt idx="3">
                  <c:v>8871.60824742268</c:v>
                </c:pt>
                <c:pt idx="4">
                  <c:v>8367.65306122449</c:v>
                </c:pt>
                <c:pt idx="5">
                  <c:v>8247.145833333334</c:v>
                </c:pt>
                <c:pt idx="6">
                  <c:v>7410.282828282829</c:v>
                </c:pt>
                <c:pt idx="7">
                  <c:v>6243.686868686868</c:v>
                </c:pt>
                <c:pt idx="8">
                  <c:v>6186.218390804598</c:v>
                </c:pt>
                <c:pt idx="9">
                  <c:v>5263.666666666667</c:v>
                </c:pt>
                <c:pt idx="10">
                  <c:v>4356.843373493976</c:v>
                </c:pt>
                <c:pt idx="11">
                  <c:v>2456.7441860465115</c:v>
                </c:pt>
                <c:pt idx="12">
                  <c:v>1613.590909090909</c:v>
                </c:pt>
                <c:pt idx="13">
                  <c:v>1204.2388059701493</c:v>
                </c:pt>
                <c:pt idx="14">
                  <c:v>833.7349397590361</c:v>
                </c:pt>
                <c:pt idx="15">
                  <c:v>2016.586206896552</c:v>
                </c:pt>
                <c:pt idx="16">
                  <c:v>880.45</c:v>
                </c:pt>
                <c:pt idx="17">
                  <c:v>464.8142857142857</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12</c:f>
              <c:strCache>
                <c:ptCount val="11"/>
                <c:pt idx="0">
                  <c:v>Kiri Creme Fromage Blanc Frais Carre 1X432Gr 24P</c:v>
                </c:pt>
                <c:pt idx="1">
                  <c:v>Kiri Creme Fromage Blanc Frais Carre 1X216Gr 12P</c:v>
                </c:pt>
                <c:pt idx="2">
                  <c:v>Kiri Gouter Fromage Blanc Dips Boite 1X280Gr 8P</c:v>
                </c:pt>
                <c:pt idx="3">
                  <c:v>Kiri Creme Fromage Blanc Frais Carre 1X144Gr 8P</c:v>
                </c:pt>
                <c:pt idx="4">
                  <c:v>Kiri Gouter Fromage Blanc Dips Boite 1X175Gr 5P</c:v>
                </c:pt>
                <c:pt idx="5">
                  <c:v>Kiri Delicieusement Fouette Fromage Frais A Tartiner 1X125Gr 1P</c:v>
                </c:pt>
                <c:pt idx="6">
                  <c:v>Kiri Bio Fromage Blanc Frais Carre 1X144Gr 8P</c:v>
                </c:pt>
                <c:pt idx="7">
                  <c:v>Kiri Chevre Fromage Blanc Frais Carre 1X144Gr 8P</c:v>
                </c:pt>
                <c:pt idx="8">
                  <c:v>Kiri Delicieusement Fouette Fromage Frais A Tartiner 1X160Gr 10P</c:v>
                </c:pt>
                <c:pt idx="9">
                  <c:v>Kiri Creme Fromage Blanc Frais Carre 1X432Gr 18+6P</c:v>
                </c:pt>
                <c:pt idx="10">
                  <c:v>Kiri Delicieusement Fouette Fromage Frais A Tartiner 1X210Gr 1P</c:v>
                </c:pt>
              </c:strCache>
            </c:strRef>
          </c:cat>
          <c:val>
            <c:numRef>
              <c:f>Sheet1!$B$2:$B$12</c:f>
              <c:numCache>
                <c:formatCode>General</c:formatCode>
                <c:ptCount val="11"/>
                <c:pt idx="0">
                  <c:v>0.99</c:v>
                </c:pt>
                <c:pt idx="1">
                  <c:v>1.0</c:v>
                </c:pt>
                <c:pt idx="2">
                  <c:v>0.99</c:v>
                </c:pt>
                <c:pt idx="3">
                  <c:v>1.0</c:v>
                </c:pt>
                <c:pt idx="4">
                  <c:v>1.0</c:v>
                </c:pt>
                <c:pt idx="5">
                  <c:v>0.99</c:v>
                </c:pt>
                <c:pt idx="6">
                  <c:v>0.87</c:v>
                </c:pt>
                <c:pt idx="7">
                  <c:v>0.88</c:v>
                </c:pt>
                <c:pt idx="8">
                  <c:v>0.98</c:v>
                </c:pt>
                <c:pt idx="9">
                  <c:v>0.94</c:v>
                </c:pt>
                <c:pt idx="10">
                  <c:v>0.64</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7ECAC4"/>
              </a:solidFill>
            </c:spPr>
            <c:extLst>
              <c:ext xmlns:c16="http://schemas.microsoft.com/office/drawing/2014/chart" uri="{C3380CC4-5D6E-409C-BE32-E72D297353CC}">
                <c16:uniqueId val="{0000000B-FA3E-4872-B6E1-C4ABDF5766E2}"/>
              </c:ext>
            </c:extLst>
          </c:dPt>
          <c:dPt>
            <c:idx val="5"/>
            <c:invertIfNegative val="1"/>
            <c:bubble3D val="0"/>
            <c:spPr>
              <a:solidFill>
                <a:srgbClr val="7ECAC4"/>
              </a:solidFill>
            </c:spPr>
            <c:extLst>
              <c:ext xmlns:c16="http://schemas.microsoft.com/office/drawing/2014/chart" uri="{C3380CC4-5D6E-409C-BE32-E72D297353CC}">
                <c16:uniqueId val="{0000000D-FA3E-4872-B6E1-C4ABDF5766E2}"/>
              </c:ext>
            </c:extLst>
          </c:dPt>
          <c:dPt>
            <c:idx val="6"/>
            <c:invertIfNegative val="1"/>
            <c:bubble3D val="0"/>
            <c:spPr>
              <a:solidFill>
                <a:srgbClr val="7ECAC4"/>
              </a:solidFill>
            </c:spPr>
            <c:extLst>
              <c:ext xmlns:c16="http://schemas.microsoft.com/office/drawing/2014/chart" uri="{C3380CC4-5D6E-409C-BE32-E72D297353CC}">
                <c16:uniqueId val="{0000000F-FA3E-4872-B6E1-C4ABDF5766E2}"/>
              </c:ext>
            </c:extLst>
          </c:dPt>
          <c:dPt>
            <c:idx val="7"/>
            <c:invertIfNegative val="1"/>
            <c:bubble3D val="0"/>
            <c:spPr>
              <a:solidFill>
                <a:srgbClr val="AEABAB"/>
              </a:solidFill>
            </c:spPr>
            <c:extLst>
              <c:ext xmlns:c16="http://schemas.microsoft.com/office/drawing/2014/chart" uri="{C3380CC4-5D6E-409C-BE32-E72D297353CC}">
                <c16:uniqueId val="{00000011-FA3E-4872-B6E1-C4ABDF5766E2}"/>
              </c:ext>
            </c:extLst>
          </c:dPt>
          <c:dPt>
            <c:idx val="8"/>
            <c:invertIfNegative val="1"/>
            <c:bubble3D val="0"/>
            <c:spPr>
              <a:solidFill>
                <a:srgbClr val="AEABAB"/>
              </a:solidFill>
            </c:spPr>
            <c:extLst>
              <c:ext xmlns:c16="http://schemas.microsoft.com/office/drawing/2014/chart" uri="{C3380CC4-5D6E-409C-BE32-E72D297353CC}">
                <c16:uniqueId val="{00000013-FA3E-4872-B6E1-C4ABDF5766E2}"/>
              </c:ext>
            </c:extLst>
          </c:dPt>
          <c:dPt>
            <c:idx val="9"/>
            <c:invertIfNegative val="1"/>
            <c:bubble3D val="0"/>
            <c:spPr>
              <a:solidFill>
                <a:srgbClr val="AEABAB"/>
              </a:solidFill>
            </c:spPr>
            <c:extLst>
              <c:ext xmlns:c16="http://schemas.microsoft.com/office/drawing/2014/chart" uri="{C3380CC4-5D6E-409C-BE32-E72D297353CC}">
                <c16:uniqueId val="{00000015-FA3E-4872-B6E1-C4ABDF5766E2}"/>
              </c:ext>
            </c:extLst>
          </c:dPt>
          <c:dPt>
            <c:idx val="10"/>
            <c:invertIfNegative val="1"/>
            <c:bubble3D val="0"/>
            <c:spPr>
              <a:solidFill>
                <a:srgbClr val="AEABAB"/>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12</c:f>
              <c:strCache>
                <c:ptCount val="11"/>
                <c:pt idx="0">
                  <c:v>Kiri Creme Fromage Blanc Frais Carre 1X432Gr 24P</c:v>
                </c:pt>
                <c:pt idx="1">
                  <c:v>Kiri Creme Fromage Blanc Frais Carre 1X216Gr 12P</c:v>
                </c:pt>
                <c:pt idx="2">
                  <c:v>Kiri Gouter Fromage Blanc Dips Boite 1X280Gr 8P</c:v>
                </c:pt>
                <c:pt idx="3">
                  <c:v>Kiri Creme Fromage Blanc Frais Carre 1X144Gr 8P</c:v>
                </c:pt>
                <c:pt idx="4">
                  <c:v>Kiri Gouter Fromage Blanc Dips Boite 1X175Gr 5P</c:v>
                </c:pt>
                <c:pt idx="5">
                  <c:v>Kiri Delicieusement Fouette Fromage Frais A Tartiner 1X125Gr 1P</c:v>
                </c:pt>
                <c:pt idx="6">
                  <c:v>Kiri Bio Fromage Blanc Frais Carre 1X144Gr 8P</c:v>
                </c:pt>
                <c:pt idx="7">
                  <c:v>Kiri Chevre Fromage Blanc Frais Carre 1X144Gr 8P</c:v>
                </c:pt>
                <c:pt idx="8">
                  <c:v>Kiri Delicieusement Fouette Fromage Frais A Tartiner 1X160Gr 10P</c:v>
                </c:pt>
                <c:pt idx="9">
                  <c:v>Kiri Creme Fromage Blanc Frais Carre 1X432Gr 18+6P</c:v>
                </c:pt>
                <c:pt idx="10">
                  <c:v>Kiri Delicieusement Fouette Fromage Frais A Tartiner 1X210Gr 1P</c:v>
                </c:pt>
              </c:strCache>
            </c:strRef>
          </c:cat>
          <c:val>
            <c:numRef>
              <c:f>Sheet1!$C$2:$C$12</c:f>
              <c:numCache>
                <c:formatCode>General</c:formatCode>
                <c:ptCount val="11"/>
                <c:pt idx="0">
                  <c:v>0.248952434547167</c:v>
                </c:pt>
                <c:pt idx="1">
                  <c:v>0.4950245906196769</c:v>
                </c:pt>
                <c:pt idx="2">
                  <c:v>0.651864556989751</c:v>
                </c:pt>
                <c:pt idx="3">
                  <c:v>0.7746601204005263</c:v>
                </c:pt>
                <c:pt idx="4">
                  <c:v>0.8820395808727269</c:v>
                </c:pt>
                <c:pt idx="5">
                  <c:v>0.9142529556762294</c:v>
                </c:pt>
                <c:pt idx="6">
                  <c:v>0.9398422796911304</c:v>
                </c:pt>
                <c:pt idx="7">
                  <c:v>0.9626250381200939</c:v>
                </c:pt>
                <c:pt idx="8">
                  <c:v>0.9822217148903405</c:v>
                </c:pt>
                <c:pt idx="9">
                  <c:v>0.9984309685115388</c:v>
                </c:pt>
                <c:pt idx="10">
                  <c:v>1.0</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12</c:f>
              <c:strCache>
                <c:ptCount val="11"/>
                <c:pt idx="0">
                  <c:v>Kiri Creme Fromage Blanc Frais Carre 1X432Gr 24P</c:v>
                </c:pt>
                <c:pt idx="1">
                  <c:v>Kiri Creme Fromage Blanc Frais Carre 1X216Gr 12P</c:v>
                </c:pt>
                <c:pt idx="2">
                  <c:v>Kiri Gouter Fromage Blanc Dips Boite 1X280Gr 8P</c:v>
                </c:pt>
                <c:pt idx="3">
                  <c:v>Kiri Creme Fromage Blanc Frais Carre 1X144Gr 8P</c:v>
                </c:pt>
                <c:pt idx="4">
                  <c:v>Kiri Gouter Fromage Blanc Dips Boite 1X175Gr 5P</c:v>
                </c:pt>
                <c:pt idx="5">
                  <c:v>Kiri Delicieusement Fouette Fromage Frais A Tartiner 1X125Gr 1P</c:v>
                </c:pt>
                <c:pt idx="6">
                  <c:v>Kiri Bio Fromage Blanc Frais Carre 1X144Gr 8P</c:v>
                </c:pt>
                <c:pt idx="7">
                  <c:v>Kiri Chevre Fromage Blanc Frais Carre 1X144Gr 8P</c:v>
                </c:pt>
                <c:pt idx="8">
                  <c:v>Kiri Delicieusement Fouette Fromage Frais A Tartiner 1X160Gr 10P</c:v>
                </c:pt>
                <c:pt idx="9">
                  <c:v>Kiri Creme Fromage Blanc Frais Carre 1X432Gr 18+6P</c:v>
                </c:pt>
                <c:pt idx="10">
                  <c:v>Kiri Delicieusement Fouette Fromage Frais A Tartiner 1X210Gr 1P</c:v>
                </c:pt>
              </c:strCache>
            </c:strRef>
          </c:cat>
          <c:val>
            <c:numRef>
              <c:f>Sheet1!$D$2:$D$12</c:f>
              <c:numCache>
                <c:formatCode>General</c:formatCode>
                <c:ptCount val="11"/>
                <c:pt idx="0">
                  <c:v>5970.020202020202</c:v>
                </c:pt>
                <c:pt idx="1">
                  <c:v>5841.94</c:v>
                </c:pt>
                <c:pt idx="2">
                  <c:v>3761.1111111111113</c:v>
                </c:pt>
                <c:pt idx="3">
                  <c:v>2915.26</c:v>
                </c:pt>
                <c:pt idx="4">
                  <c:v>2549.27</c:v>
                </c:pt>
                <c:pt idx="5">
                  <c:v>772.4949494949495</c:v>
                </c:pt>
                <c:pt idx="6">
                  <c:v>698.2873563218391</c:v>
                </c:pt>
                <c:pt idx="7">
                  <c:v>614.6363636363636</c:v>
                </c:pt>
                <c:pt idx="8">
                  <c:v>474.734693877551</c:v>
                </c:pt>
                <c:pt idx="9">
                  <c:v>409.3829787234043</c:v>
                </c:pt>
                <c:pt idx="10">
                  <c:v>58.203125</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10</c:f>
              <c:strCache>
                <c:ptCount val="9"/>
                <c:pt idx="0">
                  <c:v>La Vache Qui Rit Nature Fromage Fondu Boite Ronde 1X512Gr 32P</c:v>
                </c:pt>
                <c:pt idx="1">
                  <c:v>La Vache Qui Rit Nature Fromage Fondu Boite Ronde 1X192Gr 12P</c:v>
                </c:pt>
                <c:pt idx="2">
                  <c:v>La Vache Qui Rit Nature Fromage Fondu Boite Ronde 1X384Gr 24P</c:v>
                </c:pt>
                <c:pt idx="3">
                  <c:v>La Vache Qui Rit Pik Et Croq' Fromage Fondu Dips Boite 1X280Gr 8P</c:v>
                </c:pt>
                <c:pt idx="4">
                  <c:v>La Vache Qui Rit Pik Et Croq' Fromage Fondu Dips Boite 1X175Gr 5P</c:v>
                </c:pt>
                <c:pt idx="5">
                  <c:v>La Vache Qui Rit Allegee Fromage Fondu Boite Ronde Allege 1X267Gr 16P</c:v>
                </c:pt>
                <c:pt idx="6">
                  <c:v>La Vache Qui Rit Aro Fromage Fondu Boite Ronde Jambon 1X133Gr 8P</c:v>
                </c:pt>
                <c:pt idx="7">
                  <c:v>La Vache Qui Rit Nature Fromage Fondu Boite Ronde 1X512Gr 24+8P</c:v>
                </c:pt>
                <c:pt idx="8">
                  <c:v>La Vache Qui Rit Nature Fromage Fondu Boite Ronde 1X128Gr 8P</c:v>
                </c:pt>
              </c:strCache>
            </c:strRef>
          </c:cat>
          <c:val>
            <c:numRef>
              <c:f>Sheet1!$B$2:$B$10</c:f>
              <c:numCache>
                <c:formatCode>General</c:formatCode>
                <c:ptCount val="9"/>
                <c:pt idx="0">
                  <c:v>0.99</c:v>
                </c:pt>
                <c:pt idx="1">
                  <c:v>1.0</c:v>
                </c:pt>
                <c:pt idx="2">
                  <c:v>1.0</c:v>
                </c:pt>
                <c:pt idx="3">
                  <c:v>0.98</c:v>
                </c:pt>
                <c:pt idx="4">
                  <c:v>0.99</c:v>
                </c:pt>
                <c:pt idx="5">
                  <c:v>0.97</c:v>
                </c:pt>
                <c:pt idx="6">
                  <c:v>0.92</c:v>
                </c:pt>
                <c:pt idx="7">
                  <c:v>0.32</c:v>
                </c:pt>
                <c:pt idx="8">
                  <c:v>0.13</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7ECAC4"/>
              </a:solidFill>
            </c:spPr>
            <c:extLst>
              <c:ext xmlns:c16="http://schemas.microsoft.com/office/drawing/2014/chart" uri="{C3380CC4-5D6E-409C-BE32-E72D297353CC}">
                <c16:uniqueId val="{00000006-E902-46E2-9A54-39A26B3DFDC1}"/>
              </c:ext>
            </c:extLst>
          </c:dPt>
          <c:dPt>
            <c:idx val="3"/>
            <c:invertIfNegative val="0"/>
            <c:bubble3D val="0"/>
            <c:spPr>
              <a:solidFill>
                <a:srgbClr val="7ECAC4"/>
              </a:solidFill>
            </c:spPr>
            <c:extLst>
              <c:ext xmlns:c16="http://schemas.microsoft.com/office/drawing/2014/chart" uri="{C3380CC4-5D6E-409C-BE32-E72D297353CC}">
                <c16:uniqueId val="{00000007-E902-46E2-9A54-39A26B3DFDC1}"/>
              </c:ext>
            </c:extLst>
          </c:dPt>
          <c:dPt>
            <c:idx val="4"/>
            <c:invertIfNegative val="1"/>
            <c:bubble3D val="0"/>
            <c:spPr>
              <a:solidFill>
                <a:srgbClr val="7ECAC4"/>
              </a:solidFill>
            </c:spPr>
            <c:extLst>
              <c:ext xmlns:c16="http://schemas.microsoft.com/office/drawing/2014/chart" uri="{C3380CC4-5D6E-409C-BE32-E72D297353CC}">
                <c16:uniqueId val="{0000000B-FA3E-4872-B6E1-C4ABDF5766E2}"/>
              </c:ext>
            </c:extLst>
          </c:dPt>
          <c:dPt>
            <c:idx val="5"/>
            <c:invertIfNegative val="1"/>
            <c:bubble3D val="0"/>
            <c:spPr>
              <a:solidFill>
                <a:srgbClr val="AEABAB"/>
              </a:solidFill>
            </c:spPr>
            <c:extLst>
              <c:ext xmlns:c16="http://schemas.microsoft.com/office/drawing/2014/chart" uri="{C3380CC4-5D6E-409C-BE32-E72D297353CC}">
                <c16:uniqueId val="{0000000D-FA3E-4872-B6E1-C4ABDF5766E2}"/>
              </c:ext>
            </c:extLst>
          </c:dPt>
          <c:dPt>
            <c:idx val="6"/>
            <c:invertIfNegative val="1"/>
            <c:bubble3D val="0"/>
            <c:spPr>
              <a:solidFill>
                <a:srgbClr val="AEABAB"/>
              </a:solidFill>
            </c:spPr>
            <c:extLst>
              <c:ext xmlns:c16="http://schemas.microsoft.com/office/drawing/2014/chart" uri="{C3380CC4-5D6E-409C-BE32-E72D297353CC}">
                <c16:uniqueId val="{0000000F-FA3E-4872-B6E1-C4ABDF5766E2}"/>
              </c:ext>
            </c:extLst>
          </c:dPt>
          <c:dPt>
            <c:idx val="7"/>
            <c:invertIfNegative val="1"/>
            <c:bubble3D val="0"/>
            <c:spPr>
              <a:solidFill>
                <a:srgbClr val="AEABAB"/>
              </a:solidFill>
            </c:spPr>
            <c:extLst>
              <c:ext xmlns:c16="http://schemas.microsoft.com/office/drawing/2014/chart" uri="{C3380CC4-5D6E-409C-BE32-E72D297353CC}">
                <c16:uniqueId val="{00000011-FA3E-4872-B6E1-C4ABDF5766E2}"/>
              </c:ext>
            </c:extLst>
          </c:dPt>
          <c:dPt>
            <c:idx val="8"/>
            <c:invertIfNegative val="1"/>
            <c:bubble3D val="0"/>
            <c:spPr>
              <a:solidFill>
                <a:srgbClr val="AEABAB"/>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10</c:f>
              <c:strCache>
                <c:ptCount val="9"/>
                <c:pt idx="0">
                  <c:v>La Vache Qui Rit Nature Fromage Fondu Boite Ronde 1X512Gr 32P</c:v>
                </c:pt>
                <c:pt idx="1">
                  <c:v>La Vache Qui Rit Nature Fromage Fondu Boite Ronde 1X192Gr 12P</c:v>
                </c:pt>
                <c:pt idx="2">
                  <c:v>La Vache Qui Rit Nature Fromage Fondu Boite Ronde 1X384Gr 24P</c:v>
                </c:pt>
                <c:pt idx="3">
                  <c:v>La Vache Qui Rit Pik Et Croq' Fromage Fondu Dips Boite 1X280Gr 8P</c:v>
                </c:pt>
                <c:pt idx="4">
                  <c:v>La Vache Qui Rit Pik Et Croq' Fromage Fondu Dips Boite 1X175Gr 5P</c:v>
                </c:pt>
                <c:pt idx="5">
                  <c:v>La Vache Qui Rit Allegee Fromage Fondu Boite Ronde Allege 1X267Gr 16P</c:v>
                </c:pt>
                <c:pt idx="6">
                  <c:v>La Vache Qui Rit Aro Fromage Fondu Boite Ronde Jambon 1X133Gr 8P</c:v>
                </c:pt>
                <c:pt idx="7">
                  <c:v>La Vache Qui Rit Nature Fromage Fondu Boite Ronde 1X512Gr 24+8P</c:v>
                </c:pt>
                <c:pt idx="8">
                  <c:v>La Vache Qui Rit Nature Fromage Fondu Boite Ronde 1X128Gr 8P</c:v>
                </c:pt>
              </c:strCache>
            </c:strRef>
          </c:cat>
          <c:val>
            <c:numRef>
              <c:f>Sheet1!$C$2:$C$10</c:f>
              <c:numCache>
                <c:formatCode>General</c:formatCode>
                <c:ptCount val="9"/>
                <c:pt idx="0">
                  <c:v>0.35159754212337546</c:v>
                </c:pt>
                <c:pt idx="1">
                  <c:v>0.5909459406971234</c:v>
                </c:pt>
                <c:pt idx="2">
                  <c:v>0.8063379658041311</c:v>
                </c:pt>
                <c:pt idx="3">
                  <c:v>0.8751945560052513</c:v>
                </c:pt>
                <c:pt idx="4">
                  <c:v>0.9395430711028595</c:v>
                </c:pt>
                <c:pt idx="5">
                  <c:v>0.9748050555818814</c:v>
                </c:pt>
                <c:pt idx="6">
                  <c:v>0.9981853350837807</c:v>
                </c:pt>
                <c:pt idx="7">
                  <c:v>0.999948729501511</c:v>
                </c:pt>
                <c:pt idx="8">
                  <c:v>0.999980113261192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10</c:f>
              <c:strCache>
                <c:ptCount val="9"/>
                <c:pt idx="0">
                  <c:v>La Vache Qui Rit Nature Fromage Fondu Boite Ronde 1X512Gr 32P</c:v>
                </c:pt>
                <c:pt idx="1">
                  <c:v>La Vache Qui Rit Nature Fromage Fondu Boite Ronde 1X192Gr 12P</c:v>
                </c:pt>
                <c:pt idx="2">
                  <c:v>La Vache Qui Rit Nature Fromage Fondu Boite Ronde 1X384Gr 24P</c:v>
                </c:pt>
                <c:pt idx="3">
                  <c:v>La Vache Qui Rit Pik Et Croq' Fromage Fondu Dips Boite 1X280Gr 8P</c:v>
                </c:pt>
                <c:pt idx="4">
                  <c:v>La Vache Qui Rit Pik Et Croq' Fromage Fondu Dips Boite 1X175Gr 5P</c:v>
                </c:pt>
                <c:pt idx="5">
                  <c:v>La Vache Qui Rit Allegee Fromage Fondu Boite Ronde Allege 1X267Gr 16P</c:v>
                </c:pt>
                <c:pt idx="6">
                  <c:v>La Vache Qui Rit Aro Fromage Fondu Boite Ronde Jambon 1X133Gr 8P</c:v>
                </c:pt>
                <c:pt idx="7">
                  <c:v>La Vache Qui Rit Nature Fromage Fondu Boite Ronde 1X512Gr 24+8P</c:v>
                </c:pt>
                <c:pt idx="8">
                  <c:v>La Vache Qui Rit Nature Fromage Fondu Boite Ronde 1X128Gr 8P</c:v>
                </c:pt>
              </c:strCache>
            </c:strRef>
          </c:cat>
          <c:val>
            <c:numRef>
              <c:f>Sheet1!$D$2:$D$10</c:f>
              <c:numCache>
                <c:formatCode>General</c:formatCode>
                <c:ptCount val="9"/>
                <c:pt idx="0">
                  <c:v>11429.494949494949</c:v>
                </c:pt>
                <c:pt idx="1">
                  <c:v>7702.77</c:v>
                </c:pt>
                <c:pt idx="2">
                  <c:v>6931.8</c:v>
                </c:pt>
                <c:pt idx="3">
                  <c:v>2261.183673469388</c:v>
                </c:pt>
                <c:pt idx="4">
                  <c:v>2091.7979797979797</c:v>
                </c:pt>
                <c:pt idx="5">
                  <c:v>1169.9072164948454</c:v>
                </c:pt>
                <c:pt idx="6">
                  <c:v>817.8586956521739</c:v>
                </c:pt>
                <c:pt idx="7">
                  <c:v>177.34375</c:v>
                </c:pt>
                <c:pt idx="8">
                  <c:v>7.76923076923076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19</c:f>
              <c:strCache>
                <c:ptCount val="18"/>
                <c:pt idx="0">
                  <c:v>Boursin Classique Fromage Frais A Tartiner Afh Boite 1X250Gr 1P</c:v>
                </c:pt>
                <c:pt idx="1">
                  <c:v>Boursin Classique Fromage Frais A Tartiner Afh 1X160Gr 10P</c:v>
                </c:pt>
                <c:pt idx="2">
                  <c:v>Boursin Classique Fromage Frais A Tartiner Afh Boite 1X150Gr 1P</c:v>
                </c:pt>
                <c:pt idx="3">
                  <c:v>Boursin Salade &amp; Aperitif Fromage Frais Des Afh 1X120Gr 1P</c:v>
                </c:pt>
                <c:pt idx="4">
                  <c:v>Boursin Classique Fromage Frais A Tartiner Afh 1X256Gr 16P</c:v>
                </c:pt>
                <c:pt idx="5">
                  <c:v>Boursin Onctueux Fromage Frais A Tartiner Afh 1X125Gr 1P</c:v>
                </c:pt>
                <c:pt idx="6">
                  <c:v>Boursin Classique Fromage Frais A Tartiner Afh Boite 1X96Gr 6P</c:v>
                </c:pt>
                <c:pt idx="7">
                  <c:v>Boursin Classique Fromage Frais A Tartiner Figue Et 3 Noix Boite 1X150Gr 1P</c:v>
                </c:pt>
                <c:pt idx="8">
                  <c:v>Boursin Classique Fromage Frais A Tartiner Ciboulette &amp; Echalote Boite 1X150Gr 1P</c:v>
                </c:pt>
                <c:pt idx="9">
                  <c:v>Boursin Classique Fromage Frais A Tartiner Poivre Boite 1X150Gr 1P</c:v>
                </c:pt>
                <c:pt idx="10">
                  <c:v>Boursin Classique Fromage Frais A Tartiner Ciboulette &amp; Echalote 1X160Gr 10P</c:v>
                </c:pt>
                <c:pt idx="11">
                  <c:v>Boursin Salade &amp; Aperitif Fromage Frais Des Ciboulette Echalote 1X120Gr 1P</c:v>
                </c:pt>
                <c:pt idx="12">
                  <c:v>Boursin Salade &amp; Aperitif Fromage Frais Des Figue Noix 1X120Gr 1P</c:v>
                </c:pt>
                <c:pt idx="13">
                  <c:v>Boursin Classique Fromage Frais A Tartiner Afh Boite 1X80Gr 1P</c:v>
                </c:pt>
                <c:pt idx="14">
                  <c:v>Boursin Salade &amp; Aperitif Fromage Frais Des Citron Romarin 1X120Gr 1P</c:v>
                </c:pt>
                <c:pt idx="15">
                  <c:v>Boursin Salade &amp; Aperitif Fromage Frais Des Noisette Et 3 Noix 1X120Gr 1P</c:v>
                </c:pt>
                <c:pt idx="16">
                  <c:v>Boursin Classique Fromage Frais A Tartiner Truffe Boite 1X150Gr 1P</c:v>
                </c:pt>
                <c:pt idx="17">
                  <c:v>Boursin Salade &amp; Aperitif Soft Cheese Salade 120G</c:v>
                </c:pt>
              </c:strCache>
            </c:strRef>
          </c:cat>
          <c:val>
            <c:numRef>
              <c:f>Sheet1!$B$2:$B$19</c:f>
              <c:numCache>
                <c:formatCode>General</c:formatCode>
                <c:ptCount val="18"/>
                <c:pt idx="0">
                  <c:v>1.0</c:v>
                </c:pt>
                <c:pt idx="1">
                  <c:v>1.0</c:v>
                </c:pt>
                <c:pt idx="2">
                  <c:v>1.0</c:v>
                </c:pt>
                <c:pt idx="3">
                  <c:v>1.0</c:v>
                </c:pt>
                <c:pt idx="4">
                  <c:v>0.99</c:v>
                </c:pt>
                <c:pt idx="5">
                  <c:v>0.99</c:v>
                </c:pt>
                <c:pt idx="6">
                  <c:v>0.99</c:v>
                </c:pt>
                <c:pt idx="7">
                  <c:v>1.0</c:v>
                </c:pt>
                <c:pt idx="8">
                  <c:v>1.0</c:v>
                </c:pt>
                <c:pt idx="9">
                  <c:v>0.99</c:v>
                </c:pt>
                <c:pt idx="10">
                  <c:v>0.98</c:v>
                </c:pt>
                <c:pt idx="11">
                  <c:v>0.95</c:v>
                </c:pt>
                <c:pt idx="12">
                  <c:v>0.97</c:v>
                </c:pt>
                <c:pt idx="13">
                  <c:v>0.7</c:v>
                </c:pt>
                <c:pt idx="14">
                  <c:v>0.93</c:v>
                </c:pt>
                <c:pt idx="15">
                  <c:v>0.99</c:v>
                </c:pt>
                <c:pt idx="16">
                  <c:v>0.92</c:v>
                </c:pt>
                <c:pt idx="17">
                  <c:v>0.73</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7ECAC4"/>
              </a:solidFill>
            </c:spPr>
            <c:extLst>
              <c:ext xmlns:c16="http://schemas.microsoft.com/office/drawing/2014/chart" uri="{C3380CC4-5D6E-409C-BE32-E72D297353CC}">
                <c16:uniqueId val="{00000011-FA3E-4872-B6E1-C4ABDF5766E2}"/>
              </c:ext>
            </c:extLst>
          </c:dPt>
          <c:dPt>
            <c:idx val="8"/>
            <c:invertIfNegative val="1"/>
            <c:bubble3D val="0"/>
            <c:spPr>
              <a:solidFill>
                <a:srgbClr val="7ECAC4"/>
              </a:solidFill>
            </c:spPr>
            <c:extLst>
              <c:ext xmlns:c16="http://schemas.microsoft.com/office/drawing/2014/chart" uri="{C3380CC4-5D6E-409C-BE32-E72D297353CC}">
                <c16:uniqueId val="{00000013-FA3E-4872-B6E1-C4ABDF5766E2}"/>
              </c:ext>
            </c:extLst>
          </c:dPt>
          <c:dPt>
            <c:idx val="9"/>
            <c:invertIfNegative val="1"/>
            <c:bubble3D val="0"/>
            <c:spPr>
              <a:solidFill>
                <a:srgbClr val="7ECAC4"/>
              </a:solidFill>
            </c:spPr>
            <c:extLst>
              <c:ext xmlns:c16="http://schemas.microsoft.com/office/drawing/2014/chart" uri="{C3380CC4-5D6E-409C-BE32-E72D297353CC}">
                <c16:uniqueId val="{00000015-FA3E-4872-B6E1-C4ABDF5766E2}"/>
              </c:ext>
            </c:extLst>
          </c:dPt>
          <c:dPt>
            <c:idx val="10"/>
            <c:invertIfNegative val="1"/>
            <c:bubble3D val="0"/>
            <c:spPr>
              <a:solidFill>
                <a:srgbClr val="7ECAC4"/>
              </a:solidFill>
            </c:spPr>
            <c:extLst>
              <c:ext xmlns:c16="http://schemas.microsoft.com/office/drawing/2014/chart" uri="{C3380CC4-5D6E-409C-BE32-E72D297353CC}">
                <c16:uniqueId val="{00000017-FA3E-4872-B6E1-C4ABDF5766E2}"/>
              </c:ext>
            </c:extLst>
          </c:dPt>
          <c:dPt>
            <c:idx val="11"/>
            <c:invertIfNegative val="1"/>
            <c:bubble3D val="0"/>
            <c:spPr>
              <a:solidFill>
                <a:srgbClr val="AEABAB"/>
              </a:solidFill>
            </c:spPr>
            <c:extLst>
              <c:ext xmlns:c16="http://schemas.microsoft.com/office/drawing/2014/chart" uri="{C3380CC4-5D6E-409C-BE32-E72D297353CC}">
                <c16:uniqueId val="{00000019-FA3E-4872-B6E1-C4ABDF5766E2}"/>
              </c:ext>
            </c:extLst>
          </c:dPt>
          <c:dPt>
            <c:idx val="12"/>
            <c:invertIfNegative val="1"/>
            <c:bubble3D val="0"/>
            <c:spPr>
              <a:solidFill>
                <a:srgbClr val="AEABAB"/>
              </a:solidFill>
            </c:spPr>
            <c:extLst>
              <c:ext xmlns:c16="http://schemas.microsoft.com/office/drawing/2014/chart" uri="{C3380CC4-5D6E-409C-BE32-E72D297353CC}">
                <c16:uniqueId val="{0000001B-FA3E-4872-B6E1-C4ABDF5766E2}"/>
              </c:ext>
            </c:extLst>
          </c:dPt>
          <c:dPt>
            <c:idx val="13"/>
            <c:invertIfNegative val="1"/>
            <c:bubble3D val="0"/>
            <c:spPr>
              <a:solidFill>
                <a:srgbClr val="AEABAB"/>
              </a:solidFill>
            </c:spPr>
            <c:extLst>
              <c:ext xmlns:c16="http://schemas.microsoft.com/office/drawing/2014/chart" uri="{C3380CC4-5D6E-409C-BE32-E72D297353CC}">
                <c16:uniqueId val="{0000001D-FA3E-4872-B6E1-C4ABDF5766E2}"/>
              </c:ext>
            </c:extLst>
          </c:dPt>
          <c:dPt>
            <c:idx val="14"/>
            <c:invertIfNegative val="1"/>
            <c:bubble3D val="0"/>
            <c:spPr>
              <a:solidFill>
                <a:srgbClr val="AEABAB"/>
              </a:solidFill>
            </c:spPr>
            <c:extLst>
              <c:ext xmlns:c16="http://schemas.microsoft.com/office/drawing/2014/chart" uri="{C3380CC4-5D6E-409C-BE32-E72D297353CC}">
                <c16:uniqueId val="{0000001F-FA3E-4872-B6E1-C4ABDF5766E2}"/>
              </c:ext>
            </c:extLst>
          </c:dPt>
          <c:dPt>
            <c:idx val="15"/>
            <c:invertIfNegative val="1"/>
            <c:bubble3D val="0"/>
            <c:spPr>
              <a:solidFill>
                <a:srgbClr val="AEABAB"/>
              </a:solidFill>
            </c:spPr>
            <c:extLst>
              <c:ext xmlns:c16="http://schemas.microsoft.com/office/drawing/2014/chart" uri="{C3380CC4-5D6E-409C-BE32-E72D297353CC}">
                <c16:uniqueId val="{00000021-FA3E-4872-B6E1-C4ABDF5766E2}"/>
              </c:ext>
            </c:extLst>
          </c:dPt>
          <c:dPt>
            <c:idx val="16"/>
            <c:invertIfNegative val="1"/>
            <c:bubble3D val="0"/>
            <c:spPr>
              <a:solidFill>
                <a:srgbClr val="AEABAB"/>
              </a:solidFill>
            </c:spPr>
            <c:extLst>
              <c:ext xmlns:c16="http://schemas.microsoft.com/office/drawing/2014/chart" uri="{C3380CC4-5D6E-409C-BE32-E72D297353CC}">
                <c16:uniqueId val="{00000023-FA3E-4872-B6E1-C4ABDF5766E2}"/>
              </c:ext>
            </c:extLst>
          </c:dPt>
          <c:dPt>
            <c:idx val="17"/>
            <c:invertIfNegative val="1"/>
            <c:bubble3D val="0"/>
            <c:spPr>
              <a:solidFill>
                <a:srgbClr val="AEABAB"/>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19</c:f>
              <c:strCache>
                <c:ptCount val="18"/>
                <c:pt idx="0">
                  <c:v>Boursin Classique Fromage Frais A Tartiner Afh Boite 1X250Gr 1P</c:v>
                </c:pt>
                <c:pt idx="1">
                  <c:v>Boursin Classique Fromage Frais A Tartiner Afh 1X160Gr 10P</c:v>
                </c:pt>
                <c:pt idx="2">
                  <c:v>Boursin Classique Fromage Frais A Tartiner Afh Boite 1X150Gr 1P</c:v>
                </c:pt>
                <c:pt idx="3">
                  <c:v>Boursin Salade &amp; Aperitif Fromage Frais Des Afh 1X120Gr 1P</c:v>
                </c:pt>
                <c:pt idx="4">
                  <c:v>Boursin Classique Fromage Frais A Tartiner Afh 1X256Gr 16P</c:v>
                </c:pt>
                <c:pt idx="5">
                  <c:v>Boursin Onctueux Fromage Frais A Tartiner Afh 1X125Gr 1P</c:v>
                </c:pt>
                <c:pt idx="6">
                  <c:v>Boursin Classique Fromage Frais A Tartiner Afh Boite 1X96Gr 6P</c:v>
                </c:pt>
                <c:pt idx="7">
                  <c:v>Boursin Classique Fromage Frais A Tartiner Figue Et 3 Noix Boite 1X150Gr 1P</c:v>
                </c:pt>
                <c:pt idx="8">
                  <c:v>Boursin Classique Fromage Frais A Tartiner Ciboulette &amp; Echalote Boite 1X150Gr 1P</c:v>
                </c:pt>
                <c:pt idx="9">
                  <c:v>Boursin Classique Fromage Frais A Tartiner Poivre Boite 1X150Gr 1P</c:v>
                </c:pt>
                <c:pt idx="10">
                  <c:v>Boursin Classique Fromage Frais A Tartiner Ciboulette &amp; Echalote 1X160Gr 10P</c:v>
                </c:pt>
                <c:pt idx="11">
                  <c:v>Boursin Salade &amp; Aperitif Fromage Frais Des Ciboulette Echalote 1X120Gr 1P</c:v>
                </c:pt>
                <c:pt idx="12">
                  <c:v>Boursin Salade &amp; Aperitif Fromage Frais Des Figue Noix 1X120Gr 1P</c:v>
                </c:pt>
                <c:pt idx="13">
                  <c:v>Boursin Classique Fromage Frais A Tartiner Afh Boite 1X80Gr 1P</c:v>
                </c:pt>
                <c:pt idx="14">
                  <c:v>Boursin Salade &amp; Aperitif Fromage Frais Des Citron Romarin 1X120Gr 1P</c:v>
                </c:pt>
                <c:pt idx="15">
                  <c:v>Boursin Salade &amp; Aperitif Fromage Frais Des Noisette Et 3 Noix 1X120Gr 1P</c:v>
                </c:pt>
                <c:pt idx="16">
                  <c:v>Boursin Classique Fromage Frais A Tartiner Truffe Boite 1X150Gr 1P</c:v>
                </c:pt>
                <c:pt idx="17">
                  <c:v>Boursin Salade &amp; Aperitif Soft Cheese Salade 120G</c:v>
                </c:pt>
              </c:strCache>
            </c:strRef>
          </c:cat>
          <c:val>
            <c:numRef>
              <c:f>Sheet1!$C$2:$C$19</c:f>
              <c:numCache>
                <c:formatCode>General</c:formatCode>
                <c:ptCount val="18"/>
                <c:pt idx="0">
                  <c:v>0.1917756176801949</c:v>
                </c:pt>
                <c:pt idx="1">
                  <c:v>0.3561402146207082</c:v>
                </c:pt>
                <c:pt idx="2">
                  <c:v>0.49652794673034667</c:v>
                </c:pt>
                <c:pt idx="3">
                  <c:v>0.5634046240394657</c:v>
                </c:pt>
                <c:pt idx="4">
                  <c:v>0.6296903832405706</c:v>
                </c:pt>
                <c:pt idx="5">
                  <c:v>0.6940536701488571</c:v>
                </c:pt>
                <c:pt idx="6">
                  <c:v>0.7572238919934573</c:v>
                </c:pt>
                <c:pt idx="7">
                  <c:v>0.8113366445957427</c:v>
                </c:pt>
                <c:pt idx="8">
                  <c:v>0.8573229865740412</c:v>
                </c:pt>
                <c:pt idx="9">
                  <c:v>0.898492620775614</c:v>
                </c:pt>
                <c:pt idx="10">
                  <c:v>0.9326456287967542</c:v>
                </c:pt>
                <c:pt idx="11">
                  <c:v>0.9536276663834502</c:v>
                </c:pt>
                <c:pt idx="12">
                  <c:v>0.9677016233170764</c:v>
                </c:pt>
                <c:pt idx="13">
                  <c:v>0.9777420845981383</c:v>
                </c:pt>
                <c:pt idx="14">
                  <c:v>0.9863223278149785</c:v>
                </c:pt>
                <c:pt idx="15">
                  <c:v>0.9926979739415875</c:v>
                </c:pt>
                <c:pt idx="16">
                  <c:v>0.9963651284393025</c:v>
                </c:pt>
                <c:pt idx="17">
                  <c:v>1.0</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19</c:f>
              <c:strCache>
                <c:ptCount val="18"/>
                <c:pt idx="0">
                  <c:v>Boursin Classique Fromage Frais A Tartiner Afh Boite 1X250Gr 1P</c:v>
                </c:pt>
                <c:pt idx="1">
                  <c:v>Boursin Classique Fromage Frais A Tartiner Afh 1X160Gr 10P</c:v>
                </c:pt>
                <c:pt idx="2">
                  <c:v>Boursin Classique Fromage Frais A Tartiner Afh Boite 1X150Gr 1P</c:v>
                </c:pt>
                <c:pt idx="3">
                  <c:v>Boursin Salade &amp; Aperitif Fromage Frais Des Afh 1X120Gr 1P</c:v>
                </c:pt>
                <c:pt idx="4">
                  <c:v>Boursin Classique Fromage Frais A Tartiner Afh 1X256Gr 16P</c:v>
                </c:pt>
                <c:pt idx="5">
                  <c:v>Boursin Onctueux Fromage Frais A Tartiner Afh 1X125Gr 1P</c:v>
                </c:pt>
                <c:pt idx="6">
                  <c:v>Boursin Classique Fromage Frais A Tartiner Afh Boite 1X96Gr 6P</c:v>
                </c:pt>
                <c:pt idx="7">
                  <c:v>Boursin Classique Fromage Frais A Tartiner Figue Et 3 Noix Boite 1X150Gr 1P</c:v>
                </c:pt>
                <c:pt idx="8">
                  <c:v>Boursin Classique Fromage Frais A Tartiner Ciboulette &amp; Echalote Boite 1X150Gr 1P</c:v>
                </c:pt>
                <c:pt idx="9">
                  <c:v>Boursin Classique Fromage Frais A Tartiner Poivre Boite 1X150Gr 1P</c:v>
                </c:pt>
                <c:pt idx="10">
                  <c:v>Boursin Classique Fromage Frais A Tartiner Ciboulette &amp; Echalote 1X160Gr 10P</c:v>
                </c:pt>
                <c:pt idx="11">
                  <c:v>Boursin Salade &amp; Aperitif Fromage Frais Des Ciboulette Echalote 1X120Gr 1P</c:v>
                </c:pt>
                <c:pt idx="12">
                  <c:v>Boursin Salade &amp; Aperitif Fromage Frais Des Figue Noix 1X120Gr 1P</c:v>
                </c:pt>
                <c:pt idx="13">
                  <c:v>Boursin Classique Fromage Frais A Tartiner Afh Boite 1X80Gr 1P</c:v>
                </c:pt>
                <c:pt idx="14">
                  <c:v>Boursin Salade &amp; Aperitif Fromage Frais Des Citron Romarin 1X120Gr 1P</c:v>
                </c:pt>
                <c:pt idx="15">
                  <c:v>Boursin Salade &amp; Aperitif Fromage Frais Des Noisette Et 3 Noix 1X120Gr 1P</c:v>
                </c:pt>
                <c:pt idx="16">
                  <c:v>Boursin Classique Fromage Frais A Tartiner Truffe Boite 1X150Gr 1P</c:v>
                </c:pt>
                <c:pt idx="17">
                  <c:v>Boursin Salade &amp; Aperitif Soft Cheese Salade 120G</c:v>
                </c:pt>
              </c:strCache>
            </c:strRef>
          </c:cat>
          <c:val>
            <c:numRef>
              <c:f>Sheet1!$D$2:$D$19</c:f>
              <c:numCache>
                <c:formatCode>General</c:formatCode>
                <c:ptCount val="18"/>
                <c:pt idx="0">
                  <c:v>4098.92</c:v>
                </c:pt>
                <c:pt idx="1">
                  <c:v>3513.05</c:v>
                </c:pt>
                <c:pt idx="2">
                  <c:v>3000.58</c:v>
                </c:pt>
                <c:pt idx="3">
                  <c:v>1429.39</c:v>
                </c:pt>
                <c:pt idx="4">
                  <c:v>1431.0707070707072</c:v>
                </c:pt>
                <c:pt idx="5">
                  <c:v>1389.5656565656566</c:v>
                </c:pt>
                <c:pt idx="6">
                  <c:v>1363.8080808080808</c:v>
                </c:pt>
                <c:pt idx="7">
                  <c:v>1156.58</c:v>
                </c:pt>
                <c:pt idx="8">
                  <c:v>982.89</c:v>
                </c:pt>
                <c:pt idx="9">
                  <c:v>888.8282828282828</c:v>
                </c:pt>
                <c:pt idx="10">
                  <c:v>744.8673469387755</c:v>
                </c:pt>
                <c:pt idx="11">
                  <c:v>472.06315789473683</c:v>
                </c:pt>
                <c:pt idx="12">
                  <c:v>310.11340206185565</c:v>
                </c:pt>
                <c:pt idx="13">
                  <c:v>306.57142857142856</c:v>
                </c:pt>
                <c:pt idx="14">
                  <c:v>197.19354838709677</c:v>
                </c:pt>
                <c:pt idx="15">
                  <c:v>137.64646464646464</c:v>
                </c:pt>
                <c:pt idx="16">
                  <c:v>85.19565217391305</c:v>
                </c:pt>
                <c:pt idx="17">
                  <c:v>106.42465753424658</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12</c:f>
              <c:strCache>
                <c:ptCount val="11"/>
                <c:pt idx="0">
                  <c:v>Kiri Creme Fromage Blanc Frais Carre 1X216Gr 12P</c:v>
                </c:pt>
                <c:pt idx="1">
                  <c:v>Kiri Creme Fromage Blanc Frais Carre 1X144Gr 8P</c:v>
                </c:pt>
                <c:pt idx="2">
                  <c:v>Kiri Gouter Fromage Blanc Dips Boite 1X175Gr 5P</c:v>
                </c:pt>
                <c:pt idx="3">
                  <c:v>Kiri Creme Fromage Blanc Frais Carre 1X432Gr 24P</c:v>
                </c:pt>
                <c:pt idx="4">
                  <c:v>Kiri Gouter Fromage Blanc Dips Boite 1X280Gr 8P</c:v>
                </c:pt>
                <c:pt idx="5">
                  <c:v>Kiri Bio Fromage Blanc Frais Carre 1X144Gr 8P</c:v>
                </c:pt>
                <c:pt idx="6">
                  <c:v>Kiri Delicieusement Fouette Fromage Frais A Tartiner 1X125Gr 1P</c:v>
                </c:pt>
                <c:pt idx="7">
                  <c:v>Kiri Creme Fromage Blanc Frais Carre 1X432Gr 18+6P</c:v>
                </c:pt>
                <c:pt idx="8">
                  <c:v>Kiri Chevre Fromage Blanc Frais Carre 1X144Gr 8P</c:v>
                </c:pt>
                <c:pt idx="9">
                  <c:v>Kiri Delicieusement Fouette Fromage Frais A Tartiner 1X160Gr 10P</c:v>
                </c:pt>
                <c:pt idx="10">
                  <c:v>Kiri Delicieusement Fouette Fromage Frais A Tartiner 1X210Gr 1P</c:v>
                </c:pt>
              </c:strCache>
            </c:strRef>
          </c:cat>
          <c:val>
            <c:numRef>
              <c:f>Sheet1!$B$2:$B$12</c:f>
              <c:numCache>
                <c:formatCode>General</c:formatCode>
                <c:ptCount val="11"/>
                <c:pt idx="0">
                  <c:v>0.85</c:v>
                </c:pt>
                <c:pt idx="1">
                  <c:v>0.92</c:v>
                </c:pt>
                <c:pt idx="2">
                  <c:v>0.9</c:v>
                </c:pt>
                <c:pt idx="3">
                  <c:v>0.52</c:v>
                </c:pt>
                <c:pt idx="4">
                  <c:v>0.68</c:v>
                </c:pt>
                <c:pt idx="5">
                  <c:v>0.31</c:v>
                </c:pt>
                <c:pt idx="6">
                  <c:v>0.44</c:v>
                </c:pt>
                <c:pt idx="7">
                  <c:v>0.59</c:v>
                </c:pt>
                <c:pt idx="8">
                  <c:v>0.38</c:v>
                </c:pt>
                <c:pt idx="9">
                  <c:v>0.5</c:v>
                </c:pt>
                <c:pt idx="10">
                  <c:v>0.01</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7ECAC4"/>
              </a:solidFill>
            </c:spPr>
            <c:extLst>
              <c:ext xmlns:c16="http://schemas.microsoft.com/office/drawing/2014/chart" uri="{C3380CC4-5D6E-409C-BE32-E72D297353CC}">
                <c16:uniqueId val="{0000000B-FA3E-4872-B6E1-C4ABDF5766E2}"/>
              </c:ext>
            </c:extLst>
          </c:dPt>
          <c:dPt>
            <c:idx val="5"/>
            <c:invertIfNegative val="1"/>
            <c:bubble3D val="0"/>
            <c:spPr>
              <a:solidFill>
                <a:srgbClr val="7ECAC4"/>
              </a:solidFill>
            </c:spPr>
            <c:extLst>
              <c:ext xmlns:c16="http://schemas.microsoft.com/office/drawing/2014/chart" uri="{C3380CC4-5D6E-409C-BE32-E72D297353CC}">
                <c16:uniqueId val="{0000000D-FA3E-4872-B6E1-C4ABDF5766E2}"/>
              </c:ext>
            </c:extLst>
          </c:dPt>
          <c:dPt>
            <c:idx val="6"/>
            <c:invertIfNegative val="1"/>
            <c:bubble3D val="0"/>
            <c:spPr>
              <a:solidFill>
                <a:srgbClr val="AEABAB"/>
              </a:solidFill>
            </c:spPr>
            <c:extLst>
              <c:ext xmlns:c16="http://schemas.microsoft.com/office/drawing/2014/chart" uri="{C3380CC4-5D6E-409C-BE32-E72D297353CC}">
                <c16:uniqueId val="{0000000F-FA3E-4872-B6E1-C4ABDF5766E2}"/>
              </c:ext>
            </c:extLst>
          </c:dPt>
          <c:dPt>
            <c:idx val="7"/>
            <c:invertIfNegative val="1"/>
            <c:bubble3D val="0"/>
            <c:spPr>
              <a:solidFill>
                <a:srgbClr val="AEABAB"/>
              </a:solidFill>
            </c:spPr>
            <c:extLst>
              <c:ext xmlns:c16="http://schemas.microsoft.com/office/drawing/2014/chart" uri="{C3380CC4-5D6E-409C-BE32-E72D297353CC}">
                <c16:uniqueId val="{00000011-FA3E-4872-B6E1-C4ABDF5766E2}"/>
              </c:ext>
            </c:extLst>
          </c:dPt>
          <c:dPt>
            <c:idx val="8"/>
            <c:invertIfNegative val="1"/>
            <c:bubble3D val="0"/>
            <c:spPr>
              <a:solidFill>
                <a:srgbClr val="AEABAB"/>
              </a:solidFill>
            </c:spPr>
            <c:extLst>
              <c:ext xmlns:c16="http://schemas.microsoft.com/office/drawing/2014/chart" uri="{C3380CC4-5D6E-409C-BE32-E72D297353CC}">
                <c16:uniqueId val="{00000013-FA3E-4872-B6E1-C4ABDF5766E2}"/>
              </c:ext>
            </c:extLst>
          </c:dPt>
          <c:dPt>
            <c:idx val="9"/>
            <c:invertIfNegative val="1"/>
            <c:bubble3D val="0"/>
            <c:spPr>
              <a:solidFill>
                <a:srgbClr val="AEABAB"/>
              </a:solidFill>
            </c:spPr>
            <c:extLst>
              <c:ext xmlns:c16="http://schemas.microsoft.com/office/drawing/2014/chart" uri="{C3380CC4-5D6E-409C-BE32-E72D297353CC}">
                <c16:uniqueId val="{00000015-FA3E-4872-B6E1-C4ABDF5766E2}"/>
              </c:ext>
            </c:extLst>
          </c:dPt>
          <c:dPt>
            <c:idx val="10"/>
            <c:invertIfNegative val="1"/>
            <c:bubble3D val="0"/>
            <c:spPr>
              <a:solidFill>
                <a:srgbClr val="AEABAB"/>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12</c:f>
              <c:strCache>
                <c:ptCount val="11"/>
                <c:pt idx="0">
                  <c:v>Kiri Creme Fromage Blanc Frais Carre 1X216Gr 12P</c:v>
                </c:pt>
                <c:pt idx="1">
                  <c:v>Kiri Creme Fromage Blanc Frais Carre 1X144Gr 8P</c:v>
                </c:pt>
                <c:pt idx="2">
                  <c:v>Kiri Gouter Fromage Blanc Dips Boite 1X175Gr 5P</c:v>
                </c:pt>
                <c:pt idx="3">
                  <c:v>Kiri Creme Fromage Blanc Frais Carre 1X432Gr 24P</c:v>
                </c:pt>
                <c:pt idx="4">
                  <c:v>Kiri Gouter Fromage Blanc Dips Boite 1X280Gr 8P</c:v>
                </c:pt>
                <c:pt idx="5">
                  <c:v>Kiri Bio Fromage Blanc Frais Carre 1X144Gr 8P</c:v>
                </c:pt>
                <c:pt idx="6">
                  <c:v>Kiri Delicieusement Fouette Fromage Frais A Tartiner 1X125Gr 1P</c:v>
                </c:pt>
                <c:pt idx="7">
                  <c:v>Kiri Creme Fromage Blanc Frais Carre 1X432Gr 18+6P</c:v>
                </c:pt>
                <c:pt idx="8">
                  <c:v>Kiri Chevre Fromage Blanc Frais Carre 1X144Gr 8P</c:v>
                </c:pt>
                <c:pt idx="9">
                  <c:v>Kiri Delicieusement Fouette Fromage Frais A Tartiner 1X160Gr 10P</c:v>
                </c:pt>
                <c:pt idx="10">
                  <c:v>Kiri Delicieusement Fouette Fromage Frais A Tartiner 1X210Gr 1P</c:v>
                </c:pt>
              </c:strCache>
            </c:strRef>
          </c:cat>
          <c:val>
            <c:numRef>
              <c:f>Sheet1!$C$2:$C$12</c:f>
              <c:numCache>
                <c:formatCode>General</c:formatCode>
                <c:ptCount val="11"/>
                <c:pt idx="0">
                  <c:v>0.2832610154282688</c:v>
                </c:pt>
                <c:pt idx="1">
                  <c:v>0.48586769360112847</c:v>
                </c:pt>
                <c:pt idx="2">
                  <c:v>0.647928683160673</c:v>
                </c:pt>
                <c:pt idx="3">
                  <c:v>0.7845428309276766</c:v>
                </c:pt>
                <c:pt idx="4">
                  <c:v>0.9030690816198671</c:v>
                </c:pt>
                <c:pt idx="5">
                  <c:v>0.9305222652918517</c:v>
                </c:pt>
                <c:pt idx="6">
                  <c:v>0.955664442225842</c:v>
                </c:pt>
                <c:pt idx="7">
                  <c:v>0.973367845175685</c:v>
                </c:pt>
                <c:pt idx="8">
                  <c:v>0.9892963100689967</c:v>
                </c:pt>
                <c:pt idx="9">
                  <c:v>0.9999873687869588</c:v>
                </c:pt>
                <c:pt idx="10">
                  <c:v>0.9999999999999999</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12</c:f>
              <c:strCache>
                <c:ptCount val="11"/>
                <c:pt idx="0">
                  <c:v>Kiri Creme Fromage Blanc Frais Carre 1X216Gr 12P</c:v>
                </c:pt>
                <c:pt idx="1">
                  <c:v>Kiri Creme Fromage Blanc Frais Carre 1X144Gr 8P</c:v>
                </c:pt>
                <c:pt idx="2">
                  <c:v>Kiri Gouter Fromage Blanc Dips Boite 1X175Gr 5P</c:v>
                </c:pt>
                <c:pt idx="3">
                  <c:v>Kiri Creme Fromage Blanc Frais Carre 1X432Gr 24P</c:v>
                </c:pt>
                <c:pt idx="4">
                  <c:v>Kiri Gouter Fromage Blanc Dips Boite 1X280Gr 8P</c:v>
                </c:pt>
                <c:pt idx="5">
                  <c:v>Kiri Bio Fromage Blanc Frais Carre 1X144Gr 8P</c:v>
                </c:pt>
                <c:pt idx="6">
                  <c:v>Kiri Delicieusement Fouette Fromage Frais A Tartiner 1X125Gr 1P</c:v>
                </c:pt>
                <c:pt idx="7">
                  <c:v>Kiri Creme Fromage Blanc Frais Carre 1X432Gr 18+6P</c:v>
                </c:pt>
                <c:pt idx="8">
                  <c:v>Kiri Chevre Fromage Blanc Frais Carre 1X144Gr 8P</c:v>
                </c:pt>
                <c:pt idx="9">
                  <c:v>Kiri Delicieusement Fouette Fromage Frais A Tartiner 1X160Gr 10P</c:v>
                </c:pt>
                <c:pt idx="10">
                  <c:v>Kiri Delicieusement Fouette Fromage Frais A Tartiner 1X210Gr 1P</c:v>
                </c:pt>
              </c:strCache>
            </c:strRef>
          </c:cat>
          <c:val>
            <c:numRef>
              <c:f>Sheet1!$D$2:$D$12</c:f>
              <c:numCache>
                <c:formatCode>General</c:formatCode>
                <c:ptCount val="11"/>
                <c:pt idx="0">
                  <c:v>6595.729411764706</c:v>
                </c:pt>
                <c:pt idx="1">
                  <c:v>4358.739130434783</c:v>
                </c:pt>
                <c:pt idx="2">
                  <c:v>3563.9444444444443</c:v>
                </c:pt>
                <c:pt idx="3">
                  <c:v>5199.807692307692</c:v>
                </c:pt>
                <c:pt idx="4">
                  <c:v>3449.8529411764707</c:v>
                </c:pt>
                <c:pt idx="5">
                  <c:v>1752.774193548387</c:v>
                </c:pt>
                <c:pt idx="6">
                  <c:v>1130.9545454545455</c:v>
                </c:pt>
                <c:pt idx="7">
                  <c:v>593.8813559322034</c:v>
                </c:pt>
                <c:pt idx="8">
                  <c:v>829.6315789473684</c:v>
                </c:pt>
                <c:pt idx="9">
                  <c:v>423.2</c:v>
                </c:pt>
                <c:pt idx="10">
                  <c:v>25.0</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9</c:f>
              <c:strCache>
                <c:ptCount val="8"/>
                <c:pt idx="0">
                  <c:v>La Vache Qui Rit Nature Fromage Fondu Boite Ronde 1X192Gr 12P</c:v>
                </c:pt>
                <c:pt idx="1">
                  <c:v>La Vache Qui Rit Nature Fromage Fondu Boite Ronde 1X512Gr 32P</c:v>
                </c:pt>
                <c:pt idx="2">
                  <c:v>La Vache Qui Rit Nature Fromage Fondu Boite Ronde 1X384Gr 24P</c:v>
                </c:pt>
                <c:pt idx="3">
                  <c:v>La Vache Qui Rit Pik Et Croq' Fromage Fondu Dips Boite 1X175Gr 5P</c:v>
                </c:pt>
                <c:pt idx="4">
                  <c:v>La Vache Qui Rit Allegee Fromage Fondu Boite Ronde Allege 1X267Gr 16P</c:v>
                </c:pt>
                <c:pt idx="5">
                  <c:v>La Vache Qui Rit Pik Et Croq' Fromage Fondu Dips Boite 1X280Gr 8P</c:v>
                </c:pt>
                <c:pt idx="6">
                  <c:v>La Vache Qui Rit Aro Fromage Fondu Boite Ronde Jambon 1X133Gr 8P</c:v>
                </c:pt>
                <c:pt idx="7">
                  <c:v>La Vache Qui Rit Nature Fromage Fondu Boite Ronde 1X128Gr 8P</c:v>
                </c:pt>
              </c:strCache>
            </c:strRef>
          </c:cat>
          <c:val>
            <c:numRef>
              <c:f>Sheet1!$B$2:$B$9</c:f>
              <c:numCache>
                <c:formatCode>General</c:formatCode>
                <c:ptCount val="8"/>
                <c:pt idx="0">
                  <c:v>0.98</c:v>
                </c:pt>
                <c:pt idx="1">
                  <c:v>0.68</c:v>
                </c:pt>
                <c:pt idx="2">
                  <c:v>0.68</c:v>
                </c:pt>
                <c:pt idx="3">
                  <c:v>0.82</c:v>
                </c:pt>
                <c:pt idx="4">
                  <c:v>0.5</c:v>
                </c:pt>
                <c:pt idx="5">
                  <c:v>0.42</c:v>
                </c:pt>
                <c:pt idx="6">
                  <c:v>0.33</c:v>
                </c:pt>
                <c:pt idx="7">
                  <c:v>0.04</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7ECAC4"/>
              </a:solidFill>
            </c:spPr>
            <c:extLst>
              <c:ext xmlns:c16="http://schemas.microsoft.com/office/drawing/2014/chart" uri="{C3380CC4-5D6E-409C-BE32-E72D297353CC}">
                <c16:uniqueId val="{00000006-E902-46E2-9A54-39A26B3DFDC1}"/>
              </c:ext>
            </c:extLst>
          </c:dPt>
          <c:dPt>
            <c:idx val="3"/>
            <c:invertIfNegative val="0"/>
            <c:bubble3D val="0"/>
            <c:spPr>
              <a:solidFill>
                <a:srgbClr val="7ECAC4"/>
              </a:solidFill>
            </c:spPr>
            <c:extLst>
              <c:ext xmlns:c16="http://schemas.microsoft.com/office/drawing/2014/chart" uri="{C3380CC4-5D6E-409C-BE32-E72D297353CC}">
                <c16:uniqueId val="{00000007-E902-46E2-9A54-39A26B3DFDC1}"/>
              </c:ext>
            </c:extLst>
          </c:dPt>
          <c:dPt>
            <c:idx val="4"/>
            <c:invertIfNegative val="1"/>
            <c:bubble3D val="0"/>
            <c:spPr>
              <a:solidFill>
                <a:srgbClr val="AEABAB"/>
              </a:solidFill>
            </c:spPr>
            <c:extLst>
              <c:ext xmlns:c16="http://schemas.microsoft.com/office/drawing/2014/chart" uri="{C3380CC4-5D6E-409C-BE32-E72D297353CC}">
                <c16:uniqueId val="{0000000B-FA3E-4872-B6E1-C4ABDF5766E2}"/>
              </c:ext>
            </c:extLst>
          </c:dPt>
          <c:dPt>
            <c:idx val="5"/>
            <c:invertIfNegative val="1"/>
            <c:bubble3D val="0"/>
            <c:spPr>
              <a:solidFill>
                <a:srgbClr val="AEABAB"/>
              </a:solidFill>
            </c:spPr>
            <c:extLst>
              <c:ext xmlns:c16="http://schemas.microsoft.com/office/drawing/2014/chart" uri="{C3380CC4-5D6E-409C-BE32-E72D297353CC}">
                <c16:uniqueId val="{0000000D-FA3E-4872-B6E1-C4ABDF5766E2}"/>
              </c:ext>
            </c:extLst>
          </c:dPt>
          <c:dPt>
            <c:idx val="6"/>
            <c:invertIfNegative val="1"/>
            <c:bubble3D val="0"/>
            <c:spPr>
              <a:solidFill>
                <a:srgbClr val="AEABAB"/>
              </a:solidFill>
            </c:spPr>
            <c:extLst>
              <c:ext xmlns:c16="http://schemas.microsoft.com/office/drawing/2014/chart" uri="{C3380CC4-5D6E-409C-BE32-E72D297353CC}">
                <c16:uniqueId val="{0000000F-FA3E-4872-B6E1-C4ABDF5766E2}"/>
              </c:ext>
            </c:extLst>
          </c:dPt>
          <c:dPt>
            <c:idx val="7"/>
            <c:invertIfNegative val="1"/>
            <c:bubble3D val="0"/>
            <c:spPr>
              <a:solidFill>
                <a:srgbClr val="AEABAB"/>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9</c:f>
              <c:strCache>
                <c:ptCount val="8"/>
                <c:pt idx="0">
                  <c:v>La Vache Qui Rit Nature Fromage Fondu Boite Ronde 1X192Gr 12P</c:v>
                </c:pt>
                <c:pt idx="1">
                  <c:v>La Vache Qui Rit Nature Fromage Fondu Boite Ronde 1X512Gr 32P</c:v>
                </c:pt>
                <c:pt idx="2">
                  <c:v>La Vache Qui Rit Nature Fromage Fondu Boite Ronde 1X384Gr 24P</c:v>
                </c:pt>
                <c:pt idx="3">
                  <c:v>La Vache Qui Rit Pik Et Croq' Fromage Fondu Dips Boite 1X175Gr 5P</c:v>
                </c:pt>
                <c:pt idx="4">
                  <c:v>La Vache Qui Rit Allegee Fromage Fondu Boite Ronde Allege 1X267Gr 16P</c:v>
                </c:pt>
                <c:pt idx="5">
                  <c:v>La Vache Qui Rit Pik Et Croq' Fromage Fondu Dips Boite 1X280Gr 8P</c:v>
                </c:pt>
                <c:pt idx="6">
                  <c:v>La Vache Qui Rit Aro Fromage Fondu Boite Ronde Jambon 1X133Gr 8P</c:v>
                </c:pt>
                <c:pt idx="7">
                  <c:v>La Vache Qui Rit Nature Fromage Fondu Boite Ronde 1X128Gr 8P</c:v>
                </c:pt>
              </c:strCache>
            </c:strRef>
          </c:cat>
          <c:val>
            <c:numRef>
              <c:f>Sheet1!$C$2:$C$9</c:f>
              <c:numCache>
                <c:formatCode>General</c:formatCode>
                <c:ptCount val="8"/>
                <c:pt idx="0">
                  <c:v>0.37375445558855036</c:v>
                </c:pt>
                <c:pt idx="1">
                  <c:v>0.6349581221961818</c:v>
                </c:pt>
                <c:pt idx="2">
                  <c:v>0.8430201367670095</c:v>
                </c:pt>
                <c:pt idx="3">
                  <c:v>0.9180433926609386</c:v>
                </c:pt>
                <c:pt idx="4">
                  <c:v>0.9577056534605287</c:v>
                </c:pt>
                <c:pt idx="5">
                  <c:v>0.9859295393699502</c:v>
                </c:pt>
                <c:pt idx="6">
                  <c:v>0.9999097275836396</c:v>
                </c:pt>
                <c:pt idx="7">
                  <c:v>1.0</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9</c:f>
              <c:strCache>
                <c:ptCount val="8"/>
                <c:pt idx="0">
                  <c:v>La Vache Qui Rit Nature Fromage Fondu Boite Ronde 1X192Gr 12P</c:v>
                </c:pt>
                <c:pt idx="1">
                  <c:v>La Vache Qui Rit Nature Fromage Fondu Boite Ronde 1X512Gr 32P</c:v>
                </c:pt>
                <c:pt idx="2">
                  <c:v>La Vache Qui Rit Nature Fromage Fondu Boite Ronde 1X384Gr 24P</c:v>
                </c:pt>
                <c:pt idx="3">
                  <c:v>La Vache Qui Rit Pik Et Croq' Fromage Fondu Dips Boite 1X175Gr 5P</c:v>
                </c:pt>
                <c:pt idx="4">
                  <c:v>La Vache Qui Rit Allegee Fromage Fondu Boite Ronde Allege 1X267Gr 16P</c:v>
                </c:pt>
                <c:pt idx="5">
                  <c:v>La Vache Qui Rit Pik Et Croq' Fromage Fondu Dips Boite 1X280Gr 8P</c:v>
                </c:pt>
                <c:pt idx="6">
                  <c:v>La Vache Qui Rit Aro Fromage Fondu Boite Ronde Jambon 1X133Gr 8P</c:v>
                </c:pt>
                <c:pt idx="7">
                  <c:v>La Vache Qui Rit Nature Fromage Fondu Boite Ronde 1X128Gr 8P</c:v>
                </c:pt>
              </c:strCache>
            </c:strRef>
          </c:cat>
          <c:val>
            <c:numRef>
              <c:f>Sheet1!$D$2:$D$9</c:f>
              <c:numCache>
                <c:formatCode>General</c:formatCode>
                <c:ptCount val="8"/>
                <c:pt idx="0">
                  <c:v>8872.061224489797</c:v>
                </c:pt>
                <c:pt idx="1">
                  <c:v>8935.823529411764</c:v>
                </c:pt>
                <c:pt idx="2">
                  <c:v>7117.838235294118</c:v>
                </c:pt>
                <c:pt idx="3">
                  <c:v>2128.3658536585367</c:v>
                </c:pt>
                <c:pt idx="4">
                  <c:v>1845.32</c:v>
                </c:pt>
                <c:pt idx="5">
                  <c:v>1563.2619047619048</c:v>
                </c:pt>
                <c:pt idx="6">
                  <c:v>985.5151515151515</c:v>
                </c:pt>
                <c:pt idx="7">
                  <c:v>11.0</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19</c:f>
              <c:strCache>
                <c:ptCount val="18"/>
                <c:pt idx="0">
                  <c:v>Boursin Classique Fromage Frais A Tartiner Afh Boite 1X150Gr 1P</c:v>
                </c:pt>
                <c:pt idx="1">
                  <c:v>Boursin Classique Fromage Frais A Tartiner Afh 1X160Gr 10P</c:v>
                </c:pt>
                <c:pt idx="2">
                  <c:v>Boursin Classique Fromage Frais A Tartiner Afh Boite 1X250Gr 1P</c:v>
                </c:pt>
                <c:pt idx="3">
                  <c:v>Boursin Onctueux Fromage Frais A Tartiner Afh 1X125Gr 1P</c:v>
                </c:pt>
                <c:pt idx="4">
                  <c:v>Boursin Classique Fromage Frais A Tartiner Figue Et 3 Noix Boite 1X150Gr 1P</c:v>
                </c:pt>
                <c:pt idx="5">
                  <c:v>Boursin Classique Fromage Frais A Tartiner Afh Boite 1X96Gr 6P</c:v>
                </c:pt>
                <c:pt idx="6">
                  <c:v>Boursin Salade &amp; Aperitif Fromage Frais Des Afh 1X120Gr 1P</c:v>
                </c:pt>
                <c:pt idx="7">
                  <c:v>Boursin Classique Fromage Frais A Tartiner Ciboulette &amp; Echalote Boite 1X150Gr 1P</c:v>
                </c:pt>
                <c:pt idx="8">
                  <c:v>Boursin Classique Fromage Frais A Tartiner Poivre Boite 1X150Gr 1P</c:v>
                </c:pt>
                <c:pt idx="9">
                  <c:v>Boursin Classique Fromage Frais A Tartiner Afh 1X256Gr 16P</c:v>
                </c:pt>
                <c:pt idx="10">
                  <c:v>Boursin Classique Fromage Frais A Tartiner Ciboulette &amp; Echalote 1X160Gr 10P</c:v>
                </c:pt>
                <c:pt idx="11">
                  <c:v>Boursin Salade &amp; Aperitif Fromage Frais Des Ciboulette Echalote 1X120Gr 1P</c:v>
                </c:pt>
                <c:pt idx="12">
                  <c:v>Boursin Salade &amp; Aperitif Fromage Frais Des Figue Noix 1X120Gr 1P</c:v>
                </c:pt>
                <c:pt idx="13">
                  <c:v>Boursin Classique Fromage Frais A Tartiner Afh Boite 1X80Gr 1P</c:v>
                </c:pt>
                <c:pt idx="14">
                  <c:v>Boursin Salade &amp; Aperitif Fromage Frais Des Citron Romarin 1X120Gr 1P</c:v>
                </c:pt>
                <c:pt idx="15">
                  <c:v>Boursin Salade &amp; Aperitif Fromage Frais Des Noisette Et 3 Noix 1X120Gr 1P</c:v>
                </c:pt>
                <c:pt idx="16">
                  <c:v>Boursin Classique Fromage Frais A Tartiner Truffe Boite 1X150Gr 1P</c:v>
                </c:pt>
                <c:pt idx="17">
                  <c:v>Boursin Salade &amp; Aperitif Soft Cheese Salade 120G</c:v>
                </c:pt>
              </c:strCache>
            </c:strRef>
          </c:cat>
          <c:val>
            <c:numRef>
              <c:f>Sheet1!$B$2:$B$19</c:f>
              <c:numCache>
                <c:formatCode>General</c:formatCode>
                <c:ptCount val="18"/>
                <c:pt idx="0">
                  <c:v>0.98</c:v>
                </c:pt>
                <c:pt idx="1">
                  <c:v>0.9</c:v>
                </c:pt>
                <c:pt idx="2">
                  <c:v>0.89</c:v>
                </c:pt>
                <c:pt idx="3">
                  <c:v>0.81</c:v>
                </c:pt>
                <c:pt idx="4">
                  <c:v>0.89</c:v>
                </c:pt>
                <c:pt idx="5">
                  <c:v>0.74</c:v>
                </c:pt>
                <c:pt idx="6">
                  <c:v>0.85</c:v>
                </c:pt>
                <c:pt idx="7">
                  <c:v>0.83</c:v>
                </c:pt>
                <c:pt idx="8">
                  <c:v>0.75</c:v>
                </c:pt>
                <c:pt idx="9">
                  <c:v>0.64</c:v>
                </c:pt>
                <c:pt idx="10">
                  <c:v>0.46</c:v>
                </c:pt>
                <c:pt idx="11">
                  <c:v>0.43</c:v>
                </c:pt>
                <c:pt idx="12">
                  <c:v>0.47</c:v>
                </c:pt>
                <c:pt idx="13">
                  <c:v>0.12</c:v>
                </c:pt>
                <c:pt idx="14">
                  <c:v>0.28</c:v>
                </c:pt>
                <c:pt idx="15">
                  <c:v>0.41</c:v>
                </c:pt>
                <c:pt idx="16">
                  <c:v>0.33</c:v>
                </c:pt>
                <c:pt idx="17">
                  <c:v>0.14</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7ECAC4"/>
              </a:solidFill>
            </c:spPr>
            <c:extLst>
              <c:ext xmlns:c16="http://schemas.microsoft.com/office/drawing/2014/chart" uri="{C3380CC4-5D6E-409C-BE32-E72D297353CC}">
                <c16:uniqueId val="{0000000F-FA3E-4872-B6E1-C4ABDF5766E2}"/>
              </c:ext>
            </c:extLst>
          </c:dPt>
          <c:dPt>
            <c:idx val="7"/>
            <c:invertIfNegative val="1"/>
            <c:bubble3D val="0"/>
            <c:spPr>
              <a:solidFill>
                <a:srgbClr val="7ECAC4"/>
              </a:solidFill>
            </c:spPr>
            <c:extLst>
              <c:ext xmlns:c16="http://schemas.microsoft.com/office/drawing/2014/chart" uri="{C3380CC4-5D6E-409C-BE32-E72D297353CC}">
                <c16:uniqueId val="{00000011-FA3E-4872-B6E1-C4ABDF5766E2}"/>
              </c:ext>
            </c:extLst>
          </c:dPt>
          <c:dPt>
            <c:idx val="8"/>
            <c:invertIfNegative val="1"/>
            <c:bubble3D val="0"/>
            <c:spPr>
              <a:solidFill>
                <a:srgbClr val="7ECAC4"/>
              </a:solidFill>
            </c:spPr>
            <c:extLst>
              <c:ext xmlns:c16="http://schemas.microsoft.com/office/drawing/2014/chart" uri="{C3380CC4-5D6E-409C-BE32-E72D297353CC}">
                <c16:uniqueId val="{00000013-FA3E-4872-B6E1-C4ABDF5766E2}"/>
              </c:ext>
            </c:extLst>
          </c:dPt>
          <c:dPt>
            <c:idx val="9"/>
            <c:invertIfNegative val="1"/>
            <c:bubble3D val="0"/>
            <c:spPr>
              <a:solidFill>
                <a:srgbClr val="AEABAB"/>
              </a:solidFill>
            </c:spPr>
            <c:extLst>
              <c:ext xmlns:c16="http://schemas.microsoft.com/office/drawing/2014/chart" uri="{C3380CC4-5D6E-409C-BE32-E72D297353CC}">
                <c16:uniqueId val="{00000015-FA3E-4872-B6E1-C4ABDF5766E2}"/>
              </c:ext>
            </c:extLst>
          </c:dPt>
          <c:dPt>
            <c:idx val="10"/>
            <c:invertIfNegative val="1"/>
            <c:bubble3D val="0"/>
            <c:spPr>
              <a:solidFill>
                <a:srgbClr val="AEABAB"/>
              </a:solidFill>
            </c:spPr>
            <c:extLst>
              <c:ext xmlns:c16="http://schemas.microsoft.com/office/drawing/2014/chart" uri="{C3380CC4-5D6E-409C-BE32-E72D297353CC}">
                <c16:uniqueId val="{00000017-FA3E-4872-B6E1-C4ABDF5766E2}"/>
              </c:ext>
            </c:extLst>
          </c:dPt>
          <c:dPt>
            <c:idx val="11"/>
            <c:invertIfNegative val="1"/>
            <c:bubble3D val="0"/>
            <c:spPr>
              <a:solidFill>
                <a:srgbClr val="AEABAB"/>
              </a:solidFill>
            </c:spPr>
            <c:extLst>
              <c:ext xmlns:c16="http://schemas.microsoft.com/office/drawing/2014/chart" uri="{C3380CC4-5D6E-409C-BE32-E72D297353CC}">
                <c16:uniqueId val="{00000019-FA3E-4872-B6E1-C4ABDF5766E2}"/>
              </c:ext>
            </c:extLst>
          </c:dPt>
          <c:dPt>
            <c:idx val="12"/>
            <c:invertIfNegative val="1"/>
            <c:bubble3D val="0"/>
            <c:spPr>
              <a:solidFill>
                <a:srgbClr val="AEABAB"/>
              </a:solidFill>
            </c:spPr>
            <c:extLst>
              <c:ext xmlns:c16="http://schemas.microsoft.com/office/drawing/2014/chart" uri="{C3380CC4-5D6E-409C-BE32-E72D297353CC}">
                <c16:uniqueId val="{0000001B-FA3E-4872-B6E1-C4ABDF5766E2}"/>
              </c:ext>
            </c:extLst>
          </c:dPt>
          <c:dPt>
            <c:idx val="13"/>
            <c:invertIfNegative val="1"/>
            <c:bubble3D val="0"/>
            <c:spPr>
              <a:solidFill>
                <a:srgbClr val="AEABAB"/>
              </a:solidFill>
            </c:spPr>
            <c:extLst>
              <c:ext xmlns:c16="http://schemas.microsoft.com/office/drawing/2014/chart" uri="{C3380CC4-5D6E-409C-BE32-E72D297353CC}">
                <c16:uniqueId val="{0000001D-FA3E-4872-B6E1-C4ABDF5766E2}"/>
              </c:ext>
            </c:extLst>
          </c:dPt>
          <c:dPt>
            <c:idx val="14"/>
            <c:invertIfNegative val="1"/>
            <c:bubble3D val="0"/>
            <c:spPr>
              <a:solidFill>
                <a:srgbClr val="AEABAB"/>
              </a:solidFill>
            </c:spPr>
            <c:extLst>
              <c:ext xmlns:c16="http://schemas.microsoft.com/office/drawing/2014/chart" uri="{C3380CC4-5D6E-409C-BE32-E72D297353CC}">
                <c16:uniqueId val="{0000001F-FA3E-4872-B6E1-C4ABDF5766E2}"/>
              </c:ext>
            </c:extLst>
          </c:dPt>
          <c:dPt>
            <c:idx val="15"/>
            <c:invertIfNegative val="1"/>
            <c:bubble3D val="0"/>
            <c:spPr>
              <a:solidFill>
                <a:srgbClr val="AEABAB"/>
              </a:solidFill>
            </c:spPr>
            <c:extLst>
              <c:ext xmlns:c16="http://schemas.microsoft.com/office/drawing/2014/chart" uri="{C3380CC4-5D6E-409C-BE32-E72D297353CC}">
                <c16:uniqueId val="{00000021-FA3E-4872-B6E1-C4ABDF5766E2}"/>
              </c:ext>
            </c:extLst>
          </c:dPt>
          <c:dPt>
            <c:idx val="16"/>
            <c:invertIfNegative val="1"/>
            <c:bubble3D val="0"/>
            <c:spPr>
              <a:solidFill>
                <a:srgbClr val="AEABAB"/>
              </a:solidFill>
            </c:spPr>
            <c:extLst>
              <c:ext xmlns:c16="http://schemas.microsoft.com/office/drawing/2014/chart" uri="{C3380CC4-5D6E-409C-BE32-E72D297353CC}">
                <c16:uniqueId val="{00000023-FA3E-4872-B6E1-C4ABDF5766E2}"/>
              </c:ext>
            </c:extLst>
          </c:dPt>
          <c:dPt>
            <c:idx val="17"/>
            <c:invertIfNegative val="1"/>
            <c:bubble3D val="0"/>
            <c:spPr>
              <a:solidFill>
                <a:srgbClr val="AEABAB"/>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19</c:f>
              <c:strCache>
                <c:ptCount val="18"/>
                <c:pt idx="0">
                  <c:v>Boursin Classique Fromage Frais A Tartiner Afh Boite 1X150Gr 1P</c:v>
                </c:pt>
                <c:pt idx="1">
                  <c:v>Boursin Classique Fromage Frais A Tartiner Afh 1X160Gr 10P</c:v>
                </c:pt>
                <c:pt idx="2">
                  <c:v>Boursin Classique Fromage Frais A Tartiner Afh Boite 1X250Gr 1P</c:v>
                </c:pt>
                <c:pt idx="3">
                  <c:v>Boursin Onctueux Fromage Frais A Tartiner Afh 1X125Gr 1P</c:v>
                </c:pt>
                <c:pt idx="4">
                  <c:v>Boursin Classique Fromage Frais A Tartiner Figue Et 3 Noix Boite 1X150Gr 1P</c:v>
                </c:pt>
                <c:pt idx="5">
                  <c:v>Boursin Classique Fromage Frais A Tartiner Afh Boite 1X96Gr 6P</c:v>
                </c:pt>
                <c:pt idx="6">
                  <c:v>Boursin Salade &amp; Aperitif Fromage Frais Des Afh 1X120Gr 1P</c:v>
                </c:pt>
                <c:pt idx="7">
                  <c:v>Boursin Classique Fromage Frais A Tartiner Ciboulette &amp; Echalote Boite 1X150Gr 1P</c:v>
                </c:pt>
                <c:pt idx="8">
                  <c:v>Boursin Classique Fromage Frais A Tartiner Poivre Boite 1X150Gr 1P</c:v>
                </c:pt>
                <c:pt idx="9">
                  <c:v>Boursin Classique Fromage Frais A Tartiner Afh 1X256Gr 16P</c:v>
                </c:pt>
                <c:pt idx="10">
                  <c:v>Boursin Classique Fromage Frais A Tartiner Ciboulette &amp; Echalote 1X160Gr 10P</c:v>
                </c:pt>
                <c:pt idx="11">
                  <c:v>Boursin Salade &amp; Aperitif Fromage Frais Des Ciboulette Echalote 1X120Gr 1P</c:v>
                </c:pt>
                <c:pt idx="12">
                  <c:v>Boursin Salade &amp; Aperitif Fromage Frais Des Figue Noix 1X120Gr 1P</c:v>
                </c:pt>
                <c:pt idx="13">
                  <c:v>Boursin Classique Fromage Frais A Tartiner Afh Boite 1X80Gr 1P</c:v>
                </c:pt>
                <c:pt idx="14">
                  <c:v>Boursin Salade &amp; Aperitif Fromage Frais Des Citron Romarin 1X120Gr 1P</c:v>
                </c:pt>
                <c:pt idx="15">
                  <c:v>Boursin Salade &amp; Aperitif Fromage Frais Des Noisette Et 3 Noix 1X120Gr 1P</c:v>
                </c:pt>
                <c:pt idx="16">
                  <c:v>Boursin Classique Fromage Frais A Tartiner Truffe Boite 1X150Gr 1P</c:v>
                </c:pt>
                <c:pt idx="17">
                  <c:v>Boursin Salade &amp; Aperitif Soft Cheese Salade 120G</c:v>
                </c:pt>
              </c:strCache>
            </c:strRef>
          </c:cat>
          <c:val>
            <c:numRef>
              <c:f>Sheet1!$C$2:$C$19</c:f>
              <c:numCache>
                <c:formatCode>General</c:formatCode>
                <c:ptCount val="18"/>
                <c:pt idx="0">
                  <c:v>0.18556816434924628</c:v>
                </c:pt>
                <c:pt idx="1">
                  <c:v>0.3669645593049493</c:v>
                </c:pt>
                <c:pt idx="2">
                  <c:v>0.4905112493848356</c:v>
                </c:pt>
                <c:pt idx="3">
                  <c:v>0.5893683073459665</c:v>
                </c:pt>
                <c:pt idx="4">
                  <c:v>0.6724369179151367</c:v>
                </c:pt>
                <c:pt idx="5">
                  <c:v>0.7484201751245547</c:v>
                </c:pt>
                <c:pt idx="6">
                  <c:v>0.8156100625945961</c:v>
                </c:pt>
                <c:pt idx="7">
                  <c:v>0.8794680026783513</c:v>
                </c:pt>
                <c:pt idx="8">
                  <c:v>0.9239522601426048</c:v>
                </c:pt>
                <c:pt idx="9">
                  <c:v>0.9505727606723943</c:v>
                </c:pt>
                <c:pt idx="10">
                  <c:v>0.9685149285067987</c:v>
                </c:pt>
                <c:pt idx="11">
                  <c:v>0.9780150280680071</c:v>
                </c:pt>
                <c:pt idx="12">
                  <c:v>0.985112762096171</c:v>
                </c:pt>
                <c:pt idx="13">
                  <c:v>0.9896590467091668</c:v>
                </c:pt>
                <c:pt idx="14">
                  <c:v>0.9935311007549114</c:v>
                </c:pt>
                <c:pt idx="15">
                  <c:v>0.9962956008389967</c:v>
                </c:pt>
                <c:pt idx="16">
                  <c:v>0.9984415833636833</c:v>
                </c:pt>
                <c:pt idx="17">
                  <c:v>1.0</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19</c:f>
              <c:strCache>
                <c:ptCount val="18"/>
                <c:pt idx="0">
                  <c:v>Boursin Classique Fromage Frais A Tartiner Afh Boite 1X150Gr 1P</c:v>
                </c:pt>
                <c:pt idx="1">
                  <c:v>Boursin Classique Fromage Frais A Tartiner Afh 1X160Gr 10P</c:v>
                </c:pt>
                <c:pt idx="2">
                  <c:v>Boursin Classique Fromage Frais A Tartiner Afh Boite 1X250Gr 1P</c:v>
                </c:pt>
                <c:pt idx="3">
                  <c:v>Boursin Onctueux Fromage Frais A Tartiner Afh 1X125Gr 1P</c:v>
                </c:pt>
                <c:pt idx="4">
                  <c:v>Boursin Classique Fromage Frais A Tartiner Figue Et 3 Noix Boite 1X150Gr 1P</c:v>
                </c:pt>
                <c:pt idx="5">
                  <c:v>Boursin Classique Fromage Frais A Tartiner Afh Boite 1X96Gr 6P</c:v>
                </c:pt>
                <c:pt idx="6">
                  <c:v>Boursin Salade &amp; Aperitif Fromage Frais Des Afh 1X120Gr 1P</c:v>
                </c:pt>
                <c:pt idx="7">
                  <c:v>Boursin Classique Fromage Frais A Tartiner Ciboulette &amp; Echalote Boite 1X150Gr 1P</c:v>
                </c:pt>
                <c:pt idx="8">
                  <c:v>Boursin Classique Fromage Frais A Tartiner Poivre Boite 1X150Gr 1P</c:v>
                </c:pt>
                <c:pt idx="9">
                  <c:v>Boursin Classique Fromage Frais A Tartiner Afh 1X256Gr 16P</c:v>
                </c:pt>
                <c:pt idx="10">
                  <c:v>Boursin Classique Fromage Frais A Tartiner Ciboulette &amp; Echalote 1X160Gr 10P</c:v>
                </c:pt>
                <c:pt idx="11">
                  <c:v>Boursin Salade &amp; Aperitif Fromage Frais Des Ciboulette Echalote 1X120Gr 1P</c:v>
                </c:pt>
                <c:pt idx="12">
                  <c:v>Boursin Salade &amp; Aperitif Fromage Frais Des Figue Noix 1X120Gr 1P</c:v>
                </c:pt>
                <c:pt idx="13">
                  <c:v>Boursin Classique Fromage Frais A Tartiner Afh Boite 1X80Gr 1P</c:v>
                </c:pt>
                <c:pt idx="14">
                  <c:v>Boursin Salade &amp; Aperitif Fromage Frais Des Citron Romarin 1X120Gr 1P</c:v>
                </c:pt>
                <c:pt idx="15">
                  <c:v>Boursin Salade &amp; Aperitif Fromage Frais Des Noisette Et 3 Noix 1X120Gr 1P</c:v>
                </c:pt>
                <c:pt idx="16">
                  <c:v>Boursin Classique Fromage Frais A Tartiner Truffe Boite 1X150Gr 1P</c:v>
                </c:pt>
                <c:pt idx="17">
                  <c:v>Boursin Salade &amp; Aperitif Soft Cheese Salade 120G</c:v>
                </c:pt>
              </c:strCache>
            </c:strRef>
          </c:cat>
          <c:val>
            <c:numRef>
              <c:f>Sheet1!$D$2:$D$19</c:f>
              <c:numCache>
                <c:formatCode>General</c:formatCode>
                <c:ptCount val="18"/>
                <c:pt idx="0">
                  <c:v>3670.6632653061224</c:v>
                </c:pt>
                <c:pt idx="1">
                  <c:v>3907.088888888889</c:v>
                </c:pt>
                <c:pt idx="2">
                  <c:v>2690.9662921348313</c:v>
                </c:pt>
                <c:pt idx="3">
                  <c:v>2365.864197530864</c:v>
                </c:pt>
                <c:pt idx="4">
                  <c:v>1809.314606741573</c:v>
                </c:pt>
                <c:pt idx="5">
                  <c:v>1990.4594594594594</c:v>
                </c:pt>
                <c:pt idx="6">
                  <c:v>1532.3294117647058</c:v>
                </c:pt>
                <c:pt idx="7">
                  <c:v>1491.433734939759</c:v>
                </c:pt>
                <c:pt idx="8">
                  <c:v>1149.7733333333333</c:v>
                </c:pt>
                <c:pt idx="9">
                  <c:v>806.3125</c:v>
                </c:pt>
                <c:pt idx="10">
                  <c:v>756.1086956521739</c:v>
                </c:pt>
                <c:pt idx="11">
                  <c:v>428.27906976744185</c:v>
                </c:pt>
                <c:pt idx="12">
                  <c:v>292.74468085106383</c:v>
                </c:pt>
                <c:pt idx="13">
                  <c:v>734.4166666666666</c:v>
                </c:pt>
                <c:pt idx="14">
                  <c:v>268.07142857142856</c:v>
                </c:pt>
                <c:pt idx="15">
                  <c:v>130.70731707317074</c:v>
                </c:pt>
                <c:pt idx="16">
                  <c:v>126.06060606060606</c:v>
                </c:pt>
                <c:pt idx="17">
                  <c:v>215.78571428571425</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6</c:f>
              <c:strCache>
                <c:ptCount val="5"/>
                <c:pt idx="0">
                  <c:v>Boursin Aperitif Roules Fromage Frais Roule Afh Et Jambon Fume Boite 1X100Gr 20P</c:v>
                </c:pt>
                <c:pt idx="1">
                  <c:v>Boursin Aperitif Roules Fromage Frais Roule Ciboulette &amp; Echalote Jambon Fume Boite 1X100Gr 20P</c:v>
                </c:pt>
                <c:pt idx="2">
                  <c:v>Boursin Aperitif Roules Aperitif 100G</c:v>
                </c:pt>
                <c:pt idx="3">
                  <c:v>Boursin Aperitif Roules Fromage Frais Roule Jambon Fume &amp; Trio De Noix Boite 1X100Gr 20P</c:v>
                </c:pt>
                <c:pt idx="4">
                  <c:v>Boursin Aperitif Roules Fromage Frais Roule Basilic &amp; Jambon Fume Tomate Boite 1X100Gr 20P</c:v>
                </c:pt>
              </c:strCache>
            </c:strRef>
          </c:cat>
          <c:val>
            <c:numRef>
              <c:f>Sheet1!$B$2:$B$6</c:f>
              <c:numCache>
                <c:formatCode>General</c:formatCode>
                <c:ptCount val="5"/>
                <c:pt idx="0">
                  <c:v>0.905</c:v>
                </c:pt>
                <c:pt idx="1">
                  <c:v>0.788</c:v>
                </c:pt>
                <c:pt idx="2">
                  <c:v>0.352</c:v>
                </c:pt>
                <c:pt idx="3">
                  <c:v>0.409</c:v>
                </c:pt>
                <c:pt idx="4">
                  <c:v>0.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AEABAB"/>
              </a:solidFill>
            </c:spPr>
            <c:extLst>
              <c:ext xmlns:c16="http://schemas.microsoft.com/office/drawing/2014/chart" uri="{C3380CC4-5D6E-409C-BE32-E72D297353CC}">
                <c16:uniqueId val="{00000008-D8F4-40C6-A5E0-DB4B53CFB1F3}"/>
              </c:ext>
            </c:extLst>
          </c:dPt>
          <c:dPt>
            <c:idx val="2"/>
            <c:invertIfNegative val="0"/>
            <c:bubble3D val="0"/>
            <c:spPr>
              <a:solidFill>
                <a:srgbClr val="AEABAB"/>
              </a:solidFill>
            </c:spPr>
            <c:extLst>
              <c:ext xmlns:c16="http://schemas.microsoft.com/office/drawing/2014/chart" uri="{C3380CC4-5D6E-409C-BE32-E72D297353CC}">
                <c16:uniqueId val="{00000006-E902-46E2-9A54-39A26B3DFDC1}"/>
              </c:ext>
            </c:extLst>
          </c:dPt>
          <c:dPt>
            <c:idx val="3"/>
            <c:invertIfNegative val="0"/>
            <c:bubble3D val="0"/>
            <c:spPr>
              <a:solidFill>
                <a:srgbClr val="AEABAB"/>
              </a:solidFill>
            </c:spPr>
            <c:extLst>
              <c:ext xmlns:c16="http://schemas.microsoft.com/office/drawing/2014/chart" uri="{C3380CC4-5D6E-409C-BE32-E72D297353CC}">
                <c16:uniqueId val="{00000007-E902-46E2-9A54-39A26B3DFDC1}"/>
              </c:ext>
            </c:extLst>
          </c:dPt>
          <c:dPt>
            <c:idx val="4"/>
            <c:invertIfNegative val="1"/>
            <c:bubble3D val="0"/>
            <c:spPr>
              <a:solidFill>
                <a:srgbClr val="AEABAB"/>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6</c:f>
              <c:strCache>
                <c:ptCount val="5"/>
                <c:pt idx="0">
                  <c:v>Boursin Aperitif Roules Fromage Frais Roule Afh Et Jambon Fume Boite 1X100Gr 20P</c:v>
                </c:pt>
                <c:pt idx="1">
                  <c:v>Boursin Aperitif Roules Fromage Frais Roule Ciboulette &amp; Echalote Jambon Fume Boite 1X100Gr 20P</c:v>
                </c:pt>
                <c:pt idx="2">
                  <c:v>Boursin Aperitif Roules Aperitif 100G</c:v>
                </c:pt>
                <c:pt idx="3">
                  <c:v>Boursin Aperitif Roules Fromage Frais Roule Jambon Fume &amp; Trio De Noix Boite 1X100Gr 20P</c:v>
                </c:pt>
                <c:pt idx="4">
                  <c:v>Boursin Aperitif Roules Fromage Frais Roule Basilic &amp; Jambon Fume Tomate Boite 1X100Gr 20P</c:v>
                </c:pt>
              </c:strCache>
            </c:strRef>
          </c:cat>
          <c:val>
            <c:numRef>
              <c:f>Sheet1!$C$2:$C$6</c:f>
              <c:numCache>
                <c:formatCode>General</c:formatCode>
                <c:ptCount val="5"/>
                <c:pt idx="0">
                  <c:v>0.6992133071673106</c:v>
                </c:pt>
                <c:pt idx="1">
                  <c:v>0.9718802222318247</c:v>
                </c:pt>
                <c:pt idx="2">
                  <c:v>0.986124235340926</c:v>
                </c:pt>
                <c:pt idx="3">
                  <c:v>0.9999845091057922</c:v>
                </c:pt>
                <c:pt idx="4">
                  <c:v>1.0</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6</c:f>
              <c:strCache>
                <c:ptCount val="5"/>
                <c:pt idx="0">
                  <c:v>Boursin Aperitif Roules Fromage Frais Roule Afh Et Jambon Fume Boite 1X100Gr 20P</c:v>
                </c:pt>
                <c:pt idx="1">
                  <c:v>Boursin Aperitif Roules Fromage Frais Roule Ciboulette &amp; Echalote Jambon Fume Boite 1X100Gr 20P</c:v>
                </c:pt>
                <c:pt idx="2">
                  <c:v>Boursin Aperitif Roules Aperitif 100G</c:v>
                </c:pt>
                <c:pt idx="3">
                  <c:v>Boursin Aperitif Roules Fromage Frais Roule Jambon Fume &amp; Trio De Noix Boite 1X100Gr 20P</c:v>
                </c:pt>
                <c:pt idx="4">
                  <c:v>Boursin Aperitif Roules Fromage Frais Roule Basilic &amp; Jambon Fume Tomate Boite 1X100Gr 20P</c:v>
                </c:pt>
              </c:strCache>
            </c:strRef>
          </c:cat>
          <c:val>
            <c:numRef>
              <c:f>Sheet1!$D$2:$D$6</c:f>
              <c:numCache>
                <c:formatCode>General</c:formatCode>
                <c:ptCount val="5"/>
                <c:pt idx="0">
                  <c:v>28428.861878453037</c:v>
                </c:pt>
                <c:pt idx="1">
                  <c:v>12732.23350253807</c:v>
                </c:pt>
                <c:pt idx="2">
                  <c:v>1488.977272727273</c:v>
                </c:pt>
                <c:pt idx="3">
                  <c:v>1246.9437652811737</c:v>
                </c:pt>
                <c:pt idx="4">
                  <c:v>63.33333333333334</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6</c:f>
              <c:strCache>
                <c:ptCount val="5"/>
                <c:pt idx="0">
                  <c:v>Boursin Aperitif Roules Fromage Frais Roule Afh Et Jambon Fume Boite 1X100Gr 20P</c:v>
                </c:pt>
                <c:pt idx="1">
                  <c:v>Boursin Aperitif Roules Fromage Frais Roule Ciboulette &amp; Echalote Jambon Fume Boite 1X100Gr 20P</c:v>
                </c:pt>
                <c:pt idx="2">
                  <c:v>Boursin Aperitif Roules Fromage Frais Roule Basilic &amp; Jambon Fume Tomate Boite 1X100Gr 20P</c:v>
                </c:pt>
                <c:pt idx="3">
                  <c:v>Boursin Aperitif Roules Fromage Frais Roule Jambon Fume &amp; Trio De Noix Boite 1X100Gr 20P</c:v>
                </c:pt>
                <c:pt idx="4">
                  <c:v>Boursin Aperitif Roules Aperitif 100G</c:v>
                </c:pt>
              </c:strCache>
            </c:strRef>
          </c:cat>
          <c:val>
            <c:numRef>
              <c:f>Sheet1!$B$2:$B$6</c:f>
              <c:numCache>
                <c:formatCode>General</c:formatCode>
                <c:ptCount val="5"/>
                <c:pt idx="0">
                  <c:v>0.966</c:v>
                </c:pt>
                <c:pt idx="1">
                  <c:v>0.911</c:v>
                </c:pt>
                <c:pt idx="2">
                  <c:v>0.873</c:v>
                </c:pt>
                <c:pt idx="3">
                  <c:v>0.75</c:v>
                </c:pt>
                <c:pt idx="4">
                  <c:v>0.661</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7ECAC4"/>
              </a:solidFill>
            </c:spPr>
            <c:extLst>
              <c:ext xmlns:c16="http://schemas.microsoft.com/office/drawing/2014/chart" uri="{C3380CC4-5D6E-409C-BE32-E72D297353CC}">
                <c16:uniqueId val="{00000008-D8F4-40C6-A5E0-DB4B53CFB1F3}"/>
              </c:ext>
            </c:extLst>
          </c:dPt>
          <c:dPt>
            <c:idx val="2"/>
            <c:invertIfNegative val="0"/>
            <c:bubble3D val="0"/>
            <c:spPr>
              <a:solidFill>
                <a:srgbClr val="AEABAB"/>
              </a:solidFill>
            </c:spPr>
            <c:extLst>
              <c:ext xmlns:c16="http://schemas.microsoft.com/office/drawing/2014/chart" uri="{C3380CC4-5D6E-409C-BE32-E72D297353CC}">
                <c16:uniqueId val="{00000006-E902-46E2-9A54-39A26B3DFDC1}"/>
              </c:ext>
            </c:extLst>
          </c:dPt>
          <c:dPt>
            <c:idx val="3"/>
            <c:invertIfNegative val="0"/>
            <c:bubble3D val="0"/>
            <c:spPr>
              <a:solidFill>
                <a:srgbClr val="AEABAB"/>
              </a:solidFill>
            </c:spPr>
            <c:extLst>
              <c:ext xmlns:c16="http://schemas.microsoft.com/office/drawing/2014/chart" uri="{C3380CC4-5D6E-409C-BE32-E72D297353CC}">
                <c16:uniqueId val="{00000007-E902-46E2-9A54-39A26B3DFDC1}"/>
              </c:ext>
            </c:extLst>
          </c:dPt>
          <c:dPt>
            <c:idx val="4"/>
            <c:invertIfNegative val="1"/>
            <c:bubble3D val="0"/>
            <c:spPr>
              <a:solidFill>
                <a:srgbClr val="AEABAB"/>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6</c:f>
              <c:strCache>
                <c:ptCount val="5"/>
                <c:pt idx="0">
                  <c:v>Boursin Aperitif Roules Fromage Frais Roule Afh Et Jambon Fume Boite 1X100Gr 20P</c:v>
                </c:pt>
                <c:pt idx="1">
                  <c:v>Boursin Aperitif Roules Fromage Frais Roule Ciboulette &amp; Echalote Jambon Fume Boite 1X100Gr 20P</c:v>
                </c:pt>
                <c:pt idx="2">
                  <c:v>Boursin Aperitif Roules Fromage Frais Roule Basilic &amp; Jambon Fume Tomate Boite 1X100Gr 20P</c:v>
                </c:pt>
                <c:pt idx="3">
                  <c:v>Boursin Aperitif Roules Fromage Frais Roule Jambon Fume &amp; Trio De Noix Boite 1X100Gr 20P</c:v>
                </c:pt>
                <c:pt idx="4">
                  <c:v>Boursin Aperitif Roules Aperitif 100G</c:v>
                </c:pt>
              </c:strCache>
            </c:strRef>
          </c:cat>
          <c:val>
            <c:numRef>
              <c:f>Sheet1!$C$2:$C$6</c:f>
              <c:numCache>
                <c:formatCode>General</c:formatCode>
                <c:ptCount val="5"/>
                <c:pt idx="0">
                  <c:v>0.5081884016450472</c:v>
                </c:pt>
                <c:pt idx="1">
                  <c:v>0.8214550740025701</c:v>
                </c:pt>
                <c:pt idx="2">
                  <c:v>0.9751102993195527</c:v>
                </c:pt>
                <c:pt idx="3">
                  <c:v>0.9887066125801445</c:v>
                </c:pt>
                <c:pt idx="4">
                  <c:v>0.9999999999999999</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6</c:f>
              <c:strCache>
                <c:ptCount val="5"/>
                <c:pt idx="0">
                  <c:v>Boursin Aperitif Roules Fromage Frais Roule Afh Et Jambon Fume Boite 1X100Gr 20P</c:v>
                </c:pt>
                <c:pt idx="1">
                  <c:v>Boursin Aperitif Roules Fromage Frais Roule Ciboulette &amp; Echalote Jambon Fume Boite 1X100Gr 20P</c:v>
                </c:pt>
                <c:pt idx="2">
                  <c:v>Boursin Aperitif Roules Fromage Frais Roule Basilic &amp; Jambon Fume Tomate Boite 1X100Gr 20P</c:v>
                </c:pt>
                <c:pt idx="3">
                  <c:v>Boursin Aperitif Roules Fromage Frais Roule Jambon Fume &amp; Trio De Noix Boite 1X100Gr 20P</c:v>
                </c:pt>
                <c:pt idx="4">
                  <c:v>Boursin Aperitif Roules Aperitif 100G</c:v>
                </c:pt>
              </c:strCache>
            </c:strRef>
          </c:cat>
          <c:val>
            <c:numRef>
              <c:f>Sheet1!$D$2:$D$6</c:f>
              <c:numCache>
                <c:formatCode>General</c:formatCode>
                <c:ptCount val="5"/>
                <c:pt idx="0">
                  <c:v>22494.254658385096</c:v>
                </c:pt>
                <c:pt idx="1">
                  <c:v>14703.468715697034</c:v>
                </c:pt>
                <c:pt idx="2">
                  <c:v>7525.876288659794</c:v>
                </c:pt>
                <c:pt idx="3">
                  <c:v>775.1466666666666</c:v>
                </c:pt>
                <c:pt idx="4">
                  <c:v>730.5446293494704</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6</c:f>
              <c:strCache>
                <c:ptCount val="5"/>
                <c:pt idx="0">
                  <c:v>Boursin Aperitif Roules Fromage Frais Roule Afh Et Jambon Fume Boite 1X100Gr 20P</c:v>
                </c:pt>
                <c:pt idx="1">
                  <c:v>Boursin Aperitif Roules Fromage Frais Roule Ciboulette &amp; Echalote Jambon Fume Boite 1X100Gr 20P</c:v>
                </c:pt>
                <c:pt idx="2">
                  <c:v>Boursin Aperitif Roules Aperitif 100G</c:v>
                </c:pt>
                <c:pt idx="3">
                  <c:v>Boursin Aperitif Roules Fromage Frais Roule Jambon Fume &amp; Trio De Noix Boite 1X100Gr 20P</c:v>
                </c:pt>
                <c:pt idx="4">
                  <c:v>Boursin Aperitif Roules Fromage Frais Roule Basilic &amp; Jambon Fume Tomate Boite 1X100Gr 20P</c:v>
                </c:pt>
              </c:strCache>
            </c:strRef>
          </c:cat>
          <c:val>
            <c:numRef>
              <c:f>Sheet1!$B$2:$B$6</c:f>
              <c:numCache>
                <c:formatCode>General</c:formatCode>
                <c:ptCount val="5"/>
                <c:pt idx="0">
                  <c:v>1.0</c:v>
                </c:pt>
                <c:pt idx="1">
                  <c:v>0.95</c:v>
                </c:pt>
                <c:pt idx="2">
                  <c:v>0.53</c:v>
                </c:pt>
                <c:pt idx="3">
                  <c:v>0.48</c:v>
                </c:pt>
                <c:pt idx="4">
                  <c:v>0.02</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AEABAB"/>
              </a:solidFill>
            </c:spPr>
            <c:extLst>
              <c:ext xmlns:c16="http://schemas.microsoft.com/office/drawing/2014/chart" uri="{C3380CC4-5D6E-409C-BE32-E72D297353CC}">
                <c16:uniqueId val="{00000008-D8F4-40C6-A5E0-DB4B53CFB1F3}"/>
              </c:ext>
            </c:extLst>
          </c:dPt>
          <c:dPt>
            <c:idx val="2"/>
            <c:invertIfNegative val="0"/>
            <c:bubble3D val="0"/>
            <c:spPr>
              <a:solidFill>
                <a:srgbClr val="AEABAB"/>
              </a:solidFill>
            </c:spPr>
            <c:extLst>
              <c:ext xmlns:c16="http://schemas.microsoft.com/office/drawing/2014/chart" uri="{C3380CC4-5D6E-409C-BE32-E72D297353CC}">
                <c16:uniqueId val="{00000006-E902-46E2-9A54-39A26B3DFDC1}"/>
              </c:ext>
            </c:extLst>
          </c:dPt>
          <c:dPt>
            <c:idx val="3"/>
            <c:invertIfNegative val="0"/>
            <c:bubble3D val="0"/>
            <c:spPr>
              <a:solidFill>
                <a:srgbClr val="AEABAB"/>
              </a:solidFill>
            </c:spPr>
            <c:extLst>
              <c:ext xmlns:c16="http://schemas.microsoft.com/office/drawing/2014/chart" uri="{C3380CC4-5D6E-409C-BE32-E72D297353CC}">
                <c16:uniqueId val="{00000007-E902-46E2-9A54-39A26B3DFDC1}"/>
              </c:ext>
            </c:extLst>
          </c:dPt>
          <c:dPt>
            <c:idx val="4"/>
            <c:invertIfNegative val="1"/>
            <c:bubble3D val="0"/>
            <c:spPr>
              <a:solidFill>
                <a:srgbClr val="AEABAB"/>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6</c:f>
              <c:strCache>
                <c:ptCount val="5"/>
                <c:pt idx="0">
                  <c:v>Boursin Aperitif Roules Fromage Frais Roule Afh Et Jambon Fume Boite 1X100Gr 20P</c:v>
                </c:pt>
                <c:pt idx="1">
                  <c:v>Boursin Aperitif Roules Fromage Frais Roule Ciboulette &amp; Echalote Jambon Fume Boite 1X100Gr 20P</c:v>
                </c:pt>
                <c:pt idx="2">
                  <c:v>Boursin Aperitif Roules Aperitif 100G</c:v>
                </c:pt>
                <c:pt idx="3">
                  <c:v>Boursin Aperitif Roules Fromage Frais Roule Jambon Fume &amp; Trio De Noix Boite 1X100Gr 20P</c:v>
                </c:pt>
                <c:pt idx="4">
                  <c:v>Boursin Aperitif Roules Fromage Frais Roule Basilic &amp; Jambon Fume Tomate Boite 1X100Gr 20P</c:v>
                </c:pt>
              </c:strCache>
            </c:strRef>
          </c:cat>
          <c:val>
            <c:numRef>
              <c:f>Sheet1!$C$2:$C$6</c:f>
              <c:numCache>
                <c:formatCode>General</c:formatCode>
                <c:ptCount val="5"/>
                <c:pt idx="0">
                  <c:v>0.6419925683381774</c:v>
                </c:pt>
                <c:pt idx="1">
                  <c:v>0.9532598342796643</c:v>
                </c:pt>
                <c:pt idx="2">
                  <c:v>0.9788643210739528</c:v>
                </c:pt>
                <c:pt idx="3">
                  <c:v>0.9999533988202544</c:v>
                </c:pt>
                <c:pt idx="4">
                  <c:v>1.0</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6</c:f>
              <c:strCache>
                <c:ptCount val="5"/>
                <c:pt idx="0">
                  <c:v>Boursin Aperitif Roules Fromage Frais Roule Afh Et Jambon Fume Boite 1X100Gr 20P</c:v>
                </c:pt>
                <c:pt idx="1">
                  <c:v>Boursin Aperitif Roules Fromage Frais Roule Ciboulette &amp; Echalote Jambon Fume Boite 1X100Gr 20P</c:v>
                </c:pt>
                <c:pt idx="2">
                  <c:v>Boursin Aperitif Roules Aperitif 100G</c:v>
                </c:pt>
                <c:pt idx="3">
                  <c:v>Boursin Aperitif Roules Fromage Frais Roule Jambon Fume &amp; Trio De Noix Boite 1X100Gr 20P</c:v>
                </c:pt>
                <c:pt idx="4">
                  <c:v>Boursin Aperitif Roules Fromage Frais Roule Basilic &amp; Jambon Fume Tomate Boite 1X100Gr 20P</c:v>
                </c:pt>
              </c:strCache>
            </c:strRef>
          </c:cat>
          <c:val>
            <c:numRef>
              <c:f>Sheet1!$D$2:$D$6</c:f>
              <c:numCache>
                <c:formatCode>General</c:formatCode>
                <c:ptCount val="5"/>
                <c:pt idx="0">
                  <c:v>7852.5</c:v>
                </c:pt>
                <c:pt idx="1">
                  <c:v>4007.6315789473683</c:v>
                </c:pt>
                <c:pt idx="2">
                  <c:v>590.9056603773585</c:v>
                </c:pt>
                <c:pt idx="3">
                  <c:v>537.3958333333334</c:v>
                </c:pt>
                <c:pt idx="4">
                  <c:v>28.5</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Apericube</c:v>
                </c:pt>
                <c:pt idx="1">
                  <c:v>Aperivrais</c:v>
                </c:pt>
                <c:pt idx="2">
                  <c:v>Boursin</c:v>
                </c:pt>
                <c:pt idx="3">
                  <c:v>St Moret</c:v>
                </c:pt>
                <c:pt idx="4">
                  <c:v>Private Label</c:v>
                </c:pt>
                <c:pt idx="5">
                  <c:v>Entremont</c:v>
                </c:pt>
                <c:pt idx="6">
                  <c:v>Others</c:v>
                </c:pt>
              </c:strCache>
            </c:strRef>
          </c:cat>
          <c:val>
            <c:numRef>
              <c:f>Sheet1!$B$2:$B$8</c:f>
              <c:numCache>
                <c:formatCode>General</c:formatCode>
                <c:ptCount val="7"/>
                <c:pt idx="0">
                  <c:v>0.6114700512441239</c:v>
                </c:pt>
                <c:pt idx="1">
                  <c:v>0.12310780796496239</c:v>
                </c:pt>
                <c:pt idx="2">
                  <c:v>0.11096470511807083</c:v>
                </c:pt>
                <c:pt idx="3">
                  <c:v>0.07040577953695891</c:v>
                </c:pt>
                <c:pt idx="4">
                  <c:v>0.06967624230449533</c:v>
                </c:pt>
                <c:pt idx="5">
                  <c:v>0.012697567659829885</c:v>
                </c:pt>
                <c:pt idx="6">
                  <c:v>0.0016778461715587904</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Apericube</c:v>
                </c:pt>
                <c:pt idx="1">
                  <c:v>Aperivrais</c:v>
                </c:pt>
                <c:pt idx="2">
                  <c:v>Boursin</c:v>
                </c:pt>
                <c:pt idx="3">
                  <c:v>St Moret</c:v>
                </c:pt>
                <c:pt idx="4">
                  <c:v>Private Label</c:v>
                </c:pt>
                <c:pt idx="5">
                  <c:v>Entremont</c:v>
                </c:pt>
                <c:pt idx="6">
                  <c:v>Others</c:v>
                </c:pt>
              </c:strCache>
            </c:strRef>
          </c:cat>
          <c:val>
            <c:numRef>
              <c:f>Sheet1!$C$2:$C$8</c:f>
              <c:numCache>
                <c:formatCode>General</c:formatCode>
                <c:ptCount val="7"/>
                <c:pt idx="0">
                  <c:v>0.40081479160137895</c:v>
                </c:pt>
                <c:pt idx="1">
                  <c:v>0.204324663115011</c:v>
                </c:pt>
                <c:pt idx="2">
                  <c:v>0.1356941397680978</c:v>
                </c:pt>
                <c:pt idx="3">
                  <c:v>0.11250391726731433</c:v>
                </c:pt>
                <c:pt idx="4">
                  <c:v>0.05672203071137575</c:v>
                </c:pt>
                <c:pt idx="5">
                  <c:v>0.08523973675963648</c:v>
                </c:pt>
                <c:pt idx="6">
                  <c:v>0.004700720777185836</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Apericube</c:v>
                </c:pt>
                <c:pt idx="1">
                  <c:v>Aperivrais</c:v>
                </c:pt>
                <c:pt idx="2">
                  <c:v>Boursin</c:v>
                </c:pt>
                <c:pt idx="3">
                  <c:v>St Moret</c:v>
                </c:pt>
                <c:pt idx="4">
                  <c:v>Private Label</c:v>
                </c:pt>
                <c:pt idx="5">
                  <c:v>Entremont</c:v>
                </c:pt>
                <c:pt idx="6">
                  <c:v>Others</c:v>
                </c:pt>
              </c:strCache>
            </c:strRef>
          </c:cat>
          <c:val>
            <c:numRef>
              <c:f>Sheet1!$D$2:$D$8</c:f>
              <c:numCache>
                <c:formatCode>General</c:formatCode>
                <c:ptCount val="7"/>
                <c:pt idx="0">
                  <c:v>65.54937413301984</c:v>
                </c:pt>
                <c:pt idx="1">
                  <c:v>165.97213977943923</c:v>
                </c:pt>
                <c:pt idx="2">
                  <c:v>122.28585623123485</c:v>
                </c:pt>
                <c:pt idx="3">
                  <c:v>159.79358229853327</c:v>
                </c:pt>
                <c:pt idx="4">
                  <c:v>81.40799336378132</c:v>
                </c:pt>
                <c:pt idx="5">
                  <c:v>671.3076003469665</c:v>
                </c:pt>
                <c:pt idx="6">
                  <c:v>280.16398981431456</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5</c:f>
              <c:strCache>
                <c:ptCount val="4"/>
                <c:pt idx="0">
                  <c:v>Boursin Aperitif Roules Fromage Frais Roule Afh Et Jambon Fume Boite 1X100Gr 20P</c:v>
                </c:pt>
                <c:pt idx="1">
                  <c:v>Boursin Aperitif Roules Fromage Frais Roule Ciboulette &amp; Echalote Jambon Fume Boite 1X100Gr 20P</c:v>
                </c:pt>
                <c:pt idx="2">
                  <c:v>Boursin Aperitif Roules Fromage Frais Roule Jambon Fume &amp; Trio De Noix Boite 1X100Gr 20P</c:v>
                </c:pt>
                <c:pt idx="3">
                  <c:v>Boursin Aperitif Roules Aperitif 100G</c:v>
                </c:pt>
              </c:strCache>
            </c:strRef>
          </c:cat>
          <c:val>
            <c:numRef>
              <c:f>Sheet1!$B$2:$B$5</c:f>
              <c:numCache>
                <c:formatCode>General</c:formatCode>
                <c:ptCount val="4"/>
                <c:pt idx="0">
                  <c:v>0.94</c:v>
                </c:pt>
                <c:pt idx="1">
                  <c:v>0.86</c:v>
                </c:pt>
                <c:pt idx="2">
                  <c:v>0.5</c:v>
                </c:pt>
                <c:pt idx="3">
                  <c:v>0.2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AEABAB"/>
              </a:solidFill>
            </c:spPr>
            <c:extLst>
              <c:ext xmlns:c16="http://schemas.microsoft.com/office/drawing/2014/chart" uri="{C3380CC4-5D6E-409C-BE32-E72D297353CC}">
                <c16:uniqueId val="{00000008-D8F4-40C6-A5E0-DB4B53CFB1F3}"/>
              </c:ext>
            </c:extLst>
          </c:dPt>
          <c:dPt>
            <c:idx val="2"/>
            <c:invertIfNegative val="0"/>
            <c:bubble3D val="0"/>
            <c:spPr>
              <a:solidFill>
                <a:srgbClr val="AEABAB"/>
              </a:solidFill>
            </c:spPr>
            <c:extLst>
              <c:ext xmlns:c16="http://schemas.microsoft.com/office/drawing/2014/chart" uri="{C3380CC4-5D6E-409C-BE32-E72D297353CC}">
                <c16:uniqueId val="{00000006-E902-46E2-9A54-39A26B3DFDC1}"/>
              </c:ext>
            </c:extLst>
          </c:dPt>
          <c:dPt>
            <c:idx val="3"/>
            <c:invertIfNegative val="0"/>
            <c:bubble3D val="0"/>
            <c:spPr>
              <a:solidFill>
                <a:srgbClr val="AEABAB"/>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5</c:f>
              <c:strCache>
                <c:ptCount val="4"/>
                <c:pt idx="0">
                  <c:v>Boursin Aperitif Roules Fromage Frais Roule Afh Et Jambon Fume Boite 1X100Gr 20P</c:v>
                </c:pt>
                <c:pt idx="1">
                  <c:v>Boursin Aperitif Roules Fromage Frais Roule Ciboulette &amp; Echalote Jambon Fume Boite 1X100Gr 20P</c:v>
                </c:pt>
                <c:pt idx="2">
                  <c:v>Boursin Aperitif Roules Fromage Frais Roule Jambon Fume &amp; Trio De Noix Boite 1X100Gr 20P</c:v>
                </c:pt>
                <c:pt idx="3">
                  <c:v>Boursin Aperitif Roules Aperitif 100G</c:v>
                </c:pt>
              </c:strCache>
            </c:strRef>
          </c:cat>
          <c:val>
            <c:numRef>
              <c:f>Sheet1!$C$2:$C$5</c:f>
              <c:numCache>
                <c:formatCode>General</c:formatCode>
                <c:ptCount val="4"/>
                <c:pt idx="0">
                  <c:v>0.6076619718309859</c:v>
                </c:pt>
                <c:pt idx="1">
                  <c:v>0.9693130074565037</c:v>
                </c:pt>
                <c:pt idx="2">
                  <c:v>0.9860188898094449</c:v>
                </c:pt>
                <c:pt idx="3">
                  <c:v>1.0</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5</c:f>
              <c:strCache>
                <c:ptCount val="4"/>
                <c:pt idx="0">
                  <c:v>Boursin Aperitif Roules Fromage Frais Roule Afh Et Jambon Fume Boite 1X100Gr 20P</c:v>
                </c:pt>
                <c:pt idx="1">
                  <c:v>Boursin Aperitif Roules Fromage Frais Roule Ciboulette &amp; Echalote Jambon Fume Boite 1X100Gr 20P</c:v>
                </c:pt>
                <c:pt idx="2">
                  <c:v>Boursin Aperitif Roules Fromage Frais Roule Jambon Fume &amp; Trio De Noix Boite 1X100Gr 20P</c:v>
                </c:pt>
                <c:pt idx="3">
                  <c:v>Boursin Aperitif Roules Aperitif 100G</c:v>
                </c:pt>
              </c:strCache>
            </c:strRef>
          </c:cat>
          <c:val>
            <c:numRef>
              <c:f>Sheet1!$D$2:$D$5</c:f>
              <c:numCache>
                <c:formatCode>General</c:formatCode>
                <c:ptCount val="4"/>
                <c:pt idx="0">
                  <c:v>9753.297872340425</c:v>
                </c:pt>
                <c:pt idx="1">
                  <c:v>6344.662790697675</c:v>
                </c:pt>
                <c:pt idx="2">
                  <c:v>504.1</c:v>
                </c:pt>
                <c:pt idx="3">
                  <c:v>727.3793103448277</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3</c:f>
              <c:strCache>
                <c:ptCount val="2"/>
                <c:pt idx="0">
                  <c:v>Boursin Aperitif Roules Fromage Frais Roule Afh Et Jambon Fume Boite 1X100Gr 20P</c:v>
                </c:pt>
                <c:pt idx="1">
                  <c:v>Boursin Aperitif Roules Fromage Frais Roule Ciboulette &amp; Echalote Jambon Fume Boite 1X100Gr 20P</c:v>
                </c:pt>
              </c:strCache>
            </c:strRef>
          </c:cat>
          <c:val>
            <c:numRef>
              <c:f>Sheet1!$B$2:$B$3</c:f>
              <c:numCache>
                <c:formatCode>General</c:formatCode>
                <c:ptCount val="2"/>
                <c:pt idx="0">
                  <c:v>0.56</c:v>
                </c:pt>
                <c:pt idx="1">
                  <c:v>0.17</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7ECAC4"/>
              </a:solidFill>
            </c:spPr>
            <c:extLst>
              <c:ext xmlns:c16="http://schemas.microsoft.com/office/drawing/2014/chart" uri="{C3380CC4-5D6E-409C-BE32-E72D297353CC}">
                <c16:uniqueId val="{00000006-D8F4-40C6-A5E0-DB4B53CFB1F3}"/>
              </c:ext>
            </c:extLst>
          </c:dPt>
          <c:dPt>
            <c:idx val="1"/>
            <c:invertIfNegative val="0"/>
            <c:bubble3D val="0"/>
            <c:spPr>
              <a:solidFill>
                <a:srgbClr val="AEABAB"/>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3</c:f>
              <c:strCache>
                <c:ptCount val="2"/>
                <c:pt idx="0">
                  <c:v>Boursin Aperitif Roules Fromage Frais Roule Afh Et Jambon Fume Boite 1X100Gr 20P</c:v>
                </c:pt>
                <c:pt idx="1">
                  <c:v>Boursin Aperitif Roules Fromage Frais Roule Ciboulette &amp; Echalote Jambon Fume Boite 1X100Gr 20P</c:v>
                </c:pt>
              </c:strCache>
            </c:strRef>
          </c:cat>
          <c:val>
            <c:numRef>
              <c:f>Sheet1!$C$2:$C$3</c:f>
              <c:numCache>
                <c:formatCode>General</c:formatCode>
                <c:ptCount val="2"/>
                <c:pt idx="0">
                  <c:v>0.918819102529741</c:v>
                </c:pt>
                <c:pt idx="1">
                  <c:v>1.000000000000000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3</c:f>
              <c:strCache>
                <c:ptCount val="2"/>
                <c:pt idx="0">
                  <c:v>Boursin Aperitif Roules Fromage Frais Roule Afh Et Jambon Fume Boite 1X100Gr 20P</c:v>
                </c:pt>
                <c:pt idx="1">
                  <c:v>Boursin Aperitif Roules Fromage Frais Roule Ciboulette &amp; Echalote Jambon Fume Boite 1X100Gr 20P</c:v>
                </c:pt>
              </c:strCache>
            </c:strRef>
          </c:cat>
          <c:val>
            <c:numRef>
              <c:f>Sheet1!$D$2:$D$3</c:f>
              <c:numCache>
                <c:formatCode>General</c:formatCode>
                <c:ptCount val="2"/>
                <c:pt idx="0">
                  <c:v>15549.142857142855</c:v>
                </c:pt>
                <c:pt idx="1">
                  <c:v>4525.529411764706</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6</c:f>
              <c:strCache>
                <c:ptCount val="5"/>
                <c:pt idx="0">
                  <c:v>Boursin Aperitif Roules Fromage Frais Roule Afh Et Jambon Fume Boite 1X100Gr 20P</c:v>
                </c:pt>
                <c:pt idx="1">
                  <c:v>Boursin Aperitif Roules Fromage Frais Roule Ciboulette &amp; Echalote Jambon Fume Boite 1X100Gr 20P</c:v>
                </c:pt>
                <c:pt idx="2">
                  <c:v>Boursin Aperitif Roules Fromage Frais Roule Basilic &amp; Jambon Fume Tomate Boite 1X100Gr 20P</c:v>
                </c:pt>
                <c:pt idx="3">
                  <c:v>Boursin Aperitif Roules Fromage Frais Roule Jambon Fume &amp; Trio De Noix Boite 1X100Gr 20P</c:v>
                </c:pt>
                <c:pt idx="4">
                  <c:v>Boursin Aperitif Roules Aperitif 100G</c:v>
                </c:pt>
              </c:strCache>
            </c:strRef>
          </c:cat>
          <c:val>
            <c:numRef>
              <c:f>Sheet1!$B$2:$B$6</c:f>
              <c:numCache>
                <c:formatCode>General</c:formatCode>
                <c:ptCount val="5"/>
                <c:pt idx="0">
                  <c:v>0.98</c:v>
                </c:pt>
                <c:pt idx="1">
                  <c:v>0.95</c:v>
                </c:pt>
                <c:pt idx="2">
                  <c:v>0.9</c:v>
                </c:pt>
                <c:pt idx="3">
                  <c:v>0.8</c:v>
                </c:pt>
                <c:pt idx="4">
                  <c:v>0.7</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7ECAC4"/>
              </a:solidFill>
            </c:spPr>
            <c:extLst>
              <c:ext xmlns:c16="http://schemas.microsoft.com/office/drawing/2014/chart" uri="{C3380CC4-5D6E-409C-BE32-E72D297353CC}">
                <c16:uniqueId val="{00000008-D8F4-40C6-A5E0-DB4B53CFB1F3}"/>
              </c:ext>
            </c:extLst>
          </c:dPt>
          <c:dPt>
            <c:idx val="2"/>
            <c:invertIfNegative val="0"/>
            <c:bubble3D val="0"/>
            <c:spPr>
              <a:solidFill>
                <a:srgbClr val="AEABAB"/>
              </a:solidFill>
            </c:spPr>
            <c:extLst>
              <c:ext xmlns:c16="http://schemas.microsoft.com/office/drawing/2014/chart" uri="{C3380CC4-5D6E-409C-BE32-E72D297353CC}">
                <c16:uniqueId val="{00000006-E902-46E2-9A54-39A26B3DFDC1}"/>
              </c:ext>
            </c:extLst>
          </c:dPt>
          <c:dPt>
            <c:idx val="3"/>
            <c:invertIfNegative val="0"/>
            <c:bubble3D val="0"/>
            <c:spPr>
              <a:solidFill>
                <a:srgbClr val="AEABAB"/>
              </a:solidFill>
            </c:spPr>
            <c:extLst>
              <c:ext xmlns:c16="http://schemas.microsoft.com/office/drawing/2014/chart" uri="{C3380CC4-5D6E-409C-BE32-E72D297353CC}">
                <c16:uniqueId val="{00000007-E902-46E2-9A54-39A26B3DFDC1}"/>
              </c:ext>
            </c:extLst>
          </c:dPt>
          <c:dPt>
            <c:idx val="4"/>
            <c:invertIfNegative val="1"/>
            <c:bubble3D val="0"/>
            <c:spPr>
              <a:solidFill>
                <a:srgbClr val="AEABAB"/>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6</c:f>
              <c:strCache>
                <c:ptCount val="5"/>
                <c:pt idx="0">
                  <c:v>Boursin Aperitif Roules Fromage Frais Roule Afh Et Jambon Fume Boite 1X100Gr 20P</c:v>
                </c:pt>
                <c:pt idx="1">
                  <c:v>Boursin Aperitif Roules Fromage Frais Roule Ciboulette &amp; Echalote Jambon Fume Boite 1X100Gr 20P</c:v>
                </c:pt>
                <c:pt idx="2">
                  <c:v>Boursin Aperitif Roules Fromage Frais Roule Basilic &amp; Jambon Fume Tomate Boite 1X100Gr 20P</c:v>
                </c:pt>
                <c:pt idx="3">
                  <c:v>Boursin Aperitif Roules Fromage Frais Roule Jambon Fume &amp; Trio De Noix Boite 1X100Gr 20P</c:v>
                </c:pt>
                <c:pt idx="4">
                  <c:v>Boursin Aperitif Roules Aperitif 100G</c:v>
                </c:pt>
              </c:strCache>
            </c:strRef>
          </c:cat>
          <c:val>
            <c:numRef>
              <c:f>Sheet1!$C$2:$C$6</c:f>
              <c:numCache>
                <c:formatCode>General</c:formatCode>
                <c:ptCount val="5"/>
                <c:pt idx="0">
                  <c:v>0.4945875589362101</c:v>
                </c:pt>
                <c:pt idx="1">
                  <c:v>0.816488029805714</c:v>
                </c:pt>
                <c:pt idx="2">
                  <c:v>0.9737497616194066</c:v>
                </c:pt>
                <c:pt idx="3">
                  <c:v>0.9879946106605352</c:v>
                </c:pt>
                <c:pt idx="4">
                  <c:v>1.0</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6</c:f>
              <c:strCache>
                <c:ptCount val="5"/>
                <c:pt idx="0">
                  <c:v>Boursin Aperitif Roules Fromage Frais Roule Afh Et Jambon Fume Boite 1X100Gr 20P</c:v>
                </c:pt>
                <c:pt idx="1">
                  <c:v>Boursin Aperitif Roules Fromage Frais Roule Ciboulette &amp; Echalote Jambon Fume Boite 1X100Gr 20P</c:v>
                </c:pt>
                <c:pt idx="2">
                  <c:v>Boursin Aperitif Roules Fromage Frais Roule Basilic &amp; Jambon Fume Tomate Boite 1X100Gr 20P</c:v>
                </c:pt>
                <c:pt idx="3">
                  <c:v>Boursin Aperitif Roules Fromage Frais Roule Jambon Fume &amp; Trio De Noix Boite 1X100Gr 20P</c:v>
                </c:pt>
                <c:pt idx="4">
                  <c:v>Boursin Aperitif Roules Aperitif 100G</c:v>
                </c:pt>
              </c:strCache>
            </c:strRef>
          </c:cat>
          <c:val>
            <c:numRef>
              <c:f>Sheet1!$D$2:$D$6</c:f>
              <c:numCache>
                <c:formatCode>General</c:formatCode>
                <c:ptCount val="5"/>
                <c:pt idx="0">
                  <c:v>16275.387755102041</c:v>
                </c:pt>
                <c:pt idx="1">
                  <c:v>10927.284210526315</c:v>
                </c:pt>
                <c:pt idx="2">
                  <c:v>5635.011111111111</c:v>
                </c:pt>
                <c:pt idx="3">
                  <c:v>574.225</c:v>
                </c:pt>
                <c:pt idx="4">
                  <c:v>553.0857142857143</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6</c:f>
              <c:strCache>
                <c:ptCount val="5"/>
                <c:pt idx="0">
                  <c:v>Boursin Aperitif Roules Fromage Frais Roule Afh Et Jambon Fume Boite 1X100Gr 20P</c:v>
                </c:pt>
                <c:pt idx="1">
                  <c:v>Boursin Aperitif Roules Fromage Frais Roule Ciboulette &amp; Echalote Jambon Fume Boite 1X100Gr 20P</c:v>
                </c:pt>
                <c:pt idx="2">
                  <c:v>Boursin Aperitif Roules Fromage Frais Roule Basilic &amp; Jambon Fume Tomate Boite 1X100Gr 20P</c:v>
                </c:pt>
                <c:pt idx="3">
                  <c:v>Boursin Aperitif Roules Fromage Frais Roule Jambon Fume &amp; Trio De Noix Boite 1X100Gr 20P</c:v>
                </c:pt>
                <c:pt idx="4">
                  <c:v>Boursin Aperitif Roules Aperitif 100G</c:v>
                </c:pt>
              </c:strCache>
            </c:strRef>
          </c:cat>
          <c:val>
            <c:numRef>
              <c:f>Sheet1!$B$2:$B$6</c:f>
              <c:numCache>
                <c:formatCode>General</c:formatCode>
                <c:ptCount val="5"/>
                <c:pt idx="0">
                  <c:v>0.99</c:v>
                </c:pt>
                <c:pt idx="1">
                  <c:v>0.99</c:v>
                </c:pt>
                <c:pt idx="2">
                  <c:v>0.98</c:v>
                </c:pt>
                <c:pt idx="3">
                  <c:v>0.96</c:v>
                </c:pt>
                <c:pt idx="4">
                  <c:v>0.86</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7ECAC4"/>
              </a:solidFill>
            </c:spPr>
            <c:extLst>
              <c:ext xmlns:c16="http://schemas.microsoft.com/office/drawing/2014/chart" uri="{C3380CC4-5D6E-409C-BE32-E72D297353CC}">
                <c16:uniqueId val="{00000008-D8F4-40C6-A5E0-DB4B53CFB1F3}"/>
              </c:ext>
            </c:extLst>
          </c:dPt>
          <c:dPt>
            <c:idx val="2"/>
            <c:invertIfNegative val="0"/>
            <c:bubble3D val="0"/>
            <c:spPr>
              <a:solidFill>
                <a:srgbClr val="AEABAB"/>
              </a:solidFill>
            </c:spPr>
            <c:extLst>
              <c:ext xmlns:c16="http://schemas.microsoft.com/office/drawing/2014/chart" uri="{C3380CC4-5D6E-409C-BE32-E72D297353CC}">
                <c16:uniqueId val="{00000006-E902-46E2-9A54-39A26B3DFDC1}"/>
              </c:ext>
            </c:extLst>
          </c:dPt>
          <c:dPt>
            <c:idx val="3"/>
            <c:invertIfNegative val="0"/>
            <c:bubble3D val="0"/>
            <c:spPr>
              <a:solidFill>
                <a:srgbClr val="AEABAB"/>
              </a:solidFill>
            </c:spPr>
            <c:extLst>
              <c:ext xmlns:c16="http://schemas.microsoft.com/office/drawing/2014/chart" uri="{C3380CC4-5D6E-409C-BE32-E72D297353CC}">
                <c16:uniqueId val="{00000007-E902-46E2-9A54-39A26B3DFDC1}"/>
              </c:ext>
            </c:extLst>
          </c:dPt>
          <c:dPt>
            <c:idx val="4"/>
            <c:invertIfNegative val="1"/>
            <c:bubble3D val="0"/>
            <c:spPr>
              <a:solidFill>
                <a:srgbClr val="AEABAB"/>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6</c:f>
              <c:strCache>
                <c:ptCount val="5"/>
                <c:pt idx="0">
                  <c:v>Boursin Aperitif Roules Fromage Frais Roule Afh Et Jambon Fume Boite 1X100Gr 20P</c:v>
                </c:pt>
                <c:pt idx="1">
                  <c:v>Boursin Aperitif Roules Fromage Frais Roule Ciboulette &amp; Echalote Jambon Fume Boite 1X100Gr 20P</c:v>
                </c:pt>
                <c:pt idx="2">
                  <c:v>Boursin Aperitif Roules Fromage Frais Roule Basilic &amp; Jambon Fume Tomate Boite 1X100Gr 20P</c:v>
                </c:pt>
                <c:pt idx="3">
                  <c:v>Boursin Aperitif Roules Fromage Frais Roule Jambon Fume &amp; Trio De Noix Boite 1X100Gr 20P</c:v>
                </c:pt>
                <c:pt idx="4">
                  <c:v>Boursin Aperitif Roules Aperitif 100G</c:v>
                </c:pt>
              </c:strCache>
            </c:strRef>
          </c:cat>
          <c:val>
            <c:numRef>
              <c:f>Sheet1!$C$2:$C$6</c:f>
              <c:numCache>
                <c:formatCode>General</c:formatCode>
                <c:ptCount val="5"/>
                <c:pt idx="0">
                  <c:v>0.5043441800888034</c:v>
                </c:pt>
                <c:pt idx="1">
                  <c:v>0.8176458030320949</c:v>
                </c:pt>
                <c:pt idx="2">
                  <c:v>0.9742620576531138</c:v>
                </c:pt>
                <c:pt idx="3">
                  <c:v>0.9890124573606861</c:v>
                </c:pt>
                <c:pt idx="4">
                  <c:v>1.000000000000000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6</c:f>
              <c:strCache>
                <c:ptCount val="5"/>
                <c:pt idx="0">
                  <c:v>Boursin Aperitif Roules Fromage Frais Roule Afh Et Jambon Fume Boite 1X100Gr 20P</c:v>
                </c:pt>
                <c:pt idx="1">
                  <c:v>Boursin Aperitif Roules Fromage Frais Roule Ciboulette &amp; Echalote Jambon Fume Boite 1X100Gr 20P</c:v>
                </c:pt>
                <c:pt idx="2">
                  <c:v>Boursin Aperitif Roules Fromage Frais Roule Basilic &amp; Jambon Fume Tomate Boite 1X100Gr 20P</c:v>
                </c:pt>
                <c:pt idx="3">
                  <c:v>Boursin Aperitif Roules Fromage Frais Roule Jambon Fume &amp; Trio De Noix Boite 1X100Gr 20P</c:v>
                </c:pt>
                <c:pt idx="4">
                  <c:v>Boursin Aperitif Roules Aperitif 100G</c:v>
                </c:pt>
              </c:strCache>
            </c:strRef>
          </c:cat>
          <c:val>
            <c:numRef>
              <c:f>Sheet1!$D$2:$D$6</c:f>
              <c:numCache>
                <c:formatCode>General</c:formatCode>
                <c:ptCount val="5"/>
                <c:pt idx="0">
                  <c:v>3316.959595959596</c:v>
                </c:pt>
                <c:pt idx="1">
                  <c:v>2060.5151515151515</c:v>
                </c:pt>
                <c:pt idx="2">
                  <c:v>1040.5408163265306</c:v>
                </c:pt>
                <c:pt idx="3">
                  <c:v>100.04166666666667</c:v>
                </c:pt>
                <c:pt idx="4">
                  <c:v>83.18604651162791</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6</c:f>
              <c:strCache>
                <c:ptCount val="5"/>
                <c:pt idx="0">
                  <c:v>Boursin Aperitif Roules Fromage Frais Roule Afh Et Jambon Fume Boite 1X100Gr 20P</c:v>
                </c:pt>
                <c:pt idx="1">
                  <c:v>Boursin Aperitif Roules Fromage Frais Roule Ciboulette &amp; Echalote Jambon Fume Boite 1X100Gr 20P</c:v>
                </c:pt>
                <c:pt idx="2">
                  <c:v>Boursin Aperitif Roules Fromage Frais Roule Basilic &amp; Jambon Fume Tomate Boite 1X100Gr 20P</c:v>
                </c:pt>
                <c:pt idx="3">
                  <c:v>Boursin Aperitif Roules Fromage Frais Roule Jambon Fume &amp; Trio De Noix Boite 1X100Gr 20P</c:v>
                </c:pt>
                <c:pt idx="4">
                  <c:v>Boursin Aperitif Roules Aperitif 100G</c:v>
                </c:pt>
              </c:strCache>
            </c:strRef>
          </c:cat>
          <c:val>
            <c:numRef>
              <c:f>Sheet1!$B$2:$B$6</c:f>
              <c:numCache>
                <c:formatCode>General</c:formatCode>
                <c:ptCount val="5"/>
                <c:pt idx="0">
                  <c:v>0.85</c:v>
                </c:pt>
                <c:pt idx="1">
                  <c:v>0.56</c:v>
                </c:pt>
                <c:pt idx="2">
                  <c:v>0.57</c:v>
                </c:pt>
                <c:pt idx="3">
                  <c:v>0.18</c:v>
                </c:pt>
                <c:pt idx="4">
                  <c:v>0.17</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7ECAC4"/>
              </a:solidFill>
            </c:spPr>
            <c:extLst>
              <c:ext xmlns:c16="http://schemas.microsoft.com/office/drawing/2014/chart" uri="{C3380CC4-5D6E-409C-BE32-E72D297353CC}">
                <c16:uniqueId val="{00000008-D8F4-40C6-A5E0-DB4B53CFB1F3}"/>
              </c:ext>
            </c:extLst>
          </c:dPt>
          <c:dPt>
            <c:idx val="2"/>
            <c:invertIfNegative val="0"/>
            <c:bubble3D val="0"/>
            <c:spPr>
              <a:solidFill>
                <a:srgbClr val="AEABAB"/>
              </a:solidFill>
            </c:spPr>
            <c:extLst>
              <c:ext xmlns:c16="http://schemas.microsoft.com/office/drawing/2014/chart" uri="{C3380CC4-5D6E-409C-BE32-E72D297353CC}">
                <c16:uniqueId val="{00000006-E902-46E2-9A54-39A26B3DFDC1}"/>
              </c:ext>
            </c:extLst>
          </c:dPt>
          <c:dPt>
            <c:idx val="3"/>
            <c:invertIfNegative val="0"/>
            <c:bubble3D val="0"/>
            <c:spPr>
              <a:solidFill>
                <a:srgbClr val="AEABAB"/>
              </a:solidFill>
            </c:spPr>
            <c:extLst>
              <c:ext xmlns:c16="http://schemas.microsoft.com/office/drawing/2014/chart" uri="{C3380CC4-5D6E-409C-BE32-E72D297353CC}">
                <c16:uniqueId val="{00000007-E902-46E2-9A54-39A26B3DFDC1}"/>
              </c:ext>
            </c:extLst>
          </c:dPt>
          <c:dPt>
            <c:idx val="4"/>
            <c:invertIfNegative val="1"/>
            <c:bubble3D val="0"/>
            <c:spPr>
              <a:solidFill>
                <a:srgbClr val="AEABAB"/>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6</c:f>
              <c:strCache>
                <c:ptCount val="5"/>
                <c:pt idx="0">
                  <c:v>Boursin Aperitif Roules Fromage Frais Roule Afh Et Jambon Fume Boite 1X100Gr 20P</c:v>
                </c:pt>
                <c:pt idx="1">
                  <c:v>Boursin Aperitif Roules Fromage Frais Roule Ciboulette &amp; Echalote Jambon Fume Boite 1X100Gr 20P</c:v>
                </c:pt>
                <c:pt idx="2">
                  <c:v>Boursin Aperitif Roules Fromage Frais Roule Basilic &amp; Jambon Fume Tomate Boite 1X100Gr 20P</c:v>
                </c:pt>
                <c:pt idx="3">
                  <c:v>Boursin Aperitif Roules Fromage Frais Roule Jambon Fume &amp; Trio De Noix Boite 1X100Gr 20P</c:v>
                </c:pt>
                <c:pt idx="4">
                  <c:v>Boursin Aperitif Roules Aperitif 100G</c:v>
                </c:pt>
              </c:strCache>
            </c:strRef>
          </c:cat>
          <c:val>
            <c:numRef>
              <c:f>Sheet1!$C$2:$C$6</c:f>
              <c:numCache>
                <c:formatCode>General</c:formatCode>
                <c:ptCount val="5"/>
                <c:pt idx="0">
                  <c:v>0.6241338004746435</c:v>
                </c:pt>
                <c:pt idx="1">
                  <c:v>0.8677149837825942</c:v>
                </c:pt>
                <c:pt idx="2">
                  <c:v>0.9874637077716009</c:v>
                </c:pt>
                <c:pt idx="3">
                  <c:v>0.9939506700776984</c:v>
                </c:pt>
                <c:pt idx="4">
                  <c:v>0.9999999999999999</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6</c:f>
              <c:strCache>
                <c:ptCount val="5"/>
                <c:pt idx="0">
                  <c:v>Boursin Aperitif Roules Fromage Frais Roule Afh Et Jambon Fume Boite 1X100Gr 20P</c:v>
                </c:pt>
                <c:pt idx="1">
                  <c:v>Boursin Aperitif Roules Fromage Frais Roule Ciboulette &amp; Echalote Jambon Fume Boite 1X100Gr 20P</c:v>
                </c:pt>
                <c:pt idx="2">
                  <c:v>Boursin Aperitif Roules Fromage Frais Roule Basilic &amp; Jambon Fume Tomate Boite 1X100Gr 20P</c:v>
                </c:pt>
                <c:pt idx="3">
                  <c:v>Boursin Aperitif Roules Fromage Frais Roule Jambon Fume &amp; Trio De Noix Boite 1X100Gr 20P</c:v>
                </c:pt>
                <c:pt idx="4">
                  <c:v>Boursin Aperitif Roules Aperitif 100G</c:v>
                </c:pt>
              </c:strCache>
            </c:strRef>
          </c:cat>
          <c:val>
            <c:numRef>
              <c:f>Sheet1!$D$2:$D$6</c:f>
              <c:numCache>
                <c:formatCode>General</c:formatCode>
                <c:ptCount val="5"/>
                <c:pt idx="0">
                  <c:v>2936.211764705882</c:v>
                </c:pt>
                <c:pt idx="1">
                  <c:v>1739.3392857142856</c:v>
                </c:pt>
                <c:pt idx="2">
                  <c:v>840.0877192982457</c:v>
                </c:pt>
                <c:pt idx="3">
                  <c:v>144.11111111111111</c:v>
                </c:pt>
                <c:pt idx="4">
                  <c:v>142.2941176470588</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6</c:f>
              <c:strCache>
                <c:ptCount val="5"/>
                <c:pt idx="0">
                  <c:v>Toastinette Cheddar Fondu Tranche A Chaud Sachet 1X200Gr 10P</c:v>
                </c:pt>
                <c:pt idx="1">
                  <c:v>Toastinette Fromage Fondu Tranche A Chaud Sachet 1X200Gr 10P</c:v>
                </c:pt>
                <c:pt idx="2">
                  <c:v>La Vache Qui Rit Le Fondant Fromage Fondu 1X200Gr 1P</c:v>
                </c:pt>
                <c:pt idx="3">
                  <c:v>Toastinette Fromage Fondu Tranche A Chaud Sachet 1X340Gr 20P</c:v>
                </c:pt>
                <c:pt idx="4">
                  <c:v>Toastinette Cheddar Fondu Tranche A Chaud Sachet 1X340Gr 20P</c:v>
                </c:pt>
              </c:strCache>
            </c:strRef>
          </c:cat>
          <c:val>
            <c:numRef>
              <c:f>Sheet1!$B$2:$B$6</c:f>
              <c:numCache>
                <c:formatCode>General</c:formatCode>
                <c:ptCount val="5"/>
                <c:pt idx="0">
                  <c:v>0.854</c:v>
                </c:pt>
                <c:pt idx="1">
                  <c:v>0.764</c:v>
                </c:pt>
                <c:pt idx="2">
                  <c:v>0.269</c:v>
                </c:pt>
                <c:pt idx="3">
                  <c:v>0.073</c:v>
                </c:pt>
                <c:pt idx="4">
                  <c:v>0.073</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7ECAC4"/>
              </a:solidFill>
            </c:spPr>
            <c:extLst>
              <c:ext xmlns:c16="http://schemas.microsoft.com/office/drawing/2014/chart" uri="{C3380CC4-5D6E-409C-BE32-E72D297353CC}">
                <c16:uniqueId val="{00000008-D8F4-40C6-A5E0-DB4B53CFB1F3}"/>
              </c:ext>
            </c:extLst>
          </c:dPt>
          <c:dPt>
            <c:idx val="2"/>
            <c:invertIfNegative val="0"/>
            <c:bubble3D val="0"/>
            <c:spPr>
              <a:solidFill>
                <a:srgbClr val="AEABAB"/>
              </a:solidFill>
            </c:spPr>
            <c:extLst>
              <c:ext xmlns:c16="http://schemas.microsoft.com/office/drawing/2014/chart" uri="{C3380CC4-5D6E-409C-BE32-E72D297353CC}">
                <c16:uniqueId val="{00000006-E902-46E2-9A54-39A26B3DFDC1}"/>
              </c:ext>
            </c:extLst>
          </c:dPt>
          <c:dPt>
            <c:idx val="3"/>
            <c:invertIfNegative val="0"/>
            <c:bubble3D val="0"/>
            <c:spPr>
              <a:solidFill>
                <a:srgbClr val="AEABAB"/>
              </a:solidFill>
            </c:spPr>
            <c:extLst>
              <c:ext xmlns:c16="http://schemas.microsoft.com/office/drawing/2014/chart" uri="{C3380CC4-5D6E-409C-BE32-E72D297353CC}">
                <c16:uniqueId val="{00000007-E902-46E2-9A54-39A26B3DFDC1}"/>
              </c:ext>
            </c:extLst>
          </c:dPt>
          <c:dPt>
            <c:idx val="4"/>
            <c:invertIfNegative val="1"/>
            <c:bubble3D val="0"/>
            <c:spPr>
              <a:solidFill>
                <a:srgbClr val="AEABAB"/>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6</c:f>
              <c:strCache>
                <c:ptCount val="5"/>
                <c:pt idx="0">
                  <c:v>Toastinette Cheddar Fondu Tranche A Chaud Sachet 1X200Gr 10P</c:v>
                </c:pt>
                <c:pt idx="1">
                  <c:v>Toastinette Fromage Fondu Tranche A Chaud Sachet 1X200Gr 10P</c:v>
                </c:pt>
                <c:pt idx="2">
                  <c:v>La Vache Qui Rit Le Fondant Fromage Fondu 1X200Gr 1P</c:v>
                </c:pt>
                <c:pt idx="3">
                  <c:v>Toastinette Fromage Fondu Tranche A Chaud Sachet 1X340Gr 20P</c:v>
                </c:pt>
                <c:pt idx="4">
                  <c:v>Toastinette Cheddar Fondu Tranche A Chaud Sachet 1X340Gr 20P</c:v>
                </c:pt>
              </c:strCache>
            </c:strRef>
          </c:cat>
          <c:val>
            <c:numRef>
              <c:f>Sheet1!$C$2:$C$6</c:f>
              <c:numCache>
                <c:formatCode>General</c:formatCode>
                <c:ptCount val="5"/>
                <c:pt idx="0">
                  <c:v>0.5020580925520167</c:v>
                </c:pt>
                <c:pt idx="1">
                  <c:v>0.9444780371051119</c:v>
                </c:pt>
                <c:pt idx="2">
                  <c:v>0.9686683555735428</c:v>
                </c:pt>
                <c:pt idx="3">
                  <c:v>0.9850087998092925</c:v>
                </c:pt>
                <c:pt idx="4">
                  <c:v>1.0</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6</c:f>
              <c:strCache>
                <c:ptCount val="5"/>
                <c:pt idx="0">
                  <c:v>Toastinette Cheddar Fondu Tranche A Chaud Sachet 1X200Gr 10P</c:v>
                </c:pt>
                <c:pt idx="1">
                  <c:v>Toastinette Fromage Fondu Tranche A Chaud Sachet 1X200Gr 10P</c:v>
                </c:pt>
                <c:pt idx="2">
                  <c:v>La Vache Qui Rit Le Fondant Fromage Fondu 1X200Gr 1P</c:v>
                </c:pt>
                <c:pt idx="3">
                  <c:v>Toastinette Fromage Fondu Tranche A Chaud Sachet 1X340Gr 20P</c:v>
                </c:pt>
                <c:pt idx="4">
                  <c:v>Toastinette Cheddar Fondu Tranche A Chaud Sachet 1X340Gr 20P</c:v>
                </c:pt>
              </c:strCache>
            </c:strRef>
          </c:cat>
          <c:val>
            <c:numRef>
              <c:f>Sheet1!$D$2:$D$6</c:f>
              <c:numCache>
                <c:formatCode>General</c:formatCode>
                <c:ptCount val="5"/>
                <c:pt idx="0">
                  <c:v>9790.585480093678</c:v>
                </c:pt>
                <c:pt idx="1">
                  <c:v>9643.92670157068</c:v>
                </c:pt>
                <c:pt idx="2">
                  <c:v>1497.620817843866</c:v>
                </c:pt>
                <c:pt idx="3">
                  <c:v>3727.8082191780823</c:v>
                </c:pt>
                <c:pt idx="4">
                  <c:v>3420.0</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2</c:f>
              <c:strCache>
                <c:ptCount val="1"/>
                <c:pt idx="0">
                  <c:v>Boursin Cuisine Sauce Fromage Afh 1X240Gr 1P</c:v>
                </c:pt>
              </c:strCache>
            </c:strRef>
          </c:cat>
          <c:val>
            <c:numRef>
              <c:f>Sheet1!$B$2:$B$2</c:f>
              <c:numCache>
                <c:formatCode>General</c:formatCode>
                <c:ptCount val="1"/>
                <c:pt idx="0">
                  <c:v>0.773</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AEABAB"/>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2</c:f>
              <c:strCache>
                <c:ptCount val="1"/>
                <c:pt idx="0">
                  <c:v>Boursin Cuisine Sauce Fromage Afh 1X240Gr 1P</c:v>
                </c:pt>
              </c:strCache>
            </c:strRef>
          </c:cat>
          <c:val>
            <c:numRef>
              <c:f>Sheet1!$C$2:$C$2</c:f>
              <c:numCache>
                <c:formatCode>General</c:formatCode>
                <c:ptCount val="1"/>
                <c:pt idx="0">
                  <c:v>0.999871416387850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2</c:f>
              <c:strCache>
                <c:ptCount val="1"/>
                <c:pt idx="0">
                  <c:v>Boursin Cuisine Sauce Fromage Afh 1X240Gr 1P</c:v>
                </c:pt>
              </c:strCache>
            </c:strRef>
          </c:cat>
          <c:val>
            <c:numRef>
              <c:f>Sheet1!$D$2:$D$2</c:f>
              <c:numCache>
                <c:formatCode>General</c:formatCode>
                <c:ptCount val="1"/>
                <c:pt idx="0">
                  <c:v>4929.184993531695</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c:f>
              <c:strCache>
                <c:ptCount val="3"/>
                <c:pt idx="0">
                  <c:v>Toastinette Fromage Fondu Tranche A Chaud Sachet 1X200Gr 10P</c:v>
                </c:pt>
                <c:pt idx="1">
                  <c:v>Toastinette Fromage Fondu Tranche A Chaud Sachet 1X340Gr 20P</c:v>
                </c:pt>
                <c:pt idx="2">
                  <c:v>Toastinette Cheddar Fondu Tranche A Chaud Sachet 1X340Gr 20P</c:v>
                </c:pt>
              </c:strCache>
            </c:strRef>
          </c:cat>
          <c:val>
            <c:numRef>
              <c:f>Sheet1!$B$2:$B$4</c:f>
              <c:numCache>
                <c:formatCode>General</c:formatCode>
                <c:ptCount val="3"/>
                <c:pt idx="0">
                  <c:v>0.001</c:v>
                </c:pt>
                <c:pt idx="1">
                  <c:v>0.001</c:v>
                </c:pt>
                <c:pt idx="2">
                  <c:v>0.001</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7ECAC4"/>
              </a:solidFill>
            </c:spPr>
            <c:extLst>
              <c:ext xmlns:c16="http://schemas.microsoft.com/office/drawing/2014/chart" uri="{C3380CC4-5D6E-409C-BE32-E72D297353CC}">
                <c16:uniqueId val="{00000006-D8F4-40C6-A5E0-DB4B53CFB1F3}"/>
              </c:ext>
            </c:extLst>
          </c:dPt>
          <c:dPt>
            <c:idx val="1"/>
            <c:invertIfNegative val="0"/>
            <c:bubble3D val="0"/>
            <c:spPr>
              <a:solidFill>
                <a:srgbClr val="7ECAC4"/>
              </a:solidFill>
            </c:spPr>
            <c:extLst>
              <c:ext xmlns:c16="http://schemas.microsoft.com/office/drawing/2014/chart" uri="{C3380CC4-5D6E-409C-BE32-E72D297353CC}">
                <c16:uniqueId val="{00000008-D8F4-40C6-A5E0-DB4B53CFB1F3}"/>
              </c:ext>
            </c:extLst>
          </c:dPt>
          <c:dPt>
            <c:idx val="2"/>
            <c:invertIfNegative val="0"/>
            <c:bubble3D val="0"/>
            <c:spPr>
              <a:solidFill>
                <a:srgbClr val="AEABAB"/>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c:f>
              <c:strCache>
                <c:ptCount val="3"/>
                <c:pt idx="0">
                  <c:v>Toastinette Fromage Fondu Tranche A Chaud Sachet 1X200Gr 10P</c:v>
                </c:pt>
                <c:pt idx="1">
                  <c:v>Toastinette Fromage Fondu Tranche A Chaud Sachet 1X340Gr 20P</c:v>
                </c:pt>
                <c:pt idx="2">
                  <c:v>Toastinette Cheddar Fondu Tranche A Chaud Sachet 1X340Gr 20P</c:v>
                </c:pt>
              </c:strCache>
            </c:strRef>
          </c:cat>
          <c:val>
            <c:numRef>
              <c:f>Sheet1!$C$2:$C$4</c:f>
              <c:numCache>
                <c:formatCode>General</c:formatCode>
                <c:ptCount val="3"/>
                <c:pt idx="0">
                  <c:v>0.8388625592417062</c:v>
                </c:pt>
                <c:pt idx="1">
                  <c:v>0.933649289099526</c:v>
                </c:pt>
                <c:pt idx="2">
                  <c:v>1.0</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4</c:f>
              <c:strCache>
                <c:ptCount val="3"/>
                <c:pt idx="0">
                  <c:v>Toastinette Fromage Fondu Tranche A Chaud Sachet 1X200Gr 10P</c:v>
                </c:pt>
                <c:pt idx="1">
                  <c:v>Toastinette Fromage Fondu Tranche A Chaud Sachet 1X340Gr 20P</c:v>
                </c:pt>
                <c:pt idx="2">
                  <c:v>Toastinette Cheddar Fondu Tranche A Chaud Sachet 1X340Gr 20P</c:v>
                </c:pt>
              </c:strCache>
            </c:strRef>
          </c:cat>
          <c:val>
            <c:numRef>
              <c:f>Sheet1!$D$2:$D$4</c:f>
              <c:numCache>
                <c:formatCode>General</c:formatCode>
                <c:ptCount val="3"/>
                <c:pt idx="0">
                  <c:v>3580.0</c:v>
                </c:pt>
                <c:pt idx="1">
                  <c:v>1000.0</c:v>
                </c:pt>
                <c:pt idx="2">
                  <c:v>700.0</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2</c:f>
              <c:strCache>
                <c:ptCount val="1"/>
                <c:pt idx="0">
                  <c:v>Boursin Cuisine Sauce Fromage Afh 1X240Gr 1P</c:v>
                </c:pt>
              </c:strCache>
            </c:strRef>
          </c:cat>
          <c:val>
            <c:numRef>
              <c:f>Sheet1!$B$2:$B$2</c:f>
              <c:numCache>
                <c:formatCode>General</c:formatCode>
                <c:ptCount val="1"/>
                <c:pt idx="0">
                  <c:v>0.873</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AEABAB"/>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2</c:f>
              <c:strCache>
                <c:ptCount val="1"/>
                <c:pt idx="0">
                  <c:v>Boursin Cuisine Sauce Fromage Afh 1X240Gr 1P</c:v>
                </c:pt>
              </c:strCache>
            </c:strRef>
          </c:cat>
          <c:val>
            <c:numRef>
              <c:f>Sheet1!$C$2:$C$2</c:f>
              <c:numCache>
                <c:formatCode>General</c:formatCode>
                <c:ptCount val="1"/>
                <c:pt idx="0">
                  <c:v>1.0</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2</c:f>
              <c:strCache>
                <c:ptCount val="1"/>
                <c:pt idx="0">
                  <c:v>Boursin Cuisine Sauce Fromage Afh 1X240Gr 1P</c:v>
                </c:pt>
              </c:strCache>
            </c:strRef>
          </c:cat>
          <c:val>
            <c:numRef>
              <c:f>Sheet1!$D$2:$D$2</c:f>
              <c:numCache>
                <c:formatCode>General</c:formatCode>
                <c:ptCount val="1"/>
                <c:pt idx="0">
                  <c:v>8120.263459335624</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6</c:f>
              <c:strCache>
                <c:ptCount val="5"/>
                <c:pt idx="0">
                  <c:v>Toastinette Fromage Fondu Tranche A Chaud Sachet 1X200Gr 10P</c:v>
                </c:pt>
                <c:pt idx="1">
                  <c:v>Toastinette Cheddar Fondu Tranche A Chaud Sachet 1X200Gr 10P</c:v>
                </c:pt>
                <c:pt idx="2">
                  <c:v>La Vache Qui Rit Le Fondant Fromage Fondu 1X200Gr 1P</c:v>
                </c:pt>
                <c:pt idx="3">
                  <c:v>Toastinette Fromage Fondu Tranche A Chaud Sachet 1X340Gr 20P</c:v>
                </c:pt>
                <c:pt idx="4">
                  <c:v>Toastinette Cheddar Fondu Tranche A Chaud Sachet 1X340Gr 20P</c:v>
                </c:pt>
              </c:strCache>
            </c:strRef>
          </c:cat>
          <c:val>
            <c:numRef>
              <c:f>Sheet1!$B$2:$B$6</c:f>
              <c:numCache>
                <c:formatCode>General</c:formatCode>
                <c:ptCount val="5"/>
                <c:pt idx="0">
                  <c:v>1.0</c:v>
                </c:pt>
                <c:pt idx="1">
                  <c:v>1.0</c:v>
                </c:pt>
                <c:pt idx="2">
                  <c:v>0.59</c:v>
                </c:pt>
                <c:pt idx="3">
                  <c:v>0.16</c:v>
                </c:pt>
                <c:pt idx="4">
                  <c:v>0.16</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7ECAC4"/>
              </a:solidFill>
            </c:spPr>
            <c:extLst>
              <c:ext xmlns:c16="http://schemas.microsoft.com/office/drawing/2014/chart" uri="{C3380CC4-5D6E-409C-BE32-E72D297353CC}">
                <c16:uniqueId val="{00000008-D8F4-40C6-A5E0-DB4B53CFB1F3}"/>
              </c:ext>
            </c:extLst>
          </c:dPt>
          <c:dPt>
            <c:idx val="2"/>
            <c:invertIfNegative val="0"/>
            <c:bubble3D val="0"/>
            <c:spPr>
              <a:solidFill>
                <a:srgbClr val="7ECAC4"/>
              </a:solidFill>
            </c:spPr>
            <c:extLst>
              <c:ext xmlns:c16="http://schemas.microsoft.com/office/drawing/2014/chart" uri="{C3380CC4-5D6E-409C-BE32-E72D297353CC}">
                <c16:uniqueId val="{00000006-E902-46E2-9A54-39A26B3DFDC1}"/>
              </c:ext>
            </c:extLst>
          </c:dPt>
          <c:dPt>
            <c:idx val="3"/>
            <c:invertIfNegative val="0"/>
            <c:bubble3D val="0"/>
            <c:spPr>
              <a:solidFill>
                <a:srgbClr val="AEABAB"/>
              </a:solidFill>
            </c:spPr>
            <c:extLst>
              <c:ext xmlns:c16="http://schemas.microsoft.com/office/drawing/2014/chart" uri="{C3380CC4-5D6E-409C-BE32-E72D297353CC}">
                <c16:uniqueId val="{00000007-E902-46E2-9A54-39A26B3DFDC1}"/>
              </c:ext>
            </c:extLst>
          </c:dPt>
          <c:dPt>
            <c:idx val="4"/>
            <c:invertIfNegative val="1"/>
            <c:bubble3D val="0"/>
            <c:spPr>
              <a:solidFill>
                <a:srgbClr val="AEABAB"/>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6</c:f>
              <c:strCache>
                <c:ptCount val="5"/>
                <c:pt idx="0">
                  <c:v>Toastinette Fromage Fondu Tranche A Chaud Sachet 1X200Gr 10P</c:v>
                </c:pt>
                <c:pt idx="1">
                  <c:v>Toastinette Cheddar Fondu Tranche A Chaud Sachet 1X200Gr 10P</c:v>
                </c:pt>
                <c:pt idx="2">
                  <c:v>La Vache Qui Rit Le Fondant Fromage Fondu 1X200Gr 1P</c:v>
                </c:pt>
                <c:pt idx="3">
                  <c:v>Toastinette Fromage Fondu Tranche A Chaud Sachet 1X340Gr 20P</c:v>
                </c:pt>
                <c:pt idx="4">
                  <c:v>Toastinette Cheddar Fondu Tranche A Chaud Sachet 1X340Gr 20P</c:v>
                </c:pt>
              </c:strCache>
            </c:strRef>
          </c:cat>
          <c:val>
            <c:numRef>
              <c:f>Sheet1!$C$2:$C$6</c:f>
              <c:numCache>
                <c:formatCode>General</c:formatCode>
                <c:ptCount val="5"/>
                <c:pt idx="0">
                  <c:v>0.45367947360851135</c:v>
                </c:pt>
                <c:pt idx="1">
                  <c:v>0.9043478620778143</c:v>
                </c:pt>
                <c:pt idx="2">
                  <c:v>0.9460332833555284</c:v>
                </c:pt>
                <c:pt idx="3">
                  <c:v>0.9741667520324824</c:v>
                </c:pt>
                <c:pt idx="4">
                  <c:v>0.9999999999999999</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6</c:f>
              <c:strCache>
                <c:ptCount val="5"/>
                <c:pt idx="0">
                  <c:v>Toastinette Fromage Fondu Tranche A Chaud Sachet 1X200Gr 10P</c:v>
                </c:pt>
                <c:pt idx="1">
                  <c:v>Toastinette Cheddar Fondu Tranche A Chaud Sachet 1X200Gr 10P</c:v>
                </c:pt>
                <c:pt idx="2">
                  <c:v>La Vache Qui Rit Le Fondant Fromage Fondu 1X200Gr 1P</c:v>
                </c:pt>
                <c:pt idx="3">
                  <c:v>Toastinette Fromage Fondu Tranche A Chaud Sachet 1X340Gr 20P</c:v>
                </c:pt>
                <c:pt idx="4">
                  <c:v>Toastinette Cheddar Fondu Tranche A Chaud Sachet 1X340Gr 20P</c:v>
                </c:pt>
              </c:strCache>
            </c:strRef>
          </c:cat>
          <c:val>
            <c:numRef>
              <c:f>Sheet1!$D$2:$D$6</c:f>
              <c:numCache>
                <c:formatCode>General</c:formatCode>
                <c:ptCount val="5"/>
                <c:pt idx="0">
                  <c:v>4384.49</c:v>
                </c:pt>
                <c:pt idx="1">
                  <c:v>4355.39</c:v>
                </c:pt>
                <c:pt idx="2">
                  <c:v>682.8135593220339</c:v>
                </c:pt>
                <c:pt idx="3">
                  <c:v>1699.3125</c:v>
                </c:pt>
                <c:pt idx="4">
                  <c:v>1560.375</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Apericube</c:v>
                </c:pt>
                <c:pt idx="1">
                  <c:v>Aperivrais</c:v>
                </c:pt>
                <c:pt idx="2">
                  <c:v>Boursin</c:v>
                </c:pt>
                <c:pt idx="3">
                  <c:v>St Moret</c:v>
                </c:pt>
                <c:pt idx="4">
                  <c:v>Private Label</c:v>
                </c:pt>
                <c:pt idx="5">
                  <c:v>Entremont</c:v>
                </c:pt>
                <c:pt idx="6">
                  <c:v>Others</c:v>
                </c:pt>
              </c:strCache>
            </c:strRef>
          </c:cat>
          <c:val>
            <c:numRef>
              <c:f>Sheet1!$B$2:$B$8</c:f>
              <c:numCache>
                <c:formatCode>General</c:formatCode>
                <c:ptCount val="7"/>
                <c:pt idx="0">
                  <c:v>0.629751624722486</c:v>
                </c:pt>
                <c:pt idx="1">
                  <c:v>0.11415711497550499</c:v>
                </c:pt>
                <c:pt idx="2">
                  <c:v>0.11018497882018147</c:v>
                </c:pt>
                <c:pt idx="3">
                  <c:v>0.07133954504216587</c:v>
                </c:pt>
                <c:pt idx="4">
                  <c:v>0.059428044208629884</c:v>
                </c:pt>
                <c:pt idx="5">
                  <c:v>0.013585172722431248</c:v>
                </c:pt>
                <c:pt idx="6">
                  <c:v>0.0015535195086004566</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Apericube</c:v>
                </c:pt>
                <c:pt idx="1">
                  <c:v>Aperivrais</c:v>
                </c:pt>
                <c:pt idx="2">
                  <c:v>Boursin</c:v>
                </c:pt>
                <c:pt idx="3">
                  <c:v>St Moret</c:v>
                </c:pt>
                <c:pt idx="4">
                  <c:v>Private Label</c:v>
                </c:pt>
                <c:pt idx="5">
                  <c:v>Entremont</c:v>
                </c:pt>
                <c:pt idx="6">
                  <c:v>Others</c:v>
                </c:pt>
              </c:strCache>
            </c:strRef>
          </c:cat>
          <c:val>
            <c:numRef>
              <c:f>Sheet1!$C$2:$C$8</c:f>
              <c:numCache>
                <c:formatCode>General</c:formatCode>
                <c:ptCount val="7"/>
                <c:pt idx="0">
                  <c:v>0.4186366135239143</c:v>
                </c:pt>
                <c:pt idx="1">
                  <c:v>0.20560747663551407</c:v>
                </c:pt>
                <c:pt idx="2">
                  <c:v>0.13139087410665204</c:v>
                </c:pt>
                <c:pt idx="3">
                  <c:v>0.1074766355140187</c:v>
                </c:pt>
                <c:pt idx="4">
                  <c:v>0.05415063221550303</c:v>
                </c:pt>
                <c:pt idx="5">
                  <c:v>0.07861462341946127</c:v>
                </c:pt>
                <c:pt idx="6">
                  <c:v>0.004123144584936779</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Apericube</c:v>
                </c:pt>
                <c:pt idx="1">
                  <c:v>Aperivrais</c:v>
                </c:pt>
                <c:pt idx="2">
                  <c:v>Boursin</c:v>
                </c:pt>
                <c:pt idx="3">
                  <c:v>St Moret</c:v>
                </c:pt>
                <c:pt idx="4">
                  <c:v>Private Label</c:v>
                </c:pt>
                <c:pt idx="5">
                  <c:v>Entremont</c:v>
                </c:pt>
                <c:pt idx="6">
                  <c:v>Others</c:v>
                </c:pt>
              </c:strCache>
            </c:strRef>
          </c:cat>
          <c:val>
            <c:numRef>
              <c:f>Sheet1!$D$2:$D$8</c:f>
              <c:numCache>
                <c:formatCode>General</c:formatCode>
                <c:ptCount val="7"/>
                <c:pt idx="0">
                  <c:v>66.47646422641557</c:v>
                </c:pt>
                <c:pt idx="1">
                  <c:v>180.1092088562608</c:v>
                </c:pt>
                <c:pt idx="2">
                  <c:v>119.2457225236463</c:v>
                </c:pt>
                <c:pt idx="3">
                  <c:v>150.65506157979235</c:v>
                </c:pt>
                <c:pt idx="4">
                  <c:v>91.1196606528059</c:v>
                </c:pt>
                <c:pt idx="5">
                  <c:v>578.679601840146</c:v>
                </c:pt>
                <c:pt idx="6">
                  <c:v>265.4066821890934</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2</c:f>
              <c:strCache>
                <c:ptCount val="1"/>
                <c:pt idx="0">
                  <c:v>Boursin Cuisine Sauce Fromage Afh 1X240Gr 1P</c:v>
                </c:pt>
              </c:strCache>
            </c:strRef>
          </c:cat>
          <c:val>
            <c:numRef>
              <c:f>Sheet1!$B$2:$B$2</c:f>
              <c:numCache>
                <c:formatCode>General</c:formatCode>
                <c:ptCount val="1"/>
                <c:pt idx="0">
                  <c:v>0.98</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AEABAB"/>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2</c:f>
              <c:strCache>
                <c:ptCount val="1"/>
                <c:pt idx="0">
                  <c:v>Boursin Cuisine Sauce Fromage Afh 1X240Gr 1P</c:v>
                </c:pt>
              </c:strCache>
            </c:strRef>
          </c:cat>
          <c:val>
            <c:numRef>
              <c:f>Sheet1!$C$2:$C$2</c:f>
              <c:numCache>
                <c:formatCode>General</c:formatCode>
                <c:ptCount val="1"/>
                <c:pt idx="0">
                  <c:v>1.0</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2</c:f>
              <c:strCache>
                <c:ptCount val="1"/>
                <c:pt idx="0">
                  <c:v>Boursin Cuisine Sauce Fromage Afh 1X240Gr 1P</c:v>
                </c:pt>
              </c:strCache>
            </c:strRef>
          </c:cat>
          <c:val>
            <c:numRef>
              <c:f>Sheet1!$D$2:$D$2</c:f>
              <c:numCache>
                <c:formatCode>General</c:formatCode>
                <c:ptCount val="1"/>
                <c:pt idx="0">
                  <c:v>1964.9795918367347</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3</c:f>
              <c:strCache>
                <c:ptCount val="2"/>
                <c:pt idx="0">
                  <c:v>Toastinette Cheddar Fondu Tranche A Chaud Sachet 1X200Gr 10P</c:v>
                </c:pt>
                <c:pt idx="1">
                  <c:v>Toastinette Fromage Fondu Tranche A Chaud Sachet 1X200Gr 10P</c:v>
                </c:pt>
              </c:strCache>
            </c:strRef>
          </c:cat>
          <c:val>
            <c:numRef>
              <c:f>Sheet1!$B$2:$B$3</c:f>
              <c:numCache>
                <c:formatCode>General</c:formatCode>
                <c:ptCount val="2"/>
                <c:pt idx="0">
                  <c:v>0.97</c:v>
                </c:pt>
                <c:pt idx="1">
                  <c:v>0.7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AEABAB"/>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3</c:f>
              <c:strCache>
                <c:ptCount val="2"/>
                <c:pt idx="0">
                  <c:v>Toastinette Cheddar Fondu Tranche A Chaud Sachet 1X200Gr 10P</c:v>
                </c:pt>
                <c:pt idx="1">
                  <c:v>Toastinette Fromage Fondu Tranche A Chaud Sachet 1X200Gr 10P</c:v>
                </c:pt>
              </c:strCache>
            </c:strRef>
          </c:cat>
          <c:val>
            <c:numRef>
              <c:f>Sheet1!$C$2:$C$3</c:f>
              <c:numCache>
                <c:formatCode>General</c:formatCode>
                <c:ptCount val="2"/>
                <c:pt idx="0">
                  <c:v>0.5624152587799787</c:v>
                </c:pt>
                <c:pt idx="1">
                  <c:v>0.9999621620598975</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3</c:f>
              <c:strCache>
                <c:ptCount val="2"/>
                <c:pt idx="0">
                  <c:v>Toastinette Cheddar Fondu Tranche A Chaud Sachet 1X200Gr 10P</c:v>
                </c:pt>
                <c:pt idx="1">
                  <c:v>Toastinette Fromage Fondu Tranche A Chaud Sachet 1X200Gr 10P</c:v>
                </c:pt>
              </c:strCache>
            </c:strRef>
          </c:cat>
          <c:val>
            <c:numRef>
              <c:f>Sheet1!$D$2:$D$3</c:f>
              <c:numCache>
                <c:formatCode>General</c:formatCode>
                <c:ptCount val="2"/>
                <c:pt idx="0">
                  <c:v>3677.639175257732</c:v>
                </c:pt>
                <c:pt idx="1">
                  <c:v>3513.025316455696</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2</c:f>
              <c:strCache>
                <c:ptCount val="1"/>
                <c:pt idx="0">
                  <c:v>Boursin Cuisine Sauce Fromage Afh 1X240Gr 1P</c:v>
                </c:pt>
              </c:strCache>
            </c:strRef>
          </c:cat>
          <c:val>
            <c:numRef>
              <c:f>Sheet1!$B$2:$B$2</c:f>
              <c:numCache>
                <c:formatCode>General</c:formatCode>
                <c:ptCount val="1"/>
                <c:pt idx="0">
                  <c:v>0.72</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AEABAB"/>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2</c:f>
              <c:strCache>
                <c:ptCount val="1"/>
                <c:pt idx="0">
                  <c:v>Boursin Cuisine Sauce Fromage Afh 1X240Gr 1P</c:v>
                </c:pt>
              </c:strCache>
            </c:strRef>
          </c:cat>
          <c:val>
            <c:numRef>
              <c:f>Sheet1!$C$2:$C$2</c:f>
              <c:numCache>
                <c:formatCode>General</c:formatCode>
                <c:ptCount val="1"/>
                <c:pt idx="0">
                  <c:v>1.0</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2</c:f>
              <c:strCache>
                <c:ptCount val="1"/>
                <c:pt idx="0">
                  <c:v>Boursin Cuisine Sauce Fromage Afh 1X240Gr 1P</c:v>
                </c:pt>
              </c:strCache>
            </c:strRef>
          </c:cat>
          <c:val>
            <c:numRef>
              <c:f>Sheet1!$D$2:$D$2</c:f>
              <c:numCache>
                <c:formatCode>General</c:formatCode>
                <c:ptCount val="1"/>
                <c:pt idx="0">
                  <c:v>1510.361111111111</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3</c:f>
              <c:strCache>
                <c:ptCount val="2"/>
                <c:pt idx="0">
                  <c:v>Toastinette Cheddar Fondu Tranche A Chaud Sachet 1X200Gr 10P</c:v>
                </c:pt>
                <c:pt idx="1">
                  <c:v>Toastinette Fromage Fondu Tranche A Chaud Sachet 1X200Gr 10P</c:v>
                </c:pt>
              </c:strCache>
            </c:strRef>
          </c:cat>
          <c:val>
            <c:numRef>
              <c:f>Sheet1!$B$2:$B$3</c:f>
              <c:numCache>
                <c:formatCode>General</c:formatCode>
                <c:ptCount val="2"/>
                <c:pt idx="0">
                  <c:v>0.18</c:v>
                </c:pt>
                <c:pt idx="1">
                  <c:v>0.05</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AEABAB"/>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3</c:f>
              <c:strCache>
                <c:ptCount val="2"/>
                <c:pt idx="0">
                  <c:v>Toastinette Cheddar Fondu Tranche A Chaud Sachet 1X200Gr 10P</c:v>
                </c:pt>
                <c:pt idx="1">
                  <c:v>Toastinette Fromage Fondu Tranche A Chaud Sachet 1X200Gr 10P</c:v>
                </c:pt>
              </c:strCache>
            </c:strRef>
          </c:cat>
          <c:val>
            <c:numRef>
              <c:f>Sheet1!$C$2:$C$3</c:f>
              <c:numCache>
                <c:formatCode>General</c:formatCode>
                <c:ptCount val="2"/>
                <c:pt idx="0">
                  <c:v>0.6780588890263517</c:v>
                </c:pt>
                <c:pt idx="1">
                  <c:v>1.0</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3</c:f>
              <c:strCache>
                <c:ptCount val="2"/>
                <c:pt idx="0">
                  <c:v>Toastinette Cheddar Fondu Tranche A Chaud Sachet 1X200Gr 10P</c:v>
                </c:pt>
                <c:pt idx="1">
                  <c:v>Toastinette Fromage Fondu Tranche A Chaud Sachet 1X200Gr 10P</c:v>
                </c:pt>
              </c:strCache>
            </c:strRef>
          </c:cat>
          <c:val>
            <c:numRef>
              <c:f>Sheet1!$D$2:$D$3</c:f>
              <c:numCache>
                <c:formatCode>General</c:formatCode>
                <c:ptCount val="2"/>
                <c:pt idx="0">
                  <c:v>2435.8888888888887</c:v>
                </c:pt>
                <c:pt idx="1">
                  <c:v>4163.6</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2</c:f>
              <c:strCache>
                <c:ptCount val="1"/>
                <c:pt idx="0">
                  <c:v>Boursin Cuisine Sauce Fromage Afh 1X240Gr 1P</c:v>
                </c:pt>
              </c:strCache>
            </c:strRef>
          </c:cat>
          <c:val>
            <c:numRef>
              <c:f>Sheet1!$B$2:$B$2</c:f>
              <c:numCache>
                <c:formatCode>General</c:formatCode>
                <c:ptCount val="1"/>
                <c:pt idx="0">
                  <c:v>0.32</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AEABAB"/>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2</c:f>
              <c:strCache>
                <c:ptCount val="1"/>
                <c:pt idx="0">
                  <c:v>Boursin Cuisine Sauce Fromage Afh 1X240Gr 1P</c:v>
                </c:pt>
              </c:strCache>
            </c:strRef>
          </c:cat>
          <c:val>
            <c:numRef>
              <c:f>Sheet1!$C$2:$C$2</c:f>
              <c:numCache>
                <c:formatCode>General</c:formatCode>
                <c:ptCount val="1"/>
                <c:pt idx="0">
                  <c:v>0.999385664673211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2</c:f>
              <c:strCache>
                <c:ptCount val="1"/>
                <c:pt idx="0">
                  <c:v>Boursin Cuisine Sauce Fromage Afh 1X240Gr 1P</c:v>
                </c:pt>
              </c:strCache>
            </c:strRef>
          </c:cat>
          <c:val>
            <c:numRef>
              <c:f>Sheet1!$D$2:$D$2</c:f>
              <c:numCache>
                <c:formatCode>General</c:formatCode>
                <c:ptCount val="1"/>
                <c:pt idx="0">
                  <c:v>2491.0</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2</c:f>
              <c:strCache>
                <c:ptCount val="1"/>
                <c:pt idx="0">
                  <c:v>Boursin Cuisine Sauce Fromage Afh 1X240Gr 1P</c:v>
                </c:pt>
              </c:strCache>
            </c:strRef>
          </c:cat>
          <c:val>
            <c:numRef>
              <c:f>Sheet1!$B$2:$B$2</c:f>
              <c:numCache>
                <c:formatCode>General</c:formatCode>
                <c:ptCount val="1"/>
                <c:pt idx="0">
                  <c:v>0.88</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AEABAB"/>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2</c:f>
              <c:strCache>
                <c:ptCount val="1"/>
                <c:pt idx="0">
                  <c:v>Boursin Cuisine Sauce Fromage Afh 1X240Gr 1P</c:v>
                </c:pt>
              </c:strCache>
            </c:strRef>
          </c:cat>
          <c:val>
            <c:numRef>
              <c:f>Sheet1!$C$2:$C$2</c:f>
              <c:numCache>
                <c:formatCode>General</c:formatCode>
                <c:ptCount val="1"/>
                <c:pt idx="0">
                  <c:v>1.0</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2</c:f>
              <c:strCache>
                <c:ptCount val="1"/>
                <c:pt idx="0">
                  <c:v>Boursin Cuisine Sauce Fromage Afh 1X240Gr 1P</c:v>
                </c:pt>
              </c:strCache>
            </c:strRef>
          </c:cat>
          <c:val>
            <c:numRef>
              <c:f>Sheet1!$D$2:$D$2</c:f>
              <c:numCache>
                <c:formatCode>General</c:formatCode>
                <c:ptCount val="1"/>
                <c:pt idx="0">
                  <c:v>5857.977272727273</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2</c:f>
              <c:strCache>
                <c:ptCount val="1"/>
                <c:pt idx="0">
                  <c:v>Boursin Cuisine Sauce Fromage Afh 1X240Gr 1P</c:v>
                </c:pt>
              </c:strCache>
            </c:strRef>
          </c:cat>
          <c:val>
            <c:numRef>
              <c:f>Sheet1!$B$2:$B$2</c:f>
              <c:numCache>
                <c:formatCode>General</c:formatCode>
                <c:ptCount val="1"/>
                <c:pt idx="0">
                  <c:v>0.96</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AEABAB"/>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2</c:f>
              <c:strCache>
                <c:ptCount val="1"/>
                <c:pt idx="0">
                  <c:v>Boursin Cuisine Sauce Fromage Afh 1X240Gr 1P</c:v>
                </c:pt>
              </c:strCache>
            </c:strRef>
          </c:cat>
          <c:val>
            <c:numRef>
              <c:f>Sheet1!$C$2:$C$2</c:f>
              <c:numCache>
                <c:formatCode>General</c:formatCode>
                <c:ptCount val="1"/>
                <c:pt idx="0">
                  <c:v>1.0</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2</c:f>
              <c:strCache>
                <c:ptCount val="1"/>
                <c:pt idx="0">
                  <c:v>Boursin Cuisine Sauce Fromage Afh 1X240Gr 1P</c:v>
                </c:pt>
              </c:strCache>
            </c:strRef>
          </c:cat>
          <c:val>
            <c:numRef>
              <c:f>Sheet1!$D$2:$D$2</c:f>
              <c:numCache>
                <c:formatCode>General</c:formatCode>
                <c:ptCount val="1"/>
                <c:pt idx="0">
                  <c:v>819.71875</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c:f>
              <c:strCache>
                <c:ptCount val="3"/>
                <c:pt idx="0">
                  <c:v>Toastinette Fromage Fondu Tranche A Chaud Sachet 1X200Gr 10P</c:v>
                </c:pt>
                <c:pt idx="1">
                  <c:v>Toastinette Fromage Fondu Tranche A Chaud Sachet 1X340Gr 20P</c:v>
                </c:pt>
                <c:pt idx="2">
                  <c:v>Toastinette Cheddar Fondu Tranche A Chaud Sachet 1X340Gr 20P</c:v>
                </c:pt>
              </c:strCache>
            </c:strRef>
          </c:cat>
          <c:val>
            <c:numRef>
              <c:f>Sheet1!$B$2:$B$4</c:f>
              <c:numCache>
                <c:formatCode>General</c:formatCode>
                <c:ptCount val="3"/>
                <c:pt idx="0">
                  <c:v>0.01</c:v>
                </c:pt>
                <c:pt idx="1">
                  <c:v>0.01</c:v>
                </c:pt>
                <c:pt idx="2">
                  <c:v>0.01</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7ECAC4"/>
              </a:solidFill>
            </c:spPr>
            <c:extLst>
              <c:ext xmlns:c16="http://schemas.microsoft.com/office/drawing/2014/chart" uri="{C3380CC4-5D6E-409C-BE32-E72D297353CC}">
                <c16:uniqueId val="{00000006-D8F4-40C6-A5E0-DB4B53CFB1F3}"/>
              </c:ext>
            </c:extLst>
          </c:dPt>
          <c:dPt>
            <c:idx val="1"/>
            <c:invertIfNegative val="0"/>
            <c:bubble3D val="0"/>
            <c:spPr>
              <a:solidFill>
                <a:srgbClr val="AEABAB"/>
              </a:solidFill>
            </c:spPr>
            <c:extLst>
              <c:ext xmlns:c16="http://schemas.microsoft.com/office/drawing/2014/chart" uri="{C3380CC4-5D6E-409C-BE32-E72D297353CC}">
                <c16:uniqueId val="{00000008-D8F4-40C6-A5E0-DB4B53CFB1F3}"/>
              </c:ext>
            </c:extLst>
          </c:dPt>
          <c:dPt>
            <c:idx val="2"/>
            <c:invertIfNegative val="0"/>
            <c:bubble3D val="0"/>
            <c:spPr>
              <a:solidFill>
                <a:srgbClr val="AEABAB"/>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c:f>
              <c:strCache>
                <c:ptCount val="3"/>
                <c:pt idx="0">
                  <c:v>Toastinette Fromage Fondu Tranche A Chaud Sachet 1X200Gr 10P</c:v>
                </c:pt>
                <c:pt idx="1">
                  <c:v>Toastinette Fromage Fondu Tranche A Chaud Sachet 1X340Gr 20P</c:v>
                </c:pt>
                <c:pt idx="2">
                  <c:v>Toastinette Cheddar Fondu Tranche A Chaud Sachet 1X340Gr 20P</c:v>
                </c:pt>
              </c:strCache>
            </c:strRef>
          </c:cat>
          <c:val>
            <c:numRef>
              <c:f>Sheet1!$C$2:$C$4</c:f>
              <c:numCache>
                <c:formatCode>General</c:formatCode>
                <c:ptCount val="3"/>
                <c:pt idx="0">
                  <c:v>0.8912386706948641</c:v>
                </c:pt>
                <c:pt idx="1">
                  <c:v>0.9637462235649548</c:v>
                </c:pt>
                <c:pt idx="2">
                  <c:v>1.0</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4</c:f>
              <c:strCache>
                <c:ptCount val="3"/>
                <c:pt idx="0">
                  <c:v>Toastinette Fromage Fondu Tranche A Chaud Sachet 1X200Gr 10P</c:v>
                </c:pt>
                <c:pt idx="1">
                  <c:v>Toastinette Fromage Fondu Tranche A Chaud Sachet 1X340Gr 20P</c:v>
                </c:pt>
                <c:pt idx="2">
                  <c:v>Toastinette Cheddar Fondu Tranche A Chaud Sachet 1X340Gr 20P</c:v>
                </c:pt>
              </c:strCache>
            </c:strRef>
          </c:cat>
          <c:val>
            <c:numRef>
              <c:f>Sheet1!$D$2:$D$4</c:f>
              <c:numCache>
                <c:formatCode>General</c:formatCode>
                <c:ptCount val="3"/>
                <c:pt idx="0">
                  <c:v>139.0</c:v>
                </c:pt>
                <c:pt idx="1">
                  <c:v>24.0</c:v>
                </c:pt>
                <c:pt idx="2">
                  <c:v>12.0</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2</c:f>
              <c:strCache>
                <c:ptCount val="1"/>
                <c:pt idx="0">
                  <c:v>Boursin Cuisine Sauce Fromage Afh 1X240Gr 1P</c:v>
                </c:pt>
              </c:strCache>
            </c:strRef>
          </c:cat>
          <c:val>
            <c:numRef>
              <c:f>Sheet1!$B$2:$B$2</c:f>
              <c:numCache>
                <c:formatCode>General</c:formatCode>
                <c:ptCount val="1"/>
                <c:pt idx="0">
                  <c:v>0.73</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AEABAB"/>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2</c:f>
              <c:strCache>
                <c:ptCount val="1"/>
                <c:pt idx="0">
                  <c:v>Boursin Cuisine Sauce Fromage Afh 1X240Gr 1P</c:v>
                </c:pt>
              </c:strCache>
            </c:strRef>
          </c:cat>
          <c:val>
            <c:numRef>
              <c:f>Sheet1!$C$2:$C$2</c:f>
              <c:numCache>
                <c:formatCode>General</c:formatCode>
                <c:ptCount val="1"/>
                <c:pt idx="0">
                  <c:v>1.0</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2</c:f>
              <c:strCache>
                <c:ptCount val="1"/>
                <c:pt idx="0">
                  <c:v>Boursin Cuisine Sauce Fromage Afh 1X240Gr 1P</c:v>
                </c:pt>
              </c:strCache>
            </c:strRef>
          </c:cat>
          <c:val>
            <c:numRef>
              <c:f>Sheet1!$D$2:$D$2</c:f>
              <c:numCache>
                <c:formatCode>General</c:formatCode>
                <c:ptCount val="1"/>
                <c:pt idx="0">
                  <c:v>1571.2876712328766</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9</c:f>
              <c:strCache>
                <c:ptCount val="8"/>
                <c:pt idx="0">
                  <c:v>Kiri Creme Fromage Blanc Frais Carre 1X432Gr 24P</c:v>
                </c:pt>
                <c:pt idx="1">
                  <c:v>Kiri Creme Fromage Blanc Frais Carre 1X144Gr 8P</c:v>
                </c:pt>
                <c:pt idx="2">
                  <c:v>Kiri Creme Fromage Blanc Frais Carre 1X216Gr 12P</c:v>
                </c:pt>
                <c:pt idx="3">
                  <c:v>Kiri Gouter Fromage Blanc Dips Boite 1X175Gr 5P</c:v>
                </c:pt>
                <c:pt idx="4">
                  <c:v>Kiri Gouter Fromage Blanc Dips Boite 1X280Gr 8P</c:v>
                </c:pt>
                <c:pt idx="5">
                  <c:v>Kiri Creme Fromage Blanc Frais Carre 1X432Gr 18+6P</c:v>
                </c:pt>
                <c:pt idx="6">
                  <c:v>Kiri Bio Fromage Blanc Frais Carre 1X144Gr 8P</c:v>
                </c:pt>
                <c:pt idx="7">
                  <c:v>Kiri Chevre Fromage Blanc Frais Carre 1X144Gr 8P</c:v>
                </c:pt>
              </c:strCache>
            </c:strRef>
          </c:cat>
          <c:val>
            <c:numRef>
              <c:f>Sheet1!$B$2:$B$9</c:f>
              <c:numCache>
                <c:formatCode>General</c:formatCode>
                <c:ptCount val="8"/>
                <c:pt idx="0">
                  <c:v>0.778</c:v>
                </c:pt>
                <c:pt idx="1">
                  <c:v>0.99</c:v>
                </c:pt>
                <c:pt idx="2">
                  <c:v>0.834</c:v>
                </c:pt>
                <c:pt idx="3">
                  <c:v>0.949</c:v>
                </c:pt>
                <c:pt idx="4">
                  <c:v>0.732</c:v>
                </c:pt>
                <c:pt idx="5">
                  <c:v>0.716</c:v>
                </c:pt>
                <c:pt idx="6">
                  <c:v>0.502</c:v>
                </c:pt>
                <c:pt idx="7">
                  <c:v>0.267</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7ECAC4"/>
              </a:solidFill>
            </c:spPr>
            <c:extLst>
              <c:ext xmlns:c16="http://schemas.microsoft.com/office/drawing/2014/chart" uri="{C3380CC4-5D6E-409C-BE32-E72D297353CC}">
                <c16:uniqueId val="{00000007-E902-46E2-9A54-39A26B3DFDC1}"/>
              </c:ext>
            </c:extLst>
          </c:dPt>
          <c:dPt>
            <c:idx val="4"/>
            <c:invertIfNegative val="1"/>
            <c:bubble3D val="0"/>
            <c:spPr>
              <a:solidFill>
                <a:srgbClr val="7ECAC4"/>
              </a:solidFill>
            </c:spPr>
            <c:extLst>
              <c:ext xmlns:c16="http://schemas.microsoft.com/office/drawing/2014/chart" uri="{C3380CC4-5D6E-409C-BE32-E72D297353CC}">
                <c16:uniqueId val="{0000000B-FA3E-4872-B6E1-C4ABDF5766E2}"/>
              </c:ext>
            </c:extLst>
          </c:dPt>
          <c:dPt>
            <c:idx val="5"/>
            <c:invertIfNegative val="1"/>
            <c:bubble3D val="0"/>
            <c:spPr>
              <a:solidFill>
                <a:srgbClr val="AEABAB"/>
              </a:solidFill>
            </c:spPr>
            <c:extLst>
              <c:ext xmlns:c16="http://schemas.microsoft.com/office/drawing/2014/chart" uri="{C3380CC4-5D6E-409C-BE32-E72D297353CC}">
                <c16:uniqueId val="{0000000D-FA3E-4872-B6E1-C4ABDF5766E2}"/>
              </c:ext>
            </c:extLst>
          </c:dPt>
          <c:dPt>
            <c:idx val="6"/>
            <c:invertIfNegative val="1"/>
            <c:bubble3D val="0"/>
            <c:spPr>
              <a:solidFill>
                <a:srgbClr val="AEABAB"/>
              </a:solidFill>
            </c:spPr>
            <c:extLst>
              <c:ext xmlns:c16="http://schemas.microsoft.com/office/drawing/2014/chart" uri="{C3380CC4-5D6E-409C-BE32-E72D297353CC}">
                <c16:uniqueId val="{0000000F-FA3E-4872-B6E1-C4ABDF5766E2}"/>
              </c:ext>
            </c:extLst>
          </c:dPt>
          <c:dPt>
            <c:idx val="7"/>
            <c:invertIfNegative val="1"/>
            <c:bubble3D val="0"/>
            <c:spPr>
              <a:solidFill>
                <a:srgbClr val="AEABAB"/>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9</c:f>
              <c:strCache>
                <c:ptCount val="8"/>
                <c:pt idx="0">
                  <c:v>Kiri Creme Fromage Blanc Frais Carre 1X432Gr 24P</c:v>
                </c:pt>
                <c:pt idx="1">
                  <c:v>Kiri Creme Fromage Blanc Frais Carre 1X144Gr 8P</c:v>
                </c:pt>
                <c:pt idx="2">
                  <c:v>Kiri Creme Fromage Blanc Frais Carre 1X216Gr 12P</c:v>
                </c:pt>
                <c:pt idx="3">
                  <c:v>Kiri Gouter Fromage Blanc Dips Boite 1X175Gr 5P</c:v>
                </c:pt>
                <c:pt idx="4">
                  <c:v>Kiri Gouter Fromage Blanc Dips Boite 1X280Gr 8P</c:v>
                </c:pt>
                <c:pt idx="5">
                  <c:v>Kiri Creme Fromage Blanc Frais Carre 1X432Gr 18+6P</c:v>
                </c:pt>
                <c:pt idx="6">
                  <c:v>Kiri Bio Fromage Blanc Frais Carre 1X144Gr 8P</c:v>
                </c:pt>
                <c:pt idx="7">
                  <c:v>Kiri Chevre Fromage Blanc Frais Carre 1X144Gr 8P</c:v>
                </c:pt>
              </c:strCache>
            </c:strRef>
          </c:cat>
          <c:val>
            <c:numRef>
              <c:f>Sheet1!$C$2:$C$9</c:f>
              <c:numCache>
                <c:formatCode>General</c:formatCode>
                <c:ptCount val="8"/>
                <c:pt idx="0">
                  <c:v>0.29823520915114343</c:v>
                </c:pt>
                <c:pt idx="1">
                  <c:v>0.5206778453127427</c:v>
                </c:pt>
                <c:pt idx="2">
                  <c:v>0.689033456487483</c:v>
                </c:pt>
                <c:pt idx="3">
                  <c:v>0.8430749350512527</c:v>
                </c:pt>
                <c:pt idx="4">
                  <c:v>0.9298535162794671</c:v>
                </c:pt>
                <c:pt idx="5">
                  <c:v>0.9850869491154005</c:v>
                </c:pt>
                <c:pt idx="6">
                  <c:v>0.9991956495089007</c:v>
                </c:pt>
                <c:pt idx="7">
                  <c:v>0.999997833589637</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9</c:f>
              <c:strCache>
                <c:ptCount val="8"/>
                <c:pt idx="0">
                  <c:v>Kiri Creme Fromage Blanc Frais Carre 1X432Gr 24P</c:v>
                </c:pt>
                <c:pt idx="1">
                  <c:v>Kiri Creme Fromage Blanc Frais Carre 1X144Gr 8P</c:v>
                </c:pt>
                <c:pt idx="2">
                  <c:v>Kiri Creme Fromage Blanc Frais Carre 1X216Gr 12P</c:v>
                </c:pt>
                <c:pt idx="3">
                  <c:v>Kiri Gouter Fromage Blanc Dips Boite 1X175Gr 5P</c:v>
                </c:pt>
                <c:pt idx="4">
                  <c:v>Kiri Gouter Fromage Blanc Dips Boite 1X280Gr 8P</c:v>
                </c:pt>
                <c:pt idx="5">
                  <c:v>Kiri Creme Fromage Blanc Frais Carre 1X432Gr 18+6P</c:v>
                </c:pt>
                <c:pt idx="6">
                  <c:v>Kiri Bio Fromage Blanc Frais Carre 1X144Gr 8P</c:v>
                </c:pt>
                <c:pt idx="7">
                  <c:v>Kiri Chevre Fromage Blanc Frais Carre 1X144Gr 8P</c:v>
                </c:pt>
              </c:strCache>
            </c:strRef>
          </c:cat>
          <c:val>
            <c:numRef>
              <c:f>Sheet1!$D$2:$D$9</c:f>
              <c:numCache>
                <c:formatCode>General</c:formatCode>
                <c:ptCount val="8"/>
                <c:pt idx="0">
                  <c:v>81394.7557840617</c:v>
                </c:pt>
                <c:pt idx="1">
                  <c:v>47708.9595959596</c:v>
                </c:pt>
                <c:pt idx="2">
                  <c:v>42862.6139088729</c:v>
                </c:pt>
                <c:pt idx="3">
                  <c:v>34465.81664910432</c:v>
                </c:pt>
                <c:pt idx="4">
                  <c:v>25172.049180327867</c:v>
                </c:pt>
                <c:pt idx="5">
                  <c:v>16379.706703910615</c:v>
                </c:pt>
                <c:pt idx="6">
                  <c:v>5967.609561752988</c:v>
                </c:pt>
                <c:pt idx="7">
                  <c:v>637.940074906366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Apericube</c:v>
                </c:pt>
                <c:pt idx="1">
                  <c:v>Aperivrais</c:v>
                </c:pt>
                <c:pt idx="2">
                  <c:v>Boursin</c:v>
                </c:pt>
                <c:pt idx="3">
                  <c:v>Private Label</c:v>
                </c:pt>
                <c:pt idx="4">
                  <c:v>St Moret</c:v>
                </c:pt>
                <c:pt idx="5">
                  <c:v>Others</c:v>
                </c:pt>
              </c:strCache>
            </c:strRef>
          </c:cat>
          <c:val>
            <c:numRef>
              <c:f>Sheet1!$B$2:$B$7</c:f>
              <c:numCache>
                <c:formatCode>General</c:formatCode>
                <c:ptCount val="6"/>
                <c:pt idx="0">
                  <c:v>0.5633477428776615</c:v>
                </c:pt>
                <c:pt idx="1">
                  <c:v>0.1514240243792771</c:v>
                </c:pt>
                <c:pt idx="2">
                  <c:v>0.12662044044315365</c:v>
                </c:pt>
                <c:pt idx="3">
                  <c:v>0.08439589473644213</c:v>
                </c:pt>
                <c:pt idx="4">
                  <c:v>0.06359061103983038</c:v>
                </c:pt>
                <c:pt idx="5">
                  <c:v>0.010621286523635157</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Apericube</c:v>
                </c:pt>
                <c:pt idx="1">
                  <c:v>Aperivrais</c:v>
                </c:pt>
                <c:pt idx="2">
                  <c:v>Boursin</c:v>
                </c:pt>
                <c:pt idx="3">
                  <c:v>Private Label</c:v>
                </c:pt>
                <c:pt idx="4">
                  <c:v>St Moret</c:v>
                </c:pt>
                <c:pt idx="5">
                  <c:v>Others</c:v>
                </c:pt>
              </c:strCache>
            </c:strRef>
          </c:cat>
          <c:val>
            <c:numRef>
              <c:f>Sheet1!$C$2:$C$7</c:f>
              <c:numCache>
                <c:formatCode>General</c:formatCode>
                <c:ptCount val="6"/>
                <c:pt idx="0">
                  <c:v>0.41132075471698126</c:v>
                </c:pt>
                <c:pt idx="1">
                  <c:v>0.22587601078167122</c:v>
                </c:pt>
                <c:pt idx="2">
                  <c:v>0.12560646900269545</c:v>
                </c:pt>
                <c:pt idx="3">
                  <c:v>0.06738544474393532</c:v>
                </c:pt>
                <c:pt idx="4">
                  <c:v>0.11805929919137467</c:v>
                </c:pt>
                <c:pt idx="5">
                  <c:v>0.0517520215633423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Apericube</c:v>
                </c:pt>
                <c:pt idx="1">
                  <c:v>Aperivrais</c:v>
                </c:pt>
                <c:pt idx="2">
                  <c:v>Boursin</c:v>
                </c:pt>
                <c:pt idx="3">
                  <c:v>Private Label</c:v>
                </c:pt>
                <c:pt idx="4">
                  <c:v>St Moret</c:v>
                </c:pt>
                <c:pt idx="5">
                  <c:v>Others</c:v>
                </c:pt>
              </c:strCache>
            </c:strRef>
          </c:cat>
          <c:val>
            <c:numRef>
              <c:f>Sheet1!$D$2:$D$7</c:f>
              <c:numCache>
                <c:formatCode>General</c:formatCode>
                <c:ptCount val="6"/>
                <c:pt idx="0">
                  <c:v>73.0136509673218</c:v>
                </c:pt>
                <c:pt idx="1">
                  <c:v>149.16788251242855</c:v>
                </c:pt>
                <c:pt idx="2">
                  <c:v>99.19920398562077</c:v>
                </c:pt>
                <c:pt idx="3">
                  <c:v>79.84445802058463</c:v>
                </c:pt>
                <c:pt idx="4">
                  <c:v>185.65523630120094</c:v>
                </c:pt>
                <c:pt idx="5">
                  <c:v>487.2481450169003</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12</c:f>
              <c:strCache>
                <c:ptCount val="11"/>
                <c:pt idx="0">
                  <c:v>La Vache Qui Rit Nature Fromage Fondu Boite Ronde 1X512Gr 32P</c:v>
                </c:pt>
                <c:pt idx="1">
                  <c:v>La Vache Qui Rit Nature Fromage Fondu Boite Ronde 1X384Gr 24P</c:v>
                </c:pt>
                <c:pt idx="2">
                  <c:v>La Vache Qui Rit Nature Fromage Fondu Boite Ronde 1X192Gr 12P</c:v>
                </c:pt>
                <c:pt idx="3">
                  <c:v>La Vache Qui Rit Pik Et Croq' Fromage Fondu Dips Boite 1X175Gr 5P</c:v>
                </c:pt>
                <c:pt idx="4">
                  <c:v>La Vache Qui Rit Nature Fromage Fondu Boite Ronde 1X128Gr 8P</c:v>
                </c:pt>
                <c:pt idx="5">
                  <c:v>La Vache Qui Rit Nature Fromage Fondu Boite Ronde 1X512Gr 24+8P</c:v>
                </c:pt>
                <c:pt idx="6">
                  <c:v>La Vache Qui Rit Pik Et Croq' Fromage Fondu Dips Boite 1X280Gr 8P</c:v>
                </c:pt>
                <c:pt idx="7">
                  <c:v>La Vache Qui Rit Allegee Fromage Fondu Boite Ronde Allege 1X267Gr 16P</c:v>
                </c:pt>
                <c:pt idx="8">
                  <c:v>La Vache Qui Rit Bio Fromage Fondu Boite Ronde 1X128Gr 8P</c:v>
                </c:pt>
                <c:pt idx="9">
                  <c:v>La Vache Qui Rit Aro Fromage Fondu Boite Ronde Jambon 1X133Gr 8P</c:v>
                </c:pt>
                <c:pt idx="10">
                  <c:v>La Vache Qui Rit Pik Et Croq' Fromage Fondu Dips Boite 1X35Gr 1P</c:v>
                </c:pt>
              </c:strCache>
            </c:strRef>
          </c:cat>
          <c:val>
            <c:numRef>
              <c:f>Sheet1!$B$2:$B$12</c:f>
              <c:numCache>
                <c:formatCode>General</c:formatCode>
                <c:ptCount val="11"/>
                <c:pt idx="0">
                  <c:v>0.827</c:v>
                </c:pt>
                <c:pt idx="1">
                  <c:v>0.898</c:v>
                </c:pt>
                <c:pt idx="2">
                  <c:v>0.981</c:v>
                </c:pt>
                <c:pt idx="3">
                  <c:v>0.908</c:v>
                </c:pt>
                <c:pt idx="4">
                  <c:v>0.694</c:v>
                </c:pt>
                <c:pt idx="5">
                  <c:v>0.725</c:v>
                </c:pt>
                <c:pt idx="6">
                  <c:v>0.434</c:v>
                </c:pt>
                <c:pt idx="7">
                  <c:v>0.495</c:v>
                </c:pt>
                <c:pt idx="8">
                  <c:v>0.482</c:v>
                </c:pt>
                <c:pt idx="9">
                  <c:v>0.037</c:v>
                </c:pt>
                <c:pt idx="10">
                  <c:v>0.008</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7ECAC4"/>
              </a:solidFill>
            </c:spPr>
            <c:extLst>
              <c:ext xmlns:c16="http://schemas.microsoft.com/office/drawing/2014/chart" uri="{C3380CC4-5D6E-409C-BE32-E72D297353CC}">
                <c16:uniqueId val="{00000006-E902-46E2-9A54-39A26B3DFDC1}"/>
              </c:ext>
            </c:extLst>
          </c:dPt>
          <c:dPt>
            <c:idx val="3"/>
            <c:invertIfNegative val="0"/>
            <c:bubble3D val="0"/>
            <c:spPr>
              <a:solidFill>
                <a:srgbClr val="7ECAC4"/>
              </a:solidFill>
            </c:spPr>
            <c:extLst>
              <c:ext xmlns:c16="http://schemas.microsoft.com/office/drawing/2014/chart" uri="{C3380CC4-5D6E-409C-BE32-E72D297353CC}">
                <c16:uniqueId val="{00000007-E902-46E2-9A54-39A26B3DFDC1}"/>
              </c:ext>
            </c:extLst>
          </c:dPt>
          <c:dPt>
            <c:idx val="4"/>
            <c:invertIfNegative val="1"/>
            <c:bubble3D val="0"/>
            <c:spPr>
              <a:solidFill>
                <a:srgbClr val="7ECAC4"/>
              </a:solidFill>
            </c:spPr>
            <c:extLst>
              <c:ext xmlns:c16="http://schemas.microsoft.com/office/drawing/2014/chart" uri="{C3380CC4-5D6E-409C-BE32-E72D297353CC}">
                <c16:uniqueId val="{0000000B-FA3E-4872-B6E1-C4ABDF5766E2}"/>
              </c:ext>
            </c:extLst>
          </c:dPt>
          <c:dPt>
            <c:idx val="5"/>
            <c:invertIfNegative val="1"/>
            <c:bubble3D val="0"/>
            <c:spPr>
              <a:solidFill>
                <a:srgbClr val="AEABAB"/>
              </a:solidFill>
            </c:spPr>
            <c:extLst>
              <c:ext xmlns:c16="http://schemas.microsoft.com/office/drawing/2014/chart" uri="{C3380CC4-5D6E-409C-BE32-E72D297353CC}">
                <c16:uniqueId val="{0000000D-FA3E-4872-B6E1-C4ABDF5766E2}"/>
              </c:ext>
            </c:extLst>
          </c:dPt>
          <c:dPt>
            <c:idx val="6"/>
            <c:invertIfNegative val="1"/>
            <c:bubble3D val="0"/>
            <c:spPr>
              <a:solidFill>
                <a:srgbClr val="AEABAB"/>
              </a:solidFill>
            </c:spPr>
            <c:extLst>
              <c:ext xmlns:c16="http://schemas.microsoft.com/office/drawing/2014/chart" uri="{C3380CC4-5D6E-409C-BE32-E72D297353CC}">
                <c16:uniqueId val="{0000000F-FA3E-4872-B6E1-C4ABDF5766E2}"/>
              </c:ext>
            </c:extLst>
          </c:dPt>
          <c:dPt>
            <c:idx val="7"/>
            <c:invertIfNegative val="1"/>
            <c:bubble3D val="0"/>
            <c:spPr>
              <a:solidFill>
                <a:srgbClr val="AEABAB"/>
              </a:solidFill>
            </c:spPr>
            <c:extLst>
              <c:ext xmlns:c16="http://schemas.microsoft.com/office/drawing/2014/chart" uri="{C3380CC4-5D6E-409C-BE32-E72D297353CC}">
                <c16:uniqueId val="{00000011-FA3E-4872-B6E1-C4ABDF5766E2}"/>
              </c:ext>
            </c:extLst>
          </c:dPt>
          <c:dPt>
            <c:idx val="8"/>
            <c:invertIfNegative val="1"/>
            <c:bubble3D val="0"/>
            <c:spPr>
              <a:solidFill>
                <a:srgbClr val="AEABAB"/>
              </a:solidFill>
            </c:spPr>
            <c:extLst>
              <c:ext xmlns:c16="http://schemas.microsoft.com/office/drawing/2014/chart" uri="{C3380CC4-5D6E-409C-BE32-E72D297353CC}">
                <c16:uniqueId val="{00000013-FA3E-4872-B6E1-C4ABDF5766E2}"/>
              </c:ext>
            </c:extLst>
          </c:dPt>
          <c:dPt>
            <c:idx val="9"/>
            <c:invertIfNegative val="1"/>
            <c:bubble3D val="0"/>
            <c:spPr>
              <a:solidFill>
                <a:srgbClr val="AEABAB"/>
              </a:solidFill>
            </c:spPr>
            <c:extLst>
              <c:ext xmlns:c16="http://schemas.microsoft.com/office/drawing/2014/chart" uri="{C3380CC4-5D6E-409C-BE32-E72D297353CC}">
                <c16:uniqueId val="{00000015-FA3E-4872-B6E1-C4ABDF5766E2}"/>
              </c:ext>
            </c:extLst>
          </c:dPt>
          <c:dPt>
            <c:idx val="10"/>
            <c:invertIfNegative val="1"/>
            <c:bubble3D val="0"/>
            <c:spPr>
              <a:solidFill>
                <a:srgbClr val="AEABAB"/>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12</c:f>
              <c:strCache>
                <c:ptCount val="11"/>
                <c:pt idx="0">
                  <c:v>La Vache Qui Rit Nature Fromage Fondu Boite Ronde 1X512Gr 32P</c:v>
                </c:pt>
                <c:pt idx="1">
                  <c:v>La Vache Qui Rit Nature Fromage Fondu Boite Ronde 1X384Gr 24P</c:v>
                </c:pt>
                <c:pt idx="2">
                  <c:v>La Vache Qui Rit Nature Fromage Fondu Boite Ronde 1X192Gr 12P</c:v>
                </c:pt>
                <c:pt idx="3">
                  <c:v>La Vache Qui Rit Pik Et Croq' Fromage Fondu Dips Boite 1X175Gr 5P</c:v>
                </c:pt>
                <c:pt idx="4">
                  <c:v>La Vache Qui Rit Nature Fromage Fondu Boite Ronde 1X128Gr 8P</c:v>
                </c:pt>
                <c:pt idx="5">
                  <c:v>La Vache Qui Rit Nature Fromage Fondu Boite Ronde 1X512Gr 24+8P</c:v>
                </c:pt>
                <c:pt idx="6">
                  <c:v>La Vache Qui Rit Pik Et Croq' Fromage Fondu Dips Boite 1X280Gr 8P</c:v>
                </c:pt>
                <c:pt idx="7">
                  <c:v>La Vache Qui Rit Allegee Fromage Fondu Boite Ronde Allege 1X267Gr 16P</c:v>
                </c:pt>
                <c:pt idx="8">
                  <c:v>La Vache Qui Rit Bio Fromage Fondu Boite Ronde 1X128Gr 8P</c:v>
                </c:pt>
                <c:pt idx="9">
                  <c:v>La Vache Qui Rit Aro Fromage Fondu Boite Ronde Jambon 1X133Gr 8P</c:v>
                </c:pt>
                <c:pt idx="10">
                  <c:v>La Vache Qui Rit Pik Et Croq' Fromage Fondu Dips Boite 1X35Gr 1P</c:v>
                </c:pt>
              </c:strCache>
            </c:strRef>
          </c:cat>
          <c:val>
            <c:numRef>
              <c:f>Sheet1!$C$2:$C$12</c:f>
              <c:numCache>
                <c:formatCode>General</c:formatCode>
                <c:ptCount val="11"/>
                <c:pt idx="0">
                  <c:v>0.3884631204332056</c:v>
                </c:pt>
                <c:pt idx="1">
                  <c:v>0.6030968637969657</c:v>
                </c:pt>
                <c:pt idx="2">
                  <c:v>0.8116569846937349</c:v>
                </c:pt>
                <c:pt idx="3">
                  <c:v>0.8700196610852169</c:v>
                </c:pt>
                <c:pt idx="4">
                  <c:v>0.9203061751902994</c:v>
                </c:pt>
                <c:pt idx="5">
                  <c:v>0.9663846446609375</c:v>
                </c:pt>
                <c:pt idx="6">
                  <c:v>0.9809219796517745</c:v>
                </c:pt>
                <c:pt idx="7">
                  <c:v>0.9929020016470885</c:v>
                </c:pt>
                <c:pt idx="8">
                  <c:v>0.998092214375672</c:v>
                </c:pt>
                <c:pt idx="9">
                  <c:v>0.9990783538094732</c:v>
                </c:pt>
                <c:pt idx="10">
                  <c:v>0.9998500080805276</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12</c:f>
              <c:strCache>
                <c:ptCount val="11"/>
                <c:pt idx="0">
                  <c:v>La Vache Qui Rit Nature Fromage Fondu Boite Ronde 1X512Gr 32P</c:v>
                </c:pt>
                <c:pt idx="1">
                  <c:v>La Vache Qui Rit Nature Fromage Fondu Boite Ronde 1X384Gr 24P</c:v>
                </c:pt>
                <c:pt idx="2">
                  <c:v>La Vache Qui Rit Nature Fromage Fondu Boite Ronde 1X192Gr 12P</c:v>
                </c:pt>
                <c:pt idx="3">
                  <c:v>La Vache Qui Rit Pik Et Croq' Fromage Fondu Dips Boite 1X175Gr 5P</c:v>
                </c:pt>
                <c:pt idx="4">
                  <c:v>La Vache Qui Rit Nature Fromage Fondu Boite Ronde 1X128Gr 8P</c:v>
                </c:pt>
                <c:pt idx="5">
                  <c:v>La Vache Qui Rit Nature Fromage Fondu Boite Ronde 1X512Gr 24+8P</c:v>
                </c:pt>
                <c:pt idx="6">
                  <c:v>La Vache Qui Rit Pik Et Croq' Fromage Fondu Dips Boite 1X280Gr 8P</c:v>
                </c:pt>
                <c:pt idx="7">
                  <c:v>La Vache Qui Rit Allegee Fromage Fondu Boite Ronde Allege 1X267Gr 16P</c:v>
                </c:pt>
                <c:pt idx="8">
                  <c:v>La Vache Qui Rit Bio Fromage Fondu Boite Ronde 1X128Gr 8P</c:v>
                </c:pt>
                <c:pt idx="9">
                  <c:v>La Vache Qui Rit Aro Fromage Fondu Boite Ronde Jambon 1X133Gr 8P</c:v>
                </c:pt>
                <c:pt idx="10">
                  <c:v>La Vache Qui Rit Pik Et Croq' Fromage Fondu Dips Boite 1X35Gr 1P</c:v>
                </c:pt>
              </c:strCache>
            </c:strRef>
          </c:cat>
          <c:val>
            <c:numRef>
              <c:f>Sheet1!$D$2:$D$12</c:f>
              <c:numCache>
                <c:formatCode>General</c:formatCode>
                <c:ptCount val="11"/>
                <c:pt idx="0">
                  <c:v>143117.46070133013</c:v>
                </c:pt>
                <c:pt idx="1">
                  <c:v>72823.24053452116</c:v>
                </c:pt>
                <c:pt idx="2">
                  <c:v>64775.47400611621</c:v>
                </c:pt>
                <c:pt idx="3">
                  <c:v>19583.832599118945</c:v>
                </c:pt>
                <c:pt idx="4">
                  <c:v>22077.017291066284</c:v>
                </c:pt>
                <c:pt idx="5">
                  <c:v>19364.593103448275</c:v>
                </c:pt>
                <c:pt idx="6">
                  <c:v>10205.714285714286</c:v>
                </c:pt>
                <c:pt idx="7">
                  <c:v>7373.959595959596</c:v>
                </c:pt>
                <c:pt idx="8">
                  <c:v>3280.850622406639</c:v>
                </c:pt>
                <c:pt idx="9">
                  <c:v>8120.540540540541</c:v>
                </c:pt>
                <c:pt idx="10">
                  <c:v>29388.75</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9</c:f>
              <c:strCache>
                <c:ptCount val="8"/>
                <c:pt idx="0">
                  <c:v>Kiri Creme Fromage Blanc Frais Carre 1X216Gr 12P</c:v>
                </c:pt>
                <c:pt idx="1">
                  <c:v>Kiri Creme Fromage Blanc Frais Carre 1X432Gr 24P</c:v>
                </c:pt>
                <c:pt idx="2">
                  <c:v>Kiri Gouter Fromage Blanc Dips Boite 1X280Gr 8P</c:v>
                </c:pt>
                <c:pt idx="3">
                  <c:v>Kiri Creme Fromage Blanc Frais Carre 1X144Gr 8P</c:v>
                </c:pt>
                <c:pt idx="4">
                  <c:v>Kiri Gouter Fromage Blanc Dips Boite 1X175Gr 5P</c:v>
                </c:pt>
                <c:pt idx="5">
                  <c:v>Kiri Bio Fromage Blanc Frais Carre 1X144Gr 8P</c:v>
                </c:pt>
                <c:pt idx="6">
                  <c:v>Kiri Chevre Fromage Blanc Frais Carre 1X144Gr 8P</c:v>
                </c:pt>
                <c:pt idx="7">
                  <c:v>Kiri Creme Fromage Blanc Frais Carre 1X432Gr 18+6P</c:v>
                </c:pt>
              </c:strCache>
            </c:strRef>
          </c:cat>
          <c:val>
            <c:numRef>
              <c:f>Sheet1!$B$2:$B$9</c:f>
              <c:numCache>
                <c:formatCode>General</c:formatCode>
                <c:ptCount val="8"/>
                <c:pt idx="0">
                  <c:v>0.975</c:v>
                </c:pt>
                <c:pt idx="1">
                  <c:v>0.861</c:v>
                </c:pt>
                <c:pt idx="2">
                  <c:v>0.932</c:v>
                </c:pt>
                <c:pt idx="3">
                  <c:v>0.983</c:v>
                </c:pt>
                <c:pt idx="4">
                  <c:v>0.981</c:v>
                </c:pt>
                <c:pt idx="5">
                  <c:v>0.603</c:v>
                </c:pt>
                <c:pt idx="6">
                  <c:v>0.672</c:v>
                </c:pt>
                <c:pt idx="7">
                  <c:v>0.817</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7ECAC4"/>
              </a:solidFill>
            </c:spPr>
            <c:extLst>
              <c:ext xmlns:c16="http://schemas.microsoft.com/office/drawing/2014/chart" uri="{C3380CC4-5D6E-409C-BE32-E72D297353CC}">
                <c16:uniqueId val="{00000007-E902-46E2-9A54-39A26B3DFDC1}"/>
              </c:ext>
            </c:extLst>
          </c:dPt>
          <c:dPt>
            <c:idx val="4"/>
            <c:invertIfNegative val="1"/>
            <c:bubble3D val="0"/>
            <c:spPr>
              <a:solidFill>
                <a:srgbClr val="7ECAC4"/>
              </a:solidFill>
            </c:spPr>
            <c:extLst>
              <c:ext xmlns:c16="http://schemas.microsoft.com/office/drawing/2014/chart" uri="{C3380CC4-5D6E-409C-BE32-E72D297353CC}">
                <c16:uniqueId val="{0000000B-FA3E-4872-B6E1-C4ABDF5766E2}"/>
              </c:ext>
            </c:extLst>
          </c:dPt>
          <c:dPt>
            <c:idx val="5"/>
            <c:invertIfNegative val="1"/>
            <c:bubble3D val="0"/>
            <c:spPr>
              <a:solidFill>
                <a:srgbClr val="AEABAB"/>
              </a:solidFill>
            </c:spPr>
            <c:extLst>
              <c:ext xmlns:c16="http://schemas.microsoft.com/office/drawing/2014/chart" uri="{C3380CC4-5D6E-409C-BE32-E72D297353CC}">
                <c16:uniqueId val="{0000000D-FA3E-4872-B6E1-C4ABDF5766E2}"/>
              </c:ext>
            </c:extLst>
          </c:dPt>
          <c:dPt>
            <c:idx val="6"/>
            <c:invertIfNegative val="1"/>
            <c:bubble3D val="0"/>
            <c:spPr>
              <a:solidFill>
                <a:srgbClr val="AEABAB"/>
              </a:solidFill>
            </c:spPr>
            <c:extLst>
              <c:ext xmlns:c16="http://schemas.microsoft.com/office/drawing/2014/chart" uri="{C3380CC4-5D6E-409C-BE32-E72D297353CC}">
                <c16:uniqueId val="{0000000F-FA3E-4872-B6E1-C4ABDF5766E2}"/>
              </c:ext>
            </c:extLst>
          </c:dPt>
          <c:dPt>
            <c:idx val="7"/>
            <c:invertIfNegative val="1"/>
            <c:bubble3D val="0"/>
            <c:spPr>
              <a:solidFill>
                <a:srgbClr val="AEABAB"/>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9</c:f>
              <c:strCache>
                <c:ptCount val="8"/>
                <c:pt idx="0">
                  <c:v>Kiri Creme Fromage Blanc Frais Carre 1X216Gr 12P</c:v>
                </c:pt>
                <c:pt idx="1">
                  <c:v>Kiri Creme Fromage Blanc Frais Carre 1X432Gr 24P</c:v>
                </c:pt>
                <c:pt idx="2">
                  <c:v>Kiri Gouter Fromage Blanc Dips Boite 1X280Gr 8P</c:v>
                </c:pt>
                <c:pt idx="3">
                  <c:v>Kiri Creme Fromage Blanc Frais Carre 1X144Gr 8P</c:v>
                </c:pt>
                <c:pt idx="4">
                  <c:v>Kiri Gouter Fromage Blanc Dips Boite 1X175Gr 5P</c:v>
                </c:pt>
                <c:pt idx="5">
                  <c:v>Kiri Bio Fromage Blanc Frais Carre 1X144Gr 8P</c:v>
                </c:pt>
                <c:pt idx="6">
                  <c:v>Kiri Chevre Fromage Blanc Frais Carre 1X144Gr 8P</c:v>
                </c:pt>
                <c:pt idx="7">
                  <c:v>Kiri Creme Fromage Blanc Frais Carre 1X432Gr 18+6P</c:v>
                </c:pt>
              </c:strCache>
            </c:strRef>
          </c:cat>
          <c:val>
            <c:numRef>
              <c:f>Sheet1!$C$2:$C$9</c:f>
              <c:numCache>
                <c:formatCode>General</c:formatCode>
                <c:ptCount val="8"/>
                <c:pt idx="0">
                  <c:v>0.27189082498207895</c:v>
                </c:pt>
                <c:pt idx="1">
                  <c:v>0.499577604062417</c:v>
                </c:pt>
                <c:pt idx="2">
                  <c:v>0.6568847793411184</c:v>
                </c:pt>
                <c:pt idx="3">
                  <c:v>0.8114783382116831</c:v>
                </c:pt>
                <c:pt idx="4">
                  <c:v>0.9346386502162781</c:v>
                </c:pt>
                <c:pt idx="5">
                  <c:v>0.9607156531298708</c:v>
                </c:pt>
                <c:pt idx="6">
                  <c:v>0.9832731574639118</c:v>
                </c:pt>
                <c:pt idx="7">
                  <c:v>0.9999999999999999</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9</c:f>
              <c:strCache>
                <c:ptCount val="8"/>
                <c:pt idx="0">
                  <c:v>Kiri Creme Fromage Blanc Frais Carre 1X216Gr 12P</c:v>
                </c:pt>
                <c:pt idx="1">
                  <c:v>Kiri Creme Fromage Blanc Frais Carre 1X432Gr 24P</c:v>
                </c:pt>
                <c:pt idx="2">
                  <c:v>Kiri Gouter Fromage Blanc Dips Boite 1X280Gr 8P</c:v>
                </c:pt>
                <c:pt idx="3">
                  <c:v>Kiri Creme Fromage Blanc Frais Carre 1X144Gr 8P</c:v>
                </c:pt>
                <c:pt idx="4">
                  <c:v>Kiri Gouter Fromage Blanc Dips Boite 1X175Gr 5P</c:v>
                </c:pt>
                <c:pt idx="5">
                  <c:v>Kiri Bio Fromage Blanc Frais Carre 1X144Gr 8P</c:v>
                </c:pt>
                <c:pt idx="6">
                  <c:v>Kiri Chevre Fromage Blanc Frais Carre 1X144Gr 8P</c:v>
                </c:pt>
                <c:pt idx="7">
                  <c:v>Kiri Creme Fromage Blanc Frais Carre 1X432Gr 18+6P</c:v>
                </c:pt>
              </c:strCache>
            </c:strRef>
          </c:cat>
          <c:val>
            <c:numRef>
              <c:f>Sheet1!$D$2:$D$9</c:f>
              <c:numCache>
                <c:formatCode>General</c:formatCode>
                <c:ptCount val="8"/>
                <c:pt idx="0">
                  <c:v>45724.89230769231</c:v>
                </c:pt>
                <c:pt idx="1">
                  <c:v>43360.813008130084</c:v>
                </c:pt>
                <c:pt idx="2">
                  <c:v>27675.493562231757</c:v>
                </c:pt>
                <c:pt idx="3">
                  <c:v>25786.988809766022</c:v>
                </c:pt>
                <c:pt idx="4">
                  <c:v>20585.647298674823</c:v>
                </c:pt>
                <c:pt idx="5">
                  <c:v>7090.928689883914</c:v>
                </c:pt>
                <c:pt idx="6">
                  <c:v>5504.077380952381</c:v>
                </c:pt>
                <c:pt idx="7">
                  <c:v>3357.02570379437</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10</c:f>
              <c:strCache>
                <c:ptCount val="9"/>
                <c:pt idx="0">
                  <c:v>La Vache Qui Rit Nature Fromage Fondu Boite Ronde 1X512Gr 32P</c:v>
                </c:pt>
                <c:pt idx="1">
                  <c:v>La Vache Qui Rit Nature Fromage Fondu Boite Ronde 1X192Gr 12P</c:v>
                </c:pt>
                <c:pt idx="2">
                  <c:v>La Vache Qui Rit Nature Fromage Fondu Boite Ronde 1X384Gr 24P</c:v>
                </c:pt>
                <c:pt idx="3">
                  <c:v>La Vache Qui Rit Pik Et Croq' Fromage Fondu Dips Boite 1X175Gr 5P</c:v>
                </c:pt>
                <c:pt idx="4">
                  <c:v>La Vache Qui Rit Pik Et Croq' Fromage Fondu Dips Boite 1X280Gr 8P</c:v>
                </c:pt>
                <c:pt idx="5">
                  <c:v>La Vache Qui Rit Allegee Fromage Fondu Boite Ronde Allege 1X267Gr 16P</c:v>
                </c:pt>
                <c:pt idx="6">
                  <c:v>La Vache Qui Rit Aro Fromage Fondu Boite Ronde Jambon 1X133Gr 8P</c:v>
                </c:pt>
                <c:pt idx="7">
                  <c:v>La Vache Qui Rit Nature Fromage Fondu Boite Ronde 1X512Gr 24+8P</c:v>
                </c:pt>
                <c:pt idx="8">
                  <c:v>La Vache Qui Rit Nature Fromage Fondu Boite Ronde 1X128Gr 8P</c:v>
                </c:pt>
              </c:strCache>
            </c:strRef>
          </c:cat>
          <c:val>
            <c:numRef>
              <c:f>Sheet1!$B$2:$B$10</c:f>
              <c:numCache>
                <c:formatCode>General</c:formatCode>
                <c:ptCount val="9"/>
                <c:pt idx="0">
                  <c:v>0.947</c:v>
                </c:pt>
                <c:pt idx="1">
                  <c:v>0.998</c:v>
                </c:pt>
                <c:pt idx="2">
                  <c:v>0.941</c:v>
                </c:pt>
                <c:pt idx="3">
                  <c:v>0.955</c:v>
                </c:pt>
                <c:pt idx="4">
                  <c:v>0.848</c:v>
                </c:pt>
                <c:pt idx="5">
                  <c:v>0.841</c:v>
                </c:pt>
                <c:pt idx="6">
                  <c:v>0.679</c:v>
                </c:pt>
                <c:pt idx="7">
                  <c:v>0.231</c:v>
                </c:pt>
                <c:pt idx="8">
                  <c:v>0.112</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7ECAC4"/>
              </a:solidFill>
            </c:spPr>
            <c:extLst>
              <c:ext xmlns:c16="http://schemas.microsoft.com/office/drawing/2014/chart" uri="{C3380CC4-5D6E-409C-BE32-E72D297353CC}">
                <c16:uniqueId val="{00000006-E902-46E2-9A54-39A26B3DFDC1}"/>
              </c:ext>
            </c:extLst>
          </c:dPt>
          <c:dPt>
            <c:idx val="3"/>
            <c:invertIfNegative val="0"/>
            <c:bubble3D val="0"/>
            <c:spPr>
              <a:solidFill>
                <a:srgbClr val="7ECAC4"/>
              </a:solidFill>
            </c:spPr>
            <c:extLst>
              <c:ext xmlns:c16="http://schemas.microsoft.com/office/drawing/2014/chart" uri="{C3380CC4-5D6E-409C-BE32-E72D297353CC}">
                <c16:uniqueId val="{00000007-E902-46E2-9A54-39A26B3DFDC1}"/>
              </c:ext>
            </c:extLst>
          </c:dPt>
          <c:dPt>
            <c:idx val="4"/>
            <c:invertIfNegative val="1"/>
            <c:bubble3D val="0"/>
            <c:spPr>
              <a:solidFill>
                <a:srgbClr val="7ECAC4"/>
              </a:solidFill>
            </c:spPr>
            <c:extLst>
              <c:ext xmlns:c16="http://schemas.microsoft.com/office/drawing/2014/chart" uri="{C3380CC4-5D6E-409C-BE32-E72D297353CC}">
                <c16:uniqueId val="{0000000B-FA3E-4872-B6E1-C4ABDF5766E2}"/>
              </c:ext>
            </c:extLst>
          </c:dPt>
          <c:dPt>
            <c:idx val="5"/>
            <c:invertIfNegative val="1"/>
            <c:bubble3D val="0"/>
            <c:spPr>
              <a:solidFill>
                <a:srgbClr val="AEABAB"/>
              </a:solidFill>
            </c:spPr>
            <c:extLst>
              <c:ext xmlns:c16="http://schemas.microsoft.com/office/drawing/2014/chart" uri="{C3380CC4-5D6E-409C-BE32-E72D297353CC}">
                <c16:uniqueId val="{0000000D-FA3E-4872-B6E1-C4ABDF5766E2}"/>
              </c:ext>
            </c:extLst>
          </c:dPt>
          <c:dPt>
            <c:idx val="6"/>
            <c:invertIfNegative val="1"/>
            <c:bubble3D val="0"/>
            <c:spPr>
              <a:solidFill>
                <a:srgbClr val="AEABAB"/>
              </a:solidFill>
            </c:spPr>
            <c:extLst>
              <c:ext xmlns:c16="http://schemas.microsoft.com/office/drawing/2014/chart" uri="{C3380CC4-5D6E-409C-BE32-E72D297353CC}">
                <c16:uniqueId val="{0000000F-FA3E-4872-B6E1-C4ABDF5766E2}"/>
              </c:ext>
            </c:extLst>
          </c:dPt>
          <c:dPt>
            <c:idx val="7"/>
            <c:invertIfNegative val="1"/>
            <c:bubble3D val="0"/>
            <c:spPr>
              <a:solidFill>
                <a:srgbClr val="AEABAB"/>
              </a:solidFill>
            </c:spPr>
            <c:extLst>
              <c:ext xmlns:c16="http://schemas.microsoft.com/office/drawing/2014/chart" uri="{C3380CC4-5D6E-409C-BE32-E72D297353CC}">
                <c16:uniqueId val="{00000011-FA3E-4872-B6E1-C4ABDF5766E2}"/>
              </c:ext>
            </c:extLst>
          </c:dPt>
          <c:dPt>
            <c:idx val="8"/>
            <c:invertIfNegative val="1"/>
            <c:bubble3D val="0"/>
            <c:spPr>
              <a:solidFill>
                <a:srgbClr val="AEABAB"/>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10</c:f>
              <c:strCache>
                <c:ptCount val="9"/>
                <c:pt idx="0">
                  <c:v>La Vache Qui Rit Nature Fromage Fondu Boite Ronde 1X512Gr 32P</c:v>
                </c:pt>
                <c:pt idx="1">
                  <c:v>La Vache Qui Rit Nature Fromage Fondu Boite Ronde 1X192Gr 12P</c:v>
                </c:pt>
                <c:pt idx="2">
                  <c:v>La Vache Qui Rit Nature Fromage Fondu Boite Ronde 1X384Gr 24P</c:v>
                </c:pt>
                <c:pt idx="3">
                  <c:v>La Vache Qui Rit Pik Et Croq' Fromage Fondu Dips Boite 1X175Gr 5P</c:v>
                </c:pt>
                <c:pt idx="4">
                  <c:v>La Vache Qui Rit Pik Et Croq' Fromage Fondu Dips Boite 1X280Gr 8P</c:v>
                </c:pt>
                <c:pt idx="5">
                  <c:v>La Vache Qui Rit Allegee Fromage Fondu Boite Ronde Allege 1X267Gr 16P</c:v>
                </c:pt>
                <c:pt idx="6">
                  <c:v>La Vache Qui Rit Aro Fromage Fondu Boite Ronde Jambon 1X133Gr 8P</c:v>
                </c:pt>
                <c:pt idx="7">
                  <c:v>La Vache Qui Rit Nature Fromage Fondu Boite Ronde 1X512Gr 24+8P</c:v>
                </c:pt>
                <c:pt idx="8">
                  <c:v>La Vache Qui Rit Nature Fromage Fondu Boite Ronde 1X128Gr 8P</c:v>
                </c:pt>
              </c:strCache>
            </c:strRef>
          </c:cat>
          <c:val>
            <c:numRef>
              <c:f>Sheet1!$C$2:$C$10</c:f>
              <c:numCache>
                <c:formatCode>General</c:formatCode>
                <c:ptCount val="9"/>
                <c:pt idx="0">
                  <c:v>0.33309427990982143</c:v>
                </c:pt>
                <c:pt idx="1">
                  <c:v>0.6062099420748005</c:v>
                </c:pt>
                <c:pt idx="2">
                  <c:v>0.8240823190224313</c:v>
                </c:pt>
                <c:pt idx="3">
                  <c:v>0.8844666197514903</c:v>
                </c:pt>
                <c:pt idx="4">
                  <c:v>0.9398858590464646</c:v>
                </c:pt>
                <c:pt idx="5">
                  <c:v>0.9783031643095441</c:v>
                </c:pt>
                <c:pt idx="6">
                  <c:v>0.9985931653566682</c:v>
                </c:pt>
                <c:pt idx="7">
                  <c:v>0.9999502593915102</c:v>
                </c:pt>
                <c:pt idx="8">
                  <c:v>0.9999971627460399</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10</c:f>
              <c:strCache>
                <c:ptCount val="9"/>
                <c:pt idx="0">
                  <c:v>La Vache Qui Rit Nature Fromage Fondu Boite Ronde 1X512Gr 32P</c:v>
                </c:pt>
                <c:pt idx="1">
                  <c:v>La Vache Qui Rit Nature Fromage Fondu Boite Ronde 1X192Gr 12P</c:v>
                </c:pt>
                <c:pt idx="2">
                  <c:v>La Vache Qui Rit Nature Fromage Fondu Boite Ronde 1X384Gr 24P</c:v>
                </c:pt>
                <c:pt idx="3">
                  <c:v>La Vache Qui Rit Pik Et Croq' Fromage Fondu Dips Boite 1X175Gr 5P</c:v>
                </c:pt>
                <c:pt idx="4">
                  <c:v>La Vache Qui Rit Pik Et Croq' Fromage Fondu Dips Boite 1X280Gr 8P</c:v>
                </c:pt>
                <c:pt idx="5">
                  <c:v>La Vache Qui Rit Allegee Fromage Fondu Boite Ronde Allege 1X267Gr 16P</c:v>
                </c:pt>
                <c:pt idx="6">
                  <c:v>La Vache Qui Rit Aro Fromage Fondu Boite Ronde Jambon 1X133Gr 8P</c:v>
                </c:pt>
                <c:pt idx="7">
                  <c:v>La Vache Qui Rit Nature Fromage Fondu Boite Ronde 1X512Gr 24+8P</c:v>
                </c:pt>
                <c:pt idx="8">
                  <c:v>La Vache Qui Rit Nature Fromage Fondu Boite Ronde 1X128Gr 8P</c:v>
                </c:pt>
              </c:strCache>
            </c:strRef>
          </c:cat>
          <c:val>
            <c:numRef>
              <c:f>Sheet1!$D$2:$D$10</c:f>
              <c:numCache>
                <c:formatCode>General</c:formatCode>
                <c:ptCount val="9"/>
                <c:pt idx="0">
                  <c:v>79341.23548046463</c:v>
                </c:pt>
                <c:pt idx="1">
                  <c:v>61730.22044088176</c:v>
                </c:pt>
                <c:pt idx="2">
                  <c:v>52226.90754516472</c:v>
                </c:pt>
                <c:pt idx="3">
                  <c:v>14262.722513089006</c:v>
                </c:pt>
                <c:pt idx="4">
                  <c:v>14741.662735849057</c:v>
                </c:pt>
                <c:pt idx="5">
                  <c:v>10304.161712247325</c:v>
                </c:pt>
                <c:pt idx="6">
                  <c:v>6740.530191458026</c:v>
                </c:pt>
                <c:pt idx="7">
                  <c:v>1325.1948051948052</c:v>
                </c:pt>
                <c:pt idx="8">
                  <c:v>94.46428571428571</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9</c:f>
              <c:strCache>
                <c:ptCount val="8"/>
                <c:pt idx="0">
                  <c:v>Kiri Creme Fromage Blanc Frais Carre 1X432Gr 24P</c:v>
                </c:pt>
                <c:pt idx="1">
                  <c:v>Kiri Creme Fromage Blanc Frais Carre 1X216Gr 12P</c:v>
                </c:pt>
                <c:pt idx="2">
                  <c:v>Kiri Gouter Fromage Blanc Dips Boite 1X175Gr 5P</c:v>
                </c:pt>
                <c:pt idx="3">
                  <c:v>Kiri Creme Fromage Blanc Frais Carre 1X144Gr 8P</c:v>
                </c:pt>
                <c:pt idx="4">
                  <c:v>Kiri Gouter Fromage Blanc Dips Boite 1X280Gr 8P</c:v>
                </c:pt>
                <c:pt idx="5">
                  <c:v>Kiri Creme Fromage Blanc Frais Carre 1X432Gr 18+6P</c:v>
                </c:pt>
                <c:pt idx="6">
                  <c:v>Kiri Bio Fromage Blanc Frais Carre 1X144Gr 8P</c:v>
                </c:pt>
                <c:pt idx="7">
                  <c:v>Kiri Chevre Fromage Blanc Frais Carre 1X144Gr 8P</c:v>
                </c:pt>
              </c:strCache>
            </c:strRef>
          </c:cat>
          <c:val>
            <c:numRef>
              <c:f>Sheet1!$B$2:$B$9</c:f>
              <c:numCache>
                <c:formatCode>General</c:formatCode>
                <c:ptCount val="8"/>
                <c:pt idx="0">
                  <c:v>0.99</c:v>
                </c:pt>
                <c:pt idx="1">
                  <c:v>1.0</c:v>
                </c:pt>
                <c:pt idx="2">
                  <c:v>1.0</c:v>
                </c:pt>
                <c:pt idx="3">
                  <c:v>1.0</c:v>
                </c:pt>
                <c:pt idx="4">
                  <c:v>0.99</c:v>
                </c:pt>
                <c:pt idx="5">
                  <c:v>0.98</c:v>
                </c:pt>
                <c:pt idx="6">
                  <c:v>0.75</c:v>
                </c:pt>
                <c:pt idx="7">
                  <c:v>0.56</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7ECAC4"/>
              </a:solidFill>
            </c:spPr>
            <c:extLst>
              <c:ext xmlns:c16="http://schemas.microsoft.com/office/drawing/2014/chart" uri="{C3380CC4-5D6E-409C-BE32-E72D297353CC}">
                <c16:uniqueId val="{00000007-E902-46E2-9A54-39A26B3DFDC1}"/>
              </c:ext>
            </c:extLst>
          </c:dPt>
          <c:dPt>
            <c:idx val="4"/>
            <c:invertIfNegative val="1"/>
            <c:bubble3D val="0"/>
            <c:spPr>
              <a:solidFill>
                <a:srgbClr val="7ECAC4"/>
              </a:solidFill>
            </c:spPr>
            <c:extLst>
              <c:ext xmlns:c16="http://schemas.microsoft.com/office/drawing/2014/chart" uri="{C3380CC4-5D6E-409C-BE32-E72D297353CC}">
                <c16:uniqueId val="{0000000B-FA3E-4872-B6E1-C4ABDF5766E2}"/>
              </c:ext>
            </c:extLst>
          </c:dPt>
          <c:dPt>
            <c:idx val="5"/>
            <c:invertIfNegative val="1"/>
            <c:bubble3D val="0"/>
            <c:spPr>
              <a:solidFill>
                <a:srgbClr val="AEABAB"/>
              </a:solidFill>
            </c:spPr>
            <c:extLst>
              <c:ext xmlns:c16="http://schemas.microsoft.com/office/drawing/2014/chart" uri="{C3380CC4-5D6E-409C-BE32-E72D297353CC}">
                <c16:uniqueId val="{0000000D-FA3E-4872-B6E1-C4ABDF5766E2}"/>
              </c:ext>
            </c:extLst>
          </c:dPt>
          <c:dPt>
            <c:idx val="6"/>
            <c:invertIfNegative val="1"/>
            <c:bubble3D val="0"/>
            <c:spPr>
              <a:solidFill>
                <a:srgbClr val="AEABAB"/>
              </a:solidFill>
            </c:spPr>
            <c:extLst>
              <c:ext xmlns:c16="http://schemas.microsoft.com/office/drawing/2014/chart" uri="{C3380CC4-5D6E-409C-BE32-E72D297353CC}">
                <c16:uniqueId val="{0000000F-FA3E-4872-B6E1-C4ABDF5766E2}"/>
              </c:ext>
            </c:extLst>
          </c:dPt>
          <c:dPt>
            <c:idx val="7"/>
            <c:invertIfNegative val="1"/>
            <c:bubble3D val="0"/>
            <c:spPr>
              <a:solidFill>
                <a:srgbClr val="AEABAB"/>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9</c:f>
              <c:strCache>
                <c:ptCount val="8"/>
                <c:pt idx="0">
                  <c:v>Kiri Creme Fromage Blanc Frais Carre 1X432Gr 24P</c:v>
                </c:pt>
                <c:pt idx="1">
                  <c:v>Kiri Creme Fromage Blanc Frais Carre 1X216Gr 12P</c:v>
                </c:pt>
                <c:pt idx="2">
                  <c:v>Kiri Gouter Fromage Blanc Dips Boite 1X175Gr 5P</c:v>
                </c:pt>
                <c:pt idx="3">
                  <c:v>Kiri Creme Fromage Blanc Frais Carre 1X144Gr 8P</c:v>
                </c:pt>
                <c:pt idx="4">
                  <c:v>Kiri Gouter Fromage Blanc Dips Boite 1X280Gr 8P</c:v>
                </c:pt>
                <c:pt idx="5">
                  <c:v>Kiri Creme Fromage Blanc Frais Carre 1X432Gr 18+6P</c:v>
                </c:pt>
                <c:pt idx="6">
                  <c:v>Kiri Bio Fromage Blanc Frais Carre 1X144Gr 8P</c:v>
                </c:pt>
                <c:pt idx="7">
                  <c:v>Kiri Chevre Fromage Blanc Frais Carre 1X144Gr 8P</c:v>
                </c:pt>
              </c:strCache>
            </c:strRef>
          </c:cat>
          <c:val>
            <c:numRef>
              <c:f>Sheet1!$C$2:$C$9</c:f>
              <c:numCache>
                <c:formatCode>General</c:formatCode>
                <c:ptCount val="8"/>
                <c:pt idx="0">
                  <c:v>0.4031534808779646</c:v>
                </c:pt>
                <c:pt idx="1">
                  <c:v>0.5769591949921756</c:v>
                </c:pt>
                <c:pt idx="2">
                  <c:v>0.7101512346315864</c:v>
                </c:pt>
                <c:pt idx="3">
                  <c:v>0.8155047185287233</c:v>
                </c:pt>
                <c:pt idx="4">
                  <c:v>0.9138855220948482</c:v>
                </c:pt>
                <c:pt idx="5">
                  <c:v>0.9860024737562014</c:v>
                </c:pt>
                <c:pt idx="6">
                  <c:v>0.9986734399744317</c:v>
                </c:pt>
                <c:pt idx="7">
                  <c:v>1.0</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9</c:f>
              <c:strCache>
                <c:ptCount val="8"/>
                <c:pt idx="0">
                  <c:v>Kiri Creme Fromage Blanc Frais Carre 1X432Gr 24P</c:v>
                </c:pt>
                <c:pt idx="1">
                  <c:v>Kiri Creme Fromage Blanc Frais Carre 1X216Gr 12P</c:v>
                </c:pt>
                <c:pt idx="2">
                  <c:v>Kiri Gouter Fromage Blanc Dips Boite 1X175Gr 5P</c:v>
                </c:pt>
                <c:pt idx="3">
                  <c:v>Kiri Creme Fromage Blanc Frais Carre 1X144Gr 8P</c:v>
                </c:pt>
                <c:pt idx="4">
                  <c:v>Kiri Gouter Fromage Blanc Dips Boite 1X280Gr 8P</c:v>
                </c:pt>
                <c:pt idx="5">
                  <c:v>Kiri Creme Fromage Blanc Frais Carre 1X432Gr 18+6P</c:v>
                </c:pt>
                <c:pt idx="6">
                  <c:v>Kiri Bio Fromage Blanc Frais Carre 1X144Gr 8P</c:v>
                </c:pt>
                <c:pt idx="7">
                  <c:v>Kiri Chevre Fromage Blanc Frais Carre 1X144Gr 8P</c:v>
                </c:pt>
              </c:strCache>
            </c:strRef>
          </c:cat>
          <c:val>
            <c:numRef>
              <c:f>Sheet1!$D$2:$D$9</c:f>
              <c:numCache>
                <c:formatCode>General</c:formatCode>
                <c:ptCount val="8"/>
                <c:pt idx="0">
                  <c:v>45589.41414141414</c:v>
                </c:pt>
                <c:pt idx="1">
                  <c:v>19457.76</c:v>
                </c:pt>
                <c:pt idx="2">
                  <c:v>14911.01</c:v>
                </c:pt>
                <c:pt idx="3">
                  <c:v>11794.45</c:v>
                </c:pt>
                <c:pt idx="4">
                  <c:v>11125.10101010101</c:v>
                </c:pt>
                <c:pt idx="5">
                  <c:v>8238.34693877551</c:v>
                </c:pt>
                <c:pt idx="6">
                  <c:v>1891.3733333333332</c:v>
                </c:pt>
                <c:pt idx="7">
                  <c:v>265.19642857142856</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11</c:f>
              <c:strCache>
                <c:ptCount val="10"/>
                <c:pt idx="0">
                  <c:v>La Vache Qui Rit Nature Fromage Fondu Boite Ronde 1X512Gr 32P</c:v>
                </c:pt>
                <c:pt idx="1">
                  <c:v>La Vache Qui Rit Nature Fromage Fondu Boite Ronde 1X384Gr 24P</c:v>
                </c:pt>
                <c:pt idx="2">
                  <c:v>La Vache Qui Rit Nature Fromage Fondu Boite Ronde 1X192Gr 12P</c:v>
                </c:pt>
                <c:pt idx="3">
                  <c:v>La Vache Qui Rit Nature Fromage Fondu Boite Ronde 1X512Gr 24+8P</c:v>
                </c:pt>
                <c:pt idx="4">
                  <c:v>La Vache Qui Rit Nature Fromage Fondu Boite Ronde 1X128Gr 8P</c:v>
                </c:pt>
                <c:pt idx="5">
                  <c:v>La Vache Qui Rit Pik Et Croq' Fromage Fondu Dips Boite 1X175Gr 5P</c:v>
                </c:pt>
                <c:pt idx="6">
                  <c:v>La Vache Qui Rit Pik Et Croq' Fromage Fondu Dips Boite 1X280Gr 8P</c:v>
                </c:pt>
                <c:pt idx="7">
                  <c:v>La Vache Qui Rit Allegee Fromage Fondu Boite Ronde Allege 1X267Gr 16P</c:v>
                </c:pt>
                <c:pt idx="8">
                  <c:v>La Vache Qui Rit Bio Fromage Fondu Boite Ronde 1X128Gr 8P</c:v>
                </c:pt>
                <c:pt idx="9">
                  <c:v>La Vache Qui Rit Aro Fromage Fondu Boite Ronde Jambon 1X133Gr 8P</c:v>
                </c:pt>
              </c:strCache>
            </c:strRef>
          </c:cat>
          <c:val>
            <c:numRef>
              <c:f>Sheet1!$B$2:$B$11</c:f>
              <c:numCache>
                <c:formatCode>General</c:formatCode>
                <c:ptCount val="10"/>
                <c:pt idx="0">
                  <c:v>0.99</c:v>
                </c:pt>
                <c:pt idx="1">
                  <c:v>1.0</c:v>
                </c:pt>
                <c:pt idx="2">
                  <c:v>1.0</c:v>
                </c:pt>
                <c:pt idx="3">
                  <c:v>0.94</c:v>
                </c:pt>
                <c:pt idx="4">
                  <c:v>0.94</c:v>
                </c:pt>
                <c:pt idx="5">
                  <c:v>1.0</c:v>
                </c:pt>
                <c:pt idx="6">
                  <c:v>0.95</c:v>
                </c:pt>
                <c:pt idx="7">
                  <c:v>0.86</c:v>
                </c:pt>
                <c:pt idx="8">
                  <c:v>0.82</c:v>
                </c:pt>
                <c:pt idx="9">
                  <c:v>0.08</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7ECAC4"/>
              </a:solidFill>
            </c:spPr>
            <c:extLst>
              <c:ext xmlns:c16="http://schemas.microsoft.com/office/drawing/2014/chart" uri="{C3380CC4-5D6E-409C-BE32-E72D297353CC}">
                <c16:uniqueId val="{00000007-E902-46E2-9A54-39A26B3DFDC1}"/>
              </c:ext>
            </c:extLst>
          </c:dPt>
          <c:dPt>
            <c:idx val="4"/>
            <c:invertIfNegative val="1"/>
            <c:bubble3D val="0"/>
            <c:spPr>
              <a:solidFill>
                <a:srgbClr val="7ECAC4"/>
              </a:solidFill>
            </c:spPr>
            <c:extLst>
              <c:ext xmlns:c16="http://schemas.microsoft.com/office/drawing/2014/chart" uri="{C3380CC4-5D6E-409C-BE32-E72D297353CC}">
                <c16:uniqueId val="{0000000B-FA3E-4872-B6E1-C4ABDF5766E2}"/>
              </c:ext>
            </c:extLst>
          </c:dPt>
          <c:dPt>
            <c:idx val="5"/>
            <c:invertIfNegative val="1"/>
            <c:bubble3D val="0"/>
            <c:spPr>
              <a:solidFill>
                <a:srgbClr val="7ECAC4"/>
              </a:solidFill>
            </c:spPr>
            <c:extLst>
              <c:ext xmlns:c16="http://schemas.microsoft.com/office/drawing/2014/chart" uri="{C3380CC4-5D6E-409C-BE32-E72D297353CC}">
                <c16:uniqueId val="{0000000D-FA3E-4872-B6E1-C4ABDF5766E2}"/>
              </c:ext>
            </c:extLst>
          </c:dPt>
          <c:dPt>
            <c:idx val="6"/>
            <c:invertIfNegative val="1"/>
            <c:bubble3D val="0"/>
            <c:spPr>
              <a:solidFill>
                <a:srgbClr val="AEABAB"/>
              </a:solidFill>
            </c:spPr>
            <c:extLst>
              <c:ext xmlns:c16="http://schemas.microsoft.com/office/drawing/2014/chart" uri="{C3380CC4-5D6E-409C-BE32-E72D297353CC}">
                <c16:uniqueId val="{0000000F-FA3E-4872-B6E1-C4ABDF5766E2}"/>
              </c:ext>
            </c:extLst>
          </c:dPt>
          <c:dPt>
            <c:idx val="7"/>
            <c:invertIfNegative val="1"/>
            <c:bubble3D val="0"/>
            <c:spPr>
              <a:solidFill>
                <a:srgbClr val="AEABAB"/>
              </a:solidFill>
            </c:spPr>
            <c:extLst>
              <c:ext xmlns:c16="http://schemas.microsoft.com/office/drawing/2014/chart" uri="{C3380CC4-5D6E-409C-BE32-E72D297353CC}">
                <c16:uniqueId val="{00000011-FA3E-4872-B6E1-C4ABDF5766E2}"/>
              </c:ext>
            </c:extLst>
          </c:dPt>
          <c:dPt>
            <c:idx val="8"/>
            <c:invertIfNegative val="1"/>
            <c:bubble3D val="0"/>
            <c:spPr>
              <a:solidFill>
                <a:srgbClr val="AEABAB"/>
              </a:solidFill>
            </c:spPr>
            <c:extLst>
              <c:ext xmlns:c16="http://schemas.microsoft.com/office/drawing/2014/chart" uri="{C3380CC4-5D6E-409C-BE32-E72D297353CC}">
                <c16:uniqueId val="{00000013-FA3E-4872-B6E1-C4ABDF5766E2}"/>
              </c:ext>
            </c:extLst>
          </c:dPt>
          <c:dPt>
            <c:idx val="9"/>
            <c:invertIfNegative val="1"/>
            <c:bubble3D val="0"/>
            <c:spPr>
              <a:solidFill>
                <a:srgbClr val="AEABAB"/>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11</c:f>
              <c:strCache>
                <c:ptCount val="10"/>
                <c:pt idx="0">
                  <c:v>La Vache Qui Rit Nature Fromage Fondu Boite Ronde 1X512Gr 32P</c:v>
                </c:pt>
                <c:pt idx="1">
                  <c:v>La Vache Qui Rit Nature Fromage Fondu Boite Ronde 1X384Gr 24P</c:v>
                </c:pt>
                <c:pt idx="2">
                  <c:v>La Vache Qui Rit Nature Fromage Fondu Boite Ronde 1X192Gr 12P</c:v>
                </c:pt>
                <c:pt idx="3">
                  <c:v>La Vache Qui Rit Nature Fromage Fondu Boite Ronde 1X512Gr 24+8P</c:v>
                </c:pt>
                <c:pt idx="4">
                  <c:v>La Vache Qui Rit Nature Fromage Fondu Boite Ronde 1X128Gr 8P</c:v>
                </c:pt>
                <c:pt idx="5">
                  <c:v>La Vache Qui Rit Pik Et Croq' Fromage Fondu Dips Boite 1X175Gr 5P</c:v>
                </c:pt>
                <c:pt idx="6">
                  <c:v>La Vache Qui Rit Pik Et Croq' Fromage Fondu Dips Boite 1X280Gr 8P</c:v>
                </c:pt>
                <c:pt idx="7">
                  <c:v>La Vache Qui Rit Allegee Fromage Fondu Boite Ronde Allege 1X267Gr 16P</c:v>
                </c:pt>
                <c:pt idx="8">
                  <c:v>La Vache Qui Rit Bio Fromage Fondu Boite Ronde 1X128Gr 8P</c:v>
                </c:pt>
                <c:pt idx="9">
                  <c:v>La Vache Qui Rit Aro Fromage Fondu Boite Ronde Jambon 1X133Gr 8P</c:v>
                </c:pt>
              </c:strCache>
            </c:strRef>
          </c:cat>
          <c:val>
            <c:numRef>
              <c:f>Sheet1!$C$2:$C$11</c:f>
              <c:numCache>
                <c:formatCode>General</c:formatCode>
                <c:ptCount val="10"/>
                <c:pt idx="0">
                  <c:v>0.510687410144179</c:v>
                </c:pt>
                <c:pt idx="1">
                  <c:v>0.6931067159951605</c:v>
                </c:pt>
                <c:pt idx="2">
                  <c:v>0.797397290862606</c:v>
                </c:pt>
                <c:pt idx="3">
                  <c:v>0.8552073040606091</c:v>
                </c:pt>
                <c:pt idx="4">
                  <c:v>0.9034149208369594</c:v>
                </c:pt>
                <c:pt idx="5">
                  <c:v>0.9486345661793432</c:v>
                </c:pt>
                <c:pt idx="6">
                  <c:v>0.9762615157821543</c:v>
                </c:pt>
                <c:pt idx="7">
                  <c:v>0.9930048585835478</c:v>
                </c:pt>
                <c:pt idx="8">
                  <c:v>0.998123830438132</c:v>
                </c:pt>
                <c:pt idx="9">
                  <c:v>1.000000000000000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11</c:f>
              <c:strCache>
                <c:ptCount val="10"/>
                <c:pt idx="0">
                  <c:v>La Vache Qui Rit Nature Fromage Fondu Boite Ronde 1X512Gr 32P</c:v>
                </c:pt>
                <c:pt idx="1">
                  <c:v>La Vache Qui Rit Nature Fromage Fondu Boite Ronde 1X384Gr 24P</c:v>
                </c:pt>
                <c:pt idx="2">
                  <c:v>La Vache Qui Rit Nature Fromage Fondu Boite Ronde 1X192Gr 12P</c:v>
                </c:pt>
                <c:pt idx="3">
                  <c:v>La Vache Qui Rit Nature Fromage Fondu Boite Ronde 1X512Gr 24+8P</c:v>
                </c:pt>
                <c:pt idx="4">
                  <c:v>La Vache Qui Rit Nature Fromage Fondu Boite Ronde 1X128Gr 8P</c:v>
                </c:pt>
                <c:pt idx="5">
                  <c:v>La Vache Qui Rit Pik Et Croq' Fromage Fondu Dips Boite 1X175Gr 5P</c:v>
                </c:pt>
                <c:pt idx="6">
                  <c:v>La Vache Qui Rit Pik Et Croq' Fromage Fondu Dips Boite 1X280Gr 8P</c:v>
                </c:pt>
                <c:pt idx="7">
                  <c:v>La Vache Qui Rit Allegee Fromage Fondu Boite Ronde Allege 1X267Gr 16P</c:v>
                </c:pt>
                <c:pt idx="8">
                  <c:v>La Vache Qui Rit Bio Fromage Fondu Boite Ronde 1X128Gr 8P</c:v>
                </c:pt>
                <c:pt idx="9">
                  <c:v>La Vache Qui Rit Aro Fromage Fondu Boite Ronde Jambon 1X133Gr 8P</c:v>
                </c:pt>
              </c:strCache>
            </c:strRef>
          </c:cat>
          <c:val>
            <c:numRef>
              <c:f>Sheet1!$D$2:$D$11</c:f>
              <c:numCache>
                <c:formatCode>General</c:formatCode>
                <c:ptCount val="10"/>
                <c:pt idx="0">
                  <c:v>82610.36363636363</c:v>
                </c:pt>
                <c:pt idx="1">
                  <c:v>29213.62</c:v>
                </c:pt>
                <c:pt idx="2">
                  <c:v>16701.66</c:v>
                </c:pt>
                <c:pt idx="3">
                  <c:v>9848.946808510638</c:v>
                </c:pt>
                <c:pt idx="4">
                  <c:v>8213.010638297872</c:v>
                </c:pt>
                <c:pt idx="5">
                  <c:v>7241.72</c:v>
                </c:pt>
                <c:pt idx="6">
                  <c:v>4657.1894736842105</c:v>
                </c:pt>
                <c:pt idx="7">
                  <c:v>3117.8720930232557</c:v>
                </c:pt>
                <c:pt idx="8">
                  <c:v>999.7317073170732</c:v>
                </c:pt>
                <c:pt idx="9">
                  <c:v>3755.75</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9</c:f>
              <c:strCache>
                <c:ptCount val="8"/>
                <c:pt idx="0">
                  <c:v>Kiri Creme Fromage Blanc Frais Carre 1X432Gr 24P</c:v>
                </c:pt>
                <c:pt idx="1">
                  <c:v>Kiri Creme Fromage Blanc Frais Carre 1X216Gr 12P</c:v>
                </c:pt>
                <c:pt idx="2">
                  <c:v>Kiri Creme Fromage Blanc Frais Carre 1X144Gr 8P</c:v>
                </c:pt>
                <c:pt idx="3">
                  <c:v>Kiri Gouter Fromage Blanc Dips Boite 1X175Gr 5P</c:v>
                </c:pt>
                <c:pt idx="4">
                  <c:v>Kiri Gouter Fromage Blanc Dips Boite 1X280Gr 8P</c:v>
                </c:pt>
                <c:pt idx="5">
                  <c:v>Kiri Creme Fromage Blanc Frais Carre 1X432Gr 18+6P</c:v>
                </c:pt>
                <c:pt idx="6">
                  <c:v>Kiri Bio Fromage Blanc Frais Carre 1X144Gr 8P</c:v>
                </c:pt>
                <c:pt idx="7">
                  <c:v>Kiri Chevre Fromage Blanc Frais Carre 1X144Gr 8P</c:v>
                </c:pt>
              </c:strCache>
            </c:strRef>
          </c:cat>
          <c:val>
            <c:numRef>
              <c:f>Sheet1!$B$2:$B$9</c:f>
              <c:numCache>
                <c:formatCode>General</c:formatCode>
                <c:ptCount val="8"/>
                <c:pt idx="0">
                  <c:v>0.86</c:v>
                </c:pt>
                <c:pt idx="1">
                  <c:v>0.97</c:v>
                </c:pt>
                <c:pt idx="2">
                  <c:v>0.99</c:v>
                </c:pt>
                <c:pt idx="3">
                  <c:v>0.99</c:v>
                </c:pt>
                <c:pt idx="4">
                  <c:v>0.73</c:v>
                </c:pt>
                <c:pt idx="5">
                  <c:v>0.71</c:v>
                </c:pt>
                <c:pt idx="6">
                  <c:v>0.42</c:v>
                </c:pt>
                <c:pt idx="7">
                  <c:v>0.03</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7ECAC4"/>
              </a:solidFill>
            </c:spPr>
            <c:extLst>
              <c:ext xmlns:c16="http://schemas.microsoft.com/office/drawing/2014/chart" uri="{C3380CC4-5D6E-409C-BE32-E72D297353CC}">
                <c16:uniqueId val="{00000007-E902-46E2-9A54-39A26B3DFDC1}"/>
              </c:ext>
            </c:extLst>
          </c:dPt>
          <c:dPt>
            <c:idx val="4"/>
            <c:invertIfNegative val="1"/>
            <c:bubble3D val="0"/>
            <c:spPr>
              <a:solidFill>
                <a:srgbClr val="7ECAC4"/>
              </a:solidFill>
            </c:spPr>
            <c:extLst>
              <c:ext xmlns:c16="http://schemas.microsoft.com/office/drawing/2014/chart" uri="{C3380CC4-5D6E-409C-BE32-E72D297353CC}">
                <c16:uniqueId val="{0000000B-FA3E-4872-B6E1-C4ABDF5766E2}"/>
              </c:ext>
            </c:extLst>
          </c:dPt>
          <c:dPt>
            <c:idx val="5"/>
            <c:invertIfNegative val="1"/>
            <c:bubble3D val="0"/>
            <c:spPr>
              <a:solidFill>
                <a:srgbClr val="AEABAB"/>
              </a:solidFill>
            </c:spPr>
            <c:extLst>
              <c:ext xmlns:c16="http://schemas.microsoft.com/office/drawing/2014/chart" uri="{C3380CC4-5D6E-409C-BE32-E72D297353CC}">
                <c16:uniqueId val="{0000000D-FA3E-4872-B6E1-C4ABDF5766E2}"/>
              </c:ext>
            </c:extLst>
          </c:dPt>
          <c:dPt>
            <c:idx val="6"/>
            <c:invertIfNegative val="1"/>
            <c:bubble3D val="0"/>
            <c:spPr>
              <a:solidFill>
                <a:srgbClr val="AEABAB"/>
              </a:solidFill>
            </c:spPr>
            <c:extLst>
              <c:ext xmlns:c16="http://schemas.microsoft.com/office/drawing/2014/chart" uri="{C3380CC4-5D6E-409C-BE32-E72D297353CC}">
                <c16:uniqueId val="{0000000F-FA3E-4872-B6E1-C4ABDF5766E2}"/>
              </c:ext>
            </c:extLst>
          </c:dPt>
          <c:dPt>
            <c:idx val="7"/>
            <c:invertIfNegative val="1"/>
            <c:bubble3D val="0"/>
            <c:spPr>
              <a:solidFill>
                <a:srgbClr val="AEABAB"/>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9</c:f>
              <c:strCache>
                <c:ptCount val="8"/>
                <c:pt idx="0">
                  <c:v>Kiri Creme Fromage Blanc Frais Carre 1X432Gr 24P</c:v>
                </c:pt>
                <c:pt idx="1">
                  <c:v>Kiri Creme Fromage Blanc Frais Carre 1X216Gr 12P</c:v>
                </c:pt>
                <c:pt idx="2">
                  <c:v>Kiri Creme Fromage Blanc Frais Carre 1X144Gr 8P</c:v>
                </c:pt>
                <c:pt idx="3">
                  <c:v>Kiri Gouter Fromage Blanc Dips Boite 1X175Gr 5P</c:v>
                </c:pt>
                <c:pt idx="4">
                  <c:v>Kiri Gouter Fromage Blanc Dips Boite 1X280Gr 8P</c:v>
                </c:pt>
                <c:pt idx="5">
                  <c:v>Kiri Creme Fromage Blanc Frais Carre 1X432Gr 18+6P</c:v>
                </c:pt>
                <c:pt idx="6">
                  <c:v>Kiri Bio Fromage Blanc Frais Carre 1X144Gr 8P</c:v>
                </c:pt>
                <c:pt idx="7">
                  <c:v>Kiri Chevre Fromage Blanc Frais Carre 1X144Gr 8P</c:v>
                </c:pt>
              </c:strCache>
            </c:strRef>
          </c:cat>
          <c:val>
            <c:numRef>
              <c:f>Sheet1!$C$2:$C$9</c:f>
              <c:numCache>
                <c:formatCode>General</c:formatCode>
                <c:ptCount val="8"/>
                <c:pt idx="0">
                  <c:v>0.2684756434735758</c:v>
                </c:pt>
                <c:pt idx="1">
                  <c:v>0.5030354087699564</c:v>
                </c:pt>
                <c:pt idx="2">
                  <c:v>0.6775754007826605</c:v>
                </c:pt>
                <c:pt idx="3">
                  <c:v>0.815074307846455</c:v>
                </c:pt>
                <c:pt idx="4">
                  <c:v>0.9224235358199504</c:v>
                </c:pt>
                <c:pt idx="5">
                  <c:v>0.9763952364523174</c:v>
                </c:pt>
                <c:pt idx="6">
                  <c:v>0.9996896947340562</c:v>
                </c:pt>
                <c:pt idx="7">
                  <c:v>0.9999932060722355</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9</c:f>
              <c:strCache>
                <c:ptCount val="8"/>
                <c:pt idx="0">
                  <c:v>Kiri Creme Fromage Blanc Frais Carre 1X432Gr 24P</c:v>
                </c:pt>
                <c:pt idx="1">
                  <c:v>Kiri Creme Fromage Blanc Frais Carre 1X216Gr 12P</c:v>
                </c:pt>
                <c:pt idx="2">
                  <c:v>Kiri Creme Fromage Blanc Frais Carre 1X144Gr 8P</c:v>
                </c:pt>
                <c:pt idx="3">
                  <c:v>Kiri Gouter Fromage Blanc Dips Boite 1X175Gr 5P</c:v>
                </c:pt>
                <c:pt idx="4">
                  <c:v>Kiri Gouter Fromage Blanc Dips Boite 1X280Gr 8P</c:v>
                </c:pt>
                <c:pt idx="5">
                  <c:v>Kiri Creme Fromage Blanc Frais Carre 1X432Gr 18+6P</c:v>
                </c:pt>
                <c:pt idx="6">
                  <c:v>Kiri Bio Fromage Blanc Frais Carre 1X144Gr 8P</c:v>
                </c:pt>
                <c:pt idx="7">
                  <c:v>Kiri Chevre Fromage Blanc Frais Carre 1X144Gr 8P</c:v>
                </c:pt>
              </c:strCache>
            </c:strRef>
          </c:cat>
          <c:val>
            <c:numRef>
              <c:f>Sheet1!$D$2:$D$9</c:f>
              <c:numCache>
                <c:formatCode>General</c:formatCode>
                <c:ptCount val="8"/>
                <c:pt idx="0">
                  <c:v>21137.0</c:v>
                </c:pt>
                <c:pt idx="1">
                  <c:v>16372.639175257733</c:v>
                </c:pt>
                <c:pt idx="2">
                  <c:v>11937.040404040405</c:v>
                </c:pt>
                <c:pt idx="3">
                  <c:v>9403.747474747475</c:v>
                </c:pt>
                <c:pt idx="4">
                  <c:v>9956.643835616438</c:v>
                </c:pt>
                <c:pt idx="5">
                  <c:v>5146.887323943662</c:v>
                </c:pt>
                <c:pt idx="6">
                  <c:v>3755.2619047619046</c:v>
                </c:pt>
                <c:pt idx="7">
                  <c:v>685.0</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9</c:f>
              <c:strCache>
                <c:ptCount val="8"/>
                <c:pt idx="0">
                  <c:v>La Vache Qui Rit Nature Fromage Fondu Boite Ronde 1X512Gr 32P</c:v>
                </c:pt>
                <c:pt idx="1">
                  <c:v>La Vache Qui Rit Nature Fromage Fondu Boite Ronde 1X384Gr 24P</c:v>
                </c:pt>
                <c:pt idx="2">
                  <c:v>La Vache Qui Rit Nature Fromage Fondu Boite Ronde 1X192Gr 12P</c:v>
                </c:pt>
                <c:pt idx="3">
                  <c:v>La Vache Qui Rit Nature Fromage Fondu Boite Ronde 1X128Gr 8P</c:v>
                </c:pt>
                <c:pt idx="4">
                  <c:v>La Vache Qui Rit Pik Et Croq' Fromage Fondu Dips Boite 1X175Gr 5P</c:v>
                </c:pt>
                <c:pt idx="5">
                  <c:v>La Vache Qui Rit Nature Fromage Fondu Boite Ronde 1X512Gr 24+8P</c:v>
                </c:pt>
                <c:pt idx="6">
                  <c:v>La Vache Qui Rit Allegee Fromage Fondu Boite Ronde Allege 1X267Gr 16P</c:v>
                </c:pt>
                <c:pt idx="7">
                  <c:v>La Vache Qui Rit Bio Fromage Fondu Boite Ronde 1X128Gr 8P</c:v>
                </c:pt>
              </c:strCache>
            </c:strRef>
          </c:cat>
          <c:val>
            <c:numRef>
              <c:f>Sheet1!$B$2:$B$9</c:f>
              <c:numCache>
                <c:formatCode>General</c:formatCode>
                <c:ptCount val="8"/>
                <c:pt idx="0">
                  <c:v>0.99</c:v>
                </c:pt>
                <c:pt idx="1">
                  <c:v>0.96</c:v>
                </c:pt>
                <c:pt idx="2">
                  <c:v>0.99</c:v>
                </c:pt>
                <c:pt idx="3">
                  <c:v>0.66</c:v>
                </c:pt>
                <c:pt idx="4">
                  <c:v>0.97</c:v>
                </c:pt>
                <c:pt idx="5">
                  <c:v>0.78</c:v>
                </c:pt>
                <c:pt idx="6">
                  <c:v>0.27</c:v>
                </c:pt>
                <c:pt idx="7">
                  <c:v>0.25</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7ECAC4"/>
              </a:solidFill>
            </c:spPr>
            <c:extLst>
              <c:ext xmlns:c16="http://schemas.microsoft.com/office/drawing/2014/chart" uri="{C3380CC4-5D6E-409C-BE32-E72D297353CC}">
                <c16:uniqueId val="{00000006-E902-46E2-9A54-39A26B3DFDC1}"/>
              </c:ext>
            </c:extLst>
          </c:dPt>
          <c:dPt>
            <c:idx val="3"/>
            <c:invertIfNegative val="0"/>
            <c:bubble3D val="0"/>
            <c:spPr>
              <a:solidFill>
                <a:srgbClr val="7ECAC4"/>
              </a:solidFill>
            </c:spPr>
            <c:extLst>
              <c:ext xmlns:c16="http://schemas.microsoft.com/office/drawing/2014/chart" uri="{C3380CC4-5D6E-409C-BE32-E72D297353CC}">
                <c16:uniqueId val="{00000007-E902-46E2-9A54-39A26B3DFDC1}"/>
              </c:ext>
            </c:extLst>
          </c:dPt>
          <c:dPt>
            <c:idx val="4"/>
            <c:invertIfNegative val="1"/>
            <c:bubble3D val="0"/>
            <c:spPr>
              <a:solidFill>
                <a:srgbClr val="7ECAC4"/>
              </a:solidFill>
            </c:spPr>
            <c:extLst>
              <c:ext xmlns:c16="http://schemas.microsoft.com/office/drawing/2014/chart" uri="{C3380CC4-5D6E-409C-BE32-E72D297353CC}">
                <c16:uniqueId val="{0000000B-FA3E-4872-B6E1-C4ABDF5766E2}"/>
              </c:ext>
            </c:extLst>
          </c:dPt>
          <c:dPt>
            <c:idx val="5"/>
            <c:invertIfNegative val="1"/>
            <c:bubble3D val="0"/>
            <c:spPr>
              <a:solidFill>
                <a:srgbClr val="AEABAB"/>
              </a:solidFill>
            </c:spPr>
            <c:extLst>
              <c:ext xmlns:c16="http://schemas.microsoft.com/office/drawing/2014/chart" uri="{C3380CC4-5D6E-409C-BE32-E72D297353CC}">
                <c16:uniqueId val="{0000000D-FA3E-4872-B6E1-C4ABDF5766E2}"/>
              </c:ext>
            </c:extLst>
          </c:dPt>
          <c:dPt>
            <c:idx val="6"/>
            <c:invertIfNegative val="1"/>
            <c:bubble3D val="0"/>
            <c:spPr>
              <a:solidFill>
                <a:srgbClr val="AEABAB"/>
              </a:solidFill>
            </c:spPr>
            <c:extLst>
              <c:ext xmlns:c16="http://schemas.microsoft.com/office/drawing/2014/chart" uri="{C3380CC4-5D6E-409C-BE32-E72D297353CC}">
                <c16:uniqueId val="{0000000F-FA3E-4872-B6E1-C4ABDF5766E2}"/>
              </c:ext>
            </c:extLst>
          </c:dPt>
          <c:dPt>
            <c:idx val="7"/>
            <c:invertIfNegative val="1"/>
            <c:bubble3D val="0"/>
            <c:spPr>
              <a:solidFill>
                <a:srgbClr val="AEABAB"/>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9</c:f>
              <c:strCache>
                <c:ptCount val="8"/>
                <c:pt idx="0">
                  <c:v>La Vache Qui Rit Nature Fromage Fondu Boite Ronde 1X512Gr 32P</c:v>
                </c:pt>
                <c:pt idx="1">
                  <c:v>La Vache Qui Rit Nature Fromage Fondu Boite Ronde 1X384Gr 24P</c:v>
                </c:pt>
                <c:pt idx="2">
                  <c:v>La Vache Qui Rit Nature Fromage Fondu Boite Ronde 1X192Gr 12P</c:v>
                </c:pt>
                <c:pt idx="3">
                  <c:v>La Vache Qui Rit Nature Fromage Fondu Boite Ronde 1X128Gr 8P</c:v>
                </c:pt>
                <c:pt idx="4">
                  <c:v>La Vache Qui Rit Pik Et Croq' Fromage Fondu Dips Boite 1X175Gr 5P</c:v>
                </c:pt>
                <c:pt idx="5">
                  <c:v>La Vache Qui Rit Nature Fromage Fondu Boite Ronde 1X512Gr 24+8P</c:v>
                </c:pt>
                <c:pt idx="6">
                  <c:v>La Vache Qui Rit Allegee Fromage Fondu Boite Ronde Allege 1X267Gr 16P</c:v>
                </c:pt>
                <c:pt idx="7">
                  <c:v>La Vache Qui Rit Bio Fromage Fondu Boite Ronde 1X128Gr 8P</c:v>
                </c:pt>
              </c:strCache>
            </c:strRef>
          </c:cat>
          <c:val>
            <c:numRef>
              <c:f>Sheet1!$C$2:$C$9</c:f>
              <c:numCache>
                <c:formatCode>General</c:formatCode>
                <c:ptCount val="8"/>
                <c:pt idx="0">
                  <c:v>0.375574883866079</c:v>
                </c:pt>
                <c:pt idx="1">
                  <c:v>0.6116594620075475</c:v>
                </c:pt>
                <c:pt idx="2">
                  <c:v>0.8080177688524828</c:v>
                </c:pt>
                <c:pt idx="3">
                  <c:v>0.8730735418318174</c:v>
                </c:pt>
                <c:pt idx="4">
                  <c:v>0.9359369055153366</c:v>
                </c:pt>
                <c:pt idx="5">
                  <c:v>0.9850848281882431</c:v>
                </c:pt>
                <c:pt idx="6">
                  <c:v>0.9950437046995938</c:v>
                </c:pt>
                <c:pt idx="7">
                  <c:v>0.9999490854984084</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9</c:f>
              <c:strCache>
                <c:ptCount val="8"/>
                <c:pt idx="0">
                  <c:v>La Vache Qui Rit Nature Fromage Fondu Boite Ronde 1X512Gr 32P</c:v>
                </c:pt>
                <c:pt idx="1">
                  <c:v>La Vache Qui Rit Nature Fromage Fondu Boite Ronde 1X384Gr 24P</c:v>
                </c:pt>
                <c:pt idx="2">
                  <c:v>La Vache Qui Rit Nature Fromage Fondu Boite Ronde 1X192Gr 12P</c:v>
                </c:pt>
                <c:pt idx="3">
                  <c:v>La Vache Qui Rit Nature Fromage Fondu Boite Ronde 1X128Gr 8P</c:v>
                </c:pt>
                <c:pt idx="4">
                  <c:v>La Vache Qui Rit Pik Et Croq' Fromage Fondu Dips Boite 1X175Gr 5P</c:v>
                </c:pt>
                <c:pt idx="5">
                  <c:v>La Vache Qui Rit Nature Fromage Fondu Boite Ronde 1X512Gr 24+8P</c:v>
                </c:pt>
                <c:pt idx="6">
                  <c:v>La Vache Qui Rit Allegee Fromage Fondu Boite Ronde Allege 1X267Gr 16P</c:v>
                </c:pt>
                <c:pt idx="7">
                  <c:v>La Vache Qui Rit Bio Fromage Fondu Boite Ronde 1X128Gr 8P</c:v>
                </c:pt>
              </c:strCache>
            </c:strRef>
          </c:cat>
          <c:val>
            <c:numRef>
              <c:f>Sheet1!$D$2:$D$9</c:f>
              <c:numCache>
                <c:formatCode>General</c:formatCode>
                <c:ptCount val="8"/>
                <c:pt idx="0">
                  <c:v>36882.89898989899</c:v>
                </c:pt>
                <c:pt idx="1">
                  <c:v>23908.927083333332</c:v>
                </c:pt>
                <c:pt idx="2">
                  <c:v>19283.141414141413</c:v>
                </c:pt>
                <c:pt idx="3">
                  <c:v>9583.09090909091</c:v>
                </c:pt>
                <c:pt idx="4">
                  <c:v>6300.711340206186</c:v>
                </c:pt>
                <c:pt idx="5">
                  <c:v>6125.961538461538</c:v>
                </c:pt>
                <c:pt idx="6">
                  <c:v>3586.0</c:v>
                </c:pt>
                <c:pt idx="7">
                  <c:v>1907.64</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5</c:f>
              <c:strCache>
                <c:ptCount val="4"/>
                <c:pt idx="0">
                  <c:v>Kiri Creme Fromage Blanc Frais Carre 1X144Gr 8P</c:v>
                </c:pt>
                <c:pt idx="1">
                  <c:v>Kiri Gouter Fromage Blanc Dips Boite 1X175Gr 5P</c:v>
                </c:pt>
                <c:pt idx="2">
                  <c:v>Kiri Creme Fromage Blanc Frais Carre 1X216Gr 12P</c:v>
                </c:pt>
                <c:pt idx="3">
                  <c:v>Kiri Gouter Fromage Blanc Dips Boite 1X280Gr 8P</c:v>
                </c:pt>
              </c:strCache>
            </c:strRef>
          </c:cat>
          <c:val>
            <c:numRef>
              <c:f>Sheet1!$B$2:$B$5</c:f>
              <c:numCache>
                <c:formatCode>General</c:formatCode>
                <c:ptCount val="4"/>
                <c:pt idx="0">
                  <c:v>0.96</c:v>
                </c:pt>
                <c:pt idx="1">
                  <c:v>0.71</c:v>
                </c:pt>
                <c:pt idx="2">
                  <c:v>0.06</c:v>
                </c:pt>
                <c:pt idx="3">
                  <c:v>0.02</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AEABAB"/>
              </a:solidFill>
            </c:spPr>
            <c:extLst>
              <c:ext xmlns:c16="http://schemas.microsoft.com/office/drawing/2014/chart" uri="{C3380CC4-5D6E-409C-BE32-E72D297353CC}">
                <c16:uniqueId val="{00000008-D8F4-40C6-A5E0-DB4B53CFB1F3}"/>
              </c:ext>
            </c:extLst>
          </c:dPt>
          <c:dPt>
            <c:idx val="2"/>
            <c:invertIfNegative val="0"/>
            <c:bubble3D val="0"/>
            <c:spPr>
              <a:solidFill>
                <a:srgbClr val="AEABAB"/>
              </a:solidFill>
            </c:spPr>
            <c:extLst>
              <c:ext xmlns:c16="http://schemas.microsoft.com/office/drawing/2014/chart" uri="{C3380CC4-5D6E-409C-BE32-E72D297353CC}">
                <c16:uniqueId val="{00000006-E902-46E2-9A54-39A26B3DFDC1}"/>
              </c:ext>
            </c:extLst>
          </c:dPt>
          <c:dPt>
            <c:idx val="3"/>
            <c:invertIfNegative val="0"/>
            <c:bubble3D val="0"/>
            <c:spPr>
              <a:solidFill>
                <a:srgbClr val="AEABAB"/>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5</c:f>
              <c:strCache>
                <c:ptCount val="4"/>
                <c:pt idx="0">
                  <c:v>Kiri Creme Fromage Blanc Frais Carre 1X144Gr 8P</c:v>
                </c:pt>
                <c:pt idx="1">
                  <c:v>Kiri Gouter Fromage Blanc Dips Boite 1X175Gr 5P</c:v>
                </c:pt>
                <c:pt idx="2">
                  <c:v>Kiri Creme Fromage Blanc Frais Carre 1X216Gr 12P</c:v>
                </c:pt>
                <c:pt idx="3">
                  <c:v>Kiri Gouter Fromage Blanc Dips Boite 1X280Gr 8P</c:v>
                </c:pt>
              </c:strCache>
            </c:strRef>
          </c:cat>
          <c:val>
            <c:numRef>
              <c:f>Sheet1!$C$2:$C$5</c:f>
              <c:numCache>
                <c:formatCode>General</c:formatCode>
                <c:ptCount val="4"/>
                <c:pt idx="0">
                  <c:v>0.7228895197661266</c:v>
                </c:pt>
                <c:pt idx="1">
                  <c:v>0.9826471013108862</c:v>
                </c:pt>
                <c:pt idx="2">
                  <c:v>0.9951401845132288</c:v>
                </c:pt>
                <c:pt idx="3">
                  <c:v>0.9995393902444996</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5</c:f>
              <c:strCache>
                <c:ptCount val="4"/>
                <c:pt idx="0">
                  <c:v>Kiri Creme Fromage Blanc Frais Carre 1X144Gr 8P</c:v>
                </c:pt>
                <c:pt idx="1">
                  <c:v>Kiri Gouter Fromage Blanc Dips Boite 1X175Gr 5P</c:v>
                </c:pt>
                <c:pt idx="2">
                  <c:v>Kiri Creme Fromage Blanc Frais Carre 1X216Gr 12P</c:v>
                </c:pt>
                <c:pt idx="3">
                  <c:v>Kiri Gouter Fromage Blanc Dips Boite 1X280Gr 8P</c:v>
                </c:pt>
              </c:strCache>
            </c:strRef>
          </c:cat>
          <c:val>
            <c:numRef>
              <c:f>Sheet1!$D$2:$D$5</c:f>
              <c:numCache>
                <c:formatCode>General</c:formatCode>
                <c:ptCount val="4"/>
                <c:pt idx="0">
                  <c:v>24603.90625</c:v>
                </c:pt>
                <c:pt idx="1">
                  <c:v>11954.0</c:v>
                </c:pt>
                <c:pt idx="2">
                  <c:v>6803.333333333333</c:v>
                </c:pt>
                <c:pt idx="3">
                  <c:v>7187.0</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7</c:f>
              <c:strCache>
                <c:ptCount val="6"/>
                <c:pt idx="0">
                  <c:v>La Vache Qui Rit Nature Fromage Fondu Boite Ronde 1X192Gr 12P</c:v>
                </c:pt>
                <c:pt idx="1">
                  <c:v>La Vache Qui Rit Nature Fromage Fondu Boite Ronde 1X384Gr 24P</c:v>
                </c:pt>
                <c:pt idx="2">
                  <c:v>La Vache Qui Rit Pik Et Croq' Fromage Fondu Dips Boite 1X175Gr 5P</c:v>
                </c:pt>
                <c:pt idx="3">
                  <c:v>La Vache Qui Rit Nature Fromage Fondu Boite Ronde 1X128Gr 8P</c:v>
                </c:pt>
                <c:pt idx="4">
                  <c:v>La Vache Qui Rit Bio Fromage Fondu Boite Ronde 1X128Gr 8P</c:v>
                </c:pt>
                <c:pt idx="5">
                  <c:v>La Vache Qui Rit Pik Et Croq' Fromage Fondu Dips Boite 1X35Gr 1P</c:v>
                </c:pt>
              </c:strCache>
            </c:strRef>
          </c:cat>
          <c:val>
            <c:numRef>
              <c:f>Sheet1!$B$2:$B$7</c:f>
              <c:numCache>
                <c:formatCode>General</c:formatCode>
                <c:ptCount val="6"/>
                <c:pt idx="0">
                  <c:v>0.91</c:v>
                </c:pt>
                <c:pt idx="1">
                  <c:v>0.47</c:v>
                </c:pt>
                <c:pt idx="2">
                  <c:v>0.51</c:v>
                </c:pt>
                <c:pt idx="3">
                  <c:v>0.09</c:v>
                </c:pt>
                <c:pt idx="4">
                  <c:v>0.08</c:v>
                </c:pt>
                <c:pt idx="5">
                  <c:v>0.05</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7ECAC4"/>
              </a:solidFill>
            </c:spPr>
            <c:extLst>
              <c:ext xmlns:c16="http://schemas.microsoft.com/office/drawing/2014/chart" uri="{C3380CC4-5D6E-409C-BE32-E72D297353CC}">
                <c16:uniqueId val="{00000008-D8F4-40C6-A5E0-DB4B53CFB1F3}"/>
              </c:ext>
            </c:extLst>
          </c:dPt>
          <c:dPt>
            <c:idx val="2"/>
            <c:invertIfNegative val="0"/>
            <c:bubble3D val="0"/>
            <c:spPr>
              <a:solidFill>
                <a:srgbClr val="AEABAB"/>
              </a:solidFill>
            </c:spPr>
            <c:extLst>
              <c:ext xmlns:c16="http://schemas.microsoft.com/office/drawing/2014/chart" uri="{C3380CC4-5D6E-409C-BE32-E72D297353CC}">
                <c16:uniqueId val="{00000006-E902-46E2-9A54-39A26B3DFDC1}"/>
              </c:ext>
            </c:extLst>
          </c:dPt>
          <c:dPt>
            <c:idx val="3"/>
            <c:invertIfNegative val="0"/>
            <c:bubble3D val="0"/>
            <c:spPr>
              <a:solidFill>
                <a:srgbClr val="AEABAB"/>
              </a:solidFill>
            </c:spPr>
            <c:extLst>
              <c:ext xmlns:c16="http://schemas.microsoft.com/office/drawing/2014/chart" uri="{C3380CC4-5D6E-409C-BE32-E72D297353CC}">
                <c16:uniqueId val="{00000007-E902-46E2-9A54-39A26B3DFDC1}"/>
              </c:ext>
            </c:extLst>
          </c:dPt>
          <c:dPt>
            <c:idx val="4"/>
            <c:invertIfNegative val="1"/>
            <c:bubble3D val="0"/>
            <c:spPr>
              <a:solidFill>
                <a:srgbClr val="AEABAB"/>
              </a:solidFill>
            </c:spPr>
            <c:extLst>
              <c:ext xmlns:c16="http://schemas.microsoft.com/office/drawing/2014/chart" uri="{C3380CC4-5D6E-409C-BE32-E72D297353CC}">
                <c16:uniqueId val="{0000000B-FA3E-4872-B6E1-C4ABDF5766E2}"/>
              </c:ext>
            </c:extLst>
          </c:dPt>
          <c:dPt>
            <c:idx val="5"/>
            <c:invertIfNegative val="1"/>
            <c:bubble3D val="0"/>
            <c:spPr>
              <a:solidFill>
                <a:srgbClr val="AEABAB"/>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7</c:f>
              <c:strCache>
                <c:ptCount val="6"/>
                <c:pt idx="0">
                  <c:v>La Vache Qui Rit Nature Fromage Fondu Boite Ronde 1X192Gr 12P</c:v>
                </c:pt>
                <c:pt idx="1">
                  <c:v>La Vache Qui Rit Nature Fromage Fondu Boite Ronde 1X384Gr 24P</c:v>
                </c:pt>
                <c:pt idx="2">
                  <c:v>La Vache Qui Rit Pik Et Croq' Fromage Fondu Dips Boite 1X175Gr 5P</c:v>
                </c:pt>
                <c:pt idx="3">
                  <c:v>La Vache Qui Rit Nature Fromage Fondu Boite Ronde 1X128Gr 8P</c:v>
                </c:pt>
                <c:pt idx="4">
                  <c:v>La Vache Qui Rit Bio Fromage Fondu Boite Ronde 1X128Gr 8P</c:v>
                </c:pt>
                <c:pt idx="5">
                  <c:v>La Vache Qui Rit Pik Et Croq' Fromage Fondu Dips Boite 1X35Gr 1P</c:v>
                </c:pt>
              </c:strCache>
            </c:strRef>
          </c:cat>
          <c:val>
            <c:numRef>
              <c:f>Sheet1!$C$2:$C$7</c:f>
              <c:numCache>
                <c:formatCode>General</c:formatCode>
                <c:ptCount val="6"/>
                <c:pt idx="0">
                  <c:v>0.5865430237618151</c:v>
                </c:pt>
                <c:pt idx="1">
                  <c:v>0.8661340189953342</c:v>
                </c:pt>
                <c:pt idx="2">
                  <c:v>0.9597329265913754</c:v>
                </c:pt>
                <c:pt idx="3">
                  <c:v>0.9867086765676518</c:v>
                </c:pt>
                <c:pt idx="4">
                  <c:v>0.9927252676324181</c:v>
                </c:pt>
                <c:pt idx="5">
                  <c:v>0.997694217770247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7</c:f>
              <c:strCache>
                <c:ptCount val="6"/>
                <c:pt idx="0">
                  <c:v>La Vache Qui Rit Nature Fromage Fondu Boite Ronde 1X192Gr 12P</c:v>
                </c:pt>
                <c:pt idx="1">
                  <c:v>La Vache Qui Rit Nature Fromage Fondu Boite Ronde 1X384Gr 24P</c:v>
                </c:pt>
                <c:pt idx="2">
                  <c:v>La Vache Qui Rit Pik Et Croq' Fromage Fondu Dips Boite 1X175Gr 5P</c:v>
                </c:pt>
                <c:pt idx="3">
                  <c:v>La Vache Qui Rit Nature Fromage Fondu Boite Ronde 1X128Gr 8P</c:v>
                </c:pt>
                <c:pt idx="4">
                  <c:v>La Vache Qui Rit Bio Fromage Fondu Boite Ronde 1X128Gr 8P</c:v>
                </c:pt>
                <c:pt idx="5">
                  <c:v>La Vache Qui Rit Pik Et Croq' Fromage Fondu Dips Boite 1X35Gr 1P</c:v>
                </c:pt>
              </c:strCache>
            </c:strRef>
          </c:cat>
          <c:val>
            <c:numRef>
              <c:f>Sheet1!$D$2:$D$7</c:f>
              <c:numCache>
                <c:formatCode>General</c:formatCode>
                <c:ptCount val="6"/>
                <c:pt idx="0">
                  <c:v>30497.54945054945</c:v>
                </c:pt>
                <c:pt idx="1">
                  <c:v>28146.978723404256</c:v>
                </c:pt>
                <c:pt idx="2">
                  <c:v>8683.745098039215</c:v>
                </c:pt>
                <c:pt idx="3">
                  <c:v>14182.0</c:v>
                </c:pt>
                <c:pt idx="4">
                  <c:v>3558.5</c:v>
                </c:pt>
                <c:pt idx="5">
                  <c:v>4702.2</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9</c:f>
              <c:strCache>
                <c:ptCount val="8"/>
                <c:pt idx="0">
                  <c:v>Kiri Creme Fromage Blanc Frais Carre 1X216Gr 12P</c:v>
                </c:pt>
                <c:pt idx="1">
                  <c:v>Kiri Creme Fromage Blanc Frais Carre 1X432Gr 24P</c:v>
                </c:pt>
                <c:pt idx="2">
                  <c:v>Kiri Gouter Fromage Blanc Dips Boite 1X280Gr 8P</c:v>
                </c:pt>
                <c:pt idx="3">
                  <c:v>Kiri Creme Fromage Blanc Frais Carre 1X144Gr 8P</c:v>
                </c:pt>
                <c:pt idx="4">
                  <c:v>Kiri Gouter Fromage Blanc Dips Boite 1X175Gr 5P</c:v>
                </c:pt>
                <c:pt idx="5">
                  <c:v>Kiri Bio Fromage Blanc Frais Carre 1X144Gr 8P</c:v>
                </c:pt>
                <c:pt idx="6">
                  <c:v>Kiri Chevre Fromage Blanc Frais Carre 1X144Gr 8P</c:v>
                </c:pt>
                <c:pt idx="7">
                  <c:v>Kiri Creme Fromage Blanc Frais Carre 1X432Gr 18+6P</c:v>
                </c:pt>
              </c:strCache>
            </c:strRef>
          </c:cat>
          <c:val>
            <c:numRef>
              <c:f>Sheet1!$B$2:$B$9</c:f>
              <c:numCache>
                <c:formatCode>General</c:formatCode>
                <c:ptCount val="8"/>
                <c:pt idx="0">
                  <c:v>0.99</c:v>
                </c:pt>
                <c:pt idx="1">
                  <c:v>0.89</c:v>
                </c:pt>
                <c:pt idx="2">
                  <c:v>0.96</c:v>
                </c:pt>
                <c:pt idx="3">
                  <c:v>0.99</c:v>
                </c:pt>
                <c:pt idx="4">
                  <c:v>0.99</c:v>
                </c:pt>
                <c:pt idx="5">
                  <c:v>0.6</c:v>
                </c:pt>
                <c:pt idx="6">
                  <c:v>0.68</c:v>
                </c:pt>
                <c:pt idx="7">
                  <c:v>0.83</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7ECAC4"/>
              </a:solidFill>
            </c:spPr>
            <c:extLst>
              <c:ext xmlns:c16="http://schemas.microsoft.com/office/drawing/2014/chart" uri="{C3380CC4-5D6E-409C-BE32-E72D297353CC}">
                <c16:uniqueId val="{00000007-E902-46E2-9A54-39A26B3DFDC1}"/>
              </c:ext>
            </c:extLst>
          </c:dPt>
          <c:dPt>
            <c:idx val="4"/>
            <c:invertIfNegative val="1"/>
            <c:bubble3D val="0"/>
            <c:spPr>
              <a:solidFill>
                <a:srgbClr val="7ECAC4"/>
              </a:solidFill>
            </c:spPr>
            <c:extLst>
              <c:ext xmlns:c16="http://schemas.microsoft.com/office/drawing/2014/chart" uri="{C3380CC4-5D6E-409C-BE32-E72D297353CC}">
                <c16:uniqueId val="{0000000B-FA3E-4872-B6E1-C4ABDF5766E2}"/>
              </c:ext>
            </c:extLst>
          </c:dPt>
          <c:dPt>
            <c:idx val="5"/>
            <c:invertIfNegative val="1"/>
            <c:bubble3D val="0"/>
            <c:spPr>
              <a:solidFill>
                <a:srgbClr val="AEABAB"/>
              </a:solidFill>
            </c:spPr>
            <c:extLst>
              <c:ext xmlns:c16="http://schemas.microsoft.com/office/drawing/2014/chart" uri="{C3380CC4-5D6E-409C-BE32-E72D297353CC}">
                <c16:uniqueId val="{0000000D-FA3E-4872-B6E1-C4ABDF5766E2}"/>
              </c:ext>
            </c:extLst>
          </c:dPt>
          <c:dPt>
            <c:idx val="6"/>
            <c:invertIfNegative val="1"/>
            <c:bubble3D val="0"/>
            <c:spPr>
              <a:solidFill>
                <a:srgbClr val="AEABAB"/>
              </a:solidFill>
            </c:spPr>
            <c:extLst>
              <c:ext xmlns:c16="http://schemas.microsoft.com/office/drawing/2014/chart" uri="{C3380CC4-5D6E-409C-BE32-E72D297353CC}">
                <c16:uniqueId val="{0000000F-FA3E-4872-B6E1-C4ABDF5766E2}"/>
              </c:ext>
            </c:extLst>
          </c:dPt>
          <c:dPt>
            <c:idx val="7"/>
            <c:invertIfNegative val="1"/>
            <c:bubble3D val="0"/>
            <c:spPr>
              <a:solidFill>
                <a:srgbClr val="AEABAB"/>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9</c:f>
              <c:strCache>
                <c:ptCount val="8"/>
                <c:pt idx="0">
                  <c:v>Kiri Creme Fromage Blanc Frais Carre 1X216Gr 12P</c:v>
                </c:pt>
                <c:pt idx="1">
                  <c:v>Kiri Creme Fromage Blanc Frais Carre 1X432Gr 24P</c:v>
                </c:pt>
                <c:pt idx="2">
                  <c:v>Kiri Gouter Fromage Blanc Dips Boite 1X280Gr 8P</c:v>
                </c:pt>
                <c:pt idx="3">
                  <c:v>Kiri Creme Fromage Blanc Frais Carre 1X144Gr 8P</c:v>
                </c:pt>
                <c:pt idx="4">
                  <c:v>Kiri Gouter Fromage Blanc Dips Boite 1X175Gr 5P</c:v>
                </c:pt>
                <c:pt idx="5">
                  <c:v>Kiri Bio Fromage Blanc Frais Carre 1X144Gr 8P</c:v>
                </c:pt>
                <c:pt idx="6">
                  <c:v>Kiri Chevre Fromage Blanc Frais Carre 1X144Gr 8P</c:v>
                </c:pt>
                <c:pt idx="7">
                  <c:v>Kiri Creme Fromage Blanc Frais Carre 1X432Gr 18+6P</c:v>
                </c:pt>
              </c:strCache>
            </c:strRef>
          </c:cat>
          <c:val>
            <c:numRef>
              <c:f>Sheet1!$C$2:$C$9</c:f>
              <c:numCache>
                <c:formatCode>General</c:formatCode>
                <c:ptCount val="8"/>
                <c:pt idx="0">
                  <c:v>0.27066921181889747</c:v>
                </c:pt>
                <c:pt idx="1">
                  <c:v>0.5052800308725103</c:v>
                </c:pt>
                <c:pt idx="2">
                  <c:v>0.6664078708563159</c:v>
                </c:pt>
                <c:pt idx="3">
                  <c:v>0.8169089895681925</c:v>
                </c:pt>
                <c:pt idx="4">
                  <c:v>0.934851422368078</c:v>
                </c:pt>
                <c:pt idx="5">
                  <c:v>0.9603794070749448</c:v>
                </c:pt>
                <c:pt idx="6">
                  <c:v>0.983600776093345</c:v>
                </c:pt>
                <c:pt idx="7">
                  <c:v>1.0</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9</c:f>
              <c:strCache>
                <c:ptCount val="8"/>
                <c:pt idx="0">
                  <c:v>Kiri Creme Fromage Blanc Frais Carre 1X216Gr 12P</c:v>
                </c:pt>
                <c:pt idx="1">
                  <c:v>Kiri Creme Fromage Blanc Frais Carre 1X432Gr 24P</c:v>
                </c:pt>
                <c:pt idx="2">
                  <c:v>Kiri Gouter Fromage Blanc Dips Boite 1X280Gr 8P</c:v>
                </c:pt>
                <c:pt idx="3">
                  <c:v>Kiri Creme Fromage Blanc Frais Carre 1X144Gr 8P</c:v>
                </c:pt>
                <c:pt idx="4">
                  <c:v>Kiri Gouter Fromage Blanc Dips Boite 1X175Gr 5P</c:v>
                </c:pt>
                <c:pt idx="5">
                  <c:v>Kiri Bio Fromage Blanc Frais Carre 1X144Gr 8P</c:v>
                </c:pt>
                <c:pt idx="6">
                  <c:v>Kiri Chevre Fromage Blanc Frais Carre 1X144Gr 8P</c:v>
                </c:pt>
                <c:pt idx="7">
                  <c:v>Kiri Creme Fromage Blanc Frais Carre 1X432Gr 18+6P</c:v>
                </c:pt>
              </c:strCache>
            </c:strRef>
          </c:cat>
          <c:val>
            <c:numRef>
              <c:f>Sheet1!$D$2:$D$9</c:f>
              <c:numCache>
                <c:formatCode>General</c:formatCode>
                <c:ptCount val="8"/>
                <c:pt idx="0">
                  <c:v>33468.14141414141</c:v>
                </c:pt>
                <c:pt idx="1">
                  <c:v>32269.03370786517</c:v>
                </c:pt>
                <c:pt idx="2">
                  <c:v>20546.0</c:v>
                </c:pt>
                <c:pt idx="3">
                  <c:v>18609.40404040404</c:v>
                </c:pt>
                <c:pt idx="4">
                  <c:v>14583.535353535353</c:v>
                </c:pt>
                <c:pt idx="5">
                  <c:v>5208.266666666666</c:v>
                </c:pt>
                <c:pt idx="6">
                  <c:v>4180.294117647059</c:v>
                </c:pt>
                <c:pt idx="7">
                  <c:v>2418.6506024096384</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Private Label</c:v>
                </c:pt>
                <c:pt idx="1">
                  <c:v>President</c:v>
                </c:pt>
                <c:pt idx="2">
                  <c:v>La Vache Qui Rit</c:v>
                </c:pt>
                <c:pt idx="3">
                  <c:v>La Belle Etoile</c:v>
                </c:pt>
                <c:pt idx="4">
                  <c:v>Boursin</c:v>
                </c:pt>
                <c:pt idx="5">
                  <c:v>Raguin</c:v>
                </c:pt>
                <c:pt idx="6">
                  <c:v>Others</c:v>
                </c:pt>
              </c:strCache>
            </c:strRef>
          </c:cat>
          <c:val>
            <c:numRef>
              <c:f>Sheet1!$B$2:$B$8</c:f>
              <c:numCache>
                <c:formatCode>General</c:formatCode>
                <c:ptCount val="7"/>
                <c:pt idx="0">
                  <c:v>0.5108154465499587</c:v>
                </c:pt>
                <c:pt idx="1">
                  <c:v>0.2566529410480274</c:v>
                </c:pt>
                <c:pt idx="2">
                  <c:v>0.09569493270692721</c:v>
                </c:pt>
                <c:pt idx="3">
                  <c:v>0.04747313391154848</c:v>
                </c:pt>
                <c:pt idx="4">
                  <c:v>0.02189711187394343</c:v>
                </c:pt>
                <c:pt idx="5">
                  <c:v>0.011214745980286135</c:v>
                </c:pt>
                <c:pt idx="6">
                  <c:v>0.05625168792930865</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Private Label</c:v>
                </c:pt>
                <c:pt idx="1">
                  <c:v>President</c:v>
                </c:pt>
                <c:pt idx="2">
                  <c:v>La Vache Qui Rit</c:v>
                </c:pt>
                <c:pt idx="3">
                  <c:v>La Belle Etoile</c:v>
                </c:pt>
                <c:pt idx="4">
                  <c:v>Boursin</c:v>
                </c:pt>
                <c:pt idx="5">
                  <c:v>Raguin</c:v>
                </c:pt>
                <c:pt idx="6">
                  <c:v>Others</c:v>
                </c:pt>
              </c:strCache>
            </c:strRef>
          </c:cat>
          <c:val>
            <c:numRef>
              <c:f>Sheet1!$C$2:$C$8</c:f>
              <c:numCache>
                <c:formatCode>General</c:formatCode>
                <c:ptCount val="7"/>
                <c:pt idx="0">
                  <c:v>0.3270162139397768</c:v>
                </c:pt>
                <c:pt idx="1">
                  <c:v>0.22167824805222155</c:v>
                </c:pt>
                <c:pt idx="2">
                  <c:v>0.10702253105917035</c:v>
                </c:pt>
                <c:pt idx="3">
                  <c:v>0.07001473994525165</c:v>
                </c:pt>
                <c:pt idx="4">
                  <c:v>0.040692777426826705</c:v>
                </c:pt>
                <c:pt idx="5">
                  <c:v>0.012371025479048222</c:v>
                </c:pt>
                <c:pt idx="6">
                  <c:v>0.2212044640977047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Private Label</c:v>
                </c:pt>
                <c:pt idx="1">
                  <c:v>President</c:v>
                </c:pt>
                <c:pt idx="2">
                  <c:v>La Vache Qui Rit</c:v>
                </c:pt>
                <c:pt idx="3">
                  <c:v>La Belle Etoile</c:v>
                </c:pt>
                <c:pt idx="4">
                  <c:v>Boursin</c:v>
                </c:pt>
                <c:pt idx="5">
                  <c:v>Raguin</c:v>
                </c:pt>
                <c:pt idx="6">
                  <c:v>Others</c:v>
                </c:pt>
              </c:strCache>
            </c:strRef>
          </c:cat>
          <c:val>
            <c:numRef>
              <c:f>Sheet1!$D$2:$D$8</c:f>
              <c:numCache>
                <c:formatCode>General</c:formatCode>
                <c:ptCount val="7"/>
                <c:pt idx="0">
                  <c:v>64.01846618939196</c:v>
                </c:pt>
                <c:pt idx="1">
                  <c:v>86.37276749957016</c:v>
                </c:pt>
                <c:pt idx="2">
                  <c:v>111.83719767789037</c:v>
                </c:pt>
                <c:pt idx="3">
                  <c:v>147.48286910171652</c:v>
                </c:pt>
                <c:pt idx="4">
                  <c:v>185.83627677058757</c:v>
                </c:pt>
                <c:pt idx="5">
                  <c:v>110.31034943452713</c:v>
                </c:pt>
                <c:pt idx="6">
                  <c:v>393.24058039945714</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10</c:f>
              <c:strCache>
                <c:ptCount val="9"/>
                <c:pt idx="0">
                  <c:v>La Vache Qui Rit Nature Fromage Fondu Boite Ronde 1X512Gr 32P</c:v>
                </c:pt>
                <c:pt idx="1">
                  <c:v>La Vache Qui Rit Nature Fromage Fondu Boite Ronde 1X192Gr 12P</c:v>
                </c:pt>
                <c:pt idx="2">
                  <c:v>La Vache Qui Rit Nature Fromage Fondu Boite Ronde 1X384Gr 24P</c:v>
                </c:pt>
                <c:pt idx="3">
                  <c:v>La Vache Qui Rit Pik Et Croq' Fromage Fondu Dips Boite 1X175Gr 5P</c:v>
                </c:pt>
                <c:pt idx="4">
                  <c:v>La Vache Qui Rit Pik Et Croq' Fromage Fondu Dips Boite 1X280Gr 8P</c:v>
                </c:pt>
                <c:pt idx="5">
                  <c:v>La Vache Qui Rit Allegee Fromage Fondu Boite Ronde Allege 1X267Gr 16P</c:v>
                </c:pt>
                <c:pt idx="6">
                  <c:v>La Vache Qui Rit Aro Fromage Fondu Boite Ronde Jambon 1X133Gr 8P</c:v>
                </c:pt>
                <c:pt idx="7">
                  <c:v>La Vache Qui Rit Nature Fromage Fondu Boite Ronde 1X512Gr 24+8P</c:v>
                </c:pt>
                <c:pt idx="8">
                  <c:v>La Vache Qui Rit Nature Fromage Fondu Boite Ronde 1X128Gr 8P</c:v>
                </c:pt>
              </c:strCache>
            </c:strRef>
          </c:cat>
          <c:val>
            <c:numRef>
              <c:f>Sheet1!$B$2:$B$10</c:f>
              <c:numCache>
                <c:formatCode>General</c:formatCode>
                <c:ptCount val="9"/>
                <c:pt idx="0">
                  <c:v>0.98</c:v>
                </c:pt>
                <c:pt idx="1">
                  <c:v>1.0</c:v>
                </c:pt>
                <c:pt idx="2">
                  <c:v>0.97</c:v>
                </c:pt>
                <c:pt idx="3">
                  <c:v>0.97</c:v>
                </c:pt>
                <c:pt idx="4">
                  <c:v>0.89</c:v>
                </c:pt>
                <c:pt idx="5">
                  <c:v>0.87</c:v>
                </c:pt>
                <c:pt idx="6">
                  <c:v>0.69</c:v>
                </c:pt>
                <c:pt idx="7">
                  <c:v>0.25</c:v>
                </c:pt>
                <c:pt idx="8">
                  <c:v>0.12</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7ECAC4"/>
              </a:solidFill>
            </c:spPr>
            <c:extLst>
              <c:ext xmlns:c16="http://schemas.microsoft.com/office/drawing/2014/chart" uri="{C3380CC4-5D6E-409C-BE32-E72D297353CC}">
                <c16:uniqueId val="{00000006-E902-46E2-9A54-39A26B3DFDC1}"/>
              </c:ext>
            </c:extLst>
          </c:dPt>
          <c:dPt>
            <c:idx val="3"/>
            <c:invertIfNegative val="0"/>
            <c:bubble3D val="0"/>
            <c:spPr>
              <a:solidFill>
                <a:srgbClr val="7ECAC4"/>
              </a:solidFill>
            </c:spPr>
            <c:extLst>
              <c:ext xmlns:c16="http://schemas.microsoft.com/office/drawing/2014/chart" uri="{C3380CC4-5D6E-409C-BE32-E72D297353CC}">
                <c16:uniqueId val="{00000007-E902-46E2-9A54-39A26B3DFDC1}"/>
              </c:ext>
            </c:extLst>
          </c:dPt>
          <c:dPt>
            <c:idx val="4"/>
            <c:invertIfNegative val="1"/>
            <c:bubble3D val="0"/>
            <c:spPr>
              <a:solidFill>
                <a:srgbClr val="7ECAC4"/>
              </a:solidFill>
            </c:spPr>
            <c:extLst>
              <c:ext xmlns:c16="http://schemas.microsoft.com/office/drawing/2014/chart" uri="{C3380CC4-5D6E-409C-BE32-E72D297353CC}">
                <c16:uniqueId val="{0000000B-FA3E-4872-B6E1-C4ABDF5766E2}"/>
              </c:ext>
            </c:extLst>
          </c:dPt>
          <c:dPt>
            <c:idx val="5"/>
            <c:invertIfNegative val="1"/>
            <c:bubble3D val="0"/>
            <c:spPr>
              <a:solidFill>
                <a:srgbClr val="AEABAB"/>
              </a:solidFill>
            </c:spPr>
            <c:extLst>
              <c:ext xmlns:c16="http://schemas.microsoft.com/office/drawing/2014/chart" uri="{C3380CC4-5D6E-409C-BE32-E72D297353CC}">
                <c16:uniqueId val="{0000000D-FA3E-4872-B6E1-C4ABDF5766E2}"/>
              </c:ext>
            </c:extLst>
          </c:dPt>
          <c:dPt>
            <c:idx val="6"/>
            <c:invertIfNegative val="1"/>
            <c:bubble3D val="0"/>
            <c:spPr>
              <a:solidFill>
                <a:srgbClr val="AEABAB"/>
              </a:solidFill>
            </c:spPr>
            <c:extLst>
              <c:ext xmlns:c16="http://schemas.microsoft.com/office/drawing/2014/chart" uri="{C3380CC4-5D6E-409C-BE32-E72D297353CC}">
                <c16:uniqueId val="{0000000F-FA3E-4872-B6E1-C4ABDF5766E2}"/>
              </c:ext>
            </c:extLst>
          </c:dPt>
          <c:dPt>
            <c:idx val="7"/>
            <c:invertIfNegative val="1"/>
            <c:bubble3D val="0"/>
            <c:spPr>
              <a:solidFill>
                <a:srgbClr val="AEABAB"/>
              </a:solidFill>
            </c:spPr>
            <c:extLst>
              <c:ext xmlns:c16="http://schemas.microsoft.com/office/drawing/2014/chart" uri="{C3380CC4-5D6E-409C-BE32-E72D297353CC}">
                <c16:uniqueId val="{00000011-FA3E-4872-B6E1-C4ABDF5766E2}"/>
              </c:ext>
            </c:extLst>
          </c:dPt>
          <c:dPt>
            <c:idx val="8"/>
            <c:invertIfNegative val="1"/>
            <c:bubble3D val="0"/>
            <c:spPr>
              <a:solidFill>
                <a:srgbClr val="AEABAB"/>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10</c:f>
              <c:strCache>
                <c:ptCount val="9"/>
                <c:pt idx="0">
                  <c:v>La Vache Qui Rit Nature Fromage Fondu Boite Ronde 1X512Gr 32P</c:v>
                </c:pt>
                <c:pt idx="1">
                  <c:v>La Vache Qui Rit Nature Fromage Fondu Boite Ronde 1X192Gr 12P</c:v>
                </c:pt>
                <c:pt idx="2">
                  <c:v>La Vache Qui Rit Nature Fromage Fondu Boite Ronde 1X384Gr 24P</c:v>
                </c:pt>
                <c:pt idx="3">
                  <c:v>La Vache Qui Rit Pik Et Croq' Fromage Fondu Dips Boite 1X175Gr 5P</c:v>
                </c:pt>
                <c:pt idx="4">
                  <c:v>La Vache Qui Rit Pik Et Croq' Fromage Fondu Dips Boite 1X280Gr 8P</c:v>
                </c:pt>
                <c:pt idx="5">
                  <c:v>La Vache Qui Rit Allegee Fromage Fondu Boite Ronde Allege 1X267Gr 16P</c:v>
                </c:pt>
                <c:pt idx="6">
                  <c:v>La Vache Qui Rit Aro Fromage Fondu Boite Ronde Jambon 1X133Gr 8P</c:v>
                </c:pt>
                <c:pt idx="7">
                  <c:v>La Vache Qui Rit Nature Fromage Fondu Boite Ronde 1X512Gr 24+8P</c:v>
                </c:pt>
                <c:pt idx="8">
                  <c:v>La Vache Qui Rit Nature Fromage Fondu Boite Ronde 1X128Gr 8P</c:v>
                </c:pt>
              </c:strCache>
            </c:strRef>
          </c:cat>
          <c:val>
            <c:numRef>
              <c:f>Sheet1!$C$2:$C$10</c:f>
              <c:numCache>
                <c:formatCode>General</c:formatCode>
                <c:ptCount val="9"/>
                <c:pt idx="0">
                  <c:v>0.3394243822411808</c:v>
                </c:pt>
                <c:pt idx="1">
                  <c:v>0.6051663761450768</c:v>
                </c:pt>
                <c:pt idx="2">
                  <c:v>0.8248494269362449</c:v>
                </c:pt>
                <c:pt idx="3">
                  <c:v>0.8824820918494954</c:v>
                </c:pt>
                <c:pt idx="4">
                  <c:v>0.9390781075450089</c:v>
                </c:pt>
                <c:pt idx="5">
                  <c:v>0.9779220637995405</c:v>
                </c:pt>
                <c:pt idx="6">
                  <c:v>0.9984902869977115</c:v>
                </c:pt>
                <c:pt idx="7">
                  <c:v>0.999946333594024</c:v>
                </c:pt>
                <c:pt idx="8">
                  <c:v>1.0</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10</c:f>
              <c:strCache>
                <c:ptCount val="9"/>
                <c:pt idx="0">
                  <c:v>La Vache Qui Rit Nature Fromage Fondu Boite Ronde 1X512Gr 32P</c:v>
                </c:pt>
                <c:pt idx="1">
                  <c:v>La Vache Qui Rit Nature Fromage Fondu Boite Ronde 1X192Gr 12P</c:v>
                </c:pt>
                <c:pt idx="2">
                  <c:v>La Vache Qui Rit Nature Fromage Fondu Boite Ronde 1X384Gr 24P</c:v>
                </c:pt>
                <c:pt idx="3">
                  <c:v>La Vache Qui Rit Pik Et Croq' Fromage Fondu Dips Boite 1X175Gr 5P</c:v>
                </c:pt>
                <c:pt idx="4">
                  <c:v>La Vache Qui Rit Pik Et Croq' Fromage Fondu Dips Boite 1X280Gr 8P</c:v>
                </c:pt>
                <c:pt idx="5">
                  <c:v>La Vache Qui Rit Allegee Fromage Fondu Boite Ronde Allege 1X267Gr 16P</c:v>
                </c:pt>
                <c:pt idx="6">
                  <c:v>La Vache Qui Rit Aro Fromage Fondu Boite Ronde Jambon 1X133Gr 8P</c:v>
                </c:pt>
                <c:pt idx="7">
                  <c:v>La Vache Qui Rit Nature Fromage Fondu Boite Ronde 1X512Gr 24+8P</c:v>
                </c:pt>
                <c:pt idx="8">
                  <c:v>La Vache Qui Rit Nature Fromage Fondu Boite Ronde 1X128Gr 8P</c:v>
                </c:pt>
              </c:strCache>
            </c:strRef>
          </c:cat>
          <c:val>
            <c:numRef>
              <c:f>Sheet1!$D$2:$D$10</c:f>
              <c:numCache>
                <c:formatCode>General</c:formatCode>
                <c:ptCount val="9"/>
                <c:pt idx="0">
                  <c:v>58923.051020408166</c:v>
                </c:pt>
                <c:pt idx="1">
                  <c:v>45209.37</c:v>
                </c:pt>
                <c:pt idx="2">
                  <c:v>38529.47422680412</c:v>
                </c:pt>
                <c:pt idx="3">
                  <c:v>10108.0</c:v>
                </c:pt>
                <c:pt idx="4">
                  <c:v>10818.426966292134</c:v>
                </c:pt>
                <c:pt idx="5">
                  <c:v>7595.781609195402</c:v>
                </c:pt>
                <c:pt idx="6">
                  <c:v>5071.260869565217</c:v>
                </c:pt>
                <c:pt idx="7">
                  <c:v>990.84</c:v>
                </c:pt>
                <c:pt idx="8">
                  <c:v>76.08333333333333</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9</c:f>
              <c:strCache>
                <c:ptCount val="8"/>
                <c:pt idx="0">
                  <c:v>Kiri Creme Fromage Blanc Frais Carre 1X432Gr 24P</c:v>
                </c:pt>
                <c:pt idx="1">
                  <c:v>Kiri Creme Fromage Blanc Frais Carre 1X216Gr 12P</c:v>
                </c:pt>
                <c:pt idx="2">
                  <c:v>Kiri Gouter Fromage Blanc Dips Boite 1X280Gr 8P</c:v>
                </c:pt>
                <c:pt idx="3">
                  <c:v>Kiri Creme Fromage Blanc Frais Carre 1X144Gr 8P</c:v>
                </c:pt>
                <c:pt idx="4">
                  <c:v>Kiri Gouter Fromage Blanc Dips Boite 1X175Gr 5P</c:v>
                </c:pt>
                <c:pt idx="5">
                  <c:v>Kiri Bio Fromage Blanc Frais Carre 1X144Gr 8P</c:v>
                </c:pt>
                <c:pt idx="6">
                  <c:v>Kiri Chevre Fromage Blanc Frais Carre 1X144Gr 8P</c:v>
                </c:pt>
                <c:pt idx="7">
                  <c:v>Kiri Creme Fromage Blanc Frais Carre 1X432Gr 18+6P</c:v>
                </c:pt>
              </c:strCache>
            </c:strRef>
          </c:cat>
          <c:val>
            <c:numRef>
              <c:f>Sheet1!$B$2:$B$9</c:f>
              <c:numCache>
                <c:formatCode>General</c:formatCode>
                <c:ptCount val="8"/>
                <c:pt idx="0">
                  <c:v>0.99</c:v>
                </c:pt>
                <c:pt idx="1">
                  <c:v>1.0</c:v>
                </c:pt>
                <c:pt idx="2">
                  <c:v>0.99</c:v>
                </c:pt>
                <c:pt idx="3">
                  <c:v>1.0</c:v>
                </c:pt>
                <c:pt idx="4">
                  <c:v>1.0</c:v>
                </c:pt>
                <c:pt idx="5">
                  <c:v>0.87</c:v>
                </c:pt>
                <c:pt idx="6">
                  <c:v>0.88</c:v>
                </c:pt>
                <c:pt idx="7">
                  <c:v>0.94</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7ECAC4"/>
              </a:solidFill>
            </c:spPr>
            <c:extLst>
              <c:ext xmlns:c16="http://schemas.microsoft.com/office/drawing/2014/chart" uri="{C3380CC4-5D6E-409C-BE32-E72D297353CC}">
                <c16:uniqueId val="{00000007-E902-46E2-9A54-39A26B3DFDC1}"/>
              </c:ext>
            </c:extLst>
          </c:dPt>
          <c:dPt>
            <c:idx val="4"/>
            <c:invertIfNegative val="1"/>
            <c:bubble3D val="0"/>
            <c:spPr>
              <a:solidFill>
                <a:srgbClr val="7ECAC4"/>
              </a:solidFill>
            </c:spPr>
            <c:extLst>
              <c:ext xmlns:c16="http://schemas.microsoft.com/office/drawing/2014/chart" uri="{C3380CC4-5D6E-409C-BE32-E72D297353CC}">
                <c16:uniqueId val="{0000000B-FA3E-4872-B6E1-C4ABDF5766E2}"/>
              </c:ext>
            </c:extLst>
          </c:dPt>
          <c:dPt>
            <c:idx val="5"/>
            <c:invertIfNegative val="1"/>
            <c:bubble3D val="0"/>
            <c:spPr>
              <a:solidFill>
                <a:srgbClr val="AEABAB"/>
              </a:solidFill>
            </c:spPr>
            <c:extLst>
              <c:ext xmlns:c16="http://schemas.microsoft.com/office/drawing/2014/chart" uri="{C3380CC4-5D6E-409C-BE32-E72D297353CC}">
                <c16:uniqueId val="{0000000D-FA3E-4872-B6E1-C4ABDF5766E2}"/>
              </c:ext>
            </c:extLst>
          </c:dPt>
          <c:dPt>
            <c:idx val="6"/>
            <c:invertIfNegative val="1"/>
            <c:bubble3D val="0"/>
            <c:spPr>
              <a:solidFill>
                <a:srgbClr val="AEABAB"/>
              </a:solidFill>
            </c:spPr>
            <c:extLst>
              <c:ext xmlns:c16="http://schemas.microsoft.com/office/drawing/2014/chart" uri="{C3380CC4-5D6E-409C-BE32-E72D297353CC}">
                <c16:uniqueId val="{0000000F-FA3E-4872-B6E1-C4ABDF5766E2}"/>
              </c:ext>
            </c:extLst>
          </c:dPt>
          <c:dPt>
            <c:idx val="7"/>
            <c:invertIfNegative val="1"/>
            <c:bubble3D val="0"/>
            <c:spPr>
              <a:solidFill>
                <a:srgbClr val="AEABAB"/>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9</c:f>
              <c:strCache>
                <c:ptCount val="8"/>
                <c:pt idx="0">
                  <c:v>Kiri Creme Fromage Blanc Frais Carre 1X432Gr 24P</c:v>
                </c:pt>
                <c:pt idx="1">
                  <c:v>Kiri Creme Fromage Blanc Frais Carre 1X216Gr 12P</c:v>
                </c:pt>
                <c:pt idx="2">
                  <c:v>Kiri Gouter Fromage Blanc Dips Boite 1X280Gr 8P</c:v>
                </c:pt>
                <c:pt idx="3">
                  <c:v>Kiri Creme Fromage Blanc Frais Carre 1X144Gr 8P</c:v>
                </c:pt>
                <c:pt idx="4">
                  <c:v>Kiri Gouter Fromage Blanc Dips Boite 1X175Gr 5P</c:v>
                </c:pt>
                <c:pt idx="5">
                  <c:v>Kiri Bio Fromage Blanc Frais Carre 1X144Gr 8P</c:v>
                </c:pt>
                <c:pt idx="6">
                  <c:v>Kiri Chevre Fromage Blanc Frais Carre 1X144Gr 8P</c:v>
                </c:pt>
                <c:pt idx="7">
                  <c:v>Kiri Creme Fromage Blanc Frais Carre 1X432Gr 18+6P</c:v>
                </c:pt>
              </c:strCache>
            </c:strRef>
          </c:cat>
          <c:val>
            <c:numRef>
              <c:f>Sheet1!$C$2:$C$9</c:f>
              <c:numCache>
                <c:formatCode>General</c:formatCode>
                <c:ptCount val="8"/>
                <c:pt idx="0">
                  <c:v>0.2629906334126861</c:v>
                </c:pt>
                <c:pt idx="1">
                  <c:v>0.5229385720960242</c:v>
                </c:pt>
                <c:pt idx="2">
                  <c:v>0.6886225999510535</c:v>
                </c:pt>
                <c:pt idx="3">
                  <c:v>0.818342492268672</c:v>
                </c:pt>
                <c:pt idx="4">
                  <c:v>0.9317769817785392</c:v>
                </c:pt>
                <c:pt idx="5">
                  <c:v>0.9588092642445547</c:v>
                </c:pt>
                <c:pt idx="6">
                  <c:v>0.9828767214719558</c:v>
                </c:pt>
                <c:pt idx="7">
                  <c:v>1.0</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9</c:f>
              <c:strCache>
                <c:ptCount val="8"/>
                <c:pt idx="0">
                  <c:v>Kiri Creme Fromage Blanc Frais Carre 1X432Gr 24P</c:v>
                </c:pt>
                <c:pt idx="1">
                  <c:v>Kiri Creme Fromage Blanc Frais Carre 1X216Gr 12P</c:v>
                </c:pt>
                <c:pt idx="2">
                  <c:v>Kiri Gouter Fromage Blanc Dips Boite 1X280Gr 8P</c:v>
                </c:pt>
                <c:pt idx="3">
                  <c:v>Kiri Creme Fromage Blanc Frais Carre 1X144Gr 8P</c:v>
                </c:pt>
                <c:pt idx="4">
                  <c:v>Kiri Gouter Fromage Blanc Dips Boite 1X175Gr 5P</c:v>
                </c:pt>
                <c:pt idx="5">
                  <c:v>Kiri Bio Fromage Blanc Frais Carre 1X144Gr 8P</c:v>
                </c:pt>
                <c:pt idx="6">
                  <c:v>Kiri Chevre Fromage Blanc Frais Carre 1X144Gr 8P</c:v>
                </c:pt>
                <c:pt idx="7">
                  <c:v>Kiri Creme Fromage Blanc Frais Carre 1X432Gr 18+6P</c:v>
                </c:pt>
              </c:strCache>
            </c:strRef>
          </c:cat>
          <c:val>
            <c:numRef>
              <c:f>Sheet1!$D$2:$D$9</c:f>
              <c:numCache>
                <c:formatCode>General</c:formatCode>
                <c:ptCount val="8"/>
                <c:pt idx="0">
                  <c:v>5970.020202020202</c:v>
                </c:pt>
                <c:pt idx="1">
                  <c:v>5841.94</c:v>
                </c:pt>
                <c:pt idx="2">
                  <c:v>3761.1111111111113</c:v>
                </c:pt>
                <c:pt idx="3">
                  <c:v>2915.26</c:v>
                </c:pt>
                <c:pt idx="4">
                  <c:v>2549.27</c:v>
                </c:pt>
                <c:pt idx="5">
                  <c:v>698.2873563218391</c:v>
                </c:pt>
                <c:pt idx="6">
                  <c:v>614.6363636363636</c:v>
                </c:pt>
                <c:pt idx="7">
                  <c:v>409.3829787234043</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10</c:f>
              <c:strCache>
                <c:ptCount val="9"/>
                <c:pt idx="0">
                  <c:v>La Vache Qui Rit Nature Fromage Fondu Boite Ronde 1X512Gr 32P</c:v>
                </c:pt>
                <c:pt idx="1">
                  <c:v>La Vache Qui Rit Nature Fromage Fondu Boite Ronde 1X192Gr 12P</c:v>
                </c:pt>
                <c:pt idx="2">
                  <c:v>La Vache Qui Rit Nature Fromage Fondu Boite Ronde 1X384Gr 24P</c:v>
                </c:pt>
                <c:pt idx="3">
                  <c:v>La Vache Qui Rit Pik Et Croq' Fromage Fondu Dips Boite 1X280Gr 8P</c:v>
                </c:pt>
                <c:pt idx="4">
                  <c:v>La Vache Qui Rit Pik Et Croq' Fromage Fondu Dips Boite 1X175Gr 5P</c:v>
                </c:pt>
                <c:pt idx="5">
                  <c:v>La Vache Qui Rit Allegee Fromage Fondu Boite Ronde Allege 1X267Gr 16P</c:v>
                </c:pt>
                <c:pt idx="6">
                  <c:v>La Vache Qui Rit Aro Fromage Fondu Boite Ronde Jambon 1X133Gr 8P</c:v>
                </c:pt>
                <c:pt idx="7">
                  <c:v>La Vache Qui Rit Nature Fromage Fondu Boite Ronde 1X512Gr 24+8P</c:v>
                </c:pt>
                <c:pt idx="8">
                  <c:v>La Vache Qui Rit Nature Fromage Fondu Boite Ronde 1X128Gr 8P</c:v>
                </c:pt>
              </c:strCache>
            </c:strRef>
          </c:cat>
          <c:val>
            <c:numRef>
              <c:f>Sheet1!$B$2:$B$10</c:f>
              <c:numCache>
                <c:formatCode>General</c:formatCode>
                <c:ptCount val="9"/>
                <c:pt idx="0">
                  <c:v>0.99</c:v>
                </c:pt>
                <c:pt idx="1">
                  <c:v>1.0</c:v>
                </c:pt>
                <c:pt idx="2">
                  <c:v>1.0</c:v>
                </c:pt>
                <c:pt idx="3">
                  <c:v>0.98</c:v>
                </c:pt>
                <c:pt idx="4">
                  <c:v>0.99</c:v>
                </c:pt>
                <c:pt idx="5">
                  <c:v>0.97</c:v>
                </c:pt>
                <c:pt idx="6">
                  <c:v>0.92</c:v>
                </c:pt>
                <c:pt idx="7">
                  <c:v>0.32</c:v>
                </c:pt>
                <c:pt idx="8">
                  <c:v>0.13</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7ECAC4"/>
              </a:solidFill>
            </c:spPr>
            <c:extLst>
              <c:ext xmlns:c16="http://schemas.microsoft.com/office/drawing/2014/chart" uri="{C3380CC4-5D6E-409C-BE32-E72D297353CC}">
                <c16:uniqueId val="{00000006-E902-46E2-9A54-39A26B3DFDC1}"/>
              </c:ext>
            </c:extLst>
          </c:dPt>
          <c:dPt>
            <c:idx val="3"/>
            <c:invertIfNegative val="0"/>
            <c:bubble3D val="0"/>
            <c:spPr>
              <a:solidFill>
                <a:srgbClr val="7ECAC4"/>
              </a:solidFill>
            </c:spPr>
            <c:extLst>
              <c:ext xmlns:c16="http://schemas.microsoft.com/office/drawing/2014/chart" uri="{C3380CC4-5D6E-409C-BE32-E72D297353CC}">
                <c16:uniqueId val="{00000007-E902-46E2-9A54-39A26B3DFDC1}"/>
              </c:ext>
            </c:extLst>
          </c:dPt>
          <c:dPt>
            <c:idx val="4"/>
            <c:invertIfNegative val="1"/>
            <c:bubble3D val="0"/>
            <c:spPr>
              <a:solidFill>
                <a:srgbClr val="7ECAC4"/>
              </a:solidFill>
            </c:spPr>
            <c:extLst>
              <c:ext xmlns:c16="http://schemas.microsoft.com/office/drawing/2014/chart" uri="{C3380CC4-5D6E-409C-BE32-E72D297353CC}">
                <c16:uniqueId val="{0000000B-FA3E-4872-B6E1-C4ABDF5766E2}"/>
              </c:ext>
            </c:extLst>
          </c:dPt>
          <c:dPt>
            <c:idx val="5"/>
            <c:invertIfNegative val="1"/>
            <c:bubble3D val="0"/>
            <c:spPr>
              <a:solidFill>
                <a:srgbClr val="AEABAB"/>
              </a:solidFill>
            </c:spPr>
            <c:extLst>
              <c:ext xmlns:c16="http://schemas.microsoft.com/office/drawing/2014/chart" uri="{C3380CC4-5D6E-409C-BE32-E72D297353CC}">
                <c16:uniqueId val="{0000000D-FA3E-4872-B6E1-C4ABDF5766E2}"/>
              </c:ext>
            </c:extLst>
          </c:dPt>
          <c:dPt>
            <c:idx val="6"/>
            <c:invertIfNegative val="1"/>
            <c:bubble3D val="0"/>
            <c:spPr>
              <a:solidFill>
                <a:srgbClr val="AEABAB"/>
              </a:solidFill>
            </c:spPr>
            <c:extLst>
              <c:ext xmlns:c16="http://schemas.microsoft.com/office/drawing/2014/chart" uri="{C3380CC4-5D6E-409C-BE32-E72D297353CC}">
                <c16:uniqueId val="{0000000F-FA3E-4872-B6E1-C4ABDF5766E2}"/>
              </c:ext>
            </c:extLst>
          </c:dPt>
          <c:dPt>
            <c:idx val="7"/>
            <c:invertIfNegative val="1"/>
            <c:bubble3D val="0"/>
            <c:spPr>
              <a:solidFill>
                <a:srgbClr val="AEABAB"/>
              </a:solidFill>
            </c:spPr>
            <c:extLst>
              <c:ext xmlns:c16="http://schemas.microsoft.com/office/drawing/2014/chart" uri="{C3380CC4-5D6E-409C-BE32-E72D297353CC}">
                <c16:uniqueId val="{00000011-FA3E-4872-B6E1-C4ABDF5766E2}"/>
              </c:ext>
            </c:extLst>
          </c:dPt>
          <c:dPt>
            <c:idx val="8"/>
            <c:invertIfNegative val="1"/>
            <c:bubble3D val="0"/>
            <c:spPr>
              <a:solidFill>
                <a:srgbClr val="AEABAB"/>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10</c:f>
              <c:strCache>
                <c:ptCount val="9"/>
                <c:pt idx="0">
                  <c:v>La Vache Qui Rit Nature Fromage Fondu Boite Ronde 1X512Gr 32P</c:v>
                </c:pt>
                <c:pt idx="1">
                  <c:v>La Vache Qui Rit Nature Fromage Fondu Boite Ronde 1X192Gr 12P</c:v>
                </c:pt>
                <c:pt idx="2">
                  <c:v>La Vache Qui Rit Nature Fromage Fondu Boite Ronde 1X384Gr 24P</c:v>
                </c:pt>
                <c:pt idx="3">
                  <c:v>La Vache Qui Rit Pik Et Croq' Fromage Fondu Dips Boite 1X280Gr 8P</c:v>
                </c:pt>
                <c:pt idx="4">
                  <c:v>La Vache Qui Rit Pik Et Croq' Fromage Fondu Dips Boite 1X175Gr 5P</c:v>
                </c:pt>
                <c:pt idx="5">
                  <c:v>La Vache Qui Rit Allegee Fromage Fondu Boite Ronde Allege 1X267Gr 16P</c:v>
                </c:pt>
                <c:pt idx="6">
                  <c:v>La Vache Qui Rit Aro Fromage Fondu Boite Ronde Jambon 1X133Gr 8P</c:v>
                </c:pt>
                <c:pt idx="7">
                  <c:v>La Vache Qui Rit Nature Fromage Fondu Boite Ronde 1X512Gr 24+8P</c:v>
                </c:pt>
                <c:pt idx="8">
                  <c:v>La Vache Qui Rit Nature Fromage Fondu Boite Ronde 1X128Gr 8P</c:v>
                </c:pt>
              </c:strCache>
            </c:strRef>
          </c:cat>
          <c:val>
            <c:numRef>
              <c:f>Sheet1!$C$2:$C$10</c:f>
              <c:numCache>
                <c:formatCode>General</c:formatCode>
                <c:ptCount val="9"/>
                <c:pt idx="0">
                  <c:v>0.3515975421233754</c:v>
                </c:pt>
                <c:pt idx="1">
                  <c:v>0.5909459406971234</c:v>
                </c:pt>
                <c:pt idx="2">
                  <c:v>0.8063379658041311</c:v>
                </c:pt>
                <c:pt idx="3">
                  <c:v>0.8751945560052512</c:v>
                </c:pt>
                <c:pt idx="4">
                  <c:v>0.9395430711028594</c:v>
                </c:pt>
                <c:pt idx="5">
                  <c:v>0.9748050555818812</c:v>
                </c:pt>
                <c:pt idx="6">
                  <c:v>0.9981853350837806</c:v>
                </c:pt>
                <c:pt idx="7">
                  <c:v>0.9999487295015109</c:v>
                </c:pt>
                <c:pt idx="8">
                  <c:v>0.999980113261192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10</c:f>
              <c:strCache>
                <c:ptCount val="9"/>
                <c:pt idx="0">
                  <c:v>La Vache Qui Rit Nature Fromage Fondu Boite Ronde 1X512Gr 32P</c:v>
                </c:pt>
                <c:pt idx="1">
                  <c:v>La Vache Qui Rit Nature Fromage Fondu Boite Ronde 1X192Gr 12P</c:v>
                </c:pt>
                <c:pt idx="2">
                  <c:v>La Vache Qui Rit Nature Fromage Fondu Boite Ronde 1X384Gr 24P</c:v>
                </c:pt>
                <c:pt idx="3">
                  <c:v>La Vache Qui Rit Pik Et Croq' Fromage Fondu Dips Boite 1X280Gr 8P</c:v>
                </c:pt>
                <c:pt idx="4">
                  <c:v>La Vache Qui Rit Pik Et Croq' Fromage Fondu Dips Boite 1X175Gr 5P</c:v>
                </c:pt>
                <c:pt idx="5">
                  <c:v>La Vache Qui Rit Allegee Fromage Fondu Boite Ronde Allege 1X267Gr 16P</c:v>
                </c:pt>
                <c:pt idx="6">
                  <c:v>La Vache Qui Rit Aro Fromage Fondu Boite Ronde Jambon 1X133Gr 8P</c:v>
                </c:pt>
                <c:pt idx="7">
                  <c:v>La Vache Qui Rit Nature Fromage Fondu Boite Ronde 1X512Gr 24+8P</c:v>
                </c:pt>
                <c:pt idx="8">
                  <c:v>La Vache Qui Rit Nature Fromage Fondu Boite Ronde 1X128Gr 8P</c:v>
                </c:pt>
              </c:strCache>
            </c:strRef>
          </c:cat>
          <c:val>
            <c:numRef>
              <c:f>Sheet1!$D$2:$D$10</c:f>
              <c:numCache>
                <c:formatCode>General</c:formatCode>
                <c:ptCount val="9"/>
                <c:pt idx="0">
                  <c:v>11429.494949494949</c:v>
                </c:pt>
                <c:pt idx="1">
                  <c:v>7702.77</c:v>
                </c:pt>
                <c:pt idx="2">
                  <c:v>6931.8</c:v>
                </c:pt>
                <c:pt idx="3">
                  <c:v>2261.183673469388</c:v>
                </c:pt>
                <c:pt idx="4">
                  <c:v>2091.7979797979797</c:v>
                </c:pt>
                <c:pt idx="5">
                  <c:v>1169.9072164948454</c:v>
                </c:pt>
                <c:pt idx="6">
                  <c:v>817.8586956521739</c:v>
                </c:pt>
                <c:pt idx="7">
                  <c:v>177.34375</c:v>
                </c:pt>
                <c:pt idx="8">
                  <c:v>7.76923076923076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9</c:f>
              <c:strCache>
                <c:ptCount val="8"/>
                <c:pt idx="0">
                  <c:v>Kiri Creme Fromage Blanc Frais Carre 1X216Gr 12P</c:v>
                </c:pt>
                <c:pt idx="1">
                  <c:v>Kiri Creme Fromage Blanc Frais Carre 1X144Gr 8P</c:v>
                </c:pt>
                <c:pt idx="2">
                  <c:v>Kiri Gouter Fromage Blanc Dips Boite 1X175Gr 5P</c:v>
                </c:pt>
                <c:pt idx="3">
                  <c:v>Kiri Creme Fromage Blanc Frais Carre 1X432Gr 24P</c:v>
                </c:pt>
                <c:pt idx="4">
                  <c:v>Kiri Gouter Fromage Blanc Dips Boite 1X280Gr 8P</c:v>
                </c:pt>
                <c:pt idx="5">
                  <c:v>Kiri Bio Fromage Blanc Frais Carre 1X144Gr 8P</c:v>
                </c:pt>
                <c:pt idx="6">
                  <c:v>Kiri Creme Fromage Blanc Frais Carre 1X432Gr 18+6P</c:v>
                </c:pt>
                <c:pt idx="7">
                  <c:v>Kiri Chevre Fromage Blanc Frais Carre 1X144Gr 8P</c:v>
                </c:pt>
              </c:strCache>
            </c:strRef>
          </c:cat>
          <c:val>
            <c:numRef>
              <c:f>Sheet1!$B$2:$B$9</c:f>
              <c:numCache>
                <c:formatCode>General</c:formatCode>
                <c:ptCount val="8"/>
                <c:pt idx="0">
                  <c:v>0.85</c:v>
                </c:pt>
                <c:pt idx="1">
                  <c:v>0.92</c:v>
                </c:pt>
                <c:pt idx="2">
                  <c:v>0.9</c:v>
                </c:pt>
                <c:pt idx="3">
                  <c:v>0.52</c:v>
                </c:pt>
                <c:pt idx="4">
                  <c:v>0.68</c:v>
                </c:pt>
                <c:pt idx="5">
                  <c:v>0.31</c:v>
                </c:pt>
                <c:pt idx="6">
                  <c:v>0.59</c:v>
                </c:pt>
                <c:pt idx="7">
                  <c:v>0.38</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7ECAC4"/>
              </a:solidFill>
            </c:spPr>
            <c:extLst>
              <c:ext xmlns:c16="http://schemas.microsoft.com/office/drawing/2014/chart" uri="{C3380CC4-5D6E-409C-BE32-E72D297353CC}">
                <c16:uniqueId val="{00000007-E902-46E2-9A54-39A26B3DFDC1}"/>
              </c:ext>
            </c:extLst>
          </c:dPt>
          <c:dPt>
            <c:idx val="4"/>
            <c:invertIfNegative val="1"/>
            <c:bubble3D val="0"/>
            <c:spPr>
              <a:solidFill>
                <a:srgbClr val="7ECAC4"/>
              </a:solidFill>
            </c:spPr>
            <c:extLst>
              <c:ext xmlns:c16="http://schemas.microsoft.com/office/drawing/2014/chart" uri="{C3380CC4-5D6E-409C-BE32-E72D297353CC}">
                <c16:uniqueId val="{0000000B-FA3E-4872-B6E1-C4ABDF5766E2}"/>
              </c:ext>
            </c:extLst>
          </c:dPt>
          <c:dPt>
            <c:idx val="5"/>
            <c:invertIfNegative val="1"/>
            <c:bubble3D val="0"/>
            <c:spPr>
              <a:solidFill>
                <a:srgbClr val="AEABAB"/>
              </a:solidFill>
            </c:spPr>
            <c:extLst>
              <c:ext xmlns:c16="http://schemas.microsoft.com/office/drawing/2014/chart" uri="{C3380CC4-5D6E-409C-BE32-E72D297353CC}">
                <c16:uniqueId val="{0000000D-FA3E-4872-B6E1-C4ABDF5766E2}"/>
              </c:ext>
            </c:extLst>
          </c:dPt>
          <c:dPt>
            <c:idx val="6"/>
            <c:invertIfNegative val="1"/>
            <c:bubble3D val="0"/>
            <c:spPr>
              <a:solidFill>
                <a:srgbClr val="AEABAB"/>
              </a:solidFill>
            </c:spPr>
            <c:extLst>
              <c:ext xmlns:c16="http://schemas.microsoft.com/office/drawing/2014/chart" uri="{C3380CC4-5D6E-409C-BE32-E72D297353CC}">
                <c16:uniqueId val="{0000000F-FA3E-4872-B6E1-C4ABDF5766E2}"/>
              </c:ext>
            </c:extLst>
          </c:dPt>
          <c:dPt>
            <c:idx val="7"/>
            <c:invertIfNegative val="1"/>
            <c:bubble3D val="0"/>
            <c:spPr>
              <a:solidFill>
                <a:srgbClr val="AEABAB"/>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9</c:f>
              <c:strCache>
                <c:ptCount val="8"/>
                <c:pt idx="0">
                  <c:v>Kiri Creme Fromage Blanc Frais Carre 1X216Gr 12P</c:v>
                </c:pt>
                <c:pt idx="1">
                  <c:v>Kiri Creme Fromage Blanc Frais Carre 1X144Gr 8P</c:v>
                </c:pt>
                <c:pt idx="2">
                  <c:v>Kiri Gouter Fromage Blanc Dips Boite 1X175Gr 5P</c:v>
                </c:pt>
                <c:pt idx="3">
                  <c:v>Kiri Creme Fromage Blanc Frais Carre 1X432Gr 24P</c:v>
                </c:pt>
                <c:pt idx="4">
                  <c:v>Kiri Gouter Fromage Blanc Dips Boite 1X280Gr 8P</c:v>
                </c:pt>
                <c:pt idx="5">
                  <c:v>Kiri Bio Fromage Blanc Frais Carre 1X144Gr 8P</c:v>
                </c:pt>
                <c:pt idx="6">
                  <c:v>Kiri Creme Fromage Blanc Frais Carre 1X432Gr 18+6P</c:v>
                </c:pt>
                <c:pt idx="7">
                  <c:v>Kiri Chevre Fromage Blanc Frais Carre 1X144Gr 8P</c:v>
                </c:pt>
              </c:strCache>
            </c:strRef>
          </c:cat>
          <c:val>
            <c:numRef>
              <c:f>Sheet1!$C$2:$C$9</c:f>
              <c:numCache>
                <c:formatCode>General</c:formatCode>
                <c:ptCount val="8"/>
                <c:pt idx="0">
                  <c:v>0.29379225343071264</c:v>
                </c:pt>
                <c:pt idx="1">
                  <c:v>0.5039315571062273</c:v>
                </c:pt>
                <c:pt idx="2">
                  <c:v>0.6720177416590988</c:v>
                </c:pt>
                <c:pt idx="3">
                  <c:v>0.8137110073642349</c:v>
                </c:pt>
                <c:pt idx="4">
                  <c:v>0.9366438939420221</c:v>
                </c:pt>
                <c:pt idx="5">
                  <c:v>0.9651177475806709</c:v>
                </c:pt>
                <c:pt idx="6">
                  <c:v>0.9834793376433295</c:v>
                </c:pt>
                <c:pt idx="7">
                  <c:v>1.0</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9</c:f>
              <c:strCache>
                <c:ptCount val="8"/>
                <c:pt idx="0">
                  <c:v>Kiri Creme Fromage Blanc Frais Carre 1X216Gr 12P</c:v>
                </c:pt>
                <c:pt idx="1">
                  <c:v>Kiri Creme Fromage Blanc Frais Carre 1X144Gr 8P</c:v>
                </c:pt>
                <c:pt idx="2">
                  <c:v>Kiri Gouter Fromage Blanc Dips Boite 1X175Gr 5P</c:v>
                </c:pt>
                <c:pt idx="3">
                  <c:v>Kiri Creme Fromage Blanc Frais Carre 1X432Gr 24P</c:v>
                </c:pt>
                <c:pt idx="4">
                  <c:v>Kiri Gouter Fromage Blanc Dips Boite 1X280Gr 8P</c:v>
                </c:pt>
                <c:pt idx="5">
                  <c:v>Kiri Bio Fromage Blanc Frais Carre 1X144Gr 8P</c:v>
                </c:pt>
                <c:pt idx="6">
                  <c:v>Kiri Creme Fromage Blanc Frais Carre 1X432Gr 18+6P</c:v>
                </c:pt>
                <c:pt idx="7">
                  <c:v>Kiri Chevre Fromage Blanc Frais Carre 1X144Gr 8P</c:v>
                </c:pt>
              </c:strCache>
            </c:strRef>
          </c:cat>
          <c:val>
            <c:numRef>
              <c:f>Sheet1!$D$2:$D$9</c:f>
              <c:numCache>
                <c:formatCode>General</c:formatCode>
                <c:ptCount val="8"/>
                <c:pt idx="0">
                  <c:v>6595.729411764706</c:v>
                </c:pt>
                <c:pt idx="1">
                  <c:v>4358.739130434783</c:v>
                </c:pt>
                <c:pt idx="2">
                  <c:v>3563.9444444444443</c:v>
                </c:pt>
                <c:pt idx="3">
                  <c:v>5199.807692307692</c:v>
                </c:pt>
                <c:pt idx="4">
                  <c:v>3449.8529411764707</c:v>
                </c:pt>
                <c:pt idx="5">
                  <c:v>1752.774193548387</c:v>
                </c:pt>
                <c:pt idx="6">
                  <c:v>593.8813559322034</c:v>
                </c:pt>
                <c:pt idx="7">
                  <c:v>829.6315789473684</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9</c:f>
              <c:strCache>
                <c:ptCount val="8"/>
                <c:pt idx="0">
                  <c:v>La Vache Qui Rit Nature Fromage Fondu Boite Ronde 1X192Gr 12P</c:v>
                </c:pt>
                <c:pt idx="1">
                  <c:v>La Vache Qui Rit Nature Fromage Fondu Boite Ronde 1X512Gr 32P</c:v>
                </c:pt>
                <c:pt idx="2">
                  <c:v>La Vache Qui Rit Nature Fromage Fondu Boite Ronde 1X384Gr 24P</c:v>
                </c:pt>
                <c:pt idx="3">
                  <c:v>La Vache Qui Rit Pik Et Croq' Fromage Fondu Dips Boite 1X175Gr 5P</c:v>
                </c:pt>
                <c:pt idx="4">
                  <c:v>La Vache Qui Rit Allegee Fromage Fondu Boite Ronde Allege 1X267Gr 16P</c:v>
                </c:pt>
                <c:pt idx="5">
                  <c:v>La Vache Qui Rit Pik Et Croq' Fromage Fondu Dips Boite 1X280Gr 8P</c:v>
                </c:pt>
                <c:pt idx="6">
                  <c:v>La Vache Qui Rit Aro Fromage Fondu Boite Ronde Jambon 1X133Gr 8P</c:v>
                </c:pt>
                <c:pt idx="7">
                  <c:v>La Vache Qui Rit Nature Fromage Fondu Boite Ronde 1X128Gr 8P</c:v>
                </c:pt>
              </c:strCache>
            </c:strRef>
          </c:cat>
          <c:val>
            <c:numRef>
              <c:f>Sheet1!$B$2:$B$9</c:f>
              <c:numCache>
                <c:formatCode>General</c:formatCode>
                <c:ptCount val="8"/>
                <c:pt idx="0">
                  <c:v>0.98</c:v>
                </c:pt>
                <c:pt idx="1">
                  <c:v>0.68</c:v>
                </c:pt>
                <c:pt idx="2">
                  <c:v>0.68</c:v>
                </c:pt>
                <c:pt idx="3">
                  <c:v>0.82</c:v>
                </c:pt>
                <c:pt idx="4">
                  <c:v>0.5</c:v>
                </c:pt>
                <c:pt idx="5">
                  <c:v>0.42</c:v>
                </c:pt>
                <c:pt idx="6">
                  <c:v>0.33</c:v>
                </c:pt>
                <c:pt idx="7">
                  <c:v>0.04</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7ECAC4"/>
              </a:solidFill>
            </c:spPr>
            <c:extLst>
              <c:ext xmlns:c16="http://schemas.microsoft.com/office/drawing/2014/chart" uri="{C3380CC4-5D6E-409C-BE32-E72D297353CC}">
                <c16:uniqueId val="{00000006-E902-46E2-9A54-39A26B3DFDC1}"/>
              </c:ext>
            </c:extLst>
          </c:dPt>
          <c:dPt>
            <c:idx val="3"/>
            <c:invertIfNegative val="0"/>
            <c:bubble3D val="0"/>
            <c:spPr>
              <a:solidFill>
                <a:srgbClr val="7ECAC4"/>
              </a:solidFill>
            </c:spPr>
            <c:extLst>
              <c:ext xmlns:c16="http://schemas.microsoft.com/office/drawing/2014/chart" uri="{C3380CC4-5D6E-409C-BE32-E72D297353CC}">
                <c16:uniqueId val="{00000007-E902-46E2-9A54-39A26B3DFDC1}"/>
              </c:ext>
            </c:extLst>
          </c:dPt>
          <c:dPt>
            <c:idx val="4"/>
            <c:invertIfNegative val="1"/>
            <c:bubble3D val="0"/>
            <c:spPr>
              <a:solidFill>
                <a:srgbClr val="AEABAB"/>
              </a:solidFill>
            </c:spPr>
            <c:extLst>
              <c:ext xmlns:c16="http://schemas.microsoft.com/office/drawing/2014/chart" uri="{C3380CC4-5D6E-409C-BE32-E72D297353CC}">
                <c16:uniqueId val="{0000000B-FA3E-4872-B6E1-C4ABDF5766E2}"/>
              </c:ext>
            </c:extLst>
          </c:dPt>
          <c:dPt>
            <c:idx val="5"/>
            <c:invertIfNegative val="1"/>
            <c:bubble3D val="0"/>
            <c:spPr>
              <a:solidFill>
                <a:srgbClr val="AEABAB"/>
              </a:solidFill>
            </c:spPr>
            <c:extLst>
              <c:ext xmlns:c16="http://schemas.microsoft.com/office/drawing/2014/chart" uri="{C3380CC4-5D6E-409C-BE32-E72D297353CC}">
                <c16:uniqueId val="{0000000D-FA3E-4872-B6E1-C4ABDF5766E2}"/>
              </c:ext>
            </c:extLst>
          </c:dPt>
          <c:dPt>
            <c:idx val="6"/>
            <c:invertIfNegative val="1"/>
            <c:bubble3D val="0"/>
            <c:spPr>
              <a:solidFill>
                <a:srgbClr val="AEABAB"/>
              </a:solidFill>
            </c:spPr>
            <c:extLst>
              <c:ext xmlns:c16="http://schemas.microsoft.com/office/drawing/2014/chart" uri="{C3380CC4-5D6E-409C-BE32-E72D297353CC}">
                <c16:uniqueId val="{0000000F-FA3E-4872-B6E1-C4ABDF5766E2}"/>
              </c:ext>
            </c:extLst>
          </c:dPt>
          <c:dPt>
            <c:idx val="7"/>
            <c:invertIfNegative val="1"/>
            <c:bubble3D val="0"/>
            <c:spPr>
              <a:solidFill>
                <a:srgbClr val="AEABAB"/>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9</c:f>
              <c:strCache>
                <c:ptCount val="8"/>
                <c:pt idx="0">
                  <c:v>La Vache Qui Rit Nature Fromage Fondu Boite Ronde 1X192Gr 12P</c:v>
                </c:pt>
                <c:pt idx="1">
                  <c:v>La Vache Qui Rit Nature Fromage Fondu Boite Ronde 1X512Gr 32P</c:v>
                </c:pt>
                <c:pt idx="2">
                  <c:v>La Vache Qui Rit Nature Fromage Fondu Boite Ronde 1X384Gr 24P</c:v>
                </c:pt>
                <c:pt idx="3">
                  <c:v>La Vache Qui Rit Pik Et Croq' Fromage Fondu Dips Boite 1X175Gr 5P</c:v>
                </c:pt>
                <c:pt idx="4">
                  <c:v>La Vache Qui Rit Allegee Fromage Fondu Boite Ronde Allege 1X267Gr 16P</c:v>
                </c:pt>
                <c:pt idx="5">
                  <c:v>La Vache Qui Rit Pik Et Croq' Fromage Fondu Dips Boite 1X280Gr 8P</c:v>
                </c:pt>
                <c:pt idx="6">
                  <c:v>La Vache Qui Rit Aro Fromage Fondu Boite Ronde Jambon 1X133Gr 8P</c:v>
                </c:pt>
                <c:pt idx="7">
                  <c:v>La Vache Qui Rit Nature Fromage Fondu Boite Ronde 1X128Gr 8P</c:v>
                </c:pt>
              </c:strCache>
            </c:strRef>
          </c:cat>
          <c:val>
            <c:numRef>
              <c:f>Sheet1!$C$2:$C$9</c:f>
              <c:numCache>
                <c:formatCode>General</c:formatCode>
                <c:ptCount val="8"/>
                <c:pt idx="0">
                  <c:v>0.37375445558855036</c:v>
                </c:pt>
                <c:pt idx="1">
                  <c:v>0.6349581221961818</c:v>
                </c:pt>
                <c:pt idx="2">
                  <c:v>0.8430201367670095</c:v>
                </c:pt>
                <c:pt idx="3">
                  <c:v>0.9180433926609386</c:v>
                </c:pt>
                <c:pt idx="4">
                  <c:v>0.9577056534605287</c:v>
                </c:pt>
                <c:pt idx="5">
                  <c:v>0.9859295393699502</c:v>
                </c:pt>
                <c:pt idx="6">
                  <c:v>0.9999097275836396</c:v>
                </c:pt>
                <c:pt idx="7">
                  <c:v>1.0</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9</c:f>
              <c:strCache>
                <c:ptCount val="8"/>
                <c:pt idx="0">
                  <c:v>La Vache Qui Rit Nature Fromage Fondu Boite Ronde 1X192Gr 12P</c:v>
                </c:pt>
                <c:pt idx="1">
                  <c:v>La Vache Qui Rit Nature Fromage Fondu Boite Ronde 1X512Gr 32P</c:v>
                </c:pt>
                <c:pt idx="2">
                  <c:v>La Vache Qui Rit Nature Fromage Fondu Boite Ronde 1X384Gr 24P</c:v>
                </c:pt>
                <c:pt idx="3">
                  <c:v>La Vache Qui Rit Pik Et Croq' Fromage Fondu Dips Boite 1X175Gr 5P</c:v>
                </c:pt>
                <c:pt idx="4">
                  <c:v>La Vache Qui Rit Allegee Fromage Fondu Boite Ronde Allege 1X267Gr 16P</c:v>
                </c:pt>
                <c:pt idx="5">
                  <c:v>La Vache Qui Rit Pik Et Croq' Fromage Fondu Dips Boite 1X280Gr 8P</c:v>
                </c:pt>
                <c:pt idx="6">
                  <c:v>La Vache Qui Rit Aro Fromage Fondu Boite Ronde Jambon 1X133Gr 8P</c:v>
                </c:pt>
                <c:pt idx="7">
                  <c:v>La Vache Qui Rit Nature Fromage Fondu Boite Ronde 1X128Gr 8P</c:v>
                </c:pt>
              </c:strCache>
            </c:strRef>
          </c:cat>
          <c:val>
            <c:numRef>
              <c:f>Sheet1!$D$2:$D$9</c:f>
              <c:numCache>
                <c:formatCode>General</c:formatCode>
                <c:ptCount val="8"/>
                <c:pt idx="0">
                  <c:v>8872.061224489797</c:v>
                </c:pt>
                <c:pt idx="1">
                  <c:v>8935.823529411764</c:v>
                </c:pt>
                <c:pt idx="2">
                  <c:v>7117.838235294118</c:v>
                </c:pt>
                <c:pt idx="3">
                  <c:v>2128.3658536585367</c:v>
                </c:pt>
                <c:pt idx="4">
                  <c:v>1845.32</c:v>
                </c:pt>
                <c:pt idx="5">
                  <c:v>1563.2619047619048</c:v>
                </c:pt>
                <c:pt idx="6">
                  <c:v>985.5151515151515</c:v>
                </c:pt>
                <c:pt idx="7">
                  <c:v>11.0</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c:f>
              <c:strCache>
                <c:ptCount val="3"/>
                <c:pt idx="0">
                  <c:v>Kiri Delicieusement Fouette Fromage Frais A Tartiner 1X125Gr 1P</c:v>
                </c:pt>
                <c:pt idx="1">
                  <c:v>Kiri Delicieusement Fouette Fromage Frais A Tartiner 1X210Gr 1P</c:v>
                </c:pt>
                <c:pt idx="2">
                  <c:v>Kiri Delicieusement Fouette Fromage Frais A Tartiner 1X160Gr 10P</c:v>
                </c:pt>
              </c:strCache>
            </c:strRef>
          </c:cat>
          <c:val>
            <c:numRef>
              <c:f>Sheet1!$B$2:$B$4</c:f>
              <c:numCache>
                <c:formatCode>General</c:formatCode>
                <c:ptCount val="3"/>
                <c:pt idx="0">
                  <c:v>0.774</c:v>
                </c:pt>
                <c:pt idx="1">
                  <c:v>0.643</c:v>
                </c:pt>
                <c:pt idx="2">
                  <c:v>0.68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AEABAB"/>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c:f>
              <c:strCache>
                <c:ptCount val="3"/>
                <c:pt idx="0">
                  <c:v>Kiri Delicieusement Fouette Fromage Frais A Tartiner 1X125Gr 1P</c:v>
                </c:pt>
                <c:pt idx="1">
                  <c:v>Kiri Delicieusement Fouette Fromage Frais A Tartiner 1X210Gr 1P</c:v>
                </c:pt>
                <c:pt idx="2">
                  <c:v>Kiri Delicieusement Fouette Fromage Frais A Tartiner 1X160Gr 10P</c:v>
                </c:pt>
              </c:strCache>
            </c:strRef>
          </c:cat>
          <c:val>
            <c:numRef>
              <c:f>Sheet1!$C$2:$C$4</c:f>
              <c:numCache>
                <c:formatCode>General</c:formatCode>
                <c:ptCount val="3"/>
                <c:pt idx="0">
                  <c:v>0.4542380611279346</c:v>
                </c:pt>
                <c:pt idx="1">
                  <c:v>0.7556733408881022</c:v>
                </c:pt>
                <c:pt idx="2">
                  <c:v>1.0</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4</c:f>
              <c:strCache>
                <c:ptCount val="3"/>
                <c:pt idx="0">
                  <c:v>Kiri Delicieusement Fouette Fromage Frais A Tartiner 1X125Gr 1P</c:v>
                </c:pt>
                <c:pt idx="1">
                  <c:v>Kiri Delicieusement Fouette Fromage Frais A Tartiner 1X210Gr 1P</c:v>
                </c:pt>
                <c:pt idx="2">
                  <c:v>Kiri Delicieusement Fouette Fromage Frais A Tartiner 1X160Gr 10P</c:v>
                </c:pt>
              </c:strCache>
            </c:strRef>
          </c:cat>
          <c:val>
            <c:numRef>
              <c:f>Sheet1!$D$2:$D$4</c:f>
              <c:numCache>
                <c:formatCode>General</c:formatCode>
                <c:ptCount val="3"/>
                <c:pt idx="0">
                  <c:v>9290.78811369509</c:v>
                </c:pt>
                <c:pt idx="1">
                  <c:v>7421.524105754277</c:v>
                </c:pt>
                <c:pt idx="2">
                  <c:v>5613.860667634253</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18</c:f>
              <c:strCache>
                <c:ptCount val="17"/>
                <c:pt idx="0">
                  <c:v>Boursin Classique Fromage Frais A Tartiner Afh Boite 1X150Gr 1P</c:v>
                </c:pt>
                <c:pt idx="1">
                  <c:v>Boursin Classique Fromage Frais A Tartiner Afh 1X160Gr 10P</c:v>
                </c:pt>
                <c:pt idx="2">
                  <c:v>Boursin Classique Fromage Frais A Tartiner Afh Boite 1X250Gr 1P</c:v>
                </c:pt>
                <c:pt idx="3">
                  <c:v>Boursin Classique Fromage Frais A Tartiner Afh Boite 1X96Gr 6P</c:v>
                </c:pt>
                <c:pt idx="4">
                  <c:v>Boursin Classique Fromage Frais A Tartiner Ciboulette &amp; Echalote Boite 1X150Gr 1P</c:v>
                </c:pt>
                <c:pt idx="5">
                  <c:v>Boursin Onctueux Fromage Frais A Tartiner Afh 1X125Gr 1P</c:v>
                </c:pt>
                <c:pt idx="6">
                  <c:v>Boursin Classique Fromage Frais A Tartiner Figue Et 3 Noix Boite 1X150Gr 1P</c:v>
                </c:pt>
                <c:pt idx="7">
                  <c:v>Boursin Classique Fromage Frais A Tartiner Afh Boite 1X80Gr 1P</c:v>
                </c:pt>
                <c:pt idx="8">
                  <c:v>Boursin Classique Fromage Frais A Tartiner Afh 1X256Gr 16P</c:v>
                </c:pt>
                <c:pt idx="9">
                  <c:v>Boursin Classique Fromage Frais A Tartiner 3 Noix Boite 1X150Gr 1P</c:v>
                </c:pt>
                <c:pt idx="10">
                  <c:v>Boursin Classique Fromage Frais A Tartiner Poivre Boite 1X150Gr 1P</c:v>
                </c:pt>
                <c:pt idx="11">
                  <c:v>Boursin Onctueux Fromage Frais A Tartiner Afh 1X210Gr 1P</c:v>
                </c:pt>
                <c:pt idx="12">
                  <c:v>Boursin Classique Fromage Frais A Tartiner Truffe Boite 1X150Gr 1P</c:v>
                </c:pt>
                <c:pt idx="13">
                  <c:v>Boursin Classique Fromage Frais A Tartiner Afh Boite 1X320Gr 16+4P</c:v>
                </c:pt>
                <c:pt idx="14">
                  <c:v>Boursin Classique Fromage Frais A Tartiner 3 Noix 1X160Gr 10P</c:v>
                </c:pt>
                <c:pt idx="15">
                  <c:v>Boursin Classique Fromage Frais A Tartiner Citron &amp; Romarin Boite 1X150Gr 1P</c:v>
                </c:pt>
                <c:pt idx="16">
                  <c:v>Boursin Classique Fromage Frais A Tartiner Ciboulette &amp; Echalote 1X160Gr 10P</c:v>
                </c:pt>
              </c:strCache>
            </c:strRef>
          </c:cat>
          <c:val>
            <c:numRef>
              <c:f>Sheet1!$B$2:$B$18</c:f>
              <c:numCache>
                <c:formatCode>General</c:formatCode>
                <c:ptCount val="17"/>
                <c:pt idx="0">
                  <c:v>0.968</c:v>
                </c:pt>
                <c:pt idx="1">
                  <c:v>0.915</c:v>
                </c:pt>
                <c:pt idx="2">
                  <c:v>0.817</c:v>
                </c:pt>
                <c:pt idx="3">
                  <c:v>0.821</c:v>
                </c:pt>
                <c:pt idx="4">
                  <c:v>0.793</c:v>
                </c:pt>
                <c:pt idx="5">
                  <c:v>0.774</c:v>
                </c:pt>
                <c:pt idx="6">
                  <c:v>0.694</c:v>
                </c:pt>
                <c:pt idx="7">
                  <c:v>0.447</c:v>
                </c:pt>
                <c:pt idx="8">
                  <c:v>0.265</c:v>
                </c:pt>
                <c:pt idx="9">
                  <c:v>0.537</c:v>
                </c:pt>
                <c:pt idx="10">
                  <c:v>0.402</c:v>
                </c:pt>
                <c:pt idx="11">
                  <c:v>0.281</c:v>
                </c:pt>
                <c:pt idx="12">
                  <c:v>0.511</c:v>
                </c:pt>
                <c:pt idx="13">
                  <c:v>0.528</c:v>
                </c:pt>
                <c:pt idx="14">
                  <c:v>0.379</c:v>
                </c:pt>
                <c:pt idx="15">
                  <c:v>0.324</c:v>
                </c:pt>
                <c:pt idx="16">
                  <c:v>0.075</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7ECAC4"/>
              </a:solidFill>
            </c:spPr>
            <c:extLst>
              <c:ext xmlns:c16="http://schemas.microsoft.com/office/drawing/2014/chart" uri="{C3380CC4-5D6E-409C-BE32-E72D297353CC}">
                <c16:uniqueId val="{00000007-E902-46E2-9A54-39A26B3DFDC1}"/>
              </c:ext>
            </c:extLst>
          </c:dPt>
          <c:dPt>
            <c:idx val="4"/>
            <c:invertIfNegative val="1"/>
            <c:bubble3D val="0"/>
            <c:spPr>
              <a:solidFill>
                <a:srgbClr val="7ECAC4"/>
              </a:solidFill>
            </c:spPr>
            <c:extLst>
              <c:ext xmlns:c16="http://schemas.microsoft.com/office/drawing/2014/chart" uri="{C3380CC4-5D6E-409C-BE32-E72D297353CC}">
                <c16:uniqueId val="{0000000B-FA3E-4872-B6E1-C4ABDF5766E2}"/>
              </c:ext>
            </c:extLst>
          </c:dPt>
          <c:dPt>
            <c:idx val="5"/>
            <c:invertIfNegative val="1"/>
            <c:bubble3D val="0"/>
            <c:spPr>
              <a:solidFill>
                <a:srgbClr val="7ECAC4"/>
              </a:solidFill>
            </c:spPr>
            <c:extLst>
              <c:ext xmlns:c16="http://schemas.microsoft.com/office/drawing/2014/chart" uri="{C3380CC4-5D6E-409C-BE32-E72D297353CC}">
                <c16:uniqueId val="{0000000D-FA3E-4872-B6E1-C4ABDF5766E2}"/>
              </c:ext>
            </c:extLst>
          </c:dPt>
          <c:dPt>
            <c:idx val="6"/>
            <c:invertIfNegative val="1"/>
            <c:bubble3D val="0"/>
            <c:spPr>
              <a:solidFill>
                <a:srgbClr val="7ECAC4"/>
              </a:solidFill>
            </c:spPr>
            <c:extLst>
              <c:ext xmlns:c16="http://schemas.microsoft.com/office/drawing/2014/chart" uri="{C3380CC4-5D6E-409C-BE32-E72D297353CC}">
                <c16:uniqueId val="{0000000F-FA3E-4872-B6E1-C4ABDF5766E2}"/>
              </c:ext>
            </c:extLst>
          </c:dPt>
          <c:dPt>
            <c:idx val="7"/>
            <c:invertIfNegative val="1"/>
            <c:bubble3D val="0"/>
            <c:spPr>
              <a:solidFill>
                <a:srgbClr val="AEABAB"/>
              </a:solidFill>
            </c:spPr>
            <c:extLst>
              <c:ext xmlns:c16="http://schemas.microsoft.com/office/drawing/2014/chart" uri="{C3380CC4-5D6E-409C-BE32-E72D297353CC}">
                <c16:uniqueId val="{00000011-FA3E-4872-B6E1-C4ABDF5766E2}"/>
              </c:ext>
            </c:extLst>
          </c:dPt>
          <c:dPt>
            <c:idx val="8"/>
            <c:invertIfNegative val="1"/>
            <c:bubble3D val="0"/>
            <c:spPr>
              <a:solidFill>
                <a:srgbClr val="AEABAB"/>
              </a:solidFill>
            </c:spPr>
            <c:extLst>
              <c:ext xmlns:c16="http://schemas.microsoft.com/office/drawing/2014/chart" uri="{C3380CC4-5D6E-409C-BE32-E72D297353CC}">
                <c16:uniqueId val="{00000013-FA3E-4872-B6E1-C4ABDF5766E2}"/>
              </c:ext>
            </c:extLst>
          </c:dPt>
          <c:dPt>
            <c:idx val="9"/>
            <c:invertIfNegative val="1"/>
            <c:bubble3D val="0"/>
            <c:spPr>
              <a:solidFill>
                <a:srgbClr val="AEABAB"/>
              </a:solidFill>
            </c:spPr>
            <c:extLst>
              <c:ext xmlns:c16="http://schemas.microsoft.com/office/drawing/2014/chart" uri="{C3380CC4-5D6E-409C-BE32-E72D297353CC}">
                <c16:uniqueId val="{00000015-FA3E-4872-B6E1-C4ABDF5766E2}"/>
              </c:ext>
            </c:extLst>
          </c:dPt>
          <c:dPt>
            <c:idx val="10"/>
            <c:invertIfNegative val="1"/>
            <c:bubble3D val="0"/>
            <c:spPr>
              <a:solidFill>
                <a:srgbClr val="AEABAB"/>
              </a:solidFill>
            </c:spPr>
            <c:extLst>
              <c:ext xmlns:c16="http://schemas.microsoft.com/office/drawing/2014/chart" uri="{C3380CC4-5D6E-409C-BE32-E72D297353CC}">
                <c16:uniqueId val="{00000017-FA3E-4872-B6E1-C4ABDF5766E2}"/>
              </c:ext>
            </c:extLst>
          </c:dPt>
          <c:dPt>
            <c:idx val="11"/>
            <c:invertIfNegative val="1"/>
            <c:bubble3D val="0"/>
            <c:spPr>
              <a:solidFill>
                <a:srgbClr val="AEABAB"/>
              </a:solidFill>
            </c:spPr>
            <c:extLst>
              <c:ext xmlns:c16="http://schemas.microsoft.com/office/drawing/2014/chart" uri="{C3380CC4-5D6E-409C-BE32-E72D297353CC}">
                <c16:uniqueId val="{00000019-FA3E-4872-B6E1-C4ABDF5766E2}"/>
              </c:ext>
            </c:extLst>
          </c:dPt>
          <c:dPt>
            <c:idx val="12"/>
            <c:invertIfNegative val="1"/>
            <c:bubble3D val="0"/>
            <c:spPr>
              <a:solidFill>
                <a:srgbClr val="AEABAB"/>
              </a:solidFill>
            </c:spPr>
            <c:extLst>
              <c:ext xmlns:c16="http://schemas.microsoft.com/office/drawing/2014/chart" uri="{C3380CC4-5D6E-409C-BE32-E72D297353CC}">
                <c16:uniqueId val="{0000001B-FA3E-4872-B6E1-C4ABDF5766E2}"/>
              </c:ext>
            </c:extLst>
          </c:dPt>
          <c:dPt>
            <c:idx val="13"/>
            <c:invertIfNegative val="1"/>
            <c:bubble3D val="0"/>
            <c:spPr>
              <a:solidFill>
                <a:srgbClr val="AEABAB"/>
              </a:solidFill>
            </c:spPr>
            <c:extLst>
              <c:ext xmlns:c16="http://schemas.microsoft.com/office/drawing/2014/chart" uri="{C3380CC4-5D6E-409C-BE32-E72D297353CC}">
                <c16:uniqueId val="{0000001D-FA3E-4872-B6E1-C4ABDF5766E2}"/>
              </c:ext>
            </c:extLst>
          </c:dPt>
          <c:dPt>
            <c:idx val="14"/>
            <c:invertIfNegative val="1"/>
            <c:bubble3D val="0"/>
            <c:spPr>
              <a:solidFill>
                <a:srgbClr val="AEABAB"/>
              </a:solidFill>
            </c:spPr>
            <c:extLst>
              <c:ext xmlns:c16="http://schemas.microsoft.com/office/drawing/2014/chart" uri="{C3380CC4-5D6E-409C-BE32-E72D297353CC}">
                <c16:uniqueId val="{0000001F-FA3E-4872-B6E1-C4ABDF5766E2}"/>
              </c:ext>
            </c:extLst>
          </c:dPt>
          <c:dPt>
            <c:idx val="15"/>
            <c:invertIfNegative val="1"/>
            <c:bubble3D val="0"/>
            <c:spPr>
              <a:solidFill>
                <a:srgbClr val="AEABAB"/>
              </a:solidFill>
            </c:spPr>
            <c:extLst>
              <c:ext xmlns:c16="http://schemas.microsoft.com/office/drawing/2014/chart" uri="{C3380CC4-5D6E-409C-BE32-E72D297353CC}">
                <c16:uniqueId val="{00000021-FA3E-4872-B6E1-C4ABDF5766E2}"/>
              </c:ext>
            </c:extLst>
          </c:dPt>
          <c:dPt>
            <c:idx val="16"/>
            <c:invertIfNegative val="1"/>
            <c:bubble3D val="0"/>
            <c:spPr>
              <a:solidFill>
                <a:srgbClr val="AEABAB"/>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18</c:f>
              <c:strCache>
                <c:ptCount val="17"/>
                <c:pt idx="0">
                  <c:v>Boursin Classique Fromage Frais A Tartiner Afh Boite 1X150Gr 1P</c:v>
                </c:pt>
                <c:pt idx="1">
                  <c:v>Boursin Classique Fromage Frais A Tartiner Afh 1X160Gr 10P</c:v>
                </c:pt>
                <c:pt idx="2">
                  <c:v>Boursin Classique Fromage Frais A Tartiner Afh Boite 1X250Gr 1P</c:v>
                </c:pt>
                <c:pt idx="3">
                  <c:v>Boursin Classique Fromage Frais A Tartiner Afh Boite 1X96Gr 6P</c:v>
                </c:pt>
                <c:pt idx="4">
                  <c:v>Boursin Classique Fromage Frais A Tartiner Ciboulette &amp; Echalote Boite 1X150Gr 1P</c:v>
                </c:pt>
                <c:pt idx="5">
                  <c:v>Boursin Onctueux Fromage Frais A Tartiner Afh 1X125Gr 1P</c:v>
                </c:pt>
                <c:pt idx="6">
                  <c:v>Boursin Classique Fromage Frais A Tartiner Figue Et 3 Noix Boite 1X150Gr 1P</c:v>
                </c:pt>
                <c:pt idx="7">
                  <c:v>Boursin Classique Fromage Frais A Tartiner Afh Boite 1X80Gr 1P</c:v>
                </c:pt>
                <c:pt idx="8">
                  <c:v>Boursin Classique Fromage Frais A Tartiner Afh 1X256Gr 16P</c:v>
                </c:pt>
                <c:pt idx="9">
                  <c:v>Boursin Classique Fromage Frais A Tartiner 3 Noix Boite 1X150Gr 1P</c:v>
                </c:pt>
                <c:pt idx="10">
                  <c:v>Boursin Classique Fromage Frais A Tartiner Poivre Boite 1X150Gr 1P</c:v>
                </c:pt>
                <c:pt idx="11">
                  <c:v>Boursin Onctueux Fromage Frais A Tartiner Afh 1X210Gr 1P</c:v>
                </c:pt>
                <c:pt idx="12">
                  <c:v>Boursin Classique Fromage Frais A Tartiner Truffe Boite 1X150Gr 1P</c:v>
                </c:pt>
                <c:pt idx="13">
                  <c:v>Boursin Classique Fromage Frais A Tartiner Afh Boite 1X320Gr 16+4P</c:v>
                </c:pt>
                <c:pt idx="14">
                  <c:v>Boursin Classique Fromage Frais A Tartiner 3 Noix 1X160Gr 10P</c:v>
                </c:pt>
                <c:pt idx="15">
                  <c:v>Boursin Classique Fromage Frais A Tartiner Citron &amp; Romarin Boite 1X150Gr 1P</c:v>
                </c:pt>
                <c:pt idx="16">
                  <c:v>Boursin Classique Fromage Frais A Tartiner Ciboulette &amp; Echalote 1X160Gr 10P</c:v>
                </c:pt>
              </c:strCache>
            </c:strRef>
          </c:cat>
          <c:val>
            <c:numRef>
              <c:f>Sheet1!$C$2:$C$18</c:f>
              <c:numCache>
                <c:formatCode>General</c:formatCode>
                <c:ptCount val="17"/>
                <c:pt idx="0">
                  <c:v>0.27838818177767405</c:v>
                </c:pt>
                <c:pt idx="1">
                  <c:v>0.5497731448596538</c:v>
                </c:pt>
                <c:pt idx="2">
                  <c:v>0.7226324042451135</c:v>
                </c:pt>
                <c:pt idx="3">
                  <c:v>0.8024274056998172</c:v>
                </c:pt>
                <c:pt idx="4">
                  <c:v>0.8588817850131446</c:v>
                </c:pt>
                <c:pt idx="5">
                  <c:v>0.9074784710409124</c:v>
                </c:pt>
                <c:pt idx="6">
                  <c:v>0.9437437585349167</c:v>
                </c:pt>
                <c:pt idx="7">
                  <c:v>0.9553410886949865</c:v>
                </c:pt>
                <c:pt idx="8">
                  <c:v>0.9656770203999254</c:v>
                </c:pt>
                <c:pt idx="9">
                  <c:v>0.9735163660715922</c:v>
                </c:pt>
                <c:pt idx="10">
                  <c:v>0.9806469532476585</c:v>
                </c:pt>
                <c:pt idx="11">
                  <c:v>0.9858449796996755</c:v>
                </c:pt>
                <c:pt idx="12">
                  <c:v>0.9898501655216879</c:v>
                </c:pt>
                <c:pt idx="13">
                  <c:v>0.9937962949614828</c:v>
                </c:pt>
                <c:pt idx="14">
                  <c:v>0.9975353584730589</c:v>
                </c:pt>
                <c:pt idx="15">
                  <c:v>0.9988691644758739</c:v>
                </c:pt>
                <c:pt idx="16">
                  <c:v>0.9999999999999998</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18</c:f>
              <c:strCache>
                <c:ptCount val="17"/>
                <c:pt idx="0">
                  <c:v>Boursin Classique Fromage Frais A Tartiner Afh Boite 1X150Gr 1P</c:v>
                </c:pt>
                <c:pt idx="1">
                  <c:v>Boursin Classique Fromage Frais A Tartiner Afh 1X160Gr 10P</c:v>
                </c:pt>
                <c:pt idx="2">
                  <c:v>Boursin Classique Fromage Frais A Tartiner Afh Boite 1X250Gr 1P</c:v>
                </c:pt>
                <c:pt idx="3">
                  <c:v>Boursin Classique Fromage Frais A Tartiner Afh Boite 1X96Gr 6P</c:v>
                </c:pt>
                <c:pt idx="4">
                  <c:v>Boursin Classique Fromage Frais A Tartiner Ciboulette &amp; Echalote Boite 1X150Gr 1P</c:v>
                </c:pt>
                <c:pt idx="5">
                  <c:v>Boursin Onctueux Fromage Frais A Tartiner Afh 1X125Gr 1P</c:v>
                </c:pt>
                <c:pt idx="6">
                  <c:v>Boursin Classique Fromage Frais A Tartiner Figue Et 3 Noix Boite 1X150Gr 1P</c:v>
                </c:pt>
                <c:pt idx="7">
                  <c:v>Boursin Classique Fromage Frais A Tartiner Afh Boite 1X80Gr 1P</c:v>
                </c:pt>
                <c:pt idx="8">
                  <c:v>Boursin Classique Fromage Frais A Tartiner Afh 1X256Gr 16P</c:v>
                </c:pt>
                <c:pt idx="9">
                  <c:v>Boursin Classique Fromage Frais A Tartiner 3 Noix Boite 1X150Gr 1P</c:v>
                </c:pt>
                <c:pt idx="10">
                  <c:v>Boursin Classique Fromage Frais A Tartiner Poivre Boite 1X150Gr 1P</c:v>
                </c:pt>
                <c:pt idx="11">
                  <c:v>Boursin Onctueux Fromage Frais A Tartiner Afh 1X210Gr 1P</c:v>
                </c:pt>
                <c:pt idx="12">
                  <c:v>Boursin Classique Fromage Frais A Tartiner Truffe Boite 1X150Gr 1P</c:v>
                </c:pt>
                <c:pt idx="13">
                  <c:v>Boursin Classique Fromage Frais A Tartiner Afh Boite 1X320Gr 16+4P</c:v>
                </c:pt>
                <c:pt idx="14">
                  <c:v>Boursin Classique Fromage Frais A Tartiner 3 Noix 1X160Gr 10P</c:v>
                </c:pt>
                <c:pt idx="15">
                  <c:v>Boursin Classique Fromage Frais A Tartiner Citron &amp; Romarin Boite 1X150Gr 1P</c:v>
                </c:pt>
                <c:pt idx="16">
                  <c:v>Boursin Classique Fromage Frais A Tartiner Ciboulette &amp; Echalote 1X160Gr 10P</c:v>
                </c:pt>
              </c:strCache>
            </c:strRef>
          </c:cat>
          <c:val>
            <c:numRef>
              <c:f>Sheet1!$D$2:$D$18</c:f>
              <c:numCache>
                <c:formatCode>General</c:formatCode>
                <c:ptCount val="17"/>
                <c:pt idx="0">
                  <c:v>35111.05371900827</c:v>
                </c:pt>
                <c:pt idx="1">
                  <c:v>36210.3825136612</c:v>
                </c:pt>
                <c:pt idx="2">
                  <c:v>25830.86903304774</c:v>
                </c:pt>
                <c:pt idx="3">
                  <c:v>11865.90742996346</c:v>
                </c:pt>
                <c:pt idx="4">
                  <c:v>8691.462799495586</c:v>
                </c:pt>
                <c:pt idx="5">
                  <c:v>7665.387596899224</c:v>
                </c:pt>
                <c:pt idx="6">
                  <c:v>6379.6974063400585</c:v>
                </c:pt>
                <c:pt idx="7">
                  <c:v>3167.51677852349</c:v>
                </c:pt>
                <c:pt idx="8">
                  <c:v>4761.811320754717</c:v>
                </c:pt>
                <c:pt idx="9">
                  <c:v>1782.2718808193667</c:v>
                </c:pt>
                <c:pt idx="10">
                  <c:v>2165.547263681592</c:v>
                </c:pt>
                <c:pt idx="11">
                  <c:v>2258.3985765124553</c:v>
                </c:pt>
                <c:pt idx="12">
                  <c:v>956.9080234833659</c:v>
                </c:pt>
                <c:pt idx="13">
                  <c:v>912.4431818181818</c:v>
                </c:pt>
                <c:pt idx="14">
                  <c:v>1204.4591029023748</c:v>
                </c:pt>
                <c:pt idx="15">
                  <c:v>502.5925925925926</c:v>
                </c:pt>
                <c:pt idx="16">
                  <c:v>1840.8</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c:f>
              <c:strCache>
                <c:ptCount val="3"/>
                <c:pt idx="0">
                  <c:v>Kiri Delicieusement Fouette Fromage Frais A Tartiner 1X125Gr 1P</c:v>
                </c:pt>
                <c:pt idx="1">
                  <c:v>Kiri Delicieusement Fouette Fromage Frais A Tartiner 1X160Gr 10P</c:v>
                </c:pt>
                <c:pt idx="2">
                  <c:v>Kiri Delicieusement Fouette Fromage Frais A Tartiner 1X210Gr 1P</c:v>
                </c:pt>
              </c:strCache>
            </c:strRef>
          </c:cat>
          <c:val>
            <c:numRef>
              <c:f>Sheet1!$B$2:$B$4</c:f>
              <c:numCache>
                <c:formatCode>General</c:formatCode>
                <c:ptCount val="3"/>
                <c:pt idx="0">
                  <c:v>0.837</c:v>
                </c:pt>
                <c:pt idx="1">
                  <c:v>0.895</c:v>
                </c:pt>
                <c:pt idx="2">
                  <c:v>0.372</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AEABAB"/>
              </a:solidFill>
            </c:spPr>
            <c:extLst>
              <c:ext xmlns:c16="http://schemas.microsoft.com/office/drawing/2014/chart" uri="{C3380CC4-5D6E-409C-BE32-E72D297353CC}">
                <c16:uniqueId val="{00000008-D8F4-40C6-A5E0-DB4B53CFB1F3}"/>
              </c:ext>
            </c:extLst>
          </c:dPt>
          <c:dPt>
            <c:idx val="2"/>
            <c:invertIfNegative val="0"/>
            <c:bubble3D val="0"/>
            <c:spPr>
              <a:solidFill>
                <a:srgbClr val="AEABAB"/>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c:f>
              <c:strCache>
                <c:ptCount val="3"/>
                <c:pt idx="0">
                  <c:v>Kiri Delicieusement Fouette Fromage Frais A Tartiner 1X125Gr 1P</c:v>
                </c:pt>
                <c:pt idx="1">
                  <c:v>Kiri Delicieusement Fouette Fromage Frais A Tartiner 1X160Gr 10P</c:v>
                </c:pt>
                <c:pt idx="2">
                  <c:v>Kiri Delicieusement Fouette Fromage Frais A Tartiner 1X210Gr 1P</c:v>
                </c:pt>
              </c:strCache>
            </c:strRef>
          </c:cat>
          <c:val>
            <c:numRef>
              <c:f>Sheet1!$C$2:$C$4</c:f>
              <c:numCache>
                <c:formatCode>General</c:formatCode>
                <c:ptCount val="3"/>
                <c:pt idx="0">
                  <c:v>0.6401610417888992</c:v>
                </c:pt>
                <c:pt idx="1">
                  <c:v>0.9776935696641516</c:v>
                </c:pt>
                <c:pt idx="2">
                  <c:v>0.9999999999999999</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4</c:f>
              <c:strCache>
                <c:ptCount val="3"/>
                <c:pt idx="0">
                  <c:v>Kiri Delicieusement Fouette Fromage Frais A Tartiner 1X125Gr 1P</c:v>
                </c:pt>
                <c:pt idx="1">
                  <c:v>Kiri Delicieusement Fouette Fromage Frais A Tartiner 1X160Gr 10P</c:v>
                </c:pt>
                <c:pt idx="2">
                  <c:v>Kiri Delicieusement Fouette Fromage Frais A Tartiner 1X210Gr 1P</c:v>
                </c:pt>
              </c:strCache>
            </c:strRef>
          </c:cat>
          <c:val>
            <c:numRef>
              <c:f>Sheet1!$D$2:$D$4</c:f>
              <c:numCache>
                <c:formatCode>General</c:formatCode>
                <c:ptCount val="3"/>
                <c:pt idx="0">
                  <c:v>6139.832735961768</c:v>
                </c:pt>
                <c:pt idx="1">
                  <c:v>3027.5083798882683</c:v>
                </c:pt>
                <c:pt idx="2">
                  <c:v>481.37096774193543</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13</c:f>
              <c:strCache>
                <c:ptCount val="12"/>
                <c:pt idx="0">
                  <c:v>Boursin Classique Fromage Frais A Tartiner Afh Boite 1X250Gr 1P</c:v>
                </c:pt>
                <c:pt idx="1">
                  <c:v>Boursin Classique Fromage Frais A Tartiner Afh 1X160Gr 10P</c:v>
                </c:pt>
                <c:pt idx="2">
                  <c:v>Boursin Classique Fromage Frais A Tartiner Afh Boite 1X150Gr 1P</c:v>
                </c:pt>
                <c:pt idx="3">
                  <c:v>Boursin Onctueux Fromage Frais A Tartiner Afh 1X125Gr 1P</c:v>
                </c:pt>
                <c:pt idx="4">
                  <c:v>Boursin Classique Fromage Frais A Tartiner Afh Boite 1X96Gr 6P</c:v>
                </c:pt>
                <c:pt idx="5">
                  <c:v>Boursin Classique Fromage Frais A Tartiner Figue Et 3 Noix Boite 1X150Gr 1P</c:v>
                </c:pt>
                <c:pt idx="6">
                  <c:v>Boursin Classique Fromage Frais A Tartiner Ciboulette &amp; Echalote Boite 1X150Gr 1P</c:v>
                </c:pt>
                <c:pt idx="7">
                  <c:v>Boursin Classique Fromage Frais A Tartiner Afh 1X256Gr 16P</c:v>
                </c:pt>
                <c:pt idx="8">
                  <c:v>Boursin Classique Fromage Frais A Tartiner Poivre Boite 1X150Gr 1P</c:v>
                </c:pt>
                <c:pt idx="9">
                  <c:v>Boursin Classique Fromage Frais A Tartiner Ciboulette &amp; Echalote 1X160Gr 10P</c:v>
                </c:pt>
                <c:pt idx="10">
                  <c:v>Boursin Classique Fromage Frais A Tartiner Afh Boite 1X80Gr 1P</c:v>
                </c:pt>
                <c:pt idx="11">
                  <c:v>Boursin Classique Fromage Frais A Tartiner Truffe Boite 1X150Gr 1P</c:v>
                </c:pt>
              </c:strCache>
            </c:strRef>
          </c:cat>
          <c:val>
            <c:numRef>
              <c:f>Sheet1!$B$2:$B$13</c:f>
              <c:numCache>
                <c:formatCode>General</c:formatCode>
                <c:ptCount val="12"/>
                <c:pt idx="0">
                  <c:v>0.98</c:v>
                </c:pt>
                <c:pt idx="1">
                  <c:v>0.981</c:v>
                </c:pt>
                <c:pt idx="2">
                  <c:v>0.998</c:v>
                </c:pt>
                <c:pt idx="3">
                  <c:v>0.954</c:v>
                </c:pt>
                <c:pt idx="4">
                  <c:v>0.939</c:v>
                </c:pt>
                <c:pt idx="5">
                  <c:v>0.98</c:v>
                </c:pt>
                <c:pt idx="6">
                  <c:v>0.973</c:v>
                </c:pt>
                <c:pt idx="7">
                  <c:v>0.86</c:v>
                </c:pt>
                <c:pt idx="8">
                  <c:v>0.94</c:v>
                </c:pt>
                <c:pt idx="9">
                  <c:v>0.808</c:v>
                </c:pt>
                <c:pt idx="10">
                  <c:v>0.325</c:v>
                </c:pt>
                <c:pt idx="11">
                  <c:v>0.687</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7ECAC4"/>
              </a:solidFill>
            </c:spPr>
            <c:extLst>
              <c:ext xmlns:c16="http://schemas.microsoft.com/office/drawing/2014/chart" uri="{C3380CC4-5D6E-409C-BE32-E72D297353CC}">
                <c16:uniqueId val="{0000000F-FA3E-4872-B6E1-C4ABDF5766E2}"/>
              </c:ext>
            </c:extLst>
          </c:dPt>
          <c:dPt>
            <c:idx val="7"/>
            <c:invertIfNegative val="1"/>
            <c:bubble3D val="0"/>
            <c:spPr>
              <a:solidFill>
                <a:srgbClr val="7ECAC4"/>
              </a:solidFill>
            </c:spPr>
            <c:extLst>
              <c:ext xmlns:c16="http://schemas.microsoft.com/office/drawing/2014/chart" uri="{C3380CC4-5D6E-409C-BE32-E72D297353CC}">
                <c16:uniqueId val="{00000011-FA3E-4872-B6E1-C4ABDF5766E2}"/>
              </c:ext>
            </c:extLst>
          </c:dPt>
          <c:dPt>
            <c:idx val="8"/>
            <c:invertIfNegative val="1"/>
            <c:bubble3D val="0"/>
            <c:spPr>
              <a:solidFill>
                <a:srgbClr val="AEABAB"/>
              </a:solidFill>
            </c:spPr>
            <c:extLst>
              <c:ext xmlns:c16="http://schemas.microsoft.com/office/drawing/2014/chart" uri="{C3380CC4-5D6E-409C-BE32-E72D297353CC}">
                <c16:uniqueId val="{00000013-FA3E-4872-B6E1-C4ABDF5766E2}"/>
              </c:ext>
            </c:extLst>
          </c:dPt>
          <c:dPt>
            <c:idx val="9"/>
            <c:invertIfNegative val="1"/>
            <c:bubble3D val="0"/>
            <c:spPr>
              <a:solidFill>
                <a:srgbClr val="AEABAB"/>
              </a:solidFill>
            </c:spPr>
            <c:extLst>
              <c:ext xmlns:c16="http://schemas.microsoft.com/office/drawing/2014/chart" uri="{C3380CC4-5D6E-409C-BE32-E72D297353CC}">
                <c16:uniqueId val="{00000015-FA3E-4872-B6E1-C4ABDF5766E2}"/>
              </c:ext>
            </c:extLst>
          </c:dPt>
          <c:dPt>
            <c:idx val="10"/>
            <c:invertIfNegative val="1"/>
            <c:bubble3D val="0"/>
            <c:spPr>
              <a:solidFill>
                <a:srgbClr val="AEABAB"/>
              </a:solidFill>
            </c:spPr>
            <c:extLst>
              <c:ext xmlns:c16="http://schemas.microsoft.com/office/drawing/2014/chart" uri="{C3380CC4-5D6E-409C-BE32-E72D297353CC}">
                <c16:uniqueId val="{00000017-FA3E-4872-B6E1-C4ABDF5766E2}"/>
              </c:ext>
            </c:extLst>
          </c:dPt>
          <c:dPt>
            <c:idx val="11"/>
            <c:invertIfNegative val="1"/>
            <c:bubble3D val="0"/>
            <c:spPr>
              <a:solidFill>
                <a:srgbClr val="AEABAB"/>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13</c:f>
              <c:strCache>
                <c:ptCount val="12"/>
                <c:pt idx="0">
                  <c:v>Boursin Classique Fromage Frais A Tartiner Afh Boite 1X250Gr 1P</c:v>
                </c:pt>
                <c:pt idx="1">
                  <c:v>Boursin Classique Fromage Frais A Tartiner Afh 1X160Gr 10P</c:v>
                </c:pt>
                <c:pt idx="2">
                  <c:v>Boursin Classique Fromage Frais A Tartiner Afh Boite 1X150Gr 1P</c:v>
                </c:pt>
                <c:pt idx="3">
                  <c:v>Boursin Onctueux Fromage Frais A Tartiner Afh 1X125Gr 1P</c:v>
                </c:pt>
                <c:pt idx="4">
                  <c:v>Boursin Classique Fromage Frais A Tartiner Afh Boite 1X96Gr 6P</c:v>
                </c:pt>
                <c:pt idx="5">
                  <c:v>Boursin Classique Fromage Frais A Tartiner Figue Et 3 Noix Boite 1X150Gr 1P</c:v>
                </c:pt>
                <c:pt idx="6">
                  <c:v>Boursin Classique Fromage Frais A Tartiner Ciboulette &amp; Echalote Boite 1X150Gr 1P</c:v>
                </c:pt>
                <c:pt idx="7">
                  <c:v>Boursin Classique Fromage Frais A Tartiner Afh 1X256Gr 16P</c:v>
                </c:pt>
                <c:pt idx="8">
                  <c:v>Boursin Classique Fromage Frais A Tartiner Poivre Boite 1X150Gr 1P</c:v>
                </c:pt>
                <c:pt idx="9">
                  <c:v>Boursin Classique Fromage Frais A Tartiner Ciboulette &amp; Echalote 1X160Gr 10P</c:v>
                </c:pt>
                <c:pt idx="10">
                  <c:v>Boursin Classique Fromage Frais A Tartiner Afh Boite 1X80Gr 1P</c:v>
                </c:pt>
                <c:pt idx="11">
                  <c:v>Boursin Classique Fromage Frais A Tartiner Truffe Boite 1X150Gr 1P</c:v>
                </c:pt>
              </c:strCache>
            </c:strRef>
          </c:cat>
          <c:val>
            <c:numRef>
              <c:f>Sheet1!$C$2:$C$13</c:f>
              <c:numCache>
                <c:formatCode>General</c:formatCode>
                <c:ptCount val="12"/>
                <c:pt idx="0">
                  <c:v>0.19476297167151027</c:v>
                </c:pt>
                <c:pt idx="1">
                  <c:v>0.3875478635624683</c:v>
                </c:pt>
                <c:pt idx="2">
                  <c:v>0.5625209708725111</c:v>
                </c:pt>
                <c:pt idx="3">
                  <c:v>0.6474573236497756</c:v>
                </c:pt>
                <c:pt idx="4">
                  <c:v>0.7241330444980854</c:v>
                </c:pt>
                <c:pt idx="5">
                  <c:v>0.7962589248463896</c:v>
                </c:pt>
                <c:pt idx="6">
                  <c:v>0.8562411886640351</c:v>
                </c:pt>
                <c:pt idx="7">
                  <c:v>0.90846176669053</c:v>
                </c:pt>
                <c:pt idx="8">
                  <c:v>0.9569741947256346</c:v>
                </c:pt>
                <c:pt idx="9">
                  <c:v>0.9904844710599818</c:v>
                </c:pt>
                <c:pt idx="10">
                  <c:v>0.9968206372518085</c:v>
                </c:pt>
                <c:pt idx="11">
                  <c:v>1.0</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13</c:f>
              <c:strCache>
                <c:ptCount val="12"/>
                <c:pt idx="0">
                  <c:v>Boursin Classique Fromage Frais A Tartiner Afh Boite 1X250Gr 1P</c:v>
                </c:pt>
                <c:pt idx="1">
                  <c:v>Boursin Classique Fromage Frais A Tartiner Afh 1X160Gr 10P</c:v>
                </c:pt>
                <c:pt idx="2">
                  <c:v>Boursin Classique Fromage Frais A Tartiner Afh Boite 1X150Gr 1P</c:v>
                </c:pt>
                <c:pt idx="3">
                  <c:v>Boursin Onctueux Fromage Frais A Tartiner Afh 1X125Gr 1P</c:v>
                </c:pt>
                <c:pt idx="4">
                  <c:v>Boursin Classique Fromage Frais A Tartiner Afh Boite 1X96Gr 6P</c:v>
                </c:pt>
                <c:pt idx="5">
                  <c:v>Boursin Classique Fromage Frais A Tartiner Figue Et 3 Noix Boite 1X150Gr 1P</c:v>
                </c:pt>
                <c:pt idx="6">
                  <c:v>Boursin Classique Fromage Frais A Tartiner Ciboulette &amp; Echalote Boite 1X150Gr 1P</c:v>
                </c:pt>
                <c:pt idx="7">
                  <c:v>Boursin Classique Fromage Frais A Tartiner Afh 1X256Gr 16P</c:v>
                </c:pt>
                <c:pt idx="8">
                  <c:v>Boursin Classique Fromage Frais A Tartiner Poivre Boite 1X150Gr 1P</c:v>
                </c:pt>
                <c:pt idx="9">
                  <c:v>Boursin Classique Fromage Frais A Tartiner Ciboulette &amp; Echalote 1X160Gr 10P</c:v>
                </c:pt>
                <c:pt idx="10">
                  <c:v>Boursin Classique Fromage Frais A Tartiner Afh Boite 1X80Gr 1P</c:v>
                </c:pt>
                <c:pt idx="11">
                  <c:v>Boursin Classique Fromage Frais A Tartiner Truffe Boite 1X150Gr 1P</c:v>
                </c:pt>
              </c:strCache>
            </c:strRef>
          </c:cat>
          <c:val>
            <c:numRef>
              <c:f>Sheet1!$D$2:$D$13</c:f>
              <c:numCache>
                <c:formatCode>General</c:formatCode>
                <c:ptCount val="12"/>
                <c:pt idx="0">
                  <c:v>27838.23469387755</c:v>
                </c:pt>
                <c:pt idx="1">
                  <c:v>27527.410805300715</c:v>
                </c:pt>
                <c:pt idx="2">
                  <c:v>24558.517034068136</c:v>
                </c:pt>
                <c:pt idx="3">
                  <c:v>12471.153039832287</c:v>
                </c:pt>
                <c:pt idx="4">
                  <c:v>11438.093716719915</c:v>
                </c:pt>
                <c:pt idx="5">
                  <c:v>10309.234693877552</c:v>
                </c:pt>
                <c:pt idx="6">
                  <c:v>8635.179856115108</c:v>
                </c:pt>
                <c:pt idx="7">
                  <c:v>8505.593023255815</c:v>
                </c:pt>
                <c:pt idx="8">
                  <c:v>7229.13829787234</c:v>
                </c:pt>
                <c:pt idx="9">
                  <c:v>5809.356435643564</c:v>
                </c:pt>
                <c:pt idx="10">
                  <c:v>2730.892307692308</c:v>
                </c:pt>
                <c:pt idx="11">
                  <c:v>648.2532751091703</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c:f>
              <c:strCache>
                <c:ptCount val="3"/>
                <c:pt idx="0">
                  <c:v>Kiri Delicieusement Fouette Fromage Frais A Tartiner 1X210Gr 1P</c:v>
                </c:pt>
                <c:pt idx="1">
                  <c:v>Kiri Delicieusement Fouette Fromage Frais A Tartiner 1X125Gr 1P</c:v>
                </c:pt>
                <c:pt idx="2">
                  <c:v>Kiri Delicieusement Fouette Fromage Frais A Tartiner 1X160Gr 10P</c:v>
                </c:pt>
              </c:strCache>
            </c:strRef>
          </c:cat>
          <c:val>
            <c:numRef>
              <c:f>Sheet1!$B$2:$B$4</c:f>
              <c:numCache>
                <c:formatCode>General</c:formatCode>
                <c:ptCount val="3"/>
                <c:pt idx="0">
                  <c:v>0.96</c:v>
                </c:pt>
                <c:pt idx="1">
                  <c:v>0.98</c:v>
                </c:pt>
                <c:pt idx="2">
                  <c:v>0.8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7ECAC4"/>
              </a:solidFill>
            </c:spPr>
            <c:extLst>
              <c:ext xmlns:c16="http://schemas.microsoft.com/office/drawing/2014/chart" uri="{C3380CC4-5D6E-409C-BE32-E72D297353CC}">
                <c16:uniqueId val="{00000008-D8F4-40C6-A5E0-DB4B53CFB1F3}"/>
              </c:ext>
            </c:extLst>
          </c:dPt>
          <c:dPt>
            <c:idx val="2"/>
            <c:invertIfNegative val="0"/>
            <c:bubble3D val="0"/>
            <c:spPr>
              <a:solidFill>
                <a:srgbClr val="AEABAB"/>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c:f>
              <c:strCache>
                <c:ptCount val="3"/>
                <c:pt idx="0">
                  <c:v>Kiri Delicieusement Fouette Fromage Frais A Tartiner 1X210Gr 1P</c:v>
                </c:pt>
                <c:pt idx="1">
                  <c:v>Kiri Delicieusement Fouette Fromage Frais A Tartiner 1X125Gr 1P</c:v>
                </c:pt>
                <c:pt idx="2">
                  <c:v>Kiri Delicieusement Fouette Fromage Frais A Tartiner 1X160Gr 10P</c:v>
                </c:pt>
              </c:strCache>
            </c:strRef>
          </c:cat>
          <c:val>
            <c:numRef>
              <c:f>Sheet1!$C$2:$C$4</c:f>
              <c:numCache>
                <c:formatCode>General</c:formatCode>
                <c:ptCount val="3"/>
                <c:pt idx="0">
                  <c:v>0.48985974518863984</c:v>
                </c:pt>
                <c:pt idx="1">
                  <c:v>0.8143493863201368</c:v>
                </c:pt>
                <c:pt idx="2">
                  <c:v>1.0</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4</c:f>
              <c:strCache>
                <c:ptCount val="3"/>
                <c:pt idx="0">
                  <c:v>Kiri Delicieusement Fouette Fromage Frais A Tartiner 1X210Gr 1P</c:v>
                </c:pt>
                <c:pt idx="1">
                  <c:v>Kiri Delicieusement Fouette Fromage Frais A Tartiner 1X125Gr 1P</c:v>
                </c:pt>
                <c:pt idx="2">
                  <c:v>Kiri Delicieusement Fouette Fromage Frais A Tartiner 1X160Gr 10P</c:v>
                </c:pt>
              </c:strCache>
            </c:strRef>
          </c:cat>
          <c:val>
            <c:numRef>
              <c:f>Sheet1!$D$2:$D$4</c:f>
              <c:numCache>
                <c:formatCode>General</c:formatCode>
                <c:ptCount val="3"/>
                <c:pt idx="0">
                  <c:v>3431.15625</c:v>
                </c:pt>
                <c:pt idx="1">
                  <c:v>2226.4591836734694</c:v>
                </c:pt>
                <c:pt idx="2">
                  <c:v>1402.6404494382023</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Private Label</c:v>
                </c:pt>
                <c:pt idx="1">
                  <c:v>President</c:v>
                </c:pt>
                <c:pt idx="2">
                  <c:v>La Belle Etoile</c:v>
                </c:pt>
                <c:pt idx="3">
                  <c:v>Raguin</c:v>
                </c:pt>
                <c:pt idx="4">
                  <c:v>Boursin</c:v>
                </c:pt>
                <c:pt idx="5">
                  <c:v>La Vache Qui Rit</c:v>
                </c:pt>
                <c:pt idx="6">
                  <c:v>Others</c:v>
                </c:pt>
              </c:strCache>
            </c:strRef>
          </c:cat>
          <c:val>
            <c:numRef>
              <c:f>Sheet1!$B$2:$B$8</c:f>
              <c:numCache>
                <c:formatCode>General</c:formatCode>
                <c:ptCount val="7"/>
                <c:pt idx="0">
                  <c:v>0.45966407519664165</c:v>
                </c:pt>
                <c:pt idx="1">
                  <c:v>0.36451872914908834</c:v>
                </c:pt>
                <c:pt idx="2">
                  <c:v>0.07182462692753358</c:v>
                </c:pt>
                <c:pt idx="3">
                  <c:v>0.031392809296316715</c:v>
                </c:pt>
                <c:pt idx="4">
                  <c:v>0.02022863555306563</c:v>
                </c:pt>
                <c:pt idx="5">
                  <c:v>3.0104726496276957e-05</c:v>
                </c:pt>
                <c:pt idx="6">
                  <c:v>0.05234101915085781</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Private Label</c:v>
                </c:pt>
                <c:pt idx="1">
                  <c:v>President</c:v>
                </c:pt>
                <c:pt idx="2">
                  <c:v>La Belle Etoile</c:v>
                </c:pt>
                <c:pt idx="3">
                  <c:v>Raguin</c:v>
                </c:pt>
                <c:pt idx="4">
                  <c:v>Boursin</c:v>
                </c:pt>
                <c:pt idx="5">
                  <c:v>La Vache Qui Rit</c:v>
                </c:pt>
                <c:pt idx="6">
                  <c:v>Others</c:v>
                </c:pt>
              </c:strCache>
            </c:strRef>
          </c:cat>
          <c:val>
            <c:numRef>
              <c:f>Sheet1!$C$2:$C$8</c:f>
              <c:numCache>
                <c:formatCode>General</c:formatCode>
                <c:ptCount val="7"/>
                <c:pt idx="0">
                  <c:v>0.3562933597621409</c:v>
                </c:pt>
                <c:pt idx="1">
                  <c:v>0.2945986124876116</c:v>
                </c:pt>
                <c:pt idx="2">
                  <c:v>0.06894202180376614</c:v>
                </c:pt>
                <c:pt idx="3">
                  <c:v>0.026883052527254724</c:v>
                </c:pt>
                <c:pt idx="4">
                  <c:v>0.05407581764122896</c:v>
                </c:pt>
                <c:pt idx="5">
                  <c:v>0.00018582755203171462</c:v>
                </c:pt>
                <c:pt idx="6">
                  <c:v>0.19902130822596636</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Private Label</c:v>
                </c:pt>
                <c:pt idx="1">
                  <c:v>President</c:v>
                </c:pt>
                <c:pt idx="2">
                  <c:v>La Belle Etoile</c:v>
                </c:pt>
                <c:pt idx="3">
                  <c:v>Raguin</c:v>
                </c:pt>
                <c:pt idx="4">
                  <c:v>Boursin</c:v>
                </c:pt>
                <c:pt idx="5">
                  <c:v>La Vache Qui Rit</c:v>
                </c:pt>
                <c:pt idx="6">
                  <c:v>Others</c:v>
                </c:pt>
              </c:strCache>
            </c:strRef>
          </c:cat>
          <c:val>
            <c:numRef>
              <c:f>Sheet1!$D$2:$D$8</c:f>
              <c:numCache>
                <c:formatCode>General</c:formatCode>
                <c:ptCount val="7"/>
                <c:pt idx="0">
                  <c:v>77.5116827674037</c:v>
                </c:pt>
                <c:pt idx="1">
                  <c:v>80.81851189794986</c:v>
                </c:pt>
                <c:pt idx="2">
                  <c:v>95.98660620029979</c:v>
                </c:pt>
                <c:pt idx="3">
                  <c:v>85.6344275324505</c:v>
                </c:pt>
                <c:pt idx="4">
                  <c:v>267.3231098527247</c:v>
                </c:pt>
                <c:pt idx="5">
                  <c:v>617.2703547221925</c:v>
                </c:pt>
                <c:pt idx="6">
                  <c:v>380.23965038270495</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18</c:f>
              <c:strCache>
                <c:ptCount val="17"/>
                <c:pt idx="0">
                  <c:v>Boursin Classique Fromage Frais A Tartiner Afh 1X160Gr 10P</c:v>
                </c:pt>
                <c:pt idx="1">
                  <c:v>Boursin Classique Fromage Frais A Tartiner Afh Boite 1X250Gr 1P</c:v>
                </c:pt>
                <c:pt idx="2">
                  <c:v>Boursin Classique Fromage Frais A Tartiner Afh Boite 1X150Gr 1P</c:v>
                </c:pt>
                <c:pt idx="3">
                  <c:v>Boursin Classique Fromage Frais A Tartiner Afh Boite 1X96Gr 6P</c:v>
                </c:pt>
                <c:pt idx="4">
                  <c:v>Boursin Classique Fromage Frais A Tartiner Figue Et 3 Noix Boite 1X150Gr 1P</c:v>
                </c:pt>
                <c:pt idx="5">
                  <c:v>Boursin Classique Fromage Frais A Tartiner Ciboulette &amp; Echalote Boite 1X150Gr 1P</c:v>
                </c:pt>
                <c:pt idx="6">
                  <c:v>Boursin Onctueux Fromage Frais A Tartiner Afh 1X125Gr 1P</c:v>
                </c:pt>
                <c:pt idx="7">
                  <c:v>Boursin Classique Fromage Frais A Tartiner Afh 1X256Gr 16P</c:v>
                </c:pt>
                <c:pt idx="8">
                  <c:v>Boursin Classique Fromage Frais A Tartiner Afh Boite 1X80Gr 1P</c:v>
                </c:pt>
                <c:pt idx="9">
                  <c:v>Boursin Classique Fromage Frais A Tartiner Poivre Boite 1X150Gr 1P</c:v>
                </c:pt>
                <c:pt idx="10">
                  <c:v>Boursin Onctueux Fromage Frais A Tartiner Afh 1X210Gr 1P</c:v>
                </c:pt>
                <c:pt idx="11">
                  <c:v>Boursin Classique Fromage Frais A Tartiner 3 Noix Boite 1X150Gr 1P</c:v>
                </c:pt>
                <c:pt idx="12">
                  <c:v>Boursin Classique Fromage Frais A Tartiner Truffe Boite 1X150Gr 1P</c:v>
                </c:pt>
                <c:pt idx="13">
                  <c:v>Boursin Classique Fromage Frais A Tartiner Afh Boite 1X320Gr 16+4P</c:v>
                </c:pt>
                <c:pt idx="14">
                  <c:v>Boursin Classique Fromage Frais A Tartiner 3 Noix 1X160Gr 10P</c:v>
                </c:pt>
                <c:pt idx="15">
                  <c:v>Boursin Classique Fromage Frais A Tartiner Citron &amp; Romarin Boite 1X150Gr 1P</c:v>
                </c:pt>
                <c:pt idx="16">
                  <c:v>Boursin Classique Fromage Frais A Tartiner Ciboulette &amp; Echalote 1X160Gr 10P</c:v>
                </c:pt>
              </c:strCache>
            </c:strRef>
          </c:cat>
          <c:val>
            <c:numRef>
              <c:f>Sheet1!$B$2:$B$18</c:f>
              <c:numCache>
                <c:formatCode>General</c:formatCode>
                <c:ptCount val="17"/>
                <c:pt idx="0">
                  <c:v>1.0</c:v>
                </c:pt>
                <c:pt idx="1">
                  <c:v>1.0</c:v>
                </c:pt>
                <c:pt idx="2">
                  <c:v>1.0</c:v>
                </c:pt>
                <c:pt idx="3">
                  <c:v>1.0</c:v>
                </c:pt>
                <c:pt idx="4">
                  <c:v>0.98</c:v>
                </c:pt>
                <c:pt idx="5">
                  <c:v>0.97</c:v>
                </c:pt>
                <c:pt idx="6">
                  <c:v>0.99</c:v>
                </c:pt>
                <c:pt idx="7">
                  <c:v>0.58</c:v>
                </c:pt>
                <c:pt idx="8">
                  <c:v>0.94</c:v>
                </c:pt>
                <c:pt idx="9">
                  <c:v>0.88</c:v>
                </c:pt>
                <c:pt idx="10">
                  <c:v>0.59</c:v>
                </c:pt>
                <c:pt idx="11">
                  <c:v>0.67</c:v>
                </c:pt>
                <c:pt idx="12">
                  <c:v>0.66</c:v>
                </c:pt>
                <c:pt idx="13">
                  <c:v>0.85</c:v>
                </c:pt>
                <c:pt idx="14">
                  <c:v>0.49</c:v>
                </c:pt>
                <c:pt idx="15">
                  <c:v>0.71</c:v>
                </c:pt>
                <c:pt idx="16">
                  <c:v>0.14</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7ECAC4"/>
              </a:solidFill>
            </c:spPr>
            <c:extLst>
              <c:ext xmlns:c16="http://schemas.microsoft.com/office/drawing/2014/chart" uri="{C3380CC4-5D6E-409C-BE32-E72D297353CC}">
                <c16:uniqueId val="{0000000D-FA3E-4872-B6E1-C4ABDF5766E2}"/>
              </c:ext>
            </c:extLst>
          </c:dPt>
          <c:dPt>
            <c:idx val="6"/>
            <c:invertIfNegative val="1"/>
            <c:bubble3D val="0"/>
            <c:spPr>
              <a:solidFill>
                <a:srgbClr val="7ECAC4"/>
              </a:solidFill>
            </c:spPr>
            <c:extLst>
              <c:ext xmlns:c16="http://schemas.microsoft.com/office/drawing/2014/chart" uri="{C3380CC4-5D6E-409C-BE32-E72D297353CC}">
                <c16:uniqueId val="{0000000F-FA3E-4872-B6E1-C4ABDF5766E2}"/>
              </c:ext>
            </c:extLst>
          </c:dPt>
          <c:dPt>
            <c:idx val="7"/>
            <c:invertIfNegative val="1"/>
            <c:bubble3D val="0"/>
            <c:spPr>
              <a:solidFill>
                <a:srgbClr val="7ECAC4"/>
              </a:solidFill>
            </c:spPr>
            <c:extLst>
              <c:ext xmlns:c16="http://schemas.microsoft.com/office/drawing/2014/chart" uri="{C3380CC4-5D6E-409C-BE32-E72D297353CC}">
                <c16:uniqueId val="{00000011-FA3E-4872-B6E1-C4ABDF5766E2}"/>
              </c:ext>
            </c:extLst>
          </c:dPt>
          <c:dPt>
            <c:idx val="8"/>
            <c:invertIfNegative val="1"/>
            <c:bubble3D val="0"/>
            <c:spPr>
              <a:solidFill>
                <a:srgbClr val="7ECAC4"/>
              </a:solidFill>
            </c:spPr>
            <c:extLst>
              <c:ext xmlns:c16="http://schemas.microsoft.com/office/drawing/2014/chart" uri="{C3380CC4-5D6E-409C-BE32-E72D297353CC}">
                <c16:uniqueId val="{00000013-FA3E-4872-B6E1-C4ABDF5766E2}"/>
              </c:ext>
            </c:extLst>
          </c:dPt>
          <c:dPt>
            <c:idx val="9"/>
            <c:invertIfNegative val="1"/>
            <c:bubble3D val="0"/>
            <c:spPr>
              <a:solidFill>
                <a:srgbClr val="AEABAB"/>
              </a:solidFill>
            </c:spPr>
            <c:extLst>
              <c:ext xmlns:c16="http://schemas.microsoft.com/office/drawing/2014/chart" uri="{C3380CC4-5D6E-409C-BE32-E72D297353CC}">
                <c16:uniqueId val="{00000015-FA3E-4872-B6E1-C4ABDF5766E2}"/>
              </c:ext>
            </c:extLst>
          </c:dPt>
          <c:dPt>
            <c:idx val="10"/>
            <c:invertIfNegative val="1"/>
            <c:bubble3D val="0"/>
            <c:spPr>
              <a:solidFill>
                <a:srgbClr val="AEABAB"/>
              </a:solidFill>
            </c:spPr>
            <c:extLst>
              <c:ext xmlns:c16="http://schemas.microsoft.com/office/drawing/2014/chart" uri="{C3380CC4-5D6E-409C-BE32-E72D297353CC}">
                <c16:uniqueId val="{00000017-FA3E-4872-B6E1-C4ABDF5766E2}"/>
              </c:ext>
            </c:extLst>
          </c:dPt>
          <c:dPt>
            <c:idx val="11"/>
            <c:invertIfNegative val="1"/>
            <c:bubble3D val="0"/>
            <c:spPr>
              <a:solidFill>
                <a:srgbClr val="AEABAB"/>
              </a:solidFill>
            </c:spPr>
            <c:extLst>
              <c:ext xmlns:c16="http://schemas.microsoft.com/office/drawing/2014/chart" uri="{C3380CC4-5D6E-409C-BE32-E72D297353CC}">
                <c16:uniqueId val="{00000019-FA3E-4872-B6E1-C4ABDF5766E2}"/>
              </c:ext>
            </c:extLst>
          </c:dPt>
          <c:dPt>
            <c:idx val="12"/>
            <c:invertIfNegative val="1"/>
            <c:bubble3D val="0"/>
            <c:spPr>
              <a:solidFill>
                <a:srgbClr val="AEABAB"/>
              </a:solidFill>
            </c:spPr>
            <c:extLst>
              <c:ext xmlns:c16="http://schemas.microsoft.com/office/drawing/2014/chart" uri="{C3380CC4-5D6E-409C-BE32-E72D297353CC}">
                <c16:uniqueId val="{0000001B-FA3E-4872-B6E1-C4ABDF5766E2}"/>
              </c:ext>
            </c:extLst>
          </c:dPt>
          <c:dPt>
            <c:idx val="13"/>
            <c:invertIfNegative val="1"/>
            <c:bubble3D val="0"/>
            <c:spPr>
              <a:solidFill>
                <a:srgbClr val="AEABAB"/>
              </a:solidFill>
            </c:spPr>
            <c:extLst>
              <c:ext xmlns:c16="http://schemas.microsoft.com/office/drawing/2014/chart" uri="{C3380CC4-5D6E-409C-BE32-E72D297353CC}">
                <c16:uniqueId val="{0000001D-FA3E-4872-B6E1-C4ABDF5766E2}"/>
              </c:ext>
            </c:extLst>
          </c:dPt>
          <c:dPt>
            <c:idx val="14"/>
            <c:invertIfNegative val="1"/>
            <c:bubble3D val="0"/>
            <c:spPr>
              <a:solidFill>
                <a:srgbClr val="AEABAB"/>
              </a:solidFill>
            </c:spPr>
            <c:extLst>
              <c:ext xmlns:c16="http://schemas.microsoft.com/office/drawing/2014/chart" uri="{C3380CC4-5D6E-409C-BE32-E72D297353CC}">
                <c16:uniqueId val="{0000001F-FA3E-4872-B6E1-C4ABDF5766E2}"/>
              </c:ext>
            </c:extLst>
          </c:dPt>
          <c:dPt>
            <c:idx val="15"/>
            <c:invertIfNegative val="1"/>
            <c:bubble3D val="0"/>
            <c:spPr>
              <a:solidFill>
                <a:srgbClr val="AEABAB"/>
              </a:solidFill>
            </c:spPr>
            <c:extLst>
              <c:ext xmlns:c16="http://schemas.microsoft.com/office/drawing/2014/chart" uri="{C3380CC4-5D6E-409C-BE32-E72D297353CC}">
                <c16:uniqueId val="{00000021-FA3E-4872-B6E1-C4ABDF5766E2}"/>
              </c:ext>
            </c:extLst>
          </c:dPt>
          <c:dPt>
            <c:idx val="16"/>
            <c:invertIfNegative val="1"/>
            <c:bubble3D val="0"/>
            <c:spPr>
              <a:solidFill>
                <a:srgbClr val="AEABAB"/>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18</c:f>
              <c:strCache>
                <c:ptCount val="17"/>
                <c:pt idx="0">
                  <c:v>Boursin Classique Fromage Frais A Tartiner Afh 1X160Gr 10P</c:v>
                </c:pt>
                <c:pt idx="1">
                  <c:v>Boursin Classique Fromage Frais A Tartiner Afh Boite 1X250Gr 1P</c:v>
                </c:pt>
                <c:pt idx="2">
                  <c:v>Boursin Classique Fromage Frais A Tartiner Afh Boite 1X150Gr 1P</c:v>
                </c:pt>
                <c:pt idx="3">
                  <c:v>Boursin Classique Fromage Frais A Tartiner Afh Boite 1X96Gr 6P</c:v>
                </c:pt>
                <c:pt idx="4">
                  <c:v>Boursin Classique Fromage Frais A Tartiner Figue Et 3 Noix Boite 1X150Gr 1P</c:v>
                </c:pt>
                <c:pt idx="5">
                  <c:v>Boursin Classique Fromage Frais A Tartiner Ciboulette &amp; Echalote Boite 1X150Gr 1P</c:v>
                </c:pt>
                <c:pt idx="6">
                  <c:v>Boursin Onctueux Fromage Frais A Tartiner Afh 1X125Gr 1P</c:v>
                </c:pt>
                <c:pt idx="7">
                  <c:v>Boursin Classique Fromage Frais A Tartiner Afh 1X256Gr 16P</c:v>
                </c:pt>
                <c:pt idx="8">
                  <c:v>Boursin Classique Fromage Frais A Tartiner Afh Boite 1X80Gr 1P</c:v>
                </c:pt>
                <c:pt idx="9">
                  <c:v>Boursin Classique Fromage Frais A Tartiner Poivre Boite 1X150Gr 1P</c:v>
                </c:pt>
                <c:pt idx="10">
                  <c:v>Boursin Onctueux Fromage Frais A Tartiner Afh 1X210Gr 1P</c:v>
                </c:pt>
                <c:pt idx="11">
                  <c:v>Boursin Classique Fromage Frais A Tartiner 3 Noix Boite 1X150Gr 1P</c:v>
                </c:pt>
                <c:pt idx="12">
                  <c:v>Boursin Classique Fromage Frais A Tartiner Truffe Boite 1X150Gr 1P</c:v>
                </c:pt>
                <c:pt idx="13">
                  <c:v>Boursin Classique Fromage Frais A Tartiner Afh Boite 1X320Gr 16+4P</c:v>
                </c:pt>
                <c:pt idx="14">
                  <c:v>Boursin Classique Fromage Frais A Tartiner 3 Noix 1X160Gr 10P</c:v>
                </c:pt>
                <c:pt idx="15">
                  <c:v>Boursin Classique Fromage Frais A Tartiner Citron &amp; Romarin Boite 1X150Gr 1P</c:v>
                </c:pt>
                <c:pt idx="16">
                  <c:v>Boursin Classique Fromage Frais A Tartiner Ciboulette &amp; Echalote 1X160Gr 10P</c:v>
                </c:pt>
              </c:strCache>
            </c:strRef>
          </c:cat>
          <c:val>
            <c:numRef>
              <c:f>Sheet1!$C$2:$C$18</c:f>
              <c:numCache>
                <c:formatCode>General</c:formatCode>
                <c:ptCount val="17"/>
                <c:pt idx="0">
                  <c:v>0.25926601580535136</c:v>
                </c:pt>
                <c:pt idx="1">
                  <c:v>0.4684399006537382</c:v>
                </c:pt>
                <c:pt idx="2">
                  <c:v>0.6451056666943455</c:v>
                </c:pt>
                <c:pt idx="3">
                  <c:v>0.7228167343468677</c:v>
                </c:pt>
                <c:pt idx="4">
                  <c:v>0.7900010157026909</c:v>
                </c:pt>
                <c:pt idx="5">
                  <c:v>0.8489673719592287</c:v>
                </c:pt>
                <c:pt idx="6">
                  <c:v>0.8967817124093249</c:v>
                </c:pt>
                <c:pt idx="7">
                  <c:v>0.9197082480327802</c:v>
                </c:pt>
                <c:pt idx="8">
                  <c:v>0.9415878285748238</c:v>
                </c:pt>
                <c:pt idx="9">
                  <c:v>0.9574057172614403</c:v>
                </c:pt>
                <c:pt idx="10">
                  <c:v>0.9683971103167593</c:v>
                </c:pt>
                <c:pt idx="11">
                  <c:v>0.979008932187582</c:v>
                </c:pt>
                <c:pt idx="12">
                  <c:v>0.9847662766356221</c:v>
                </c:pt>
                <c:pt idx="13">
                  <c:v>0.9899174700681139</c:v>
                </c:pt>
                <c:pt idx="14">
                  <c:v>0.9945909743459665</c:v>
                </c:pt>
                <c:pt idx="15">
                  <c:v>0.9975468690464878</c:v>
                </c:pt>
                <c:pt idx="16">
                  <c:v>1.0</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18</c:f>
              <c:strCache>
                <c:ptCount val="17"/>
                <c:pt idx="0">
                  <c:v>Boursin Classique Fromage Frais A Tartiner Afh 1X160Gr 10P</c:v>
                </c:pt>
                <c:pt idx="1">
                  <c:v>Boursin Classique Fromage Frais A Tartiner Afh Boite 1X250Gr 1P</c:v>
                </c:pt>
                <c:pt idx="2">
                  <c:v>Boursin Classique Fromage Frais A Tartiner Afh Boite 1X150Gr 1P</c:v>
                </c:pt>
                <c:pt idx="3">
                  <c:v>Boursin Classique Fromage Frais A Tartiner Afh Boite 1X96Gr 6P</c:v>
                </c:pt>
                <c:pt idx="4">
                  <c:v>Boursin Classique Fromage Frais A Tartiner Figue Et 3 Noix Boite 1X150Gr 1P</c:v>
                </c:pt>
                <c:pt idx="5">
                  <c:v>Boursin Classique Fromage Frais A Tartiner Ciboulette &amp; Echalote Boite 1X150Gr 1P</c:v>
                </c:pt>
                <c:pt idx="6">
                  <c:v>Boursin Onctueux Fromage Frais A Tartiner Afh 1X125Gr 1P</c:v>
                </c:pt>
                <c:pt idx="7">
                  <c:v>Boursin Classique Fromage Frais A Tartiner Afh 1X256Gr 16P</c:v>
                </c:pt>
                <c:pt idx="8">
                  <c:v>Boursin Classique Fromage Frais A Tartiner Afh Boite 1X80Gr 1P</c:v>
                </c:pt>
                <c:pt idx="9">
                  <c:v>Boursin Classique Fromage Frais A Tartiner Poivre Boite 1X150Gr 1P</c:v>
                </c:pt>
                <c:pt idx="10">
                  <c:v>Boursin Onctueux Fromage Frais A Tartiner Afh 1X210Gr 1P</c:v>
                </c:pt>
                <c:pt idx="11">
                  <c:v>Boursin Classique Fromage Frais A Tartiner 3 Noix Boite 1X150Gr 1P</c:v>
                </c:pt>
                <c:pt idx="12">
                  <c:v>Boursin Classique Fromage Frais A Tartiner Truffe Boite 1X150Gr 1P</c:v>
                </c:pt>
                <c:pt idx="13">
                  <c:v>Boursin Classique Fromage Frais A Tartiner Afh Boite 1X320Gr 16+4P</c:v>
                </c:pt>
                <c:pt idx="14">
                  <c:v>Boursin Classique Fromage Frais A Tartiner 3 Noix 1X160Gr 10P</c:v>
                </c:pt>
                <c:pt idx="15">
                  <c:v>Boursin Classique Fromage Frais A Tartiner Citron &amp; Romarin Boite 1X150Gr 1P</c:v>
                </c:pt>
                <c:pt idx="16">
                  <c:v>Boursin Classique Fromage Frais A Tartiner Ciboulette &amp; Echalote 1X160Gr 10P</c:v>
                </c:pt>
              </c:strCache>
            </c:strRef>
          </c:cat>
          <c:val>
            <c:numRef>
              <c:f>Sheet1!$D$2:$D$18</c:f>
              <c:numCache>
                <c:formatCode>General</c:formatCode>
                <c:ptCount val="17"/>
                <c:pt idx="0">
                  <c:v>14268.91</c:v>
                </c:pt>
                <c:pt idx="1">
                  <c:v>11512.05</c:v>
                </c:pt>
                <c:pt idx="2">
                  <c:v>9722.94</c:v>
                </c:pt>
                <c:pt idx="3">
                  <c:v>4276.89</c:v>
                </c:pt>
                <c:pt idx="4">
                  <c:v>3773.0</c:v>
                </c:pt>
                <c:pt idx="5">
                  <c:v>3345.6288659793813</c:v>
                </c:pt>
                <c:pt idx="6">
                  <c:v>2658.080808080808</c:v>
                </c:pt>
                <c:pt idx="7">
                  <c:v>2175.4827586206898</c:v>
                </c:pt>
                <c:pt idx="8">
                  <c:v>1281.0212765957447</c:v>
                </c:pt>
                <c:pt idx="9">
                  <c:v>989.2613636363636</c:v>
                </c:pt>
                <c:pt idx="10">
                  <c:v>1025.2881355932204</c:v>
                </c:pt>
                <c:pt idx="11">
                  <c:v>871.6865671641791</c:v>
                </c:pt>
                <c:pt idx="12">
                  <c:v>480.09090909090907</c:v>
                </c:pt>
                <c:pt idx="13">
                  <c:v>333.52941176470586</c:v>
                </c:pt>
                <c:pt idx="14">
                  <c:v>524.9183673469388</c:v>
                </c:pt>
                <c:pt idx="15">
                  <c:v>229.1267605633803</c:v>
                </c:pt>
                <c:pt idx="16">
                  <c:v>964.3571428571428</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c:f>
              <c:strCache>
                <c:ptCount val="3"/>
                <c:pt idx="0">
                  <c:v>Kiri Delicieusement Fouette Fromage Frais A Tartiner 1X160Gr 10P</c:v>
                </c:pt>
                <c:pt idx="1">
                  <c:v>Kiri Delicieusement Fouette Fromage Frais A Tartiner 1X210Gr 1P</c:v>
                </c:pt>
                <c:pt idx="2">
                  <c:v>Kiri Delicieusement Fouette Fromage Frais A Tartiner 1X125Gr 1P</c:v>
                </c:pt>
              </c:strCache>
            </c:strRef>
          </c:cat>
          <c:val>
            <c:numRef>
              <c:f>Sheet1!$B$2:$B$4</c:f>
              <c:numCache>
                <c:formatCode>General</c:formatCode>
                <c:ptCount val="3"/>
                <c:pt idx="0">
                  <c:v>0.63</c:v>
                </c:pt>
                <c:pt idx="1">
                  <c:v>0.54</c:v>
                </c:pt>
                <c:pt idx="2">
                  <c:v>0.62</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AEABAB"/>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c:f>
              <c:strCache>
                <c:ptCount val="3"/>
                <c:pt idx="0">
                  <c:v>Kiri Delicieusement Fouette Fromage Frais A Tartiner 1X160Gr 10P</c:v>
                </c:pt>
                <c:pt idx="1">
                  <c:v>Kiri Delicieusement Fouette Fromage Frais A Tartiner 1X210Gr 1P</c:v>
                </c:pt>
                <c:pt idx="2">
                  <c:v>Kiri Delicieusement Fouette Fromage Frais A Tartiner 1X125Gr 1P</c:v>
                </c:pt>
              </c:strCache>
            </c:strRef>
          </c:cat>
          <c:val>
            <c:numRef>
              <c:f>Sheet1!$C$2:$C$4</c:f>
              <c:numCache>
                <c:formatCode>General</c:formatCode>
                <c:ptCount val="3"/>
                <c:pt idx="0">
                  <c:v>0.3356107398330605</c:v>
                </c:pt>
                <c:pt idx="1">
                  <c:v>0.6697903761111965</c:v>
                </c:pt>
                <c:pt idx="2">
                  <c:v>1.0</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4</c:f>
              <c:strCache>
                <c:ptCount val="3"/>
                <c:pt idx="0">
                  <c:v>Kiri Delicieusement Fouette Fromage Frais A Tartiner 1X160Gr 10P</c:v>
                </c:pt>
                <c:pt idx="1">
                  <c:v>Kiri Delicieusement Fouette Fromage Frais A Tartiner 1X210Gr 1P</c:v>
                </c:pt>
                <c:pt idx="2">
                  <c:v>Kiri Delicieusement Fouette Fromage Frais A Tartiner 1X125Gr 1P</c:v>
                </c:pt>
              </c:strCache>
            </c:strRef>
          </c:cat>
          <c:val>
            <c:numRef>
              <c:f>Sheet1!$D$2:$D$4</c:f>
              <c:numCache>
                <c:formatCode>General</c:formatCode>
                <c:ptCount val="3"/>
                <c:pt idx="0">
                  <c:v>2356.285714285714</c:v>
                </c:pt>
                <c:pt idx="1">
                  <c:v>2737.277777777778</c:v>
                </c:pt>
                <c:pt idx="2">
                  <c:v>2355.7580645161293</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14</c:f>
              <c:strCache>
                <c:ptCount val="13"/>
                <c:pt idx="0">
                  <c:v>Boursin Classique Fromage Frais A Tartiner Afh 1X160Gr 10P</c:v>
                </c:pt>
                <c:pt idx="1">
                  <c:v>Boursin Classique Fromage Frais A Tartiner Afh Boite 1X150Gr 1P</c:v>
                </c:pt>
                <c:pt idx="2">
                  <c:v>Boursin Classique Fromage Frais A Tartiner Afh Boite 1X250Gr 1P</c:v>
                </c:pt>
                <c:pt idx="3">
                  <c:v>Boursin Classique Fromage Frais A Tartiner Afh Boite 1X96Gr 6P</c:v>
                </c:pt>
                <c:pt idx="4">
                  <c:v>Boursin Onctueux Fromage Frais A Tartiner Afh 1X125Gr 1P</c:v>
                </c:pt>
                <c:pt idx="5">
                  <c:v>Boursin Classique Fromage Frais A Tartiner Ciboulette &amp; Echalote Boite 1X150Gr 1P</c:v>
                </c:pt>
                <c:pt idx="6">
                  <c:v>Boursin Classique Fromage Frais A Tartiner Figue Et 3 Noix Boite 1X150Gr 1P</c:v>
                </c:pt>
                <c:pt idx="7">
                  <c:v>Boursin Classique Fromage Frais A Tartiner 3 Noix Boite 1X150Gr 1P</c:v>
                </c:pt>
                <c:pt idx="8">
                  <c:v>Boursin Classique Fromage Frais A Tartiner 3 Noix 1X160Gr 10P</c:v>
                </c:pt>
                <c:pt idx="9">
                  <c:v>Boursin Classique Fromage Frais A Tartiner Afh Boite 1X320Gr 16+4P</c:v>
                </c:pt>
                <c:pt idx="10">
                  <c:v>Boursin Classique Fromage Frais A Tartiner Truffe Boite 1X150Gr 1P</c:v>
                </c:pt>
                <c:pt idx="11">
                  <c:v>Boursin Onctueux Fromage Frais A Tartiner Afh 1X210Gr 1P</c:v>
                </c:pt>
                <c:pt idx="12">
                  <c:v>Boursin Classique Fromage Frais A Tartiner Ciboulette &amp; Echalote 1X160Gr 10P</c:v>
                </c:pt>
              </c:strCache>
            </c:strRef>
          </c:cat>
          <c:val>
            <c:numRef>
              <c:f>Sheet1!$B$2:$B$14</c:f>
              <c:numCache>
                <c:formatCode>General</c:formatCode>
                <c:ptCount val="13"/>
                <c:pt idx="0">
                  <c:v>0.98</c:v>
                </c:pt>
                <c:pt idx="1">
                  <c:v>0.99</c:v>
                </c:pt>
                <c:pt idx="2">
                  <c:v>0.95</c:v>
                </c:pt>
                <c:pt idx="3">
                  <c:v>0.91</c:v>
                </c:pt>
                <c:pt idx="4">
                  <c:v>0.85</c:v>
                </c:pt>
                <c:pt idx="5">
                  <c:v>0.89</c:v>
                </c:pt>
                <c:pt idx="6">
                  <c:v>0.65</c:v>
                </c:pt>
                <c:pt idx="7">
                  <c:v>0.61</c:v>
                </c:pt>
                <c:pt idx="8">
                  <c:v>0.41</c:v>
                </c:pt>
                <c:pt idx="9">
                  <c:v>0.37</c:v>
                </c:pt>
                <c:pt idx="10">
                  <c:v>0.51</c:v>
                </c:pt>
                <c:pt idx="11">
                  <c:v>0.03</c:v>
                </c:pt>
                <c:pt idx="12">
                  <c:v>0.03</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7ECAC4"/>
              </a:solidFill>
            </c:spPr>
            <c:extLst>
              <c:ext xmlns:c16="http://schemas.microsoft.com/office/drawing/2014/chart" uri="{C3380CC4-5D6E-409C-BE32-E72D297353CC}">
                <c16:uniqueId val="{00000007-E902-46E2-9A54-39A26B3DFDC1}"/>
              </c:ext>
            </c:extLst>
          </c:dPt>
          <c:dPt>
            <c:idx val="4"/>
            <c:invertIfNegative val="1"/>
            <c:bubble3D val="0"/>
            <c:spPr>
              <a:solidFill>
                <a:srgbClr val="7ECAC4"/>
              </a:solidFill>
            </c:spPr>
            <c:extLst>
              <c:ext xmlns:c16="http://schemas.microsoft.com/office/drawing/2014/chart" uri="{C3380CC4-5D6E-409C-BE32-E72D297353CC}">
                <c16:uniqueId val="{0000000B-FA3E-4872-B6E1-C4ABDF5766E2}"/>
              </c:ext>
            </c:extLst>
          </c:dPt>
          <c:dPt>
            <c:idx val="5"/>
            <c:invertIfNegative val="1"/>
            <c:bubble3D val="0"/>
            <c:spPr>
              <a:solidFill>
                <a:srgbClr val="AEABAB"/>
              </a:solidFill>
            </c:spPr>
            <c:extLst>
              <c:ext xmlns:c16="http://schemas.microsoft.com/office/drawing/2014/chart" uri="{C3380CC4-5D6E-409C-BE32-E72D297353CC}">
                <c16:uniqueId val="{0000000D-FA3E-4872-B6E1-C4ABDF5766E2}"/>
              </c:ext>
            </c:extLst>
          </c:dPt>
          <c:dPt>
            <c:idx val="6"/>
            <c:invertIfNegative val="1"/>
            <c:bubble3D val="0"/>
            <c:spPr>
              <a:solidFill>
                <a:srgbClr val="AEABAB"/>
              </a:solidFill>
            </c:spPr>
            <c:extLst>
              <c:ext xmlns:c16="http://schemas.microsoft.com/office/drawing/2014/chart" uri="{C3380CC4-5D6E-409C-BE32-E72D297353CC}">
                <c16:uniqueId val="{0000000F-FA3E-4872-B6E1-C4ABDF5766E2}"/>
              </c:ext>
            </c:extLst>
          </c:dPt>
          <c:dPt>
            <c:idx val="7"/>
            <c:invertIfNegative val="1"/>
            <c:bubble3D val="0"/>
            <c:spPr>
              <a:solidFill>
                <a:srgbClr val="AEABAB"/>
              </a:solidFill>
            </c:spPr>
            <c:extLst>
              <c:ext xmlns:c16="http://schemas.microsoft.com/office/drawing/2014/chart" uri="{C3380CC4-5D6E-409C-BE32-E72D297353CC}">
                <c16:uniqueId val="{00000011-FA3E-4872-B6E1-C4ABDF5766E2}"/>
              </c:ext>
            </c:extLst>
          </c:dPt>
          <c:dPt>
            <c:idx val="8"/>
            <c:invertIfNegative val="1"/>
            <c:bubble3D val="0"/>
            <c:spPr>
              <a:solidFill>
                <a:srgbClr val="AEABAB"/>
              </a:solidFill>
            </c:spPr>
            <c:extLst>
              <c:ext xmlns:c16="http://schemas.microsoft.com/office/drawing/2014/chart" uri="{C3380CC4-5D6E-409C-BE32-E72D297353CC}">
                <c16:uniqueId val="{00000013-FA3E-4872-B6E1-C4ABDF5766E2}"/>
              </c:ext>
            </c:extLst>
          </c:dPt>
          <c:dPt>
            <c:idx val="9"/>
            <c:invertIfNegative val="1"/>
            <c:bubble3D val="0"/>
            <c:spPr>
              <a:solidFill>
                <a:srgbClr val="AEABAB"/>
              </a:solidFill>
            </c:spPr>
            <c:extLst>
              <c:ext xmlns:c16="http://schemas.microsoft.com/office/drawing/2014/chart" uri="{C3380CC4-5D6E-409C-BE32-E72D297353CC}">
                <c16:uniqueId val="{00000015-FA3E-4872-B6E1-C4ABDF5766E2}"/>
              </c:ext>
            </c:extLst>
          </c:dPt>
          <c:dPt>
            <c:idx val="10"/>
            <c:invertIfNegative val="1"/>
            <c:bubble3D val="0"/>
            <c:spPr>
              <a:solidFill>
                <a:srgbClr val="AEABAB"/>
              </a:solidFill>
            </c:spPr>
            <c:extLst>
              <c:ext xmlns:c16="http://schemas.microsoft.com/office/drawing/2014/chart" uri="{C3380CC4-5D6E-409C-BE32-E72D297353CC}">
                <c16:uniqueId val="{00000017-FA3E-4872-B6E1-C4ABDF5766E2}"/>
              </c:ext>
            </c:extLst>
          </c:dPt>
          <c:dPt>
            <c:idx val="11"/>
            <c:invertIfNegative val="1"/>
            <c:bubble3D val="0"/>
            <c:spPr>
              <a:solidFill>
                <a:srgbClr val="AEABAB"/>
              </a:solidFill>
            </c:spPr>
            <c:extLst>
              <c:ext xmlns:c16="http://schemas.microsoft.com/office/drawing/2014/chart" uri="{C3380CC4-5D6E-409C-BE32-E72D297353CC}">
                <c16:uniqueId val="{00000019-FA3E-4872-B6E1-C4ABDF5766E2}"/>
              </c:ext>
            </c:extLst>
          </c:dPt>
          <c:dPt>
            <c:idx val="12"/>
            <c:invertIfNegative val="1"/>
            <c:bubble3D val="0"/>
            <c:spPr>
              <a:solidFill>
                <a:srgbClr val="AEABAB"/>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14</c:f>
              <c:strCache>
                <c:ptCount val="13"/>
                <c:pt idx="0">
                  <c:v>Boursin Classique Fromage Frais A Tartiner Afh 1X160Gr 10P</c:v>
                </c:pt>
                <c:pt idx="1">
                  <c:v>Boursin Classique Fromage Frais A Tartiner Afh Boite 1X150Gr 1P</c:v>
                </c:pt>
                <c:pt idx="2">
                  <c:v>Boursin Classique Fromage Frais A Tartiner Afh Boite 1X250Gr 1P</c:v>
                </c:pt>
                <c:pt idx="3">
                  <c:v>Boursin Classique Fromage Frais A Tartiner Afh Boite 1X96Gr 6P</c:v>
                </c:pt>
                <c:pt idx="4">
                  <c:v>Boursin Onctueux Fromage Frais A Tartiner Afh 1X125Gr 1P</c:v>
                </c:pt>
                <c:pt idx="5">
                  <c:v>Boursin Classique Fromage Frais A Tartiner Ciboulette &amp; Echalote Boite 1X150Gr 1P</c:v>
                </c:pt>
                <c:pt idx="6">
                  <c:v>Boursin Classique Fromage Frais A Tartiner Figue Et 3 Noix Boite 1X150Gr 1P</c:v>
                </c:pt>
                <c:pt idx="7">
                  <c:v>Boursin Classique Fromage Frais A Tartiner 3 Noix Boite 1X150Gr 1P</c:v>
                </c:pt>
                <c:pt idx="8">
                  <c:v>Boursin Classique Fromage Frais A Tartiner 3 Noix 1X160Gr 10P</c:v>
                </c:pt>
                <c:pt idx="9">
                  <c:v>Boursin Classique Fromage Frais A Tartiner Afh Boite 1X320Gr 16+4P</c:v>
                </c:pt>
                <c:pt idx="10">
                  <c:v>Boursin Classique Fromage Frais A Tartiner Truffe Boite 1X150Gr 1P</c:v>
                </c:pt>
                <c:pt idx="11">
                  <c:v>Boursin Onctueux Fromage Frais A Tartiner Afh 1X210Gr 1P</c:v>
                </c:pt>
                <c:pt idx="12">
                  <c:v>Boursin Classique Fromage Frais A Tartiner Ciboulette &amp; Echalote 1X160Gr 10P</c:v>
                </c:pt>
              </c:strCache>
            </c:strRef>
          </c:cat>
          <c:val>
            <c:numRef>
              <c:f>Sheet1!$C$2:$C$14</c:f>
              <c:numCache>
                <c:formatCode>General</c:formatCode>
                <c:ptCount val="13"/>
                <c:pt idx="0">
                  <c:v>0.26009380928803966</c:v>
                </c:pt>
                <c:pt idx="1">
                  <c:v>0.5018643555376399</c:v>
                </c:pt>
                <c:pt idx="2">
                  <c:v>0.7117496023730552</c:v>
                </c:pt>
                <c:pt idx="3">
                  <c:v>0.8219205271897962</c:v>
                </c:pt>
                <c:pt idx="4">
                  <c:v>0.8942353951513612</c:v>
                </c:pt>
                <c:pt idx="5">
                  <c:v>0.9636222828825435</c:v>
                </c:pt>
                <c:pt idx="6">
                  <c:v>0.9796009709546114</c:v>
                </c:pt>
                <c:pt idx="7">
                  <c:v>0.9877736834495179</c:v>
                </c:pt>
                <c:pt idx="8">
                  <c:v>0.9921394739494105</c:v>
                </c:pt>
                <c:pt idx="9">
                  <c:v>0.9964831375504428</c:v>
                </c:pt>
                <c:pt idx="10">
                  <c:v>0.9992531623939115</c:v>
                </c:pt>
                <c:pt idx="11">
                  <c:v>0.9999036055891233</c:v>
                </c:pt>
                <c:pt idx="12">
                  <c:v>0.9999704244421174</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14</c:f>
              <c:strCache>
                <c:ptCount val="13"/>
                <c:pt idx="0">
                  <c:v>Boursin Classique Fromage Frais A Tartiner Afh 1X160Gr 10P</c:v>
                </c:pt>
                <c:pt idx="1">
                  <c:v>Boursin Classique Fromage Frais A Tartiner Afh Boite 1X150Gr 1P</c:v>
                </c:pt>
                <c:pt idx="2">
                  <c:v>Boursin Classique Fromage Frais A Tartiner Afh Boite 1X250Gr 1P</c:v>
                </c:pt>
                <c:pt idx="3">
                  <c:v>Boursin Classique Fromage Frais A Tartiner Afh Boite 1X96Gr 6P</c:v>
                </c:pt>
                <c:pt idx="4">
                  <c:v>Boursin Onctueux Fromage Frais A Tartiner Afh 1X125Gr 1P</c:v>
                </c:pt>
                <c:pt idx="5">
                  <c:v>Boursin Classique Fromage Frais A Tartiner Ciboulette &amp; Echalote Boite 1X150Gr 1P</c:v>
                </c:pt>
                <c:pt idx="6">
                  <c:v>Boursin Classique Fromage Frais A Tartiner Figue Et 3 Noix Boite 1X150Gr 1P</c:v>
                </c:pt>
                <c:pt idx="7">
                  <c:v>Boursin Classique Fromage Frais A Tartiner 3 Noix Boite 1X150Gr 1P</c:v>
                </c:pt>
                <c:pt idx="8">
                  <c:v>Boursin Classique Fromage Frais A Tartiner 3 Noix 1X160Gr 10P</c:v>
                </c:pt>
                <c:pt idx="9">
                  <c:v>Boursin Classique Fromage Frais A Tartiner Afh Boite 1X320Gr 16+4P</c:v>
                </c:pt>
                <c:pt idx="10">
                  <c:v>Boursin Classique Fromage Frais A Tartiner Truffe Boite 1X150Gr 1P</c:v>
                </c:pt>
                <c:pt idx="11">
                  <c:v>Boursin Onctueux Fromage Frais A Tartiner Afh 1X210Gr 1P</c:v>
                </c:pt>
                <c:pt idx="12">
                  <c:v>Boursin Classique Fromage Frais A Tartiner Ciboulette &amp; Echalote 1X160Gr 10P</c:v>
                </c:pt>
              </c:strCache>
            </c:strRef>
          </c:cat>
          <c:val>
            <c:numRef>
              <c:f>Sheet1!$D$2:$D$14</c:f>
              <c:numCache>
                <c:formatCode>General</c:formatCode>
                <c:ptCount val="13"/>
                <c:pt idx="0">
                  <c:v>12114.479591836734</c:v>
                </c:pt>
                <c:pt idx="1">
                  <c:v>11147.282828282829</c:v>
                </c:pt>
                <c:pt idx="2">
                  <c:v>10084.61052631579</c:v>
                </c:pt>
                <c:pt idx="3">
                  <c:v>5526.197802197802</c:v>
                </c:pt>
                <c:pt idx="4">
                  <c:v>3883.3764705882354</c:v>
                </c:pt>
                <c:pt idx="5">
                  <c:v>3558.674157303371</c:v>
                </c:pt>
                <c:pt idx="6">
                  <c:v>1122.0923076923077</c:v>
                </c:pt>
                <c:pt idx="7">
                  <c:v>611.5573770491803</c:v>
                </c:pt>
                <c:pt idx="8">
                  <c:v>486.0487804878049</c:v>
                </c:pt>
                <c:pt idx="9">
                  <c:v>535.8648648648649</c:v>
                </c:pt>
                <c:pt idx="10">
                  <c:v>247.92156862745097</c:v>
                </c:pt>
                <c:pt idx="11">
                  <c:v>989.6666666666666</c:v>
                </c:pt>
                <c:pt idx="12">
                  <c:v>101.66666666666667</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3</c:f>
              <c:strCache>
                <c:ptCount val="2"/>
                <c:pt idx="0">
                  <c:v>Kiri Delicieusement Fouette Fromage Frais A Tartiner 1X125Gr 1P</c:v>
                </c:pt>
                <c:pt idx="1">
                  <c:v>Kiri Delicieusement Fouette Fromage Frais A Tartiner 1X160Gr 10P</c:v>
                </c:pt>
              </c:strCache>
            </c:strRef>
          </c:cat>
          <c:val>
            <c:numRef>
              <c:f>Sheet1!$B$2:$B$3</c:f>
              <c:numCache>
                <c:formatCode>General</c:formatCode>
                <c:ptCount val="2"/>
                <c:pt idx="0">
                  <c:v>0.56</c:v>
                </c:pt>
                <c:pt idx="1">
                  <c:v>0.27</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AEABAB"/>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3</c:f>
              <c:strCache>
                <c:ptCount val="2"/>
                <c:pt idx="0">
                  <c:v>Kiri Delicieusement Fouette Fromage Frais A Tartiner 1X125Gr 1P</c:v>
                </c:pt>
                <c:pt idx="1">
                  <c:v>Kiri Delicieusement Fouette Fromage Frais A Tartiner 1X160Gr 10P</c:v>
                </c:pt>
              </c:strCache>
            </c:strRef>
          </c:cat>
          <c:val>
            <c:numRef>
              <c:f>Sheet1!$C$2:$C$3</c:f>
              <c:numCache>
                <c:formatCode>General</c:formatCode>
                <c:ptCount val="2"/>
                <c:pt idx="0">
                  <c:v>0.7576408445441755</c:v>
                </c:pt>
                <c:pt idx="1">
                  <c:v>1.0</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3</c:f>
              <c:strCache>
                <c:ptCount val="2"/>
                <c:pt idx="0">
                  <c:v>Kiri Delicieusement Fouette Fromage Frais A Tartiner 1X125Gr 1P</c:v>
                </c:pt>
                <c:pt idx="1">
                  <c:v>Kiri Delicieusement Fouette Fromage Frais A Tartiner 1X160Gr 10P</c:v>
                </c:pt>
              </c:strCache>
            </c:strRef>
          </c:cat>
          <c:val>
            <c:numRef>
              <c:f>Sheet1!$D$2:$D$3</c:f>
              <c:numCache>
                <c:formatCode>General</c:formatCode>
                <c:ptCount val="2"/>
                <c:pt idx="0">
                  <c:v>6336.732142857142</c:v>
                </c:pt>
                <c:pt idx="1">
                  <c:v>4204.222222222223</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7</c:f>
              <c:strCache>
                <c:ptCount val="6"/>
                <c:pt idx="0">
                  <c:v>Boursin Classique Fromage Frais A Tartiner Afh Boite 1X150Gr 1P</c:v>
                </c:pt>
                <c:pt idx="1">
                  <c:v>Boursin Classique Fromage Frais A Tartiner Afh 1X160Gr 10P</c:v>
                </c:pt>
                <c:pt idx="2">
                  <c:v>Boursin Classique Fromage Frais A Tartiner Ciboulette &amp; Echalote Boite 1X150Gr 1P</c:v>
                </c:pt>
                <c:pt idx="3">
                  <c:v>Boursin Classique Fromage Frais A Tartiner Afh Boite 1X96Gr 6P</c:v>
                </c:pt>
                <c:pt idx="4">
                  <c:v>Boursin Classique Fromage Frais A Tartiner Afh Boite 1X80Gr 1P</c:v>
                </c:pt>
                <c:pt idx="5">
                  <c:v>Boursin Classique Fromage Frais A Tartiner Truffe Boite 1X150Gr 1P</c:v>
                </c:pt>
              </c:strCache>
            </c:strRef>
          </c:cat>
          <c:val>
            <c:numRef>
              <c:f>Sheet1!$B$2:$B$7</c:f>
              <c:numCache>
                <c:formatCode>General</c:formatCode>
                <c:ptCount val="6"/>
                <c:pt idx="0">
                  <c:v>0.83</c:v>
                </c:pt>
                <c:pt idx="1">
                  <c:v>0.53</c:v>
                </c:pt>
                <c:pt idx="2">
                  <c:v>0.08</c:v>
                </c:pt>
                <c:pt idx="3">
                  <c:v>0.12</c:v>
                </c:pt>
                <c:pt idx="4">
                  <c:v>0.11</c:v>
                </c:pt>
                <c:pt idx="5">
                  <c:v>0.1</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7ECAC4"/>
              </a:solidFill>
            </c:spPr>
            <c:extLst>
              <c:ext xmlns:c16="http://schemas.microsoft.com/office/drawing/2014/chart" uri="{C3380CC4-5D6E-409C-BE32-E72D297353CC}">
                <c16:uniqueId val="{00000008-D8F4-40C6-A5E0-DB4B53CFB1F3}"/>
              </c:ext>
            </c:extLst>
          </c:dPt>
          <c:dPt>
            <c:idx val="2"/>
            <c:invertIfNegative val="0"/>
            <c:bubble3D val="0"/>
            <c:spPr>
              <a:solidFill>
                <a:srgbClr val="AEABAB"/>
              </a:solidFill>
            </c:spPr>
            <c:extLst>
              <c:ext xmlns:c16="http://schemas.microsoft.com/office/drawing/2014/chart" uri="{C3380CC4-5D6E-409C-BE32-E72D297353CC}">
                <c16:uniqueId val="{00000006-E902-46E2-9A54-39A26B3DFDC1}"/>
              </c:ext>
            </c:extLst>
          </c:dPt>
          <c:dPt>
            <c:idx val="3"/>
            <c:invertIfNegative val="0"/>
            <c:bubble3D val="0"/>
            <c:spPr>
              <a:solidFill>
                <a:srgbClr val="AEABAB"/>
              </a:solidFill>
            </c:spPr>
            <c:extLst>
              <c:ext xmlns:c16="http://schemas.microsoft.com/office/drawing/2014/chart" uri="{C3380CC4-5D6E-409C-BE32-E72D297353CC}">
                <c16:uniqueId val="{00000007-E902-46E2-9A54-39A26B3DFDC1}"/>
              </c:ext>
            </c:extLst>
          </c:dPt>
          <c:dPt>
            <c:idx val="4"/>
            <c:invertIfNegative val="1"/>
            <c:bubble3D val="0"/>
            <c:spPr>
              <a:solidFill>
                <a:srgbClr val="AEABAB"/>
              </a:solidFill>
            </c:spPr>
            <c:extLst>
              <c:ext xmlns:c16="http://schemas.microsoft.com/office/drawing/2014/chart" uri="{C3380CC4-5D6E-409C-BE32-E72D297353CC}">
                <c16:uniqueId val="{0000000B-FA3E-4872-B6E1-C4ABDF5766E2}"/>
              </c:ext>
            </c:extLst>
          </c:dPt>
          <c:dPt>
            <c:idx val="5"/>
            <c:invertIfNegative val="1"/>
            <c:bubble3D val="0"/>
            <c:spPr>
              <a:solidFill>
                <a:srgbClr val="AEABAB"/>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7</c:f>
              <c:strCache>
                <c:ptCount val="6"/>
                <c:pt idx="0">
                  <c:v>Boursin Classique Fromage Frais A Tartiner Afh Boite 1X150Gr 1P</c:v>
                </c:pt>
                <c:pt idx="1">
                  <c:v>Boursin Classique Fromage Frais A Tartiner Afh 1X160Gr 10P</c:v>
                </c:pt>
                <c:pt idx="2">
                  <c:v>Boursin Classique Fromage Frais A Tartiner Ciboulette &amp; Echalote Boite 1X150Gr 1P</c:v>
                </c:pt>
                <c:pt idx="3">
                  <c:v>Boursin Classique Fromage Frais A Tartiner Afh Boite 1X96Gr 6P</c:v>
                </c:pt>
                <c:pt idx="4">
                  <c:v>Boursin Classique Fromage Frais A Tartiner Afh Boite 1X80Gr 1P</c:v>
                </c:pt>
                <c:pt idx="5">
                  <c:v>Boursin Classique Fromage Frais A Tartiner Truffe Boite 1X150Gr 1P</c:v>
                </c:pt>
              </c:strCache>
            </c:strRef>
          </c:cat>
          <c:val>
            <c:numRef>
              <c:f>Sheet1!$C$2:$C$7</c:f>
              <c:numCache>
                <c:formatCode>General</c:formatCode>
                <c:ptCount val="6"/>
                <c:pt idx="0">
                  <c:v>0.6180177368696196</c:v>
                </c:pt>
                <c:pt idx="1">
                  <c:v>0.9446403735926855</c:v>
                </c:pt>
                <c:pt idx="2">
                  <c:v>0.9670578968686478</c:v>
                </c:pt>
                <c:pt idx="3">
                  <c:v>0.9874352550066269</c:v>
                </c:pt>
                <c:pt idx="4">
                  <c:v>0.9972754194905613</c:v>
                </c:pt>
                <c:pt idx="5">
                  <c:v>0.9994094873518637</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7</c:f>
              <c:strCache>
                <c:ptCount val="6"/>
                <c:pt idx="0">
                  <c:v>Boursin Classique Fromage Frais A Tartiner Afh Boite 1X150Gr 1P</c:v>
                </c:pt>
                <c:pt idx="1">
                  <c:v>Boursin Classique Fromage Frais A Tartiner Afh 1X160Gr 10P</c:v>
                </c:pt>
                <c:pt idx="2">
                  <c:v>Boursin Classique Fromage Frais A Tartiner Ciboulette &amp; Echalote Boite 1X150Gr 1P</c:v>
                </c:pt>
                <c:pt idx="3">
                  <c:v>Boursin Classique Fromage Frais A Tartiner Afh Boite 1X96Gr 6P</c:v>
                </c:pt>
                <c:pt idx="4">
                  <c:v>Boursin Classique Fromage Frais A Tartiner Afh Boite 1X80Gr 1P</c:v>
                </c:pt>
                <c:pt idx="5">
                  <c:v>Boursin Classique Fromage Frais A Tartiner Truffe Boite 1X150Gr 1P</c:v>
                </c:pt>
              </c:strCache>
            </c:strRef>
          </c:cat>
          <c:val>
            <c:numRef>
              <c:f>Sheet1!$D$2:$D$7</c:f>
              <c:numCache>
                <c:formatCode>General</c:formatCode>
                <c:ptCount val="6"/>
                <c:pt idx="0">
                  <c:v>15938.253012048193</c:v>
                </c:pt>
                <c:pt idx="1">
                  <c:v>13191.32075471698</c:v>
                </c:pt>
                <c:pt idx="2">
                  <c:v>5998.125</c:v>
                </c:pt>
                <c:pt idx="3">
                  <c:v>3634.8333333333335</c:v>
                </c:pt>
                <c:pt idx="4">
                  <c:v>1914.8181818181818</c:v>
                </c:pt>
                <c:pt idx="5">
                  <c:v>456.8</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c:f>
              <c:strCache>
                <c:ptCount val="3"/>
                <c:pt idx="0">
                  <c:v>Kiri Delicieusement Fouette Fromage Frais A Tartiner 1X125Gr 1P</c:v>
                </c:pt>
                <c:pt idx="1">
                  <c:v>Kiri Delicieusement Fouette Fromage Frais A Tartiner 1X160Gr 10P</c:v>
                </c:pt>
                <c:pt idx="2">
                  <c:v>Kiri Delicieusement Fouette Fromage Frais A Tartiner 1X210Gr 1P</c:v>
                </c:pt>
              </c:strCache>
            </c:strRef>
          </c:cat>
          <c:val>
            <c:numRef>
              <c:f>Sheet1!$B$2:$B$4</c:f>
              <c:numCache>
                <c:formatCode>General</c:formatCode>
                <c:ptCount val="3"/>
                <c:pt idx="0">
                  <c:v>0.87</c:v>
                </c:pt>
                <c:pt idx="1">
                  <c:v>0.94</c:v>
                </c:pt>
                <c:pt idx="2">
                  <c:v>0.38</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AEABAB"/>
              </a:solidFill>
            </c:spPr>
            <c:extLst>
              <c:ext xmlns:c16="http://schemas.microsoft.com/office/drawing/2014/chart" uri="{C3380CC4-5D6E-409C-BE32-E72D297353CC}">
                <c16:uniqueId val="{00000008-D8F4-40C6-A5E0-DB4B53CFB1F3}"/>
              </c:ext>
            </c:extLst>
          </c:dPt>
          <c:dPt>
            <c:idx val="2"/>
            <c:invertIfNegative val="0"/>
            <c:bubble3D val="0"/>
            <c:spPr>
              <a:solidFill>
                <a:srgbClr val="AEABAB"/>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c:f>
              <c:strCache>
                <c:ptCount val="3"/>
                <c:pt idx="0">
                  <c:v>Kiri Delicieusement Fouette Fromage Frais A Tartiner 1X125Gr 1P</c:v>
                </c:pt>
                <c:pt idx="1">
                  <c:v>Kiri Delicieusement Fouette Fromage Frais A Tartiner 1X160Gr 10P</c:v>
                </c:pt>
                <c:pt idx="2">
                  <c:v>Kiri Delicieusement Fouette Fromage Frais A Tartiner 1X210Gr 1P</c:v>
                </c:pt>
              </c:strCache>
            </c:strRef>
          </c:cat>
          <c:val>
            <c:numRef>
              <c:f>Sheet1!$C$2:$C$4</c:f>
              <c:numCache>
                <c:formatCode>General</c:formatCode>
                <c:ptCount val="3"/>
                <c:pt idx="0">
                  <c:v>0.6406627003801024</c:v>
                </c:pt>
                <c:pt idx="1">
                  <c:v>0.9766038671294001</c:v>
                </c:pt>
                <c:pt idx="2">
                  <c:v>1.0</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4</c:f>
              <c:strCache>
                <c:ptCount val="3"/>
                <c:pt idx="0">
                  <c:v>Kiri Delicieusement Fouette Fromage Frais A Tartiner 1X125Gr 1P</c:v>
                </c:pt>
                <c:pt idx="1">
                  <c:v>Kiri Delicieusement Fouette Fromage Frais A Tartiner 1X160Gr 10P</c:v>
                </c:pt>
                <c:pt idx="2">
                  <c:v>Kiri Delicieusement Fouette Fromage Frais A Tartiner 1X210Gr 1P</c:v>
                </c:pt>
              </c:strCache>
            </c:strRef>
          </c:cat>
          <c:val>
            <c:numRef>
              <c:f>Sheet1!$D$2:$D$4</c:f>
              <c:numCache>
                <c:formatCode>General</c:formatCode>
                <c:ptCount val="3"/>
                <c:pt idx="0">
                  <c:v>4455.919540229885</c:v>
                </c:pt>
                <c:pt idx="1">
                  <c:v>2162.531914893617</c:v>
                </c:pt>
                <c:pt idx="2">
                  <c:v>372.55263157894734</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13</c:f>
              <c:strCache>
                <c:ptCount val="12"/>
                <c:pt idx="0">
                  <c:v>Boursin Classique Fromage Frais A Tartiner Afh Boite 1X250Gr 1P</c:v>
                </c:pt>
                <c:pt idx="1">
                  <c:v>Boursin Classique Fromage Frais A Tartiner Afh 1X160Gr 10P</c:v>
                </c:pt>
                <c:pt idx="2">
                  <c:v>Boursin Classique Fromage Frais A Tartiner Afh Boite 1X150Gr 1P</c:v>
                </c:pt>
                <c:pt idx="3">
                  <c:v>Boursin Onctueux Fromage Frais A Tartiner Afh 1X125Gr 1P</c:v>
                </c:pt>
                <c:pt idx="4">
                  <c:v>Boursin Classique Fromage Frais A Tartiner Afh Boite 1X96Gr 6P</c:v>
                </c:pt>
                <c:pt idx="5">
                  <c:v>Boursin Classique Fromage Frais A Tartiner Figue Et 3 Noix Boite 1X150Gr 1P</c:v>
                </c:pt>
                <c:pt idx="6">
                  <c:v>Boursin Classique Fromage Frais A Tartiner Ciboulette &amp; Echalote Boite 1X150Gr 1P</c:v>
                </c:pt>
                <c:pt idx="7">
                  <c:v>Boursin Classique Fromage Frais A Tartiner Afh 1X256Gr 16P</c:v>
                </c:pt>
                <c:pt idx="8">
                  <c:v>Boursin Classique Fromage Frais A Tartiner Poivre Boite 1X150Gr 1P</c:v>
                </c:pt>
                <c:pt idx="9">
                  <c:v>Boursin Classique Fromage Frais A Tartiner Ciboulette &amp; Echalote 1X160Gr 10P</c:v>
                </c:pt>
                <c:pt idx="10">
                  <c:v>Boursin Classique Fromage Frais A Tartiner Afh Boite 1X80Gr 1P</c:v>
                </c:pt>
                <c:pt idx="11">
                  <c:v>Boursin Classique Fromage Frais A Tartiner Truffe Boite 1X150Gr 1P</c:v>
                </c:pt>
              </c:strCache>
            </c:strRef>
          </c:cat>
          <c:val>
            <c:numRef>
              <c:f>Sheet1!$B$2:$B$13</c:f>
              <c:numCache>
                <c:formatCode>General</c:formatCode>
                <c:ptCount val="12"/>
                <c:pt idx="0">
                  <c:v>0.99</c:v>
                </c:pt>
                <c:pt idx="1">
                  <c:v>0.99</c:v>
                </c:pt>
                <c:pt idx="2">
                  <c:v>1.0</c:v>
                </c:pt>
                <c:pt idx="3">
                  <c:v>0.97</c:v>
                </c:pt>
                <c:pt idx="4">
                  <c:v>0.96</c:v>
                </c:pt>
                <c:pt idx="5">
                  <c:v>0.99</c:v>
                </c:pt>
                <c:pt idx="6">
                  <c:v>0.99</c:v>
                </c:pt>
                <c:pt idx="7">
                  <c:v>0.87</c:v>
                </c:pt>
                <c:pt idx="8">
                  <c:v>0.96</c:v>
                </c:pt>
                <c:pt idx="9">
                  <c:v>0.83</c:v>
                </c:pt>
                <c:pt idx="10">
                  <c:v>0.29</c:v>
                </c:pt>
                <c:pt idx="11">
                  <c:v>0.7</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7ECAC4"/>
              </a:solidFill>
            </c:spPr>
            <c:extLst>
              <c:ext xmlns:c16="http://schemas.microsoft.com/office/drawing/2014/chart" uri="{C3380CC4-5D6E-409C-BE32-E72D297353CC}">
                <c16:uniqueId val="{0000000F-FA3E-4872-B6E1-C4ABDF5766E2}"/>
              </c:ext>
            </c:extLst>
          </c:dPt>
          <c:dPt>
            <c:idx val="7"/>
            <c:invertIfNegative val="1"/>
            <c:bubble3D val="0"/>
            <c:spPr>
              <a:solidFill>
                <a:srgbClr val="7ECAC4"/>
              </a:solidFill>
            </c:spPr>
            <c:extLst>
              <c:ext xmlns:c16="http://schemas.microsoft.com/office/drawing/2014/chart" uri="{C3380CC4-5D6E-409C-BE32-E72D297353CC}">
                <c16:uniqueId val="{00000011-FA3E-4872-B6E1-C4ABDF5766E2}"/>
              </c:ext>
            </c:extLst>
          </c:dPt>
          <c:dPt>
            <c:idx val="8"/>
            <c:invertIfNegative val="1"/>
            <c:bubble3D val="0"/>
            <c:spPr>
              <a:solidFill>
                <a:srgbClr val="AEABAB"/>
              </a:solidFill>
            </c:spPr>
            <c:extLst>
              <c:ext xmlns:c16="http://schemas.microsoft.com/office/drawing/2014/chart" uri="{C3380CC4-5D6E-409C-BE32-E72D297353CC}">
                <c16:uniqueId val="{00000013-FA3E-4872-B6E1-C4ABDF5766E2}"/>
              </c:ext>
            </c:extLst>
          </c:dPt>
          <c:dPt>
            <c:idx val="9"/>
            <c:invertIfNegative val="1"/>
            <c:bubble3D val="0"/>
            <c:spPr>
              <a:solidFill>
                <a:srgbClr val="AEABAB"/>
              </a:solidFill>
            </c:spPr>
            <c:extLst>
              <c:ext xmlns:c16="http://schemas.microsoft.com/office/drawing/2014/chart" uri="{C3380CC4-5D6E-409C-BE32-E72D297353CC}">
                <c16:uniqueId val="{00000015-FA3E-4872-B6E1-C4ABDF5766E2}"/>
              </c:ext>
            </c:extLst>
          </c:dPt>
          <c:dPt>
            <c:idx val="10"/>
            <c:invertIfNegative val="1"/>
            <c:bubble3D val="0"/>
            <c:spPr>
              <a:solidFill>
                <a:srgbClr val="AEABAB"/>
              </a:solidFill>
            </c:spPr>
            <c:extLst>
              <c:ext xmlns:c16="http://schemas.microsoft.com/office/drawing/2014/chart" uri="{C3380CC4-5D6E-409C-BE32-E72D297353CC}">
                <c16:uniqueId val="{00000017-FA3E-4872-B6E1-C4ABDF5766E2}"/>
              </c:ext>
            </c:extLst>
          </c:dPt>
          <c:dPt>
            <c:idx val="11"/>
            <c:invertIfNegative val="1"/>
            <c:bubble3D val="0"/>
            <c:spPr>
              <a:solidFill>
                <a:srgbClr val="AEABAB"/>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13</c:f>
              <c:strCache>
                <c:ptCount val="12"/>
                <c:pt idx="0">
                  <c:v>Boursin Classique Fromage Frais A Tartiner Afh Boite 1X250Gr 1P</c:v>
                </c:pt>
                <c:pt idx="1">
                  <c:v>Boursin Classique Fromage Frais A Tartiner Afh 1X160Gr 10P</c:v>
                </c:pt>
                <c:pt idx="2">
                  <c:v>Boursin Classique Fromage Frais A Tartiner Afh Boite 1X150Gr 1P</c:v>
                </c:pt>
                <c:pt idx="3">
                  <c:v>Boursin Onctueux Fromage Frais A Tartiner Afh 1X125Gr 1P</c:v>
                </c:pt>
                <c:pt idx="4">
                  <c:v>Boursin Classique Fromage Frais A Tartiner Afh Boite 1X96Gr 6P</c:v>
                </c:pt>
                <c:pt idx="5">
                  <c:v>Boursin Classique Fromage Frais A Tartiner Figue Et 3 Noix Boite 1X150Gr 1P</c:v>
                </c:pt>
                <c:pt idx="6">
                  <c:v>Boursin Classique Fromage Frais A Tartiner Ciboulette &amp; Echalote Boite 1X150Gr 1P</c:v>
                </c:pt>
                <c:pt idx="7">
                  <c:v>Boursin Classique Fromage Frais A Tartiner Afh 1X256Gr 16P</c:v>
                </c:pt>
                <c:pt idx="8">
                  <c:v>Boursin Classique Fromage Frais A Tartiner Poivre Boite 1X150Gr 1P</c:v>
                </c:pt>
                <c:pt idx="9">
                  <c:v>Boursin Classique Fromage Frais A Tartiner Ciboulette &amp; Echalote 1X160Gr 10P</c:v>
                </c:pt>
                <c:pt idx="10">
                  <c:v>Boursin Classique Fromage Frais A Tartiner Afh Boite 1X80Gr 1P</c:v>
                </c:pt>
                <c:pt idx="11">
                  <c:v>Boursin Classique Fromage Frais A Tartiner Truffe Boite 1X150Gr 1P</c:v>
                </c:pt>
              </c:strCache>
            </c:strRef>
          </c:cat>
          <c:val>
            <c:numRef>
              <c:f>Sheet1!$C$2:$C$13</c:f>
              <c:numCache>
                <c:formatCode>General</c:formatCode>
                <c:ptCount val="12"/>
                <c:pt idx="0">
                  <c:v>0.20050578843116268</c:v>
                </c:pt>
                <c:pt idx="1">
                  <c:v>0.3931733898068362</c:v>
                </c:pt>
                <c:pt idx="2">
                  <c:v>0.5659386533554227</c:v>
                </c:pt>
                <c:pt idx="3">
                  <c:v>0.6489422406934852</c:v>
                </c:pt>
                <c:pt idx="4">
                  <c:v>0.725307825088526</c:v>
                </c:pt>
                <c:pt idx="5">
                  <c:v>0.7960686278065383</c:v>
                </c:pt>
                <c:pt idx="6">
                  <c:v>0.8556896038186746</c:v>
                </c:pt>
                <c:pt idx="7">
                  <c:v>0.907601545433571</c:v>
                </c:pt>
                <c:pt idx="8">
                  <c:v>0.9563411929654531</c:v>
                </c:pt>
                <c:pt idx="9">
                  <c:v>0.9912208986941595</c:v>
                </c:pt>
                <c:pt idx="10">
                  <c:v>0.9968616579227391</c:v>
                </c:pt>
                <c:pt idx="11">
                  <c:v>0.9999999999999999</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13</c:f>
              <c:strCache>
                <c:ptCount val="12"/>
                <c:pt idx="0">
                  <c:v>Boursin Classique Fromage Frais A Tartiner Afh Boite 1X250Gr 1P</c:v>
                </c:pt>
                <c:pt idx="1">
                  <c:v>Boursin Classique Fromage Frais A Tartiner Afh 1X160Gr 10P</c:v>
                </c:pt>
                <c:pt idx="2">
                  <c:v>Boursin Classique Fromage Frais A Tartiner Afh Boite 1X150Gr 1P</c:v>
                </c:pt>
                <c:pt idx="3">
                  <c:v>Boursin Onctueux Fromage Frais A Tartiner Afh 1X125Gr 1P</c:v>
                </c:pt>
                <c:pt idx="4">
                  <c:v>Boursin Classique Fromage Frais A Tartiner Afh Boite 1X96Gr 6P</c:v>
                </c:pt>
                <c:pt idx="5">
                  <c:v>Boursin Classique Fromage Frais A Tartiner Figue Et 3 Noix Boite 1X150Gr 1P</c:v>
                </c:pt>
                <c:pt idx="6">
                  <c:v>Boursin Classique Fromage Frais A Tartiner Ciboulette &amp; Echalote Boite 1X150Gr 1P</c:v>
                </c:pt>
                <c:pt idx="7">
                  <c:v>Boursin Classique Fromage Frais A Tartiner Afh 1X256Gr 16P</c:v>
                </c:pt>
                <c:pt idx="8">
                  <c:v>Boursin Classique Fromage Frais A Tartiner Poivre Boite 1X150Gr 1P</c:v>
                </c:pt>
                <c:pt idx="9">
                  <c:v>Boursin Classique Fromage Frais A Tartiner Ciboulette &amp; Echalote 1X160Gr 10P</c:v>
                </c:pt>
                <c:pt idx="10">
                  <c:v>Boursin Classique Fromage Frais A Tartiner Afh Boite 1X80Gr 1P</c:v>
                </c:pt>
                <c:pt idx="11">
                  <c:v>Boursin Classique Fromage Frais A Tartiner Truffe Boite 1X150Gr 1P</c:v>
                </c:pt>
              </c:strCache>
            </c:strRef>
          </c:cat>
          <c:val>
            <c:numRef>
              <c:f>Sheet1!$D$2:$D$13</c:f>
              <c:numCache>
                <c:formatCode>General</c:formatCode>
                <c:ptCount val="12"/>
                <c:pt idx="0">
                  <c:v>20997.565656565657</c:v>
                </c:pt>
                <c:pt idx="1">
                  <c:v>20176.727272727272</c:v>
                </c:pt>
                <c:pt idx="2">
                  <c:v>17911.57</c:v>
                </c:pt>
                <c:pt idx="3">
                  <c:v>8871.60824742268</c:v>
                </c:pt>
                <c:pt idx="4">
                  <c:v>8247.145833333334</c:v>
                </c:pt>
                <c:pt idx="5">
                  <c:v>7410.282828282829</c:v>
                </c:pt>
                <c:pt idx="6">
                  <c:v>6243.686868686868</c:v>
                </c:pt>
                <c:pt idx="7">
                  <c:v>6186.218390804598</c:v>
                </c:pt>
                <c:pt idx="8">
                  <c:v>5263.666666666667</c:v>
                </c:pt>
                <c:pt idx="9">
                  <c:v>4356.843373493976</c:v>
                </c:pt>
                <c:pt idx="10">
                  <c:v>2016.586206896552</c:v>
                </c:pt>
                <c:pt idx="11">
                  <c:v>464.8142857142857</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c:f>
              <c:strCache>
                <c:ptCount val="3"/>
                <c:pt idx="0">
                  <c:v>Kiri Delicieusement Fouette Fromage Frais A Tartiner 1X125Gr 1P</c:v>
                </c:pt>
                <c:pt idx="1">
                  <c:v>Kiri Delicieusement Fouette Fromage Frais A Tartiner 1X160Gr 10P</c:v>
                </c:pt>
                <c:pt idx="2">
                  <c:v>Kiri Delicieusement Fouette Fromage Frais A Tartiner 1X210Gr 1P</c:v>
                </c:pt>
              </c:strCache>
            </c:strRef>
          </c:cat>
          <c:val>
            <c:numRef>
              <c:f>Sheet1!$B$2:$B$4</c:f>
              <c:numCache>
                <c:formatCode>General</c:formatCode>
                <c:ptCount val="3"/>
                <c:pt idx="0">
                  <c:v>0.99</c:v>
                </c:pt>
                <c:pt idx="1">
                  <c:v>0.98</c:v>
                </c:pt>
                <c:pt idx="2">
                  <c:v>0.64</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AEABAB"/>
              </a:solidFill>
            </c:spPr>
            <c:extLst>
              <c:ext xmlns:c16="http://schemas.microsoft.com/office/drawing/2014/chart" uri="{C3380CC4-5D6E-409C-BE32-E72D297353CC}">
                <c16:uniqueId val="{00000008-D8F4-40C6-A5E0-DB4B53CFB1F3}"/>
              </c:ext>
            </c:extLst>
          </c:dPt>
          <c:dPt>
            <c:idx val="2"/>
            <c:invertIfNegative val="0"/>
            <c:bubble3D val="0"/>
            <c:spPr>
              <a:solidFill>
                <a:srgbClr val="AEABAB"/>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c:f>
              <c:strCache>
                <c:ptCount val="3"/>
                <c:pt idx="0">
                  <c:v>Kiri Delicieusement Fouette Fromage Frais A Tartiner 1X125Gr 1P</c:v>
                </c:pt>
                <c:pt idx="1">
                  <c:v>Kiri Delicieusement Fouette Fromage Frais A Tartiner 1X160Gr 10P</c:v>
                </c:pt>
                <c:pt idx="2">
                  <c:v>Kiri Delicieusement Fouette Fromage Frais A Tartiner 1X210Gr 1P</c:v>
                </c:pt>
              </c:strCache>
            </c:strRef>
          </c:cat>
          <c:val>
            <c:numRef>
              <c:f>Sheet1!$C$2:$C$4</c:f>
              <c:numCache>
                <c:formatCode>General</c:formatCode>
                <c:ptCount val="3"/>
                <c:pt idx="0">
                  <c:v>0.6034831052822626</c:v>
                </c:pt>
                <c:pt idx="1">
                  <c:v>0.9706058740905577</c:v>
                </c:pt>
                <c:pt idx="2">
                  <c:v>1.0</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4</c:f>
              <c:strCache>
                <c:ptCount val="3"/>
                <c:pt idx="0">
                  <c:v>Kiri Delicieusement Fouette Fromage Frais A Tartiner 1X125Gr 1P</c:v>
                </c:pt>
                <c:pt idx="1">
                  <c:v>Kiri Delicieusement Fouette Fromage Frais A Tartiner 1X160Gr 10P</c:v>
                </c:pt>
                <c:pt idx="2">
                  <c:v>Kiri Delicieusement Fouette Fromage Frais A Tartiner 1X210Gr 1P</c:v>
                </c:pt>
              </c:strCache>
            </c:strRef>
          </c:cat>
          <c:val>
            <c:numRef>
              <c:f>Sheet1!$D$2:$D$4</c:f>
              <c:numCache>
                <c:formatCode>General</c:formatCode>
                <c:ptCount val="3"/>
                <c:pt idx="0">
                  <c:v>772.4949494949495</c:v>
                </c:pt>
                <c:pt idx="1">
                  <c:v>474.734693877551</c:v>
                </c:pt>
                <c:pt idx="2">
                  <c:v>58.203125</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13</c:f>
              <c:strCache>
                <c:ptCount val="12"/>
                <c:pt idx="0">
                  <c:v>Boursin Classique Fromage Frais A Tartiner Afh Boite 1X250Gr 1P</c:v>
                </c:pt>
                <c:pt idx="1">
                  <c:v>Boursin Classique Fromage Frais A Tartiner Afh 1X160Gr 10P</c:v>
                </c:pt>
                <c:pt idx="2">
                  <c:v>Boursin Classique Fromage Frais A Tartiner Afh Boite 1X150Gr 1P</c:v>
                </c:pt>
                <c:pt idx="3">
                  <c:v>Boursin Classique Fromage Frais A Tartiner Afh 1X256Gr 16P</c:v>
                </c:pt>
                <c:pt idx="4">
                  <c:v>Boursin Onctueux Fromage Frais A Tartiner Afh 1X125Gr 1P</c:v>
                </c:pt>
                <c:pt idx="5">
                  <c:v>Boursin Classique Fromage Frais A Tartiner Afh Boite 1X96Gr 6P</c:v>
                </c:pt>
                <c:pt idx="6">
                  <c:v>Boursin Classique Fromage Frais A Tartiner Figue Et 3 Noix Boite 1X150Gr 1P</c:v>
                </c:pt>
                <c:pt idx="7">
                  <c:v>Boursin Classique Fromage Frais A Tartiner Ciboulette &amp; Echalote Boite 1X150Gr 1P</c:v>
                </c:pt>
                <c:pt idx="8">
                  <c:v>Boursin Classique Fromage Frais A Tartiner Poivre Boite 1X150Gr 1P</c:v>
                </c:pt>
                <c:pt idx="9">
                  <c:v>Boursin Classique Fromage Frais A Tartiner Ciboulette &amp; Echalote 1X160Gr 10P</c:v>
                </c:pt>
                <c:pt idx="10">
                  <c:v>Boursin Classique Fromage Frais A Tartiner Afh Boite 1X80Gr 1P</c:v>
                </c:pt>
                <c:pt idx="11">
                  <c:v>Boursin Classique Fromage Frais A Tartiner Truffe Boite 1X150Gr 1P</c:v>
                </c:pt>
              </c:strCache>
            </c:strRef>
          </c:cat>
          <c:val>
            <c:numRef>
              <c:f>Sheet1!$B$2:$B$13</c:f>
              <c:numCache>
                <c:formatCode>General</c:formatCode>
                <c:ptCount val="12"/>
                <c:pt idx="0">
                  <c:v>1.0</c:v>
                </c:pt>
                <c:pt idx="1">
                  <c:v>1.0</c:v>
                </c:pt>
                <c:pt idx="2">
                  <c:v>1.0</c:v>
                </c:pt>
                <c:pt idx="3">
                  <c:v>0.99</c:v>
                </c:pt>
                <c:pt idx="4">
                  <c:v>0.99</c:v>
                </c:pt>
                <c:pt idx="5">
                  <c:v>0.99</c:v>
                </c:pt>
                <c:pt idx="6">
                  <c:v>1.0</c:v>
                </c:pt>
                <c:pt idx="7">
                  <c:v>1.0</c:v>
                </c:pt>
                <c:pt idx="8">
                  <c:v>0.99</c:v>
                </c:pt>
                <c:pt idx="9">
                  <c:v>0.98</c:v>
                </c:pt>
                <c:pt idx="10">
                  <c:v>0.7</c:v>
                </c:pt>
                <c:pt idx="11">
                  <c:v>0.92</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7ECAC4"/>
              </a:solidFill>
            </c:spPr>
            <c:extLst>
              <c:ext xmlns:c16="http://schemas.microsoft.com/office/drawing/2014/chart" uri="{C3380CC4-5D6E-409C-BE32-E72D297353CC}">
                <c16:uniqueId val="{0000000F-FA3E-4872-B6E1-C4ABDF5766E2}"/>
              </c:ext>
            </c:extLst>
          </c:dPt>
          <c:dPt>
            <c:idx val="7"/>
            <c:invertIfNegative val="1"/>
            <c:bubble3D val="0"/>
            <c:spPr>
              <a:solidFill>
                <a:srgbClr val="7ECAC4"/>
              </a:solidFill>
            </c:spPr>
            <c:extLst>
              <c:ext xmlns:c16="http://schemas.microsoft.com/office/drawing/2014/chart" uri="{C3380CC4-5D6E-409C-BE32-E72D297353CC}">
                <c16:uniqueId val="{00000011-FA3E-4872-B6E1-C4ABDF5766E2}"/>
              </c:ext>
            </c:extLst>
          </c:dPt>
          <c:dPt>
            <c:idx val="8"/>
            <c:invertIfNegative val="1"/>
            <c:bubble3D val="0"/>
            <c:spPr>
              <a:solidFill>
                <a:srgbClr val="7ECAC4"/>
              </a:solidFill>
            </c:spPr>
            <c:extLst>
              <c:ext xmlns:c16="http://schemas.microsoft.com/office/drawing/2014/chart" uri="{C3380CC4-5D6E-409C-BE32-E72D297353CC}">
                <c16:uniqueId val="{00000013-FA3E-4872-B6E1-C4ABDF5766E2}"/>
              </c:ext>
            </c:extLst>
          </c:dPt>
          <c:dPt>
            <c:idx val="9"/>
            <c:invertIfNegative val="1"/>
            <c:bubble3D val="0"/>
            <c:spPr>
              <a:solidFill>
                <a:srgbClr val="AEABAB"/>
              </a:solidFill>
            </c:spPr>
            <c:extLst>
              <c:ext xmlns:c16="http://schemas.microsoft.com/office/drawing/2014/chart" uri="{C3380CC4-5D6E-409C-BE32-E72D297353CC}">
                <c16:uniqueId val="{00000015-FA3E-4872-B6E1-C4ABDF5766E2}"/>
              </c:ext>
            </c:extLst>
          </c:dPt>
          <c:dPt>
            <c:idx val="10"/>
            <c:invertIfNegative val="1"/>
            <c:bubble3D val="0"/>
            <c:spPr>
              <a:solidFill>
                <a:srgbClr val="AEABAB"/>
              </a:solidFill>
            </c:spPr>
            <c:extLst>
              <c:ext xmlns:c16="http://schemas.microsoft.com/office/drawing/2014/chart" uri="{C3380CC4-5D6E-409C-BE32-E72D297353CC}">
                <c16:uniqueId val="{00000017-FA3E-4872-B6E1-C4ABDF5766E2}"/>
              </c:ext>
            </c:extLst>
          </c:dPt>
          <c:dPt>
            <c:idx val="11"/>
            <c:invertIfNegative val="1"/>
            <c:bubble3D val="0"/>
            <c:spPr>
              <a:solidFill>
                <a:srgbClr val="AEABAB"/>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13</c:f>
              <c:strCache>
                <c:ptCount val="12"/>
                <c:pt idx="0">
                  <c:v>Boursin Classique Fromage Frais A Tartiner Afh Boite 1X250Gr 1P</c:v>
                </c:pt>
                <c:pt idx="1">
                  <c:v>Boursin Classique Fromage Frais A Tartiner Afh 1X160Gr 10P</c:v>
                </c:pt>
                <c:pt idx="2">
                  <c:v>Boursin Classique Fromage Frais A Tartiner Afh Boite 1X150Gr 1P</c:v>
                </c:pt>
                <c:pt idx="3">
                  <c:v>Boursin Classique Fromage Frais A Tartiner Afh 1X256Gr 16P</c:v>
                </c:pt>
                <c:pt idx="4">
                  <c:v>Boursin Onctueux Fromage Frais A Tartiner Afh 1X125Gr 1P</c:v>
                </c:pt>
                <c:pt idx="5">
                  <c:v>Boursin Classique Fromage Frais A Tartiner Afh Boite 1X96Gr 6P</c:v>
                </c:pt>
                <c:pt idx="6">
                  <c:v>Boursin Classique Fromage Frais A Tartiner Figue Et 3 Noix Boite 1X150Gr 1P</c:v>
                </c:pt>
                <c:pt idx="7">
                  <c:v>Boursin Classique Fromage Frais A Tartiner Ciboulette &amp; Echalote Boite 1X150Gr 1P</c:v>
                </c:pt>
                <c:pt idx="8">
                  <c:v>Boursin Classique Fromage Frais A Tartiner Poivre Boite 1X150Gr 1P</c:v>
                </c:pt>
                <c:pt idx="9">
                  <c:v>Boursin Classique Fromage Frais A Tartiner Ciboulette &amp; Echalote 1X160Gr 10P</c:v>
                </c:pt>
                <c:pt idx="10">
                  <c:v>Boursin Classique Fromage Frais A Tartiner Afh Boite 1X80Gr 1P</c:v>
                </c:pt>
                <c:pt idx="11">
                  <c:v>Boursin Classique Fromage Frais A Tartiner Truffe Boite 1X150Gr 1P</c:v>
                </c:pt>
              </c:strCache>
            </c:strRef>
          </c:cat>
          <c:val>
            <c:numRef>
              <c:f>Sheet1!$C$2:$C$13</c:f>
              <c:numCache>
                <c:formatCode>General</c:formatCode>
                <c:ptCount val="12"/>
                <c:pt idx="0">
                  <c:v>0.21805654046732786</c:v>
                </c:pt>
                <c:pt idx="1">
                  <c:v>0.40494565503622554</c:v>
                </c:pt>
                <c:pt idx="2">
                  <c:v>0.5645721162004967</c:v>
                </c:pt>
                <c:pt idx="3">
                  <c:v>0.6399416731258555</c:v>
                </c:pt>
                <c:pt idx="4">
                  <c:v>0.7131253022341789</c:v>
                </c:pt>
                <c:pt idx="5">
                  <c:v>0.7849523686913852</c:v>
                </c:pt>
                <c:pt idx="6">
                  <c:v>0.8464807306925226</c:v>
                </c:pt>
                <c:pt idx="7">
                  <c:v>0.8987690390908157</c:v>
                </c:pt>
                <c:pt idx="8">
                  <c:v>0.9455805582760696</c:v>
                </c:pt>
                <c:pt idx="9">
                  <c:v>0.9844138931166947</c:v>
                </c:pt>
                <c:pt idx="10">
                  <c:v>0.9958302988002135</c:v>
                </c:pt>
                <c:pt idx="11">
                  <c:v>1.0</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13</c:f>
              <c:strCache>
                <c:ptCount val="12"/>
                <c:pt idx="0">
                  <c:v>Boursin Classique Fromage Frais A Tartiner Afh Boite 1X250Gr 1P</c:v>
                </c:pt>
                <c:pt idx="1">
                  <c:v>Boursin Classique Fromage Frais A Tartiner Afh 1X160Gr 10P</c:v>
                </c:pt>
                <c:pt idx="2">
                  <c:v>Boursin Classique Fromage Frais A Tartiner Afh Boite 1X150Gr 1P</c:v>
                </c:pt>
                <c:pt idx="3">
                  <c:v>Boursin Classique Fromage Frais A Tartiner Afh 1X256Gr 16P</c:v>
                </c:pt>
                <c:pt idx="4">
                  <c:v>Boursin Onctueux Fromage Frais A Tartiner Afh 1X125Gr 1P</c:v>
                </c:pt>
                <c:pt idx="5">
                  <c:v>Boursin Classique Fromage Frais A Tartiner Afh Boite 1X96Gr 6P</c:v>
                </c:pt>
                <c:pt idx="6">
                  <c:v>Boursin Classique Fromage Frais A Tartiner Figue Et 3 Noix Boite 1X150Gr 1P</c:v>
                </c:pt>
                <c:pt idx="7">
                  <c:v>Boursin Classique Fromage Frais A Tartiner Ciboulette &amp; Echalote Boite 1X150Gr 1P</c:v>
                </c:pt>
                <c:pt idx="8">
                  <c:v>Boursin Classique Fromage Frais A Tartiner Poivre Boite 1X150Gr 1P</c:v>
                </c:pt>
                <c:pt idx="9">
                  <c:v>Boursin Classique Fromage Frais A Tartiner Ciboulette &amp; Echalote 1X160Gr 10P</c:v>
                </c:pt>
                <c:pt idx="10">
                  <c:v>Boursin Classique Fromage Frais A Tartiner Afh Boite 1X80Gr 1P</c:v>
                </c:pt>
                <c:pt idx="11">
                  <c:v>Boursin Classique Fromage Frais A Tartiner Truffe Boite 1X150Gr 1P</c:v>
                </c:pt>
              </c:strCache>
            </c:strRef>
          </c:cat>
          <c:val>
            <c:numRef>
              <c:f>Sheet1!$D$2:$D$13</c:f>
              <c:numCache>
                <c:formatCode>General</c:formatCode>
                <c:ptCount val="12"/>
                <c:pt idx="0">
                  <c:v>4098.92</c:v>
                </c:pt>
                <c:pt idx="1">
                  <c:v>3513.05</c:v>
                </c:pt>
                <c:pt idx="2">
                  <c:v>3000.58</c:v>
                </c:pt>
                <c:pt idx="3">
                  <c:v>1431.0707070707072</c:v>
                </c:pt>
                <c:pt idx="4">
                  <c:v>1389.5656565656566</c:v>
                </c:pt>
                <c:pt idx="5">
                  <c:v>1363.8080808080808</c:v>
                </c:pt>
                <c:pt idx="6">
                  <c:v>1156.58</c:v>
                </c:pt>
                <c:pt idx="7">
                  <c:v>982.89</c:v>
                </c:pt>
                <c:pt idx="8">
                  <c:v>888.8282828282828</c:v>
                </c:pt>
                <c:pt idx="9">
                  <c:v>744.8673469387755</c:v>
                </c:pt>
                <c:pt idx="10">
                  <c:v>306.57142857142856</c:v>
                </c:pt>
                <c:pt idx="11">
                  <c:v>85.19565217391305</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c:f>
              <c:strCache>
                <c:ptCount val="3"/>
                <c:pt idx="0">
                  <c:v>Kiri Delicieusement Fouette Fromage Frais A Tartiner 1X125Gr 1P</c:v>
                </c:pt>
                <c:pt idx="1">
                  <c:v>Kiri Delicieusement Fouette Fromage Frais A Tartiner 1X160Gr 10P</c:v>
                </c:pt>
                <c:pt idx="2">
                  <c:v>Kiri Delicieusement Fouette Fromage Frais A Tartiner 1X210Gr 1P</c:v>
                </c:pt>
              </c:strCache>
            </c:strRef>
          </c:cat>
          <c:val>
            <c:numRef>
              <c:f>Sheet1!$B$2:$B$4</c:f>
              <c:numCache>
                <c:formatCode>General</c:formatCode>
                <c:ptCount val="3"/>
                <c:pt idx="0">
                  <c:v>0.44</c:v>
                </c:pt>
                <c:pt idx="1">
                  <c:v>0.5</c:v>
                </c:pt>
                <c:pt idx="2">
                  <c:v>0.01</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AEABAB"/>
              </a:solidFill>
            </c:spPr>
            <c:extLst>
              <c:ext xmlns:c16="http://schemas.microsoft.com/office/drawing/2014/chart" uri="{C3380CC4-5D6E-409C-BE32-E72D297353CC}">
                <c16:uniqueId val="{00000008-D8F4-40C6-A5E0-DB4B53CFB1F3}"/>
              </c:ext>
            </c:extLst>
          </c:dPt>
          <c:dPt>
            <c:idx val="2"/>
            <c:invertIfNegative val="0"/>
            <c:bubble3D val="0"/>
            <c:spPr>
              <a:solidFill>
                <a:srgbClr val="AEABAB"/>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c:f>
              <c:strCache>
                <c:ptCount val="3"/>
                <c:pt idx="0">
                  <c:v>Kiri Delicieusement Fouette Fromage Frais A Tartiner 1X125Gr 1P</c:v>
                </c:pt>
                <c:pt idx="1">
                  <c:v>Kiri Delicieusement Fouette Fromage Frais A Tartiner 1X160Gr 10P</c:v>
                </c:pt>
                <c:pt idx="2">
                  <c:v>Kiri Delicieusement Fouette Fromage Frais A Tartiner 1X210Gr 1P</c:v>
                </c:pt>
              </c:strCache>
            </c:strRef>
          </c:cat>
          <c:val>
            <c:numRef>
              <c:f>Sheet1!$C$2:$C$4</c:f>
              <c:numCache>
                <c:formatCode>General</c:formatCode>
                <c:ptCount val="3"/>
                <c:pt idx="0">
                  <c:v>0.7013968173425232</c:v>
                </c:pt>
                <c:pt idx="1">
                  <c:v>0.9996476242829153</c:v>
                </c:pt>
                <c:pt idx="2">
                  <c:v>0.9999999999999999</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4</c:f>
              <c:strCache>
                <c:ptCount val="3"/>
                <c:pt idx="0">
                  <c:v>Kiri Delicieusement Fouette Fromage Frais A Tartiner 1X125Gr 1P</c:v>
                </c:pt>
                <c:pt idx="1">
                  <c:v>Kiri Delicieusement Fouette Fromage Frais A Tartiner 1X160Gr 10P</c:v>
                </c:pt>
                <c:pt idx="2">
                  <c:v>Kiri Delicieusement Fouette Fromage Frais A Tartiner 1X210Gr 1P</c:v>
                </c:pt>
              </c:strCache>
            </c:strRef>
          </c:cat>
          <c:val>
            <c:numRef>
              <c:f>Sheet1!$D$2:$D$4</c:f>
              <c:numCache>
                <c:formatCode>General</c:formatCode>
                <c:ptCount val="3"/>
                <c:pt idx="0">
                  <c:v>1130.9545454545455</c:v>
                </c:pt>
                <c:pt idx="1">
                  <c:v>423.2</c:v>
                </c:pt>
                <c:pt idx="2">
                  <c:v>25.0</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Private Label</c:v>
                </c:pt>
                <c:pt idx="1">
                  <c:v>President</c:v>
                </c:pt>
                <c:pt idx="2">
                  <c:v>La Vache Qui Rit</c:v>
                </c:pt>
                <c:pt idx="3">
                  <c:v>La Belle Etoile</c:v>
                </c:pt>
                <c:pt idx="4">
                  <c:v>Boursin</c:v>
                </c:pt>
                <c:pt idx="5">
                  <c:v>Leerdammer</c:v>
                </c:pt>
                <c:pt idx="6">
                  <c:v>Raguin</c:v>
                </c:pt>
                <c:pt idx="7">
                  <c:v>Others</c:v>
                </c:pt>
              </c:strCache>
            </c:strRef>
          </c:cat>
          <c:val>
            <c:numRef>
              <c:f>Sheet1!$B$2:$B$9</c:f>
              <c:numCache>
                <c:formatCode>General</c:formatCode>
                <c:ptCount val="8"/>
                <c:pt idx="0">
                  <c:v>0.4190214013882438</c:v>
                </c:pt>
                <c:pt idx="1">
                  <c:v>0.27500613194123463</c:v>
                </c:pt>
                <c:pt idx="2">
                  <c:v>0.12174803976294614</c:v>
                </c:pt>
                <c:pt idx="3">
                  <c:v>0.06069103796789672</c:v>
                </c:pt>
                <c:pt idx="4">
                  <c:v>0.024259181503318933</c:v>
                </c:pt>
                <c:pt idx="5">
                  <c:v>0.018706987439945085</c:v>
                </c:pt>
                <c:pt idx="6">
                  <c:v>0.01747190676476261</c:v>
                </c:pt>
                <c:pt idx="7">
                  <c:v>0.06309531323165207</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Private Label</c:v>
                </c:pt>
                <c:pt idx="1">
                  <c:v>President</c:v>
                </c:pt>
                <c:pt idx="2">
                  <c:v>La Vache Qui Rit</c:v>
                </c:pt>
                <c:pt idx="3">
                  <c:v>La Belle Etoile</c:v>
                </c:pt>
                <c:pt idx="4">
                  <c:v>Boursin</c:v>
                </c:pt>
                <c:pt idx="5">
                  <c:v>Leerdammer</c:v>
                </c:pt>
                <c:pt idx="6">
                  <c:v>Raguin</c:v>
                </c:pt>
                <c:pt idx="7">
                  <c:v>Others</c:v>
                </c:pt>
              </c:strCache>
            </c:strRef>
          </c:cat>
          <c:val>
            <c:numRef>
              <c:f>Sheet1!$C$2:$C$9</c:f>
              <c:numCache>
                <c:formatCode>General</c:formatCode>
                <c:ptCount val="8"/>
                <c:pt idx="0">
                  <c:v>0.2669521770164169</c:v>
                </c:pt>
                <c:pt idx="1">
                  <c:v>0.21484653818700933</c:v>
                </c:pt>
                <c:pt idx="2">
                  <c:v>0.10385438972162743</c:v>
                </c:pt>
                <c:pt idx="3">
                  <c:v>0.08672376873661672</c:v>
                </c:pt>
                <c:pt idx="4">
                  <c:v>0.03497501784439686</c:v>
                </c:pt>
                <c:pt idx="5">
                  <c:v>0.05317630264097074</c:v>
                </c:pt>
                <c:pt idx="6">
                  <c:v>0.01713062098501071</c:v>
                </c:pt>
                <c:pt idx="7">
                  <c:v>0.2223411848679515</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Private Label</c:v>
                </c:pt>
                <c:pt idx="1">
                  <c:v>President</c:v>
                </c:pt>
                <c:pt idx="2">
                  <c:v>La Vache Qui Rit</c:v>
                </c:pt>
                <c:pt idx="3">
                  <c:v>La Belle Etoile</c:v>
                </c:pt>
                <c:pt idx="4">
                  <c:v>Boursin</c:v>
                </c:pt>
                <c:pt idx="5">
                  <c:v>Leerdammer</c:v>
                </c:pt>
                <c:pt idx="6">
                  <c:v>Raguin</c:v>
                </c:pt>
                <c:pt idx="7">
                  <c:v>Others</c:v>
                </c:pt>
              </c:strCache>
            </c:strRef>
          </c:cat>
          <c:val>
            <c:numRef>
              <c:f>Sheet1!$D$2:$D$9</c:f>
              <c:numCache>
                <c:formatCode>General</c:formatCode>
                <c:ptCount val="8"/>
                <c:pt idx="0">
                  <c:v>63.70848270088063</c:v>
                </c:pt>
                <c:pt idx="1">
                  <c:v>78.12427187366112</c:v>
                </c:pt>
                <c:pt idx="2">
                  <c:v>85.30272021121722</c:v>
                </c:pt>
                <c:pt idx="3">
                  <c:v>142.8938631474557</c:v>
                </c:pt>
                <c:pt idx="4">
                  <c:v>144.17229138424096</c:v>
                </c:pt>
                <c:pt idx="5">
                  <c:v>284.2590385634366</c:v>
                </c:pt>
                <c:pt idx="6">
                  <c:v>98.04665979307877</c:v>
                </c:pt>
                <c:pt idx="7">
                  <c:v>352.389382792402</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13</c:f>
              <c:strCache>
                <c:ptCount val="12"/>
                <c:pt idx="0">
                  <c:v>Boursin Classique Fromage Frais A Tartiner Afh Boite 1X150Gr 1P</c:v>
                </c:pt>
                <c:pt idx="1">
                  <c:v>Boursin Classique Fromage Frais A Tartiner Afh 1X160Gr 10P</c:v>
                </c:pt>
                <c:pt idx="2">
                  <c:v>Boursin Classique Fromage Frais A Tartiner Afh Boite 1X250Gr 1P</c:v>
                </c:pt>
                <c:pt idx="3">
                  <c:v>Boursin Onctueux Fromage Frais A Tartiner Afh 1X125Gr 1P</c:v>
                </c:pt>
                <c:pt idx="4">
                  <c:v>Boursin Classique Fromage Frais A Tartiner Figue Et 3 Noix Boite 1X150Gr 1P</c:v>
                </c:pt>
                <c:pt idx="5">
                  <c:v>Boursin Classique Fromage Frais A Tartiner Afh Boite 1X96Gr 6P</c:v>
                </c:pt>
                <c:pt idx="6">
                  <c:v>Boursin Classique Fromage Frais A Tartiner Ciboulette &amp; Echalote Boite 1X150Gr 1P</c:v>
                </c:pt>
                <c:pt idx="7">
                  <c:v>Boursin Classique Fromage Frais A Tartiner Poivre Boite 1X150Gr 1P</c:v>
                </c:pt>
                <c:pt idx="8">
                  <c:v>Boursin Classique Fromage Frais A Tartiner Afh 1X256Gr 16P</c:v>
                </c:pt>
                <c:pt idx="9">
                  <c:v>Boursin Classique Fromage Frais A Tartiner Ciboulette &amp; Echalote 1X160Gr 10P</c:v>
                </c:pt>
                <c:pt idx="10">
                  <c:v>Boursin Classique Fromage Frais A Tartiner Afh Boite 1X80Gr 1P</c:v>
                </c:pt>
                <c:pt idx="11">
                  <c:v>Boursin Classique Fromage Frais A Tartiner Truffe Boite 1X150Gr 1P</c:v>
                </c:pt>
              </c:strCache>
            </c:strRef>
          </c:cat>
          <c:val>
            <c:numRef>
              <c:f>Sheet1!$B$2:$B$13</c:f>
              <c:numCache>
                <c:formatCode>General</c:formatCode>
                <c:ptCount val="12"/>
                <c:pt idx="0">
                  <c:v>0.98</c:v>
                </c:pt>
                <c:pt idx="1">
                  <c:v>0.9</c:v>
                </c:pt>
                <c:pt idx="2">
                  <c:v>0.89</c:v>
                </c:pt>
                <c:pt idx="3">
                  <c:v>0.81</c:v>
                </c:pt>
                <c:pt idx="4">
                  <c:v>0.89</c:v>
                </c:pt>
                <c:pt idx="5">
                  <c:v>0.74</c:v>
                </c:pt>
                <c:pt idx="6">
                  <c:v>0.83</c:v>
                </c:pt>
                <c:pt idx="7">
                  <c:v>0.75</c:v>
                </c:pt>
                <c:pt idx="8">
                  <c:v>0.64</c:v>
                </c:pt>
                <c:pt idx="9">
                  <c:v>0.46</c:v>
                </c:pt>
                <c:pt idx="10">
                  <c:v>0.12</c:v>
                </c:pt>
                <c:pt idx="11">
                  <c:v>0.33</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7ECAC4"/>
              </a:solidFill>
            </c:spPr>
            <c:extLst>
              <c:ext xmlns:c16="http://schemas.microsoft.com/office/drawing/2014/chart" uri="{C3380CC4-5D6E-409C-BE32-E72D297353CC}">
                <c16:uniqueId val="{0000000D-FA3E-4872-B6E1-C4ABDF5766E2}"/>
              </c:ext>
            </c:extLst>
          </c:dPt>
          <c:dPt>
            <c:idx val="6"/>
            <c:invertIfNegative val="1"/>
            <c:bubble3D val="0"/>
            <c:spPr>
              <a:solidFill>
                <a:srgbClr val="7ECAC4"/>
              </a:solidFill>
            </c:spPr>
            <c:extLst>
              <c:ext xmlns:c16="http://schemas.microsoft.com/office/drawing/2014/chart" uri="{C3380CC4-5D6E-409C-BE32-E72D297353CC}">
                <c16:uniqueId val="{0000000F-FA3E-4872-B6E1-C4ABDF5766E2}"/>
              </c:ext>
            </c:extLst>
          </c:dPt>
          <c:dPt>
            <c:idx val="7"/>
            <c:invertIfNegative val="1"/>
            <c:bubble3D val="0"/>
            <c:spPr>
              <a:solidFill>
                <a:srgbClr val="7ECAC4"/>
              </a:solidFill>
            </c:spPr>
            <c:extLst>
              <c:ext xmlns:c16="http://schemas.microsoft.com/office/drawing/2014/chart" uri="{C3380CC4-5D6E-409C-BE32-E72D297353CC}">
                <c16:uniqueId val="{00000011-FA3E-4872-B6E1-C4ABDF5766E2}"/>
              </c:ext>
            </c:extLst>
          </c:dPt>
          <c:dPt>
            <c:idx val="8"/>
            <c:invertIfNegative val="1"/>
            <c:bubble3D val="0"/>
            <c:spPr>
              <a:solidFill>
                <a:srgbClr val="AEABAB"/>
              </a:solidFill>
            </c:spPr>
            <c:extLst>
              <c:ext xmlns:c16="http://schemas.microsoft.com/office/drawing/2014/chart" uri="{C3380CC4-5D6E-409C-BE32-E72D297353CC}">
                <c16:uniqueId val="{00000013-FA3E-4872-B6E1-C4ABDF5766E2}"/>
              </c:ext>
            </c:extLst>
          </c:dPt>
          <c:dPt>
            <c:idx val="9"/>
            <c:invertIfNegative val="1"/>
            <c:bubble3D val="0"/>
            <c:spPr>
              <a:solidFill>
                <a:srgbClr val="AEABAB"/>
              </a:solidFill>
            </c:spPr>
            <c:extLst>
              <c:ext xmlns:c16="http://schemas.microsoft.com/office/drawing/2014/chart" uri="{C3380CC4-5D6E-409C-BE32-E72D297353CC}">
                <c16:uniqueId val="{00000015-FA3E-4872-B6E1-C4ABDF5766E2}"/>
              </c:ext>
            </c:extLst>
          </c:dPt>
          <c:dPt>
            <c:idx val="10"/>
            <c:invertIfNegative val="1"/>
            <c:bubble3D val="0"/>
            <c:spPr>
              <a:solidFill>
                <a:srgbClr val="AEABAB"/>
              </a:solidFill>
            </c:spPr>
            <c:extLst>
              <c:ext xmlns:c16="http://schemas.microsoft.com/office/drawing/2014/chart" uri="{C3380CC4-5D6E-409C-BE32-E72D297353CC}">
                <c16:uniqueId val="{00000017-FA3E-4872-B6E1-C4ABDF5766E2}"/>
              </c:ext>
            </c:extLst>
          </c:dPt>
          <c:dPt>
            <c:idx val="11"/>
            <c:invertIfNegative val="1"/>
            <c:bubble3D val="0"/>
            <c:spPr>
              <a:solidFill>
                <a:srgbClr val="AEABAB"/>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13</c:f>
              <c:strCache>
                <c:ptCount val="12"/>
                <c:pt idx="0">
                  <c:v>Boursin Classique Fromage Frais A Tartiner Afh Boite 1X150Gr 1P</c:v>
                </c:pt>
                <c:pt idx="1">
                  <c:v>Boursin Classique Fromage Frais A Tartiner Afh 1X160Gr 10P</c:v>
                </c:pt>
                <c:pt idx="2">
                  <c:v>Boursin Classique Fromage Frais A Tartiner Afh Boite 1X250Gr 1P</c:v>
                </c:pt>
                <c:pt idx="3">
                  <c:v>Boursin Onctueux Fromage Frais A Tartiner Afh 1X125Gr 1P</c:v>
                </c:pt>
                <c:pt idx="4">
                  <c:v>Boursin Classique Fromage Frais A Tartiner Figue Et 3 Noix Boite 1X150Gr 1P</c:v>
                </c:pt>
                <c:pt idx="5">
                  <c:v>Boursin Classique Fromage Frais A Tartiner Afh Boite 1X96Gr 6P</c:v>
                </c:pt>
                <c:pt idx="6">
                  <c:v>Boursin Classique Fromage Frais A Tartiner Ciboulette &amp; Echalote Boite 1X150Gr 1P</c:v>
                </c:pt>
                <c:pt idx="7">
                  <c:v>Boursin Classique Fromage Frais A Tartiner Poivre Boite 1X150Gr 1P</c:v>
                </c:pt>
                <c:pt idx="8">
                  <c:v>Boursin Classique Fromage Frais A Tartiner Afh 1X256Gr 16P</c:v>
                </c:pt>
                <c:pt idx="9">
                  <c:v>Boursin Classique Fromage Frais A Tartiner Ciboulette &amp; Echalote 1X160Gr 10P</c:v>
                </c:pt>
                <c:pt idx="10">
                  <c:v>Boursin Classique Fromage Frais A Tartiner Afh Boite 1X80Gr 1P</c:v>
                </c:pt>
                <c:pt idx="11">
                  <c:v>Boursin Classique Fromage Frais A Tartiner Truffe Boite 1X150Gr 1P</c:v>
                </c:pt>
              </c:strCache>
            </c:strRef>
          </c:cat>
          <c:val>
            <c:numRef>
              <c:f>Sheet1!$C$2:$C$13</c:f>
              <c:numCache>
                <c:formatCode>General</c:formatCode>
                <c:ptCount val="12"/>
                <c:pt idx="0">
                  <c:v>0.20436632945062402</c:v>
                </c:pt>
                <c:pt idx="1">
                  <c:v>0.404138286794035</c:v>
                </c:pt>
                <c:pt idx="2">
                  <c:v>0.540200329849443</c:v>
                </c:pt>
                <c:pt idx="3">
                  <c:v>0.6490716664100666</c:v>
                </c:pt>
                <c:pt idx="4">
                  <c:v>0.7405551764944492</c:v>
                </c:pt>
                <c:pt idx="5">
                  <c:v>0.8242355827217067</c:v>
                </c:pt>
                <c:pt idx="6">
                  <c:v>0.894562370007448</c:v>
                </c:pt>
                <c:pt idx="7">
                  <c:v>0.9435529091346025</c:v>
                </c:pt>
                <c:pt idx="8">
                  <c:v>0.9728700821555769</c:v>
                </c:pt>
                <c:pt idx="9">
                  <c:v>0.9926298022323637</c:v>
                </c:pt>
                <c:pt idx="10">
                  <c:v>0.9976366281728692</c:v>
                </c:pt>
                <c:pt idx="11">
                  <c:v>1.0</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13</c:f>
              <c:strCache>
                <c:ptCount val="12"/>
                <c:pt idx="0">
                  <c:v>Boursin Classique Fromage Frais A Tartiner Afh Boite 1X150Gr 1P</c:v>
                </c:pt>
                <c:pt idx="1">
                  <c:v>Boursin Classique Fromage Frais A Tartiner Afh 1X160Gr 10P</c:v>
                </c:pt>
                <c:pt idx="2">
                  <c:v>Boursin Classique Fromage Frais A Tartiner Afh Boite 1X250Gr 1P</c:v>
                </c:pt>
                <c:pt idx="3">
                  <c:v>Boursin Onctueux Fromage Frais A Tartiner Afh 1X125Gr 1P</c:v>
                </c:pt>
                <c:pt idx="4">
                  <c:v>Boursin Classique Fromage Frais A Tartiner Figue Et 3 Noix Boite 1X150Gr 1P</c:v>
                </c:pt>
                <c:pt idx="5">
                  <c:v>Boursin Classique Fromage Frais A Tartiner Afh Boite 1X96Gr 6P</c:v>
                </c:pt>
                <c:pt idx="6">
                  <c:v>Boursin Classique Fromage Frais A Tartiner Ciboulette &amp; Echalote Boite 1X150Gr 1P</c:v>
                </c:pt>
                <c:pt idx="7">
                  <c:v>Boursin Classique Fromage Frais A Tartiner Poivre Boite 1X150Gr 1P</c:v>
                </c:pt>
                <c:pt idx="8">
                  <c:v>Boursin Classique Fromage Frais A Tartiner Afh 1X256Gr 16P</c:v>
                </c:pt>
                <c:pt idx="9">
                  <c:v>Boursin Classique Fromage Frais A Tartiner Ciboulette &amp; Echalote 1X160Gr 10P</c:v>
                </c:pt>
                <c:pt idx="10">
                  <c:v>Boursin Classique Fromage Frais A Tartiner Afh Boite 1X80Gr 1P</c:v>
                </c:pt>
                <c:pt idx="11">
                  <c:v>Boursin Classique Fromage Frais A Tartiner Truffe Boite 1X150Gr 1P</c:v>
                </c:pt>
              </c:strCache>
            </c:strRef>
          </c:cat>
          <c:val>
            <c:numRef>
              <c:f>Sheet1!$D$2:$D$13</c:f>
              <c:numCache>
                <c:formatCode>General</c:formatCode>
                <c:ptCount val="12"/>
                <c:pt idx="0">
                  <c:v>3670.6632653061224</c:v>
                </c:pt>
                <c:pt idx="1">
                  <c:v>3907.088888888889</c:v>
                </c:pt>
                <c:pt idx="2">
                  <c:v>2690.9662921348313</c:v>
                </c:pt>
                <c:pt idx="3">
                  <c:v>2365.864197530864</c:v>
                </c:pt>
                <c:pt idx="4">
                  <c:v>1809.314606741573</c:v>
                </c:pt>
                <c:pt idx="5">
                  <c:v>1990.4594594594594</c:v>
                </c:pt>
                <c:pt idx="6">
                  <c:v>1491.433734939759</c:v>
                </c:pt>
                <c:pt idx="7">
                  <c:v>1149.7733333333333</c:v>
                </c:pt>
                <c:pt idx="8">
                  <c:v>806.3125</c:v>
                </c:pt>
                <c:pt idx="9">
                  <c:v>756.1086956521739</c:v>
                </c:pt>
                <c:pt idx="10">
                  <c:v>734.4166666666666</c:v>
                </c:pt>
                <c:pt idx="11">
                  <c:v>126.06060606060606</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7</c:f>
              <c:strCache>
                <c:ptCount val="6"/>
                <c:pt idx="0">
                  <c:v>Boursin Salade &amp; Aperitif Fromage Frais Des Afh 1X120Gr 1P</c:v>
                </c:pt>
                <c:pt idx="1">
                  <c:v>Boursin Salade &amp; Aperitif Fromage Frais Des Ciboulette Echalote 1X120Gr 1P</c:v>
                </c:pt>
                <c:pt idx="2">
                  <c:v>Boursin Salade &amp; Aperitif Fromage Frais Des Figue Noix 1X120Gr 1P</c:v>
                </c:pt>
                <c:pt idx="3">
                  <c:v>Boursin Salade &amp; Aperitif Fromage Frais Des Citron Romarin 1X120Gr 1P</c:v>
                </c:pt>
                <c:pt idx="4">
                  <c:v>Boursin Salade &amp; Aperitif Fromage Frais Des Noisette Et 3 Noix 1X120Gr 1P</c:v>
                </c:pt>
                <c:pt idx="5">
                  <c:v>Boursin Salade &amp; Aperitif Soft Cheese Salade 120G</c:v>
                </c:pt>
              </c:strCache>
            </c:strRef>
          </c:cat>
          <c:val>
            <c:numRef>
              <c:f>Sheet1!$B$2:$B$7</c:f>
              <c:numCache>
                <c:formatCode>General</c:formatCode>
                <c:ptCount val="6"/>
                <c:pt idx="0">
                  <c:v>0.962</c:v>
                </c:pt>
                <c:pt idx="1">
                  <c:v>0.817</c:v>
                </c:pt>
                <c:pt idx="2">
                  <c:v>0.801</c:v>
                </c:pt>
                <c:pt idx="3">
                  <c:v>0.707</c:v>
                </c:pt>
                <c:pt idx="4">
                  <c:v>0.738</c:v>
                </c:pt>
                <c:pt idx="5">
                  <c:v>0.698</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7ECAC4"/>
              </a:solidFill>
            </c:spPr>
            <c:extLst>
              <c:ext xmlns:c16="http://schemas.microsoft.com/office/drawing/2014/chart" uri="{C3380CC4-5D6E-409C-BE32-E72D297353CC}">
                <c16:uniqueId val="{00000006-E902-46E2-9A54-39A26B3DFDC1}"/>
              </c:ext>
            </c:extLst>
          </c:dPt>
          <c:dPt>
            <c:idx val="3"/>
            <c:invertIfNegative val="0"/>
            <c:bubble3D val="0"/>
            <c:spPr>
              <a:solidFill>
                <a:srgbClr val="7ECAC4"/>
              </a:solidFill>
            </c:spPr>
            <c:extLst>
              <c:ext xmlns:c16="http://schemas.microsoft.com/office/drawing/2014/chart" uri="{C3380CC4-5D6E-409C-BE32-E72D297353CC}">
                <c16:uniqueId val="{00000007-E902-46E2-9A54-39A26B3DFDC1}"/>
              </c:ext>
            </c:extLst>
          </c:dPt>
          <c:dPt>
            <c:idx val="4"/>
            <c:invertIfNegative val="1"/>
            <c:bubble3D val="0"/>
            <c:spPr>
              <a:solidFill>
                <a:srgbClr val="AEABAB"/>
              </a:solidFill>
            </c:spPr>
            <c:extLst>
              <c:ext xmlns:c16="http://schemas.microsoft.com/office/drawing/2014/chart" uri="{C3380CC4-5D6E-409C-BE32-E72D297353CC}">
                <c16:uniqueId val="{0000000B-FA3E-4872-B6E1-C4ABDF5766E2}"/>
              </c:ext>
            </c:extLst>
          </c:dPt>
          <c:dPt>
            <c:idx val="5"/>
            <c:invertIfNegative val="1"/>
            <c:bubble3D val="0"/>
            <c:spPr>
              <a:solidFill>
                <a:srgbClr val="AEABAB"/>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7</c:f>
              <c:strCache>
                <c:ptCount val="6"/>
                <c:pt idx="0">
                  <c:v>Boursin Salade &amp; Aperitif Fromage Frais Des Afh 1X120Gr 1P</c:v>
                </c:pt>
                <c:pt idx="1">
                  <c:v>Boursin Salade &amp; Aperitif Fromage Frais Des Ciboulette Echalote 1X120Gr 1P</c:v>
                </c:pt>
                <c:pt idx="2">
                  <c:v>Boursin Salade &amp; Aperitif Fromage Frais Des Figue Noix 1X120Gr 1P</c:v>
                </c:pt>
                <c:pt idx="3">
                  <c:v>Boursin Salade &amp; Aperitif Fromage Frais Des Citron Romarin 1X120Gr 1P</c:v>
                </c:pt>
                <c:pt idx="4">
                  <c:v>Boursin Salade &amp; Aperitif Fromage Frais Des Noisette Et 3 Noix 1X120Gr 1P</c:v>
                </c:pt>
                <c:pt idx="5">
                  <c:v>Boursin Salade &amp; Aperitif Soft Cheese Salade 120G</c:v>
                </c:pt>
              </c:strCache>
            </c:strRef>
          </c:cat>
          <c:val>
            <c:numRef>
              <c:f>Sheet1!$C$2:$C$7</c:f>
              <c:numCache>
                <c:formatCode>General</c:formatCode>
                <c:ptCount val="6"/>
                <c:pt idx="0">
                  <c:v>0.6237010158516653</c:v>
                </c:pt>
                <c:pt idx="1">
                  <c:v>0.7625162465884119</c:v>
                </c:pt>
                <c:pt idx="2">
                  <c:v>0.8682962001360724</c:v>
                </c:pt>
                <c:pt idx="3">
                  <c:v>0.9219059535633011</c:v>
                </c:pt>
                <c:pt idx="4">
                  <c:v>0.9623589029740446</c:v>
                </c:pt>
                <c:pt idx="5">
                  <c:v>1.0</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7</c:f>
              <c:strCache>
                <c:ptCount val="6"/>
                <c:pt idx="0">
                  <c:v>Boursin Salade &amp; Aperitif Fromage Frais Des Afh 1X120Gr 1P</c:v>
                </c:pt>
                <c:pt idx="1">
                  <c:v>Boursin Salade &amp; Aperitif Fromage Frais Des Ciboulette Echalote 1X120Gr 1P</c:v>
                </c:pt>
                <c:pt idx="2">
                  <c:v>Boursin Salade &amp; Aperitif Fromage Frais Des Figue Noix 1X120Gr 1P</c:v>
                </c:pt>
                <c:pt idx="3">
                  <c:v>Boursin Salade &amp; Aperitif Fromage Frais Des Citron Romarin 1X120Gr 1P</c:v>
                </c:pt>
                <c:pt idx="4">
                  <c:v>Boursin Salade &amp; Aperitif Fromage Frais Des Noisette Et 3 Noix 1X120Gr 1P</c:v>
                </c:pt>
                <c:pt idx="5">
                  <c:v>Boursin Salade &amp; Aperitif Soft Cheese Salade 120G</c:v>
                </c:pt>
              </c:strCache>
            </c:strRef>
          </c:cat>
          <c:val>
            <c:numRef>
              <c:f>Sheet1!$D$2:$D$7</c:f>
              <c:numCache>
                <c:formatCode>General</c:formatCode>
                <c:ptCount val="6"/>
                <c:pt idx="0">
                  <c:v>20726.22661122661</c:v>
                </c:pt>
                <c:pt idx="1">
                  <c:v>5431.676866585068</c:v>
                </c:pt>
                <c:pt idx="2">
                  <c:v>4221.722846441947</c:v>
                </c:pt>
                <c:pt idx="3">
                  <c:v>2424.059405940594</c:v>
                </c:pt>
                <c:pt idx="4">
                  <c:v>1752.3170731707319</c:v>
                </c:pt>
                <c:pt idx="5">
                  <c:v>1723.9541547277938</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7</c:f>
              <c:strCache>
                <c:ptCount val="6"/>
                <c:pt idx="0">
                  <c:v>Boursin Salade &amp; Aperitif Fromage Frais Des Afh 1X120Gr 1P</c:v>
                </c:pt>
                <c:pt idx="1">
                  <c:v>Boursin Salade &amp; Aperitif Fromage Frais Des Ciboulette Echalote 1X120Gr 1P</c:v>
                </c:pt>
                <c:pt idx="2">
                  <c:v>Boursin Salade &amp; Aperitif Fromage Frais Des Figue Noix 1X120Gr 1P</c:v>
                </c:pt>
                <c:pt idx="3">
                  <c:v>Boursin Salade &amp; Aperitif Fromage Frais Des Citron Romarin 1X120Gr 1P</c:v>
                </c:pt>
                <c:pt idx="4">
                  <c:v>Boursin Salade &amp; Aperitif Fromage Frais Des Noisette Et 3 Noix 1X120Gr 1P</c:v>
                </c:pt>
                <c:pt idx="5">
                  <c:v>Boursin Salade &amp; Aperitif Soft Cheese Salade 120G</c:v>
                </c:pt>
              </c:strCache>
            </c:strRef>
          </c:cat>
          <c:val>
            <c:numRef>
              <c:f>Sheet1!$B$2:$B$7</c:f>
              <c:numCache>
                <c:formatCode>General</c:formatCode>
                <c:ptCount val="6"/>
                <c:pt idx="0">
                  <c:v>0.968</c:v>
                </c:pt>
                <c:pt idx="1">
                  <c:v>0.823</c:v>
                </c:pt>
                <c:pt idx="2">
                  <c:v>0.845</c:v>
                </c:pt>
                <c:pt idx="3">
                  <c:v>0.66</c:v>
                </c:pt>
                <c:pt idx="4">
                  <c:v>0.803</c:v>
                </c:pt>
                <c:pt idx="5">
                  <c:v>0.414</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7ECAC4"/>
              </a:solidFill>
            </c:spPr>
            <c:extLst>
              <c:ext xmlns:c16="http://schemas.microsoft.com/office/drawing/2014/chart" uri="{C3380CC4-5D6E-409C-BE32-E72D297353CC}">
                <c16:uniqueId val="{00000006-E902-46E2-9A54-39A26B3DFDC1}"/>
              </c:ext>
            </c:extLst>
          </c:dPt>
          <c:dPt>
            <c:idx val="3"/>
            <c:invertIfNegative val="0"/>
            <c:bubble3D val="0"/>
            <c:spPr>
              <a:solidFill>
                <a:srgbClr val="7ECAC4"/>
              </a:solidFill>
            </c:spPr>
            <c:extLst>
              <c:ext xmlns:c16="http://schemas.microsoft.com/office/drawing/2014/chart" uri="{C3380CC4-5D6E-409C-BE32-E72D297353CC}">
                <c16:uniqueId val="{00000007-E902-46E2-9A54-39A26B3DFDC1}"/>
              </c:ext>
            </c:extLst>
          </c:dPt>
          <c:dPt>
            <c:idx val="4"/>
            <c:invertIfNegative val="1"/>
            <c:bubble3D val="0"/>
            <c:spPr>
              <a:solidFill>
                <a:srgbClr val="AEABAB"/>
              </a:solidFill>
            </c:spPr>
            <c:extLst>
              <c:ext xmlns:c16="http://schemas.microsoft.com/office/drawing/2014/chart" uri="{C3380CC4-5D6E-409C-BE32-E72D297353CC}">
                <c16:uniqueId val="{0000000B-FA3E-4872-B6E1-C4ABDF5766E2}"/>
              </c:ext>
            </c:extLst>
          </c:dPt>
          <c:dPt>
            <c:idx val="5"/>
            <c:invertIfNegative val="1"/>
            <c:bubble3D val="0"/>
            <c:spPr>
              <a:solidFill>
                <a:srgbClr val="AEABAB"/>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7</c:f>
              <c:strCache>
                <c:ptCount val="6"/>
                <c:pt idx="0">
                  <c:v>Boursin Salade &amp; Aperitif Fromage Frais Des Afh 1X120Gr 1P</c:v>
                </c:pt>
                <c:pt idx="1">
                  <c:v>Boursin Salade &amp; Aperitif Fromage Frais Des Ciboulette Echalote 1X120Gr 1P</c:v>
                </c:pt>
                <c:pt idx="2">
                  <c:v>Boursin Salade &amp; Aperitif Fromage Frais Des Figue Noix 1X120Gr 1P</c:v>
                </c:pt>
                <c:pt idx="3">
                  <c:v>Boursin Salade &amp; Aperitif Fromage Frais Des Citron Romarin 1X120Gr 1P</c:v>
                </c:pt>
                <c:pt idx="4">
                  <c:v>Boursin Salade &amp; Aperitif Fromage Frais Des Noisette Et 3 Noix 1X120Gr 1P</c:v>
                </c:pt>
                <c:pt idx="5">
                  <c:v>Boursin Salade &amp; Aperitif Soft Cheese Salade 120G</c:v>
                </c:pt>
              </c:strCache>
            </c:strRef>
          </c:cat>
          <c:val>
            <c:numRef>
              <c:f>Sheet1!$C$2:$C$7</c:f>
              <c:numCache>
                <c:formatCode>General</c:formatCode>
                <c:ptCount val="6"/>
                <c:pt idx="0">
                  <c:v>0.6092660275380395</c:v>
                </c:pt>
                <c:pt idx="1">
                  <c:v>0.7622723508319038</c:v>
                </c:pt>
                <c:pt idx="2">
                  <c:v>0.8658415063550609</c:v>
                </c:pt>
                <c:pt idx="3">
                  <c:v>0.9252116960315842</c:v>
                </c:pt>
                <c:pt idx="4">
                  <c:v>0.9743590600997147</c:v>
                </c:pt>
                <c:pt idx="5">
                  <c:v>1.0</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7</c:f>
              <c:strCache>
                <c:ptCount val="6"/>
                <c:pt idx="0">
                  <c:v>Boursin Salade &amp; Aperitif Fromage Frais Des Afh 1X120Gr 1P</c:v>
                </c:pt>
                <c:pt idx="1">
                  <c:v>Boursin Salade &amp; Aperitif Fromage Frais Des Ciboulette Echalote 1X120Gr 1P</c:v>
                </c:pt>
                <c:pt idx="2">
                  <c:v>Boursin Salade &amp; Aperitif Fromage Frais Des Figue Noix 1X120Gr 1P</c:v>
                </c:pt>
                <c:pt idx="3">
                  <c:v>Boursin Salade &amp; Aperitif Fromage Frais Des Citron Romarin 1X120Gr 1P</c:v>
                </c:pt>
                <c:pt idx="4">
                  <c:v>Boursin Salade &amp; Aperitif Fromage Frais Des Noisette Et 3 Noix 1X120Gr 1P</c:v>
                </c:pt>
                <c:pt idx="5">
                  <c:v>Boursin Salade &amp; Aperitif Soft Cheese Salade 120G</c:v>
                </c:pt>
              </c:strCache>
            </c:strRef>
          </c:cat>
          <c:val>
            <c:numRef>
              <c:f>Sheet1!$D$2:$D$7</c:f>
              <c:numCache>
                <c:formatCode>General</c:formatCode>
                <c:ptCount val="6"/>
                <c:pt idx="0">
                  <c:v>11293.564049586777</c:v>
                </c:pt>
                <c:pt idx="1">
                  <c:v>3335.868772782503</c:v>
                </c:pt>
                <c:pt idx="2">
                  <c:v>2199.242603550296</c:v>
                </c:pt>
                <c:pt idx="3">
                  <c:v>1614.0757575757575</c:v>
                </c:pt>
                <c:pt idx="4">
                  <c:v>1098.206724782067</c:v>
                </c:pt>
                <c:pt idx="5">
                  <c:v>1111.304347826087</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7</c:f>
              <c:strCache>
                <c:ptCount val="6"/>
                <c:pt idx="0">
                  <c:v>Boursin Salade &amp; Aperitif Fromage Frais Des Afh 1X120Gr 1P</c:v>
                </c:pt>
                <c:pt idx="1">
                  <c:v>Boursin Salade &amp; Aperitif Fromage Frais Des Ciboulette Echalote 1X120Gr 1P</c:v>
                </c:pt>
                <c:pt idx="2">
                  <c:v>Boursin Salade &amp; Aperitif Fromage Frais Des Figue Noix 1X120Gr 1P</c:v>
                </c:pt>
                <c:pt idx="3">
                  <c:v>Boursin Salade &amp; Aperitif Fromage Frais Des Citron Romarin 1X120Gr 1P</c:v>
                </c:pt>
                <c:pt idx="4">
                  <c:v>Boursin Salade &amp; Aperitif Fromage Frais Des Noisette Et 3 Noix 1X120Gr 1P</c:v>
                </c:pt>
                <c:pt idx="5">
                  <c:v>Boursin Salade &amp; Aperitif Soft Cheese Salade 120G</c:v>
                </c:pt>
              </c:strCache>
            </c:strRef>
          </c:cat>
          <c:val>
            <c:numRef>
              <c:f>Sheet1!$B$2:$B$7</c:f>
              <c:numCache>
                <c:formatCode>General</c:formatCode>
                <c:ptCount val="6"/>
                <c:pt idx="0">
                  <c:v>1.0</c:v>
                </c:pt>
                <c:pt idx="1">
                  <c:v>1.0</c:v>
                </c:pt>
                <c:pt idx="2">
                  <c:v>1.0</c:v>
                </c:pt>
                <c:pt idx="3">
                  <c:v>0.95</c:v>
                </c:pt>
                <c:pt idx="4">
                  <c:v>0.96</c:v>
                </c:pt>
                <c:pt idx="5">
                  <c:v>0.94</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7ECAC4"/>
              </a:solidFill>
            </c:spPr>
            <c:extLst>
              <c:ext xmlns:c16="http://schemas.microsoft.com/office/drawing/2014/chart" uri="{C3380CC4-5D6E-409C-BE32-E72D297353CC}">
                <c16:uniqueId val="{00000006-E902-46E2-9A54-39A26B3DFDC1}"/>
              </c:ext>
            </c:extLst>
          </c:dPt>
          <c:dPt>
            <c:idx val="3"/>
            <c:invertIfNegative val="0"/>
            <c:bubble3D val="0"/>
            <c:spPr>
              <a:solidFill>
                <a:srgbClr val="7ECAC4"/>
              </a:solidFill>
            </c:spPr>
            <c:extLst>
              <c:ext xmlns:c16="http://schemas.microsoft.com/office/drawing/2014/chart" uri="{C3380CC4-5D6E-409C-BE32-E72D297353CC}">
                <c16:uniqueId val="{00000007-E902-46E2-9A54-39A26B3DFDC1}"/>
              </c:ext>
            </c:extLst>
          </c:dPt>
          <c:dPt>
            <c:idx val="4"/>
            <c:invertIfNegative val="1"/>
            <c:bubble3D val="0"/>
            <c:spPr>
              <a:solidFill>
                <a:srgbClr val="AEABAB"/>
              </a:solidFill>
            </c:spPr>
            <c:extLst>
              <c:ext xmlns:c16="http://schemas.microsoft.com/office/drawing/2014/chart" uri="{C3380CC4-5D6E-409C-BE32-E72D297353CC}">
                <c16:uniqueId val="{0000000B-FA3E-4872-B6E1-C4ABDF5766E2}"/>
              </c:ext>
            </c:extLst>
          </c:dPt>
          <c:dPt>
            <c:idx val="5"/>
            <c:invertIfNegative val="1"/>
            <c:bubble3D val="0"/>
            <c:spPr>
              <a:solidFill>
                <a:srgbClr val="AEABAB"/>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7</c:f>
              <c:strCache>
                <c:ptCount val="6"/>
                <c:pt idx="0">
                  <c:v>Boursin Salade &amp; Aperitif Fromage Frais Des Afh 1X120Gr 1P</c:v>
                </c:pt>
                <c:pt idx="1">
                  <c:v>Boursin Salade &amp; Aperitif Fromage Frais Des Ciboulette Echalote 1X120Gr 1P</c:v>
                </c:pt>
                <c:pt idx="2">
                  <c:v>Boursin Salade &amp; Aperitif Fromage Frais Des Figue Noix 1X120Gr 1P</c:v>
                </c:pt>
                <c:pt idx="3">
                  <c:v>Boursin Salade &amp; Aperitif Fromage Frais Des Citron Romarin 1X120Gr 1P</c:v>
                </c:pt>
                <c:pt idx="4">
                  <c:v>Boursin Salade &amp; Aperitif Fromage Frais Des Noisette Et 3 Noix 1X120Gr 1P</c:v>
                </c:pt>
                <c:pt idx="5">
                  <c:v>Boursin Salade &amp; Aperitif Soft Cheese Salade 120G</c:v>
                </c:pt>
              </c:strCache>
            </c:strRef>
          </c:cat>
          <c:val>
            <c:numRef>
              <c:f>Sheet1!$C$2:$C$7</c:f>
              <c:numCache>
                <c:formatCode>General</c:formatCode>
                <c:ptCount val="6"/>
                <c:pt idx="0">
                  <c:v>0.5076667028754985</c:v>
                </c:pt>
                <c:pt idx="1">
                  <c:v>0.7204109185146103</c:v>
                </c:pt>
                <c:pt idx="2">
                  <c:v>0.841672227308701</c:v>
                </c:pt>
                <c:pt idx="3">
                  <c:v>0.9039307273319781</c:v>
                </c:pt>
                <c:pt idx="4">
                  <c:v>0.9566875126084325</c:v>
                </c:pt>
                <c:pt idx="5">
                  <c:v>1.0</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7</c:f>
              <c:strCache>
                <c:ptCount val="6"/>
                <c:pt idx="0">
                  <c:v>Boursin Salade &amp; Aperitif Fromage Frais Des Afh 1X120Gr 1P</c:v>
                </c:pt>
                <c:pt idx="1">
                  <c:v>Boursin Salade &amp; Aperitif Fromage Frais Des Ciboulette Echalote 1X120Gr 1P</c:v>
                </c:pt>
                <c:pt idx="2">
                  <c:v>Boursin Salade &amp; Aperitif Fromage Frais Des Figue Noix 1X120Gr 1P</c:v>
                </c:pt>
                <c:pt idx="3">
                  <c:v>Boursin Salade &amp; Aperitif Fromage Frais Des Citron Romarin 1X120Gr 1P</c:v>
                </c:pt>
                <c:pt idx="4">
                  <c:v>Boursin Salade &amp; Aperitif Fromage Frais Des Noisette Et 3 Noix 1X120Gr 1P</c:v>
                </c:pt>
                <c:pt idx="5">
                  <c:v>Boursin Salade &amp; Aperitif Soft Cheese Salade 120G</c:v>
                </c:pt>
              </c:strCache>
            </c:strRef>
          </c:cat>
          <c:val>
            <c:numRef>
              <c:f>Sheet1!$D$2:$D$7</c:f>
              <c:numCache>
                <c:formatCode>General</c:formatCode>
                <c:ptCount val="6"/>
                <c:pt idx="0">
                  <c:v>6542.91</c:v>
                </c:pt>
                <c:pt idx="1">
                  <c:v>2741.89</c:v>
                </c:pt>
                <c:pt idx="2">
                  <c:v>1562.84</c:v>
                </c:pt>
                <c:pt idx="3">
                  <c:v>844.6315789473684</c:v>
                </c:pt>
                <c:pt idx="4">
                  <c:v>708.2708333333334</c:v>
                </c:pt>
                <c:pt idx="5">
                  <c:v>593.8510638297872</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7</c:f>
              <c:strCache>
                <c:ptCount val="6"/>
                <c:pt idx="0">
                  <c:v>Boursin Salade &amp; Aperitif Fromage Frais Des Afh 1X120Gr 1P</c:v>
                </c:pt>
                <c:pt idx="1">
                  <c:v>Boursin Salade &amp; Aperitif Fromage Frais Des Figue Noix 1X120Gr 1P</c:v>
                </c:pt>
                <c:pt idx="2">
                  <c:v>Boursin Salade &amp; Aperitif Fromage Frais Des Ciboulette Echalote 1X120Gr 1P</c:v>
                </c:pt>
                <c:pt idx="3">
                  <c:v>Boursin Salade &amp; Aperitif Fromage Frais Des Citron Romarin 1X120Gr 1P</c:v>
                </c:pt>
                <c:pt idx="4">
                  <c:v>Boursin Salade &amp; Aperitif Soft Cheese Salade 120G</c:v>
                </c:pt>
                <c:pt idx="5">
                  <c:v>Boursin Salade &amp; Aperitif Fromage Frais Des Noisette Et 3 Noix 1X120Gr 1P</c:v>
                </c:pt>
              </c:strCache>
            </c:strRef>
          </c:cat>
          <c:val>
            <c:numRef>
              <c:f>Sheet1!$B$2:$B$7</c:f>
              <c:numCache>
                <c:formatCode>General</c:formatCode>
                <c:ptCount val="6"/>
                <c:pt idx="0">
                  <c:v>0.99</c:v>
                </c:pt>
                <c:pt idx="1">
                  <c:v>0.91</c:v>
                </c:pt>
                <c:pt idx="2">
                  <c:v>0.95</c:v>
                </c:pt>
                <c:pt idx="3">
                  <c:v>0.72</c:v>
                </c:pt>
                <c:pt idx="4">
                  <c:v>0.71</c:v>
                </c:pt>
                <c:pt idx="5">
                  <c:v>0.7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7ECAC4"/>
              </a:solidFill>
            </c:spPr>
            <c:extLst>
              <c:ext xmlns:c16="http://schemas.microsoft.com/office/drawing/2014/chart" uri="{C3380CC4-5D6E-409C-BE32-E72D297353CC}">
                <c16:uniqueId val="{00000006-E902-46E2-9A54-39A26B3DFDC1}"/>
              </c:ext>
            </c:extLst>
          </c:dPt>
          <c:dPt>
            <c:idx val="3"/>
            <c:invertIfNegative val="0"/>
            <c:bubble3D val="0"/>
            <c:spPr>
              <a:solidFill>
                <a:srgbClr val="7ECAC4"/>
              </a:solidFill>
            </c:spPr>
            <c:extLst>
              <c:ext xmlns:c16="http://schemas.microsoft.com/office/drawing/2014/chart" uri="{C3380CC4-5D6E-409C-BE32-E72D297353CC}">
                <c16:uniqueId val="{00000007-E902-46E2-9A54-39A26B3DFDC1}"/>
              </c:ext>
            </c:extLst>
          </c:dPt>
          <c:dPt>
            <c:idx val="4"/>
            <c:invertIfNegative val="1"/>
            <c:bubble3D val="0"/>
            <c:spPr>
              <a:solidFill>
                <a:srgbClr val="AEABAB"/>
              </a:solidFill>
            </c:spPr>
            <c:extLst>
              <c:ext xmlns:c16="http://schemas.microsoft.com/office/drawing/2014/chart" uri="{C3380CC4-5D6E-409C-BE32-E72D297353CC}">
                <c16:uniqueId val="{0000000B-FA3E-4872-B6E1-C4ABDF5766E2}"/>
              </c:ext>
            </c:extLst>
          </c:dPt>
          <c:dPt>
            <c:idx val="5"/>
            <c:invertIfNegative val="1"/>
            <c:bubble3D val="0"/>
            <c:spPr>
              <a:solidFill>
                <a:srgbClr val="AEABAB"/>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7</c:f>
              <c:strCache>
                <c:ptCount val="6"/>
                <c:pt idx="0">
                  <c:v>Boursin Salade &amp; Aperitif Fromage Frais Des Afh 1X120Gr 1P</c:v>
                </c:pt>
                <c:pt idx="1">
                  <c:v>Boursin Salade &amp; Aperitif Fromage Frais Des Figue Noix 1X120Gr 1P</c:v>
                </c:pt>
                <c:pt idx="2">
                  <c:v>Boursin Salade &amp; Aperitif Fromage Frais Des Ciboulette Echalote 1X120Gr 1P</c:v>
                </c:pt>
                <c:pt idx="3">
                  <c:v>Boursin Salade &amp; Aperitif Fromage Frais Des Citron Romarin 1X120Gr 1P</c:v>
                </c:pt>
                <c:pt idx="4">
                  <c:v>Boursin Salade &amp; Aperitif Soft Cheese Salade 120G</c:v>
                </c:pt>
                <c:pt idx="5">
                  <c:v>Boursin Salade &amp; Aperitif Fromage Frais Des Noisette Et 3 Noix 1X120Gr 1P</c:v>
                </c:pt>
              </c:strCache>
            </c:strRef>
          </c:cat>
          <c:val>
            <c:numRef>
              <c:f>Sheet1!$C$2:$C$7</c:f>
              <c:numCache>
                <c:formatCode>General</c:formatCode>
                <c:ptCount val="6"/>
                <c:pt idx="0">
                  <c:v>0.5701926058122037</c:v>
                </c:pt>
                <c:pt idx="1">
                  <c:v>0.7077284310982388</c:v>
                </c:pt>
                <c:pt idx="2">
                  <c:v>0.835950060118422</c:v>
                </c:pt>
                <c:pt idx="3">
                  <c:v>0.9048412344315974</c:v>
                </c:pt>
                <c:pt idx="4">
                  <c:v>0.9536241199646096</c:v>
                </c:pt>
                <c:pt idx="5">
                  <c:v>1.0</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7</c:f>
              <c:strCache>
                <c:ptCount val="6"/>
                <c:pt idx="0">
                  <c:v>Boursin Salade &amp; Aperitif Fromage Frais Des Afh 1X120Gr 1P</c:v>
                </c:pt>
                <c:pt idx="1">
                  <c:v>Boursin Salade &amp; Aperitif Fromage Frais Des Figue Noix 1X120Gr 1P</c:v>
                </c:pt>
                <c:pt idx="2">
                  <c:v>Boursin Salade &amp; Aperitif Fromage Frais Des Ciboulette Echalote 1X120Gr 1P</c:v>
                </c:pt>
                <c:pt idx="3">
                  <c:v>Boursin Salade &amp; Aperitif Fromage Frais Des Citron Romarin 1X120Gr 1P</c:v>
                </c:pt>
                <c:pt idx="4">
                  <c:v>Boursin Salade &amp; Aperitif Soft Cheese Salade 120G</c:v>
                </c:pt>
                <c:pt idx="5">
                  <c:v>Boursin Salade &amp; Aperitif Fromage Frais Des Noisette Et 3 Noix 1X120Gr 1P</c:v>
                </c:pt>
              </c:strCache>
            </c:strRef>
          </c:cat>
          <c:val>
            <c:numRef>
              <c:f>Sheet1!$D$2:$D$7</c:f>
              <c:numCache>
                <c:formatCode>General</c:formatCode>
                <c:ptCount val="6"/>
                <c:pt idx="0">
                  <c:v>7616.333333333333</c:v>
                </c:pt>
                <c:pt idx="1">
                  <c:v>1998.6373626373627</c:v>
                </c:pt>
                <c:pt idx="2">
                  <c:v>1784.8315789473684</c:v>
                </c:pt>
                <c:pt idx="3">
                  <c:v>1265.2916666666667</c:v>
                </c:pt>
                <c:pt idx="4">
                  <c:v>908.5915492957746</c:v>
                </c:pt>
                <c:pt idx="5">
                  <c:v>776.2911392405064</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2</c:f>
              <c:strCache>
                <c:ptCount val="1"/>
                <c:pt idx="0">
                  <c:v>Boursin Salade &amp; Aperitif Fromage Frais Des Afh 1X120Gr 1P</c:v>
                </c:pt>
              </c:strCache>
            </c:strRef>
          </c:cat>
          <c:val>
            <c:numRef>
              <c:f>Sheet1!$B$2:$B$2</c:f>
              <c:numCache>
                <c:formatCode>General</c:formatCode>
                <c:ptCount val="1"/>
                <c:pt idx="0">
                  <c:v>0.7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AEABAB"/>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2</c:f>
              <c:strCache>
                <c:ptCount val="1"/>
                <c:pt idx="0">
                  <c:v>Boursin Salade &amp; Aperitif Fromage Frais Des Afh 1X120Gr 1P</c:v>
                </c:pt>
              </c:strCache>
            </c:strRef>
          </c:cat>
          <c:val>
            <c:numRef>
              <c:f>Sheet1!$C$2:$C$2</c:f>
              <c:numCache>
                <c:formatCode>General</c:formatCode>
                <c:ptCount val="1"/>
                <c:pt idx="0">
                  <c:v>0.9998975436080019</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2</c:f>
              <c:strCache>
                <c:ptCount val="1"/>
                <c:pt idx="0">
                  <c:v>Boursin Salade &amp; Aperitif Fromage Frais Des Afh 1X120Gr 1P</c:v>
                </c:pt>
              </c:strCache>
            </c:strRef>
          </c:cat>
          <c:val>
            <c:numRef>
              <c:f>Sheet1!$D$2:$D$2</c:f>
              <c:numCache>
                <c:formatCode>General</c:formatCode>
                <c:ptCount val="1"/>
                <c:pt idx="0">
                  <c:v>7412.088607594937</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7</c:f>
              <c:strCache>
                <c:ptCount val="6"/>
                <c:pt idx="0">
                  <c:v>Boursin Salade &amp; Aperitif Fromage Frais Des Afh 1X120Gr 1P</c:v>
                </c:pt>
                <c:pt idx="1">
                  <c:v>Boursin Salade &amp; Aperitif Fromage Frais Des Ciboulette Echalote 1X120Gr 1P</c:v>
                </c:pt>
                <c:pt idx="2">
                  <c:v>Boursin Salade &amp; Aperitif Fromage Frais Des Figue Noix 1X120Gr 1P</c:v>
                </c:pt>
                <c:pt idx="3">
                  <c:v>Boursin Salade &amp; Aperitif Fromage Frais Des Citron Romarin 1X120Gr 1P</c:v>
                </c:pt>
                <c:pt idx="4">
                  <c:v>Boursin Salade &amp; Aperitif Fromage Frais Des Noisette Et 3 Noix 1X120Gr 1P</c:v>
                </c:pt>
                <c:pt idx="5">
                  <c:v>Boursin Salade &amp; Aperitif Soft Cheese Salade 120G</c:v>
                </c:pt>
              </c:strCache>
            </c:strRef>
          </c:cat>
          <c:val>
            <c:numRef>
              <c:f>Sheet1!$B$2:$B$7</c:f>
              <c:numCache>
                <c:formatCode>General</c:formatCode>
                <c:ptCount val="6"/>
                <c:pt idx="0">
                  <c:v>0.98</c:v>
                </c:pt>
                <c:pt idx="1">
                  <c:v>0.86</c:v>
                </c:pt>
                <c:pt idx="2">
                  <c:v>0.88</c:v>
                </c:pt>
                <c:pt idx="3">
                  <c:v>0.67</c:v>
                </c:pt>
                <c:pt idx="4">
                  <c:v>0.83</c:v>
                </c:pt>
                <c:pt idx="5">
                  <c:v>0.4</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7ECAC4"/>
              </a:solidFill>
            </c:spPr>
            <c:extLst>
              <c:ext xmlns:c16="http://schemas.microsoft.com/office/drawing/2014/chart" uri="{C3380CC4-5D6E-409C-BE32-E72D297353CC}">
                <c16:uniqueId val="{00000006-E902-46E2-9A54-39A26B3DFDC1}"/>
              </c:ext>
            </c:extLst>
          </c:dPt>
          <c:dPt>
            <c:idx val="3"/>
            <c:invertIfNegative val="0"/>
            <c:bubble3D val="0"/>
            <c:spPr>
              <a:solidFill>
                <a:srgbClr val="7ECAC4"/>
              </a:solidFill>
            </c:spPr>
            <c:extLst>
              <c:ext xmlns:c16="http://schemas.microsoft.com/office/drawing/2014/chart" uri="{C3380CC4-5D6E-409C-BE32-E72D297353CC}">
                <c16:uniqueId val="{00000007-E902-46E2-9A54-39A26B3DFDC1}"/>
              </c:ext>
            </c:extLst>
          </c:dPt>
          <c:dPt>
            <c:idx val="4"/>
            <c:invertIfNegative val="1"/>
            <c:bubble3D val="0"/>
            <c:spPr>
              <a:solidFill>
                <a:srgbClr val="AEABAB"/>
              </a:solidFill>
            </c:spPr>
            <c:extLst>
              <c:ext xmlns:c16="http://schemas.microsoft.com/office/drawing/2014/chart" uri="{C3380CC4-5D6E-409C-BE32-E72D297353CC}">
                <c16:uniqueId val="{0000000B-FA3E-4872-B6E1-C4ABDF5766E2}"/>
              </c:ext>
            </c:extLst>
          </c:dPt>
          <c:dPt>
            <c:idx val="5"/>
            <c:invertIfNegative val="1"/>
            <c:bubble3D val="0"/>
            <c:spPr>
              <a:solidFill>
                <a:srgbClr val="AEABAB"/>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7</c:f>
              <c:strCache>
                <c:ptCount val="6"/>
                <c:pt idx="0">
                  <c:v>Boursin Salade &amp; Aperitif Fromage Frais Des Afh 1X120Gr 1P</c:v>
                </c:pt>
                <c:pt idx="1">
                  <c:v>Boursin Salade &amp; Aperitif Fromage Frais Des Ciboulette Echalote 1X120Gr 1P</c:v>
                </c:pt>
                <c:pt idx="2">
                  <c:v>Boursin Salade &amp; Aperitif Fromage Frais Des Figue Noix 1X120Gr 1P</c:v>
                </c:pt>
                <c:pt idx="3">
                  <c:v>Boursin Salade &amp; Aperitif Fromage Frais Des Citron Romarin 1X120Gr 1P</c:v>
                </c:pt>
                <c:pt idx="4">
                  <c:v>Boursin Salade &amp; Aperitif Fromage Frais Des Noisette Et 3 Noix 1X120Gr 1P</c:v>
                </c:pt>
                <c:pt idx="5">
                  <c:v>Boursin Salade &amp; Aperitif Soft Cheese Salade 120G</c:v>
                </c:pt>
              </c:strCache>
            </c:strRef>
          </c:cat>
          <c:val>
            <c:numRef>
              <c:f>Sheet1!$C$2:$C$7</c:f>
              <c:numCache>
                <c:formatCode>General</c:formatCode>
                <c:ptCount val="6"/>
                <c:pt idx="0">
                  <c:v>0.603669884158515</c:v>
                </c:pt>
                <c:pt idx="1">
                  <c:v>0.7592048927862616</c:v>
                </c:pt>
                <c:pt idx="2">
                  <c:v>0.8637360792928193</c:v>
                </c:pt>
                <c:pt idx="3">
                  <c:v>0.9231320781385269</c:v>
                </c:pt>
                <c:pt idx="4">
                  <c:v>0.9740740631680616</c:v>
                </c:pt>
                <c:pt idx="5">
                  <c:v>1.000000000000000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7</c:f>
              <c:strCache>
                <c:ptCount val="6"/>
                <c:pt idx="0">
                  <c:v>Boursin Salade &amp; Aperitif Fromage Frais Des Afh 1X120Gr 1P</c:v>
                </c:pt>
                <c:pt idx="1">
                  <c:v>Boursin Salade &amp; Aperitif Fromage Frais Des Ciboulette Echalote 1X120Gr 1P</c:v>
                </c:pt>
                <c:pt idx="2">
                  <c:v>Boursin Salade &amp; Aperitif Fromage Frais Des Figue Noix 1X120Gr 1P</c:v>
                </c:pt>
                <c:pt idx="3">
                  <c:v>Boursin Salade &amp; Aperitif Fromage Frais Des Citron Romarin 1X120Gr 1P</c:v>
                </c:pt>
                <c:pt idx="4">
                  <c:v>Boursin Salade &amp; Aperitif Fromage Frais Des Noisette Et 3 Noix 1X120Gr 1P</c:v>
                </c:pt>
                <c:pt idx="5">
                  <c:v>Boursin Salade &amp; Aperitif Soft Cheese Salade 120G</c:v>
                </c:pt>
              </c:strCache>
            </c:strRef>
          </c:cat>
          <c:val>
            <c:numRef>
              <c:f>Sheet1!$D$2:$D$7</c:f>
              <c:numCache>
                <c:formatCode>General</c:formatCode>
                <c:ptCount val="6"/>
                <c:pt idx="0">
                  <c:v>8367.65306122449</c:v>
                </c:pt>
                <c:pt idx="1">
                  <c:v>2456.7441860465115</c:v>
                </c:pt>
                <c:pt idx="2">
                  <c:v>1613.590909090909</c:v>
                </c:pt>
                <c:pt idx="3">
                  <c:v>1204.2388059701493</c:v>
                </c:pt>
                <c:pt idx="4">
                  <c:v>833.7349397590361</c:v>
                </c:pt>
                <c:pt idx="5">
                  <c:v>880.45</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7</c:f>
              <c:strCache>
                <c:ptCount val="6"/>
                <c:pt idx="0">
                  <c:v>Boursin Salade &amp; Aperitif Fromage Frais Des Afh 1X120Gr 1P</c:v>
                </c:pt>
                <c:pt idx="1">
                  <c:v>Boursin Salade &amp; Aperitif Fromage Frais Des Ciboulette Echalote 1X120Gr 1P</c:v>
                </c:pt>
                <c:pt idx="2">
                  <c:v>Boursin Salade &amp; Aperitif Fromage Frais Des Figue Noix 1X120Gr 1P</c:v>
                </c:pt>
                <c:pt idx="3">
                  <c:v>Boursin Salade &amp; Aperitif Fromage Frais Des Citron Romarin 1X120Gr 1P</c:v>
                </c:pt>
                <c:pt idx="4">
                  <c:v>Boursin Salade &amp; Aperitif Fromage Frais Des Noisette Et 3 Noix 1X120Gr 1P</c:v>
                </c:pt>
                <c:pt idx="5">
                  <c:v>Boursin Salade &amp; Aperitif Soft Cheese Salade 120G</c:v>
                </c:pt>
              </c:strCache>
            </c:strRef>
          </c:cat>
          <c:val>
            <c:numRef>
              <c:f>Sheet1!$B$2:$B$7</c:f>
              <c:numCache>
                <c:formatCode>General</c:formatCode>
                <c:ptCount val="6"/>
                <c:pt idx="0">
                  <c:v>1.0</c:v>
                </c:pt>
                <c:pt idx="1">
                  <c:v>0.95</c:v>
                </c:pt>
                <c:pt idx="2">
                  <c:v>0.97</c:v>
                </c:pt>
                <c:pt idx="3">
                  <c:v>0.93</c:v>
                </c:pt>
                <c:pt idx="4">
                  <c:v>0.99</c:v>
                </c:pt>
                <c:pt idx="5">
                  <c:v>0.73</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7ECAC4"/>
              </a:solidFill>
            </c:spPr>
            <c:extLst>
              <c:ext xmlns:c16="http://schemas.microsoft.com/office/drawing/2014/chart" uri="{C3380CC4-5D6E-409C-BE32-E72D297353CC}">
                <c16:uniqueId val="{00000006-E902-46E2-9A54-39A26B3DFDC1}"/>
              </c:ext>
            </c:extLst>
          </c:dPt>
          <c:dPt>
            <c:idx val="3"/>
            <c:invertIfNegative val="0"/>
            <c:bubble3D val="0"/>
            <c:spPr>
              <a:solidFill>
                <a:srgbClr val="7ECAC4"/>
              </a:solidFill>
            </c:spPr>
            <c:extLst>
              <c:ext xmlns:c16="http://schemas.microsoft.com/office/drawing/2014/chart" uri="{C3380CC4-5D6E-409C-BE32-E72D297353CC}">
                <c16:uniqueId val="{00000007-E902-46E2-9A54-39A26B3DFDC1}"/>
              </c:ext>
            </c:extLst>
          </c:dPt>
          <c:dPt>
            <c:idx val="4"/>
            <c:invertIfNegative val="1"/>
            <c:bubble3D val="0"/>
            <c:spPr>
              <a:solidFill>
                <a:srgbClr val="AEABAB"/>
              </a:solidFill>
            </c:spPr>
            <c:extLst>
              <c:ext xmlns:c16="http://schemas.microsoft.com/office/drawing/2014/chart" uri="{C3380CC4-5D6E-409C-BE32-E72D297353CC}">
                <c16:uniqueId val="{0000000B-FA3E-4872-B6E1-C4ABDF5766E2}"/>
              </c:ext>
            </c:extLst>
          </c:dPt>
          <c:dPt>
            <c:idx val="5"/>
            <c:invertIfNegative val="1"/>
            <c:bubble3D val="0"/>
            <c:spPr>
              <a:solidFill>
                <a:srgbClr val="AEABAB"/>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7</c:f>
              <c:strCache>
                <c:ptCount val="6"/>
                <c:pt idx="0">
                  <c:v>Boursin Salade &amp; Aperitif Fromage Frais Des Afh 1X120Gr 1P</c:v>
                </c:pt>
                <c:pt idx="1">
                  <c:v>Boursin Salade &amp; Aperitif Fromage Frais Des Ciboulette Echalote 1X120Gr 1P</c:v>
                </c:pt>
                <c:pt idx="2">
                  <c:v>Boursin Salade &amp; Aperitif Fromage Frais Des Figue Noix 1X120Gr 1P</c:v>
                </c:pt>
                <c:pt idx="3">
                  <c:v>Boursin Salade &amp; Aperitif Fromage Frais Des Citron Romarin 1X120Gr 1P</c:v>
                </c:pt>
                <c:pt idx="4">
                  <c:v>Boursin Salade &amp; Aperitif Fromage Frais Des Noisette Et 3 Noix 1X120Gr 1P</c:v>
                </c:pt>
                <c:pt idx="5">
                  <c:v>Boursin Salade &amp; Aperitif Soft Cheese Salade 120G</c:v>
                </c:pt>
              </c:strCache>
            </c:strRef>
          </c:cat>
          <c:val>
            <c:numRef>
              <c:f>Sheet1!$C$2:$C$7</c:f>
              <c:numCache>
                <c:formatCode>General</c:formatCode>
                <c:ptCount val="6"/>
                <c:pt idx="0">
                  <c:v>0.5548852683025299</c:v>
                </c:pt>
                <c:pt idx="1">
                  <c:v>0.7289762073904993</c:v>
                </c:pt>
                <c:pt idx="2">
                  <c:v>0.8457498223997578</c:v>
                </c:pt>
                <c:pt idx="3">
                  <c:v>0.9169413162215986</c:v>
                </c:pt>
                <c:pt idx="4">
                  <c:v>0.9698409555863526</c:v>
                </c:pt>
                <c:pt idx="5">
                  <c:v>1.0</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7</c:f>
              <c:strCache>
                <c:ptCount val="6"/>
                <c:pt idx="0">
                  <c:v>Boursin Salade &amp; Aperitif Fromage Frais Des Afh 1X120Gr 1P</c:v>
                </c:pt>
                <c:pt idx="1">
                  <c:v>Boursin Salade &amp; Aperitif Fromage Frais Des Ciboulette Echalote 1X120Gr 1P</c:v>
                </c:pt>
                <c:pt idx="2">
                  <c:v>Boursin Salade &amp; Aperitif Fromage Frais Des Figue Noix 1X120Gr 1P</c:v>
                </c:pt>
                <c:pt idx="3">
                  <c:v>Boursin Salade &amp; Aperitif Fromage Frais Des Citron Romarin 1X120Gr 1P</c:v>
                </c:pt>
                <c:pt idx="4">
                  <c:v>Boursin Salade &amp; Aperitif Fromage Frais Des Noisette Et 3 Noix 1X120Gr 1P</c:v>
                </c:pt>
                <c:pt idx="5">
                  <c:v>Boursin Salade &amp; Aperitif Soft Cheese Salade 120G</c:v>
                </c:pt>
              </c:strCache>
            </c:strRef>
          </c:cat>
          <c:val>
            <c:numRef>
              <c:f>Sheet1!$D$2:$D$7</c:f>
              <c:numCache>
                <c:formatCode>General</c:formatCode>
                <c:ptCount val="6"/>
                <c:pt idx="0">
                  <c:v>1429.39</c:v>
                </c:pt>
                <c:pt idx="1">
                  <c:v>472.06315789473683</c:v>
                </c:pt>
                <c:pt idx="2">
                  <c:v>310.11340206185565</c:v>
                </c:pt>
                <c:pt idx="3">
                  <c:v>197.19354838709677</c:v>
                </c:pt>
                <c:pt idx="4">
                  <c:v>137.64646464646464</c:v>
                </c:pt>
                <c:pt idx="5">
                  <c:v>106.42465753424658</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7</c:f>
              <c:strCache>
                <c:ptCount val="6"/>
                <c:pt idx="0">
                  <c:v>Boursin Salade &amp; Aperitif Fromage Frais Des Afh 1X120Gr 1P</c:v>
                </c:pt>
                <c:pt idx="1">
                  <c:v>Boursin Salade &amp; Aperitif Fromage Frais Des Ciboulette Echalote 1X120Gr 1P</c:v>
                </c:pt>
                <c:pt idx="2">
                  <c:v>Boursin Salade &amp; Aperitif Fromage Frais Des Figue Noix 1X120Gr 1P</c:v>
                </c:pt>
                <c:pt idx="3">
                  <c:v>Boursin Salade &amp; Aperitif Fromage Frais Des Citron Romarin 1X120Gr 1P</c:v>
                </c:pt>
                <c:pt idx="4">
                  <c:v>Boursin Salade &amp; Aperitif Fromage Frais Des Noisette Et 3 Noix 1X120Gr 1P</c:v>
                </c:pt>
                <c:pt idx="5">
                  <c:v>Boursin Salade &amp; Aperitif Soft Cheese Salade 120G</c:v>
                </c:pt>
              </c:strCache>
            </c:strRef>
          </c:cat>
          <c:val>
            <c:numRef>
              <c:f>Sheet1!$B$2:$B$7</c:f>
              <c:numCache>
                <c:formatCode>General</c:formatCode>
                <c:ptCount val="6"/>
                <c:pt idx="0">
                  <c:v>0.85</c:v>
                </c:pt>
                <c:pt idx="1">
                  <c:v>0.43</c:v>
                </c:pt>
                <c:pt idx="2">
                  <c:v>0.47</c:v>
                </c:pt>
                <c:pt idx="3">
                  <c:v>0.28</c:v>
                </c:pt>
                <c:pt idx="4">
                  <c:v>0.41</c:v>
                </c:pt>
                <c:pt idx="5">
                  <c:v>0.14</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7ECAC4"/>
              </a:solidFill>
            </c:spPr>
            <c:extLst>
              <c:ext xmlns:c16="http://schemas.microsoft.com/office/drawing/2014/chart" uri="{C3380CC4-5D6E-409C-BE32-E72D297353CC}">
                <c16:uniqueId val="{00000008-D8F4-40C6-A5E0-DB4B53CFB1F3}"/>
              </c:ext>
            </c:extLst>
          </c:dPt>
          <c:dPt>
            <c:idx val="2"/>
            <c:invertIfNegative val="0"/>
            <c:bubble3D val="0"/>
            <c:spPr>
              <a:solidFill>
                <a:srgbClr val="7ECAC4"/>
              </a:solidFill>
            </c:spPr>
            <c:extLst>
              <c:ext xmlns:c16="http://schemas.microsoft.com/office/drawing/2014/chart" uri="{C3380CC4-5D6E-409C-BE32-E72D297353CC}">
                <c16:uniqueId val="{00000006-E902-46E2-9A54-39A26B3DFDC1}"/>
              </c:ext>
            </c:extLst>
          </c:dPt>
          <c:dPt>
            <c:idx val="3"/>
            <c:invertIfNegative val="0"/>
            <c:bubble3D val="0"/>
            <c:spPr>
              <a:solidFill>
                <a:srgbClr val="AEABAB"/>
              </a:solidFill>
            </c:spPr>
            <c:extLst>
              <c:ext xmlns:c16="http://schemas.microsoft.com/office/drawing/2014/chart" uri="{C3380CC4-5D6E-409C-BE32-E72D297353CC}">
                <c16:uniqueId val="{00000007-E902-46E2-9A54-39A26B3DFDC1}"/>
              </c:ext>
            </c:extLst>
          </c:dPt>
          <c:dPt>
            <c:idx val="4"/>
            <c:invertIfNegative val="1"/>
            <c:bubble3D val="0"/>
            <c:spPr>
              <a:solidFill>
                <a:srgbClr val="AEABAB"/>
              </a:solidFill>
            </c:spPr>
            <c:extLst>
              <c:ext xmlns:c16="http://schemas.microsoft.com/office/drawing/2014/chart" uri="{C3380CC4-5D6E-409C-BE32-E72D297353CC}">
                <c16:uniqueId val="{0000000B-FA3E-4872-B6E1-C4ABDF5766E2}"/>
              </c:ext>
            </c:extLst>
          </c:dPt>
          <c:dPt>
            <c:idx val="5"/>
            <c:invertIfNegative val="1"/>
            <c:bubble3D val="0"/>
            <c:spPr>
              <a:solidFill>
                <a:srgbClr val="AEABAB"/>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7</c:f>
              <c:strCache>
                <c:ptCount val="6"/>
                <c:pt idx="0">
                  <c:v>Boursin Salade &amp; Aperitif Fromage Frais Des Afh 1X120Gr 1P</c:v>
                </c:pt>
                <c:pt idx="1">
                  <c:v>Boursin Salade &amp; Aperitif Fromage Frais Des Ciboulette Echalote 1X120Gr 1P</c:v>
                </c:pt>
                <c:pt idx="2">
                  <c:v>Boursin Salade &amp; Aperitif Fromage Frais Des Figue Noix 1X120Gr 1P</c:v>
                </c:pt>
                <c:pt idx="3">
                  <c:v>Boursin Salade &amp; Aperitif Fromage Frais Des Citron Romarin 1X120Gr 1P</c:v>
                </c:pt>
                <c:pt idx="4">
                  <c:v>Boursin Salade &amp; Aperitif Fromage Frais Des Noisette Et 3 Noix 1X120Gr 1P</c:v>
                </c:pt>
                <c:pt idx="5">
                  <c:v>Boursin Salade &amp; Aperitif Soft Cheese Salade 120G</c:v>
                </c:pt>
              </c:strCache>
            </c:strRef>
          </c:cat>
          <c:val>
            <c:numRef>
              <c:f>Sheet1!$C$2:$C$7</c:f>
              <c:numCache>
                <c:formatCode>General</c:formatCode>
                <c:ptCount val="6"/>
                <c:pt idx="0">
                  <c:v>0.73046228737753</c:v>
                </c:pt>
                <c:pt idx="1">
                  <c:v>0.8337436696969868</c:v>
                </c:pt>
                <c:pt idx="2">
                  <c:v>0.9109074696173497</c:v>
                </c:pt>
                <c:pt idx="3">
                  <c:v>0.9530029331104992</c:v>
                </c:pt>
                <c:pt idx="4">
                  <c:v>0.9830575013039162</c:v>
                </c:pt>
                <c:pt idx="5">
                  <c:v>1.0</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7</c:f>
              <c:strCache>
                <c:ptCount val="6"/>
                <c:pt idx="0">
                  <c:v>Boursin Salade &amp; Aperitif Fromage Frais Des Afh 1X120Gr 1P</c:v>
                </c:pt>
                <c:pt idx="1">
                  <c:v>Boursin Salade &amp; Aperitif Fromage Frais Des Ciboulette Echalote 1X120Gr 1P</c:v>
                </c:pt>
                <c:pt idx="2">
                  <c:v>Boursin Salade &amp; Aperitif Fromage Frais Des Figue Noix 1X120Gr 1P</c:v>
                </c:pt>
                <c:pt idx="3">
                  <c:v>Boursin Salade &amp; Aperitif Fromage Frais Des Citron Romarin 1X120Gr 1P</c:v>
                </c:pt>
                <c:pt idx="4">
                  <c:v>Boursin Salade &amp; Aperitif Fromage Frais Des Noisette Et 3 Noix 1X120Gr 1P</c:v>
                </c:pt>
                <c:pt idx="5">
                  <c:v>Boursin Salade &amp; Aperitif Soft Cheese Salade 120G</c:v>
                </c:pt>
              </c:strCache>
            </c:strRef>
          </c:cat>
          <c:val>
            <c:numRef>
              <c:f>Sheet1!$D$2:$D$7</c:f>
              <c:numCache>
                <c:formatCode>General</c:formatCode>
                <c:ptCount val="6"/>
                <c:pt idx="0">
                  <c:v>1532.3294117647058</c:v>
                </c:pt>
                <c:pt idx="1">
                  <c:v>428.27906976744185</c:v>
                </c:pt>
                <c:pt idx="2">
                  <c:v>292.74468085106383</c:v>
                </c:pt>
                <c:pt idx="3">
                  <c:v>268.07142857142856</c:v>
                </c:pt>
                <c:pt idx="4">
                  <c:v>130.70731707317074</c:v>
                </c:pt>
                <c:pt idx="5">
                  <c:v>215.78571428571425</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4F4E6471-4291-43F5-AF57-C0CA93E2E33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09FEDC74-FB12-448A-857B-0C6ABFE01C8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F7A112D9-C439-4ED3-ABDF-29E236A862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22D52B43-A137-4C3A-89DC-BF575DF9253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079B928A-466F-4902-BA7D-96C4D244E11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382A8727-C25B-437E-9A47-EB9F7F85B8D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0763B0A7-F56C-4A98-B492-424D4CFDBE9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5-BFDA-4C69-8E79-A083B7EFBA29}"/>
                </c:ext>
              </c:extLst>
            </c:dLbl>
            <c:dLbl>
              <c:idx val="1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BFDA-4C69-8E79-A083B7EFBA29}"/>
                </c:ext>
              </c:extLst>
            </c:dLbl>
            <c:dLbl>
              <c:idx val="1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BFDA-4C69-8E79-A083B7EFBA29}"/>
                </c:ext>
              </c:extLst>
            </c:dLbl>
            <c:dLbl>
              <c:idx val="1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BFDA-4C69-8E79-A083B7EFBA29}"/>
                </c:ext>
              </c:extLst>
            </c:dLbl>
            <c:dLbl>
              <c:idx val="1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9-BFDA-4C69-8E79-A083B7EFBA29}"/>
                </c:ext>
              </c:extLst>
            </c:dLbl>
            <c:dLbl>
              <c:idx val="1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A-BFDA-4C69-8E79-A083B7EFBA29}"/>
                </c:ext>
              </c:extLst>
            </c:dLbl>
            <c:dLbl>
              <c:idx val="1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B-BFDA-4C69-8E79-A083B7EFBA29}"/>
                </c:ext>
              </c:extLst>
            </c:dLbl>
            <c:dLbl>
              <c:idx val="1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C-BFDA-4C69-8E79-A083B7EFBA29}"/>
                </c:ext>
              </c:extLst>
            </c:dLbl>
            <c:dLbl>
              <c:idx val="2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BFDA-4C69-8E79-A083B7EFBA29}"/>
                </c:ext>
              </c:extLst>
            </c:dLbl>
            <c:dLbl>
              <c:idx val="2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BFDA-4C69-8E79-A083B7EFBA29}"/>
                </c:ext>
              </c:extLst>
            </c:dLbl>
            <c:dLbl>
              <c:idx val="2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F-BFDA-4C69-8E79-A083B7EFBA29}"/>
                </c:ext>
              </c:extLst>
            </c:dLbl>
            <c:dLbl>
              <c:idx val="2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0-BFDA-4C69-8E79-A083B7EFBA29}"/>
                </c:ext>
              </c:extLst>
            </c:dLbl>
            <c:dLbl>
              <c:idx val="2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1-BFDA-4C69-8E79-A083B7EFBA29}"/>
                </c:ext>
              </c:extLst>
            </c:dLbl>
            <c:dLbl>
              <c:idx val="2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BFDA-4C69-8E79-A083B7EFBA29}"/>
                </c:ext>
              </c:extLst>
            </c:dLbl>
            <c:dLbl>
              <c:idx val="2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BFDA-4C69-8E79-A083B7EFBA29}"/>
                </c:ext>
              </c:extLst>
            </c:dLbl>
            <c:dLbl>
              <c:idx val="2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BFDA-4C69-8E79-A083B7EFBA29}"/>
                </c:ext>
              </c:extLst>
            </c:dLbl>
            <c:dLbl>
              <c:idx val="2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5-BFDA-4C69-8E79-A083B7EFBA29}"/>
                </c:ext>
              </c:extLst>
            </c:dLbl>
            <c:dLbl>
              <c:idx val="2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6-BFDA-4C69-8E79-A083B7EFBA29}"/>
                </c:ext>
              </c:extLst>
            </c:dLbl>
            <c:dLbl>
              <c:idx val="3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7-BFDA-4C69-8E79-A083B7EFBA29}"/>
                </c:ext>
              </c:extLst>
            </c:dLbl>
            <c:dLbl>
              <c:idx val="3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8-BFDA-4C69-8E79-A083B7EFBA29}"/>
                </c:ext>
              </c:extLst>
            </c:dLbl>
            <c:dLbl>
              <c:idx val="3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9-BFDA-4C69-8E79-A083B7EFBA29}"/>
                </c:ext>
              </c:extLst>
            </c:dLbl>
            <c:dLbl>
              <c:idx val="3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BFDA-4C69-8E79-A083B7EFBA29}"/>
                </c:ext>
              </c:extLst>
            </c:dLbl>
            <c:dLbl>
              <c:idx val="3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B-BFDA-4C69-8E79-A083B7EFBA29}"/>
                </c:ext>
              </c:extLst>
            </c:dLbl>
            <c:dLbl>
              <c:idx val="3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C-BFDA-4C69-8E79-A083B7EFBA29}"/>
                </c:ext>
              </c:extLst>
            </c:dLbl>
            <c:dLbl>
              <c:idx val="3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D-BFDA-4C69-8E79-A083B7EFBA29}"/>
                </c:ext>
              </c:extLst>
            </c:dLbl>
            <c:dLbl>
              <c:idx val="3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BFDA-4C69-8E79-A083B7EFBA29}"/>
                </c:ext>
              </c:extLst>
            </c:dLbl>
            <c:dLbl>
              <c:idx val="3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BFDA-4C69-8E79-A083B7EFBA29}"/>
                </c:ext>
              </c:extLst>
            </c:dLbl>
            <c:dLbl>
              <c:idx val="3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BFDA-4C69-8E79-A083B7EFBA29}"/>
                </c:ext>
              </c:extLst>
            </c:dLbl>
            <c:dLbl>
              <c:idx val="4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1-BFDA-4C69-8E79-A083B7EFBA29}"/>
                </c:ext>
              </c:extLst>
            </c:dLbl>
            <c:dLbl>
              <c:idx val="4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BFDA-4C69-8E79-A083B7EFBA29}"/>
                </c:ext>
              </c:extLst>
            </c:dLbl>
            <c:dLbl>
              <c:idx val="4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BFDA-4C69-8E79-A083B7EFBA29}"/>
                </c:ext>
              </c:extLst>
            </c:dLbl>
            <c:dLbl>
              <c:idx val="4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BFDA-4C69-8E79-A083B7EFBA29}"/>
                </c:ext>
              </c:extLst>
            </c:dLbl>
            <c:dLbl>
              <c:idx val="4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BFDA-4C69-8E79-A083B7EFBA29}"/>
                </c:ext>
              </c:extLst>
            </c:dLbl>
            <c:dLbl>
              <c:idx val="4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BFDA-4C69-8E79-A083B7EFBA29}"/>
                </c:ext>
              </c:extLst>
            </c:dLbl>
            <c:dLbl>
              <c:idx val="4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BFDA-4C69-8E79-A083B7EFBA29}"/>
                </c:ext>
              </c:extLst>
            </c:dLbl>
            <c:dLbl>
              <c:idx val="4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BFDA-4C69-8E79-A083B7EFBA29}"/>
                </c:ext>
              </c:extLst>
            </c:dLbl>
            <c:dLbl>
              <c:idx val="4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11</c:f>
              <c:numCache>
                <c:formatCode>General</c:formatCode>
                <c:ptCount val="10"/>
                <c:pt idx="0">
                  <c:v>0.3061</c:v>
                </c:pt>
                <c:pt idx="1">
                  <c:v>0.3929</c:v>
                </c:pt>
                <c:pt idx="2">
                  <c:v>0.4269</c:v>
                </c:pt>
                <c:pt idx="3">
                  <c:v>0.4034</c:v>
                </c:pt>
                <c:pt idx="4">
                  <c:v>0.3538</c:v>
                </c:pt>
                <c:pt idx="5">
                  <c:v>0.3568</c:v>
                </c:pt>
                <c:pt idx="6">
                  <c:v>0.3897</c:v>
                </c:pt>
                <c:pt idx="7">
                  <c:v>0.2631</c:v>
                </c:pt>
                <c:pt idx="8">
                  <c:v>0.4034</c:v>
                </c:pt>
                <c:pt idx="9">
                  <c:v>0.3429</c:v>
                </c:pt>
              </c:numCache>
            </c:numRef>
          </c:xVal>
          <c:yVal>
            <c:numRef>
              <c:f>Sheet1!$B$2:$B$11</c:f>
              <c:numCache>
                <c:formatCode>General</c:formatCode>
                <c:ptCount val="10"/>
                <c:pt idx="0">
                  <c:v>42862.6139088729</c:v>
                </c:pt>
                <c:pt idx="1">
                  <c:v>81394.7557840617</c:v>
                </c:pt>
                <c:pt idx="2">
                  <c:v>9290.78811369509</c:v>
                </c:pt>
                <c:pt idx="3">
                  <c:v>7421.524105754277</c:v>
                </c:pt>
                <c:pt idx="4">
                  <c:v>5967.609561752988</c:v>
                </c:pt>
                <c:pt idx="5">
                  <c:v>47708.9595959596</c:v>
                </c:pt>
                <c:pt idx="6">
                  <c:v>5613.860667634253</c:v>
                </c:pt>
                <c:pt idx="7">
                  <c:v>16379.706703910615</c:v>
                </c:pt>
                <c:pt idx="8">
                  <c:v>34465.81664910432</c:v>
                </c:pt>
                <c:pt idx="9">
                  <c:v>25172.049180327867</c:v>
                </c:pt>
              </c:numCache>
            </c:numRef>
          </c:yVal>
          <c:bubbleSize>
            <c:numRef>
              <c:f>Sheet1!$C$2:$C$11</c:f>
              <c:numCache>
                <c:formatCode>General</c:formatCode>
                <c:ptCount val="10"/>
                <c:pt idx="0">
                  <c:v>2351097.8074000003</c:v>
                </c:pt>
                <c:pt idx="1">
                  <c:v>3644081.5352000003</c:v>
                </c:pt>
                <c:pt idx="2">
                  <c:v>390625.92009999993</c:v>
                </c:pt>
                <c:pt idx="3">
                  <c:v>269870.29780000006</c:v>
                </c:pt>
                <c:pt idx="4">
                  <c:v>183500.86179999998</c:v>
                </c:pt>
                <c:pt idx="5">
                  <c:v>2879559.3756000004</c:v>
                </c:pt>
                <c:pt idx="6">
                  <c:v>223758.21680000002</c:v>
                </c:pt>
                <c:pt idx="7">
                  <c:v>819173.4306000001</c:v>
                </c:pt>
                <c:pt idx="8">
                  <c:v>1849651.3301000001</c:v>
                </c:pt>
                <c:pt idx="9">
                  <c:v>1147660.5851999999</c:v>
                </c:pt>
              </c:numCache>
            </c:numRef>
          </c:bubbleSize>
          <c:bubble3D val="0"/>
          <c:extLst>
            <c:ext xmlns:c15="http://schemas.microsoft.com/office/drawing/2012/chart" uri="{02D57815-91ED-43cb-92C2-25804820EDAC}">
              <c15:datalabelsRange>
                <c15:f>Sheet1!$E$2:$E$50</c15:f>
                <c15:dlblRangeCache>
                  <c:ptCount val="49"/>
                  <c:pt idx="0">
                    <c:v>Findus Merluzzo Altro Findus Fish Bar 245GR</c:v>
                  </c:pt>
                  <c:pt idx="1">
                    <c:v>Findus Merluzzo D Alaska Chips Findus Big Burger 227GR</c:v>
                  </c:pt>
                  <c:pt idx="2">
                    <c:v>Findus Merluzzo D Alaska Standard Findus Big Burger 227GR</c:v>
                  </c:pt>
                  <c:pt idx="3">
                    <c:v>Findus Merluzzo E Spinaci Filetto Findus Croccole 300GR</c:v>
                  </c:pt>
                  <c:pt idx="4">
                    <c:v>Findus Merluzzo Filetto Findus Croccole 300GR</c:v>
                  </c:pt>
                  <c:pt idx="5">
                    <c:v>Findus Merluzzo Filetto Findus Croccole 600GR</c:v>
                  </c:pt>
                  <c:pt idx="6">
                    <c:v>Findus Merluzzo Filetto Findus Fish &amp; Crock 250GR</c:v>
                  </c:pt>
                  <c:pt idx="7">
                    <c:v>Findus Merluzzo Filetto Findus Fish Bar 240GR</c:v>
                  </c:pt>
                  <c:pt idx="8">
                    <c:v>Findus Merluzzo Semi Filetto Findus Croccole 300GR</c:v>
                  </c:pt>
                  <c:pt idx="9">
                    <c:v>Findus Merluzzo Senza Glutine Filetto Findus Croccole 250GR</c:v>
                  </c:pt>
                  <c:pt idx="10">
                    <c:v>Findus Platessa Filetto Findus Platessa 250GR</c:v>
                  </c:pt>
                  <c:pt idx="11">
                    <c:v>Findus Salmone Altro Findus Fish Bar 220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Private Label</c:v>
                </c:pt>
                <c:pt idx="1">
                  <c:v>President</c:v>
                </c:pt>
                <c:pt idx="2">
                  <c:v>La Vache Qui Rit</c:v>
                </c:pt>
                <c:pt idx="3">
                  <c:v>La Belle Etoile</c:v>
                </c:pt>
                <c:pt idx="4">
                  <c:v>Boursin</c:v>
                </c:pt>
                <c:pt idx="5">
                  <c:v>Others</c:v>
                </c:pt>
              </c:strCache>
            </c:strRef>
          </c:cat>
          <c:val>
            <c:numRef>
              <c:f>Sheet1!$B$2:$B$7</c:f>
              <c:numCache>
                <c:formatCode>General</c:formatCode>
                <c:ptCount val="6"/>
                <c:pt idx="0">
                  <c:v>0.5921224539118505</c:v>
                </c:pt>
                <c:pt idx="1">
                  <c:v>0.20413558285915348</c:v>
                </c:pt>
                <c:pt idx="2">
                  <c:v>0.11271631309020731</c:v>
                </c:pt>
                <c:pt idx="3">
                  <c:v>0.03197755213016637</c:v>
                </c:pt>
                <c:pt idx="4">
                  <c:v>0.019324857923749748</c:v>
                </c:pt>
                <c:pt idx="5">
                  <c:v>0.03972324008487257</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Private Label</c:v>
                </c:pt>
                <c:pt idx="1">
                  <c:v>President</c:v>
                </c:pt>
                <c:pt idx="2">
                  <c:v>La Vache Qui Rit</c:v>
                </c:pt>
                <c:pt idx="3">
                  <c:v>La Belle Etoile</c:v>
                </c:pt>
                <c:pt idx="4">
                  <c:v>Boursin</c:v>
                </c:pt>
                <c:pt idx="5">
                  <c:v>Others</c:v>
                </c:pt>
              </c:strCache>
            </c:strRef>
          </c:cat>
          <c:val>
            <c:numRef>
              <c:f>Sheet1!$C$2:$C$7</c:f>
              <c:numCache>
                <c:formatCode>General</c:formatCode>
                <c:ptCount val="6"/>
                <c:pt idx="0">
                  <c:v>0.4411979547114683</c:v>
                </c:pt>
                <c:pt idx="1">
                  <c:v>0.22352081811541274</c:v>
                </c:pt>
                <c:pt idx="2">
                  <c:v>0.1285609934258583</c:v>
                </c:pt>
                <c:pt idx="3">
                  <c:v>0.03433162892622353</c:v>
                </c:pt>
                <c:pt idx="4">
                  <c:v>0.05259313367421476</c:v>
                </c:pt>
                <c:pt idx="5">
                  <c:v>0.11979547114682254</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Private Label</c:v>
                </c:pt>
                <c:pt idx="1">
                  <c:v>President</c:v>
                </c:pt>
                <c:pt idx="2">
                  <c:v>La Vache Qui Rit</c:v>
                </c:pt>
                <c:pt idx="3">
                  <c:v>La Belle Etoile</c:v>
                </c:pt>
                <c:pt idx="4">
                  <c:v>Boursin</c:v>
                </c:pt>
                <c:pt idx="5">
                  <c:v>Others</c:v>
                </c:pt>
              </c:strCache>
            </c:strRef>
          </c:cat>
          <c:val>
            <c:numRef>
              <c:f>Sheet1!$D$2:$D$7</c:f>
              <c:numCache>
                <c:formatCode>General</c:formatCode>
                <c:ptCount val="6"/>
                <c:pt idx="0">
                  <c:v>74.51126904522854</c:v>
                </c:pt>
                <c:pt idx="1">
                  <c:v>109.49625488351748</c:v>
                </c:pt>
                <c:pt idx="2">
                  <c:v>114.05713148457086</c:v>
                </c:pt>
                <c:pt idx="3">
                  <c:v>107.36165415812555</c:v>
                </c:pt>
                <c:pt idx="4">
                  <c:v>272.1527572504384</c:v>
                </c:pt>
                <c:pt idx="5">
                  <c:v>301.57527656572796</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AFED0696-6B67-48C9-B88F-B10504C0171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17C5B735-1F07-4931-888C-3E86A0A91BD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A7A60110-92A5-4FDF-BA3D-F62C110EF87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C83FFB37-67D7-451A-9EE7-D1BD2F98201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6F1E2A8C-074C-4EB2-80E1-B8093EE69A5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419DA6B8-189A-4B00-AFE5-B3AF2EEF8E1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DE4BD08A-7341-4A15-A9DF-695ECE51820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5-BFDA-4C69-8E79-A083B7EFBA29}"/>
                </c:ext>
              </c:extLst>
            </c:dLbl>
            <c:dLbl>
              <c:idx val="1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BFDA-4C69-8E79-A083B7EFBA29}"/>
                </c:ext>
              </c:extLst>
            </c:dLbl>
            <c:dLbl>
              <c:idx val="1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BFDA-4C69-8E79-A083B7EFBA29}"/>
                </c:ext>
              </c:extLst>
            </c:dLbl>
            <c:dLbl>
              <c:idx val="1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BFDA-4C69-8E79-A083B7EFBA29}"/>
                </c:ext>
              </c:extLst>
            </c:dLbl>
            <c:dLbl>
              <c:idx val="1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9-BFDA-4C69-8E79-A083B7EFBA29}"/>
                </c:ext>
              </c:extLst>
            </c:dLbl>
            <c:dLbl>
              <c:idx val="1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A-BFDA-4C69-8E79-A083B7EFBA29}"/>
                </c:ext>
              </c:extLst>
            </c:dLbl>
            <c:dLbl>
              <c:idx val="1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B-BFDA-4C69-8E79-A083B7EFBA29}"/>
                </c:ext>
              </c:extLst>
            </c:dLbl>
            <c:dLbl>
              <c:idx val="1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C-BFDA-4C69-8E79-A083B7EFBA29}"/>
                </c:ext>
              </c:extLst>
            </c:dLbl>
            <c:dLbl>
              <c:idx val="2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BFDA-4C69-8E79-A083B7EFBA29}"/>
                </c:ext>
              </c:extLst>
            </c:dLbl>
            <c:dLbl>
              <c:idx val="2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BFDA-4C69-8E79-A083B7EFBA29}"/>
                </c:ext>
              </c:extLst>
            </c:dLbl>
            <c:dLbl>
              <c:idx val="2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F-BFDA-4C69-8E79-A083B7EFBA29}"/>
                </c:ext>
              </c:extLst>
            </c:dLbl>
            <c:dLbl>
              <c:idx val="2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0-BFDA-4C69-8E79-A083B7EFBA29}"/>
                </c:ext>
              </c:extLst>
            </c:dLbl>
            <c:dLbl>
              <c:idx val="2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1-BFDA-4C69-8E79-A083B7EFBA29}"/>
                </c:ext>
              </c:extLst>
            </c:dLbl>
            <c:dLbl>
              <c:idx val="2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BFDA-4C69-8E79-A083B7EFBA29}"/>
                </c:ext>
              </c:extLst>
            </c:dLbl>
            <c:dLbl>
              <c:idx val="2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BFDA-4C69-8E79-A083B7EFBA29}"/>
                </c:ext>
              </c:extLst>
            </c:dLbl>
            <c:dLbl>
              <c:idx val="2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BFDA-4C69-8E79-A083B7EFBA29}"/>
                </c:ext>
              </c:extLst>
            </c:dLbl>
            <c:dLbl>
              <c:idx val="2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5-BFDA-4C69-8E79-A083B7EFBA29}"/>
                </c:ext>
              </c:extLst>
            </c:dLbl>
            <c:dLbl>
              <c:idx val="2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6-BFDA-4C69-8E79-A083B7EFBA29}"/>
                </c:ext>
              </c:extLst>
            </c:dLbl>
            <c:dLbl>
              <c:idx val="3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7-BFDA-4C69-8E79-A083B7EFBA29}"/>
                </c:ext>
              </c:extLst>
            </c:dLbl>
            <c:dLbl>
              <c:idx val="3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8-BFDA-4C69-8E79-A083B7EFBA29}"/>
                </c:ext>
              </c:extLst>
            </c:dLbl>
            <c:dLbl>
              <c:idx val="3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9-BFDA-4C69-8E79-A083B7EFBA29}"/>
                </c:ext>
              </c:extLst>
            </c:dLbl>
            <c:dLbl>
              <c:idx val="3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BFDA-4C69-8E79-A083B7EFBA29}"/>
                </c:ext>
              </c:extLst>
            </c:dLbl>
            <c:dLbl>
              <c:idx val="3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B-BFDA-4C69-8E79-A083B7EFBA29}"/>
                </c:ext>
              </c:extLst>
            </c:dLbl>
            <c:dLbl>
              <c:idx val="3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C-BFDA-4C69-8E79-A083B7EFBA29}"/>
                </c:ext>
              </c:extLst>
            </c:dLbl>
            <c:dLbl>
              <c:idx val="3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D-BFDA-4C69-8E79-A083B7EFBA29}"/>
                </c:ext>
              </c:extLst>
            </c:dLbl>
            <c:dLbl>
              <c:idx val="3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BFDA-4C69-8E79-A083B7EFBA29}"/>
                </c:ext>
              </c:extLst>
            </c:dLbl>
            <c:dLbl>
              <c:idx val="3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BFDA-4C69-8E79-A083B7EFBA29}"/>
                </c:ext>
              </c:extLst>
            </c:dLbl>
            <c:dLbl>
              <c:idx val="3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BFDA-4C69-8E79-A083B7EFBA29}"/>
                </c:ext>
              </c:extLst>
            </c:dLbl>
            <c:dLbl>
              <c:idx val="4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1-BFDA-4C69-8E79-A083B7EFBA29}"/>
                </c:ext>
              </c:extLst>
            </c:dLbl>
            <c:dLbl>
              <c:idx val="4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BFDA-4C69-8E79-A083B7EFBA29}"/>
                </c:ext>
              </c:extLst>
            </c:dLbl>
            <c:dLbl>
              <c:idx val="4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BFDA-4C69-8E79-A083B7EFBA29}"/>
                </c:ext>
              </c:extLst>
            </c:dLbl>
            <c:dLbl>
              <c:idx val="4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BFDA-4C69-8E79-A083B7EFBA29}"/>
                </c:ext>
              </c:extLst>
            </c:dLbl>
            <c:dLbl>
              <c:idx val="4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BFDA-4C69-8E79-A083B7EFBA29}"/>
                </c:ext>
              </c:extLst>
            </c:dLbl>
            <c:dLbl>
              <c:idx val="4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BFDA-4C69-8E79-A083B7EFBA29}"/>
                </c:ext>
              </c:extLst>
            </c:dLbl>
            <c:dLbl>
              <c:idx val="4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BFDA-4C69-8E79-A083B7EFBA29}"/>
                </c:ext>
              </c:extLst>
            </c:dLbl>
            <c:dLbl>
              <c:idx val="4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BFDA-4C69-8E79-A083B7EFBA29}"/>
                </c:ext>
              </c:extLst>
            </c:dLbl>
            <c:dLbl>
              <c:idx val="4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17</c:f>
              <c:numCache>
                <c:formatCode>General</c:formatCode>
                <c:ptCount val="16"/>
                <c:pt idx="0">
                  <c:v>0.3553</c:v>
                </c:pt>
                <c:pt idx="1">
                  <c:v>0.373</c:v>
                </c:pt>
                <c:pt idx="2">
                  <c:v>0.431</c:v>
                </c:pt>
                <c:pt idx="3">
                  <c:v>0.3698</c:v>
                </c:pt>
                <c:pt idx="4">
                  <c:v>0.4074</c:v>
                </c:pt>
                <c:pt idx="5">
                  <c:v>0.3722</c:v>
                </c:pt>
                <c:pt idx="6">
                  <c:v>0.4152</c:v>
                </c:pt>
                <c:pt idx="7">
                  <c:v>0.4105</c:v>
                </c:pt>
                <c:pt idx="8">
                  <c:v>0.339</c:v>
                </c:pt>
                <c:pt idx="9">
                  <c:v>0.3176</c:v>
                </c:pt>
                <c:pt idx="10">
                  <c:v>0.2542</c:v>
                </c:pt>
                <c:pt idx="11">
                  <c:v>0.5691</c:v>
                </c:pt>
                <c:pt idx="12">
                  <c:v>0.4747</c:v>
                </c:pt>
                <c:pt idx="13">
                  <c:v>0.4843</c:v>
                </c:pt>
                <c:pt idx="14">
                  <c:v>0.3627</c:v>
                </c:pt>
                <c:pt idx="15">
                  <c:v>0.3397</c:v>
                </c:pt>
              </c:numCache>
            </c:numRef>
          </c:xVal>
          <c:yVal>
            <c:numRef>
              <c:f>Sheet1!$B$2:$B$17</c:f>
              <c:numCache>
                <c:formatCode>General</c:formatCode>
                <c:ptCount val="16"/>
                <c:pt idx="0">
                  <c:v>3420.0</c:v>
                </c:pt>
                <c:pt idx="1">
                  <c:v>9790.585480093678</c:v>
                </c:pt>
                <c:pt idx="2">
                  <c:v>8120.540540540541</c:v>
                </c:pt>
                <c:pt idx="3">
                  <c:v>9643.92670157068</c:v>
                </c:pt>
                <c:pt idx="4">
                  <c:v>3727.8082191780823</c:v>
                </c:pt>
                <c:pt idx="5">
                  <c:v>7373.959595959596</c:v>
                </c:pt>
                <c:pt idx="6">
                  <c:v>22077.017291066284</c:v>
                </c:pt>
                <c:pt idx="7">
                  <c:v>64775.47400611621</c:v>
                </c:pt>
                <c:pt idx="8">
                  <c:v>72823.24053452116</c:v>
                </c:pt>
                <c:pt idx="9">
                  <c:v>143117.46070133013</c:v>
                </c:pt>
                <c:pt idx="10">
                  <c:v>19364.593103448275</c:v>
                </c:pt>
                <c:pt idx="11">
                  <c:v>29388.75</c:v>
                </c:pt>
                <c:pt idx="12">
                  <c:v>1497.620817843866</c:v>
                </c:pt>
                <c:pt idx="13">
                  <c:v>3280.850622406639</c:v>
                </c:pt>
                <c:pt idx="14">
                  <c:v>19583.832599118945</c:v>
                </c:pt>
                <c:pt idx="15">
                  <c:v>10205.714285714286</c:v>
                </c:pt>
              </c:numCache>
            </c:numRef>
          </c:yVal>
          <c:bubbleSize>
            <c:numRef>
              <c:f>Sheet1!$C$2:$C$17</c:f>
              <c:numCache>
                <c:formatCode>General</c:formatCode>
                <c:ptCount val="16"/>
                <c:pt idx="0">
                  <c:v>15255.881699999998</c:v>
                </c:pt>
                <c:pt idx="1">
                  <c:v>496893.394</c:v>
                </c:pt>
                <c:pt idx="2">
                  <c:v>16203.9444</c:v>
                </c:pt>
                <c:pt idx="3">
                  <c:v>440091.45629999996</c:v>
                </c:pt>
                <c:pt idx="4">
                  <c:v>15284.814499999999</c:v>
                </c:pt>
                <c:pt idx="5">
                  <c:v>217204.8676</c:v>
                </c:pt>
                <c:pt idx="6">
                  <c:v>849338.8158</c:v>
                </c:pt>
                <c:pt idx="7">
                  <c:v>3550892.7451999993</c:v>
                </c:pt>
                <c:pt idx="8">
                  <c:v>4097158.8504999992</c:v>
                </c:pt>
                <c:pt idx="9">
                  <c:v>7653909.827999999</c:v>
                </c:pt>
                <c:pt idx="10">
                  <c:v>992410.8776999998</c:v>
                </c:pt>
                <c:pt idx="11">
                  <c:v>9603.1772</c:v>
                </c:pt>
                <c:pt idx="12">
                  <c:v>20057.2962</c:v>
                </c:pt>
                <c:pt idx="13">
                  <c:v>77295.2128</c:v>
                </c:pt>
                <c:pt idx="14">
                  <c:v>1074141.922</c:v>
                </c:pt>
                <c:pt idx="15">
                  <c:v>277231.0708</c:v>
                </c:pt>
              </c:numCache>
            </c:numRef>
          </c:bubbleSize>
          <c:bubble3D val="0"/>
          <c:extLst>
            <c:ext xmlns:c15="http://schemas.microsoft.com/office/drawing/2012/chart" uri="{02D57815-91ED-43cb-92C2-25804820EDAC}">
              <c15:datalabelsRange>
                <c15:f>Sheet1!$E$2:$E$50</c15:f>
                <c15:dlblRangeCache>
                  <c:ptCount val="49"/>
                  <c:pt idx="0">
                    <c:v>Findus Merluzzo Altro Findus Fish Bar 245GR</c:v>
                  </c:pt>
                  <c:pt idx="1">
                    <c:v>Findus Merluzzo D Alaska Chips Findus Big Burger 227GR</c:v>
                  </c:pt>
                  <c:pt idx="2">
                    <c:v>Findus Merluzzo D Alaska Standard Findus Big Burger 227GR</c:v>
                  </c:pt>
                  <c:pt idx="3">
                    <c:v>Findus Merluzzo E Spinaci Filetto Findus Croccole 300GR</c:v>
                  </c:pt>
                  <c:pt idx="4">
                    <c:v>Findus Merluzzo Filetto Findus Croccole 300GR</c:v>
                  </c:pt>
                  <c:pt idx="5">
                    <c:v>Findus Merluzzo Filetto Findus Croccole 600GR</c:v>
                  </c:pt>
                  <c:pt idx="6">
                    <c:v>Findus Merluzzo Filetto Findus Fish &amp; Crock 250GR</c:v>
                  </c:pt>
                  <c:pt idx="7">
                    <c:v>Findus Merluzzo Filetto Findus Fish Bar 240GR</c:v>
                  </c:pt>
                  <c:pt idx="8">
                    <c:v>Findus Merluzzo Semi Filetto Findus Croccole 300GR</c:v>
                  </c:pt>
                  <c:pt idx="9">
                    <c:v>Findus Merluzzo Senza Glutine Filetto Findus Croccole 250GR</c:v>
                  </c:pt>
                  <c:pt idx="10">
                    <c:v>Findus Platessa Filetto Findus Platessa 250GR</c:v>
                  </c:pt>
                  <c:pt idx="11">
                    <c:v>Findus Salmone Altro Findus Fish Bar 220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2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5DEFCAA2-EA6C-4231-854F-A061DCB1D90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CE5679C7-575B-4A5C-897F-38AE5B6EA49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915FF95C-D590-4AA1-8A8F-4AD025ECE46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16FD28BA-D9E1-41BA-850D-C06C7317445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2F91742B-CB9C-420E-9ACD-39502466A4B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F53B9559-4D53-47BE-B25D-BF5C44BC3D3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573180AB-4F77-40DA-A045-61FF425EDAC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5-BFDA-4C69-8E79-A083B7EFBA29}"/>
                </c:ext>
              </c:extLst>
            </c:dLbl>
            <c:dLbl>
              <c:idx val="1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BFDA-4C69-8E79-A083B7EFBA29}"/>
                </c:ext>
              </c:extLst>
            </c:dLbl>
            <c:dLbl>
              <c:idx val="1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BFDA-4C69-8E79-A083B7EFBA29}"/>
                </c:ext>
              </c:extLst>
            </c:dLbl>
            <c:dLbl>
              <c:idx val="1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BFDA-4C69-8E79-A083B7EFBA29}"/>
                </c:ext>
              </c:extLst>
            </c:dLbl>
            <c:dLbl>
              <c:idx val="1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9-BFDA-4C69-8E79-A083B7EFBA29}"/>
                </c:ext>
              </c:extLst>
            </c:dLbl>
            <c:dLbl>
              <c:idx val="1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A-BFDA-4C69-8E79-A083B7EFBA29}"/>
                </c:ext>
              </c:extLst>
            </c:dLbl>
            <c:dLbl>
              <c:idx val="1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B-BFDA-4C69-8E79-A083B7EFBA29}"/>
                </c:ext>
              </c:extLst>
            </c:dLbl>
            <c:dLbl>
              <c:idx val="1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C-BFDA-4C69-8E79-A083B7EFBA29}"/>
                </c:ext>
              </c:extLst>
            </c:dLbl>
            <c:dLbl>
              <c:idx val="2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BFDA-4C69-8E79-A083B7EFBA29}"/>
                </c:ext>
              </c:extLst>
            </c:dLbl>
            <c:dLbl>
              <c:idx val="2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BFDA-4C69-8E79-A083B7EFBA29}"/>
                </c:ext>
              </c:extLst>
            </c:dLbl>
            <c:dLbl>
              <c:idx val="2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F-BFDA-4C69-8E79-A083B7EFBA29}"/>
                </c:ext>
              </c:extLst>
            </c:dLbl>
            <c:dLbl>
              <c:idx val="2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0-BFDA-4C69-8E79-A083B7EFBA29}"/>
                </c:ext>
              </c:extLst>
            </c:dLbl>
            <c:dLbl>
              <c:idx val="2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1-BFDA-4C69-8E79-A083B7EFBA29}"/>
                </c:ext>
              </c:extLst>
            </c:dLbl>
            <c:dLbl>
              <c:idx val="2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BFDA-4C69-8E79-A083B7EFBA29}"/>
                </c:ext>
              </c:extLst>
            </c:dLbl>
            <c:dLbl>
              <c:idx val="2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BFDA-4C69-8E79-A083B7EFBA29}"/>
                </c:ext>
              </c:extLst>
            </c:dLbl>
            <c:dLbl>
              <c:idx val="2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BFDA-4C69-8E79-A083B7EFBA29}"/>
                </c:ext>
              </c:extLst>
            </c:dLbl>
            <c:dLbl>
              <c:idx val="2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5-BFDA-4C69-8E79-A083B7EFBA29}"/>
                </c:ext>
              </c:extLst>
            </c:dLbl>
            <c:dLbl>
              <c:idx val="2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6-BFDA-4C69-8E79-A083B7EFBA29}"/>
                </c:ext>
              </c:extLst>
            </c:dLbl>
            <c:dLbl>
              <c:idx val="3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7-BFDA-4C69-8E79-A083B7EFBA29}"/>
                </c:ext>
              </c:extLst>
            </c:dLbl>
            <c:dLbl>
              <c:idx val="3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8-BFDA-4C69-8E79-A083B7EFBA29}"/>
                </c:ext>
              </c:extLst>
            </c:dLbl>
            <c:dLbl>
              <c:idx val="3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9-BFDA-4C69-8E79-A083B7EFBA29}"/>
                </c:ext>
              </c:extLst>
            </c:dLbl>
            <c:dLbl>
              <c:idx val="3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BFDA-4C69-8E79-A083B7EFBA29}"/>
                </c:ext>
              </c:extLst>
            </c:dLbl>
            <c:dLbl>
              <c:idx val="3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B-BFDA-4C69-8E79-A083B7EFBA29}"/>
                </c:ext>
              </c:extLst>
            </c:dLbl>
            <c:dLbl>
              <c:idx val="3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C-BFDA-4C69-8E79-A083B7EFBA29}"/>
                </c:ext>
              </c:extLst>
            </c:dLbl>
            <c:dLbl>
              <c:idx val="3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D-BFDA-4C69-8E79-A083B7EFBA29}"/>
                </c:ext>
              </c:extLst>
            </c:dLbl>
            <c:dLbl>
              <c:idx val="3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BFDA-4C69-8E79-A083B7EFBA29}"/>
                </c:ext>
              </c:extLst>
            </c:dLbl>
            <c:dLbl>
              <c:idx val="3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BFDA-4C69-8E79-A083B7EFBA29}"/>
                </c:ext>
              </c:extLst>
            </c:dLbl>
            <c:dLbl>
              <c:idx val="3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BFDA-4C69-8E79-A083B7EFBA29}"/>
                </c:ext>
              </c:extLst>
            </c:dLbl>
            <c:dLbl>
              <c:idx val="4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1-BFDA-4C69-8E79-A083B7EFBA29}"/>
                </c:ext>
              </c:extLst>
            </c:dLbl>
            <c:dLbl>
              <c:idx val="4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BFDA-4C69-8E79-A083B7EFBA29}"/>
                </c:ext>
              </c:extLst>
            </c:dLbl>
            <c:dLbl>
              <c:idx val="4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BFDA-4C69-8E79-A083B7EFBA29}"/>
                </c:ext>
              </c:extLst>
            </c:dLbl>
            <c:dLbl>
              <c:idx val="4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BFDA-4C69-8E79-A083B7EFBA29}"/>
                </c:ext>
              </c:extLst>
            </c:dLbl>
            <c:dLbl>
              <c:idx val="4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BFDA-4C69-8E79-A083B7EFBA29}"/>
                </c:ext>
              </c:extLst>
            </c:dLbl>
            <c:dLbl>
              <c:idx val="4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BFDA-4C69-8E79-A083B7EFBA29}"/>
                </c:ext>
              </c:extLst>
            </c:dLbl>
            <c:dLbl>
              <c:idx val="4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BFDA-4C69-8E79-A083B7EFBA29}"/>
                </c:ext>
              </c:extLst>
            </c:dLbl>
            <c:dLbl>
              <c:idx val="4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BFDA-4C69-8E79-A083B7EFBA29}"/>
                </c:ext>
              </c:extLst>
            </c:dLbl>
            <c:dLbl>
              <c:idx val="4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31</c:f>
              <c:numCache>
                <c:formatCode>General</c:formatCode>
                <c:ptCount val="30"/>
                <c:pt idx="0">
                  <c:v>0.3528</c:v>
                </c:pt>
                <c:pt idx="1">
                  <c:v>0.3064</c:v>
                </c:pt>
                <c:pt idx="2">
                  <c:v>0.4064</c:v>
                </c:pt>
                <c:pt idx="3">
                  <c:v>0.3456</c:v>
                </c:pt>
                <c:pt idx="4">
                  <c:v>0.3426</c:v>
                </c:pt>
                <c:pt idx="5">
                  <c:v>0.3496</c:v>
                </c:pt>
                <c:pt idx="6">
                  <c:v>0.3794</c:v>
                </c:pt>
                <c:pt idx="7">
                  <c:v>0.5608</c:v>
                </c:pt>
                <c:pt idx="8">
                  <c:v>0.4813</c:v>
                </c:pt>
                <c:pt idx="9">
                  <c:v>0.3637</c:v>
                </c:pt>
                <c:pt idx="10">
                  <c:v>0.354</c:v>
                </c:pt>
                <c:pt idx="11">
                  <c:v>0.5275</c:v>
                </c:pt>
                <c:pt idx="12">
                  <c:v>0.3136</c:v>
                </c:pt>
                <c:pt idx="13">
                  <c:v>0.3567</c:v>
                </c:pt>
                <c:pt idx="14">
                  <c:v>0.3442</c:v>
                </c:pt>
                <c:pt idx="15">
                  <c:v>0.2502</c:v>
                </c:pt>
                <c:pt idx="16">
                  <c:v>0.3895</c:v>
                </c:pt>
                <c:pt idx="17">
                  <c:v>0.5133</c:v>
                </c:pt>
                <c:pt idx="18">
                  <c:v>0.4359</c:v>
                </c:pt>
                <c:pt idx="19">
                  <c:v>0.5245</c:v>
                </c:pt>
                <c:pt idx="20">
                  <c:v>0.4213</c:v>
                </c:pt>
                <c:pt idx="21">
                  <c:v>0.4793</c:v>
                </c:pt>
                <c:pt idx="22">
                  <c:v>0.3974</c:v>
                </c:pt>
                <c:pt idx="23">
                  <c:v>0.4973</c:v>
                </c:pt>
                <c:pt idx="24">
                  <c:v>0.5497</c:v>
                </c:pt>
                <c:pt idx="25">
                  <c:v>0.4326</c:v>
                </c:pt>
                <c:pt idx="26">
                  <c:v>0.4189</c:v>
                </c:pt>
                <c:pt idx="27">
                  <c:v>0.394</c:v>
                </c:pt>
                <c:pt idx="28">
                  <c:v>0.3373</c:v>
                </c:pt>
                <c:pt idx="29">
                  <c:v>0.4543</c:v>
                </c:pt>
              </c:numCache>
            </c:numRef>
          </c:xVal>
          <c:yVal>
            <c:numRef>
              <c:f>Sheet1!$B$2:$B$31</c:f>
              <c:numCache>
                <c:formatCode>General</c:formatCode>
                <c:ptCount val="30"/>
                <c:pt idx="0">
                  <c:v>36210.3825136612</c:v>
                </c:pt>
                <c:pt idx="1">
                  <c:v>912.4431818181818</c:v>
                </c:pt>
                <c:pt idx="2">
                  <c:v>4929.184993531695</c:v>
                </c:pt>
                <c:pt idx="3">
                  <c:v>35111.05371900827</c:v>
                </c:pt>
                <c:pt idx="4">
                  <c:v>8691.462799495586</c:v>
                </c:pt>
                <c:pt idx="5">
                  <c:v>6379.6974063400585</c:v>
                </c:pt>
                <c:pt idx="6">
                  <c:v>956.9080234833659</c:v>
                </c:pt>
                <c:pt idx="7">
                  <c:v>1782.2718808193667</c:v>
                </c:pt>
                <c:pt idx="8">
                  <c:v>1204.4591029023748</c:v>
                </c:pt>
                <c:pt idx="9">
                  <c:v>28428.861878453037</c:v>
                </c:pt>
                <c:pt idx="10">
                  <c:v>12732.23350253807</c:v>
                </c:pt>
                <c:pt idx="11">
                  <c:v>1246.9437652811737</c:v>
                </c:pt>
                <c:pt idx="12">
                  <c:v>3167.51677852349</c:v>
                </c:pt>
                <c:pt idx="13">
                  <c:v>11865.90742996346</c:v>
                </c:pt>
                <c:pt idx="14">
                  <c:v>25830.86903304774</c:v>
                </c:pt>
                <c:pt idx="15">
                  <c:v>4761.811320754717</c:v>
                </c:pt>
                <c:pt idx="16">
                  <c:v>7665.387596899224</c:v>
                </c:pt>
                <c:pt idx="17">
                  <c:v>2258.3985765124553</c:v>
                </c:pt>
                <c:pt idx="18">
                  <c:v>1840.8</c:v>
                </c:pt>
                <c:pt idx="19">
                  <c:v>502.5925925925926</c:v>
                </c:pt>
                <c:pt idx="20">
                  <c:v>2165.547263681592</c:v>
                </c:pt>
                <c:pt idx="21">
                  <c:v>1513.710407239819</c:v>
                </c:pt>
                <c:pt idx="22">
                  <c:v>20726.22661122661</c:v>
                </c:pt>
                <c:pt idx="23">
                  <c:v>4221.722846441947</c:v>
                </c:pt>
                <c:pt idx="24">
                  <c:v>1752.3170731707319</c:v>
                </c:pt>
                <c:pt idx="25">
                  <c:v>5431.676866585068</c:v>
                </c:pt>
                <c:pt idx="26">
                  <c:v>2424.059405940594</c:v>
                </c:pt>
                <c:pt idx="27">
                  <c:v>1723.9541547277938</c:v>
                </c:pt>
                <c:pt idx="28">
                  <c:v>1054.3076923076924</c:v>
                </c:pt>
                <c:pt idx="29">
                  <c:v>1488.977272727273</c:v>
                </c:pt>
              </c:numCache>
            </c:numRef>
          </c:yVal>
          <c:bubbleSize>
            <c:numRef>
              <c:f>Sheet1!$C$2:$C$31</c:f>
              <c:numCache>
                <c:formatCode>General</c:formatCode>
                <c:ptCount val="30"/>
                <c:pt idx="0">
                  <c:v>2032641.614</c:v>
                </c:pt>
                <c:pt idx="1">
                  <c:v>31672.401400000002</c:v>
                </c:pt>
                <c:pt idx="2">
                  <c:v>214387.12039999999</c:v>
                </c:pt>
                <c:pt idx="3">
                  <c:v>2108282.3343999996</c:v>
                </c:pt>
                <c:pt idx="4">
                  <c:v>429447.70180000004</c:v>
                </c:pt>
                <c:pt idx="5">
                  <c:v>272937.85020000004</c:v>
                </c:pt>
                <c:pt idx="6">
                  <c:v>28764.763499999994</c:v>
                </c:pt>
                <c:pt idx="7">
                  <c:v>39845.55759999999</c:v>
                </c:pt>
                <c:pt idx="8">
                  <c:v>22443.9804</c:v>
                </c:pt>
                <c:pt idx="9">
                  <c:v>1551828.5882</c:v>
                </c:pt>
                <c:pt idx="10">
                  <c:v>614373.5508000001</c:v>
                </c:pt>
                <c:pt idx="11">
                  <c:v>22839.868000000006</c:v>
                </c:pt>
                <c:pt idx="12">
                  <c:v>92124.07410000001</c:v>
                </c:pt>
                <c:pt idx="13">
                  <c:v>594060.8762999999</c:v>
                </c:pt>
                <c:pt idx="14">
                  <c:v>1311822.8504</c:v>
                </c:pt>
                <c:pt idx="15">
                  <c:v>89686.7917</c:v>
                </c:pt>
                <c:pt idx="16">
                  <c:v>343315.12559999997</c:v>
                </c:pt>
                <c:pt idx="17">
                  <c:v>29273.478900000002</c:v>
                </c:pt>
                <c:pt idx="18">
                  <c:v>7381.949</c:v>
                </c:pt>
                <c:pt idx="19">
                  <c:v>7339.8537</c:v>
                </c:pt>
                <c:pt idx="20">
                  <c:v>47748.37920000001</c:v>
                </c:pt>
                <c:pt idx="21">
                  <c:v>33021.712499999994</c:v>
                </c:pt>
                <c:pt idx="22">
                  <c:v>1138834.3723</c:v>
                </c:pt>
                <c:pt idx="23">
                  <c:v>161142.32499999995</c:v>
                </c:pt>
                <c:pt idx="24">
                  <c:v>55191.65740000001</c:v>
                </c:pt>
                <c:pt idx="25">
                  <c:v>238681.35979999995</c:v>
                </c:pt>
                <c:pt idx="26">
                  <c:v>94390.67159999999</c:v>
                </c:pt>
                <c:pt idx="27">
                  <c:v>69122.323</c:v>
                </c:pt>
                <c:pt idx="28">
                  <c:v>30133.050000000003</c:v>
                </c:pt>
                <c:pt idx="29">
                  <c:v>27109.391400000004</c:v>
                </c:pt>
              </c:numCache>
            </c:numRef>
          </c:bubbleSize>
          <c:bubble3D val="0"/>
          <c:extLst>
            <c:ext xmlns:c15="http://schemas.microsoft.com/office/drawing/2012/chart" uri="{02D57815-91ED-43cb-92C2-25804820EDAC}">
              <c15:datalabelsRange>
                <c15:f>Sheet1!$E$2:$E$50</c15:f>
                <c15:dlblRangeCache>
                  <c:ptCount val="49"/>
                  <c:pt idx="0">
                    <c:v>Findus Merluzzo Altro Findus Fish Bar 245GR</c:v>
                  </c:pt>
                  <c:pt idx="1">
                    <c:v>Findus Merluzzo D Alaska Chips Findus Big Burger 227GR</c:v>
                  </c:pt>
                  <c:pt idx="2">
                    <c:v>Findus Merluzzo D Alaska Standard Findus Big Burger 227GR</c:v>
                  </c:pt>
                  <c:pt idx="3">
                    <c:v>Findus Merluzzo E Spinaci Filetto Findus Croccole 300GR</c:v>
                  </c:pt>
                  <c:pt idx="4">
                    <c:v>Findus Merluzzo Filetto Findus Croccole 300GR</c:v>
                  </c:pt>
                  <c:pt idx="5">
                    <c:v>Findus Merluzzo Filetto Findus Croccole 600GR</c:v>
                  </c:pt>
                  <c:pt idx="6">
                    <c:v>Findus Merluzzo Filetto Findus Fish &amp; Crock 250GR</c:v>
                  </c:pt>
                  <c:pt idx="7">
                    <c:v>Findus Merluzzo Filetto Findus Fish Bar 240GR</c:v>
                  </c:pt>
                  <c:pt idx="8">
                    <c:v>Findus Merluzzo Semi Filetto Findus Croccole 300GR</c:v>
                  </c:pt>
                  <c:pt idx="9">
                    <c:v>Findus Merluzzo Senza Glutine Filetto Findus Croccole 250GR</c:v>
                  </c:pt>
                  <c:pt idx="10">
                    <c:v>Findus Platessa Filetto Findus Platessa 250GR</c:v>
                  </c:pt>
                  <c:pt idx="11">
                    <c:v>Findus Salmone Altro Findus Fish Bar 220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2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F12FBB09-6106-4C3B-8417-7990D629B95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FE92A3DF-EA6A-45AB-8F21-A4AA7502A40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B04B85CB-3B8C-46BD-AC62-F723ECABE21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EA310DF0-EDCF-42FC-A845-CDF84BD3B51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5DF929A0-DF5F-45E9-BBBF-06FC753994E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685C2632-DFCA-4B66-8F04-F7C031415AF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D206D3DB-84F9-4A47-867C-58908453196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5-BFDA-4C69-8E79-A083B7EFBA29}"/>
                </c:ext>
              </c:extLst>
            </c:dLbl>
            <c:dLbl>
              <c:idx val="1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BFDA-4C69-8E79-A083B7EFBA29}"/>
                </c:ext>
              </c:extLst>
            </c:dLbl>
            <c:dLbl>
              <c:idx val="1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BFDA-4C69-8E79-A083B7EFBA29}"/>
                </c:ext>
              </c:extLst>
            </c:dLbl>
            <c:dLbl>
              <c:idx val="1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BFDA-4C69-8E79-A083B7EFBA29}"/>
                </c:ext>
              </c:extLst>
            </c:dLbl>
            <c:dLbl>
              <c:idx val="1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9-BFDA-4C69-8E79-A083B7EFBA29}"/>
                </c:ext>
              </c:extLst>
            </c:dLbl>
            <c:dLbl>
              <c:idx val="1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A-BFDA-4C69-8E79-A083B7EFBA29}"/>
                </c:ext>
              </c:extLst>
            </c:dLbl>
            <c:dLbl>
              <c:idx val="1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B-BFDA-4C69-8E79-A083B7EFBA29}"/>
                </c:ext>
              </c:extLst>
            </c:dLbl>
            <c:dLbl>
              <c:idx val="1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C-BFDA-4C69-8E79-A083B7EFBA29}"/>
                </c:ext>
              </c:extLst>
            </c:dLbl>
            <c:dLbl>
              <c:idx val="2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BFDA-4C69-8E79-A083B7EFBA29}"/>
                </c:ext>
              </c:extLst>
            </c:dLbl>
            <c:dLbl>
              <c:idx val="2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BFDA-4C69-8E79-A083B7EFBA29}"/>
                </c:ext>
              </c:extLst>
            </c:dLbl>
            <c:dLbl>
              <c:idx val="2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F-BFDA-4C69-8E79-A083B7EFBA29}"/>
                </c:ext>
              </c:extLst>
            </c:dLbl>
            <c:dLbl>
              <c:idx val="2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0-BFDA-4C69-8E79-A083B7EFBA29}"/>
                </c:ext>
              </c:extLst>
            </c:dLbl>
            <c:dLbl>
              <c:idx val="2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1-BFDA-4C69-8E79-A083B7EFBA29}"/>
                </c:ext>
              </c:extLst>
            </c:dLbl>
            <c:dLbl>
              <c:idx val="2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BFDA-4C69-8E79-A083B7EFBA29}"/>
                </c:ext>
              </c:extLst>
            </c:dLbl>
            <c:dLbl>
              <c:idx val="2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BFDA-4C69-8E79-A083B7EFBA29}"/>
                </c:ext>
              </c:extLst>
            </c:dLbl>
            <c:dLbl>
              <c:idx val="2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BFDA-4C69-8E79-A083B7EFBA29}"/>
                </c:ext>
              </c:extLst>
            </c:dLbl>
            <c:dLbl>
              <c:idx val="2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5-BFDA-4C69-8E79-A083B7EFBA29}"/>
                </c:ext>
              </c:extLst>
            </c:dLbl>
            <c:dLbl>
              <c:idx val="2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6-BFDA-4C69-8E79-A083B7EFBA29}"/>
                </c:ext>
              </c:extLst>
            </c:dLbl>
            <c:dLbl>
              <c:idx val="3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7-BFDA-4C69-8E79-A083B7EFBA29}"/>
                </c:ext>
              </c:extLst>
            </c:dLbl>
            <c:dLbl>
              <c:idx val="3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8-BFDA-4C69-8E79-A083B7EFBA29}"/>
                </c:ext>
              </c:extLst>
            </c:dLbl>
            <c:dLbl>
              <c:idx val="3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9-BFDA-4C69-8E79-A083B7EFBA29}"/>
                </c:ext>
              </c:extLst>
            </c:dLbl>
            <c:dLbl>
              <c:idx val="3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BFDA-4C69-8E79-A083B7EFBA29}"/>
                </c:ext>
              </c:extLst>
            </c:dLbl>
            <c:dLbl>
              <c:idx val="3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B-BFDA-4C69-8E79-A083B7EFBA29}"/>
                </c:ext>
              </c:extLst>
            </c:dLbl>
            <c:dLbl>
              <c:idx val="3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C-BFDA-4C69-8E79-A083B7EFBA29}"/>
                </c:ext>
              </c:extLst>
            </c:dLbl>
            <c:dLbl>
              <c:idx val="3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D-BFDA-4C69-8E79-A083B7EFBA29}"/>
                </c:ext>
              </c:extLst>
            </c:dLbl>
            <c:dLbl>
              <c:idx val="3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BFDA-4C69-8E79-A083B7EFBA29}"/>
                </c:ext>
              </c:extLst>
            </c:dLbl>
            <c:dLbl>
              <c:idx val="3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BFDA-4C69-8E79-A083B7EFBA29}"/>
                </c:ext>
              </c:extLst>
            </c:dLbl>
            <c:dLbl>
              <c:idx val="3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BFDA-4C69-8E79-A083B7EFBA29}"/>
                </c:ext>
              </c:extLst>
            </c:dLbl>
            <c:dLbl>
              <c:idx val="4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1-BFDA-4C69-8E79-A083B7EFBA29}"/>
                </c:ext>
              </c:extLst>
            </c:dLbl>
            <c:dLbl>
              <c:idx val="4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BFDA-4C69-8E79-A083B7EFBA29}"/>
                </c:ext>
              </c:extLst>
            </c:dLbl>
            <c:dLbl>
              <c:idx val="4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BFDA-4C69-8E79-A083B7EFBA29}"/>
                </c:ext>
              </c:extLst>
            </c:dLbl>
            <c:dLbl>
              <c:idx val="4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BFDA-4C69-8E79-A083B7EFBA29}"/>
                </c:ext>
              </c:extLst>
            </c:dLbl>
            <c:dLbl>
              <c:idx val="4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BFDA-4C69-8E79-A083B7EFBA29}"/>
                </c:ext>
              </c:extLst>
            </c:dLbl>
            <c:dLbl>
              <c:idx val="4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BFDA-4C69-8E79-A083B7EFBA29}"/>
                </c:ext>
              </c:extLst>
            </c:dLbl>
            <c:dLbl>
              <c:idx val="4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BFDA-4C69-8E79-A083B7EFBA29}"/>
                </c:ext>
              </c:extLst>
            </c:dLbl>
            <c:dLbl>
              <c:idx val="4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BFDA-4C69-8E79-A083B7EFBA29}"/>
                </c:ext>
              </c:extLst>
            </c:dLbl>
            <c:dLbl>
              <c:idx val="4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12</c:f>
              <c:numCache>
                <c:formatCode>General</c:formatCode>
                <c:ptCount val="11"/>
                <c:pt idx="0">
                  <c:v>0.3242</c:v>
                </c:pt>
                <c:pt idx="1">
                  <c:v>0.3511</c:v>
                </c:pt>
                <c:pt idx="2">
                  <c:v>0.4593</c:v>
                </c:pt>
                <c:pt idx="3">
                  <c:v>0.4991</c:v>
                </c:pt>
                <c:pt idx="4">
                  <c:v>0.479</c:v>
                </c:pt>
                <c:pt idx="5">
                  <c:v>0.348</c:v>
                </c:pt>
                <c:pt idx="6">
                  <c:v>0.4193</c:v>
                </c:pt>
                <c:pt idx="7">
                  <c:v>0.2799</c:v>
                </c:pt>
                <c:pt idx="8">
                  <c:v>0.3693</c:v>
                </c:pt>
                <c:pt idx="9">
                  <c:v>0.3607</c:v>
                </c:pt>
                <c:pt idx="10">
                  <c:v>0.4797</c:v>
                </c:pt>
              </c:numCache>
            </c:numRef>
          </c:xVal>
          <c:yVal>
            <c:numRef>
              <c:f>Sheet1!$B$2:$B$12</c:f>
              <c:numCache>
                <c:formatCode>General</c:formatCode>
                <c:ptCount val="11"/>
                <c:pt idx="0">
                  <c:v>45724.89230769231</c:v>
                </c:pt>
                <c:pt idx="1">
                  <c:v>43360.813008130084</c:v>
                </c:pt>
                <c:pt idx="2">
                  <c:v>6139.832735961768</c:v>
                </c:pt>
                <c:pt idx="3">
                  <c:v>481.37096774193543</c:v>
                </c:pt>
                <c:pt idx="4">
                  <c:v>7090.928689883914</c:v>
                </c:pt>
                <c:pt idx="5">
                  <c:v>25786.988809766022</c:v>
                </c:pt>
                <c:pt idx="6">
                  <c:v>3027.5083798882683</c:v>
                </c:pt>
                <c:pt idx="7">
                  <c:v>3357.02570379437</c:v>
                </c:pt>
                <c:pt idx="8">
                  <c:v>20585.647298674823</c:v>
                </c:pt>
                <c:pt idx="9">
                  <c:v>27675.493562231757</c:v>
                </c:pt>
                <c:pt idx="10">
                  <c:v>5504.077380952381</c:v>
                </c:pt>
              </c:numCache>
            </c:numRef>
          </c:yVal>
          <c:bubbleSize>
            <c:numRef>
              <c:f>Sheet1!$C$2:$C$12</c:f>
              <c:numCache>
                <c:formatCode>General</c:formatCode>
                <c:ptCount val="11"/>
                <c:pt idx="0">
                  <c:v>2855956.0229999996</c:v>
                </c:pt>
                <c:pt idx="1">
                  <c:v>2296187.0626000003</c:v>
                </c:pt>
                <c:pt idx="2">
                  <c:v>263362.13670000003</c:v>
                </c:pt>
                <c:pt idx="3">
                  <c:v>8501.64</c:v>
                </c:pt>
                <c:pt idx="4">
                  <c:v>211148.30579999997</c:v>
                </c:pt>
                <c:pt idx="5">
                  <c:v>1566649.6702999999</c:v>
                </c:pt>
                <c:pt idx="6">
                  <c:v>149151.07840000003</c:v>
                </c:pt>
                <c:pt idx="7">
                  <c:v>187196.62399999998</c:v>
                </c:pt>
                <c:pt idx="8">
                  <c:v>1207357.7841999999</c:v>
                </c:pt>
                <c:pt idx="9">
                  <c:v>1563091.1579999998</c:v>
                </c:pt>
                <c:pt idx="10">
                  <c:v>182424.33279999997</c:v>
                </c:pt>
              </c:numCache>
            </c:numRef>
          </c:bubbleSize>
          <c:bubble3D val="0"/>
          <c:extLst>
            <c:ext xmlns:c15="http://schemas.microsoft.com/office/drawing/2012/chart" uri="{02D57815-91ED-43cb-92C2-25804820EDAC}">
              <c15:datalabelsRange>
                <c15:f>Sheet1!$E$2:$E$50</c15:f>
                <c15:dlblRangeCache>
                  <c:ptCount val="49"/>
                  <c:pt idx="0">
                    <c:v>Findus Merluzzo Altro Findus Fish Bar 245GR</c:v>
                  </c:pt>
                  <c:pt idx="1">
                    <c:v>Findus Merluzzo D Alaska Chips Findus Big Burger 227GR</c:v>
                  </c:pt>
                  <c:pt idx="2">
                    <c:v>Findus Merluzzo D Alaska Standard Findus Big Burger 227GR</c:v>
                  </c:pt>
                  <c:pt idx="3">
                    <c:v>Findus Merluzzo E Spinaci Filetto Findus Croccole 300GR</c:v>
                  </c:pt>
                  <c:pt idx="4">
                    <c:v>Findus Merluzzo Filetto Findus Croccole 300GR</c:v>
                  </c:pt>
                  <c:pt idx="5">
                    <c:v>Findus Merluzzo Filetto Findus Croccole 600GR</c:v>
                  </c:pt>
                  <c:pt idx="6">
                    <c:v>Findus Merluzzo Filetto Findus Fish &amp; Crock 250GR</c:v>
                  </c:pt>
                  <c:pt idx="7">
                    <c:v>Findus Merluzzo Filetto Findus Fish Bar 240GR</c:v>
                  </c:pt>
                  <c:pt idx="8">
                    <c:v>Findus Merluzzo Semi Filetto Findus Croccole 300GR</c:v>
                  </c:pt>
                  <c:pt idx="9">
                    <c:v>Findus Merluzzo Senza Glutine Filetto Findus Croccole 250GR</c:v>
                  </c:pt>
                  <c:pt idx="10">
                    <c:v>Findus Platessa Filetto Findus Platessa 250GR</c:v>
                  </c:pt>
                  <c:pt idx="11">
                    <c:v>Findus Salmone Altro Findus Fish Bar 220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2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F346BC87-9E39-4C7C-9C54-B7B980FBDBA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1D603D36-2C60-42AB-8EC0-685AE32B913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3C703D6B-4E5D-4A03-B3D0-DD7BCC865B0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41A1AD3F-49D8-4D3C-9CD7-38C5ACC0733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05B60FC7-B635-48DC-8E75-25B2BD328E4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52907DB1-2FDF-4477-8081-6E9D53913DF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401114DD-DFB0-463C-BCC9-0563491673F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5-BFDA-4C69-8E79-A083B7EFBA29}"/>
                </c:ext>
              </c:extLst>
            </c:dLbl>
            <c:dLbl>
              <c:idx val="1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BFDA-4C69-8E79-A083B7EFBA29}"/>
                </c:ext>
              </c:extLst>
            </c:dLbl>
            <c:dLbl>
              <c:idx val="1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BFDA-4C69-8E79-A083B7EFBA29}"/>
                </c:ext>
              </c:extLst>
            </c:dLbl>
            <c:dLbl>
              <c:idx val="1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BFDA-4C69-8E79-A083B7EFBA29}"/>
                </c:ext>
              </c:extLst>
            </c:dLbl>
            <c:dLbl>
              <c:idx val="1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9-BFDA-4C69-8E79-A083B7EFBA29}"/>
                </c:ext>
              </c:extLst>
            </c:dLbl>
            <c:dLbl>
              <c:idx val="1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A-BFDA-4C69-8E79-A083B7EFBA29}"/>
                </c:ext>
              </c:extLst>
            </c:dLbl>
            <c:dLbl>
              <c:idx val="1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B-BFDA-4C69-8E79-A083B7EFBA29}"/>
                </c:ext>
              </c:extLst>
            </c:dLbl>
            <c:dLbl>
              <c:idx val="1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C-BFDA-4C69-8E79-A083B7EFBA29}"/>
                </c:ext>
              </c:extLst>
            </c:dLbl>
            <c:dLbl>
              <c:idx val="2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BFDA-4C69-8E79-A083B7EFBA29}"/>
                </c:ext>
              </c:extLst>
            </c:dLbl>
            <c:dLbl>
              <c:idx val="2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BFDA-4C69-8E79-A083B7EFBA29}"/>
                </c:ext>
              </c:extLst>
            </c:dLbl>
            <c:dLbl>
              <c:idx val="2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F-BFDA-4C69-8E79-A083B7EFBA29}"/>
                </c:ext>
              </c:extLst>
            </c:dLbl>
            <c:dLbl>
              <c:idx val="2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0-BFDA-4C69-8E79-A083B7EFBA29}"/>
                </c:ext>
              </c:extLst>
            </c:dLbl>
            <c:dLbl>
              <c:idx val="2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1-BFDA-4C69-8E79-A083B7EFBA29}"/>
                </c:ext>
              </c:extLst>
            </c:dLbl>
            <c:dLbl>
              <c:idx val="2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BFDA-4C69-8E79-A083B7EFBA29}"/>
                </c:ext>
              </c:extLst>
            </c:dLbl>
            <c:dLbl>
              <c:idx val="2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BFDA-4C69-8E79-A083B7EFBA29}"/>
                </c:ext>
              </c:extLst>
            </c:dLbl>
            <c:dLbl>
              <c:idx val="2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BFDA-4C69-8E79-A083B7EFBA29}"/>
                </c:ext>
              </c:extLst>
            </c:dLbl>
            <c:dLbl>
              <c:idx val="2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5-BFDA-4C69-8E79-A083B7EFBA29}"/>
                </c:ext>
              </c:extLst>
            </c:dLbl>
            <c:dLbl>
              <c:idx val="2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6-BFDA-4C69-8E79-A083B7EFBA29}"/>
                </c:ext>
              </c:extLst>
            </c:dLbl>
            <c:dLbl>
              <c:idx val="3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7-BFDA-4C69-8E79-A083B7EFBA29}"/>
                </c:ext>
              </c:extLst>
            </c:dLbl>
            <c:dLbl>
              <c:idx val="3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8-BFDA-4C69-8E79-A083B7EFBA29}"/>
                </c:ext>
              </c:extLst>
            </c:dLbl>
            <c:dLbl>
              <c:idx val="3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9-BFDA-4C69-8E79-A083B7EFBA29}"/>
                </c:ext>
              </c:extLst>
            </c:dLbl>
            <c:dLbl>
              <c:idx val="3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BFDA-4C69-8E79-A083B7EFBA29}"/>
                </c:ext>
              </c:extLst>
            </c:dLbl>
            <c:dLbl>
              <c:idx val="3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B-BFDA-4C69-8E79-A083B7EFBA29}"/>
                </c:ext>
              </c:extLst>
            </c:dLbl>
            <c:dLbl>
              <c:idx val="3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C-BFDA-4C69-8E79-A083B7EFBA29}"/>
                </c:ext>
              </c:extLst>
            </c:dLbl>
            <c:dLbl>
              <c:idx val="3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D-BFDA-4C69-8E79-A083B7EFBA29}"/>
                </c:ext>
              </c:extLst>
            </c:dLbl>
            <c:dLbl>
              <c:idx val="3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BFDA-4C69-8E79-A083B7EFBA29}"/>
                </c:ext>
              </c:extLst>
            </c:dLbl>
            <c:dLbl>
              <c:idx val="3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BFDA-4C69-8E79-A083B7EFBA29}"/>
                </c:ext>
              </c:extLst>
            </c:dLbl>
            <c:dLbl>
              <c:idx val="3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BFDA-4C69-8E79-A083B7EFBA29}"/>
                </c:ext>
              </c:extLst>
            </c:dLbl>
            <c:dLbl>
              <c:idx val="4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1-BFDA-4C69-8E79-A083B7EFBA29}"/>
                </c:ext>
              </c:extLst>
            </c:dLbl>
            <c:dLbl>
              <c:idx val="4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BFDA-4C69-8E79-A083B7EFBA29}"/>
                </c:ext>
              </c:extLst>
            </c:dLbl>
            <c:dLbl>
              <c:idx val="4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BFDA-4C69-8E79-A083B7EFBA29}"/>
                </c:ext>
              </c:extLst>
            </c:dLbl>
            <c:dLbl>
              <c:idx val="4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BFDA-4C69-8E79-A083B7EFBA29}"/>
                </c:ext>
              </c:extLst>
            </c:dLbl>
            <c:dLbl>
              <c:idx val="4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BFDA-4C69-8E79-A083B7EFBA29}"/>
                </c:ext>
              </c:extLst>
            </c:dLbl>
            <c:dLbl>
              <c:idx val="4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BFDA-4C69-8E79-A083B7EFBA29}"/>
                </c:ext>
              </c:extLst>
            </c:dLbl>
            <c:dLbl>
              <c:idx val="4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BFDA-4C69-8E79-A083B7EFBA29}"/>
                </c:ext>
              </c:extLst>
            </c:dLbl>
            <c:dLbl>
              <c:idx val="4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BFDA-4C69-8E79-A083B7EFBA29}"/>
                </c:ext>
              </c:extLst>
            </c:dLbl>
            <c:dLbl>
              <c:idx val="4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9</c:f>
              <c:numCache>
                <c:formatCode>General</c:formatCode>
                <c:ptCount val="8"/>
                <c:pt idx="0">
                  <c:v>0.5395</c:v>
                </c:pt>
                <c:pt idx="1">
                  <c:v>0.4336</c:v>
                </c:pt>
                <c:pt idx="2">
                  <c:v>0.3976</c:v>
                </c:pt>
                <c:pt idx="3">
                  <c:v>0.363</c:v>
                </c:pt>
                <c:pt idx="4">
                  <c:v>0.3263</c:v>
                </c:pt>
                <c:pt idx="5">
                  <c:v>0.2464</c:v>
                </c:pt>
                <c:pt idx="6">
                  <c:v>0.4233</c:v>
                </c:pt>
                <c:pt idx="7">
                  <c:v>0.4895</c:v>
                </c:pt>
              </c:numCache>
            </c:numRef>
          </c:xVal>
          <c:yVal>
            <c:numRef>
              <c:f>Sheet1!$B$2:$B$9</c:f>
              <c:numCache>
                <c:formatCode>General</c:formatCode>
                <c:ptCount val="8"/>
                <c:pt idx="0">
                  <c:v>6740.530191458026</c:v>
                </c:pt>
                <c:pt idx="1">
                  <c:v>10304.161712247325</c:v>
                </c:pt>
                <c:pt idx="2">
                  <c:v>61730.22044088176</c:v>
                </c:pt>
                <c:pt idx="3">
                  <c:v>52226.90754516472</c:v>
                </c:pt>
                <c:pt idx="4">
                  <c:v>79341.23548046463</c:v>
                </c:pt>
                <c:pt idx="5">
                  <c:v>1325.1948051948052</c:v>
                </c:pt>
                <c:pt idx="6">
                  <c:v>14262.722513089006</c:v>
                </c:pt>
                <c:pt idx="7">
                  <c:v>14741.662735849057</c:v>
                </c:pt>
              </c:numCache>
            </c:numRef>
          </c:yVal>
          <c:bubbleSize>
            <c:numRef>
              <c:f>Sheet1!$C$2:$C$9</c:f>
              <c:numCache>
                <c:formatCode>General</c:formatCode>
                <c:ptCount val="8"/>
                <c:pt idx="0">
                  <c:v>199774.98380000005</c:v>
                </c:pt>
                <c:pt idx="1">
                  <c:v>465262.3417000001</c:v>
                </c:pt>
                <c:pt idx="2">
                  <c:v>3517429.0794000006</c:v>
                </c:pt>
                <c:pt idx="3">
                  <c:v>2967487.1029999997</c:v>
                </c:pt>
                <c:pt idx="4">
                  <c:v>4797651.408399999</c:v>
                </c:pt>
                <c:pt idx="5">
                  <c:v>21865.146199999996</c:v>
                </c:pt>
                <c:pt idx="6">
                  <c:v>744418.5861000001</c:v>
                </c:pt>
                <c:pt idx="7">
                  <c:v>604870.5601999997</c:v>
                </c:pt>
              </c:numCache>
            </c:numRef>
          </c:bubbleSize>
          <c:bubble3D val="0"/>
          <c:extLst>
            <c:ext xmlns:c15="http://schemas.microsoft.com/office/drawing/2012/chart" uri="{02D57815-91ED-43cb-92C2-25804820EDAC}">
              <c15:datalabelsRange>
                <c15:f>Sheet1!$E$2:$E$50</c15:f>
                <c15:dlblRangeCache>
                  <c:ptCount val="49"/>
                  <c:pt idx="0">
                    <c:v>Findus Merluzzo Altro Findus Fish Bar 245GR</c:v>
                  </c:pt>
                  <c:pt idx="1">
                    <c:v>Findus Merluzzo D Alaska Chips Findus Big Burger 227GR</c:v>
                  </c:pt>
                  <c:pt idx="2">
                    <c:v>Findus Merluzzo D Alaska Standard Findus Big Burger 227GR</c:v>
                  </c:pt>
                  <c:pt idx="3">
                    <c:v>Findus Merluzzo E Spinaci Filetto Findus Croccole 300GR</c:v>
                  </c:pt>
                  <c:pt idx="4">
                    <c:v>Findus Merluzzo Filetto Findus Croccole 300GR</c:v>
                  </c:pt>
                  <c:pt idx="5">
                    <c:v>Findus Merluzzo Filetto Findus Croccole 600GR</c:v>
                  </c:pt>
                  <c:pt idx="6">
                    <c:v>Findus Merluzzo Filetto Findus Fish &amp; Crock 250GR</c:v>
                  </c:pt>
                  <c:pt idx="7">
                    <c:v>Findus Merluzzo Filetto Findus Fish Bar 240GR</c:v>
                  </c:pt>
                  <c:pt idx="8">
                    <c:v>Findus Merluzzo Semi Filetto Findus Croccole 300GR</c:v>
                  </c:pt>
                  <c:pt idx="9">
                    <c:v>Findus Merluzzo Senza Glutine Filetto Findus Croccole 250GR</c:v>
                  </c:pt>
                  <c:pt idx="10">
                    <c:v>Findus Platessa Filetto Findus Platessa 250GR</c:v>
                  </c:pt>
                  <c:pt idx="11">
                    <c:v>Findus Salmone Altro Findus Fish Bar 220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2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FD24E839-9D77-415D-A7D0-A959F4B3900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40DD4237-5420-44B2-BFDF-8ADF906067D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6D8855B7-FA6C-4EE3-AB64-88E434D3B6A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85C9FFAD-D587-436E-8312-F7CEDC6504C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2D385918-D114-4916-97C3-FE35B4491D1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57FE02D4-4B48-44D5-8969-7122D2849AE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33B6BA3B-DE94-4BF9-BD85-9063AF3D7AF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5-BFDA-4C69-8E79-A083B7EFBA29}"/>
                </c:ext>
              </c:extLst>
            </c:dLbl>
            <c:dLbl>
              <c:idx val="1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BFDA-4C69-8E79-A083B7EFBA29}"/>
                </c:ext>
              </c:extLst>
            </c:dLbl>
            <c:dLbl>
              <c:idx val="1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BFDA-4C69-8E79-A083B7EFBA29}"/>
                </c:ext>
              </c:extLst>
            </c:dLbl>
            <c:dLbl>
              <c:idx val="1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BFDA-4C69-8E79-A083B7EFBA29}"/>
                </c:ext>
              </c:extLst>
            </c:dLbl>
            <c:dLbl>
              <c:idx val="1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9-BFDA-4C69-8E79-A083B7EFBA29}"/>
                </c:ext>
              </c:extLst>
            </c:dLbl>
            <c:dLbl>
              <c:idx val="1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A-BFDA-4C69-8E79-A083B7EFBA29}"/>
                </c:ext>
              </c:extLst>
            </c:dLbl>
            <c:dLbl>
              <c:idx val="1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B-BFDA-4C69-8E79-A083B7EFBA29}"/>
                </c:ext>
              </c:extLst>
            </c:dLbl>
            <c:dLbl>
              <c:idx val="1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C-BFDA-4C69-8E79-A083B7EFBA29}"/>
                </c:ext>
              </c:extLst>
            </c:dLbl>
            <c:dLbl>
              <c:idx val="2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BFDA-4C69-8E79-A083B7EFBA29}"/>
                </c:ext>
              </c:extLst>
            </c:dLbl>
            <c:dLbl>
              <c:idx val="2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BFDA-4C69-8E79-A083B7EFBA29}"/>
                </c:ext>
              </c:extLst>
            </c:dLbl>
            <c:dLbl>
              <c:idx val="2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F-BFDA-4C69-8E79-A083B7EFBA29}"/>
                </c:ext>
              </c:extLst>
            </c:dLbl>
            <c:dLbl>
              <c:idx val="2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0-BFDA-4C69-8E79-A083B7EFBA29}"/>
                </c:ext>
              </c:extLst>
            </c:dLbl>
            <c:dLbl>
              <c:idx val="2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1-BFDA-4C69-8E79-A083B7EFBA29}"/>
                </c:ext>
              </c:extLst>
            </c:dLbl>
            <c:dLbl>
              <c:idx val="2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BFDA-4C69-8E79-A083B7EFBA29}"/>
                </c:ext>
              </c:extLst>
            </c:dLbl>
            <c:dLbl>
              <c:idx val="2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BFDA-4C69-8E79-A083B7EFBA29}"/>
                </c:ext>
              </c:extLst>
            </c:dLbl>
            <c:dLbl>
              <c:idx val="2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BFDA-4C69-8E79-A083B7EFBA29}"/>
                </c:ext>
              </c:extLst>
            </c:dLbl>
            <c:dLbl>
              <c:idx val="2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5-BFDA-4C69-8E79-A083B7EFBA29}"/>
                </c:ext>
              </c:extLst>
            </c:dLbl>
            <c:dLbl>
              <c:idx val="2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6-BFDA-4C69-8E79-A083B7EFBA29}"/>
                </c:ext>
              </c:extLst>
            </c:dLbl>
            <c:dLbl>
              <c:idx val="3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7-BFDA-4C69-8E79-A083B7EFBA29}"/>
                </c:ext>
              </c:extLst>
            </c:dLbl>
            <c:dLbl>
              <c:idx val="3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8-BFDA-4C69-8E79-A083B7EFBA29}"/>
                </c:ext>
              </c:extLst>
            </c:dLbl>
            <c:dLbl>
              <c:idx val="3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9-BFDA-4C69-8E79-A083B7EFBA29}"/>
                </c:ext>
              </c:extLst>
            </c:dLbl>
            <c:dLbl>
              <c:idx val="3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BFDA-4C69-8E79-A083B7EFBA29}"/>
                </c:ext>
              </c:extLst>
            </c:dLbl>
            <c:dLbl>
              <c:idx val="3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B-BFDA-4C69-8E79-A083B7EFBA29}"/>
                </c:ext>
              </c:extLst>
            </c:dLbl>
            <c:dLbl>
              <c:idx val="3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C-BFDA-4C69-8E79-A083B7EFBA29}"/>
                </c:ext>
              </c:extLst>
            </c:dLbl>
            <c:dLbl>
              <c:idx val="3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D-BFDA-4C69-8E79-A083B7EFBA29}"/>
                </c:ext>
              </c:extLst>
            </c:dLbl>
            <c:dLbl>
              <c:idx val="3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BFDA-4C69-8E79-A083B7EFBA29}"/>
                </c:ext>
              </c:extLst>
            </c:dLbl>
            <c:dLbl>
              <c:idx val="3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BFDA-4C69-8E79-A083B7EFBA29}"/>
                </c:ext>
              </c:extLst>
            </c:dLbl>
            <c:dLbl>
              <c:idx val="3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BFDA-4C69-8E79-A083B7EFBA29}"/>
                </c:ext>
              </c:extLst>
            </c:dLbl>
            <c:dLbl>
              <c:idx val="4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1-BFDA-4C69-8E79-A083B7EFBA29}"/>
                </c:ext>
              </c:extLst>
            </c:dLbl>
            <c:dLbl>
              <c:idx val="4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BFDA-4C69-8E79-A083B7EFBA29}"/>
                </c:ext>
              </c:extLst>
            </c:dLbl>
            <c:dLbl>
              <c:idx val="4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BFDA-4C69-8E79-A083B7EFBA29}"/>
                </c:ext>
              </c:extLst>
            </c:dLbl>
            <c:dLbl>
              <c:idx val="4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BFDA-4C69-8E79-A083B7EFBA29}"/>
                </c:ext>
              </c:extLst>
            </c:dLbl>
            <c:dLbl>
              <c:idx val="4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BFDA-4C69-8E79-A083B7EFBA29}"/>
                </c:ext>
              </c:extLst>
            </c:dLbl>
            <c:dLbl>
              <c:idx val="4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BFDA-4C69-8E79-A083B7EFBA29}"/>
                </c:ext>
              </c:extLst>
            </c:dLbl>
            <c:dLbl>
              <c:idx val="4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BFDA-4C69-8E79-A083B7EFBA29}"/>
                </c:ext>
              </c:extLst>
            </c:dLbl>
            <c:dLbl>
              <c:idx val="4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BFDA-4C69-8E79-A083B7EFBA29}"/>
                </c:ext>
              </c:extLst>
            </c:dLbl>
            <c:dLbl>
              <c:idx val="4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25</c:f>
              <c:numCache>
                <c:formatCode>General</c:formatCode>
                <c:ptCount val="24"/>
                <c:pt idx="0">
                  <c:v>0.3548</c:v>
                </c:pt>
                <c:pt idx="1">
                  <c:v>0.4003</c:v>
                </c:pt>
                <c:pt idx="2">
                  <c:v>0.3578</c:v>
                </c:pt>
                <c:pt idx="3">
                  <c:v>0.4275</c:v>
                </c:pt>
                <c:pt idx="4">
                  <c:v>0.4031</c:v>
                </c:pt>
                <c:pt idx="5">
                  <c:v>0.5215</c:v>
                </c:pt>
                <c:pt idx="6">
                  <c:v>0.4022</c:v>
                </c:pt>
                <c:pt idx="7">
                  <c:v>0.4058</c:v>
                </c:pt>
                <c:pt idx="8">
                  <c:v>0.4202</c:v>
                </c:pt>
                <c:pt idx="9">
                  <c:v>0.2555</c:v>
                </c:pt>
                <c:pt idx="10">
                  <c:v>0.4011</c:v>
                </c:pt>
                <c:pt idx="11">
                  <c:v>0.4043</c:v>
                </c:pt>
                <c:pt idx="12">
                  <c:v>0.3731</c:v>
                </c:pt>
                <c:pt idx="13">
                  <c:v>0.4073</c:v>
                </c:pt>
                <c:pt idx="14">
                  <c:v>0.4856</c:v>
                </c:pt>
                <c:pt idx="15">
                  <c:v>0.4414</c:v>
                </c:pt>
                <c:pt idx="16">
                  <c:v>0.3881</c:v>
                </c:pt>
                <c:pt idx="17">
                  <c:v>0.4369</c:v>
                </c:pt>
                <c:pt idx="18">
                  <c:v>0.3868</c:v>
                </c:pt>
                <c:pt idx="19">
                  <c:v>0.3638</c:v>
                </c:pt>
                <c:pt idx="20">
                  <c:v>0.4263</c:v>
                </c:pt>
                <c:pt idx="21">
                  <c:v>0.4791</c:v>
                </c:pt>
                <c:pt idx="22">
                  <c:v>0.4301</c:v>
                </c:pt>
                <c:pt idx="23">
                  <c:v>0.2447</c:v>
                </c:pt>
              </c:numCache>
            </c:numRef>
          </c:xVal>
          <c:yVal>
            <c:numRef>
              <c:f>Sheet1!$B$2:$B$25</c:f>
              <c:numCache>
                <c:formatCode>General</c:formatCode>
                <c:ptCount val="24"/>
                <c:pt idx="0">
                  <c:v>27527.410805300715</c:v>
                </c:pt>
                <c:pt idx="1">
                  <c:v>8120.263459335624</c:v>
                </c:pt>
                <c:pt idx="2">
                  <c:v>24558.517034068136</c:v>
                </c:pt>
                <c:pt idx="3">
                  <c:v>8635.179856115108</c:v>
                </c:pt>
                <c:pt idx="4">
                  <c:v>10309.234693877552</c:v>
                </c:pt>
                <c:pt idx="5">
                  <c:v>648.2532751091703</c:v>
                </c:pt>
                <c:pt idx="6">
                  <c:v>22494.254658385096</c:v>
                </c:pt>
                <c:pt idx="7">
                  <c:v>7525.876288659794</c:v>
                </c:pt>
                <c:pt idx="8">
                  <c:v>14703.468715697034</c:v>
                </c:pt>
                <c:pt idx="9">
                  <c:v>775.1466666666666</c:v>
                </c:pt>
                <c:pt idx="10">
                  <c:v>2730.892307692308</c:v>
                </c:pt>
                <c:pt idx="11">
                  <c:v>11438.093716719915</c:v>
                </c:pt>
                <c:pt idx="12">
                  <c:v>27838.23469387755</c:v>
                </c:pt>
                <c:pt idx="13">
                  <c:v>8505.593023255815</c:v>
                </c:pt>
                <c:pt idx="14">
                  <c:v>12471.153039832287</c:v>
                </c:pt>
                <c:pt idx="15">
                  <c:v>5809.356435643564</c:v>
                </c:pt>
                <c:pt idx="16">
                  <c:v>7229.13829787234</c:v>
                </c:pt>
                <c:pt idx="17">
                  <c:v>11293.564049586777</c:v>
                </c:pt>
                <c:pt idx="18">
                  <c:v>2199.242603550296</c:v>
                </c:pt>
                <c:pt idx="19">
                  <c:v>1098.206724782067</c:v>
                </c:pt>
                <c:pt idx="20">
                  <c:v>3335.868772782503</c:v>
                </c:pt>
                <c:pt idx="21">
                  <c:v>1614.0757575757575</c:v>
                </c:pt>
                <c:pt idx="22">
                  <c:v>1111.304347826087</c:v>
                </c:pt>
                <c:pt idx="23">
                  <c:v>730.5446293494704</c:v>
                </c:pt>
              </c:numCache>
            </c:numRef>
          </c:yVal>
          <c:bubbleSize>
            <c:numRef>
              <c:f>Sheet1!$C$2:$C$25</c:f>
              <c:numCache>
                <c:formatCode>General</c:formatCode>
                <c:ptCount val="24"/>
                <c:pt idx="0">
                  <c:v>1651385.2755000002</c:v>
                </c:pt>
                <c:pt idx="1">
                  <c:v>402947.6498000001</c:v>
                </c:pt>
                <c:pt idx="2">
                  <c:v>1491960.5067000005</c:v>
                </c:pt>
                <c:pt idx="3">
                  <c:v>455950.0355</c:v>
                </c:pt>
                <c:pt idx="4">
                  <c:v>571593.6846999999</c:v>
                </c:pt>
                <c:pt idx="5">
                  <c:v>19383.52</c:v>
                </c:pt>
                <c:pt idx="6">
                  <c:v>1231312.4589</c:v>
                </c:pt>
                <c:pt idx="7">
                  <c:v>370057.5055999999</c:v>
                </c:pt>
                <c:pt idx="8">
                  <c:v>736195.6952000001</c:v>
                </c:pt>
                <c:pt idx="9">
                  <c:v>41023.2397</c:v>
                </c:pt>
                <c:pt idx="10">
                  <c:v>50382.1857</c:v>
                </c:pt>
                <c:pt idx="11">
                  <c:v>606479.7723999999</c:v>
                </c:pt>
                <c:pt idx="12">
                  <c:v>1621213.0609000002</c:v>
                </c:pt>
                <c:pt idx="13">
                  <c:v>410939.0</c:v>
                </c:pt>
                <c:pt idx="14">
                  <c:v>580146.0286</c:v>
                </c:pt>
                <c:pt idx="15">
                  <c:v>248552.02370000002</c:v>
                </c:pt>
                <c:pt idx="16">
                  <c:v>394111.0859</c:v>
                </c:pt>
                <c:pt idx="17">
                  <c:v>583488.7946</c:v>
                </c:pt>
                <c:pt idx="18">
                  <c:v>108019.20160000001</c:v>
                </c:pt>
                <c:pt idx="19">
                  <c:v>53176.0122</c:v>
                </c:pt>
                <c:pt idx="20">
                  <c:v>149306.44979999997</c:v>
                </c:pt>
                <c:pt idx="21">
                  <c:v>52600.97309999999</c:v>
                </c:pt>
                <c:pt idx="22">
                  <c:v>24854.501100000005</c:v>
                </c:pt>
                <c:pt idx="23">
                  <c:v>34571.8464</c:v>
                </c:pt>
              </c:numCache>
            </c:numRef>
          </c:bubbleSize>
          <c:bubble3D val="0"/>
          <c:extLst>
            <c:ext xmlns:c15="http://schemas.microsoft.com/office/drawing/2012/chart" uri="{02D57815-91ED-43cb-92C2-25804820EDAC}">
              <c15:datalabelsRange>
                <c15:f>Sheet1!$E$2:$E$50</c15:f>
                <c15:dlblRangeCache>
                  <c:ptCount val="49"/>
                  <c:pt idx="0">
                    <c:v>Findus Merluzzo Altro Findus Fish Bar 245GR</c:v>
                  </c:pt>
                  <c:pt idx="1">
                    <c:v>Findus Merluzzo D Alaska Chips Findus Big Burger 227GR</c:v>
                  </c:pt>
                  <c:pt idx="2">
                    <c:v>Findus Merluzzo D Alaska Standard Findus Big Burger 227GR</c:v>
                  </c:pt>
                  <c:pt idx="3">
                    <c:v>Findus Merluzzo E Spinaci Filetto Findus Croccole 300GR</c:v>
                  </c:pt>
                  <c:pt idx="4">
                    <c:v>Findus Merluzzo Filetto Findus Croccole 300GR</c:v>
                  </c:pt>
                  <c:pt idx="5">
                    <c:v>Findus Merluzzo Filetto Findus Croccole 600GR</c:v>
                  </c:pt>
                  <c:pt idx="6">
                    <c:v>Findus Merluzzo Filetto Findus Fish &amp; Crock 250GR</c:v>
                  </c:pt>
                  <c:pt idx="7">
                    <c:v>Findus Merluzzo Filetto Findus Fish Bar 240GR</c:v>
                  </c:pt>
                  <c:pt idx="8">
                    <c:v>Findus Merluzzo Semi Filetto Findus Croccole 300GR</c:v>
                  </c:pt>
                  <c:pt idx="9">
                    <c:v>Findus Merluzzo Senza Glutine Filetto Findus Croccole 250GR</c:v>
                  </c:pt>
                  <c:pt idx="10">
                    <c:v>Findus Platessa Filetto Findus Platessa 250GR</c:v>
                  </c:pt>
                  <c:pt idx="11">
                    <c:v>Findus Salmone Altro Findus Fish Bar 220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2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012E3EDC-2CCC-403C-B31F-B08FD602924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707397AF-4F90-44F1-BB98-2617FF25F05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AF27E335-F136-486D-9D75-71E86135768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11563893-DCDC-4C3E-B64E-E45D0768915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91E38319-7042-419B-A0B4-CE768FBAC03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2FE9E3A6-75A4-4936-8B0E-EC9B154CCFF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BFA3365C-505D-4255-AC3C-DFA5BF22F72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5-BFDA-4C69-8E79-A083B7EFBA29}"/>
                </c:ext>
              </c:extLst>
            </c:dLbl>
            <c:dLbl>
              <c:idx val="1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BFDA-4C69-8E79-A083B7EFBA29}"/>
                </c:ext>
              </c:extLst>
            </c:dLbl>
            <c:dLbl>
              <c:idx val="1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BFDA-4C69-8E79-A083B7EFBA29}"/>
                </c:ext>
              </c:extLst>
            </c:dLbl>
            <c:dLbl>
              <c:idx val="1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BFDA-4C69-8E79-A083B7EFBA29}"/>
                </c:ext>
              </c:extLst>
            </c:dLbl>
            <c:dLbl>
              <c:idx val="1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9-BFDA-4C69-8E79-A083B7EFBA29}"/>
                </c:ext>
              </c:extLst>
            </c:dLbl>
            <c:dLbl>
              <c:idx val="1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A-BFDA-4C69-8E79-A083B7EFBA29}"/>
                </c:ext>
              </c:extLst>
            </c:dLbl>
            <c:dLbl>
              <c:idx val="1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B-BFDA-4C69-8E79-A083B7EFBA29}"/>
                </c:ext>
              </c:extLst>
            </c:dLbl>
            <c:dLbl>
              <c:idx val="1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C-BFDA-4C69-8E79-A083B7EFBA29}"/>
                </c:ext>
              </c:extLst>
            </c:dLbl>
            <c:dLbl>
              <c:idx val="2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BFDA-4C69-8E79-A083B7EFBA29}"/>
                </c:ext>
              </c:extLst>
            </c:dLbl>
            <c:dLbl>
              <c:idx val="2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BFDA-4C69-8E79-A083B7EFBA29}"/>
                </c:ext>
              </c:extLst>
            </c:dLbl>
            <c:dLbl>
              <c:idx val="2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F-BFDA-4C69-8E79-A083B7EFBA29}"/>
                </c:ext>
              </c:extLst>
            </c:dLbl>
            <c:dLbl>
              <c:idx val="2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0-BFDA-4C69-8E79-A083B7EFBA29}"/>
                </c:ext>
              </c:extLst>
            </c:dLbl>
            <c:dLbl>
              <c:idx val="2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1-BFDA-4C69-8E79-A083B7EFBA29}"/>
                </c:ext>
              </c:extLst>
            </c:dLbl>
            <c:dLbl>
              <c:idx val="2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BFDA-4C69-8E79-A083B7EFBA29}"/>
                </c:ext>
              </c:extLst>
            </c:dLbl>
            <c:dLbl>
              <c:idx val="2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BFDA-4C69-8E79-A083B7EFBA29}"/>
                </c:ext>
              </c:extLst>
            </c:dLbl>
            <c:dLbl>
              <c:idx val="2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BFDA-4C69-8E79-A083B7EFBA29}"/>
                </c:ext>
              </c:extLst>
            </c:dLbl>
            <c:dLbl>
              <c:idx val="2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5-BFDA-4C69-8E79-A083B7EFBA29}"/>
                </c:ext>
              </c:extLst>
            </c:dLbl>
            <c:dLbl>
              <c:idx val="2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6-BFDA-4C69-8E79-A083B7EFBA29}"/>
                </c:ext>
              </c:extLst>
            </c:dLbl>
            <c:dLbl>
              <c:idx val="3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7-BFDA-4C69-8E79-A083B7EFBA29}"/>
                </c:ext>
              </c:extLst>
            </c:dLbl>
            <c:dLbl>
              <c:idx val="3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8-BFDA-4C69-8E79-A083B7EFBA29}"/>
                </c:ext>
              </c:extLst>
            </c:dLbl>
            <c:dLbl>
              <c:idx val="3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9-BFDA-4C69-8E79-A083B7EFBA29}"/>
                </c:ext>
              </c:extLst>
            </c:dLbl>
            <c:dLbl>
              <c:idx val="3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BFDA-4C69-8E79-A083B7EFBA29}"/>
                </c:ext>
              </c:extLst>
            </c:dLbl>
            <c:dLbl>
              <c:idx val="3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B-BFDA-4C69-8E79-A083B7EFBA29}"/>
                </c:ext>
              </c:extLst>
            </c:dLbl>
            <c:dLbl>
              <c:idx val="3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C-BFDA-4C69-8E79-A083B7EFBA29}"/>
                </c:ext>
              </c:extLst>
            </c:dLbl>
            <c:dLbl>
              <c:idx val="3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D-BFDA-4C69-8E79-A083B7EFBA29}"/>
                </c:ext>
              </c:extLst>
            </c:dLbl>
            <c:dLbl>
              <c:idx val="3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BFDA-4C69-8E79-A083B7EFBA29}"/>
                </c:ext>
              </c:extLst>
            </c:dLbl>
            <c:dLbl>
              <c:idx val="3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BFDA-4C69-8E79-A083B7EFBA29}"/>
                </c:ext>
              </c:extLst>
            </c:dLbl>
            <c:dLbl>
              <c:idx val="3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BFDA-4C69-8E79-A083B7EFBA29}"/>
                </c:ext>
              </c:extLst>
            </c:dLbl>
            <c:dLbl>
              <c:idx val="4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1-BFDA-4C69-8E79-A083B7EFBA29}"/>
                </c:ext>
              </c:extLst>
            </c:dLbl>
            <c:dLbl>
              <c:idx val="4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BFDA-4C69-8E79-A083B7EFBA29}"/>
                </c:ext>
              </c:extLst>
            </c:dLbl>
            <c:dLbl>
              <c:idx val="4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BFDA-4C69-8E79-A083B7EFBA29}"/>
                </c:ext>
              </c:extLst>
            </c:dLbl>
            <c:dLbl>
              <c:idx val="4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BFDA-4C69-8E79-A083B7EFBA29}"/>
                </c:ext>
              </c:extLst>
            </c:dLbl>
            <c:dLbl>
              <c:idx val="4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BFDA-4C69-8E79-A083B7EFBA29}"/>
                </c:ext>
              </c:extLst>
            </c:dLbl>
            <c:dLbl>
              <c:idx val="4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BFDA-4C69-8E79-A083B7EFBA29}"/>
                </c:ext>
              </c:extLst>
            </c:dLbl>
            <c:dLbl>
              <c:idx val="4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BFDA-4C69-8E79-A083B7EFBA29}"/>
                </c:ext>
              </c:extLst>
            </c:dLbl>
            <c:dLbl>
              <c:idx val="4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BFDA-4C69-8E79-A083B7EFBA29}"/>
                </c:ext>
              </c:extLst>
            </c:dLbl>
            <c:dLbl>
              <c:idx val="4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11</c:f>
              <c:numCache>
                <c:formatCode>General</c:formatCode>
                <c:ptCount val="10"/>
                <c:pt idx="0">
                  <c:v>0.2973</c:v>
                </c:pt>
                <c:pt idx="1">
                  <c:v>0.3816</c:v>
                </c:pt>
                <c:pt idx="2">
                  <c:v>0.3731</c:v>
                </c:pt>
                <c:pt idx="3">
                  <c:v>0.4025</c:v>
                </c:pt>
                <c:pt idx="4">
                  <c:v>0.3495</c:v>
                </c:pt>
                <c:pt idx="5">
                  <c:v>0.2925</c:v>
                </c:pt>
                <c:pt idx="6">
                  <c:v>0.3734</c:v>
                </c:pt>
                <c:pt idx="7">
                  <c:v>0.2595</c:v>
                </c:pt>
                <c:pt idx="8">
                  <c:v>0.3229</c:v>
                </c:pt>
                <c:pt idx="9">
                  <c:v>0.3338</c:v>
                </c:pt>
              </c:numCache>
            </c:numRef>
          </c:xVal>
          <c:yVal>
            <c:numRef>
              <c:f>Sheet1!$B$2:$B$11</c:f>
              <c:numCache>
                <c:formatCode>General</c:formatCode>
                <c:ptCount val="10"/>
                <c:pt idx="0">
                  <c:v>19457.76</c:v>
                </c:pt>
                <c:pt idx="1">
                  <c:v>45589.41414141414</c:v>
                </c:pt>
                <c:pt idx="2">
                  <c:v>2226.4591836734694</c:v>
                </c:pt>
                <c:pt idx="3">
                  <c:v>3431.15625</c:v>
                </c:pt>
                <c:pt idx="4">
                  <c:v>1891.3733333333332</c:v>
                </c:pt>
                <c:pt idx="5">
                  <c:v>11794.45</c:v>
                </c:pt>
                <c:pt idx="6">
                  <c:v>1402.6404494382023</c:v>
                </c:pt>
                <c:pt idx="7">
                  <c:v>8238.34693877551</c:v>
                </c:pt>
                <c:pt idx="8">
                  <c:v>14911.01</c:v>
                </c:pt>
                <c:pt idx="9">
                  <c:v>11125.10101010101</c:v>
                </c:pt>
              </c:numCache>
            </c:numRef>
          </c:yVal>
          <c:bubbleSize>
            <c:numRef>
              <c:f>Sheet1!$C$2:$C$11</c:f>
              <c:numCache>
                <c:formatCode>General</c:formatCode>
                <c:ptCount val="10"/>
                <c:pt idx="0">
                  <c:v>1296098.2605999997</c:v>
                </c:pt>
                <c:pt idx="1">
                  <c:v>2645737.671800001</c:v>
                </c:pt>
                <c:pt idx="2">
                  <c:v>129655.06629999999</c:v>
                </c:pt>
                <c:pt idx="3">
                  <c:v>186540.4972</c:v>
                </c:pt>
                <c:pt idx="4">
                  <c:v>87470.35269999999</c:v>
                </c:pt>
                <c:pt idx="5">
                  <c:v>790966.1867999999</c:v>
                </c:pt>
                <c:pt idx="6">
                  <c:v>74144.0196</c:v>
                </c:pt>
                <c:pt idx="7">
                  <c:v>566708.1048</c:v>
                </c:pt>
                <c:pt idx="8">
                  <c:v>956991.22</c:v>
                </c:pt>
                <c:pt idx="9">
                  <c:v>695514.2348000001</c:v>
                </c:pt>
              </c:numCache>
            </c:numRef>
          </c:bubbleSize>
          <c:bubble3D val="0"/>
          <c:extLst>
            <c:ext xmlns:c15="http://schemas.microsoft.com/office/drawing/2012/chart" uri="{02D57815-91ED-43cb-92C2-25804820EDAC}">
              <c15:datalabelsRange>
                <c15:f>Sheet1!$E$2:$E$50</c15:f>
                <c15:dlblRangeCache>
                  <c:ptCount val="49"/>
                  <c:pt idx="0">
                    <c:v>Findus Merluzzo Altro Findus Fish Bar 245GR</c:v>
                  </c:pt>
                  <c:pt idx="1">
                    <c:v>Findus Merluzzo D Alaska Chips Findus Big Burger 227GR</c:v>
                  </c:pt>
                  <c:pt idx="2">
                    <c:v>Findus Merluzzo D Alaska Standard Findus Big Burger 227GR</c:v>
                  </c:pt>
                  <c:pt idx="3">
                    <c:v>Findus Merluzzo E Spinaci Filetto Findus Croccole 300GR</c:v>
                  </c:pt>
                  <c:pt idx="4">
                    <c:v>Findus Merluzzo Filetto Findus Croccole 300GR</c:v>
                  </c:pt>
                  <c:pt idx="5">
                    <c:v>Findus Merluzzo Filetto Findus Croccole 600GR</c:v>
                  </c:pt>
                  <c:pt idx="6">
                    <c:v>Findus Merluzzo Filetto Findus Fish &amp; Crock 250GR</c:v>
                  </c:pt>
                  <c:pt idx="7">
                    <c:v>Findus Merluzzo Filetto Findus Fish Bar 240GR</c:v>
                  </c:pt>
                  <c:pt idx="8">
                    <c:v>Findus Merluzzo Semi Filetto Findus Croccole 300GR</c:v>
                  </c:pt>
                  <c:pt idx="9">
                    <c:v>Findus Merluzzo Senza Glutine Filetto Findus Croccole 250GR</c:v>
                  </c:pt>
                  <c:pt idx="10">
                    <c:v>Findus Platessa Filetto Findus Platessa 250GR</c:v>
                  </c:pt>
                  <c:pt idx="11">
                    <c:v>Findus Salmone Altro Findus Fish Bar 220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2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599BCEAF-86CF-42AF-A5E2-3BE79899442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BFE38718-2D7C-4801-86B5-A1EADA55198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78D51664-492C-455A-8384-08144D4FA6B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6D6DD8C1-CA15-47DE-A38E-073AE24A865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971B0DED-B794-4A84-938C-EFE6F4F9BAE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1F52CFF7-9E07-4A76-8B3B-4E7A65E6A53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B39298C3-31E7-44B0-A4D1-E5096669BE4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5-BFDA-4C69-8E79-A083B7EFBA29}"/>
                </c:ext>
              </c:extLst>
            </c:dLbl>
            <c:dLbl>
              <c:idx val="1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BFDA-4C69-8E79-A083B7EFBA29}"/>
                </c:ext>
              </c:extLst>
            </c:dLbl>
            <c:dLbl>
              <c:idx val="1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BFDA-4C69-8E79-A083B7EFBA29}"/>
                </c:ext>
              </c:extLst>
            </c:dLbl>
            <c:dLbl>
              <c:idx val="1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BFDA-4C69-8E79-A083B7EFBA29}"/>
                </c:ext>
              </c:extLst>
            </c:dLbl>
            <c:dLbl>
              <c:idx val="1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9-BFDA-4C69-8E79-A083B7EFBA29}"/>
                </c:ext>
              </c:extLst>
            </c:dLbl>
            <c:dLbl>
              <c:idx val="1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A-BFDA-4C69-8E79-A083B7EFBA29}"/>
                </c:ext>
              </c:extLst>
            </c:dLbl>
            <c:dLbl>
              <c:idx val="1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B-BFDA-4C69-8E79-A083B7EFBA29}"/>
                </c:ext>
              </c:extLst>
            </c:dLbl>
            <c:dLbl>
              <c:idx val="1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C-BFDA-4C69-8E79-A083B7EFBA29}"/>
                </c:ext>
              </c:extLst>
            </c:dLbl>
            <c:dLbl>
              <c:idx val="2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BFDA-4C69-8E79-A083B7EFBA29}"/>
                </c:ext>
              </c:extLst>
            </c:dLbl>
            <c:dLbl>
              <c:idx val="2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BFDA-4C69-8E79-A083B7EFBA29}"/>
                </c:ext>
              </c:extLst>
            </c:dLbl>
            <c:dLbl>
              <c:idx val="2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F-BFDA-4C69-8E79-A083B7EFBA29}"/>
                </c:ext>
              </c:extLst>
            </c:dLbl>
            <c:dLbl>
              <c:idx val="2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0-BFDA-4C69-8E79-A083B7EFBA29}"/>
                </c:ext>
              </c:extLst>
            </c:dLbl>
            <c:dLbl>
              <c:idx val="2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1-BFDA-4C69-8E79-A083B7EFBA29}"/>
                </c:ext>
              </c:extLst>
            </c:dLbl>
            <c:dLbl>
              <c:idx val="2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BFDA-4C69-8E79-A083B7EFBA29}"/>
                </c:ext>
              </c:extLst>
            </c:dLbl>
            <c:dLbl>
              <c:idx val="2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BFDA-4C69-8E79-A083B7EFBA29}"/>
                </c:ext>
              </c:extLst>
            </c:dLbl>
            <c:dLbl>
              <c:idx val="2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BFDA-4C69-8E79-A083B7EFBA29}"/>
                </c:ext>
              </c:extLst>
            </c:dLbl>
            <c:dLbl>
              <c:idx val="2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5-BFDA-4C69-8E79-A083B7EFBA29}"/>
                </c:ext>
              </c:extLst>
            </c:dLbl>
            <c:dLbl>
              <c:idx val="2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6-BFDA-4C69-8E79-A083B7EFBA29}"/>
                </c:ext>
              </c:extLst>
            </c:dLbl>
            <c:dLbl>
              <c:idx val="3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7-BFDA-4C69-8E79-A083B7EFBA29}"/>
                </c:ext>
              </c:extLst>
            </c:dLbl>
            <c:dLbl>
              <c:idx val="3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8-BFDA-4C69-8E79-A083B7EFBA29}"/>
                </c:ext>
              </c:extLst>
            </c:dLbl>
            <c:dLbl>
              <c:idx val="3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9-BFDA-4C69-8E79-A083B7EFBA29}"/>
                </c:ext>
              </c:extLst>
            </c:dLbl>
            <c:dLbl>
              <c:idx val="3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BFDA-4C69-8E79-A083B7EFBA29}"/>
                </c:ext>
              </c:extLst>
            </c:dLbl>
            <c:dLbl>
              <c:idx val="3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B-BFDA-4C69-8E79-A083B7EFBA29}"/>
                </c:ext>
              </c:extLst>
            </c:dLbl>
            <c:dLbl>
              <c:idx val="3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C-BFDA-4C69-8E79-A083B7EFBA29}"/>
                </c:ext>
              </c:extLst>
            </c:dLbl>
            <c:dLbl>
              <c:idx val="3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D-BFDA-4C69-8E79-A083B7EFBA29}"/>
                </c:ext>
              </c:extLst>
            </c:dLbl>
            <c:dLbl>
              <c:idx val="3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BFDA-4C69-8E79-A083B7EFBA29}"/>
                </c:ext>
              </c:extLst>
            </c:dLbl>
            <c:dLbl>
              <c:idx val="3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BFDA-4C69-8E79-A083B7EFBA29}"/>
                </c:ext>
              </c:extLst>
            </c:dLbl>
            <c:dLbl>
              <c:idx val="3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BFDA-4C69-8E79-A083B7EFBA29}"/>
                </c:ext>
              </c:extLst>
            </c:dLbl>
            <c:dLbl>
              <c:idx val="4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1-BFDA-4C69-8E79-A083B7EFBA29}"/>
                </c:ext>
              </c:extLst>
            </c:dLbl>
            <c:dLbl>
              <c:idx val="4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BFDA-4C69-8E79-A083B7EFBA29}"/>
                </c:ext>
              </c:extLst>
            </c:dLbl>
            <c:dLbl>
              <c:idx val="4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BFDA-4C69-8E79-A083B7EFBA29}"/>
                </c:ext>
              </c:extLst>
            </c:dLbl>
            <c:dLbl>
              <c:idx val="4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BFDA-4C69-8E79-A083B7EFBA29}"/>
                </c:ext>
              </c:extLst>
            </c:dLbl>
            <c:dLbl>
              <c:idx val="4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BFDA-4C69-8E79-A083B7EFBA29}"/>
                </c:ext>
              </c:extLst>
            </c:dLbl>
            <c:dLbl>
              <c:idx val="4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BFDA-4C69-8E79-A083B7EFBA29}"/>
                </c:ext>
              </c:extLst>
            </c:dLbl>
            <c:dLbl>
              <c:idx val="4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BFDA-4C69-8E79-A083B7EFBA29}"/>
                </c:ext>
              </c:extLst>
            </c:dLbl>
            <c:dLbl>
              <c:idx val="4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BFDA-4C69-8E79-A083B7EFBA29}"/>
                </c:ext>
              </c:extLst>
            </c:dLbl>
            <c:dLbl>
              <c:idx val="4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16</c:f>
              <c:numCache>
                <c:formatCode>General</c:formatCode>
                <c:ptCount val="15"/>
                <c:pt idx="0">
                  <c:v>0.3553</c:v>
                </c:pt>
                <c:pt idx="1">
                  <c:v>0.3621</c:v>
                </c:pt>
                <c:pt idx="2">
                  <c:v>0.431</c:v>
                </c:pt>
                <c:pt idx="3">
                  <c:v>0.3632</c:v>
                </c:pt>
                <c:pt idx="4">
                  <c:v>0.4076</c:v>
                </c:pt>
                <c:pt idx="5">
                  <c:v>0.3713</c:v>
                </c:pt>
                <c:pt idx="6">
                  <c:v>0.409</c:v>
                </c:pt>
                <c:pt idx="7">
                  <c:v>0.3655</c:v>
                </c:pt>
                <c:pt idx="8">
                  <c:v>0.296</c:v>
                </c:pt>
                <c:pt idx="9">
                  <c:v>0.3065</c:v>
                </c:pt>
                <c:pt idx="10">
                  <c:v>0.256</c:v>
                </c:pt>
                <c:pt idx="11">
                  <c:v>0.4747</c:v>
                </c:pt>
                <c:pt idx="12">
                  <c:v>0.4727</c:v>
                </c:pt>
                <c:pt idx="13">
                  <c:v>0.2836</c:v>
                </c:pt>
                <c:pt idx="14">
                  <c:v>0.3397</c:v>
                </c:pt>
              </c:numCache>
            </c:numRef>
          </c:xVal>
          <c:yVal>
            <c:numRef>
              <c:f>Sheet1!$B$2:$B$16</c:f>
              <c:numCache>
                <c:formatCode>General</c:formatCode>
                <c:ptCount val="15"/>
                <c:pt idx="0">
                  <c:v>1560.375</c:v>
                </c:pt>
                <c:pt idx="1">
                  <c:v>4355.39</c:v>
                </c:pt>
                <c:pt idx="2">
                  <c:v>3755.75</c:v>
                </c:pt>
                <c:pt idx="3">
                  <c:v>4384.49</c:v>
                </c:pt>
                <c:pt idx="4">
                  <c:v>1699.3125</c:v>
                </c:pt>
                <c:pt idx="5">
                  <c:v>3117.8720930232557</c:v>
                </c:pt>
                <c:pt idx="6">
                  <c:v>8213.010638297872</c:v>
                </c:pt>
                <c:pt idx="7">
                  <c:v>16701.66</c:v>
                </c:pt>
                <c:pt idx="8">
                  <c:v>29213.62</c:v>
                </c:pt>
                <c:pt idx="9">
                  <c:v>82610.36363636363</c:v>
                </c:pt>
                <c:pt idx="10">
                  <c:v>9848.946808510638</c:v>
                </c:pt>
                <c:pt idx="11">
                  <c:v>682.8135593220339</c:v>
                </c:pt>
                <c:pt idx="12">
                  <c:v>999.7317073170732</c:v>
                </c:pt>
                <c:pt idx="13">
                  <c:v>7241.72</c:v>
                </c:pt>
                <c:pt idx="14">
                  <c:v>4657.1894736842105</c:v>
                </c:pt>
              </c:numCache>
            </c:numRef>
          </c:yVal>
          <c:bubbleSize>
            <c:numRef>
              <c:f>Sheet1!$C$2:$C$16</c:f>
              <c:numCache>
                <c:formatCode>General</c:formatCode>
                <c:ptCount val="15"/>
                <c:pt idx="0">
                  <c:v>15255.881699999998</c:v>
                </c:pt>
                <c:pt idx="1">
                  <c:v>263336.331</c:v>
                </c:pt>
                <c:pt idx="2">
                  <c:v>16203.9444</c:v>
                </c:pt>
                <c:pt idx="3">
                  <c:v>264664.55909999995</c:v>
                </c:pt>
                <c:pt idx="4">
                  <c:v>15268.289499999999</c:v>
                </c:pt>
                <c:pt idx="5">
                  <c:v>159781.21240000002</c:v>
                </c:pt>
                <c:pt idx="6">
                  <c:v>432475.68330000003</c:v>
                </c:pt>
                <c:pt idx="7">
                  <c:v>1004464.2163000001</c:v>
                </c:pt>
                <c:pt idx="8">
                  <c:v>1949339.2618000002</c:v>
                </c:pt>
                <c:pt idx="9">
                  <c:v>5376313.341299999</c:v>
                </c:pt>
                <c:pt idx="10">
                  <c:v>652910.7028</c:v>
                </c:pt>
                <c:pt idx="11">
                  <c:v>20057.2962</c:v>
                </c:pt>
                <c:pt idx="12">
                  <c:v>40975.85999999999</c:v>
                </c:pt>
                <c:pt idx="13">
                  <c:v>491716.5952</c:v>
                </c:pt>
                <c:pt idx="14">
                  <c:v>276915.12139999995</c:v>
                </c:pt>
              </c:numCache>
            </c:numRef>
          </c:bubbleSize>
          <c:bubble3D val="0"/>
          <c:extLst>
            <c:ext xmlns:c15="http://schemas.microsoft.com/office/drawing/2012/chart" uri="{02D57815-91ED-43cb-92C2-25804820EDAC}">
              <c15:datalabelsRange>
                <c15:f>Sheet1!$E$2:$E$50</c15:f>
                <c15:dlblRangeCache>
                  <c:ptCount val="49"/>
                  <c:pt idx="0">
                    <c:v>Findus Merluzzo Altro Findus Fish Bar 245GR</c:v>
                  </c:pt>
                  <c:pt idx="1">
                    <c:v>Findus Merluzzo D Alaska Chips Findus Big Burger 227GR</c:v>
                  </c:pt>
                  <c:pt idx="2">
                    <c:v>Findus Merluzzo D Alaska Standard Findus Big Burger 227GR</c:v>
                  </c:pt>
                  <c:pt idx="3">
                    <c:v>Findus Merluzzo E Spinaci Filetto Findus Croccole 300GR</c:v>
                  </c:pt>
                  <c:pt idx="4">
                    <c:v>Findus Merluzzo Filetto Findus Croccole 300GR</c:v>
                  </c:pt>
                  <c:pt idx="5">
                    <c:v>Findus Merluzzo Filetto Findus Croccole 600GR</c:v>
                  </c:pt>
                  <c:pt idx="6">
                    <c:v>Findus Merluzzo Filetto Findus Fish &amp; Crock 250GR</c:v>
                  </c:pt>
                  <c:pt idx="7">
                    <c:v>Findus Merluzzo Filetto Findus Fish Bar 240GR</c:v>
                  </c:pt>
                  <c:pt idx="8">
                    <c:v>Findus Merluzzo Semi Filetto Findus Croccole 300GR</c:v>
                  </c:pt>
                  <c:pt idx="9">
                    <c:v>Findus Merluzzo Senza Glutine Filetto Findus Croccole 250GR</c:v>
                  </c:pt>
                  <c:pt idx="10">
                    <c:v>Findus Platessa Filetto Findus Platessa 250GR</c:v>
                  </c:pt>
                  <c:pt idx="11">
                    <c:v>Findus Salmone Altro Findus Fish Bar 220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2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D1B24973-D194-4B90-BC31-2170D07AFE7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406591E7-FF76-42C9-8A8A-F0516320D7F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BB193AC2-8664-478F-8263-088EAD41146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9B03EF6D-4D65-4909-A733-8660438FA64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82FC3543-3567-4853-9552-5C5DD070F80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71C91072-D930-4996-BD21-64829E1C7FC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D202C6B3-F8EA-4D25-A7E3-4A6901EC681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5-BFDA-4C69-8E79-A083B7EFBA29}"/>
                </c:ext>
              </c:extLst>
            </c:dLbl>
            <c:dLbl>
              <c:idx val="1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BFDA-4C69-8E79-A083B7EFBA29}"/>
                </c:ext>
              </c:extLst>
            </c:dLbl>
            <c:dLbl>
              <c:idx val="1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BFDA-4C69-8E79-A083B7EFBA29}"/>
                </c:ext>
              </c:extLst>
            </c:dLbl>
            <c:dLbl>
              <c:idx val="1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BFDA-4C69-8E79-A083B7EFBA29}"/>
                </c:ext>
              </c:extLst>
            </c:dLbl>
            <c:dLbl>
              <c:idx val="1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9-BFDA-4C69-8E79-A083B7EFBA29}"/>
                </c:ext>
              </c:extLst>
            </c:dLbl>
            <c:dLbl>
              <c:idx val="1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A-BFDA-4C69-8E79-A083B7EFBA29}"/>
                </c:ext>
              </c:extLst>
            </c:dLbl>
            <c:dLbl>
              <c:idx val="1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B-BFDA-4C69-8E79-A083B7EFBA29}"/>
                </c:ext>
              </c:extLst>
            </c:dLbl>
            <c:dLbl>
              <c:idx val="1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C-BFDA-4C69-8E79-A083B7EFBA29}"/>
                </c:ext>
              </c:extLst>
            </c:dLbl>
            <c:dLbl>
              <c:idx val="2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BFDA-4C69-8E79-A083B7EFBA29}"/>
                </c:ext>
              </c:extLst>
            </c:dLbl>
            <c:dLbl>
              <c:idx val="2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BFDA-4C69-8E79-A083B7EFBA29}"/>
                </c:ext>
              </c:extLst>
            </c:dLbl>
            <c:dLbl>
              <c:idx val="2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F-BFDA-4C69-8E79-A083B7EFBA29}"/>
                </c:ext>
              </c:extLst>
            </c:dLbl>
            <c:dLbl>
              <c:idx val="2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0-BFDA-4C69-8E79-A083B7EFBA29}"/>
                </c:ext>
              </c:extLst>
            </c:dLbl>
            <c:dLbl>
              <c:idx val="2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1-BFDA-4C69-8E79-A083B7EFBA29}"/>
                </c:ext>
              </c:extLst>
            </c:dLbl>
            <c:dLbl>
              <c:idx val="2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BFDA-4C69-8E79-A083B7EFBA29}"/>
                </c:ext>
              </c:extLst>
            </c:dLbl>
            <c:dLbl>
              <c:idx val="2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BFDA-4C69-8E79-A083B7EFBA29}"/>
                </c:ext>
              </c:extLst>
            </c:dLbl>
            <c:dLbl>
              <c:idx val="2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BFDA-4C69-8E79-A083B7EFBA29}"/>
                </c:ext>
              </c:extLst>
            </c:dLbl>
            <c:dLbl>
              <c:idx val="2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5-BFDA-4C69-8E79-A083B7EFBA29}"/>
                </c:ext>
              </c:extLst>
            </c:dLbl>
            <c:dLbl>
              <c:idx val="2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6-BFDA-4C69-8E79-A083B7EFBA29}"/>
                </c:ext>
              </c:extLst>
            </c:dLbl>
            <c:dLbl>
              <c:idx val="3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7-BFDA-4C69-8E79-A083B7EFBA29}"/>
                </c:ext>
              </c:extLst>
            </c:dLbl>
            <c:dLbl>
              <c:idx val="3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8-BFDA-4C69-8E79-A083B7EFBA29}"/>
                </c:ext>
              </c:extLst>
            </c:dLbl>
            <c:dLbl>
              <c:idx val="3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9-BFDA-4C69-8E79-A083B7EFBA29}"/>
                </c:ext>
              </c:extLst>
            </c:dLbl>
            <c:dLbl>
              <c:idx val="3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BFDA-4C69-8E79-A083B7EFBA29}"/>
                </c:ext>
              </c:extLst>
            </c:dLbl>
            <c:dLbl>
              <c:idx val="3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B-BFDA-4C69-8E79-A083B7EFBA29}"/>
                </c:ext>
              </c:extLst>
            </c:dLbl>
            <c:dLbl>
              <c:idx val="3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C-BFDA-4C69-8E79-A083B7EFBA29}"/>
                </c:ext>
              </c:extLst>
            </c:dLbl>
            <c:dLbl>
              <c:idx val="3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D-BFDA-4C69-8E79-A083B7EFBA29}"/>
                </c:ext>
              </c:extLst>
            </c:dLbl>
            <c:dLbl>
              <c:idx val="3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BFDA-4C69-8E79-A083B7EFBA29}"/>
                </c:ext>
              </c:extLst>
            </c:dLbl>
            <c:dLbl>
              <c:idx val="3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BFDA-4C69-8E79-A083B7EFBA29}"/>
                </c:ext>
              </c:extLst>
            </c:dLbl>
            <c:dLbl>
              <c:idx val="3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BFDA-4C69-8E79-A083B7EFBA29}"/>
                </c:ext>
              </c:extLst>
            </c:dLbl>
            <c:dLbl>
              <c:idx val="4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1-BFDA-4C69-8E79-A083B7EFBA29}"/>
                </c:ext>
              </c:extLst>
            </c:dLbl>
            <c:dLbl>
              <c:idx val="4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BFDA-4C69-8E79-A083B7EFBA29}"/>
                </c:ext>
              </c:extLst>
            </c:dLbl>
            <c:dLbl>
              <c:idx val="4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BFDA-4C69-8E79-A083B7EFBA29}"/>
                </c:ext>
              </c:extLst>
            </c:dLbl>
            <c:dLbl>
              <c:idx val="4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BFDA-4C69-8E79-A083B7EFBA29}"/>
                </c:ext>
              </c:extLst>
            </c:dLbl>
            <c:dLbl>
              <c:idx val="4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BFDA-4C69-8E79-A083B7EFBA29}"/>
                </c:ext>
              </c:extLst>
            </c:dLbl>
            <c:dLbl>
              <c:idx val="4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BFDA-4C69-8E79-A083B7EFBA29}"/>
                </c:ext>
              </c:extLst>
            </c:dLbl>
            <c:dLbl>
              <c:idx val="4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BFDA-4C69-8E79-A083B7EFBA29}"/>
                </c:ext>
              </c:extLst>
            </c:dLbl>
            <c:dLbl>
              <c:idx val="4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BFDA-4C69-8E79-A083B7EFBA29}"/>
                </c:ext>
              </c:extLst>
            </c:dLbl>
            <c:dLbl>
              <c:idx val="4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31</c:f>
              <c:numCache>
                <c:formatCode>General</c:formatCode>
                <c:ptCount val="30"/>
                <c:pt idx="0">
                  <c:v>0.3355</c:v>
                </c:pt>
                <c:pt idx="1">
                  <c:v>0.2841</c:v>
                </c:pt>
                <c:pt idx="2">
                  <c:v>0.3742</c:v>
                </c:pt>
                <c:pt idx="3">
                  <c:v>0.2871</c:v>
                </c:pt>
                <c:pt idx="4">
                  <c:v>0.3286</c:v>
                </c:pt>
                <c:pt idx="5">
                  <c:v>0.3484</c:v>
                </c:pt>
                <c:pt idx="6">
                  <c:v>0.3732</c:v>
                </c:pt>
                <c:pt idx="7">
                  <c:v>0.5699</c:v>
                </c:pt>
                <c:pt idx="8">
                  <c:v>0.4256</c:v>
                </c:pt>
                <c:pt idx="9">
                  <c:v>0.3292</c:v>
                </c:pt>
                <c:pt idx="10">
                  <c:v>0.3454</c:v>
                </c:pt>
                <c:pt idx="11">
                  <c:v>0.5195</c:v>
                </c:pt>
                <c:pt idx="12">
                  <c:v>0.2924</c:v>
                </c:pt>
                <c:pt idx="13">
                  <c:v>0.349</c:v>
                </c:pt>
                <c:pt idx="14">
                  <c:v>0.3378</c:v>
                </c:pt>
                <c:pt idx="15">
                  <c:v>0.2502</c:v>
                </c:pt>
                <c:pt idx="16">
                  <c:v>0.3784</c:v>
                </c:pt>
                <c:pt idx="17">
                  <c:v>0.5159</c:v>
                </c:pt>
                <c:pt idx="18">
                  <c:v>0.4364</c:v>
                </c:pt>
                <c:pt idx="19">
                  <c:v>0.5246</c:v>
                </c:pt>
                <c:pt idx="20">
                  <c:v>0.4213</c:v>
                </c:pt>
                <c:pt idx="21">
                  <c:v>0.4781</c:v>
                </c:pt>
                <c:pt idx="22">
                  <c:v>0.3521</c:v>
                </c:pt>
                <c:pt idx="23">
                  <c:v>0.5164</c:v>
                </c:pt>
                <c:pt idx="24">
                  <c:v>0.5655</c:v>
                </c:pt>
                <c:pt idx="25">
                  <c:v>0.4574</c:v>
                </c:pt>
                <c:pt idx="26">
                  <c:v>0.414</c:v>
                </c:pt>
                <c:pt idx="27">
                  <c:v>0.373</c:v>
                </c:pt>
                <c:pt idx="28">
                  <c:v>0.3385</c:v>
                </c:pt>
                <c:pt idx="29">
                  <c:v>0.4345</c:v>
                </c:pt>
              </c:numCache>
            </c:numRef>
          </c:xVal>
          <c:yVal>
            <c:numRef>
              <c:f>Sheet1!$B$2:$B$31</c:f>
              <c:numCache>
                <c:formatCode>General</c:formatCode>
                <c:ptCount val="30"/>
                <c:pt idx="0">
                  <c:v>14268.91</c:v>
                </c:pt>
                <c:pt idx="1">
                  <c:v>333.52941176470586</c:v>
                </c:pt>
                <c:pt idx="2">
                  <c:v>1964.9795918367347</c:v>
                </c:pt>
                <c:pt idx="3">
                  <c:v>9722.94</c:v>
                </c:pt>
                <c:pt idx="4">
                  <c:v>3345.6288659793813</c:v>
                </c:pt>
                <c:pt idx="5">
                  <c:v>3773.0</c:v>
                </c:pt>
                <c:pt idx="6">
                  <c:v>480.09090909090907</c:v>
                </c:pt>
                <c:pt idx="7">
                  <c:v>871.6865671641791</c:v>
                </c:pt>
                <c:pt idx="8">
                  <c:v>524.9183673469388</c:v>
                </c:pt>
                <c:pt idx="9">
                  <c:v>7852.5</c:v>
                </c:pt>
                <c:pt idx="10">
                  <c:v>4007.6315789473683</c:v>
                </c:pt>
                <c:pt idx="11">
                  <c:v>537.3958333333334</c:v>
                </c:pt>
                <c:pt idx="12">
                  <c:v>1281.0212765957447</c:v>
                </c:pt>
                <c:pt idx="13">
                  <c:v>4276.89</c:v>
                </c:pt>
                <c:pt idx="14">
                  <c:v>11512.05</c:v>
                </c:pt>
                <c:pt idx="15">
                  <c:v>2175.4827586206898</c:v>
                </c:pt>
                <c:pt idx="16">
                  <c:v>2658.080808080808</c:v>
                </c:pt>
                <c:pt idx="17">
                  <c:v>1025.2881355932204</c:v>
                </c:pt>
                <c:pt idx="18">
                  <c:v>964.3571428571428</c:v>
                </c:pt>
                <c:pt idx="19">
                  <c:v>229.1267605633803</c:v>
                </c:pt>
                <c:pt idx="20">
                  <c:v>989.2613636363636</c:v>
                </c:pt>
                <c:pt idx="21">
                  <c:v>529.6103896103896</c:v>
                </c:pt>
                <c:pt idx="22">
                  <c:v>6542.91</c:v>
                </c:pt>
                <c:pt idx="23">
                  <c:v>1562.84</c:v>
                </c:pt>
                <c:pt idx="24">
                  <c:v>708.2708333333334</c:v>
                </c:pt>
                <c:pt idx="25">
                  <c:v>2741.89</c:v>
                </c:pt>
                <c:pt idx="26">
                  <c:v>844.6315789473684</c:v>
                </c:pt>
                <c:pt idx="27">
                  <c:v>593.8510638297872</c:v>
                </c:pt>
                <c:pt idx="28">
                  <c:v>398.2278481012658</c:v>
                </c:pt>
                <c:pt idx="29">
                  <c:v>590.9056603773585</c:v>
                </c:pt>
              </c:numCache>
            </c:numRef>
          </c:yVal>
          <c:bubbleSize>
            <c:numRef>
              <c:f>Sheet1!$C$2:$C$31</c:f>
              <c:numCache>
                <c:formatCode>General</c:formatCode>
                <c:ptCount val="30"/>
                <c:pt idx="0">
                  <c:v>898746.52</c:v>
                </c:pt>
                <c:pt idx="1">
                  <c:v>19237.013</c:v>
                </c:pt>
                <c:pt idx="2">
                  <c:v>114232.42059999998</c:v>
                </c:pt>
                <c:pt idx="3">
                  <c:v>657023.8293999999</c:v>
                </c:pt>
                <c:pt idx="4">
                  <c:v>206540.63040000002</c:v>
                </c:pt>
                <c:pt idx="5">
                  <c:v>228380.87689999997</c:v>
                </c:pt>
                <c:pt idx="6">
                  <c:v>18823.971899999997</c:v>
                </c:pt>
                <c:pt idx="7">
                  <c:v>23810.2759</c:v>
                </c:pt>
                <c:pt idx="8">
                  <c:v>14005.127400000003</c:v>
                </c:pt>
                <c:pt idx="9">
                  <c:v>499287.04469999997</c:v>
                </c:pt>
                <c:pt idx="10">
                  <c:v>236239.36200000002</c:v>
                </c:pt>
                <c:pt idx="11">
                  <c:v>11748.244000000002</c:v>
                </c:pt>
                <c:pt idx="12">
                  <c:v>80761.50040000002</c:v>
                </c:pt>
                <c:pt idx="13">
                  <c:v>263890.7431</c:v>
                </c:pt>
                <c:pt idx="14">
                  <c:v>722599.8118000001</c:v>
                </c:pt>
                <c:pt idx="15">
                  <c:v>89676.90090000001</c:v>
                </c:pt>
                <c:pt idx="16">
                  <c:v>155042.7336</c:v>
                </c:pt>
                <c:pt idx="17">
                  <c:v>27759.832300000002</c:v>
                </c:pt>
                <c:pt idx="18">
                  <c:v>7213.105999999999</c:v>
                </c:pt>
                <c:pt idx="19">
                  <c:v>7330.667399999999</c:v>
                </c:pt>
                <c:pt idx="20">
                  <c:v>47748.37920000001</c:v>
                </c:pt>
                <c:pt idx="21">
                  <c:v>20175.0038</c:v>
                </c:pt>
                <c:pt idx="22">
                  <c:v>401788.2896</c:v>
                </c:pt>
                <c:pt idx="23">
                  <c:v>71635.07</c:v>
                </c:pt>
                <c:pt idx="24">
                  <c:v>28003.5766</c:v>
                </c:pt>
                <c:pt idx="25">
                  <c:v>141010.1934</c:v>
                </c:pt>
                <c:pt idx="26">
                  <c:v>44570.80829999999</c:v>
                </c:pt>
                <c:pt idx="27">
                  <c:v>33173.866</c:v>
                </c:pt>
                <c:pt idx="28">
                  <c:v>19726.275</c:v>
                </c:pt>
                <c:pt idx="29">
                  <c:v>16785.955200000004</c:v>
                </c:pt>
              </c:numCache>
            </c:numRef>
          </c:bubbleSize>
          <c:bubble3D val="0"/>
          <c:extLst>
            <c:ext xmlns:c15="http://schemas.microsoft.com/office/drawing/2012/chart" uri="{02D57815-91ED-43cb-92C2-25804820EDAC}">
              <c15:datalabelsRange>
                <c15:f>Sheet1!$E$2:$E$50</c15:f>
                <c15:dlblRangeCache>
                  <c:ptCount val="49"/>
                  <c:pt idx="0">
                    <c:v>Findus Merluzzo Altro Findus Fish Bar 245GR</c:v>
                  </c:pt>
                  <c:pt idx="1">
                    <c:v>Findus Merluzzo D Alaska Chips Findus Big Burger 227GR</c:v>
                  </c:pt>
                  <c:pt idx="2">
                    <c:v>Findus Merluzzo D Alaska Standard Findus Big Burger 227GR</c:v>
                  </c:pt>
                  <c:pt idx="3">
                    <c:v>Findus Merluzzo E Spinaci Filetto Findus Croccole 300GR</c:v>
                  </c:pt>
                  <c:pt idx="4">
                    <c:v>Findus Merluzzo Filetto Findus Croccole 300GR</c:v>
                  </c:pt>
                  <c:pt idx="5">
                    <c:v>Findus Merluzzo Filetto Findus Croccole 600GR</c:v>
                  </c:pt>
                  <c:pt idx="6">
                    <c:v>Findus Merluzzo Filetto Findus Fish &amp; Crock 250GR</c:v>
                  </c:pt>
                  <c:pt idx="7">
                    <c:v>Findus Merluzzo Filetto Findus Fish Bar 240GR</c:v>
                  </c:pt>
                  <c:pt idx="8">
                    <c:v>Findus Merluzzo Semi Filetto Findus Croccole 300GR</c:v>
                  </c:pt>
                  <c:pt idx="9">
                    <c:v>Findus Merluzzo Senza Glutine Filetto Findus Croccole 250GR</c:v>
                  </c:pt>
                  <c:pt idx="10">
                    <c:v>Findus Platessa Filetto Findus Platessa 250GR</c:v>
                  </c:pt>
                  <c:pt idx="11">
                    <c:v>Findus Salmone Altro Findus Fish Bar 220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2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A5F21F68-F080-46D1-BCC1-F3782E5B2C4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D098DAD8-F5E7-4AA4-B0F2-0B49CE19053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39F46D1E-CCFF-4623-89DA-B51DAE1853E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A7F1C08F-0F77-4FFE-882F-9EEE8B35B10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BDFCC571-132F-452C-B1C6-ECB38F8E8BD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1EB1175B-4438-4980-9480-A024072800E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7AAF7DA6-6A16-4937-98CE-FACE4148534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5-BFDA-4C69-8E79-A083B7EFBA29}"/>
                </c:ext>
              </c:extLst>
            </c:dLbl>
            <c:dLbl>
              <c:idx val="1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BFDA-4C69-8E79-A083B7EFBA29}"/>
                </c:ext>
              </c:extLst>
            </c:dLbl>
            <c:dLbl>
              <c:idx val="1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BFDA-4C69-8E79-A083B7EFBA29}"/>
                </c:ext>
              </c:extLst>
            </c:dLbl>
            <c:dLbl>
              <c:idx val="1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BFDA-4C69-8E79-A083B7EFBA29}"/>
                </c:ext>
              </c:extLst>
            </c:dLbl>
            <c:dLbl>
              <c:idx val="1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9-BFDA-4C69-8E79-A083B7EFBA29}"/>
                </c:ext>
              </c:extLst>
            </c:dLbl>
            <c:dLbl>
              <c:idx val="1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A-BFDA-4C69-8E79-A083B7EFBA29}"/>
                </c:ext>
              </c:extLst>
            </c:dLbl>
            <c:dLbl>
              <c:idx val="1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B-BFDA-4C69-8E79-A083B7EFBA29}"/>
                </c:ext>
              </c:extLst>
            </c:dLbl>
            <c:dLbl>
              <c:idx val="1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C-BFDA-4C69-8E79-A083B7EFBA29}"/>
                </c:ext>
              </c:extLst>
            </c:dLbl>
            <c:dLbl>
              <c:idx val="2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BFDA-4C69-8E79-A083B7EFBA29}"/>
                </c:ext>
              </c:extLst>
            </c:dLbl>
            <c:dLbl>
              <c:idx val="2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BFDA-4C69-8E79-A083B7EFBA29}"/>
                </c:ext>
              </c:extLst>
            </c:dLbl>
            <c:dLbl>
              <c:idx val="2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F-BFDA-4C69-8E79-A083B7EFBA29}"/>
                </c:ext>
              </c:extLst>
            </c:dLbl>
            <c:dLbl>
              <c:idx val="2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0-BFDA-4C69-8E79-A083B7EFBA29}"/>
                </c:ext>
              </c:extLst>
            </c:dLbl>
            <c:dLbl>
              <c:idx val="2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1-BFDA-4C69-8E79-A083B7EFBA29}"/>
                </c:ext>
              </c:extLst>
            </c:dLbl>
            <c:dLbl>
              <c:idx val="2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BFDA-4C69-8E79-A083B7EFBA29}"/>
                </c:ext>
              </c:extLst>
            </c:dLbl>
            <c:dLbl>
              <c:idx val="2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BFDA-4C69-8E79-A083B7EFBA29}"/>
                </c:ext>
              </c:extLst>
            </c:dLbl>
            <c:dLbl>
              <c:idx val="2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BFDA-4C69-8E79-A083B7EFBA29}"/>
                </c:ext>
              </c:extLst>
            </c:dLbl>
            <c:dLbl>
              <c:idx val="2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5-BFDA-4C69-8E79-A083B7EFBA29}"/>
                </c:ext>
              </c:extLst>
            </c:dLbl>
            <c:dLbl>
              <c:idx val="2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6-BFDA-4C69-8E79-A083B7EFBA29}"/>
                </c:ext>
              </c:extLst>
            </c:dLbl>
            <c:dLbl>
              <c:idx val="3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7-BFDA-4C69-8E79-A083B7EFBA29}"/>
                </c:ext>
              </c:extLst>
            </c:dLbl>
            <c:dLbl>
              <c:idx val="3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8-BFDA-4C69-8E79-A083B7EFBA29}"/>
                </c:ext>
              </c:extLst>
            </c:dLbl>
            <c:dLbl>
              <c:idx val="3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9-BFDA-4C69-8E79-A083B7EFBA29}"/>
                </c:ext>
              </c:extLst>
            </c:dLbl>
            <c:dLbl>
              <c:idx val="3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BFDA-4C69-8E79-A083B7EFBA29}"/>
                </c:ext>
              </c:extLst>
            </c:dLbl>
            <c:dLbl>
              <c:idx val="3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B-BFDA-4C69-8E79-A083B7EFBA29}"/>
                </c:ext>
              </c:extLst>
            </c:dLbl>
            <c:dLbl>
              <c:idx val="3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C-BFDA-4C69-8E79-A083B7EFBA29}"/>
                </c:ext>
              </c:extLst>
            </c:dLbl>
            <c:dLbl>
              <c:idx val="3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D-BFDA-4C69-8E79-A083B7EFBA29}"/>
                </c:ext>
              </c:extLst>
            </c:dLbl>
            <c:dLbl>
              <c:idx val="3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BFDA-4C69-8E79-A083B7EFBA29}"/>
                </c:ext>
              </c:extLst>
            </c:dLbl>
            <c:dLbl>
              <c:idx val="3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BFDA-4C69-8E79-A083B7EFBA29}"/>
                </c:ext>
              </c:extLst>
            </c:dLbl>
            <c:dLbl>
              <c:idx val="3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BFDA-4C69-8E79-A083B7EFBA29}"/>
                </c:ext>
              </c:extLst>
            </c:dLbl>
            <c:dLbl>
              <c:idx val="4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1-BFDA-4C69-8E79-A083B7EFBA29}"/>
                </c:ext>
              </c:extLst>
            </c:dLbl>
            <c:dLbl>
              <c:idx val="4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BFDA-4C69-8E79-A083B7EFBA29}"/>
                </c:ext>
              </c:extLst>
            </c:dLbl>
            <c:dLbl>
              <c:idx val="4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BFDA-4C69-8E79-A083B7EFBA29}"/>
                </c:ext>
              </c:extLst>
            </c:dLbl>
            <c:dLbl>
              <c:idx val="4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BFDA-4C69-8E79-A083B7EFBA29}"/>
                </c:ext>
              </c:extLst>
            </c:dLbl>
            <c:dLbl>
              <c:idx val="4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BFDA-4C69-8E79-A083B7EFBA29}"/>
                </c:ext>
              </c:extLst>
            </c:dLbl>
            <c:dLbl>
              <c:idx val="4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BFDA-4C69-8E79-A083B7EFBA29}"/>
                </c:ext>
              </c:extLst>
            </c:dLbl>
            <c:dLbl>
              <c:idx val="4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BFDA-4C69-8E79-A083B7EFBA29}"/>
                </c:ext>
              </c:extLst>
            </c:dLbl>
            <c:dLbl>
              <c:idx val="4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BFDA-4C69-8E79-A083B7EFBA29}"/>
                </c:ext>
              </c:extLst>
            </c:dLbl>
            <c:dLbl>
              <c:idx val="4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11</c:f>
              <c:numCache>
                <c:formatCode>General</c:formatCode>
                <c:ptCount val="10"/>
                <c:pt idx="0">
                  <c:v>0.3159</c:v>
                </c:pt>
                <c:pt idx="1">
                  <c:v>0.4209</c:v>
                </c:pt>
                <c:pt idx="2">
                  <c:v>0.4039</c:v>
                </c:pt>
                <c:pt idx="3">
                  <c:v>0.4052</c:v>
                </c:pt>
                <c:pt idx="4">
                  <c:v>0.3576</c:v>
                </c:pt>
                <c:pt idx="5">
                  <c:v>0.2943</c:v>
                </c:pt>
                <c:pt idx="6">
                  <c:v>0.3765</c:v>
                </c:pt>
                <c:pt idx="7">
                  <c:v>0.2711</c:v>
                </c:pt>
                <c:pt idx="8">
                  <c:v>0.423</c:v>
                </c:pt>
                <c:pt idx="9">
                  <c:v>0.3557</c:v>
                </c:pt>
              </c:numCache>
            </c:numRef>
          </c:xVal>
          <c:yVal>
            <c:numRef>
              <c:f>Sheet1!$B$2:$B$11</c:f>
              <c:numCache>
                <c:formatCode>General</c:formatCode>
                <c:ptCount val="10"/>
                <c:pt idx="0">
                  <c:v>16372.639175257733</c:v>
                </c:pt>
                <c:pt idx="1">
                  <c:v>21137.0</c:v>
                </c:pt>
                <c:pt idx="2">
                  <c:v>2355.7580645161293</c:v>
                </c:pt>
                <c:pt idx="3">
                  <c:v>2737.277777777778</c:v>
                </c:pt>
                <c:pt idx="4">
                  <c:v>3755.2619047619046</c:v>
                </c:pt>
                <c:pt idx="5">
                  <c:v>11937.040404040405</c:v>
                </c:pt>
                <c:pt idx="6">
                  <c:v>2356.285714285714</c:v>
                </c:pt>
                <c:pt idx="7">
                  <c:v>5146.887323943662</c:v>
                </c:pt>
                <c:pt idx="8">
                  <c:v>9403.747474747475</c:v>
                </c:pt>
                <c:pt idx="9">
                  <c:v>9956.643835616438</c:v>
                </c:pt>
              </c:numCache>
            </c:numRef>
          </c:yVal>
          <c:bubbleSize>
            <c:numRef>
              <c:f>Sheet1!$C$2:$C$11</c:f>
              <c:numCache>
                <c:formatCode>General</c:formatCode>
                <c:ptCount val="10"/>
                <c:pt idx="0">
                  <c:v>1029743.1952999999</c:v>
                </c:pt>
                <c:pt idx="1">
                  <c:v>997758.3252</c:v>
                </c:pt>
                <c:pt idx="2">
                  <c:v>82530.89319999999</c:v>
                </c:pt>
                <c:pt idx="3">
                  <c:v>83329.80059999999</c:v>
                </c:pt>
                <c:pt idx="4">
                  <c:v>96030.5091</c:v>
                </c:pt>
                <c:pt idx="5">
                  <c:v>790489.4105</c:v>
                </c:pt>
                <c:pt idx="6">
                  <c:v>87735.412</c:v>
                </c:pt>
                <c:pt idx="7">
                  <c:v>252465.3258</c:v>
                </c:pt>
                <c:pt idx="8">
                  <c:v>509171.56849999994</c:v>
                </c:pt>
                <c:pt idx="9">
                  <c:v>443910.00560000003</c:v>
                </c:pt>
              </c:numCache>
            </c:numRef>
          </c:bubbleSize>
          <c:bubble3D val="0"/>
          <c:extLst>
            <c:ext xmlns:c15="http://schemas.microsoft.com/office/drawing/2012/chart" uri="{02D57815-91ED-43cb-92C2-25804820EDAC}">
              <c15:datalabelsRange>
                <c15:f>Sheet1!$E$2:$E$50</c15:f>
                <c15:dlblRangeCache>
                  <c:ptCount val="49"/>
                  <c:pt idx="0">
                    <c:v>Findus Merluzzo Altro Findus Fish Bar 245GR</c:v>
                  </c:pt>
                  <c:pt idx="1">
                    <c:v>Findus Merluzzo D Alaska Chips Findus Big Burger 227GR</c:v>
                  </c:pt>
                  <c:pt idx="2">
                    <c:v>Findus Merluzzo D Alaska Standard Findus Big Burger 227GR</c:v>
                  </c:pt>
                  <c:pt idx="3">
                    <c:v>Findus Merluzzo E Spinaci Filetto Findus Croccole 300GR</c:v>
                  </c:pt>
                  <c:pt idx="4">
                    <c:v>Findus Merluzzo Filetto Findus Croccole 300GR</c:v>
                  </c:pt>
                  <c:pt idx="5">
                    <c:v>Findus Merluzzo Filetto Findus Croccole 600GR</c:v>
                  </c:pt>
                  <c:pt idx="6">
                    <c:v>Findus Merluzzo Filetto Findus Fish &amp; Crock 250GR</c:v>
                  </c:pt>
                  <c:pt idx="7">
                    <c:v>Findus Merluzzo Filetto Findus Fish Bar 240GR</c:v>
                  </c:pt>
                  <c:pt idx="8">
                    <c:v>Findus Merluzzo Semi Filetto Findus Croccole 300GR</c:v>
                  </c:pt>
                  <c:pt idx="9">
                    <c:v>Findus Merluzzo Senza Glutine Filetto Findus Croccole 250GR</c:v>
                  </c:pt>
                  <c:pt idx="10">
                    <c:v>Findus Platessa Filetto Findus Platessa 250GR</c:v>
                  </c:pt>
                  <c:pt idx="11">
                    <c:v>Findus Salmone Altro Findus Fish Bar 220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2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3972CB00-58ED-4ADE-B6B2-C41B1368CD8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360377C8-54CF-4989-9F27-BED7F521B3C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2BDEAB4F-F7A0-4651-940B-F22502D5AAC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4F1C6BAA-FC07-4235-ACA4-01558D6FEFA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96894525-D4FF-4ADA-BD38-924168C84A9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29FFB9BA-5C53-4303-8278-215710D3CDB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2A3B7E9B-3D30-4901-8978-3D1323A0083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5-BFDA-4C69-8E79-A083B7EFBA29}"/>
                </c:ext>
              </c:extLst>
            </c:dLbl>
            <c:dLbl>
              <c:idx val="1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BFDA-4C69-8E79-A083B7EFBA29}"/>
                </c:ext>
              </c:extLst>
            </c:dLbl>
            <c:dLbl>
              <c:idx val="1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BFDA-4C69-8E79-A083B7EFBA29}"/>
                </c:ext>
              </c:extLst>
            </c:dLbl>
            <c:dLbl>
              <c:idx val="1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BFDA-4C69-8E79-A083B7EFBA29}"/>
                </c:ext>
              </c:extLst>
            </c:dLbl>
            <c:dLbl>
              <c:idx val="1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9-BFDA-4C69-8E79-A083B7EFBA29}"/>
                </c:ext>
              </c:extLst>
            </c:dLbl>
            <c:dLbl>
              <c:idx val="1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A-BFDA-4C69-8E79-A083B7EFBA29}"/>
                </c:ext>
              </c:extLst>
            </c:dLbl>
            <c:dLbl>
              <c:idx val="1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B-BFDA-4C69-8E79-A083B7EFBA29}"/>
                </c:ext>
              </c:extLst>
            </c:dLbl>
            <c:dLbl>
              <c:idx val="1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C-BFDA-4C69-8E79-A083B7EFBA29}"/>
                </c:ext>
              </c:extLst>
            </c:dLbl>
            <c:dLbl>
              <c:idx val="2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BFDA-4C69-8E79-A083B7EFBA29}"/>
                </c:ext>
              </c:extLst>
            </c:dLbl>
            <c:dLbl>
              <c:idx val="2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BFDA-4C69-8E79-A083B7EFBA29}"/>
                </c:ext>
              </c:extLst>
            </c:dLbl>
            <c:dLbl>
              <c:idx val="2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F-BFDA-4C69-8E79-A083B7EFBA29}"/>
                </c:ext>
              </c:extLst>
            </c:dLbl>
            <c:dLbl>
              <c:idx val="2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0-BFDA-4C69-8E79-A083B7EFBA29}"/>
                </c:ext>
              </c:extLst>
            </c:dLbl>
            <c:dLbl>
              <c:idx val="2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1-BFDA-4C69-8E79-A083B7EFBA29}"/>
                </c:ext>
              </c:extLst>
            </c:dLbl>
            <c:dLbl>
              <c:idx val="2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BFDA-4C69-8E79-A083B7EFBA29}"/>
                </c:ext>
              </c:extLst>
            </c:dLbl>
            <c:dLbl>
              <c:idx val="2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BFDA-4C69-8E79-A083B7EFBA29}"/>
                </c:ext>
              </c:extLst>
            </c:dLbl>
            <c:dLbl>
              <c:idx val="2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BFDA-4C69-8E79-A083B7EFBA29}"/>
                </c:ext>
              </c:extLst>
            </c:dLbl>
            <c:dLbl>
              <c:idx val="2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5-BFDA-4C69-8E79-A083B7EFBA29}"/>
                </c:ext>
              </c:extLst>
            </c:dLbl>
            <c:dLbl>
              <c:idx val="2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6-BFDA-4C69-8E79-A083B7EFBA29}"/>
                </c:ext>
              </c:extLst>
            </c:dLbl>
            <c:dLbl>
              <c:idx val="3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7-BFDA-4C69-8E79-A083B7EFBA29}"/>
                </c:ext>
              </c:extLst>
            </c:dLbl>
            <c:dLbl>
              <c:idx val="3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8-BFDA-4C69-8E79-A083B7EFBA29}"/>
                </c:ext>
              </c:extLst>
            </c:dLbl>
            <c:dLbl>
              <c:idx val="3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9-BFDA-4C69-8E79-A083B7EFBA29}"/>
                </c:ext>
              </c:extLst>
            </c:dLbl>
            <c:dLbl>
              <c:idx val="3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BFDA-4C69-8E79-A083B7EFBA29}"/>
                </c:ext>
              </c:extLst>
            </c:dLbl>
            <c:dLbl>
              <c:idx val="3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B-BFDA-4C69-8E79-A083B7EFBA29}"/>
                </c:ext>
              </c:extLst>
            </c:dLbl>
            <c:dLbl>
              <c:idx val="3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C-BFDA-4C69-8E79-A083B7EFBA29}"/>
                </c:ext>
              </c:extLst>
            </c:dLbl>
            <c:dLbl>
              <c:idx val="3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D-BFDA-4C69-8E79-A083B7EFBA29}"/>
                </c:ext>
              </c:extLst>
            </c:dLbl>
            <c:dLbl>
              <c:idx val="3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BFDA-4C69-8E79-A083B7EFBA29}"/>
                </c:ext>
              </c:extLst>
            </c:dLbl>
            <c:dLbl>
              <c:idx val="3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BFDA-4C69-8E79-A083B7EFBA29}"/>
                </c:ext>
              </c:extLst>
            </c:dLbl>
            <c:dLbl>
              <c:idx val="3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BFDA-4C69-8E79-A083B7EFBA29}"/>
                </c:ext>
              </c:extLst>
            </c:dLbl>
            <c:dLbl>
              <c:idx val="4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1-BFDA-4C69-8E79-A083B7EFBA29}"/>
                </c:ext>
              </c:extLst>
            </c:dLbl>
            <c:dLbl>
              <c:idx val="4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BFDA-4C69-8E79-A083B7EFBA29}"/>
                </c:ext>
              </c:extLst>
            </c:dLbl>
            <c:dLbl>
              <c:idx val="4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BFDA-4C69-8E79-A083B7EFBA29}"/>
                </c:ext>
              </c:extLst>
            </c:dLbl>
            <c:dLbl>
              <c:idx val="4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BFDA-4C69-8E79-A083B7EFBA29}"/>
                </c:ext>
              </c:extLst>
            </c:dLbl>
            <c:dLbl>
              <c:idx val="4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BFDA-4C69-8E79-A083B7EFBA29}"/>
                </c:ext>
              </c:extLst>
            </c:dLbl>
            <c:dLbl>
              <c:idx val="4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BFDA-4C69-8E79-A083B7EFBA29}"/>
                </c:ext>
              </c:extLst>
            </c:dLbl>
            <c:dLbl>
              <c:idx val="4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BFDA-4C69-8E79-A083B7EFBA29}"/>
                </c:ext>
              </c:extLst>
            </c:dLbl>
            <c:dLbl>
              <c:idx val="4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BFDA-4C69-8E79-A083B7EFBA29}"/>
                </c:ext>
              </c:extLst>
            </c:dLbl>
            <c:dLbl>
              <c:idx val="4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11</c:f>
              <c:numCache>
                <c:formatCode>General</c:formatCode>
                <c:ptCount val="10"/>
                <c:pt idx="0">
                  <c:v>0.3783</c:v>
                </c:pt>
                <c:pt idx="1">
                  <c:v>0.3769</c:v>
                </c:pt>
                <c:pt idx="2">
                  <c:v>0.3746</c:v>
                </c:pt>
                <c:pt idx="3">
                  <c:v>0.4112</c:v>
                </c:pt>
                <c:pt idx="4">
                  <c:v>0.3831</c:v>
                </c:pt>
                <c:pt idx="5">
                  <c:v>0.3327</c:v>
                </c:pt>
                <c:pt idx="6">
                  <c:v>0.3424</c:v>
                </c:pt>
                <c:pt idx="7">
                  <c:v>0.2508</c:v>
                </c:pt>
                <c:pt idx="8">
                  <c:v>0.4856</c:v>
                </c:pt>
                <c:pt idx="9">
                  <c:v>0.3828</c:v>
                </c:pt>
              </c:numCache>
            </c:numRef>
          </c:xVal>
          <c:yVal>
            <c:numRef>
              <c:f>Sheet1!$B$2:$B$11</c:f>
              <c:numCache>
                <c:formatCode>General</c:formatCode>
                <c:ptCount val="10"/>
                <c:pt idx="0">
                  <c:v>3677.639175257732</c:v>
                </c:pt>
                <c:pt idx="1">
                  <c:v>3513.025316455696</c:v>
                </c:pt>
                <c:pt idx="2">
                  <c:v>3586.0</c:v>
                </c:pt>
                <c:pt idx="3">
                  <c:v>9583.09090909091</c:v>
                </c:pt>
                <c:pt idx="4">
                  <c:v>19283.141414141413</c:v>
                </c:pt>
                <c:pt idx="5">
                  <c:v>23908.927083333332</c:v>
                </c:pt>
                <c:pt idx="6">
                  <c:v>36882.89898989899</c:v>
                </c:pt>
                <c:pt idx="7">
                  <c:v>6125.961538461538</c:v>
                </c:pt>
                <c:pt idx="8">
                  <c:v>1907.64</c:v>
                </c:pt>
                <c:pt idx="9">
                  <c:v>6300.711340206186</c:v>
                </c:pt>
              </c:numCache>
            </c:numRef>
          </c:yVal>
          <c:bubbleSize>
            <c:numRef>
              <c:f>Sheet1!$C$2:$C$11</c:f>
              <c:numCache>
                <c:formatCode>General</c:formatCode>
                <c:ptCount val="10"/>
                <c:pt idx="0">
                  <c:v>210202.21399999998</c:v>
                </c:pt>
                <c:pt idx="1">
                  <c:v>163905.20519999997</c:v>
                </c:pt>
                <c:pt idx="2">
                  <c:v>57399.4148</c:v>
                </c:pt>
                <c:pt idx="3">
                  <c:v>352968.0401</c:v>
                </c:pt>
                <c:pt idx="4">
                  <c:v>1116328.0320999997</c:v>
                </c:pt>
                <c:pt idx="5">
                  <c:v>1451796.8903</c:v>
                </c:pt>
                <c:pt idx="6">
                  <c:v>2274744.2531999997</c:v>
                </c:pt>
                <c:pt idx="7">
                  <c:v>339328.07600000006</c:v>
                </c:pt>
                <c:pt idx="8">
                  <c:v>23255.5641</c:v>
                </c:pt>
                <c:pt idx="9">
                  <c:v>357551.62440000003</c:v>
                </c:pt>
              </c:numCache>
            </c:numRef>
          </c:bubbleSize>
          <c:bubble3D val="0"/>
          <c:extLst>
            <c:ext xmlns:c15="http://schemas.microsoft.com/office/drawing/2012/chart" uri="{02D57815-91ED-43cb-92C2-25804820EDAC}">
              <c15:datalabelsRange>
                <c15:f>Sheet1!$E$2:$E$50</c15:f>
                <c15:dlblRangeCache>
                  <c:ptCount val="49"/>
                  <c:pt idx="0">
                    <c:v>Findus Merluzzo Altro Findus Fish Bar 245GR</c:v>
                  </c:pt>
                  <c:pt idx="1">
                    <c:v>Findus Merluzzo D Alaska Chips Findus Big Burger 227GR</c:v>
                  </c:pt>
                  <c:pt idx="2">
                    <c:v>Findus Merluzzo D Alaska Standard Findus Big Burger 227GR</c:v>
                  </c:pt>
                  <c:pt idx="3">
                    <c:v>Findus Merluzzo E Spinaci Filetto Findus Croccole 300GR</c:v>
                  </c:pt>
                  <c:pt idx="4">
                    <c:v>Findus Merluzzo Filetto Findus Croccole 300GR</c:v>
                  </c:pt>
                  <c:pt idx="5">
                    <c:v>Findus Merluzzo Filetto Findus Croccole 600GR</c:v>
                  </c:pt>
                  <c:pt idx="6">
                    <c:v>Findus Merluzzo Filetto Findus Fish &amp; Crock 250GR</c:v>
                  </c:pt>
                  <c:pt idx="7">
                    <c:v>Findus Merluzzo Filetto Findus Fish Bar 240GR</c:v>
                  </c:pt>
                  <c:pt idx="8">
                    <c:v>Findus Merluzzo Semi Filetto Findus Croccole 300GR</c:v>
                  </c:pt>
                  <c:pt idx="9">
                    <c:v>Findus Merluzzo Senza Glutine Filetto Findus Croccole 250GR</c:v>
                  </c:pt>
                  <c:pt idx="10">
                    <c:v>Findus Platessa Filetto Findus Platessa 250GR</c:v>
                  </c:pt>
                  <c:pt idx="11">
                    <c:v>Findus Salmone Altro Findus Fish Bar 220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Private Label</c:v>
                </c:pt>
                <c:pt idx="1">
                  <c:v>President</c:v>
                </c:pt>
                <c:pt idx="2">
                  <c:v>La Belle Etoile</c:v>
                </c:pt>
                <c:pt idx="3">
                  <c:v>Boursin</c:v>
                </c:pt>
                <c:pt idx="4">
                  <c:v>La Vache Qui Rit</c:v>
                </c:pt>
                <c:pt idx="5">
                  <c:v>Others</c:v>
                </c:pt>
              </c:strCache>
            </c:strRef>
          </c:cat>
          <c:val>
            <c:numRef>
              <c:f>Sheet1!$B$2:$B$7</c:f>
              <c:numCache>
                <c:formatCode>General</c:formatCode>
                <c:ptCount val="6"/>
                <c:pt idx="0">
                  <c:v>0.5814605694911403</c:v>
                </c:pt>
                <c:pt idx="1">
                  <c:v>0.295696962069448</c:v>
                </c:pt>
                <c:pt idx="2">
                  <c:v>0.042854496235711456</c:v>
                </c:pt>
                <c:pt idx="3">
                  <c:v>0.020783125231090813</c:v>
                </c:pt>
                <c:pt idx="4">
                  <c:v>0.016849337520132096</c:v>
                </c:pt>
                <c:pt idx="5">
                  <c:v>0.04235550945247731</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Private Label</c:v>
                </c:pt>
                <c:pt idx="1">
                  <c:v>President</c:v>
                </c:pt>
                <c:pt idx="2">
                  <c:v>La Belle Etoile</c:v>
                </c:pt>
                <c:pt idx="3">
                  <c:v>Boursin</c:v>
                </c:pt>
                <c:pt idx="4">
                  <c:v>La Vache Qui Rit</c:v>
                </c:pt>
                <c:pt idx="5">
                  <c:v>Others</c:v>
                </c:pt>
              </c:strCache>
            </c:strRef>
          </c:cat>
          <c:val>
            <c:numRef>
              <c:f>Sheet1!$C$2:$C$7</c:f>
              <c:numCache>
                <c:formatCode>General</c:formatCode>
                <c:ptCount val="6"/>
                <c:pt idx="0">
                  <c:v>0.5065573770491804</c:v>
                </c:pt>
                <c:pt idx="1">
                  <c:v>0.3032786885245902</c:v>
                </c:pt>
                <c:pt idx="2">
                  <c:v>0.04098360655737705</c:v>
                </c:pt>
                <c:pt idx="3">
                  <c:v>0.05245901639344263</c:v>
                </c:pt>
                <c:pt idx="4">
                  <c:v>0.03770491803278688</c:v>
                </c:pt>
                <c:pt idx="5">
                  <c:v>0.05901639344262295</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Private Label</c:v>
                </c:pt>
                <c:pt idx="1">
                  <c:v>President</c:v>
                </c:pt>
                <c:pt idx="2">
                  <c:v>La Belle Etoile</c:v>
                </c:pt>
                <c:pt idx="3">
                  <c:v>Boursin</c:v>
                </c:pt>
                <c:pt idx="4">
                  <c:v>La Vache Qui Rit</c:v>
                </c:pt>
                <c:pt idx="5">
                  <c:v>Others</c:v>
                </c:pt>
              </c:strCache>
            </c:strRef>
          </c:cat>
          <c:val>
            <c:numRef>
              <c:f>Sheet1!$D$2:$D$7</c:f>
              <c:numCache>
                <c:formatCode>General</c:formatCode>
                <c:ptCount val="6"/>
                <c:pt idx="0">
                  <c:v>87.11809598585322</c:v>
                </c:pt>
                <c:pt idx="1">
                  <c:v>102.56401905588788</c:v>
                </c:pt>
                <c:pt idx="2">
                  <c:v>95.63432115023825</c:v>
                </c:pt>
                <c:pt idx="3">
                  <c:v>252.4115878153196</c:v>
                </c:pt>
                <c:pt idx="4">
                  <c:v>223.77685762265673</c:v>
                </c:pt>
                <c:pt idx="5">
                  <c:v>139.33581299226037</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2C1CE494-835B-4412-B08F-3809507B527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951BB55F-3F66-48D0-9F00-E7FB19BCD7E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91341054-0B70-4E19-8A63-8CC335796D5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05E81630-1142-4D01-A320-0C9A34FFAB2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A5D77142-12C3-4AD3-BF91-21DD3EAB03A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5EF92A51-5B59-40A7-A879-A77B8E61B43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1D038379-DEE4-415D-933D-94EE6C757D0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5-BFDA-4C69-8E79-A083B7EFBA29}"/>
                </c:ext>
              </c:extLst>
            </c:dLbl>
            <c:dLbl>
              <c:idx val="1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BFDA-4C69-8E79-A083B7EFBA29}"/>
                </c:ext>
              </c:extLst>
            </c:dLbl>
            <c:dLbl>
              <c:idx val="1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BFDA-4C69-8E79-A083B7EFBA29}"/>
                </c:ext>
              </c:extLst>
            </c:dLbl>
            <c:dLbl>
              <c:idx val="1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BFDA-4C69-8E79-A083B7EFBA29}"/>
                </c:ext>
              </c:extLst>
            </c:dLbl>
            <c:dLbl>
              <c:idx val="1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9-BFDA-4C69-8E79-A083B7EFBA29}"/>
                </c:ext>
              </c:extLst>
            </c:dLbl>
            <c:dLbl>
              <c:idx val="1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A-BFDA-4C69-8E79-A083B7EFBA29}"/>
                </c:ext>
              </c:extLst>
            </c:dLbl>
            <c:dLbl>
              <c:idx val="1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B-BFDA-4C69-8E79-A083B7EFBA29}"/>
                </c:ext>
              </c:extLst>
            </c:dLbl>
            <c:dLbl>
              <c:idx val="1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C-BFDA-4C69-8E79-A083B7EFBA29}"/>
                </c:ext>
              </c:extLst>
            </c:dLbl>
            <c:dLbl>
              <c:idx val="2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BFDA-4C69-8E79-A083B7EFBA29}"/>
                </c:ext>
              </c:extLst>
            </c:dLbl>
            <c:dLbl>
              <c:idx val="2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BFDA-4C69-8E79-A083B7EFBA29}"/>
                </c:ext>
              </c:extLst>
            </c:dLbl>
            <c:dLbl>
              <c:idx val="2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F-BFDA-4C69-8E79-A083B7EFBA29}"/>
                </c:ext>
              </c:extLst>
            </c:dLbl>
            <c:dLbl>
              <c:idx val="2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0-BFDA-4C69-8E79-A083B7EFBA29}"/>
                </c:ext>
              </c:extLst>
            </c:dLbl>
            <c:dLbl>
              <c:idx val="2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1-BFDA-4C69-8E79-A083B7EFBA29}"/>
                </c:ext>
              </c:extLst>
            </c:dLbl>
            <c:dLbl>
              <c:idx val="2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BFDA-4C69-8E79-A083B7EFBA29}"/>
                </c:ext>
              </c:extLst>
            </c:dLbl>
            <c:dLbl>
              <c:idx val="2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BFDA-4C69-8E79-A083B7EFBA29}"/>
                </c:ext>
              </c:extLst>
            </c:dLbl>
            <c:dLbl>
              <c:idx val="2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BFDA-4C69-8E79-A083B7EFBA29}"/>
                </c:ext>
              </c:extLst>
            </c:dLbl>
            <c:dLbl>
              <c:idx val="2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5-BFDA-4C69-8E79-A083B7EFBA29}"/>
                </c:ext>
              </c:extLst>
            </c:dLbl>
            <c:dLbl>
              <c:idx val="2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6-BFDA-4C69-8E79-A083B7EFBA29}"/>
                </c:ext>
              </c:extLst>
            </c:dLbl>
            <c:dLbl>
              <c:idx val="3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7-BFDA-4C69-8E79-A083B7EFBA29}"/>
                </c:ext>
              </c:extLst>
            </c:dLbl>
            <c:dLbl>
              <c:idx val="3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8-BFDA-4C69-8E79-A083B7EFBA29}"/>
                </c:ext>
              </c:extLst>
            </c:dLbl>
            <c:dLbl>
              <c:idx val="3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9-BFDA-4C69-8E79-A083B7EFBA29}"/>
                </c:ext>
              </c:extLst>
            </c:dLbl>
            <c:dLbl>
              <c:idx val="3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BFDA-4C69-8E79-A083B7EFBA29}"/>
                </c:ext>
              </c:extLst>
            </c:dLbl>
            <c:dLbl>
              <c:idx val="3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B-BFDA-4C69-8E79-A083B7EFBA29}"/>
                </c:ext>
              </c:extLst>
            </c:dLbl>
            <c:dLbl>
              <c:idx val="3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C-BFDA-4C69-8E79-A083B7EFBA29}"/>
                </c:ext>
              </c:extLst>
            </c:dLbl>
            <c:dLbl>
              <c:idx val="3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D-BFDA-4C69-8E79-A083B7EFBA29}"/>
                </c:ext>
              </c:extLst>
            </c:dLbl>
            <c:dLbl>
              <c:idx val="3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BFDA-4C69-8E79-A083B7EFBA29}"/>
                </c:ext>
              </c:extLst>
            </c:dLbl>
            <c:dLbl>
              <c:idx val="3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BFDA-4C69-8E79-A083B7EFBA29}"/>
                </c:ext>
              </c:extLst>
            </c:dLbl>
            <c:dLbl>
              <c:idx val="3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BFDA-4C69-8E79-A083B7EFBA29}"/>
                </c:ext>
              </c:extLst>
            </c:dLbl>
            <c:dLbl>
              <c:idx val="4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1-BFDA-4C69-8E79-A083B7EFBA29}"/>
                </c:ext>
              </c:extLst>
            </c:dLbl>
            <c:dLbl>
              <c:idx val="4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BFDA-4C69-8E79-A083B7EFBA29}"/>
                </c:ext>
              </c:extLst>
            </c:dLbl>
            <c:dLbl>
              <c:idx val="4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BFDA-4C69-8E79-A083B7EFBA29}"/>
                </c:ext>
              </c:extLst>
            </c:dLbl>
            <c:dLbl>
              <c:idx val="4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BFDA-4C69-8E79-A083B7EFBA29}"/>
                </c:ext>
              </c:extLst>
            </c:dLbl>
            <c:dLbl>
              <c:idx val="4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BFDA-4C69-8E79-A083B7EFBA29}"/>
                </c:ext>
              </c:extLst>
            </c:dLbl>
            <c:dLbl>
              <c:idx val="4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BFDA-4C69-8E79-A083B7EFBA29}"/>
                </c:ext>
              </c:extLst>
            </c:dLbl>
            <c:dLbl>
              <c:idx val="4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BFDA-4C69-8E79-A083B7EFBA29}"/>
                </c:ext>
              </c:extLst>
            </c:dLbl>
            <c:dLbl>
              <c:idx val="4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BFDA-4C69-8E79-A083B7EFBA29}"/>
                </c:ext>
              </c:extLst>
            </c:dLbl>
            <c:dLbl>
              <c:idx val="4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26</c:f>
              <c:numCache>
                <c:formatCode>General</c:formatCode>
                <c:ptCount val="25"/>
                <c:pt idx="0">
                  <c:v>0.3509</c:v>
                </c:pt>
                <c:pt idx="1">
                  <c:v>0.3383</c:v>
                </c:pt>
                <c:pt idx="2">
                  <c:v>0.4017</c:v>
                </c:pt>
                <c:pt idx="3">
                  <c:v>0.2986</c:v>
                </c:pt>
                <c:pt idx="4">
                  <c:v>0.3345</c:v>
                </c:pt>
                <c:pt idx="5">
                  <c:v>0.356</c:v>
                </c:pt>
                <c:pt idx="6">
                  <c:v>0.3901</c:v>
                </c:pt>
                <c:pt idx="7">
                  <c:v>0.5465</c:v>
                </c:pt>
                <c:pt idx="8">
                  <c:v>0.5532</c:v>
                </c:pt>
                <c:pt idx="9">
                  <c:v>0.3336</c:v>
                </c:pt>
                <c:pt idx="10">
                  <c:v>0.3408</c:v>
                </c:pt>
                <c:pt idx="11">
                  <c:v>0.5357</c:v>
                </c:pt>
                <c:pt idx="12">
                  <c:v>0.357</c:v>
                </c:pt>
                <c:pt idx="13">
                  <c:v>0.3518</c:v>
                </c:pt>
                <c:pt idx="14">
                  <c:v>0.3984</c:v>
                </c:pt>
                <c:pt idx="15">
                  <c:v>0.4621</c:v>
                </c:pt>
                <c:pt idx="16">
                  <c:v>0.4812</c:v>
                </c:pt>
                <c:pt idx="17">
                  <c:v>0.3441</c:v>
                </c:pt>
                <c:pt idx="18">
                  <c:v>0.4808</c:v>
                </c:pt>
                <c:pt idx="19">
                  <c:v>0.5323</c:v>
                </c:pt>
                <c:pt idx="20">
                  <c:v>0.3923</c:v>
                </c:pt>
                <c:pt idx="21">
                  <c:v>0.4232</c:v>
                </c:pt>
                <c:pt idx="22">
                  <c:v>0.4121</c:v>
                </c:pt>
                <c:pt idx="23">
                  <c:v>0.335</c:v>
                </c:pt>
                <c:pt idx="24">
                  <c:v>0.4837</c:v>
                </c:pt>
              </c:numCache>
            </c:numRef>
          </c:xVal>
          <c:yVal>
            <c:numRef>
              <c:f>Sheet1!$B$2:$B$26</c:f>
              <c:numCache>
                <c:formatCode>General</c:formatCode>
                <c:ptCount val="25"/>
                <c:pt idx="0">
                  <c:v>12114.479591836734</c:v>
                </c:pt>
                <c:pt idx="1">
                  <c:v>535.8648648648649</c:v>
                </c:pt>
                <c:pt idx="2">
                  <c:v>1510.361111111111</c:v>
                </c:pt>
                <c:pt idx="3">
                  <c:v>11147.282828282829</c:v>
                </c:pt>
                <c:pt idx="4">
                  <c:v>3558.674157303371</c:v>
                </c:pt>
                <c:pt idx="5">
                  <c:v>1122.0923076923077</c:v>
                </c:pt>
                <c:pt idx="6">
                  <c:v>247.92156862745097</c:v>
                </c:pt>
                <c:pt idx="7">
                  <c:v>611.5573770491803</c:v>
                </c:pt>
                <c:pt idx="8">
                  <c:v>486.0487804878049</c:v>
                </c:pt>
                <c:pt idx="9">
                  <c:v>9753.297872340425</c:v>
                </c:pt>
                <c:pt idx="10">
                  <c:v>6344.662790697675</c:v>
                </c:pt>
                <c:pt idx="11">
                  <c:v>504.1</c:v>
                </c:pt>
                <c:pt idx="12">
                  <c:v>5526.197802197802</c:v>
                </c:pt>
                <c:pt idx="13">
                  <c:v>10084.61052631579</c:v>
                </c:pt>
                <c:pt idx="14">
                  <c:v>3883.3764705882354</c:v>
                </c:pt>
                <c:pt idx="15">
                  <c:v>989.6666666666666</c:v>
                </c:pt>
                <c:pt idx="16">
                  <c:v>1088.5833333333333</c:v>
                </c:pt>
                <c:pt idx="17">
                  <c:v>7616.333333333333</c:v>
                </c:pt>
                <c:pt idx="18">
                  <c:v>1998.6373626373627</c:v>
                </c:pt>
                <c:pt idx="19">
                  <c:v>776.2911392405064</c:v>
                </c:pt>
                <c:pt idx="20">
                  <c:v>1784.8315789473684</c:v>
                </c:pt>
                <c:pt idx="21">
                  <c:v>1265.2916666666667</c:v>
                </c:pt>
                <c:pt idx="22">
                  <c:v>908.5915492957746</c:v>
                </c:pt>
                <c:pt idx="23">
                  <c:v>660.44</c:v>
                </c:pt>
                <c:pt idx="24">
                  <c:v>727.3793103448277</c:v>
                </c:pt>
              </c:numCache>
            </c:numRef>
          </c:yVal>
          <c:bubbleSize>
            <c:numRef>
              <c:f>Sheet1!$C$2:$C$26</c:f>
              <c:numCache>
                <c:formatCode>General</c:formatCode>
                <c:ptCount val="25"/>
                <c:pt idx="0">
                  <c:v>730494.22</c:v>
                </c:pt>
                <c:pt idx="1">
                  <c:v>12435.3884</c:v>
                </c:pt>
                <c:pt idx="2">
                  <c:v>61671.757699999995</c:v>
                </c:pt>
                <c:pt idx="3">
                  <c:v>733678.5325999999</c:v>
                </c:pt>
                <c:pt idx="4">
                  <c:v>199793.7276</c:v>
                </c:pt>
                <c:pt idx="5">
                  <c:v>44525.3437</c:v>
                </c:pt>
                <c:pt idx="6">
                  <c:v>7309.838999999999</c:v>
                </c:pt>
                <c:pt idx="7">
                  <c:v>16035.281699999998</c:v>
                </c:pt>
                <c:pt idx="8">
                  <c:v>8438.853000000001</c:v>
                </c:pt>
                <c:pt idx="9">
                  <c:v>579119.5173</c:v>
                </c:pt>
                <c:pt idx="10">
                  <c:v>340926.53160000005</c:v>
                </c:pt>
                <c:pt idx="11">
                  <c:v>11091.624</c:v>
                </c:pt>
                <c:pt idx="12">
                  <c:v>306494.22589999996</c:v>
                </c:pt>
                <c:pt idx="13">
                  <c:v>588623.4519</c:v>
                </c:pt>
                <c:pt idx="14">
                  <c:v>188241.61899999998</c:v>
                </c:pt>
                <c:pt idx="15">
                  <c:v>1513.6466000000003</c:v>
                </c:pt>
                <c:pt idx="16">
                  <c:v>12846.7087</c:v>
                </c:pt>
                <c:pt idx="17">
                  <c:v>468795.9846999999</c:v>
                </c:pt>
                <c:pt idx="18">
                  <c:v>89507.25500000002</c:v>
                </c:pt>
                <c:pt idx="19">
                  <c:v>27188.0808</c:v>
                </c:pt>
                <c:pt idx="20">
                  <c:v>97662.7545</c:v>
                </c:pt>
                <c:pt idx="21">
                  <c:v>49804.415400000005</c:v>
                </c:pt>
                <c:pt idx="22">
                  <c:v>35948.457</c:v>
                </c:pt>
                <c:pt idx="23">
                  <c:v>10406.775</c:v>
                </c:pt>
                <c:pt idx="24">
                  <c:v>10323.4362</c:v>
                </c:pt>
              </c:numCache>
            </c:numRef>
          </c:bubbleSize>
          <c:bubble3D val="0"/>
          <c:extLst>
            <c:ext xmlns:c15="http://schemas.microsoft.com/office/drawing/2012/chart" uri="{02D57815-91ED-43cb-92C2-25804820EDAC}">
              <c15:datalabelsRange>
                <c15:f>Sheet1!$E$2:$E$50</c15:f>
                <c15:dlblRangeCache>
                  <c:ptCount val="49"/>
                  <c:pt idx="0">
                    <c:v>Findus Merluzzo Altro Findus Fish Bar 245GR</c:v>
                  </c:pt>
                  <c:pt idx="1">
                    <c:v>Findus Merluzzo D Alaska Chips Findus Big Burger 227GR</c:v>
                  </c:pt>
                  <c:pt idx="2">
                    <c:v>Findus Merluzzo D Alaska Standard Findus Big Burger 227GR</c:v>
                  </c:pt>
                  <c:pt idx="3">
                    <c:v>Findus Merluzzo E Spinaci Filetto Findus Croccole 300GR</c:v>
                  </c:pt>
                  <c:pt idx="4">
                    <c:v>Findus Merluzzo Filetto Findus Croccole 300GR</c:v>
                  </c:pt>
                  <c:pt idx="5">
                    <c:v>Findus Merluzzo Filetto Findus Croccole 600GR</c:v>
                  </c:pt>
                  <c:pt idx="6">
                    <c:v>Findus Merluzzo Filetto Findus Fish &amp; Crock 250GR</c:v>
                  </c:pt>
                  <c:pt idx="7">
                    <c:v>Findus Merluzzo Filetto Findus Fish Bar 240GR</c:v>
                  </c:pt>
                  <c:pt idx="8">
                    <c:v>Findus Merluzzo Semi Filetto Findus Croccole 300GR</c:v>
                  </c:pt>
                  <c:pt idx="9">
                    <c:v>Findus Merluzzo Senza Glutine Filetto Findus Croccole 250GR</c:v>
                  </c:pt>
                  <c:pt idx="10">
                    <c:v>Findus Platessa Filetto Findus Platessa 250GR</c:v>
                  </c:pt>
                  <c:pt idx="11">
                    <c:v>Findus Salmone Altro Findus Fish Bar 220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2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0D86E91E-684E-4D9A-BCC7-E58139B8EAA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9F7A5B7D-548B-4F6D-8B55-D46494D87FA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E92D56E5-E74E-4159-830A-397086BAE70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B0B99A4B-079A-41D6-B0D7-56B5E4FE838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D9CB6E75-AFF6-4F31-9362-4399C9A8CE4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E117A57A-1CA1-4E97-B62F-2DE56F0C0E0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F6DF1337-E87D-4D48-BAD2-B9486B09EB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5-BFDA-4C69-8E79-A083B7EFBA29}"/>
                </c:ext>
              </c:extLst>
            </c:dLbl>
            <c:dLbl>
              <c:idx val="1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BFDA-4C69-8E79-A083B7EFBA29}"/>
                </c:ext>
              </c:extLst>
            </c:dLbl>
            <c:dLbl>
              <c:idx val="1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BFDA-4C69-8E79-A083B7EFBA29}"/>
                </c:ext>
              </c:extLst>
            </c:dLbl>
            <c:dLbl>
              <c:idx val="1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BFDA-4C69-8E79-A083B7EFBA29}"/>
                </c:ext>
              </c:extLst>
            </c:dLbl>
            <c:dLbl>
              <c:idx val="1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9-BFDA-4C69-8E79-A083B7EFBA29}"/>
                </c:ext>
              </c:extLst>
            </c:dLbl>
            <c:dLbl>
              <c:idx val="1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A-BFDA-4C69-8E79-A083B7EFBA29}"/>
                </c:ext>
              </c:extLst>
            </c:dLbl>
            <c:dLbl>
              <c:idx val="1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B-BFDA-4C69-8E79-A083B7EFBA29}"/>
                </c:ext>
              </c:extLst>
            </c:dLbl>
            <c:dLbl>
              <c:idx val="1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C-BFDA-4C69-8E79-A083B7EFBA29}"/>
                </c:ext>
              </c:extLst>
            </c:dLbl>
            <c:dLbl>
              <c:idx val="2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BFDA-4C69-8E79-A083B7EFBA29}"/>
                </c:ext>
              </c:extLst>
            </c:dLbl>
            <c:dLbl>
              <c:idx val="2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BFDA-4C69-8E79-A083B7EFBA29}"/>
                </c:ext>
              </c:extLst>
            </c:dLbl>
            <c:dLbl>
              <c:idx val="2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F-BFDA-4C69-8E79-A083B7EFBA29}"/>
                </c:ext>
              </c:extLst>
            </c:dLbl>
            <c:dLbl>
              <c:idx val="2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0-BFDA-4C69-8E79-A083B7EFBA29}"/>
                </c:ext>
              </c:extLst>
            </c:dLbl>
            <c:dLbl>
              <c:idx val="2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1-BFDA-4C69-8E79-A083B7EFBA29}"/>
                </c:ext>
              </c:extLst>
            </c:dLbl>
            <c:dLbl>
              <c:idx val="2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BFDA-4C69-8E79-A083B7EFBA29}"/>
                </c:ext>
              </c:extLst>
            </c:dLbl>
            <c:dLbl>
              <c:idx val="2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BFDA-4C69-8E79-A083B7EFBA29}"/>
                </c:ext>
              </c:extLst>
            </c:dLbl>
            <c:dLbl>
              <c:idx val="2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BFDA-4C69-8E79-A083B7EFBA29}"/>
                </c:ext>
              </c:extLst>
            </c:dLbl>
            <c:dLbl>
              <c:idx val="2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5-BFDA-4C69-8E79-A083B7EFBA29}"/>
                </c:ext>
              </c:extLst>
            </c:dLbl>
            <c:dLbl>
              <c:idx val="2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6-BFDA-4C69-8E79-A083B7EFBA29}"/>
                </c:ext>
              </c:extLst>
            </c:dLbl>
            <c:dLbl>
              <c:idx val="3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7-BFDA-4C69-8E79-A083B7EFBA29}"/>
                </c:ext>
              </c:extLst>
            </c:dLbl>
            <c:dLbl>
              <c:idx val="3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8-BFDA-4C69-8E79-A083B7EFBA29}"/>
                </c:ext>
              </c:extLst>
            </c:dLbl>
            <c:dLbl>
              <c:idx val="3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9-BFDA-4C69-8E79-A083B7EFBA29}"/>
                </c:ext>
              </c:extLst>
            </c:dLbl>
            <c:dLbl>
              <c:idx val="3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BFDA-4C69-8E79-A083B7EFBA29}"/>
                </c:ext>
              </c:extLst>
            </c:dLbl>
            <c:dLbl>
              <c:idx val="3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B-BFDA-4C69-8E79-A083B7EFBA29}"/>
                </c:ext>
              </c:extLst>
            </c:dLbl>
            <c:dLbl>
              <c:idx val="3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C-BFDA-4C69-8E79-A083B7EFBA29}"/>
                </c:ext>
              </c:extLst>
            </c:dLbl>
            <c:dLbl>
              <c:idx val="3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D-BFDA-4C69-8E79-A083B7EFBA29}"/>
                </c:ext>
              </c:extLst>
            </c:dLbl>
            <c:dLbl>
              <c:idx val="3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BFDA-4C69-8E79-A083B7EFBA29}"/>
                </c:ext>
              </c:extLst>
            </c:dLbl>
            <c:dLbl>
              <c:idx val="3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BFDA-4C69-8E79-A083B7EFBA29}"/>
                </c:ext>
              </c:extLst>
            </c:dLbl>
            <c:dLbl>
              <c:idx val="3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BFDA-4C69-8E79-A083B7EFBA29}"/>
                </c:ext>
              </c:extLst>
            </c:dLbl>
            <c:dLbl>
              <c:idx val="4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1-BFDA-4C69-8E79-A083B7EFBA29}"/>
                </c:ext>
              </c:extLst>
            </c:dLbl>
            <c:dLbl>
              <c:idx val="4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BFDA-4C69-8E79-A083B7EFBA29}"/>
                </c:ext>
              </c:extLst>
            </c:dLbl>
            <c:dLbl>
              <c:idx val="4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BFDA-4C69-8E79-A083B7EFBA29}"/>
                </c:ext>
              </c:extLst>
            </c:dLbl>
            <c:dLbl>
              <c:idx val="4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BFDA-4C69-8E79-A083B7EFBA29}"/>
                </c:ext>
              </c:extLst>
            </c:dLbl>
            <c:dLbl>
              <c:idx val="4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BFDA-4C69-8E79-A083B7EFBA29}"/>
                </c:ext>
              </c:extLst>
            </c:dLbl>
            <c:dLbl>
              <c:idx val="4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BFDA-4C69-8E79-A083B7EFBA29}"/>
                </c:ext>
              </c:extLst>
            </c:dLbl>
            <c:dLbl>
              <c:idx val="4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BFDA-4C69-8E79-A083B7EFBA29}"/>
                </c:ext>
              </c:extLst>
            </c:dLbl>
            <c:dLbl>
              <c:idx val="4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BFDA-4C69-8E79-A083B7EFBA29}"/>
                </c:ext>
              </c:extLst>
            </c:dLbl>
            <c:dLbl>
              <c:idx val="4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7</c:f>
              <c:numCache>
                <c:formatCode>General</c:formatCode>
                <c:ptCount val="6"/>
                <c:pt idx="0">
                  <c:v>0.3472</c:v>
                </c:pt>
                <c:pt idx="1">
                  <c:v>0.4695</c:v>
                </c:pt>
                <c:pt idx="2">
                  <c:v>0.4202</c:v>
                </c:pt>
                <c:pt idx="3">
                  <c:v>0.4249</c:v>
                </c:pt>
                <c:pt idx="4">
                  <c:v>0.5233</c:v>
                </c:pt>
                <c:pt idx="5">
                  <c:v>0.3955</c:v>
                </c:pt>
              </c:numCache>
            </c:numRef>
          </c:xVal>
          <c:yVal>
            <c:numRef>
              <c:f>Sheet1!$B$2:$B$7</c:f>
              <c:numCache>
                <c:formatCode>General</c:formatCode>
                <c:ptCount val="6"/>
                <c:pt idx="0">
                  <c:v>6803.333333333333</c:v>
                </c:pt>
                <c:pt idx="1">
                  <c:v>6336.732142857142</c:v>
                </c:pt>
                <c:pt idx="2">
                  <c:v>24603.90625</c:v>
                </c:pt>
                <c:pt idx="3">
                  <c:v>4204.222222222223</c:v>
                </c:pt>
                <c:pt idx="4">
                  <c:v>11954.0</c:v>
                </c:pt>
                <c:pt idx="5">
                  <c:v>7187.0</c:v>
                </c:pt>
              </c:numCache>
            </c:numRef>
          </c:yVal>
          <c:bubbleSize>
            <c:numRef>
              <c:f>Sheet1!$C$2:$C$7</c:f>
              <c:numCache>
                <c:formatCode>General</c:formatCode>
                <c:ptCount val="6"/>
                <c:pt idx="0">
                  <c:v>25256.3515</c:v>
                </c:pt>
                <c:pt idx="1">
                  <c:v>178439.9606</c:v>
                </c:pt>
                <c:pt idx="2">
                  <c:v>1298103.7783000001</c:v>
                </c:pt>
                <c:pt idx="3">
                  <c:v>61878.7852</c:v>
                </c:pt>
                <c:pt idx="4">
                  <c:v>383488.5416</c:v>
                </c:pt>
                <c:pt idx="5">
                  <c:v>8236.3448</c:v>
                </c:pt>
              </c:numCache>
            </c:numRef>
          </c:bubbleSize>
          <c:bubble3D val="0"/>
          <c:extLst>
            <c:ext xmlns:c15="http://schemas.microsoft.com/office/drawing/2012/chart" uri="{02D57815-91ED-43cb-92C2-25804820EDAC}">
              <c15:datalabelsRange>
                <c15:f>Sheet1!$E$2:$E$50</c15:f>
                <c15:dlblRangeCache>
                  <c:ptCount val="49"/>
                  <c:pt idx="0">
                    <c:v>Findus Merluzzo Altro Findus Fish Bar 245GR</c:v>
                  </c:pt>
                  <c:pt idx="1">
                    <c:v>Findus Merluzzo D Alaska Chips Findus Big Burger 227GR</c:v>
                  </c:pt>
                  <c:pt idx="2">
                    <c:v>Findus Merluzzo D Alaska Standard Findus Big Burger 227GR</c:v>
                  </c:pt>
                  <c:pt idx="3">
                    <c:v>Findus Merluzzo E Spinaci Filetto Findus Croccole 300GR</c:v>
                  </c:pt>
                  <c:pt idx="4">
                    <c:v>Findus Merluzzo Filetto Findus Croccole 300GR</c:v>
                  </c:pt>
                  <c:pt idx="5">
                    <c:v>Findus Merluzzo Filetto Findus Croccole 600GR</c:v>
                  </c:pt>
                  <c:pt idx="6">
                    <c:v>Findus Merluzzo Filetto Findus Fish &amp; Crock 250GR</c:v>
                  </c:pt>
                  <c:pt idx="7">
                    <c:v>Findus Merluzzo Filetto Findus Fish Bar 240GR</c:v>
                  </c:pt>
                  <c:pt idx="8">
                    <c:v>Findus Merluzzo Semi Filetto Findus Croccole 300GR</c:v>
                  </c:pt>
                  <c:pt idx="9">
                    <c:v>Findus Merluzzo Senza Glutine Filetto Findus Croccole 250GR</c:v>
                  </c:pt>
                  <c:pt idx="10">
                    <c:v>Findus Platessa Filetto Findus Platessa 250GR</c:v>
                  </c:pt>
                  <c:pt idx="11">
                    <c:v>Findus Salmone Altro Findus Fish Bar 220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2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FB43B5F6-DE37-46E7-A4D7-3C20C84DE51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B03EF2B0-03B1-4486-B0DF-BE12D705A36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487E3233-9539-4540-AE03-D7A01014B87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CED47A42-2F82-4B9C-A981-0C2C3D10AFF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5FD0E3C9-A94A-4317-B0F1-D2BC7939377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351AC6CC-49BE-4DC5-A438-7A249C138DC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5ACD2713-AE45-4298-A662-BB879E3CFBD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5-BFDA-4C69-8E79-A083B7EFBA29}"/>
                </c:ext>
              </c:extLst>
            </c:dLbl>
            <c:dLbl>
              <c:idx val="1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BFDA-4C69-8E79-A083B7EFBA29}"/>
                </c:ext>
              </c:extLst>
            </c:dLbl>
            <c:dLbl>
              <c:idx val="1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BFDA-4C69-8E79-A083B7EFBA29}"/>
                </c:ext>
              </c:extLst>
            </c:dLbl>
            <c:dLbl>
              <c:idx val="1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BFDA-4C69-8E79-A083B7EFBA29}"/>
                </c:ext>
              </c:extLst>
            </c:dLbl>
            <c:dLbl>
              <c:idx val="1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9-BFDA-4C69-8E79-A083B7EFBA29}"/>
                </c:ext>
              </c:extLst>
            </c:dLbl>
            <c:dLbl>
              <c:idx val="1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A-BFDA-4C69-8E79-A083B7EFBA29}"/>
                </c:ext>
              </c:extLst>
            </c:dLbl>
            <c:dLbl>
              <c:idx val="1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B-BFDA-4C69-8E79-A083B7EFBA29}"/>
                </c:ext>
              </c:extLst>
            </c:dLbl>
            <c:dLbl>
              <c:idx val="1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C-BFDA-4C69-8E79-A083B7EFBA29}"/>
                </c:ext>
              </c:extLst>
            </c:dLbl>
            <c:dLbl>
              <c:idx val="2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BFDA-4C69-8E79-A083B7EFBA29}"/>
                </c:ext>
              </c:extLst>
            </c:dLbl>
            <c:dLbl>
              <c:idx val="2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BFDA-4C69-8E79-A083B7EFBA29}"/>
                </c:ext>
              </c:extLst>
            </c:dLbl>
            <c:dLbl>
              <c:idx val="2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F-BFDA-4C69-8E79-A083B7EFBA29}"/>
                </c:ext>
              </c:extLst>
            </c:dLbl>
            <c:dLbl>
              <c:idx val="2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0-BFDA-4C69-8E79-A083B7EFBA29}"/>
                </c:ext>
              </c:extLst>
            </c:dLbl>
            <c:dLbl>
              <c:idx val="2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1-BFDA-4C69-8E79-A083B7EFBA29}"/>
                </c:ext>
              </c:extLst>
            </c:dLbl>
            <c:dLbl>
              <c:idx val="2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BFDA-4C69-8E79-A083B7EFBA29}"/>
                </c:ext>
              </c:extLst>
            </c:dLbl>
            <c:dLbl>
              <c:idx val="2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BFDA-4C69-8E79-A083B7EFBA29}"/>
                </c:ext>
              </c:extLst>
            </c:dLbl>
            <c:dLbl>
              <c:idx val="2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BFDA-4C69-8E79-A083B7EFBA29}"/>
                </c:ext>
              </c:extLst>
            </c:dLbl>
            <c:dLbl>
              <c:idx val="2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5-BFDA-4C69-8E79-A083B7EFBA29}"/>
                </c:ext>
              </c:extLst>
            </c:dLbl>
            <c:dLbl>
              <c:idx val="2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6-BFDA-4C69-8E79-A083B7EFBA29}"/>
                </c:ext>
              </c:extLst>
            </c:dLbl>
            <c:dLbl>
              <c:idx val="3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7-BFDA-4C69-8E79-A083B7EFBA29}"/>
                </c:ext>
              </c:extLst>
            </c:dLbl>
            <c:dLbl>
              <c:idx val="3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8-BFDA-4C69-8E79-A083B7EFBA29}"/>
                </c:ext>
              </c:extLst>
            </c:dLbl>
            <c:dLbl>
              <c:idx val="3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9-BFDA-4C69-8E79-A083B7EFBA29}"/>
                </c:ext>
              </c:extLst>
            </c:dLbl>
            <c:dLbl>
              <c:idx val="3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BFDA-4C69-8E79-A083B7EFBA29}"/>
                </c:ext>
              </c:extLst>
            </c:dLbl>
            <c:dLbl>
              <c:idx val="3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B-BFDA-4C69-8E79-A083B7EFBA29}"/>
                </c:ext>
              </c:extLst>
            </c:dLbl>
            <c:dLbl>
              <c:idx val="3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C-BFDA-4C69-8E79-A083B7EFBA29}"/>
                </c:ext>
              </c:extLst>
            </c:dLbl>
            <c:dLbl>
              <c:idx val="3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D-BFDA-4C69-8E79-A083B7EFBA29}"/>
                </c:ext>
              </c:extLst>
            </c:dLbl>
            <c:dLbl>
              <c:idx val="3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BFDA-4C69-8E79-A083B7EFBA29}"/>
                </c:ext>
              </c:extLst>
            </c:dLbl>
            <c:dLbl>
              <c:idx val="3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BFDA-4C69-8E79-A083B7EFBA29}"/>
                </c:ext>
              </c:extLst>
            </c:dLbl>
            <c:dLbl>
              <c:idx val="3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BFDA-4C69-8E79-A083B7EFBA29}"/>
                </c:ext>
              </c:extLst>
            </c:dLbl>
            <c:dLbl>
              <c:idx val="4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1-BFDA-4C69-8E79-A083B7EFBA29}"/>
                </c:ext>
              </c:extLst>
            </c:dLbl>
            <c:dLbl>
              <c:idx val="4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BFDA-4C69-8E79-A083B7EFBA29}"/>
                </c:ext>
              </c:extLst>
            </c:dLbl>
            <c:dLbl>
              <c:idx val="4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BFDA-4C69-8E79-A083B7EFBA29}"/>
                </c:ext>
              </c:extLst>
            </c:dLbl>
            <c:dLbl>
              <c:idx val="4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BFDA-4C69-8E79-A083B7EFBA29}"/>
                </c:ext>
              </c:extLst>
            </c:dLbl>
            <c:dLbl>
              <c:idx val="4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BFDA-4C69-8E79-A083B7EFBA29}"/>
                </c:ext>
              </c:extLst>
            </c:dLbl>
            <c:dLbl>
              <c:idx val="4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BFDA-4C69-8E79-A083B7EFBA29}"/>
                </c:ext>
              </c:extLst>
            </c:dLbl>
            <c:dLbl>
              <c:idx val="4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BFDA-4C69-8E79-A083B7EFBA29}"/>
                </c:ext>
              </c:extLst>
            </c:dLbl>
            <c:dLbl>
              <c:idx val="4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BFDA-4C69-8E79-A083B7EFBA29}"/>
                </c:ext>
              </c:extLst>
            </c:dLbl>
            <c:dLbl>
              <c:idx val="4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9</c:f>
              <c:numCache>
                <c:formatCode>General</c:formatCode>
                <c:ptCount val="8"/>
                <c:pt idx="0">
                  <c:v>0.438</c:v>
                </c:pt>
                <c:pt idx="1">
                  <c:v>0.4161</c:v>
                </c:pt>
                <c:pt idx="2">
                  <c:v>0.4719</c:v>
                </c:pt>
                <c:pt idx="3">
                  <c:v>0.4564</c:v>
                </c:pt>
                <c:pt idx="4">
                  <c:v>0.4449</c:v>
                </c:pt>
                <c:pt idx="5">
                  <c:v>0.5691</c:v>
                </c:pt>
                <c:pt idx="6">
                  <c:v>0.5159</c:v>
                </c:pt>
                <c:pt idx="7">
                  <c:v>0.4643</c:v>
                </c:pt>
              </c:numCache>
            </c:numRef>
          </c:xVal>
          <c:yVal>
            <c:numRef>
              <c:f>Sheet1!$B$2:$B$9</c:f>
              <c:numCache>
                <c:formatCode>General</c:formatCode>
                <c:ptCount val="8"/>
                <c:pt idx="0">
                  <c:v>2435.8888888888887</c:v>
                </c:pt>
                <c:pt idx="1">
                  <c:v>4163.6</c:v>
                </c:pt>
                <c:pt idx="2">
                  <c:v>14182.0</c:v>
                </c:pt>
                <c:pt idx="3">
                  <c:v>30497.54945054945</c:v>
                </c:pt>
                <c:pt idx="4">
                  <c:v>28146.978723404256</c:v>
                </c:pt>
                <c:pt idx="5">
                  <c:v>4702.2</c:v>
                </c:pt>
                <c:pt idx="6">
                  <c:v>3558.5</c:v>
                </c:pt>
                <c:pt idx="7">
                  <c:v>8683.745098039215</c:v>
                </c:pt>
              </c:numCache>
            </c:numRef>
          </c:yVal>
          <c:bubbleSize>
            <c:numRef>
              <c:f>Sheet1!$C$2:$C$9</c:f>
              <c:numCache>
                <c:formatCode>General</c:formatCode>
                <c:ptCount val="8"/>
                <c:pt idx="0">
                  <c:v>23354.848999999995</c:v>
                </c:pt>
                <c:pt idx="1">
                  <c:v>11521.692000000001</c:v>
                </c:pt>
                <c:pt idx="2">
                  <c:v>63895.0924</c:v>
                </c:pt>
                <c:pt idx="3">
                  <c:v>1430100.4967999998</c:v>
                </c:pt>
                <c:pt idx="4">
                  <c:v>696022.6984</c:v>
                </c:pt>
                <c:pt idx="5">
                  <c:v>9603.1772</c:v>
                </c:pt>
                <c:pt idx="6">
                  <c:v>13063.7887</c:v>
                </c:pt>
                <c:pt idx="7">
                  <c:v>224873.70239999998</c:v>
                </c:pt>
              </c:numCache>
            </c:numRef>
          </c:bubbleSize>
          <c:bubble3D val="0"/>
          <c:extLst>
            <c:ext xmlns:c15="http://schemas.microsoft.com/office/drawing/2012/chart" uri="{02D57815-91ED-43cb-92C2-25804820EDAC}">
              <c15:datalabelsRange>
                <c15:f>Sheet1!$E$2:$E$50</c15:f>
                <c15:dlblRangeCache>
                  <c:ptCount val="49"/>
                  <c:pt idx="0">
                    <c:v>Findus Merluzzo Altro Findus Fish Bar 245GR</c:v>
                  </c:pt>
                  <c:pt idx="1">
                    <c:v>Findus Merluzzo D Alaska Chips Findus Big Burger 227GR</c:v>
                  </c:pt>
                  <c:pt idx="2">
                    <c:v>Findus Merluzzo D Alaska Standard Findus Big Burger 227GR</c:v>
                  </c:pt>
                  <c:pt idx="3">
                    <c:v>Findus Merluzzo E Spinaci Filetto Findus Croccole 300GR</c:v>
                  </c:pt>
                  <c:pt idx="4">
                    <c:v>Findus Merluzzo Filetto Findus Croccole 300GR</c:v>
                  </c:pt>
                  <c:pt idx="5">
                    <c:v>Findus Merluzzo Filetto Findus Croccole 600GR</c:v>
                  </c:pt>
                  <c:pt idx="6">
                    <c:v>Findus Merluzzo Filetto Findus Fish &amp; Crock 250GR</c:v>
                  </c:pt>
                  <c:pt idx="7">
                    <c:v>Findus Merluzzo Filetto Findus Fish Bar 240GR</c:v>
                  </c:pt>
                  <c:pt idx="8">
                    <c:v>Findus Merluzzo Semi Filetto Findus Croccole 300GR</c:v>
                  </c:pt>
                  <c:pt idx="9">
                    <c:v>Findus Merluzzo Senza Glutine Filetto Findus Croccole 250GR</c:v>
                  </c:pt>
                  <c:pt idx="10">
                    <c:v>Findus Platessa Filetto Findus Platessa 250GR</c:v>
                  </c:pt>
                  <c:pt idx="11">
                    <c:v>Findus Salmone Altro Findus Fish Bar 220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2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8C0236BC-9EF9-48F7-A42D-C53912EA873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95F2FABB-9F8D-4637-A66C-2B0E2BCF5F1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F2CA0A32-EE77-4FA5-8687-2AF43F04DDB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DCC7CE93-CEF9-4B6C-A6CA-B275225030A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422F09BF-FEC9-455E-821A-4B4BB81C2C0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2EDC0E73-3A8D-41CE-9D07-5D18282FF3C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30466023-AC90-48CA-BB0B-FB195C2C2B0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5-BFDA-4C69-8E79-A083B7EFBA29}"/>
                </c:ext>
              </c:extLst>
            </c:dLbl>
            <c:dLbl>
              <c:idx val="1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BFDA-4C69-8E79-A083B7EFBA29}"/>
                </c:ext>
              </c:extLst>
            </c:dLbl>
            <c:dLbl>
              <c:idx val="1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BFDA-4C69-8E79-A083B7EFBA29}"/>
                </c:ext>
              </c:extLst>
            </c:dLbl>
            <c:dLbl>
              <c:idx val="1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BFDA-4C69-8E79-A083B7EFBA29}"/>
                </c:ext>
              </c:extLst>
            </c:dLbl>
            <c:dLbl>
              <c:idx val="1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9-BFDA-4C69-8E79-A083B7EFBA29}"/>
                </c:ext>
              </c:extLst>
            </c:dLbl>
            <c:dLbl>
              <c:idx val="1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A-BFDA-4C69-8E79-A083B7EFBA29}"/>
                </c:ext>
              </c:extLst>
            </c:dLbl>
            <c:dLbl>
              <c:idx val="1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B-BFDA-4C69-8E79-A083B7EFBA29}"/>
                </c:ext>
              </c:extLst>
            </c:dLbl>
            <c:dLbl>
              <c:idx val="1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C-BFDA-4C69-8E79-A083B7EFBA29}"/>
                </c:ext>
              </c:extLst>
            </c:dLbl>
            <c:dLbl>
              <c:idx val="2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BFDA-4C69-8E79-A083B7EFBA29}"/>
                </c:ext>
              </c:extLst>
            </c:dLbl>
            <c:dLbl>
              <c:idx val="2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BFDA-4C69-8E79-A083B7EFBA29}"/>
                </c:ext>
              </c:extLst>
            </c:dLbl>
            <c:dLbl>
              <c:idx val="2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F-BFDA-4C69-8E79-A083B7EFBA29}"/>
                </c:ext>
              </c:extLst>
            </c:dLbl>
            <c:dLbl>
              <c:idx val="2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0-BFDA-4C69-8E79-A083B7EFBA29}"/>
                </c:ext>
              </c:extLst>
            </c:dLbl>
            <c:dLbl>
              <c:idx val="2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1-BFDA-4C69-8E79-A083B7EFBA29}"/>
                </c:ext>
              </c:extLst>
            </c:dLbl>
            <c:dLbl>
              <c:idx val="2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BFDA-4C69-8E79-A083B7EFBA29}"/>
                </c:ext>
              </c:extLst>
            </c:dLbl>
            <c:dLbl>
              <c:idx val="2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BFDA-4C69-8E79-A083B7EFBA29}"/>
                </c:ext>
              </c:extLst>
            </c:dLbl>
            <c:dLbl>
              <c:idx val="2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BFDA-4C69-8E79-A083B7EFBA29}"/>
                </c:ext>
              </c:extLst>
            </c:dLbl>
            <c:dLbl>
              <c:idx val="2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5-BFDA-4C69-8E79-A083B7EFBA29}"/>
                </c:ext>
              </c:extLst>
            </c:dLbl>
            <c:dLbl>
              <c:idx val="2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6-BFDA-4C69-8E79-A083B7EFBA29}"/>
                </c:ext>
              </c:extLst>
            </c:dLbl>
            <c:dLbl>
              <c:idx val="3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7-BFDA-4C69-8E79-A083B7EFBA29}"/>
                </c:ext>
              </c:extLst>
            </c:dLbl>
            <c:dLbl>
              <c:idx val="3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8-BFDA-4C69-8E79-A083B7EFBA29}"/>
                </c:ext>
              </c:extLst>
            </c:dLbl>
            <c:dLbl>
              <c:idx val="3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9-BFDA-4C69-8E79-A083B7EFBA29}"/>
                </c:ext>
              </c:extLst>
            </c:dLbl>
            <c:dLbl>
              <c:idx val="3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BFDA-4C69-8E79-A083B7EFBA29}"/>
                </c:ext>
              </c:extLst>
            </c:dLbl>
            <c:dLbl>
              <c:idx val="3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B-BFDA-4C69-8E79-A083B7EFBA29}"/>
                </c:ext>
              </c:extLst>
            </c:dLbl>
            <c:dLbl>
              <c:idx val="3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C-BFDA-4C69-8E79-A083B7EFBA29}"/>
                </c:ext>
              </c:extLst>
            </c:dLbl>
            <c:dLbl>
              <c:idx val="3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D-BFDA-4C69-8E79-A083B7EFBA29}"/>
                </c:ext>
              </c:extLst>
            </c:dLbl>
            <c:dLbl>
              <c:idx val="3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BFDA-4C69-8E79-A083B7EFBA29}"/>
                </c:ext>
              </c:extLst>
            </c:dLbl>
            <c:dLbl>
              <c:idx val="3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BFDA-4C69-8E79-A083B7EFBA29}"/>
                </c:ext>
              </c:extLst>
            </c:dLbl>
            <c:dLbl>
              <c:idx val="3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BFDA-4C69-8E79-A083B7EFBA29}"/>
                </c:ext>
              </c:extLst>
            </c:dLbl>
            <c:dLbl>
              <c:idx val="4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1-BFDA-4C69-8E79-A083B7EFBA29}"/>
                </c:ext>
              </c:extLst>
            </c:dLbl>
            <c:dLbl>
              <c:idx val="4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BFDA-4C69-8E79-A083B7EFBA29}"/>
                </c:ext>
              </c:extLst>
            </c:dLbl>
            <c:dLbl>
              <c:idx val="4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BFDA-4C69-8E79-A083B7EFBA29}"/>
                </c:ext>
              </c:extLst>
            </c:dLbl>
            <c:dLbl>
              <c:idx val="4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BFDA-4C69-8E79-A083B7EFBA29}"/>
                </c:ext>
              </c:extLst>
            </c:dLbl>
            <c:dLbl>
              <c:idx val="4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BFDA-4C69-8E79-A083B7EFBA29}"/>
                </c:ext>
              </c:extLst>
            </c:dLbl>
            <c:dLbl>
              <c:idx val="4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BFDA-4C69-8E79-A083B7EFBA29}"/>
                </c:ext>
              </c:extLst>
            </c:dLbl>
            <c:dLbl>
              <c:idx val="4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BFDA-4C69-8E79-A083B7EFBA29}"/>
                </c:ext>
              </c:extLst>
            </c:dLbl>
            <c:dLbl>
              <c:idx val="4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BFDA-4C69-8E79-A083B7EFBA29}"/>
                </c:ext>
              </c:extLst>
            </c:dLbl>
            <c:dLbl>
              <c:idx val="4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11</c:f>
              <c:numCache>
                <c:formatCode>General</c:formatCode>
                <c:ptCount val="10"/>
                <c:pt idx="0">
                  <c:v>0.3913</c:v>
                </c:pt>
                <c:pt idx="1">
                  <c:v>0.4907</c:v>
                </c:pt>
                <c:pt idx="2">
                  <c:v>0.4277</c:v>
                </c:pt>
                <c:pt idx="3">
                  <c:v>0.4918</c:v>
                </c:pt>
                <c:pt idx="4">
                  <c:v>0.3924</c:v>
                </c:pt>
                <c:pt idx="5">
                  <c:v>0.4264</c:v>
                </c:pt>
                <c:pt idx="6">
                  <c:v>0.4898</c:v>
                </c:pt>
                <c:pt idx="7">
                  <c:v>0.4352</c:v>
                </c:pt>
                <c:pt idx="8">
                  <c:v>0.4273</c:v>
                </c:pt>
                <c:pt idx="9">
                  <c:v>0.5167</c:v>
                </c:pt>
              </c:numCache>
            </c:numRef>
          </c:xVal>
          <c:yVal>
            <c:numRef>
              <c:f>Sheet1!$B$2:$B$11</c:f>
              <c:numCache>
                <c:formatCode>General</c:formatCode>
                <c:ptCount val="10"/>
                <c:pt idx="0">
                  <c:v>13191.32075471698</c:v>
                </c:pt>
                <c:pt idx="1">
                  <c:v>2491.0</c:v>
                </c:pt>
                <c:pt idx="2">
                  <c:v>15938.253012048193</c:v>
                </c:pt>
                <c:pt idx="3">
                  <c:v>5998.125</c:v>
                </c:pt>
                <c:pt idx="4">
                  <c:v>456.8</c:v>
                </c:pt>
                <c:pt idx="5">
                  <c:v>15549.142857142855</c:v>
                </c:pt>
                <c:pt idx="6">
                  <c:v>4525.529411764706</c:v>
                </c:pt>
                <c:pt idx="7">
                  <c:v>1914.8181818181818</c:v>
                </c:pt>
                <c:pt idx="8">
                  <c:v>3634.8333333333335</c:v>
                </c:pt>
                <c:pt idx="9">
                  <c:v>7412.088607594937</c:v>
                </c:pt>
              </c:numCache>
            </c:numRef>
          </c:yVal>
          <c:bubbleSize>
            <c:numRef>
              <c:f>Sheet1!$C$2:$C$11</c:f>
              <c:numCache>
                <c:formatCode>General</c:formatCode>
                <c:ptCount val="10"/>
                <c:pt idx="0">
                  <c:v>403400.8740000001</c:v>
                </c:pt>
                <c:pt idx="1">
                  <c:v>38482.9421</c:v>
                </c:pt>
                <c:pt idx="2">
                  <c:v>717579.9723999999</c:v>
                </c:pt>
                <c:pt idx="3">
                  <c:v>23113.3438</c:v>
                </c:pt>
                <c:pt idx="4">
                  <c:v>2630.9526</c:v>
                </c:pt>
                <c:pt idx="5">
                  <c:v>473422.0262</c:v>
                </c:pt>
                <c:pt idx="6">
                  <c:v>37207.6572</c:v>
                </c:pt>
                <c:pt idx="7">
                  <c:v>11275.9124</c:v>
                </c:pt>
                <c:pt idx="8">
                  <c:v>23675.9073</c:v>
                </c:pt>
                <c:pt idx="9">
                  <c:v>268250.098</c:v>
                </c:pt>
              </c:numCache>
            </c:numRef>
          </c:bubbleSize>
          <c:bubble3D val="0"/>
          <c:extLst>
            <c:ext xmlns:c15="http://schemas.microsoft.com/office/drawing/2012/chart" uri="{02D57815-91ED-43cb-92C2-25804820EDAC}">
              <c15:datalabelsRange>
                <c15:f>Sheet1!$E$2:$E$50</c15:f>
                <c15:dlblRangeCache>
                  <c:ptCount val="49"/>
                  <c:pt idx="0">
                    <c:v>Findus Merluzzo Altro Findus Fish Bar 245GR</c:v>
                  </c:pt>
                  <c:pt idx="1">
                    <c:v>Findus Merluzzo D Alaska Chips Findus Big Burger 227GR</c:v>
                  </c:pt>
                  <c:pt idx="2">
                    <c:v>Findus Merluzzo D Alaska Standard Findus Big Burger 227GR</c:v>
                  </c:pt>
                  <c:pt idx="3">
                    <c:v>Findus Merluzzo E Spinaci Filetto Findus Croccole 300GR</c:v>
                  </c:pt>
                  <c:pt idx="4">
                    <c:v>Findus Merluzzo Filetto Findus Croccole 300GR</c:v>
                  </c:pt>
                  <c:pt idx="5">
                    <c:v>Findus Merluzzo Filetto Findus Croccole 600GR</c:v>
                  </c:pt>
                  <c:pt idx="6">
                    <c:v>Findus Merluzzo Filetto Findus Fish &amp; Crock 250GR</c:v>
                  </c:pt>
                  <c:pt idx="7">
                    <c:v>Findus Merluzzo Filetto Findus Fish Bar 240GR</c:v>
                  </c:pt>
                  <c:pt idx="8">
                    <c:v>Findus Merluzzo Semi Filetto Findus Croccole 300GR</c:v>
                  </c:pt>
                  <c:pt idx="9">
                    <c:v>Findus Merluzzo Senza Glutine Filetto Findus Croccole 250GR</c:v>
                  </c:pt>
                  <c:pt idx="10">
                    <c:v>Findus Platessa Filetto Findus Platessa 250GR</c:v>
                  </c:pt>
                  <c:pt idx="11">
                    <c:v>Findus Salmone Altro Findus Fish Bar 220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2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710855F6-A02F-4C98-A666-6A047174D17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2AA4EDCA-D342-4206-92EA-DACD212E7FB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FFA9B7A2-5BBC-4FE9-8E1C-A7D14087FC0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F82C259E-411B-4373-9FFF-1F2F6FD6CFC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29F6BEA2-ADA5-4470-A2C8-D980B355181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60043F37-9707-4DC2-BB92-CFCA592579F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B6FABDCF-27E8-4102-A2B8-02039C185E3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5-BFDA-4C69-8E79-A083B7EFBA29}"/>
                </c:ext>
              </c:extLst>
            </c:dLbl>
            <c:dLbl>
              <c:idx val="1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BFDA-4C69-8E79-A083B7EFBA29}"/>
                </c:ext>
              </c:extLst>
            </c:dLbl>
            <c:dLbl>
              <c:idx val="1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BFDA-4C69-8E79-A083B7EFBA29}"/>
                </c:ext>
              </c:extLst>
            </c:dLbl>
            <c:dLbl>
              <c:idx val="1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BFDA-4C69-8E79-A083B7EFBA29}"/>
                </c:ext>
              </c:extLst>
            </c:dLbl>
            <c:dLbl>
              <c:idx val="1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9-BFDA-4C69-8E79-A083B7EFBA29}"/>
                </c:ext>
              </c:extLst>
            </c:dLbl>
            <c:dLbl>
              <c:idx val="1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A-BFDA-4C69-8E79-A083B7EFBA29}"/>
                </c:ext>
              </c:extLst>
            </c:dLbl>
            <c:dLbl>
              <c:idx val="1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B-BFDA-4C69-8E79-A083B7EFBA29}"/>
                </c:ext>
              </c:extLst>
            </c:dLbl>
            <c:dLbl>
              <c:idx val="1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C-BFDA-4C69-8E79-A083B7EFBA29}"/>
                </c:ext>
              </c:extLst>
            </c:dLbl>
            <c:dLbl>
              <c:idx val="2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BFDA-4C69-8E79-A083B7EFBA29}"/>
                </c:ext>
              </c:extLst>
            </c:dLbl>
            <c:dLbl>
              <c:idx val="2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BFDA-4C69-8E79-A083B7EFBA29}"/>
                </c:ext>
              </c:extLst>
            </c:dLbl>
            <c:dLbl>
              <c:idx val="2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F-BFDA-4C69-8E79-A083B7EFBA29}"/>
                </c:ext>
              </c:extLst>
            </c:dLbl>
            <c:dLbl>
              <c:idx val="2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0-BFDA-4C69-8E79-A083B7EFBA29}"/>
                </c:ext>
              </c:extLst>
            </c:dLbl>
            <c:dLbl>
              <c:idx val="2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1-BFDA-4C69-8E79-A083B7EFBA29}"/>
                </c:ext>
              </c:extLst>
            </c:dLbl>
            <c:dLbl>
              <c:idx val="2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BFDA-4C69-8E79-A083B7EFBA29}"/>
                </c:ext>
              </c:extLst>
            </c:dLbl>
            <c:dLbl>
              <c:idx val="2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BFDA-4C69-8E79-A083B7EFBA29}"/>
                </c:ext>
              </c:extLst>
            </c:dLbl>
            <c:dLbl>
              <c:idx val="2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BFDA-4C69-8E79-A083B7EFBA29}"/>
                </c:ext>
              </c:extLst>
            </c:dLbl>
            <c:dLbl>
              <c:idx val="2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5-BFDA-4C69-8E79-A083B7EFBA29}"/>
                </c:ext>
              </c:extLst>
            </c:dLbl>
            <c:dLbl>
              <c:idx val="2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6-BFDA-4C69-8E79-A083B7EFBA29}"/>
                </c:ext>
              </c:extLst>
            </c:dLbl>
            <c:dLbl>
              <c:idx val="3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7-BFDA-4C69-8E79-A083B7EFBA29}"/>
                </c:ext>
              </c:extLst>
            </c:dLbl>
            <c:dLbl>
              <c:idx val="3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8-BFDA-4C69-8E79-A083B7EFBA29}"/>
                </c:ext>
              </c:extLst>
            </c:dLbl>
            <c:dLbl>
              <c:idx val="3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9-BFDA-4C69-8E79-A083B7EFBA29}"/>
                </c:ext>
              </c:extLst>
            </c:dLbl>
            <c:dLbl>
              <c:idx val="3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BFDA-4C69-8E79-A083B7EFBA29}"/>
                </c:ext>
              </c:extLst>
            </c:dLbl>
            <c:dLbl>
              <c:idx val="3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B-BFDA-4C69-8E79-A083B7EFBA29}"/>
                </c:ext>
              </c:extLst>
            </c:dLbl>
            <c:dLbl>
              <c:idx val="3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C-BFDA-4C69-8E79-A083B7EFBA29}"/>
                </c:ext>
              </c:extLst>
            </c:dLbl>
            <c:dLbl>
              <c:idx val="3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D-BFDA-4C69-8E79-A083B7EFBA29}"/>
                </c:ext>
              </c:extLst>
            </c:dLbl>
            <c:dLbl>
              <c:idx val="3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BFDA-4C69-8E79-A083B7EFBA29}"/>
                </c:ext>
              </c:extLst>
            </c:dLbl>
            <c:dLbl>
              <c:idx val="3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BFDA-4C69-8E79-A083B7EFBA29}"/>
                </c:ext>
              </c:extLst>
            </c:dLbl>
            <c:dLbl>
              <c:idx val="3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BFDA-4C69-8E79-A083B7EFBA29}"/>
                </c:ext>
              </c:extLst>
            </c:dLbl>
            <c:dLbl>
              <c:idx val="4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1-BFDA-4C69-8E79-A083B7EFBA29}"/>
                </c:ext>
              </c:extLst>
            </c:dLbl>
            <c:dLbl>
              <c:idx val="4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BFDA-4C69-8E79-A083B7EFBA29}"/>
                </c:ext>
              </c:extLst>
            </c:dLbl>
            <c:dLbl>
              <c:idx val="4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BFDA-4C69-8E79-A083B7EFBA29}"/>
                </c:ext>
              </c:extLst>
            </c:dLbl>
            <c:dLbl>
              <c:idx val="4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BFDA-4C69-8E79-A083B7EFBA29}"/>
                </c:ext>
              </c:extLst>
            </c:dLbl>
            <c:dLbl>
              <c:idx val="4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BFDA-4C69-8E79-A083B7EFBA29}"/>
                </c:ext>
              </c:extLst>
            </c:dLbl>
            <c:dLbl>
              <c:idx val="4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BFDA-4C69-8E79-A083B7EFBA29}"/>
                </c:ext>
              </c:extLst>
            </c:dLbl>
            <c:dLbl>
              <c:idx val="4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BFDA-4C69-8E79-A083B7EFBA29}"/>
                </c:ext>
              </c:extLst>
            </c:dLbl>
            <c:dLbl>
              <c:idx val="4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BFDA-4C69-8E79-A083B7EFBA29}"/>
                </c:ext>
              </c:extLst>
            </c:dLbl>
            <c:dLbl>
              <c:idx val="4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12</c:f>
              <c:numCache>
                <c:formatCode>General</c:formatCode>
                <c:ptCount val="11"/>
                <c:pt idx="0">
                  <c:v>0.3214</c:v>
                </c:pt>
                <c:pt idx="1">
                  <c:v>0.3494</c:v>
                </c:pt>
                <c:pt idx="2">
                  <c:v>0.4579</c:v>
                </c:pt>
                <c:pt idx="3">
                  <c:v>0.502</c:v>
                </c:pt>
                <c:pt idx="4">
                  <c:v>0.4765</c:v>
                </c:pt>
                <c:pt idx="5">
                  <c:v>0.3426</c:v>
                </c:pt>
                <c:pt idx="6">
                  <c:v>0.4019</c:v>
                </c:pt>
                <c:pt idx="7">
                  <c:v>0.2801</c:v>
                </c:pt>
                <c:pt idx="8">
                  <c:v>0.3664</c:v>
                </c:pt>
                <c:pt idx="9">
                  <c:v>0.3605</c:v>
                </c:pt>
                <c:pt idx="10">
                  <c:v>0.4792</c:v>
                </c:pt>
              </c:numCache>
            </c:numRef>
          </c:xVal>
          <c:yVal>
            <c:numRef>
              <c:f>Sheet1!$B$2:$B$12</c:f>
              <c:numCache>
                <c:formatCode>General</c:formatCode>
                <c:ptCount val="11"/>
                <c:pt idx="0">
                  <c:v>33468.14141414141</c:v>
                </c:pt>
                <c:pt idx="1">
                  <c:v>32269.03370786517</c:v>
                </c:pt>
                <c:pt idx="2">
                  <c:v>4455.919540229885</c:v>
                </c:pt>
                <c:pt idx="3">
                  <c:v>372.55263157894734</c:v>
                </c:pt>
                <c:pt idx="4">
                  <c:v>5208.266666666666</c:v>
                </c:pt>
                <c:pt idx="5">
                  <c:v>18609.40404040404</c:v>
                </c:pt>
                <c:pt idx="6">
                  <c:v>2162.531914893617</c:v>
                </c:pt>
                <c:pt idx="7">
                  <c:v>2418.6506024096384</c:v>
                </c:pt>
                <c:pt idx="8">
                  <c:v>14583.535353535353</c:v>
                </c:pt>
                <c:pt idx="9">
                  <c:v>20546.0</c:v>
                </c:pt>
                <c:pt idx="10">
                  <c:v>4180.294117647059</c:v>
                </c:pt>
              </c:numCache>
            </c:numRef>
          </c:yVal>
          <c:bubbleSize>
            <c:numRef>
              <c:f>Sheet1!$C$2:$C$12</c:f>
              <c:numCache>
                <c:formatCode>General</c:formatCode>
                <c:ptCount val="11"/>
                <c:pt idx="0">
                  <c:v>2131265.6236</c:v>
                </c:pt>
                <c:pt idx="1">
                  <c:v>1770957.3417000002</c:v>
                </c:pt>
                <c:pt idx="2">
                  <c:v>199191.6838</c:v>
                </c:pt>
                <c:pt idx="3">
                  <c:v>6682.76</c:v>
                </c:pt>
                <c:pt idx="4">
                  <c:v>155071.3642</c:v>
                </c:pt>
                <c:pt idx="5">
                  <c:v>1147936.0168</c:v>
                </c:pt>
                <c:pt idx="6">
                  <c:v>115246.484</c:v>
                </c:pt>
                <c:pt idx="7">
                  <c:v>136986.13999999998</c:v>
                </c:pt>
                <c:pt idx="8">
                  <c:v>867137.4487</c:v>
                </c:pt>
                <c:pt idx="9">
                  <c:v>1195605.3462</c:v>
                </c:pt>
                <c:pt idx="10">
                  <c:v>140324.76739999998</c:v>
                </c:pt>
              </c:numCache>
            </c:numRef>
          </c:bubbleSize>
          <c:bubble3D val="0"/>
          <c:extLst>
            <c:ext xmlns:c15="http://schemas.microsoft.com/office/drawing/2012/chart" uri="{02D57815-91ED-43cb-92C2-25804820EDAC}">
              <c15:datalabelsRange>
                <c15:f>Sheet1!$E$2:$E$50</c15:f>
                <c15:dlblRangeCache>
                  <c:ptCount val="49"/>
                  <c:pt idx="0">
                    <c:v>Findus Merluzzo Altro Findus Fish Bar 245GR</c:v>
                  </c:pt>
                  <c:pt idx="1">
                    <c:v>Findus Merluzzo D Alaska Chips Findus Big Burger 227GR</c:v>
                  </c:pt>
                  <c:pt idx="2">
                    <c:v>Findus Merluzzo D Alaska Standard Findus Big Burger 227GR</c:v>
                  </c:pt>
                  <c:pt idx="3">
                    <c:v>Findus Merluzzo E Spinaci Filetto Findus Croccole 300GR</c:v>
                  </c:pt>
                  <c:pt idx="4">
                    <c:v>Findus Merluzzo Filetto Findus Croccole 300GR</c:v>
                  </c:pt>
                  <c:pt idx="5">
                    <c:v>Findus Merluzzo Filetto Findus Croccole 600GR</c:v>
                  </c:pt>
                  <c:pt idx="6">
                    <c:v>Findus Merluzzo Filetto Findus Fish &amp; Crock 250GR</c:v>
                  </c:pt>
                  <c:pt idx="7">
                    <c:v>Findus Merluzzo Filetto Findus Fish Bar 240GR</c:v>
                  </c:pt>
                  <c:pt idx="8">
                    <c:v>Findus Merluzzo Semi Filetto Findus Croccole 300GR</c:v>
                  </c:pt>
                  <c:pt idx="9">
                    <c:v>Findus Merluzzo Senza Glutine Filetto Findus Croccole 250GR</c:v>
                  </c:pt>
                  <c:pt idx="10">
                    <c:v>Findus Platessa Filetto Findus Platessa 250GR</c:v>
                  </c:pt>
                  <c:pt idx="11">
                    <c:v>Findus Salmone Altro Findus Fish Bar 220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2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97962F90-F60B-47B3-83D2-2D7FB7715BA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F6C32B2D-0508-42AC-BAD3-D09A89AE55B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1ECE5696-C042-4FA9-A138-5F12EAD93B5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9BD39526-FBFA-466D-A6F2-A42A09614A1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59A195FD-343A-4CA3-B66E-B043FF766AB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851D606D-6C45-4733-85BE-E7BEFAA6F1C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E76FFE87-271C-47BA-9337-62DC71B1F65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5-BFDA-4C69-8E79-A083B7EFBA29}"/>
                </c:ext>
              </c:extLst>
            </c:dLbl>
            <c:dLbl>
              <c:idx val="1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BFDA-4C69-8E79-A083B7EFBA29}"/>
                </c:ext>
              </c:extLst>
            </c:dLbl>
            <c:dLbl>
              <c:idx val="1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BFDA-4C69-8E79-A083B7EFBA29}"/>
                </c:ext>
              </c:extLst>
            </c:dLbl>
            <c:dLbl>
              <c:idx val="1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BFDA-4C69-8E79-A083B7EFBA29}"/>
                </c:ext>
              </c:extLst>
            </c:dLbl>
            <c:dLbl>
              <c:idx val="1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9-BFDA-4C69-8E79-A083B7EFBA29}"/>
                </c:ext>
              </c:extLst>
            </c:dLbl>
            <c:dLbl>
              <c:idx val="1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A-BFDA-4C69-8E79-A083B7EFBA29}"/>
                </c:ext>
              </c:extLst>
            </c:dLbl>
            <c:dLbl>
              <c:idx val="1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B-BFDA-4C69-8E79-A083B7EFBA29}"/>
                </c:ext>
              </c:extLst>
            </c:dLbl>
            <c:dLbl>
              <c:idx val="1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C-BFDA-4C69-8E79-A083B7EFBA29}"/>
                </c:ext>
              </c:extLst>
            </c:dLbl>
            <c:dLbl>
              <c:idx val="2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BFDA-4C69-8E79-A083B7EFBA29}"/>
                </c:ext>
              </c:extLst>
            </c:dLbl>
            <c:dLbl>
              <c:idx val="2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BFDA-4C69-8E79-A083B7EFBA29}"/>
                </c:ext>
              </c:extLst>
            </c:dLbl>
            <c:dLbl>
              <c:idx val="2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F-BFDA-4C69-8E79-A083B7EFBA29}"/>
                </c:ext>
              </c:extLst>
            </c:dLbl>
            <c:dLbl>
              <c:idx val="2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0-BFDA-4C69-8E79-A083B7EFBA29}"/>
                </c:ext>
              </c:extLst>
            </c:dLbl>
            <c:dLbl>
              <c:idx val="2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1-BFDA-4C69-8E79-A083B7EFBA29}"/>
                </c:ext>
              </c:extLst>
            </c:dLbl>
            <c:dLbl>
              <c:idx val="2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BFDA-4C69-8E79-A083B7EFBA29}"/>
                </c:ext>
              </c:extLst>
            </c:dLbl>
            <c:dLbl>
              <c:idx val="2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BFDA-4C69-8E79-A083B7EFBA29}"/>
                </c:ext>
              </c:extLst>
            </c:dLbl>
            <c:dLbl>
              <c:idx val="2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BFDA-4C69-8E79-A083B7EFBA29}"/>
                </c:ext>
              </c:extLst>
            </c:dLbl>
            <c:dLbl>
              <c:idx val="2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5-BFDA-4C69-8E79-A083B7EFBA29}"/>
                </c:ext>
              </c:extLst>
            </c:dLbl>
            <c:dLbl>
              <c:idx val="2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6-BFDA-4C69-8E79-A083B7EFBA29}"/>
                </c:ext>
              </c:extLst>
            </c:dLbl>
            <c:dLbl>
              <c:idx val="3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7-BFDA-4C69-8E79-A083B7EFBA29}"/>
                </c:ext>
              </c:extLst>
            </c:dLbl>
            <c:dLbl>
              <c:idx val="3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8-BFDA-4C69-8E79-A083B7EFBA29}"/>
                </c:ext>
              </c:extLst>
            </c:dLbl>
            <c:dLbl>
              <c:idx val="3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9-BFDA-4C69-8E79-A083B7EFBA29}"/>
                </c:ext>
              </c:extLst>
            </c:dLbl>
            <c:dLbl>
              <c:idx val="3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BFDA-4C69-8E79-A083B7EFBA29}"/>
                </c:ext>
              </c:extLst>
            </c:dLbl>
            <c:dLbl>
              <c:idx val="3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B-BFDA-4C69-8E79-A083B7EFBA29}"/>
                </c:ext>
              </c:extLst>
            </c:dLbl>
            <c:dLbl>
              <c:idx val="3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C-BFDA-4C69-8E79-A083B7EFBA29}"/>
                </c:ext>
              </c:extLst>
            </c:dLbl>
            <c:dLbl>
              <c:idx val="3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D-BFDA-4C69-8E79-A083B7EFBA29}"/>
                </c:ext>
              </c:extLst>
            </c:dLbl>
            <c:dLbl>
              <c:idx val="3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BFDA-4C69-8E79-A083B7EFBA29}"/>
                </c:ext>
              </c:extLst>
            </c:dLbl>
            <c:dLbl>
              <c:idx val="3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BFDA-4C69-8E79-A083B7EFBA29}"/>
                </c:ext>
              </c:extLst>
            </c:dLbl>
            <c:dLbl>
              <c:idx val="3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BFDA-4C69-8E79-A083B7EFBA29}"/>
                </c:ext>
              </c:extLst>
            </c:dLbl>
            <c:dLbl>
              <c:idx val="4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1-BFDA-4C69-8E79-A083B7EFBA29}"/>
                </c:ext>
              </c:extLst>
            </c:dLbl>
            <c:dLbl>
              <c:idx val="4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BFDA-4C69-8E79-A083B7EFBA29}"/>
                </c:ext>
              </c:extLst>
            </c:dLbl>
            <c:dLbl>
              <c:idx val="4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BFDA-4C69-8E79-A083B7EFBA29}"/>
                </c:ext>
              </c:extLst>
            </c:dLbl>
            <c:dLbl>
              <c:idx val="4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BFDA-4C69-8E79-A083B7EFBA29}"/>
                </c:ext>
              </c:extLst>
            </c:dLbl>
            <c:dLbl>
              <c:idx val="4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BFDA-4C69-8E79-A083B7EFBA29}"/>
                </c:ext>
              </c:extLst>
            </c:dLbl>
            <c:dLbl>
              <c:idx val="4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BFDA-4C69-8E79-A083B7EFBA29}"/>
                </c:ext>
              </c:extLst>
            </c:dLbl>
            <c:dLbl>
              <c:idx val="4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BFDA-4C69-8E79-A083B7EFBA29}"/>
                </c:ext>
              </c:extLst>
            </c:dLbl>
            <c:dLbl>
              <c:idx val="4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BFDA-4C69-8E79-A083B7EFBA29}"/>
                </c:ext>
              </c:extLst>
            </c:dLbl>
            <c:dLbl>
              <c:idx val="4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9</c:f>
              <c:numCache>
                <c:formatCode>General</c:formatCode>
                <c:ptCount val="8"/>
                <c:pt idx="0">
                  <c:v>0.5376</c:v>
                </c:pt>
                <c:pt idx="1">
                  <c:v>0.4297</c:v>
                </c:pt>
                <c:pt idx="2">
                  <c:v>0.3959</c:v>
                </c:pt>
                <c:pt idx="3">
                  <c:v>0.3593</c:v>
                </c:pt>
                <c:pt idx="4">
                  <c:v>0.3196</c:v>
                </c:pt>
                <c:pt idx="5">
                  <c:v>0.2455</c:v>
                </c:pt>
                <c:pt idx="6">
                  <c:v>0.4182</c:v>
                </c:pt>
                <c:pt idx="7">
                  <c:v>0.4881</c:v>
                </c:pt>
              </c:numCache>
            </c:numRef>
          </c:xVal>
          <c:yVal>
            <c:numRef>
              <c:f>Sheet1!$B$2:$B$9</c:f>
              <c:numCache>
                <c:formatCode>General</c:formatCode>
                <c:ptCount val="8"/>
                <c:pt idx="0">
                  <c:v>5071.260869565217</c:v>
                </c:pt>
                <c:pt idx="1">
                  <c:v>7595.781609195402</c:v>
                </c:pt>
                <c:pt idx="2">
                  <c:v>45209.37</c:v>
                </c:pt>
                <c:pt idx="3">
                  <c:v>38529.47422680412</c:v>
                </c:pt>
                <c:pt idx="4">
                  <c:v>58923.051020408166</c:v>
                </c:pt>
                <c:pt idx="5">
                  <c:v>990.84</c:v>
                </c:pt>
                <c:pt idx="6">
                  <c:v>10108.0</c:v>
                </c:pt>
                <c:pt idx="7">
                  <c:v>10818.426966292134</c:v>
                </c:pt>
              </c:numCache>
            </c:numRef>
          </c:yVal>
          <c:bubbleSize>
            <c:numRef>
              <c:f>Sheet1!$C$2:$C$9</c:f>
              <c:numCache>
                <c:formatCode>General</c:formatCode>
                <c:ptCount val="8"/>
                <c:pt idx="0">
                  <c:v>153372.101</c:v>
                </c:pt>
                <c:pt idx="1">
                  <c:v>357216.5298</c:v>
                </c:pt>
                <c:pt idx="2">
                  <c:v>2588496.7709999997</c:v>
                </c:pt>
                <c:pt idx="3">
                  <c:v>2269501.2134</c:v>
                </c:pt>
                <c:pt idx="4">
                  <c:v>3724121.2061000005</c:v>
                </c:pt>
                <c:pt idx="5">
                  <c:v>17714.462399999997</c:v>
                </c:pt>
                <c:pt idx="6">
                  <c:v>540684.2676000001</c:v>
                </c:pt>
                <c:pt idx="7">
                  <c:v>467206.7514</c:v>
                </c:pt>
              </c:numCache>
            </c:numRef>
          </c:bubbleSize>
          <c:bubble3D val="0"/>
          <c:extLst>
            <c:ext xmlns:c15="http://schemas.microsoft.com/office/drawing/2012/chart" uri="{02D57815-91ED-43cb-92C2-25804820EDAC}">
              <c15:datalabelsRange>
                <c15:f>Sheet1!$E$2:$E$50</c15:f>
                <c15:dlblRangeCache>
                  <c:ptCount val="49"/>
                  <c:pt idx="0">
                    <c:v>Findus Merluzzo Altro Findus Fish Bar 245GR</c:v>
                  </c:pt>
                  <c:pt idx="1">
                    <c:v>Findus Merluzzo D Alaska Chips Findus Big Burger 227GR</c:v>
                  </c:pt>
                  <c:pt idx="2">
                    <c:v>Findus Merluzzo D Alaska Standard Findus Big Burger 227GR</c:v>
                  </c:pt>
                  <c:pt idx="3">
                    <c:v>Findus Merluzzo E Spinaci Filetto Findus Croccole 300GR</c:v>
                  </c:pt>
                  <c:pt idx="4">
                    <c:v>Findus Merluzzo Filetto Findus Croccole 300GR</c:v>
                  </c:pt>
                  <c:pt idx="5">
                    <c:v>Findus Merluzzo Filetto Findus Croccole 600GR</c:v>
                  </c:pt>
                  <c:pt idx="6">
                    <c:v>Findus Merluzzo Filetto Findus Fish &amp; Crock 250GR</c:v>
                  </c:pt>
                  <c:pt idx="7">
                    <c:v>Findus Merluzzo Filetto Findus Fish Bar 240GR</c:v>
                  </c:pt>
                  <c:pt idx="8">
                    <c:v>Findus Merluzzo Semi Filetto Findus Croccole 300GR</c:v>
                  </c:pt>
                  <c:pt idx="9">
                    <c:v>Findus Merluzzo Senza Glutine Filetto Findus Croccole 250GR</c:v>
                  </c:pt>
                  <c:pt idx="10">
                    <c:v>Findus Platessa Filetto Findus Platessa 250GR</c:v>
                  </c:pt>
                  <c:pt idx="11">
                    <c:v>Findus Salmone Altro Findus Fish Bar 220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2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21510E87-9174-4403-B9CE-644C8B8B06A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CAE653C8-9F6D-45B2-B87C-7EE3EC95B39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46CA7443-1583-4A05-9826-97DD64F9E42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B8BC2DE5-FC6D-419A-8908-5F34B6BBF7D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51AC9B47-D530-412F-9A66-8A151EFFDF1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2B2A2B85-3EC7-438E-8455-2E56716ED16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BF64E7B8-02BE-4D02-B9B7-8F9FCE7107B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5-BFDA-4C69-8E79-A083B7EFBA29}"/>
                </c:ext>
              </c:extLst>
            </c:dLbl>
            <c:dLbl>
              <c:idx val="1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BFDA-4C69-8E79-A083B7EFBA29}"/>
                </c:ext>
              </c:extLst>
            </c:dLbl>
            <c:dLbl>
              <c:idx val="1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BFDA-4C69-8E79-A083B7EFBA29}"/>
                </c:ext>
              </c:extLst>
            </c:dLbl>
            <c:dLbl>
              <c:idx val="1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BFDA-4C69-8E79-A083B7EFBA29}"/>
                </c:ext>
              </c:extLst>
            </c:dLbl>
            <c:dLbl>
              <c:idx val="1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9-BFDA-4C69-8E79-A083B7EFBA29}"/>
                </c:ext>
              </c:extLst>
            </c:dLbl>
            <c:dLbl>
              <c:idx val="1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A-BFDA-4C69-8E79-A083B7EFBA29}"/>
                </c:ext>
              </c:extLst>
            </c:dLbl>
            <c:dLbl>
              <c:idx val="1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B-BFDA-4C69-8E79-A083B7EFBA29}"/>
                </c:ext>
              </c:extLst>
            </c:dLbl>
            <c:dLbl>
              <c:idx val="1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C-BFDA-4C69-8E79-A083B7EFBA29}"/>
                </c:ext>
              </c:extLst>
            </c:dLbl>
            <c:dLbl>
              <c:idx val="2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BFDA-4C69-8E79-A083B7EFBA29}"/>
                </c:ext>
              </c:extLst>
            </c:dLbl>
            <c:dLbl>
              <c:idx val="2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BFDA-4C69-8E79-A083B7EFBA29}"/>
                </c:ext>
              </c:extLst>
            </c:dLbl>
            <c:dLbl>
              <c:idx val="2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F-BFDA-4C69-8E79-A083B7EFBA29}"/>
                </c:ext>
              </c:extLst>
            </c:dLbl>
            <c:dLbl>
              <c:idx val="2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0-BFDA-4C69-8E79-A083B7EFBA29}"/>
                </c:ext>
              </c:extLst>
            </c:dLbl>
            <c:dLbl>
              <c:idx val="2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1-BFDA-4C69-8E79-A083B7EFBA29}"/>
                </c:ext>
              </c:extLst>
            </c:dLbl>
            <c:dLbl>
              <c:idx val="2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BFDA-4C69-8E79-A083B7EFBA29}"/>
                </c:ext>
              </c:extLst>
            </c:dLbl>
            <c:dLbl>
              <c:idx val="2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BFDA-4C69-8E79-A083B7EFBA29}"/>
                </c:ext>
              </c:extLst>
            </c:dLbl>
            <c:dLbl>
              <c:idx val="2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BFDA-4C69-8E79-A083B7EFBA29}"/>
                </c:ext>
              </c:extLst>
            </c:dLbl>
            <c:dLbl>
              <c:idx val="2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5-BFDA-4C69-8E79-A083B7EFBA29}"/>
                </c:ext>
              </c:extLst>
            </c:dLbl>
            <c:dLbl>
              <c:idx val="2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6-BFDA-4C69-8E79-A083B7EFBA29}"/>
                </c:ext>
              </c:extLst>
            </c:dLbl>
            <c:dLbl>
              <c:idx val="3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7-BFDA-4C69-8E79-A083B7EFBA29}"/>
                </c:ext>
              </c:extLst>
            </c:dLbl>
            <c:dLbl>
              <c:idx val="3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8-BFDA-4C69-8E79-A083B7EFBA29}"/>
                </c:ext>
              </c:extLst>
            </c:dLbl>
            <c:dLbl>
              <c:idx val="3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9-BFDA-4C69-8E79-A083B7EFBA29}"/>
                </c:ext>
              </c:extLst>
            </c:dLbl>
            <c:dLbl>
              <c:idx val="3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BFDA-4C69-8E79-A083B7EFBA29}"/>
                </c:ext>
              </c:extLst>
            </c:dLbl>
            <c:dLbl>
              <c:idx val="3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B-BFDA-4C69-8E79-A083B7EFBA29}"/>
                </c:ext>
              </c:extLst>
            </c:dLbl>
            <c:dLbl>
              <c:idx val="3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C-BFDA-4C69-8E79-A083B7EFBA29}"/>
                </c:ext>
              </c:extLst>
            </c:dLbl>
            <c:dLbl>
              <c:idx val="3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D-BFDA-4C69-8E79-A083B7EFBA29}"/>
                </c:ext>
              </c:extLst>
            </c:dLbl>
            <c:dLbl>
              <c:idx val="3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BFDA-4C69-8E79-A083B7EFBA29}"/>
                </c:ext>
              </c:extLst>
            </c:dLbl>
            <c:dLbl>
              <c:idx val="3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BFDA-4C69-8E79-A083B7EFBA29}"/>
                </c:ext>
              </c:extLst>
            </c:dLbl>
            <c:dLbl>
              <c:idx val="3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BFDA-4C69-8E79-A083B7EFBA29}"/>
                </c:ext>
              </c:extLst>
            </c:dLbl>
            <c:dLbl>
              <c:idx val="4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1-BFDA-4C69-8E79-A083B7EFBA29}"/>
                </c:ext>
              </c:extLst>
            </c:dLbl>
            <c:dLbl>
              <c:idx val="4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BFDA-4C69-8E79-A083B7EFBA29}"/>
                </c:ext>
              </c:extLst>
            </c:dLbl>
            <c:dLbl>
              <c:idx val="4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BFDA-4C69-8E79-A083B7EFBA29}"/>
                </c:ext>
              </c:extLst>
            </c:dLbl>
            <c:dLbl>
              <c:idx val="4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BFDA-4C69-8E79-A083B7EFBA29}"/>
                </c:ext>
              </c:extLst>
            </c:dLbl>
            <c:dLbl>
              <c:idx val="4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BFDA-4C69-8E79-A083B7EFBA29}"/>
                </c:ext>
              </c:extLst>
            </c:dLbl>
            <c:dLbl>
              <c:idx val="4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BFDA-4C69-8E79-A083B7EFBA29}"/>
                </c:ext>
              </c:extLst>
            </c:dLbl>
            <c:dLbl>
              <c:idx val="4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BFDA-4C69-8E79-A083B7EFBA29}"/>
                </c:ext>
              </c:extLst>
            </c:dLbl>
            <c:dLbl>
              <c:idx val="4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BFDA-4C69-8E79-A083B7EFBA29}"/>
                </c:ext>
              </c:extLst>
            </c:dLbl>
            <c:dLbl>
              <c:idx val="4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25</c:f>
              <c:numCache>
                <c:formatCode>General</c:formatCode>
                <c:ptCount val="24"/>
                <c:pt idx="0">
                  <c:v>0.3507</c:v>
                </c:pt>
                <c:pt idx="1">
                  <c:v>0.3969</c:v>
                </c:pt>
                <c:pt idx="2">
                  <c:v>0.3505</c:v>
                </c:pt>
                <c:pt idx="3">
                  <c:v>0.4196</c:v>
                </c:pt>
                <c:pt idx="4">
                  <c:v>0.3942</c:v>
                </c:pt>
                <c:pt idx="5">
                  <c:v>0.5027</c:v>
                </c:pt>
                <c:pt idx="6">
                  <c:v>0.3962</c:v>
                </c:pt>
                <c:pt idx="7">
                  <c:v>0.4039</c:v>
                </c:pt>
                <c:pt idx="8">
                  <c:v>0.417</c:v>
                </c:pt>
                <c:pt idx="9">
                  <c:v>0.2555</c:v>
                </c:pt>
                <c:pt idx="10">
                  <c:v>0.3991</c:v>
                </c:pt>
                <c:pt idx="11">
                  <c:v>0.401</c:v>
                </c:pt>
                <c:pt idx="12">
                  <c:v>0.3693</c:v>
                </c:pt>
                <c:pt idx="13">
                  <c:v>0.4066</c:v>
                </c:pt>
                <c:pt idx="14">
                  <c:v>0.4816</c:v>
                </c:pt>
                <c:pt idx="15">
                  <c:v>0.4413</c:v>
                </c:pt>
                <c:pt idx="16">
                  <c:v>0.3822</c:v>
                </c:pt>
                <c:pt idx="17">
                  <c:v>0.4342</c:v>
                </c:pt>
                <c:pt idx="18">
                  <c:v>0.3867</c:v>
                </c:pt>
                <c:pt idx="19">
                  <c:v>0.3648</c:v>
                </c:pt>
                <c:pt idx="20">
                  <c:v>0.4264</c:v>
                </c:pt>
                <c:pt idx="21">
                  <c:v>0.4791</c:v>
                </c:pt>
                <c:pt idx="22">
                  <c:v>0.4293</c:v>
                </c:pt>
                <c:pt idx="23">
                  <c:v>0.2446</c:v>
                </c:pt>
              </c:numCache>
            </c:numRef>
          </c:xVal>
          <c:yVal>
            <c:numRef>
              <c:f>Sheet1!$B$2:$B$25</c:f>
              <c:numCache>
                <c:formatCode>General</c:formatCode>
                <c:ptCount val="24"/>
                <c:pt idx="0">
                  <c:v>20176.727272727272</c:v>
                </c:pt>
                <c:pt idx="1">
                  <c:v>5857.977272727273</c:v>
                </c:pt>
                <c:pt idx="2">
                  <c:v>17911.57</c:v>
                </c:pt>
                <c:pt idx="3">
                  <c:v>6243.686868686868</c:v>
                </c:pt>
                <c:pt idx="4">
                  <c:v>7410.282828282829</c:v>
                </c:pt>
                <c:pt idx="5">
                  <c:v>464.8142857142857</c:v>
                </c:pt>
                <c:pt idx="6">
                  <c:v>16275.387755102041</c:v>
                </c:pt>
                <c:pt idx="7">
                  <c:v>5635.011111111111</c:v>
                </c:pt>
                <c:pt idx="8">
                  <c:v>10927.284210526315</c:v>
                </c:pt>
                <c:pt idx="9">
                  <c:v>574.225</c:v>
                </c:pt>
                <c:pt idx="10">
                  <c:v>2016.586206896552</c:v>
                </c:pt>
                <c:pt idx="11">
                  <c:v>8247.145833333334</c:v>
                </c:pt>
                <c:pt idx="12">
                  <c:v>20997.565656565657</c:v>
                </c:pt>
                <c:pt idx="13">
                  <c:v>6186.218390804598</c:v>
                </c:pt>
                <c:pt idx="14">
                  <c:v>8871.60824742268</c:v>
                </c:pt>
                <c:pt idx="15">
                  <c:v>4356.843373493976</c:v>
                </c:pt>
                <c:pt idx="16">
                  <c:v>5263.666666666667</c:v>
                </c:pt>
                <c:pt idx="17">
                  <c:v>8367.65306122449</c:v>
                </c:pt>
                <c:pt idx="18">
                  <c:v>1613.590909090909</c:v>
                </c:pt>
                <c:pt idx="19">
                  <c:v>833.7349397590361</c:v>
                </c:pt>
                <c:pt idx="20">
                  <c:v>2456.7441860465115</c:v>
                </c:pt>
                <c:pt idx="21">
                  <c:v>1204.2388059701493</c:v>
                </c:pt>
                <c:pt idx="22">
                  <c:v>880.45</c:v>
                </c:pt>
                <c:pt idx="23">
                  <c:v>553.0857142857143</c:v>
                </c:pt>
              </c:numCache>
            </c:numRef>
          </c:yVal>
          <c:bubbleSize>
            <c:numRef>
              <c:f>Sheet1!$C$2:$C$25</c:f>
              <c:numCache>
                <c:formatCode>General</c:formatCode>
                <c:ptCount val="24"/>
                <c:pt idx="0">
                  <c:v>1229378.2704</c:v>
                </c:pt>
                <c:pt idx="1">
                  <c:v>294677.5556</c:v>
                </c:pt>
                <c:pt idx="2">
                  <c:v>1102724.8402</c:v>
                </c:pt>
                <c:pt idx="3">
                  <c:v>340046.8445</c:v>
                </c:pt>
                <c:pt idx="4">
                  <c:v>421246.15119999996</c:v>
                </c:pt>
                <c:pt idx="5">
                  <c:v>14702.586299999999</c:v>
                </c:pt>
                <c:pt idx="6">
                  <c:v>912804.1278000001</c:v>
                </c:pt>
                <c:pt idx="7">
                  <c:v>286561.2592</c:v>
                </c:pt>
                <c:pt idx="8">
                  <c:v>573696.2559</c:v>
                </c:pt>
                <c:pt idx="9">
                  <c:v>32418.2479</c:v>
                </c:pt>
                <c:pt idx="10">
                  <c:v>33307.8298</c:v>
                </c:pt>
                <c:pt idx="11">
                  <c:v>449521.4904999999</c:v>
                </c:pt>
                <c:pt idx="12">
                  <c:v>1242709.427</c:v>
                </c:pt>
                <c:pt idx="13">
                  <c:v>302695.39999999997</c:v>
                </c:pt>
                <c:pt idx="14">
                  <c:v>422865.65939999995</c:v>
                </c:pt>
                <c:pt idx="15">
                  <c:v>191507.8531</c:v>
                </c:pt>
                <c:pt idx="16">
                  <c:v>295907.8751</c:v>
                </c:pt>
                <c:pt idx="17">
                  <c:v>439809.19409999996</c:v>
                </c:pt>
                <c:pt idx="18">
                  <c:v>82541.7076</c:v>
                </c:pt>
                <c:pt idx="19">
                  <c:v>41666.6322</c:v>
                </c:pt>
                <c:pt idx="20">
                  <c:v>114864.4392</c:v>
                </c:pt>
                <c:pt idx="21">
                  <c:v>39835.8197</c:v>
                </c:pt>
                <c:pt idx="22">
                  <c:v>19049.4876</c:v>
                </c:pt>
                <c:pt idx="23">
                  <c:v>27723.0184</c:v>
                </c:pt>
              </c:numCache>
            </c:numRef>
          </c:bubbleSize>
          <c:bubble3D val="0"/>
          <c:extLst>
            <c:ext xmlns:c15="http://schemas.microsoft.com/office/drawing/2012/chart" uri="{02D57815-91ED-43cb-92C2-25804820EDAC}">
              <c15:datalabelsRange>
                <c15:f>Sheet1!$E$2:$E$50</c15:f>
                <c15:dlblRangeCache>
                  <c:ptCount val="49"/>
                  <c:pt idx="0">
                    <c:v>Findus Merluzzo Altro Findus Fish Bar 245GR</c:v>
                  </c:pt>
                  <c:pt idx="1">
                    <c:v>Findus Merluzzo D Alaska Chips Findus Big Burger 227GR</c:v>
                  </c:pt>
                  <c:pt idx="2">
                    <c:v>Findus Merluzzo D Alaska Standard Findus Big Burger 227GR</c:v>
                  </c:pt>
                  <c:pt idx="3">
                    <c:v>Findus Merluzzo E Spinaci Filetto Findus Croccole 300GR</c:v>
                  </c:pt>
                  <c:pt idx="4">
                    <c:v>Findus Merluzzo Filetto Findus Croccole 300GR</c:v>
                  </c:pt>
                  <c:pt idx="5">
                    <c:v>Findus Merluzzo Filetto Findus Croccole 600GR</c:v>
                  </c:pt>
                  <c:pt idx="6">
                    <c:v>Findus Merluzzo Filetto Findus Fish &amp; Crock 250GR</c:v>
                  </c:pt>
                  <c:pt idx="7">
                    <c:v>Findus Merluzzo Filetto Findus Fish Bar 240GR</c:v>
                  </c:pt>
                  <c:pt idx="8">
                    <c:v>Findus Merluzzo Semi Filetto Findus Croccole 300GR</c:v>
                  </c:pt>
                  <c:pt idx="9">
                    <c:v>Findus Merluzzo Senza Glutine Filetto Findus Croccole 250GR</c:v>
                  </c:pt>
                  <c:pt idx="10">
                    <c:v>Findus Platessa Filetto Findus Platessa 250GR</c:v>
                  </c:pt>
                  <c:pt idx="11">
                    <c:v>Findus Salmone Altro Findus Fish Bar 220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2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006140BE-2B0F-4A70-8279-BB1F537D7A1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170EFA62-399F-4698-B636-D7D4F7AFB2D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C85A996B-9644-40FD-814C-D063D86AB08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F8EBFDF5-53B2-49ED-8A59-7BB28248877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9F69C93F-4388-4149-8DA8-56B0A8E80EF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3DC9A642-29F4-4CD5-ACE9-6B84D72CFBD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9CD5FE1E-A635-4852-A214-748DA9A9D63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5-BFDA-4C69-8E79-A083B7EFBA29}"/>
                </c:ext>
              </c:extLst>
            </c:dLbl>
            <c:dLbl>
              <c:idx val="1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BFDA-4C69-8E79-A083B7EFBA29}"/>
                </c:ext>
              </c:extLst>
            </c:dLbl>
            <c:dLbl>
              <c:idx val="1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BFDA-4C69-8E79-A083B7EFBA29}"/>
                </c:ext>
              </c:extLst>
            </c:dLbl>
            <c:dLbl>
              <c:idx val="1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BFDA-4C69-8E79-A083B7EFBA29}"/>
                </c:ext>
              </c:extLst>
            </c:dLbl>
            <c:dLbl>
              <c:idx val="1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9-BFDA-4C69-8E79-A083B7EFBA29}"/>
                </c:ext>
              </c:extLst>
            </c:dLbl>
            <c:dLbl>
              <c:idx val="1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A-BFDA-4C69-8E79-A083B7EFBA29}"/>
                </c:ext>
              </c:extLst>
            </c:dLbl>
            <c:dLbl>
              <c:idx val="1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B-BFDA-4C69-8E79-A083B7EFBA29}"/>
                </c:ext>
              </c:extLst>
            </c:dLbl>
            <c:dLbl>
              <c:idx val="1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C-BFDA-4C69-8E79-A083B7EFBA29}"/>
                </c:ext>
              </c:extLst>
            </c:dLbl>
            <c:dLbl>
              <c:idx val="2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BFDA-4C69-8E79-A083B7EFBA29}"/>
                </c:ext>
              </c:extLst>
            </c:dLbl>
            <c:dLbl>
              <c:idx val="2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BFDA-4C69-8E79-A083B7EFBA29}"/>
                </c:ext>
              </c:extLst>
            </c:dLbl>
            <c:dLbl>
              <c:idx val="2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F-BFDA-4C69-8E79-A083B7EFBA29}"/>
                </c:ext>
              </c:extLst>
            </c:dLbl>
            <c:dLbl>
              <c:idx val="2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0-BFDA-4C69-8E79-A083B7EFBA29}"/>
                </c:ext>
              </c:extLst>
            </c:dLbl>
            <c:dLbl>
              <c:idx val="2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1-BFDA-4C69-8E79-A083B7EFBA29}"/>
                </c:ext>
              </c:extLst>
            </c:dLbl>
            <c:dLbl>
              <c:idx val="2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BFDA-4C69-8E79-A083B7EFBA29}"/>
                </c:ext>
              </c:extLst>
            </c:dLbl>
            <c:dLbl>
              <c:idx val="2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BFDA-4C69-8E79-A083B7EFBA29}"/>
                </c:ext>
              </c:extLst>
            </c:dLbl>
            <c:dLbl>
              <c:idx val="2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BFDA-4C69-8E79-A083B7EFBA29}"/>
                </c:ext>
              </c:extLst>
            </c:dLbl>
            <c:dLbl>
              <c:idx val="2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5-BFDA-4C69-8E79-A083B7EFBA29}"/>
                </c:ext>
              </c:extLst>
            </c:dLbl>
            <c:dLbl>
              <c:idx val="2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6-BFDA-4C69-8E79-A083B7EFBA29}"/>
                </c:ext>
              </c:extLst>
            </c:dLbl>
            <c:dLbl>
              <c:idx val="3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7-BFDA-4C69-8E79-A083B7EFBA29}"/>
                </c:ext>
              </c:extLst>
            </c:dLbl>
            <c:dLbl>
              <c:idx val="3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8-BFDA-4C69-8E79-A083B7EFBA29}"/>
                </c:ext>
              </c:extLst>
            </c:dLbl>
            <c:dLbl>
              <c:idx val="3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9-BFDA-4C69-8E79-A083B7EFBA29}"/>
                </c:ext>
              </c:extLst>
            </c:dLbl>
            <c:dLbl>
              <c:idx val="3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BFDA-4C69-8E79-A083B7EFBA29}"/>
                </c:ext>
              </c:extLst>
            </c:dLbl>
            <c:dLbl>
              <c:idx val="3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B-BFDA-4C69-8E79-A083B7EFBA29}"/>
                </c:ext>
              </c:extLst>
            </c:dLbl>
            <c:dLbl>
              <c:idx val="3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C-BFDA-4C69-8E79-A083B7EFBA29}"/>
                </c:ext>
              </c:extLst>
            </c:dLbl>
            <c:dLbl>
              <c:idx val="3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D-BFDA-4C69-8E79-A083B7EFBA29}"/>
                </c:ext>
              </c:extLst>
            </c:dLbl>
            <c:dLbl>
              <c:idx val="3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BFDA-4C69-8E79-A083B7EFBA29}"/>
                </c:ext>
              </c:extLst>
            </c:dLbl>
            <c:dLbl>
              <c:idx val="3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BFDA-4C69-8E79-A083B7EFBA29}"/>
                </c:ext>
              </c:extLst>
            </c:dLbl>
            <c:dLbl>
              <c:idx val="3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BFDA-4C69-8E79-A083B7EFBA29}"/>
                </c:ext>
              </c:extLst>
            </c:dLbl>
            <c:dLbl>
              <c:idx val="4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1-BFDA-4C69-8E79-A083B7EFBA29}"/>
                </c:ext>
              </c:extLst>
            </c:dLbl>
            <c:dLbl>
              <c:idx val="4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BFDA-4C69-8E79-A083B7EFBA29}"/>
                </c:ext>
              </c:extLst>
            </c:dLbl>
            <c:dLbl>
              <c:idx val="4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BFDA-4C69-8E79-A083B7EFBA29}"/>
                </c:ext>
              </c:extLst>
            </c:dLbl>
            <c:dLbl>
              <c:idx val="4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BFDA-4C69-8E79-A083B7EFBA29}"/>
                </c:ext>
              </c:extLst>
            </c:dLbl>
            <c:dLbl>
              <c:idx val="4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BFDA-4C69-8E79-A083B7EFBA29}"/>
                </c:ext>
              </c:extLst>
            </c:dLbl>
            <c:dLbl>
              <c:idx val="4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BFDA-4C69-8E79-A083B7EFBA29}"/>
                </c:ext>
              </c:extLst>
            </c:dLbl>
            <c:dLbl>
              <c:idx val="4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BFDA-4C69-8E79-A083B7EFBA29}"/>
                </c:ext>
              </c:extLst>
            </c:dLbl>
            <c:dLbl>
              <c:idx val="4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BFDA-4C69-8E79-A083B7EFBA29}"/>
                </c:ext>
              </c:extLst>
            </c:dLbl>
            <c:dLbl>
              <c:idx val="4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12</c:f>
              <c:numCache>
                <c:formatCode>General</c:formatCode>
                <c:ptCount val="11"/>
                <c:pt idx="0">
                  <c:v>0.3152</c:v>
                </c:pt>
                <c:pt idx="1">
                  <c:v>0.3415</c:v>
                </c:pt>
                <c:pt idx="2">
                  <c:v>0.4399</c:v>
                </c:pt>
                <c:pt idx="3">
                  <c:v>0.4881</c:v>
                </c:pt>
                <c:pt idx="4">
                  <c:v>0.4553</c:v>
                </c:pt>
                <c:pt idx="5">
                  <c:v>0.3307</c:v>
                </c:pt>
                <c:pt idx="6">
                  <c:v>0.4628</c:v>
                </c:pt>
                <c:pt idx="7">
                  <c:v>0.278</c:v>
                </c:pt>
                <c:pt idx="8">
                  <c:v>0.3501</c:v>
                </c:pt>
                <c:pt idx="9">
                  <c:v>0.3389</c:v>
                </c:pt>
                <c:pt idx="10">
                  <c:v>0.4654</c:v>
                </c:pt>
              </c:numCache>
            </c:numRef>
          </c:xVal>
          <c:yVal>
            <c:numRef>
              <c:f>Sheet1!$B$2:$B$12</c:f>
              <c:numCache>
                <c:formatCode>General</c:formatCode>
                <c:ptCount val="11"/>
                <c:pt idx="0">
                  <c:v>5841.94</c:v>
                </c:pt>
                <c:pt idx="1">
                  <c:v>5970.020202020202</c:v>
                </c:pt>
                <c:pt idx="2">
                  <c:v>772.4949494949495</c:v>
                </c:pt>
                <c:pt idx="3">
                  <c:v>58.203125</c:v>
                </c:pt>
                <c:pt idx="4">
                  <c:v>698.2873563218391</c:v>
                </c:pt>
                <c:pt idx="5">
                  <c:v>2915.26</c:v>
                </c:pt>
                <c:pt idx="6">
                  <c:v>474.734693877551</c:v>
                </c:pt>
                <c:pt idx="7">
                  <c:v>409.3829787234043</c:v>
                </c:pt>
                <c:pt idx="8">
                  <c:v>2549.27</c:v>
                </c:pt>
                <c:pt idx="9">
                  <c:v>3761.1111111111113</c:v>
                </c:pt>
                <c:pt idx="10">
                  <c:v>614.6363636363636</c:v>
                </c:pt>
              </c:numCache>
            </c:numRef>
          </c:yVal>
          <c:bubbleSize>
            <c:numRef>
              <c:f>Sheet1!$C$2:$C$12</c:f>
              <c:numCache>
                <c:formatCode>General</c:formatCode>
                <c:ptCount val="11"/>
                <c:pt idx="0">
                  <c:v>379175.70080000005</c:v>
                </c:pt>
                <c:pt idx="1">
                  <c:v>368896.3247</c:v>
                </c:pt>
                <c:pt idx="2">
                  <c:v>40602.4251</c:v>
                </c:pt>
                <c:pt idx="3">
                  <c:v>1807.5120000000002</c:v>
                </c:pt>
                <c:pt idx="4">
                  <c:v>31366.428200000002</c:v>
                </c:pt>
                <c:pt idx="5">
                  <c:v>184947.85040000002</c:v>
                </c:pt>
                <c:pt idx="6">
                  <c:v>23688.715</c:v>
                </c:pt>
                <c:pt idx="7">
                  <c:v>26336.5182</c:v>
                </c:pt>
                <c:pt idx="8">
                  <c:v>157027.87370000003</c:v>
                </c:pt>
                <c:pt idx="9">
                  <c:v>233330.66369999998</c:v>
                </c:pt>
                <c:pt idx="10">
                  <c:v>27407.7202</c:v>
                </c:pt>
              </c:numCache>
            </c:numRef>
          </c:bubbleSize>
          <c:bubble3D val="0"/>
          <c:extLst>
            <c:ext xmlns:c15="http://schemas.microsoft.com/office/drawing/2012/chart" uri="{02D57815-91ED-43cb-92C2-25804820EDAC}">
              <c15:datalabelsRange>
                <c15:f>Sheet1!$E$2:$E$50</c15:f>
                <c15:dlblRangeCache>
                  <c:ptCount val="49"/>
                  <c:pt idx="0">
                    <c:v>Findus Merluzzo Altro Findus Fish Bar 245GR</c:v>
                  </c:pt>
                  <c:pt idx="1">
                    <c:v>Findus Merluzzo D Alaska Chips Findus Big Burger 227GR</c:v>
                  </c:pt>
                  <c:pt idx="2">
                    <c:v>Findus Merluzzo D Alaska Standard Findus Big Burger 227GR</c:v>
                  </c:pt>
                  <c:pt idx="3">
                    <c:v>Findus Merluzzo E Spinaci Filetto Findus Croccole 300GR</c:v>
                  </c:pt>
                  <c:pt idx="4">
                    <c:v>Findus Merluzzo Filetto Findus Croccole 300GR</c:v>
                  </c:pt>
                  <c:pt idx="5">
                    <c:v>Findus Merluzzo Filetto Findus Croccole 600GR</c:v>
                  </c:pt>
                  <c:pt idx="6">
                    <c:v>Findus Merluzzo Filetto Findus Fish &amp; Crock 250GR</c:v>
                  </c:pt>
                  <c:pt idx="7">
                    <c:v>Findus Merluzzo Filetto Findus Fish Bar 240GR</c:v>
                  </c:pt>
                  <c:pt idx="8">
                    <c:v>Findus Merluzzo Semi Filetto Findus Croccole 300GR</c:v>
                  </c:pt>
                  <c:pt idx="9">
                    <c:v>Findus Merluzzo Senza Glutine Filetto Findus Croccole 250GR</c:v>
                  </c:pt>
                  <c:pt idx="10">
                    <c:v>Findus Platessa Filetto Findus Platessa 250GR</c:v>
                  </c:pt>
                  <c:pt idx="11">
                    <c:v>Findus Salmone Altro Findus Fish Bar 220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2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B3D80450-8761-4580-98E4-C2467EB85F7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6CDB43E2-EA5C-47F5-B3B3-36E699945C1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08383E0B-BADA-4DA9-81AB-3F2025BFA67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BEB98847-28FA-4BA3-BCD3-9788A394F86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54577DD8-6F1B-44ED-AE21-B612D6825FF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78DBF0CB-6D7B-4734-80F1-FBD718FD1B1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2A6953B3-D250-44FA-85CB-00ABDDDD18D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5-BFDA-4C69-8E79-A083B7EFBA29}"/>
                </c:ext>
              </c:extLst>
            </c:dLbl>
            <c:dLbl>
              <c:idx val="1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BFDA-4C69-8E79-A083B7EFBA29}"/>
                </c:ext>
              </c:extLst>
            </c:dLbl>
            <c:dLbl>
              <c:idx val="1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BFDA-4C69-8E79-A083B7EFBA29}"/>
                </c:ext>
              </c:extLst>
            </c:dLbl>
            <c:dLbl>
              <c:idx val="1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BFDA-4C69-8E79-A083B7EFBA29}"/>
                </c:ext>
              </c:extLst>
            </c:dLbl>
            <c:dLbl>
              <c:idx val="1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9-BFDA-4C69-8E79-A083B7EFBA29}"/>
                </c:ext>
              </c:extLst>
            </c:dLbl>
            <c:dLbl>
              <c:idx val="1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A-BFDA-4C69-8E79-A083B7EFBA29}"/>
                </c:ext>
              </c:extLst>
            </c:dLbl>
            <c:dLbl>
              <c:idx val="1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B-BFDA-4C69-8E79-A083B7EFBA29}"/>
                </c:ext>
              </c:extLst>
            </c:dLbl>
            <c:dLbl>
              <c:idx val="1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C-BFDA-4C69-8E79-A083B7EFBA29}"/>
                </c:ext>
              </c:extLst>
            </c:dLbl>
            <c:dLbl>
              <c:idx val="2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BFDA-4C69-8E79-A083B7EFBA29}"/>
                </c:ext>
              </c:extLst>
            </c:dLbl>
            <c:dLbl>
              <c:idx val="2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BFDA-4C69-8E79-A083B7EFBA29}"/>
                </c:ext>
              </c:extLst>
            </c:dLbl>
            <c:dLbl>
              <c:idx val="2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F-BFDA-4C69-8E79-A083B7EFBA29}"/>
                </c:ext>
              </c:extLst>
            </c:dLbl>
            <c:dLbl>
              <c:idx val="2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0-BFDA-4C69-8E79-A083B7EFBA29}"/>
                </c:ext>
              </c:extLst>
            </c:dLbl>
            <c:dLbl>
              <c:idx val="2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1-BFDA-4C69-8E79-A083B7EFBA29}"/>
                </c:ext>
              </c:extLst>
            </c:dLbl>
            <c:dLbl>
              <c:idx val="2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BFDA-4C69-8E79-A083B7EFBA29}"/>
                </c:ext>
              </c:extLst>
            </c:dLbl>
            <c:dLbl>
              <c:idx val="2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BFDA-4C69-8E79-A083B7EFBA29}"/>
                </c:ext>
              </c:extLst>
            </c:dLbl>
            <c:dLbl>
              <c:idx val="2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BFDA-4C69-8E79-A083B7EFBA29}"/>
                </c:ext>
              </c:extLst>
            </c:dLbl>
            <c:dLbl>
              <c:idx val="2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5-BFDA-4C69-8E79-A083B7EFBA29}"/>
                </c:ext>
              </c:extLst>
            </c:dLbl>
            <c:dLbl>
              <c:idx val="2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6-BFDA-4C69-8E79-A083B7EFBA29}"/>
                </c:ext>
              </c:extLst>
            </c:dLbl>
            <c:dLbl>
              <c:idx val="3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7-BFDA-4C69-8E79-A083B7EFBA29}"/>
                </c:ext>
              </c:extLst>
            </c:dLbl>
            <c:dLbl>
              <c:idx val="3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8-BFDA-4C69-8E79-A083B7EFBA29}"/>
                </c:ext>
              </c:extLst>
            </c:dLbl>
            <c:dLbl>
              <c:idx val="3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9-BFDA-4C69-8E79-A083B7EFBA29}"/>
                </c:ext>
              </c:extLst>
            </c:dLbl>
            <c:dLbl>
              <c:idx val="3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BFDA-4C69-8E79-A083B7EFBA29}"/>
                </c:ext>
              </c:extLst>
            </c:dLbl>
            <c:dLbl>
              <c:idx val="3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B-BFDA-4C69-8E79-A083B7EFBA29}"/>
                </c:ext>
              </c:extLst>
            </c:dLbl>
            <c:dLbl>
              <c:idx val="3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C-BFDA-4C69-8E79-A083B7EFBA29}"/>
                </c:ext>
              </c:extLst>
            </c:dLbl>
            <c:dLbl>
              <c:idx val="3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D-BFDA-4C69-8E79-A083B7EFBA29}"/>
                </c:ext>
              </c:extLst>
            </c:dLbl>
            <c:dLbl>
              <c:idx val="3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BFDA-4C69-8E79-A083B7EFBA29}"/>
                </c:ext>
              </c:extLst>
            </c:dLbl>
            <c:dLbl>
              <c:idx val="3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BFDA-4C69-8E79-A083B7EFBA29}"/>
                </c:ext>
              </c:extLst>
            </c:dLbl>
            <c:dLbl>
              <c:idx val="3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BFDA-4C69-8E79-A083B7EFBA29}"/>
                </c:ext>
              </c:extLst>
            </c:dLbl>
            <c:dLbl>
              <c:idx val="4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1-BFDA-4C69-8E79-A083B7EFBA29}"/>
                </c:ext>
              </c:extLst>
            </c:dLbl>
            <c:dLbl>
              <c:idx val="4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BFDA-4C69-8E79-A083B7EFBA29}"/>
                </c:ext>
              </c:extLst>
            </c:dLbl>
            <c:dLbl>
              <c:idx val="4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BFDA-4C69-8E79-A083B7EFBA29}"/>
                </c:ext>
              </c:extLst>
            </c:dLbl>
            <c:dLbl>
              <c:idx val="4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BFDA-4C69-8E79-A083B7EFBA29}"/>
                </c:ext>
              </c:extLst>
            </c:dLbl>
            <c:dLbl>
              <c:idx val="4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BFDA-4C69-8E79-A083B7EFBA29}"/>
                </c:ext>
              </c:extLst>
            </c:dLbl>
            <c:dLbl>
              <c:idx val="4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BFDA-4C69-8E79-A083B7EFBA29}"/>
                </c:ext>
              </c:extLst>
            </c:dLbl>
            <c:dLbl>
              <c:idx val="4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BFDA-4C69-8E79-A083B7EFBA29}"/>
                </c:ext>
              </c:extLst>
            </c:dLbl>
            <c:dLbl>
              <c:idx val="4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BFDA-4C69-8E79-A083B7EFBA29}"/>
                </c:ext>
              </c:extLst>
            </c:dLbl>
            <c:dLbl>
              <c:idx val="4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9</c:f>
              <c:numCache>
                <c:formatCode>General</c:formatCode>
                <c:ptCount val="8"/>
                <c:pt idx="0">
                  <c:v>0.5355</c:v>
                </c:pt>
                <c:pt idx="1">
                  <c:v>0.4174</c:v>
                </c:pt>
                <c:pt idx="2">
                  <c:v>0.3991</c:v>
                </c:pt>
                <c:pt idx="3">
                  <c:v>0.3588</c:v>
                </c:pt>
                <c:pt idx="4">
                  <c:v>0.3351</c:v>
                </c:pt>
                <c:pt idx="5">
                  <c:v>0.2511</c:v>
                </c:pt>
                <c:pt idx="6">
                  <c:v>0.4148</c:v>
                </c:pt>
                <c:pt idx="7">
                  <c:v>0.4852</c:v>
                </c:pt>
              </c:numCache>
            </c:numRef>
          </c:xVal>
          <c:yVal>
            <c:numRef>
              <c:f>Sheet1!$B$2:$B$9</c:f>
              <c:numCache>
                <c:formatCode>General</c:formatCode>
                <c:ptCount val="8"/>
                <c:pt idx="0">
                  <c:v>817.8586956521739</c:v>
                </c:pt>
                <c:pt idx="1">
                  <c:v>1169.9072164948454</c:v>
                </c:pt>
                <c:pt idx="2">
                  <c:v>7702.77</c:v>
                </c:pt>
                <c:pt idx="3">
                  <c:v>6931.8</c:v>
                </c:pt>
                <c:pt idx="4">
                  <c:v>11429.494949494949</c:v>
                </c:pt>
                <c:pt idx="5">
                  <c:v>177.34375</c:v>
                </c:pt>
                <c:pt idx="6">
                  <c:v>2091.7979797979797</c:v>
                </c:pt>
                <c:pt idx="7">
                  <c:v>2261.183673469388</c:v>
                </c:pt>
              </c:numCache>
            </c:numRef>
          </c:yVal>
          <c:bubbleSize>
            <c:numRef>
              <c:f>Sheet1!$C$2:$C$9</c:f>
              <c:numCache>
                <c:formatCode>General</c:formatCode>
                <c:ptCount val="8"/>
                <c:pt idx="0">
                  <c:v>33125.899600000004</c:v>
                </c:pt>
                <c:pt idx="1">
                  <c:v>62668.0704</c:v>
                </c:pt>
                <c:pt idx="2">
                  <c:v>438730.5022</c:v>
                </c:pt>
                <c:pt idx="3">
                  <c:v>421297.28959999996</c:v>
                </c:pt>
                <c:pt idx="4">
                  <c:v>713125.1897</c:v>
                </c:pt>
                <c:pt idx="5">
                  <c:v>4028.3973999999994</c:v>
                </c:pt>
                <c:pt idx="6">
                  <c:v>114869.08230000001</c:v>
                </c:pt>
                <c:pt idx="7">
                  <c:v>108131.18439999998</c:v>
                </c:pt>
              </c:numCache>
            </c:numRef>
          </c:bubbleSize>
          <c:bubble3D val="0"/>
          <c:extLst>
            <c:ext xmlns:c15="http://schemas.microsoft.com/office/drawing/2012/chart" uri="{02D57815-91ED-43cb-92C2-25804820EDAC}">
              <c15:datalabelsRange>
                <c15:f>Sheet1!$E$2:$E$50</c15:f>
                <c15:dlblRangeCache>
                  <c:ptCount val="49"/>
                  <c:pt idx="0">
                    <c:v>Findus Merluzzo Altro Findus Fish Bar 245GR</c:v>
                  </c:pt>
                  <c:pt idx="1">
                    <c:v>Findus Merluzzo D Alaska Chips Findus Big Burger 227GR</c:v>
                  </c:pt>
                  <c:pt idx="2">
                    <c:v>Findus Merluzzo D Alaska Standard Findus Big Burger 227GR</c:v>
                  </c:pt>
                  <c:pt idx="3">
                    <c:v>Findus Merluzzo E Spinaci Filetto Findus Croccole 300GR</c:v>
                  </c:pt>
                  <c:pt idx="4">
                    <c:v>Findus Merluzzo Filetto Findus Croccole 300GR</c:v>
                  </c:pt>
                  <c:pt idx="5">
                    <c:v>Findus Merluzzo Filetto Findus Croccole 600GR</c:v>
                  </c:pt>
                  <c:pt idx="6">
                    <c:v>Findus Merluzzo Filetto Findus Fish &amp; Crock 250GR</c:v>
                  </c:pt>
                  <c:pt idx="7">
                    <c:v>Findus Merluzzo Filetto Findus Fish Bar 240GR</c:v>
                  </c:pt>
                  <c:pt idx="8">
                    <c:v>Findus Merluzzo Semi Filetto Findus Croccole 300GR</c:v>
                  </c:pt>
                  <c:pt idx="9">
                    <c:v>Findus Merluzzo Senza Glutine Filetto Findus Croccole 250GR</c:v>
                  </c:pt>
                  <c:pt idx="10">
                    <c:v>Findus Platessa Filetto Findus Platessa 250GR</c:v>
                  </c:pt>
                  <c:pt idx="11">
                    <c:v>Findus Salmone Altro Findus Fish Bar 220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2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BCDCEF50-4982-4DEA-B9C5-B21FECF5F70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02632D17-631F-4CA1-AF08-1F990F1B055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F7560F71-F156-4FC7-B8CE-B55D54DC61B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D7F85204-2F87-4C40-90DC-57A44CF970C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40DA3267-E5DF-4B2E-B86A-6F331FB1EF9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4C00CB36-22FA-41E3-91ED-530BC62EFBE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3B206A54-415B-4D53-B8E0-76A7B81D6BA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5-BFDA-4C69-8E79-A083B7EFBA29}"/>
                </c:ext>
              </c:extLst>
            </c:dLbl>
            <c:dLbl>
              <c:idx val="1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BFDA-4C69-8E79-A083B7EFBA29}"/>
                </c:ext>
              </c:extLst>
            </c:dLbl>
            <c:dLbl>
              <c:idx val="1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BFDA-4C69-8E79-A083B7EFBA29}"/>
                </c:ext>
              </c:extLst>
            </c:dLbl>
            <c:dLbl>
              <c:idx val="1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BFDA-4C69-8E79-A083B7EFBA29}"/>
                </c:ext>
              </c:extLst>
            </c:dLbl>
            <c:dLbl>
              <c:idx val="1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9-BFDA-4C69-8E79-A083B7EFBA29}"/>
                </c:ext>
              </c:extLst>
            </c:dLbl>
            <c:dLbl>
              <c:idx val="1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A-BFDA-4C69-8E79-A083B7EFBA29}"/>
                </c:ext>
              </c:extLst>
            </c:dLbl>
            <c:dLbl>
              <c:idx val="1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B-BFDA-4C69-8E79-A083B7EFBA29}"/>
                </c:ext>
              </c:extLst>
            </c:dLbl>
            <c:dLbl>
              <c:idx val="1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C-BFDA-4C69-8E79-A083B7EFBA29}"/>
                </c:ext>
              </c:extLst>
            </c:dLbl>
            <c:dLbl>
              <c:idx val="2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BFDA-4C69-8E79-A083B7EFBA29}"/>
                </c:ext>
              </c:extLst>
            </c:dLbl>
            <c:dLbl>
              <c:idx val="2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BFDA-4C69-8E79-A083B7EFBA29}"/>
                </c:ext>
              </c:extLst>
            </c:dLbl>
            <c:dLbl>
              <c:idx val="2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F-BFDA-4C69-8E79-A083B7EFBA29}"/>
                </c:ext>
              </c:extLst>
            </c:dLbl>
            <c:dLbl>
              <c:idx val="2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0-BFDA-4C69-8E79-A083B7EFBA29}"/>
                </c:ext>
              </c:extLst>
            </c:dLbl>
            <c:dLbl>
              <c:idx val="2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1-BFDA-4C69-8E79-A083B7EFBA29}"/>
                </c:ext>
              </c:extLst>
            </c:dLbl>
            <c:dLbl>
              <c:idx val="2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BFDA-4C69-8E79-A083B7EFBA29}"/>
                </c:ext>
              </c:extLst>
            </c:dLbl>
            <c:dLbl>
              <c:idx val="2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BFDA-4C69-8E79-A083B7EFBA29}"/>
                </c:ext>
              </c:extLst>
            </c:dLbl>
            <c:dLbl>
              <c:idx val="2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BFDA-4C69-8E79-A083B7EFBA29}"/>
                </c:ext>
              </c:extLst>
            </c:dLbl>
            <c:dLbl>
              <c:idx val="2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5-BFDA-4C69-8E79-A083B7EFBA29}"/>
                </c:ext>
              </c:extLst>
            </c:dLbl>
            <c:dLbl>
              <c:idx val="2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6-BFDA-4C69-8E79-A083B7EFBA29}"/>
                </c:ext>
              </c:extLst>
            </c:dLbl>
            <c:dLbl>
              <c:idx val="3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7-BFDA-4C69-8E79-A083B7EFBA29}"/>
                </c:ext>
              </c:extLst>
            </c:dLbl>
            <c:dLbl>
              <c:idx val="3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8-BFDA-4C69-8E79-A083B7EFBA29}"/>
                </c:ext>
              </c:extLst>
            </c:dLbl>
            <c:dLbl>
              <c:idx val="3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9-BFDA-4C69-8E79-A083B7EFBA29}"/>
                </c:ext>
              </c:extLst>
            </c:dLbl>
            <c:dLbl>
              <c:idx val="3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BFDA-4C69-8E79-A083B7EFBA29}"/>
                </c:ext>
              </c:extLst>
            </c:dLbl>
            <c:dLbl>
              <c:idx val="3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B-BFDA-4C69-8E79-A083B7EFBA29}"/>
                </c:ext>
              </c:extLst>
            </c:dLbl>
            <c:dLbl>
              <c:idx val="3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C-BFDA-4C69-8E79-A083B7EFBA29}"/>
                </c:ext>
              </c:extLst>
            </c:dLbl>
            <c:dLbl>
              <c:idx val="3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D-BFDA-4C69-8E79-A083B7EFBA29}"/>
                </c:ext>
              </c:extLst>
            </c:dLbl>
            <c:dLbl>
              <c:idx val="3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BFDA-4C69-8E79-A083B7EFBA29}"/>
                </c:ext>
              </c:extLst>
            </c:dLbl>
            <c:dLbl>
              <c:idx val="3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BFDA-4C69-8E79-A083B7EFBA29}"/>
                </c:ext>
              </c:extLst>
            </c:dLbl>
            <c:dLbl>
              <c:idx val="3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BFDA-4C69-8E79-A083B7EFBA29}"/>
                </c:ext>
              </c:extLst>
            </c:dLbl>
            <c:dLbl>
              <c:idx val="4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1-BFDA-4C69-8E79-A083B7EFBA29}"/>
                </c:ext>
              </c:extLst>
            </c:dLbl>
            <c:dLbl>
              <c:idx val="4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BFDA-4C69-8E79-A083B7EFBA29}"/>
                </c:ext>
              </c:extLst>
            </c:dLbl>
            <c:dLbl>
              <c:idx val="4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BFDA-4C69-8E79-A083B7EFBA29}"/>
                </c:ext>
              </c:extLst>
            </c:dLbl>
            <c:dLbl>
              <c:idx val="4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BFDA-4C69-8E79-A083B7EFBA29}"/>
                </c:ext>
              </c:extLst>
            </c:dLbl>
            <c:dLbl>
              <c:idx val="4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BFDA-4C69-8E79-A083B7EFBA29}"/>
                </c:ext>
              </c:extLst>
            </c:dLbl>
            <c:dLbl>
              <c:idx val="4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BFDA-4C69-8E79-A083B7EFBA29}"/>
                </c:ext>
              </c:extLst>
            </c:dLbl>
            <c:dLbl>
              <c:idx val="4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BFDA-4C69-8E79-A083B7EFBA29}"/>
                </c:ext>
              </c:extLst>
            </c:dLbl>
            <c:dLbl>
              <c:idx val="4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BFDA-4C69-8E79-A083B7EFBA29}"/>
                </c:ext>
              </c:extLst>
            </c:dLbl>
            <c:dLbl>
              <c:idx val="4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25</c:f>
              <c:numCache>
                <c:formatCode>General</c:formatCode>
                <c:ptCount val="24"/>
                <c:pt idx="0">
                  <c:v>0.3453</c:v>
                </c:pt>
                <c:pt idx="1">
                  <c:v>0.3748</c:v>
                </c:pt>
                <c:pt idx="2">
                  <c:v>0.3533</c:v>
                </c:pt>
                <c:pt idx="3">
                  <c:v>0.4141</c:v>
                </c:pt>
                <c:pt idx="4">
                  <c:v>0.3876</c:v>
                </c:pt>
                <c:pt idx="5">
                  <c:v>0.5716</c:v>
                </c:pt>
                <c:pt idx="6">
                  <c:v>0.4025</c:v>
                </c:pt>
                <c:pt idx="7">
                  <c:v>0.404</c:v>
                </c:pt>
                <c:pt idx="8">
                  <c:v>0.4194</c:v>
                </c:pt>
                <c:pt idx="9">
                  <c:v>0.2552</c:v>
                </c:pt>
                <c:pt idx="10">
                  <c:v>0.379</c:v>
                </c:pt>
                <c:pt idx="11">
                  <c:v>0.3842</c:v>
                </c:pt>
                <c:pt idx="12">
                  <c:v>0.3714</c:v>
                </c:pt>
                <c:pt idx="13">
                  <c:v>0.4071</c:v>
                </c:pt>
                <c:pt idx="14">
                  <c:v>0.466</c:v>
                </c:pt>
                <c:pt idx="15">
                  <c:v>0.4228</c:v>
                </c:pt>
                <c:pt idx="16">
                  <c:v>0.3719</c:v>
                </c:pt>
                <c:pt idx="17">
                  <c:v>0.4242</c:v>
                </c:pt>
                <c:pt idx="18">
                  <c:v>0.3709</c:v>
                </c:pt>
                <c:pt idx="19">
                  <c:v>0.3496</c:v>
                </c:pt>
                <c:pt idx="20">
                  <c:v>0.412</c:v>
                </c:pt>
                <c:pt idx="21">
                  <c:v>0.4653</c:v>
                </c:pt>
                <c:pt idx="22">
                  <c:v>0.4187</c:v>
                </c:pt>
                <c:pt idx="23">
                  <c:v>0.2445</c:v>
                </c:pt>
              </c:numCache>
            </c:numRef>
          </c:xVal>
          <c:yVal>
            <c:numRef>
              <c:f>Sheet1!$B$2:$B$25</c:f>
              <c:numCache>
                <c:formatCode>General</c:formatCode>
                <c:ptCount val="24"/>
                <c:pt idx="0">
                  <c:v>3513.05</c:v>
                </c:pt>
                <c:pt idx="1">
                  <c:v>819.71875</c:v>
                </c:pt>
                <c:pt idx="2">
                  <c:v>3000.58</c:v>
                </c:pt>
                <c:pt idx="3">
                  <c:v>982.89</c:v>
                </c:pt>
                <c:pt idx="4">
                  <c:v>1156.58</c:v>
                </c:pt>
                <c:pt idx="5">
                  <c:v>85.19565217391305</c:v>
                </c:pt>
                <c:pt idx="6">
                  <c:v>3316.959595959596</c:v>
                </c:pt>
                <c:pt idx="7">
                  <c:v>1040.5408163265306</c:v>
                </c:pt>
                <c:pt idx="8">
                  <c:v>2060.5151515151515</c:v>
                </c:pt>
                <c:pt idx="9">
                  <c:v>100.04166666666667</c:v>
                </c:pt>
                <c:pt idx="10">
                  <c:v>306.57142857142856</c:v>
                </c:pt>
                <c:pt idx="11">
                  <c:v>1363.8080808080808</c:v>
                </c:pt>
                <c:pt idx="12">
                  <c:v>4098.92</c:v>
                </c:pt>
                <c:pt idx="13">
                  <c:v>1431.0707070707072</c:v>
                </c:pt>
                <c:pt idx="14">
                  <c:v>1389.5656565656566</c:v>
                </c:pt>
                <c:pt idx="15">
                  <c:v>744.8673469387755</c:v>
                </c:pt>
                <c:pt idx="16">
                  <c:v>888.8282828282828</c:v>
                </c:pt>
                <c:pt idx="17">
                  <c:v>1429.39</c:v>
                </c:pt>
                <c:pt idx="18">
                  <c:v>310.11340206185565</c:v>
                </c:pt>
                <c:pt idx="19">
                  <c:v>137.64646464646464</c:v>
                </c:pt>
                <c:pt idx="20">
                  <c:v>472.06315789473683</c:v>
                </c:pt>
                <c:pt idx="21">
                  <c:v>197.19354838709677</c:v>
                </c:pt>
                <c:pt idx="22">
                  <c:v>106.42465753424658</c:v>
                </c:pt>
                <c:pt idx="23">
                  <c:v>83.18604651162791</c:v>
                </c:pt>
              </c:numCache>
            </c:numRef>
          </c:yVal>
          <c:bubbleSize>
            <c:numRef>
              <c:f>Sheet1!$C$2:$C$25</c:f>
              <c:numCache>
                <c:formatCode>General</c:formatCode>
                <c:ptCount val="24"/>
                <c:pt idx="0">
                  <c:v>217995.5344</c:v>
                </c:pt>
                <c:pt idx="1">
                  <c:v>46634.509099999996</c:v>
                </c:pt>
                <c:pt idx="2">
                  <c:v>183944.61229999998</c:v>
                </c:pt>
                <c:pt idx="3">
                  <c:v>54583.746999999996</c:v>
                </c:pt>
                <c:pt idx="4">
                  <c:v>67138.9672</c:v>
                </c:pt>
                <c:pt idx="5">
                  <c:v>3133.9797</c:v>
                </c:pt>
                <c:pt idx="6">
                  <c:v>185965.56900000002</c:v>
                </c:pt>
                <c:pt idx="7">
                  <c:v>57608.7796</c:v>
                </c:pt>
                <c:pt idx="8">
                  <c:v>112255.39539999998</c:v>
                </c:pt>
                <c:pt idx="9">
                  <c:v>6780.0874</c:v>
                </c:pt>
                <c:pt idx="10">
                  <c:v>12632.8769</c:v>
                </c:pt>
                <c:pt idx="11">
                  <c:v>78814.35209999999</c:v>
                </c:pt>
                <c:pt idx="12">
                  <c:v>244236.8179</c:v>
                </c:pt>
                <c:pt idx="13">
                  <c:v>79625.80200000001</c:v>
                </c:pt>
                <c:pt idx="14">
                  <c:v>69631.62839999999</c:v>
                </c:pt>
                <c:pt idx="15">
                  <c:v>39937.712700000004</c:v>
                </c:pt>
                <c:pt idx="16">
                  <c:v>52391.7181</c:v>
                </c:pt>
                <c:pt idx="17">
                  <c:v>78015.81190000002</c:v>
                </c:pt>
                <c:pt idx="18">
                  <c:v>17938.264600000002</c:v>
                </c:pt>
                <c:pt idx="19">
                  <c:v>8400.509100000001</c:v>
                </c:pt>
                <c:pt idx="20">
                  <c:v>24993.7191</c:v>
                </c:pt>
                <c:pt idx="21">
                  <c:v>9294.5678</c:v>
                </c:pt>
                <c:pt idx="22">
                  <c:v>4280.9481000000005</c:v>
                </c:pt>
                <c:pt idx="23">
                  <c:v>5123.0648</c:v>
                </c:pt>
              </c:numCache>
            </c:numRef>
          </c:bubbleSize>
          <c:bubble3D val="0"/>
          <c:extLst>
            <c:ext xmlns:c15="http://schemas.microsoft.com/office/drawing/2012/chart" uri="{02D57815-91ED-43cb-92C2-25804820EDAC}">
              <c15:datalabelsRange>
                <c15:f>Sheet1!$E$2:$E$50</c15:f>
                <c15:dlblRangeCache>
                  <c:ptCount val="49"/>
                  <c:pt idx="0">
                    <c:v>Findus Merluzzo Altro Findus Fish Bar 245GR</c:v>
                  </c:pt>
                  <c:pt idx="1">
                    <c:v>Findus Merluzzo D Alaska Chips Findus Big Burger 227GR</c:v>
                  </c:pt>
                  <c:pt idx="2">
                    <c:v>Findus Merluzzo D Alaska Standard Findus Big Burger 227GR</c:v>
                  </c:pt>
                  <c:pt idx="3">
                    <c:v>Findus Merluzzo E Spinaci Filetto Findus Croccole 300GR</c:v>
                  </c:pt>
                  <c:pt idx="4">
                    <c:v>Findus Merluzzo Filetto Findus Croccole 300GR</c:v>
                  </c:pt>
                  <c:pt idx="5">
                    <c:v>Findus Merluzzo Filetto Findus Croccole 600GR</c:v>
                  </c:pt>
                  <c:pt idx="6">
                    <c:v>Findus Merluzzo Filetto Findus Fish &amp; Crock 250GR</c:v>
                  </c:pt>
                  <c:pt idx="7">
                    <c:v>Findus Merluzzo Filetto Findus Fish Bar 240GR</c:v>
                  </c:pt>
                  <c:pt idx="8">
                    <c:v>Findus Merluzzo Semi Filetto Findus Croccole 300GR</c:v>
                  </c:pt>
                  <c:pt idx="9">
                    <c:v>Findus Merluzzo Senza Glutine Filetto Findus Croccole 250GR</c:v>
                  </c:pt>
                  <c:pt idx="10">
                    <c:v>Findus Platessa Filetto Findus Platessa 250GR</c:v>
                  </c:pt>
                  <c:pt idx="11">
                    <c:v>Findus Salmone Altro Findus Fish Bar 220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President</c:v>
                </c:pt>
                <c:pt idx="2">
                  <c:v>La Vache Qui Rit</c:v>
                </c:pt>
                <c:pt idx="3">
                  <c:v>Caprice Des Dieux</c:v>
                </c:pt>
                <c:pt idx="4">
                  <c:v>Soignon</c:v>
                </c:pt>
                <c:pt idx="5">
                  <c:v>St Moret</c:v>
                </c:pt>
                <c:pt idx="6">
                  <c:v>Kiri</c:v>
                </c:pt>
                <c:pt idx="7">
                  <c:v>Apericube</c:v>
                </c:pt>
                <c:pt idx="8">
                  <c:v>Boursin</c:v>
                </c:pt>
                <c:pt idx="9">
                  <c:v>Others</c:v>
                </c:pt>
              </c:strCache>
            </c:strRef>
          </c:cat>
          <c:val>
            <c:numRef>
              <c:f>Sheet1!$B$2:$B$11</c:f>
              <c:numCache>
                <c:formatCode>General</c:formatCode>
                <c:ptCount val="10"/>
                <c:pt idx="0">
                  <c:v>0.3673197916251659</c:v>
                </c:pt>
                <c:pt idx="1">
                  <c:v>0.05955406784728989</c:v>
                </c:pt>
                <c:pt idx="2">
                  <c:v>0.03191501438215263</c:v>
                </c:pt>
                <c:pt idx="3">
                  <c:v>0.02993246316638561</c:v>
                </c:pt>
                <c:pt idx="4">
                  <c:v>0.027669914154695812</c:v>
                </c:pt>
                <c:pt idx="5">
                  <c:v>0.026442658581571965</c:v>
                </c:pt>
                <c:pt idx="6">
                  <c:v>0.0223045351865745</c:v>
                </c:pt>
                <c:pt idx="7">
                  <c:v>0.02105720137066418</c:v>
                </c:pt>
                <c:pt idx="8">
                  <c:v>0.015562568362206703</c:v>
                </c:pt>
                <c:pt idx="9">
                  <c:v>0.398241785323292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President</c:v>
                </c:pt>
                <c:pt idx="2">
                  <c:v>La Vache Qui Rit</c:v>
                </c:pt>
                <c:pt idx="3">
                  <c:v>Caprice Des Dieux</c:v>
                </c:pt>
                <c:pt idx="4">
                  <c:v>Soignon</c:v>
                </c:pt>
                <c:pt idx="5">
                  <c:v>St Moret</c:v>
                </c:pt>
                <c:pt idx="6">
                  <c:v>Kiri</c:v>
                </c:pt>
                <c:pt idx="7">
                  <c:v>Apericube</c:v>
                </c:pt>
                <c:pt idx="8">
                  <c:v>Boursin</c:v>
                </c:pt>
                <c:pt idx="9">
                  <c:v>Others</c:v>
                </c:pt>
              </c:strCache>
            </c:strRef>
          </c:cat>
          <c:val>
            <c:numRef>
              <c:f>Sheet1!$C$2:$C$11</c:f>
              <c:numCache>
                <c:formatCode>General</c:formatCode>
                <c:ptCount val="10"/>
                <c:pt idx="0">
                  <c:v>0.1952605828547118</c:v>
                </c:pt>
                <c:pt idx="1">
                  <c:v>0.043675813656668803</c:v>
                </c:pt>
                <c:pt idx="2">
                  <c:v>0.011444373537545204</c:v>
                </c:pt>
                <c:pt idx="3">
                  <c:v>0.011767708998085514</c:v>
                </c:pt>
                <c:pt idx="4">
                  <c:v>0.018166347585620083</c:v>
                </c:pt>
                <c:pt idx="5">
                  <c:v>0.016958094022548397</c:v>
                </c:pt>
                <c:pt idx="6">
                  <c:v>0.010006381620931716</c:v>
                </c:pt>
                <c:pt idx="7">
                  <c:v>0.016209317166560308</c:v>
                </c:pt>
                <c:pt idx="8">
                  <c:v>0.021118910870027655</c:v>
                </c:pt>
                <c:pt idx="9">
                  <c:v>0.6553924696872988</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President</c:v>
                </c:pt>
                <c:pt idx="2">
                  <c:v>La Vache Qui Rit</c:v>
                </c:pt>
                <c:pt idx="3">
                  <c:v>Caprice Des Dieux</c:v>
                </c:pt>
                <c:pt idx="4">
                  <c:v>Soignon</c:v>
                </c:pt>
                <c:pt idx="5">
                  <c:v>St Moret</c:v>
                </c:pt>
                <c:pt idx="6">
                  <c:v>Kiri</c:v>
                </c:pt>
                <c:pt idx="7">
                  <c:v>Apericube</c:v>
                </c:pt>
                <c:pt idx="8">
                  <c:v>Boursin</c:v>
                </c:pt>
                <c:pt idx="9">
                  <c:v>Others</c:v>
                </c:pt>
              </c:strCache>
            </c:strRef>
          </c:cat>
          <c:val>
            <c:numRef>
              <c:f>Sheet1!$D$2:$D$11</c:f>
              <c:numCache>
                <c:formatCode>General</c:formatCode>
                <c:ptCount val="10"/>
                <c:pt idx="0">
                  <c:v>53.158198198578646</c:v>
                </c:pt>
                <c:pt idx="1">
                  <c:v>73.33808627256742</c:v>
                </c:pt>
                <c:pt idx="2">
                  <c:v>35.85890139515361</c:v>
                </c:pt>
                <c:pt idx="3">
                  <c:v>39.31420188399578</c:v>
                </c:pt>
                <c:pt idx="4">
                  <c:v>65.65379091549188</c:v>
                </c:pt>
                <c:pt idx="5">
                  <c:v>64.13157727781044</c:v>
                </c:pt>
                <c:pt idx="6">
                  <c:v>44.86254269470156</c:v>
                </c:pt>
                <c:pt idx="7">
                  <c:v>76.97754740163288</c:v>
                </c:pt>
                <c:pt idx="8">
                  <c:v>135.70324883721884</c:v>
                </c:pt>
                <c:pt idx="9">
                  <c:v>164.57149747740584</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Private Label</c:v>
                </c:pt>
                <c:pt idx="1">
                  <c:v>President</c:v>
                </c:pt>
                <c:pt idx="2">
                  <c:v>La Belle Etoile</c:v>
                </c:pt>
                <c:pt idx="3">
                  <c:v>Raguin</c:v>
                </c:pt>
                <c:pt idx="4">
                  <c:v>Boursin</c:v>
                </c:pt>
                <c:pt idx="5">
                  <c:v>La Vache Qui Rit</c:v>
                </c:pt>
                <c:pt idx="6">
                  <c:v>Others</c:v>
                </c:pt>
              </c:strCache>
            </c:strRef>
          </c:cat>
          <c:val>
            <c:numRef>
              <c:f>Sheet1!$B$2:$B$8</c:f>
              <c:numCache>
                <c:formatCode>General</c:formatCode>
                <c:ptCount val="7"/>
                <c:pt idx="0">
                  <c:v>0.4586227196344152</c:v>
                </c:pt>
                <c:pt idx="1">
                  <c:v>0.3705748163089378</c:v>
                </c:pt>
                <c:pt idx="2">
                  <c:v>0.0689471433402423</c:v>
                </c:pt>
                <c:pt idx="3">
                  <c:v>0.030232469767377007</c:v>
                </c:pt>
                <c:pt idx="4">
                  <c:v>0.019747066911153945</c:v>
                </c:pt>
                <c:pt idx="5">
                  <c:v>2.7733891320839598e-05</c:v>
                </c:pt>
                <c:pt idx="6">
                  <c:v>0.05184805014655293</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Private Label</c:v>
                </c:pt>
                <c:pt idx="1">
                  <c:v>President</c:v>
                </c:pt>
                <c:pt idx="2">
                  <c:v>La Belle Etoile</c:v>
                </c:pt>
                <c:pt idx="3">
                  <c:v>Raguin</c:v>
                </c:pt>
                <c:pt idx="4">
                  <c:v>Boursin</c:v>
                </c:pt>
                <c:pt idx="5">
                  <c:v>La Vache Qui Rit</c:v>
                </c:pt>
                <c:pt idx="6">
                  <c:v>Others</c:v>
                </c:pt>
              </c:strCache>
            </c:strRef>
          </c:cat>
          <c:val>
            <c:numRef>
              <c:f>Sheet1!$C$2:$C$8</c:f>
              <c:numCache>
                <c:formatCode>General</c:formatCode>
                <c:ptCount val="7"/>
                <c:pt idx="0">
                  <c:v>0.36032138442521633</c:v>
                </c:pt>
                <c:pt idx="1">
                  <c:v>0.29480840543881337</c:v>
                </c:pt>
                <c:pt idx="2">
                  <c:v>0.0642768850432633</c:v>
                </c:pt>
                <c:pt idx="3">
                  <c:v>0.023485784919653894</c:v>
                </c:pt>
                <c:pt idx="4">
                  <c:v>0.05438813349814586</c:v>
                </c:pt>
                <c:pt idx="5">
                  <c:v>0.0</c:v>
                </c:pt>
                <c:pt idx="6">
                  <c:v>0.2027194066749073</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Private Label</c:v>
                </c:pt>
                <c:pt idx="1">
                  <c:v>President</c:v>
                </c:pt>
                <c:pt idx="2">
                  <c:v>La Belle Etoile</c:v>
                </c:pt>
                <c:pt idx="3">
                  <c:v>Raguin</c:v>
                </c:pt>
                <c:pt idx="4">
                  <c:v>Boursin</c:v>
                </c:pt>
                <c:pt idx="5">
                  <c:v>La Vache Qui Rit</c:v>
                </c:pt>
                <c:pt idx="6">
                  <c:v>Others</c:v>
                </c:pt>
              </c:strCache>
            </c:strRef>
          </c:cat>
          <c:val>
            <c:numRef>
              <c:f>Sheet1!$D$2:$D$8</c:f>
              <c:numCache>
                <c:formatCode>General</c:formatCode>
                <c:ptCount val="7"/>
                <c:pt idx="0">
                  <c:v>78.56596915051254</c:v>
                </c:pt>
                <c:pt idx="1">
                  <c:v>79.55435514350762</c:v>
                </c:pt>
                <c:pt idx="2">
                  <c:v>93.22632081516116</c:v>
                </c:pt>
                <c:pt idx="3">
                  <c:v>77.68397719526287</c:v>
                </c:pt>
                <c:pt idx="4">
                  <c:v>275.42385784607455</c:v>
                </c:pt>
                <c:pt idx="5">
                  <c:v>1.0</c:v>
                </c:pt>
                <c:pt idx="6">
                  <c:v>390.987522388795</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3AD34BF2-D02A-44FE-8CDA-F3C69003C85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5167DF57-266E-44B0-855C-26AB641C806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2BF2CC47-E2C4-4A6F-B466-DCA2A94EE92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2AD1F97E-E801-4330-AA16-ADCA63005F5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F6329C83-200E-422B-8885-56FCA69ECD0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2AD5F406-8C48-4CC9-AB37-CF4020689C2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19E0AB8E-F6E6-41AE-A296-47DD4A78476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5-BFDA-4C69-8E79-A083B7EFBA29}"/>
                </c:ext>
              </c:extLst>
            </c:dLbl>
            <c:dLbl>
              <c:idx val="1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BFDA-4C69-8E79-A083B7EFBA29}"/>
                </c:ext>
              </c:extLst>
            </c:dLbl>
            <c:dLbl>
              <c:idx val="1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BFDA-4C69-8E79-A083B7EFBA29}"/>
                </c:ext>
              </c:extLst>
            </c:dLbl>
            <c:dLbl>
              <c:idx val="1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BFDA-4C69-8E79-A083B7EFBA29}"/>
                </c:ext>
              </c:extLst>
            </c:dLbl>
            <c:dLbl>
              <c:idx val="1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9-BFDA-4C69-8E79-A083B7EFBA29}"/>
                </c:ext>
              </c:extLst>
            </c:dLbl>
            <c:dLbl>
              <c:idx val="1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A-BFDA-4C69-8E79-A083B7EFBA29}"/>
                </c:ext>
              </c:extLst>
            </c:dLbl>
            <c:dLbl>
              <c:idx val="1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B-BFDA-4C69-8E79-A083B7EFBA29}"/>
                </c:ext>
              </c:extLst>
            </c:dLbl>
            <c:dLbl>
              <c:idx val="1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C-BFDA-4C69-8E79-A083B7EFBA29}"/>
                </c:ext>
              </c:extLst>
            </c:dLbl>
            <c:dLbl>
              <c:idx val="2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BFDA-4C69-8E79-A083B7EFBA29}"/>
                </c:ext>
              </c:extLst>
            </c:dLbl>
            <c:dLbl>
              <c:idx val="2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BFDA-4C69-8E79-A083B7EFBA29}"/>
                </c:ext>
              </c:extLst>
            </c:dLbl>
            <c:dLbl>
              <c:idx val="2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F-BFDA-4C69-8E79-A083B7EFBA29}"/>
                </c:ext>
              </c:extLst>
            </c:dLbl>
            <c:dLbl>
              <c:idx val="2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0-BFDA-4C69-8E79-A083B7EFBA29}"/>
                </c:ext>
              </c:extLst>
            </c:dLbl>
            <c:dLbl>
              <c:idx val="2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1-BFDA-4C69-8E79-A083B7EFBA29}"/>
                </c:ext>
              </c:extLst>
            </c:dLbl>
            <c:dLbl>
              <c:idx val="2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BFDA-4C69-8E79-A083B7EFBA29}"/>
                </c:ext>
              </c:extLst>
            </c:dLbl>
            <c:dLbl>
              <c:idx val="2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BFDA-4C69-8E79-A083B7EFBA29}"/>
                </c:ext>
              </c:extLst>
            </c:dLbl>
            <c:dLbl>
              <c:idx val="2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BFDA-4C69-8E79-A083B7EFBA29}"/>
                </c:ext>
              </c:extLst>
            </c:dLbl>
            <c:dLbl>
              <c:idx val="2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5-BFDA-4C69-8E79-A083B7EFBA29}"/>
                </c:ext>
              </c:extLst>
            </c:dLbl>
            <c:dLbl>
              <c:idx val="2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6-BFDA-4C69-8E79-A083B7EFBA29}"/>
                </c:ext>
              </c:extLst>
            </c:dLbl>
            <c:dLbl>
              <c:idx val="3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7-BFDA-4C69-8E79-A083B7EFBA29}"/>
                </c:ext>
              </c:extLst>
            </c:dLbl>
            <c:dLbl>
              <c:idx val="3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8-BFDA-4C69-8E79-A083B7EFBA29}"/>
                </c:ext>
              </c:extLst>
            </c:dLbl>
            <c:dLbl>
              <c:idx val="3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9-BFDA-4C69-8E79-A083B7EFBA29}"/>
                </c:ext>
              </c:extLst>
            </c:dLbl>
            <c:dLbl>
              <c:idx val="3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BFDA-4C69-8E79-A083B7EFBA29}"/>
                </c:ext>
              </c:extLst>
            </c:dLbl>
            <c:dLbl>
              <c:idx val="3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B-BFDA-4C69-8E79-A083B7EFBA29}"/>
                </c:ext>
              </c:extLst>
            </c:dLbl>
            <c:dLbl>
              <c:idx val="3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C-BFDA-4C69-8E79-A083B7EFBA29}"/>
                </c:ext>
              </c:extLst>
            </c:dLbl>
            <c:dLbl>
              <c:idx val="3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D-BFDA-4C69-8E79-A083B7EFBA29}"/>
                </c:ext>
              </c:extLst>
            </c:dLbl>
            <c:dLbl>
              <c:idx val="3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BFDA-4C69-8E79-A083B7EFBA29}"/>
                </c:ext>
              </c:extLst>
            </c:dLbl>
            <c:dLbl>
              <c:idx val="3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BFDA-4C69-8E79-A083B7EFBA29}"/>
                </c:ext>
              </c:extLst>
            </c:dLbl>
            <c:dLbl>
              <c:idx val="3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BFDA-4C69-8E79-A083B7EFBA29}"/>
                </c:ext>
              </c:extLst>
            </c:dLbl>
            <c:dLbl>
              <c:idx val="4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1-BFDA-4C69-8E79-A083B7EFBA29}"/>
                </c:ext>
              </c:extLst>
            </c:dLbl>
            <c:dLbl>
              <c:idx val="4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BFDA-4C69-8E79-A083B7EFBA29}"/>
                </c:ext>
              </c:extLst>
            </c:dLbl>
            <c:dLbl>
              <c:idx val="4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BFDA-4C69-8E79-A083B7EFBA29}"/>
                </c:ext>
              </c:extLst>
            </c:dLbl>
            <c:dLbl>
              <c:idx val="4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BFDA-4C69-8E79-A083B7EFBA29}"/>
                </c:ext>
              </c:extLst>
            </c:dLbl>
            <c:dLbl>
              <c:idx val="4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BFDA-4C69-8E79-A083B7EFBA29}"/>
                </c:ext>
              </c:extLst>
            </c:dLbl>
            <c:dLbl>
              <c:idx val="4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BFDA-4C69-8E79-A083B7EFBA29}"/>
                </c:ext>
              </c:extLst>
            </c:dLbl>
            <c:dLbl>
              <c:idx val="4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BFDA-4C69-8E79-A083B7EFBA29}"/>
                </c:ext>
              </c:extLst>
            </c:dLbl>
            <c:dLbl>
              <c:idx val="4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BFDA-4C69-8E79-A083B7EFBA29}"/>
                </c:ext>
              </c:extLst>
            </c:dLbl>
            <c:dLbl>
              <c:idx val="4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11</c:f>
              <c:numCache>
                <c:formatCode>General</c:formatCode>
                <c:ptCount val="10"/>
                <c:pt idx="0">
                  <c:v>0.3498</c:v>
                </c:pt>
                <c:pt idx="1">
                  <c:v>0.39</c:v>
                </c:pt>
                <c:pt idx="2">
                  <c:v>0.5003</c:v>
                </c:pt>
                <c:pt idx="3">
                  <c:v>0.5202</c:v>
                </c:pt>
                <c:pt idx="4">
                  <c:v>0.385</c:v>
                </c:pt>
                <c:pt idx="5">
                  <c:v>0.4907</c:v>
                </c:pt>
                <c:pt idx="6">
                  <c:v>0.2812</c:v>
                </c:pt>
                <c:pt idx="7">
                  <c:v>0.3975</c:v>
                </c:pt>
                <c:pt idx="8">
                  <c:v>0.3967</c:v>
                </c:pt>
                <c:pt idx="9">
                  <c:v>0.5083</c:v>
                </c:pt>
              </c:numCache>
            </c:numRef>
          </c:xVal>
          <c:yVal>
            <c:numRef>
              <c:f>Sheet1!$B$2:$B$11</c:f>
              <c:numCache>
                <c:formatCode>General</c:formatCode>
                <c:ptCount val="10"/>
                <c:pt idx="0">
                  <c:v>6595.729411764706</c:v>
                </c:pt>
                <c:pt idx="1">
                  <c:v>5199.807692307692</c:v>
                </c:pt>
                <c:pt idx="2">
                  <c:v>1130.9545454545455</c:v>
                </c:pt>
                <c:pt idx="3">
                  <c:v>1752.774193548387</c:v>
                </c:pt>
                <c:pt idx="4">
                  <c:v>4358.739130434783</c:v>
                </c:pt>
                <c:pt idx="5">
                  <c:v>423.2</c:v>
                </c:pt>
                <c:pt idx="6">
                  <c:v>593.8813559322034</c:v>
                </c:pt>
                <c:pt idx="7">
                  <c:v>3563.9444444444443</c:v>
                </c:pt>
                <c:pt idx="8">
                  <c:v>3449.8529411764707</c:v>
                </c:pt>
                <c:pt idx="9">
                  <c:v>829.6315789473684</c:v>
                </c:pt>
              </c:numCache>
            </c:numRef>
          </c:yVal>
          <c:bubbleSize>
            <c:numRef>
              <c:f>Sheet1!$C$2:$C$11</c:f>
              <c:numCache>
                <c:formatCode>General</c:formatCode>
                <c:ptCount val="10"/>
                <c:pt idx="0">
                  <c:v>345514.6986</c:v>
                </c:pt>
                <c:pt idx="1">
                  <c:v>156333.39620000002</c:v>
                </c:pt>
                <c:pt idx="2">
                  <c:v>23568.027800000003</c:v>
                </c:pt>
                <c:pt idx="3">
                  <c:v>24710.5134</c:v>
                </c:pt>
                <c:pt idx="4">
                  <c:v>233765.80310000002</c:v>
                </c:pt>
                <c:pt idx="5">
                  <c:v>10215.879399999998</c:v>
                </c:pt>
                <c:pt idx="6">
                  <c:v>23873.965799999998</c:v>
                </c:pt>
                <c:pt idx="7">
                  <c:v>183192.46180000002</c:v>
                </c:pt>
                <c:pt idx="8">
                  <c:v>134155.1481</c:v>
                </c:pt>
                <c:pt idx="9">
                  <c:v>14691.8452</c:v>
                </c:pt>
              </c:numCache>
            </c:numRef>
          </c:bubbleSize>
          <c:bubble3D val="0"/>
          <c:extLst>
            <c:ext xmlns:c15="http://schemas.microsoft.com/office/drawing/2012/chart" uri="{02D57815-91ED-43cb-92C2-25804820EDAC}">
              <c15:datalabelsRange>
                <c15:f>Sheet1!$E$2:$E$50</c15:f>
                <c15:dlblRangeCache>
                  <c:ptCount val="49"/>
                  <c:pt idx="0">
                    <c:v>Findus Merluzzo Altro Findus Fish Bar 245GR</c:v>
                  </c:pt>
                  <c:pt idx="1">
                    <c:v>Findus Merluzzo D Alaska Chips Findus Big Burger 227GR</c:v>
                  </c:pt>
                  <c:pt idx="2">
                    <c:v>Findus Merluzzo D Alaska Standard Findus Big Burger 227GR</c:v>
                  </c:pt>
                  <c:pt idx="3">
                    <c:v>Findus Merluzzo E Spinaci Filetto Findus Croccole 300GR</c:v>
                  </c:pt>
                  <c:pt idx="4">
                    <c:v>Findus Merluzzo Filetto Findus Croccole 300GR</c:v>
                  </c:pt>
                  <c:pt idx="5">
                    <c:v>Findus Merluzzo Filetto Findus Croccole 600GR</c:v>
                  </c:pt>
                  <c:pt idx="6">
                    <c:v>Findus Merluzzo Filetto Findus Fish &amp; Crock 250GR</c:v>
                  </c:pt>
                  <c:pt idx="7">
                    <c:v>Findus Merluzzo Filetto Findus Fish Bar 240GR</c:v>
                  </c:pt>
                  <c:pt idx="8">
                    <c:v>Findus Merluzzo Semi Filetto Findus Croccole 300GR</c:v>
                  </c:pt>
                  <c:pt idx="9">
                    <c:v>Findus Merluzzo Senza Glutine Filetto Findus Croccole 250GR</c:v>
                  </c:pt>
                  <c:pt idx="10">
                    <c:v>Findus Platessa Filetto Findus Platessa 250GR</c:v>
                  </c:pt>
                  <c:pt idx="11">
                    <c:v>Findus Salmone Altro Findus Fish Bar 220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3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952EE506-C9F4-472C-BEBB-11635E1A6AE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A7208872-5BB8-4443-B2E0-E09E0D87EB9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365B18EA-D24B-495D-B6B0-0A75A810454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0ECB6CB5-AA2A-4D14-B473-25F0C2B115A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282CC72D-B937-4028-B01A-E49AEAA3E49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A5EBE491-1534-43F4-A4B2-E09C567A6CB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B3088582-38F1-4294-9F3C-51DF896380C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5-BFDA-4C69-8E79-A083B7EFBA29}"/>
                </c:ext>
              </c:extLst>
            </c:dLbl>
            <c:dLbl>
              <c:idx val="1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BFDA-4C69-8E79-A083B7EFBA29}"/>
                </c:ext>
              </c:extLst>
            </c:dLbl>
            <c:dLbl>
              <c:idx val="1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BFDA-4C69-8E79-A083B7EFBA29}"/>
                </c:ext>
              </c:extLst>
            </c:dLbl>
            <c:dLbl>
              <c:idx val="1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BFDA-4C69-8E79-A083B7EFBA29}"/>
                </c:ext>
              </c:extLst>
            </c:dLbl>
            <c:dLbl>
              <c:idx val="1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9-BFDA-4C69-8E79-A083B7EFBA29}"/>
                </c:ext>
              </c:extLst>
            </c:dLbl>
            <c:dLbl>
              <c:idx val="1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A-BFDA-4C69-8E79-A083B7EFBA29}"/>
                </c:ext>
              </c:extLst>
            </c:dLbl>
            <c:dLbl>
              <c:idx val="1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B-BFDA-4C69-8E79-A083B7EFBA29}"/>
                </c:ext>
              </c:extLst>
            </c:dLbl>
            <c:dLbl>
              <c:idx val="1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C-BFDA-4C69-8E79-A083B7EFBA29}"/>
                </c:ext>
              </c:extLst>
            </c:dLbl>
            <c:dLbl>
              <c:idx val="2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BFDA-4C69-8E79-A083B7EFBA29}"/>
                </c:ext>
              </c:extLst>
            </c:dLbl>
            <c:dLbl>
              <c:idx val="2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BFDA-4C69-8E79-A083B7EFBA29}"/>
                </c:ext>
              </c:extLst>
            </c:dLbl>
            <c:dLbl>
              <c:idx val="2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F-BFDA-4C69-8E79-A083B7EFBA29}"/>
                </c:ext>
              </c:extLst>
            </c:dLbl>
            <c:dLbl>
              <c:idx val="2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0-BFDA-4C69-8E79-A083B7EFBA29}"/>
                </c:ext>
              </c:extLst>
            </c:dLbl>
            <c:dLbl>
              <c:idx val="2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1-BFDA-4C69-8E79-A083B7EFBA29}"/>
                </c:ext>
              </c:extLst>
            </c:dLbl>
            <c:dLbl>
              <c:idx val="2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BFDA-4C69-8E79-A083B7EFBA29}"/>
                </c:ext>
              </c:extLst>
            </c:dLbl>
            <c:dLbl>
              <c:idx val="2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BFDA-4C69-8E79-A083B7EFBA29}"/>
                </c:ext>
              </c:extLst>
            </c:dLbl>
            <c:dLbl>
              <c:idx val="2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BFDA-4C69-8E79-A083B7EFBA29}"/>
                </c:ext>
              </c:extLst>
            </c:dLbl>
            <c:dLbl>
              <c:idx val="2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5-BFDA-4C69-8E79-A083B7EFBA29}"/>
                </c:ext>
              </c:extLst>
            </c:dLbl>
            <c:dLbl>
              <c:idx val="2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6-BFDA-4C69-8E79-A083B7EFBA29}"/>
                </c:ext>
              </c:extLst>
            </c:dLbl>
            <c:dLbl>
              <c:idx val="3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7-BFDA-4C69-8E79-A083B7EFBA29}"/>
                </c:ext>
              </c:extLst>
            </c:dLbl>
            <c:dLbl>
              <c:idx val="3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8-BFDA-4C69-8E79-A083B7EFBA29}"/>
                </c:ext>
              </c:extLst>
            </c:dLbl>
            <c:dLbl>
              <c:idx val="3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9-BFDA-4C69-8E79-A083B7EFBA29}"/>
                </c:ext>
              </c:extLst>
            </c:dLbl>
            <c:dLbl>
              <c:idx val="3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BFDA-4C69-8E79-A083B7EFBA29}"/>
                </c:ext>
              </c:extLst>
            </c:dLbl>
            <c:dLbl>
              <c:idx val="3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B-BFDA-4C69-8E79-A083B7EFBA29}"/>
                </c:ext>
              </c:extLst>
            </c:dLbl>
            <c:dLbl>
              <c:idx val="3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C-BFDA-4C69-8E79-A083B7EFBA29}"/>
                </c:ext>
              </c:extLst>
            </c:dLbl>
            <c:dLbl>
              <c:idx val="3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D-BFDA-4C69-8E79-A083B7EFBA29}"/>
                </c:ext>
              </c:extLst>
            </c:dLbl>
            <c:dLbl>
              <c:idx val="3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BFDA-4C69-8E79-A083B7EFBA29}"/>
                </c:ext>
              </c:extLst>
            </c:dLbl>
            <c:dLbl>
              <c:idx val="3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BFDA-4C69-8E79-A083B7EFBA29}"/>
                </c:ext>
              </c:extLst>
            </c:dLbl>
            <c:dLbl>
              <c:idx val="3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BFDA-4C69-8E79-A083B7EFBA29}"/>
                </c:ext>
              </c:extLst>
            </c:dLbl>
            <c:dLbl>
              <c:idx val="4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1-BFDA-4C69-8E79-A083B7EFBA29}"/>
                </c:ext>
              </c:extLst>
            </c:dLbl>
            <c:dLbl>
              <c:idx val="4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BFDA-4C69-8E79-A083B7EFBA29}"/>
                </c:ext>
              </c:extLst>
            </c:dLbl>
            <c:dLbl>
              <c:idx val="4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BFDA-4C69-8E79-A083B7EFBA29}"/>
                </c:ext>
              </c:extLst>
            </c:dLbl>
            <c:dLbl>
              <c:idx val="4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BFDA-4C69-8E79-A083B7EFBA29}"/>
                </c:ext>
              </c:extLst>
            </c:dLbl>
            <c:dLbl>
              <c:idx val="4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BFDA-4C69-8E79-A083B7EFBA29}"/>
                </c:ext>
              </c:extLst>
            </c:dLbl>
            <c:dLbl>
              <c:idx val="4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BFDA-4C69-8E79-A083B7EFBA29}"/>
                </c:ext>
              </c:extLst>
            </c:dLbl>
            <c:dLbl>
              <c:idx val="4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BFDA-4C69-8E79-A083B7EFBA29}"/>
                </c:ext>
              </c:extLst>
            </c:dLbl>
            <c:dLbl>
              <c:idx val="4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BFDA-4C69-8E79-A083B7EFBA29}"/>
                </c:ext>
              </c:extLst>
            </c:dLbl>
            <c:dLbl>
              <c:idx val="4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8</c:f>
              <c:numCache>
                <c:formatCode>General</c:formatCode>
                <c:ptCount val="7"/>
                <c:pt idx="0">
                  <c:v>0.5693</c:v>
                </c:pt>
                <c:pt idx="1">
                  <c:v>0.4811</c:v>
                </c:pt>
                <c:pt idx="2">
                  <c:v>0.4052</c:v>
                </c:pt>
                <c:pt idx="3">
                  <c:v>0.3969</c:v>
                </c:pt>
                <c:pt idx="4">
                  <c:v>0.3743</c:v>
                </c:pt>
                <c:pt idx="5">
                  <c:v>0.462</c:v>
                </c:pt>
                <c:pt idx="6">
                  <c:v>0.5255</c:v>
                </c:pt>
              </c:numCache>
            </c:numRef>
          </c:xVal>
          <c:yVal>
            <c:numRef>
              <c:f>Sheet1!$B$2:$B$8</c:f>
              <c:numCache>
                <c:formatCode>General</c:formatCode>
                <c:ptCount val="7"/>
                <c:pt idx="0">
                  <c:v>985.5151515151515</c:v>
                </c:pt>
                <c:pt idx="1">
                  <c:v>1845.32</c:v>
                </c:pt>
                <c:pt idx="2">
                  <c:v>8872.061224489797</c:v>
                </c:pt>
                <c:pt idx="3">
                  <c:v>7117.838235294118</c:v>
                </c:pt>
                <c:pt idx="4">
                  <c:v>8935.823529411764</c:v>
                </c:pt>
                <c:pt idx="5">
                  <c:v>2128.3658536585367</c:v>
                </c:pt>
                <c:pt idx="6">
                  <c:v>1563.2619047619048</c:v>
                </c:pt>
              </c:numCache>
            </c:numRef>
          </c:yVal>
          <c:bubbleSize>
            <c:numRef>
              <c:f>Sheet1!$C$2:$C$8</c:f>
              <c:numCache>
                <c:formatCode>General</c:formatCode>
                <c:ptCount val="7"/>
                <c:pt idx="0">
                  <c:v>13276.983199999999</c:v>
                </c:pt>
                <c:pt idx="1">
                  <c:v>45377.7415</c:v>
                </c:pt>
                <c:pt idx="2">
                  <c:v>490201.80620000005</c:v>
                </c:pt>
                <c:pt idx="3">
                  <c:v>276688.60000000003</c:v>
                </c:pt>
                <c:pt idx="4">
                  <c:v>360405.01259999996</c:v>
                </c:pt>
                <c:pt idx="5">
                  <c:v>88865.2362</c:v>
                </c:pt>
                <c:pt idx="6">
                  <c:v>29532.624399999997</c:v>
                </c:pt>
              </c:numCache>
            </c:numRef>
          </c:bubbleSize>
          <c:bubble3D val="0"/>
          <c:extLst>
            <c:ext xmlns:c15="http://schemas.microsoft.com/office/drawing/2012/chart" uri="{02D57815-91ED-43cb-92C2-25804820EDAC}">
              <c15:datalabelsRange>
                <c15:f>Sheet1!$E$2:$E$50</c15:f>
                <c15:dlblRangeCache>
                  <c:ptCount val="49"/>
                  <c:pt idx="0">
                    <c:v>Findus Merluzzo Altro Findus Fish Bar 245GR</c:v>
                  </c:pt>
                  <c:pt idx="1">
                    <c:v>Findus Merluzzo D Alaska Chips Findus Big Burger 227GR</c:v>
                  </c:pt>
                  <c:pt idx="2">
                    <c:v>Findus Merluzzo D Alaska Standard Findus Big Burger 227GR</c:v>
                  </c:pt>
                  <c:pt idx="3">
                    <c:v>Findus Merluzzo E Spinaci Filetto Findus Croccole 300GR</c:v>
                  </c:pt>
                  <c:pt idx="4">
                    <c:v>Findus Merluzzo Filetto Findus Croccole 300GR</c:v>
                  </c:pt>
                  <c:pt idx="5">
                    <c:v>Findus Merluzzo Filetto Findus Croccole 600GR</c:v>
                  </c:pt>
                  <c:pt idx="6">
                    <c:v>Findus Merluzzo Filetto Findus Fish &amp; Crock 250GR</c:v>
                  </c:pt>
                  <c:pt idx="7">
                    <c:v>Findus Merluzzo Filetto Findus Fish Bar 240GR</c:v>
                  </c:pt>
                  <c:pt idx="8">
                    <c:v>Findus Merluzzo Semi Filetto Findus Croccole 300GR</c:v>
                  </c:pt>
                  <c:pt idx="9">
                    <c:v>Findus Merluzzo Senza Glutine Filetto Findus Croccole 250GR</c:v>
                  </c:pt>
                  <c:pt idx="10">
                    <c:v>Findus Platessa Filetto Findus Platessa 250GR</c:v>
                  </c:pt>
                  <c:pt idx="11">
                    <c:v>Findus Salmone Altro Findus Fish Bar 220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3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E446478F-C0FC-46B3-A796-DA83DC8674D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B440C581-65BB-4B2F-B19A-2354F5D5159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E1C2676A-1BCE-4762-AAEA-19D17598DF7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FE203E1D-0370-4322-98CC-0857F077763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DC8C83B3-6AF0-4BC2-AA17-800EF5C0556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5A5FBA19-CC5F-411E-9D4B-B367342EC4B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8EF520A8-EA72-482E-9036-41D51EBEE17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5-BFDA-4C69-8E79-A083B7EFBA29}"/>
                </c:ext>
              </c:extLst>
            </c:dLbl>
            <c:dLbl>
              <c:idx val="1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BFDA-4C69-8E79-A083B7EFBA29}"/>
                </c:ext>
              </c:extLst>
            </c:dLbl>
            <c:dLbl>
              <c:idx val="1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BFDA-4C69-8E79-A083B7EFBA29}"/>
                </c:ext>
              </c:extLst>
            </c:dLbl>
            <c:dLbl>
              <c:idx val="1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BFDA-4C69-8E79-A083B7EFBA29}"/>
                </c:ext>
              </c:extLst>
            </c:dLbl>
            <c:dLbl>
              <c:idx val="1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9-BFDA-4C69-8E79-A083B7EFBA29}"/>
                </c:ext>
              </c:extLst>
            </c:dLbl>
            <c:dLbl>
              <c:idx val="1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A-BFDA-4C69-8E79-A083B7EFBA29}"/>
                </c:ext>
              </c:extLst>
            </c:dLbl>
            <c:dLbl>
              <c:idx val="1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B-BFDA-4C69-8E79-A083B7EFBA29}"/>
                </c:ext>
              </c:extLst>
            </c:dLbl>
            <c:dLbl>
              <c:idx val="1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C-BFDA-4C69-8E79-A083B7EFBA29}"/>
                </c:ext>
              </c:extLst>
            </c:dLbl>
            <c:dLbl>
              <c:idx val="2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BFDA-4C69-8E79-A083B7EFBA29}"/>
                </c:ext>
              </c:extLst>
            </c:dLbl>
            <c:dLbl>
              <c:idx val="2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BFDA-4C69-8E79-A083B7EFBA29}"/>
                </c:ext>
              </c:extLst>
            </c:dLbl>
            <c:dLbl>
              <c:idx val="2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F-BFDA-4C69-8E79-A083B7EFBA29}"/>
                </c:ext>
              </c:extLst>
            </c:dLbl>
            <c:dLbl>
              <c:idx val="2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0-BFDA-4C69-8E79-A083B7EFBA29}"/>
                </c:ext>
              </c:extLst>
            </c:dLbl>
            <c:dLbl>
              <c:idx val="2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1-BFDA-4C69-8E79-A083B7EFBA29}"/>
                </c:ext>
              </c:extLst>
            </c:dLbl>
            <c:dLbl>
              <c:idx val="2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BFDA-4C69-8E79-A083B7EFBA29}"/>
                </c:ext>
              </c:extLst>
            </c:dLbl>
            <c:dLbl>
              <c:idx val="2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BFDA-4C69-8E79-A083B7EFBA29}"/>
                </c:ext>
              </c:extLst>
            </c:dLbl>
            <c:dLbl>
              <c:idx val="2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BFDA-4C69-8E79-A083B7EFBA29}"/>
                </c:ext>
              </c:extLst>
            </c:dLbl>
            <c:dLbl>
              <c:idx val="2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5-BFDA-4C69-8E79-A083B7EFBA29}"/>
                </c:ext>
              </c:extLst>
            </c:dLbl>
            <c:dLbl>
              <c:idx val="2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6-BFDA-4C69-8E79-A083B7EFBA29}"/>
                </c:ext>
              </c:extLst>
            </c:dLbl>
            <c:dLbl>
              <c:idx val="3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7-BFDA-4C69-8E79-A083B7EFBA29}"/>
                </c:ext>
              </c:extLst>
            </c:dLbl>
            <c:dLbl>
              <c:idx val="3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8-BFDA-4C69-8E79-A083B7EFBA29}"/>
                </c:ext>
              </c:extLst>
            </c:dLbl>
            <c:dLbl>
              <c:idx val="3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9-BFDA-4C69-8E79-A083B7EFBA29}"/>
                </c:ext>
              </c:extLst>
            </c:dLbl>
            <c:dLbl>
              <c:idx val="3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BFDA-4C69-8E79-A083B7EFBA29}"/>
                </c:ext>
              </c:extLst>
            </c:dLbl>
            <c:dLbl>
              <c:idx val="3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B-BFDA-4C69-8E79-A083B7EFBA29}"/>
                </c:ext>
              </c:extLst>
            </c:dLbl>
            <c:dLbl>
              <c:idx val="3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C-BFDA-4C69-8E79-A083B7EFBA29}"/>
                </c:ext>
              </c:extLst>
            </c:dLbl>
            <c:dLbl>
              <c:idx val="3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D-BFDA-4C69-8E79-A083B7EFBA29}"/>
                </c:ext>
              </c:extLst>
            </c:dLbl>
            <c:dLbl>
              <c:idx val="3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BFDA-4C69-8E79-A083B7EFBA29}"/>
                </c:ext>
              </c:extLst>
            </c:dLbl>
            <c:dLbl>
              <c:idx val="3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BFDA-4C69-8E79-A083B7EFBA29}"/>
                </c:ext>
              </c:extLst>
            </c:dLbl>
            <c:dLbl>
              <c:idx val="3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BFDA-4C69-8E79-A083B7EFBA29}"/>
                </c:ext>
              </c:extLst>
            </c:dLbl>
            <c:dLbl>
              <c:idx val="4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1-BFDA-4C69-8E79-A083B7EFBA29}"/>
                </c:ext>
              </c:extLst>
            </c:dLbl>
            <c:dLbl>
              <c:idx val="4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BFDA-4C69-8E79-A083B7EFBA29}"/>
                </c:ext>
              </c:extLst>
            </c:dLbl>
            <c:dLbl>
              <c:idx val="4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BFDA-4C69-8E79-A083B7EFBA29}"/>
                </c:ext>
              </c:extLst>
            </c:dLbl>
            <c:dLbl>
              <c:idx val="4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BFDA-4C69-8E79-A083B7EFBA29}"/>
                </c:ext>
              </c:extLst>
            </c:dLbl>
            <c:dLbl>
              <c:idx val="4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BFDA-4C69-8E79-A083B7EFBA29}"/>
                </c:ext>
              </c:extLst>
            </c:dLbl>
            <c:dLbl>
              <c:idx val="4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BFDA-4C69-8E79-A083B7EFBA29}"/>
                </c:ext>
              </c:extLst>
            </c:dLbl>
            <c:dLbl>
              <c:idx val="4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BFDA-4C69-8E79-A083B7EFBA29}"/>
                </c:ext>
              </c:extLst>
            </c:dLbl>
            <c:dLbl>
              <c:idx val="4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BFDA-4C69-8E79-A083B7EFBA29}"/>
                </c:ext>
              </c:extLst>
            </c:dLbl>
            <c:dLbl>
              <c:idx val="4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25</c:f>
              <c:numCache>
                <c:formatCode>General</c:formatCode>
                <c:ptCount val="24"/>
                <c:pt idx="0">
                  <c:v>0.3878</c:v>
                </c:pt>
                <c:pt idx="1">
                  <c:v>0.4331</c:v>
                </c:pt>
                <c:pt idx="2">
                  <c:v>0.3979</c:v>
                </c:pt>
                <c:pt idx="3">
                  <c:v>0.4774</c:v>
                </c:pt>
                <c:pt idx="4">
                  <c:v>0.4548</c:v>
                </c:pt>
                <c:pt idx="5">
                  <c:v>0.574</c:v>
                </c:pt>
                <c:pt idx="6">
                  <c:v>0.4397</c:v>
                </c:pt>
                <c:pt idx="7">
                  <c:v>0.4296</c:v>
                </c:pt>
                <c:pt idx="8">
                  <c:v>0.4558</c:v>
                </c:pt>
                <c:pt idx="9">
                  <c:v>0.2578</c:v>
                </c:pt>
                <c:pt idx="10">
                  <c:v>0.4683</c:v>
                </c:pt>
                <c:pt idx="11">
                  <c:v>0.4403</c:v>
                </c:pt>
                <c:pt idx="12">
                  <c:v>0.4085</c:v>
                </c:pt>
                <c:pt idx="13">
                  <c:v>0.4149</c:v>
                </c:pt>
                <c:pt idx="14">
                  <c:v>0.5175</c:v>
                </c:pt>
                <c:pt idx="15">
                  <c:v>0.4811</c:v>
                </c:pt>
                <c:pt idx="16">
                  <c:v>0.4395</c:v>
                </c:pt>
                <c:pt idx="17">
                  <c:v>0.4681</c:v>
                </c:pt>
                <c:pt idx="18">
                  <c:v>0.4219</c:v>
                </c:pt>
                <c:pt idx="19">
                  <c:v>0.388</c:v>
                </c:pt>
                <c:pt idx="20">
                  <c:v>0.4587</c:v>
                </c:pt>
                <c:pt idx="21">
                  <c:v>0.5122</c:v>
                </c:pt>
                <c:pt idx="22">
                  <c:v>0.4678</c:v>
                </c:pt>
                <c:pt idx="23">
                  <c:v>0.2473</c:v>
                </c:pt>
              </c:numCache>
            </c:numRef>
          </c:xVal>
          <c:yVal>
            <c:numRef>
              <c:f>Sheet1!$B$2:$B$25</c:f>
              <c:numCache>
                <c:formatCode>General</c:formatCode>
                <c:ptCount val="24"/>
                <c:pt idx="0">
                  <c:v>3907.088888888889</c:v>
                </c:pt>
                <c:pt idx="1">
                  <c:v>1571.2876712328766</c:v>
                </c:pt>
                <c:pt idx="2">
                  <c:v>3670.6632653061224</c:v>
                </c:pt>
                <c:pt idx="3">
                  <c:v>1491.433734939759</c:v>
                </c:pt>
                <c:pt idx="4">
                  <c:v>1809.314606741573</c:v>
                </c:pt>
                <c:pt idx="5">
                  <c:v>126.06060606060606</c:v>
                </c:pt>
                <c:pt idx="6">
                  <c:v>2936.211764705882</c:v>
                </c:pt>
                <c:pt idx="7">
                  <c:v>840.0877192982457</c:v>
                </c:pt>
                <c:pt idx="8">
                  <c:v>1739.3392857142856</c:v>
                </c:pt>
                <c:pt idx="9">
                  <c:v>144.11111111111111</c:v>
                </c:pt>
                <c:pt idx="10">
                  <c:v>734.4166666666666</c:v>
                </c:pt>
                <c:pt idx="11">
                  <c:v>1990.4594594594594</c:v>
                </c:pt>
                <c:pt idx="12">
                  <c:v>2690.9662921348313</c:v>
                </c:pt>
                <c:pt idx="13">
                  <c:v>806.3125</c:v>
                </c:pt>
                <c:pt idx="14">
                  <c:v>2365.864197530864</c:v>
                </c:pt>
                <c:pt idx="15">
                  <c:v>756.1086956521739</c:v>
                </c:pt>
                <c:pt idx="16">
                  <c:v>1149.7733333333333</c:v>
                </c:pt>
                <c:pt idx="17">
                  <c:v>1532.3294117647058</c:v>
                </c:pt>
                <c:pt idx="18">
                  <c:v>292.74468085106383</c:v>
                </c:pt>
                <c:pt idx="19">
                  <c:v>130.70731707317074</c:v>
                </c:pt>
                <c:pt idx="20">
                  <c:v>428.27906976744185</c:v>
                </c:pt>
                <c:pt idx="21">
                  <c:v>268.07142857142856</c:v>
                </c:pt>
                <c:pt idx="22">
                  <c:v>215.78571428571425</c:v>
                </c:pt>
                <c:pt idx="23">
                  <c:v>142.2941176470588</c:v>
                </c:pt>
              </c:numCache>
            </c:numRef>
          </c:yVal>
          <c:bubbleSize>
            <c:numRef>
              <c:f>Sheet1!$C$2:$C$25</c:f>
              <c:numCache>
                <c:formatCode>General</c:formatCode>
                <c:ptCount val="24"/>
                <c:pt idx="0">
                  <c:v>204011.4707</c:v>
                </c:pt>
                <c:pt idx="1">
                  <c:v>61635.58510000001</c:v>
                </c:pt>
                <c:pt idx="2">
                  <c:v>205291.0542</c:v>
                </c:pt>
                <c:pt idx="3">
                  <c:v>61319.443999999996</c:v>
                </c:pt>
                <c:pt idx="4">
                  <c:v>83208.5663</c:v>
                </c:pt>
                <c:pt idx="5">
                  <c:v>1546.954</c:v>
                </c:pt>
                <c:pt idx="6">
                  <c:v>132542.7621</c:v>
                </c:pt>
                <c:pt idx="7">
                  <c:v>25887.4668</c:v>
                </c:pt>
                <c:pt idx="8">
                  <c:v>50244.0439</c:v>
                </c:pt>
                <c:pt idx="9">
                  <c:v>1824.9044000000001</c:v>
                </c:pt>
                <c:pt idx="10">
                  <c:v>4441.479</c:v>
                </c:pt>
                <c:pt idx="11">
                  <c:v>78143.92979999998</c:v>
                </c:pt>
                <c:pt idx="12">
                  <c:v>134266.816</c:v>
                </c:pt>
                <c:pt idx="13">
                  <c:v>28617.798000000003</c:v>
                </c:pt>
                <c:pt idx="14">
                  <c:v>87648.74079999999</c:v>
                </c:pt>
                <c:pt idx="15">
                  <c:v>17106.4579</c:v>
                </c:pt>
                <c:pt idx="16">
                  <c:v>45811.4927</c:v>
                </c:pt>
                <c:pt idx="17">
                  <c:v>65663.78859999999</c:v>
                </c:pt>
                <c:pt idx="18">
                  <c:v>7539.2294</c:v>
                </c:pt>
                <c:pt idx="19">
                  <c:v>3108.8709</c:v>
                </c:pt>
                <c:pt idx="20">
                  <c:v>9448.2915</c:v>
                </c:pt>
                <c:pt idx="21">
                  <c:v>3470.5856</c:v>
                </c:pt>
                <c:pt idx="22">
                  <c:v>1524.0654000000002</c:v>
                </c:pt>
                <c:pt idx="23">
                  <c:v>1725.7632</c:v>
                </c:pt>
              </c:numCache>
            </c:numRef>
          </c:bubbleSize>
          <c:bubble3D val="0"/>
          <c:extLst>
            <c:ext xmlns:c15="http://schemas.microsoft.com/office/drawing/2012/chart" uri="{02D57815-91ED-43cb-92C2-25804820EDAC}">
              <c15:datalabelsRange>
                <c15:f>Sheet1!$E$2:$E$50</c15:f>
                <c15:dlblRangeCache>
                  <c:ptCount val="49"/>
                  <c:pt idx="0">
                    <c:v>Findus Merluzzo Altro Findus Fish Bar 245GR</c:v>
                  </c:pt>
                  <c:pt idx="1">
                    <c:v>Findus Merluzzo D Alaska Chips Findus Big Burger 227GR</c:v>
                  </c:pt>
                  <c:pt idx="2">
                    <c:v>Findus Merluzzo D Alaska Standard Findus Big Burger 227GR</c:v>
                  </c:pt>
                  <c:pt idx="3">
                    <c:v>Findus Merluzzo E Spinaci Filetto Findus Croccole 300GR</c:v>
                  </c:pt>
                  <c:pt idx="4">
                    <c:v>Findus Merluzzo Filetto Findus Croccole 300GR</c:v>
                  </c:pt>
                  <c:pt idx="5">
                    <c:v>Findus Merluzzo Filetto Findus Croccole 600GR</c:v>
                  </c:pt>
                  <c:pt idx="6">
                    <c:v>Findus Merluzzo Filetto Findus Fish &amp; Crock 250GR</c:v>
                  </c:pt>
                  <c:pt idx="7">
                    <c:v>Findus Merluzzo Filetto Findus Fish Bar 240GR</c:v>
                  </c:pt>
                  <c:pt idx="8">
                    <c:v>Findus Merluzzo Semi Filetto Findus Croccole 300GR</c:v>
                  </c:pt>
                  <c:pt idx="9">
                    <c:v>Findus Merluzzo Senza Glutine Filetto Findus Croccole 250GR</c:v>
                  </c:pt>
                  <c:pt idx="10">
                    <c:v>Findus Platessa Filetto Findus Platessa 250GR</c:v>
                  </c:pt>
                  <c:pt idx="11">
                    <c:v>Findus Salmone Altro Findus Fish Bar 220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3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B4655B9D-0731-4185-884F-88BC95B75EA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CBAFA1EB-AE3D-429A-8C6F-1DEE944C38B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6D566CBB-791D-4780-AD16-35039AD84B1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2CC62550-F8B1-4AF0-B591-F3DA5513C15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B726AF91-9A9D-4EB9-BCEB-59CC0C668E5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B8E2588A-3460-44B6-B922-BB730652728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71351E22-9E04-45D4-98EE-DA5ECE95C5E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5-BFDA-4C69-8E79-A083B7EFBA29}"/>
                </c:ext>
              </c:extLst>
            </c:dLbl>
            <c:dLbl>
              <c:idx val="1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BFDA-4C69-8E79-A083B7EFBA29}"/>
                </c:ext>
              </c:extLst>
            </c:dLbl>
            <c:dLbl>
              <c:idx val="1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BFDA-4C69-8E79-A083B7EFBA29}"/>
                </c:ext>
              </c:extLst>
            </c:dLbl>
            <c:dLbl>
              <c:idx val="1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BFDA-4C69-8E79-A083B7EFBA29}"/>
                </c:ext>
              </c:extLst>
            </c:dLbl>
            <c:dLbl>
              <c:idx val="1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9-BFDA-4C69-8E79-A083B7EFBA29}"/>
                </c:ext>
              </c:extLst>
            </c:dLbl>
            <c:dLbl>
              <c:idx val="1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A-BFDA-4C69-8E79-A083B7EFBA29}"/>
                </c:ext>
              </c:extLst>
            </c:dLbl>
            <c:dLbl>
              <c:idx val="1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B-BFDA-4C69-8E79-A083B7EFBA29}"/>
                </c:ext>
              </c:extLst>
            </c:dLbl>
            <c:dLbl>
              <c:idx val="1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C-BFDA-4C69-8E79-A083B7EFBA29}"/>
                </c:ext>
              </c:extLst>
            </c:dLbl>
            <c:dLbl>
              <c:idx val="2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BFDA-4C69-8E79-A083B7EFBA29}"/>
                </c:ext>
              </c:extLst>
            </c:dLbl>
            <c:dLbl>
              <c:idx val="2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BFDA-4C69-8E79-A083B7EFBA29}"/>
                </c:ext>
              </c:extLst>
            </c:dLbl>
            <c:dLbl>
              <c:idx val="2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F-BFDA-4C69-8E79-A083B7EFBA29}"/>
                </c:ext>
              </c:extLst>
            </c:dLbl>
            <c:dLbl>
              <c:idx val="2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0-BFDA-4C69-8E79-A083B7EFBA29}"/>
                </c:ext>
              </c:extLst>
            </c:dLbl>
            <c:dLbl>
              <c:idx val="2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1-BFDA-4C69-8E79-A083B7EFBA29}"/>
                </c:ext>
              </c:extLst>
            </c:dLbl>
            <c:dLbl>
              <c:idx val="2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BFDA-4C69-8E79-A083B7EFBA29}"/>
                </c:ext>
              </c:extLst>
            </c:dLbl>
            <c:dLbl>
              <c:idx val="2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BFDA-4C69-8E79-A083B7EFBA29}"/>
                </c:ext>
              </c:extLst>
            </c:dLbl>
            <c:dLbl>
              <c:idx val="2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BFDA-4C69-8E79-A083B7EFBA29}"/>
                </c:ext>
              </c:extLst>
            </c:dLbl>
            <c:dLbl>
              <c:idx val="2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5-BFDA-4C69-8E79-A083B7EFBA29}"/>
                </c:ext>
              </c:extLst>
            </c:dLbl>
            <c:dLbl>
              <c:idx val="2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6-BFDA-4C69-8E79-A083B7EFBA29}"/>
                </c:ext>
              </c:extLst>
            </c:dLbl>
            <c:dLbl>
              <c:idx val="3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7-BFDA-4C69-8E79-A083B7EFBA29}"/>
                </c:ext>
              </c:extLst>
            </c:dLbl>
            <c:dLbl>
              <c:idx val="3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8-BFDA-4C69-8E79-A083B7EFBA29}"/>
                </c:ext>
              </c:extLst>
            </c:dLbl>
            <c:dLbl>
              <c:idx val="3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9-BFDA-4C69-8E79-A083B7EFBA29}"/>
                </c:ext>
              </c:extLst>
            </c:dLbl>
            <c:dLbl>
              <c:idx val="3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BFDA-4C69-8E79-A083B7EFBA29}"/>
                </c:ext>
              </c:extLst>
            </c:dLbl>
            <c:dLbl>
              <c:idx val="3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B-BFDA-4C69-8E79-A083B7EFBA29}"/>
                </c:ext>
              </c:extLst>
            </c:dLbl>
            <c:dLbl>
              <c:idx val="3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C-BFDA-4C69-8E79-A083B7EFBA29}"/>
                </c:ext>
              </c:extLst>
            </c:dLbl>
            <c:dLbl>
              <c:idx val="3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D-BFDA-4C69-8E79-A083B7EFBA29}"/>
                </c:ext>
              </c:extLst>
            </c:dLbl>
            <c:dLbl>
              <c:idx val="3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BFDA-4C69-8E79-A083B7EFBA29}"/>
                </c:ext>
              </c:extLst>
            </c:dLbl>
            <c:dLbl>
              <c:idx val="3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BFDA-4C69-8E79-A083B7EFBA29}"/>
                </c:ext>
              </c:extLst>
            </c:dLbl>
            <c:dLbl>
              <c:idx val="3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BFDA-4C69-8E79-A083B7EFBA29}"/>
                </c:ext>
              </c:extLst>
            </c:dLbl>
            <c:dLbl>
              <c:idx val="4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1-BFDA-4C69-8E79-A083B7EFBA29}"/>
                </c:ext>
              </c:extLst>
            </c:dLbl>
            <c:dLbl>
              <c:idx val="4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BFDA-4C69-8E79-A083B7EFBA29}"/>
                </c:ext>
              </c:extLst>
            </c:dLbl>
            <c:dLbl>
              <c:idx val="4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BFDA-4C69-8E79-A083B7EFBA29}"/>
                </c:ext>
              </c:extLst>
            </c:dLbl>
            <c:dLbl>
              <c:idx val="4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BFDA-4C69-8E79-A083B7EFBA29}"/>
                </c:ext>
              </c:extLst>
            </c:dLbl>
            <c:dLbl>
              <c:idx val="4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BFDA-4C69-8E79-A083B7EFBA29}"/>
                </c:ext>
              </c:extLst>
            </c:dLbl>
            <c:dLbl>
              <c:idx val="4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BFDA-4C69-8E79-A083B7EFBA29}"/>
                </c:ext>
              </c:extLst>
            </c:dLbl>
            <c:dLbl>
              <c:idx val="4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BFDA-4C69-8E79-A083B7EFBA29}"/>
                </c:ext>
              </c:extLst>
            </c:dLbl>
            <c:dLbl>
              <c:idx val="4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BFDA-4C69-8E79-A083B7EFBA29}"/>
                </c:ext>
              </c:extLst>
            </c:dLbl>
            <c:dLbl>
              <c:idx val="4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11</c:f>
              <c:numCache>
                <c:formatCode>General</c:formatCode>
                <c:ptCount val="10"/>
                <c:pt idx="0">
                  <c:v>0.3061</c:v>
                </c:pt>
                <c:pt idx="1">
                  <c:v>0.3929</c:v>
                </c:pt>
                <c:pt idx="2">
                  <c:v>0.4269</c:v>
                </c:pt>
                <c:pt idx="3">
                  <c:v>0.4034</c:v>
                </c:pt>
                <c:pt idx="4">
                  <c:v>0.3538</c:v>
                </c:pt>
                <c:pt idx="5">
                  <c:v>0.3568</c:v>
                </c:pt>
                <c:pt idx="6">
                  <c:v>0.3897</c:v>
                </c:pt>
                <c:pt idx="7">
                  <c:v>0.2631</c:v>
                </c:pt>
                <c:pt idx="8">
                  <c:v>0.4034</c:v>
                </c:pt>
                <c:pt idx="9">
                  <c:v>0.3429</c:v>
                </c:pt>
              </c:numCache>
            </c:numRef>
          </c:xVal>
          <c:yVal>
            <c:numRef>
              <c:f>Sheet1!$B$2:$B$11</c:f>
              <c:numCache>
                <c:formatCode>General</c:formatCode>
                <c:ptCount val="10"/>
                <c:pt idx="0">
                  <c:v>42862.6139088729</c:v>
                </c:pt>
                <c:pt idx="1">
                  <c:v>81394.7557840617</c:v>
                </c:pt>
                <c:pt idx="2">
                  <c:v>9290.78811369509</c:v>
                </c:pt>
                <c:pt idx="3">
                  <c:v>7421.524105754277</c:v>
                </c:pt>
                <c:pt idx="4">
                  <c:v>5967.609561752988</c:v>
                </c:pt>
                <c:pt idx="5">
                  <c:v>47708.9595959596</c:v>
                </c:pt>
                <c:pt idx="6">
                  <c:v>5613.860667634253</c:v>
                </c:pt>
                <c:pt idx="7">
                  <c:v>16379.706703910615</c:v>
                </c:pt>
                <c:pt idx="8">
                  <c:v>34465.81664910432</c:v>
                </c:pt>
                <c:pt idx="9">
                  <c:v>25172.049180327867</c:v>
                </c:pt>
              </c:numCache>
            </c:numRef>
          </c:yVal>
          <c:bubbleSize>
            <c:numRef>
              <c:f>Sheet1!$C$2:$C$11</c:f>
              <c:numCache>
                <c:formatCode>General</c:formatCode>
                <c:ptCount val="10"/>
                <c:pt idx="0">
                  <c:v>2351097.8074000003</c:v>
                </c:pt>
                <c:pt idx="1">
                  <c:v>3644081.5352000003</c:v>
                </c:pt>
                <c:pt idx="2">
                  <c:v>390625.92009999993</c:v>
                </c:pt>
                <c:pt idx="3">
                  <c:v>269870.29780000006</c:v>
                </c:pt>
                <c:pt idx="4">
                  <c:v>183500.86179999998</c:v>
                </c:pt>
                <c:pt idx="5">
                  <c:v>2879559.3756000004</c:v>
                </c:pt>
                <c:pt idx="6">
                  <c:v>223758.21680000002</c:v>
                </c:pt>
                <c:pt idx="7">
                  <c:v>819173.4306000001</c:v>
                </c:pt>
                <c:pt idx="8">
                  <c:v>1849651.3301000001</c:v>
                </c:pt>
                <c:pt idx="9">
                  <c:v>1147660.5851999999</c:v>
                </c:pt>
              </c:numCache>
            </c:numRef>
          </c:bubbleSize>
          <c:bubble3D val="0"/>
          <c:extLst>
            <c:ext xmlns:c15="http://schemas.microsoft.com/office/drawing/2012/chart" uri="{02D57815-91ED-43cb-92C2-25804820EDAC}">
              <c15:datalabelsRange>
                <c15:f>Sheet1!$E$2:$E$50</c15:f>
                <c15:dlblRangeCache>
                  <c:ptCount val="49"/>
                  <c:pt idx="0">
                    <c:v>Findus Merluzzo Altro Findus Fish Bar 245GR</c:v>
                  </c:pt>
                  <c:pt idx="1">
                    <c:v>Findus Merluzzo D Alaska Chips Findus Big Burger 227GR</c:v>
                  </c:pt>
                  <c:pt idx="2">
                    <c:v>Findus Merluzzo D Alaska Standard Findus Big Burger 227GR</c:v>
                  </c:pt>
                  <c:pt idx="3">
                    <c:v>Findus Merluzzo E Spinaci Filetto Findus Croccole 300GR</c:v>
                  </c:pt>
                  <c:pt idx="4">
                    <c:v>Findus Merluzzo Filetto Findus Croccole 300GR</c:v>
                  </c:pt>
                  <c:pt idx="5">
                    <c:v>Findus Merluzzo Filetto Findus Croccole 600GR</c:v>
                  </c:pt>
                  <c:pt idx="6">
                    <c:v>Findus Merluzzo Filetto Findus Fish &amp; Crock 250GR</c:v>
                  </c:pt>
                  <c:pt idx="7">
                    <c:v>Findus Merluzzo Filetto Findus Fish Bar 240GR</c:v>
                  </c:pt>
                  <c:pt idx="8">
                    <c:v>Findus Merluzzo Semi Filetto Findus Croccole 300GR</c:v>
                  </c:pt>
                  <c:pt idx="9">
                    <c:v>Findus Merluzzo Senza Glutine Filetto Findus Croccole 250GR</c:v>
                  </c:pt>
                  <c:pt idx="10">
                    <c:v>Findus Platessa Filetto Findus Platessa 250GR</c:v>
                  </c:pt>
                  <c:pt idx="11">
                    <c:v>Findus Salmone Altro Findus Fish Bar 220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3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6AA837DA-7FB3-4E30-80A9-0A3788C6D0A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3933A236-DA65-4E90-A6A1-59904C96C2C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F7441DD0-8E2D-4821-91CD-295B0462DED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5BAD3EE8-E613-4580-9831-9A29EEFEAD7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124EA73A-C2C7-44F0-8571-6EF4D398A17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0642DB24-05A5-4FA5-9D56-E3085F0EBBD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F4306FE0-D15C-4907-B268-1A8F7575FB0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5-BFDA-4C69-8E79-A083B7EFBA29}"/>
                </c:ext>
              </c:extLst>
            </c:dLbl>
            <c:dLbl>
              <c:idx val="1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BFDA-4C69-8E79-A083B7EFBA29}"/>
                </c:ext>
              </c:extLst>
            </c:dLbl>
            <c:dLbl>
              <c:idx val="1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BFDA-4C69-8E79-A083B7EFBA29}"/>
                </c:ext>
              </c:extLst>
            </c:dLbl>
            <c:dLbl>
              <c:idx val="1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BFDA-4C69-8E79-A083B7EFBA29}"/>
                </c:ext>
              </c:extLst>
            </c:dLbl>
            <c:dLbl>
              <c:idx val="1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9-BFDA-4C69-8E79-A083B7EFBA29}"/>
                </c:ext>
              </c:extLst>
            </c:dLbl>
            <c:dLbl>
              <c:idx val="1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A-BFDA-4C69-8E79-A083B7EFBA29}"/>
                </c:ext>
              </c:extLst>
            </c:dLbl>
            <c:dLbl>
              <c:idx val="1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B-BFDA-4C69-8E79-A083B7EFBA29}"/>
                </c:ext>
              </c:extLst>
            </c:dLbl>
            <c:dLbl>
              <c:idx val="1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C-BFDA-4C69-8E79-A083B7EFBA29}"/>
                </c:ext>
              </c:extLst>
            </c:dLbl>
            <c:dLbl>
              <c:idx val="2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BFDA-4C69-8E79-A083B7EFBA29}"/>
                </c:ext>
              </c:extLst>
            </c:dLbl>
            <c:dLbl>
              <c:idx val="2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BFDA-4C69-8E79-A083B7EFBA29}"/>
                </c:ext>
              </c:extLst>
            </c:dLbl>
            <c:dLbl>
              <c:idx val="2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F-BFDA-4C69-8E79-A083B7EFBA29}"/>
                </c:ext>
              </c:extLst>
            </c:dLbl>
            <c:dLbl>
              <c:idx val="2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0-BFDA-4C69-8E79-A083B7EFBA29}"/>
                </c:ext>
              </c:extLst>
            </c:dLbl>
            <c:dLbl>
              <c:idx val="2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1-BFDA-4C69-8E79-A083B7EFBA29}"/>
                </c:ext>
              </c:extLst>
            </c:dLbl>
            <c:dLbl>
              <c:idx val="2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BFDA-4C69-8E79-A083B7EFBA29}"/>
                </c:ext>
              </c:extLst>
            </c:dLbl>
            <c:dLbl>
              <c:idx val="2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BFDA-4C69-8E79-A083B7EFBA29}"/>
                </c:ext>
              </c:extLst>
            </c:dLbl>
            <c:dLbl>
              <c:idx val="2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BFDA-4C69-8E79-A083B7EFBA29}"/>
                </c:ext>
              </c:extLst>
            </c:dLbl>
            <c:dLbl>
              <c:idx val="2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5-BFDA-4C69-8E79-A083B7EFBA29}"/>
                </c:ext>
              </c:extLst>
            </c:dLbl>
            <c:dLbl>
              <c:idx val="2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6-BFDA-4C69-8E79-A083B7EFBA29}"/>
                </c:ext>
              </c:extLst>
            </c:dLbl>
            <c:dLbl>
              <c:idx val="3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7-BFDA-4C69-8E79-A083B7EFBA29}"/>
                </c:ext>
              </c:extLst>
            </c:dLbl>
            <c:dLbl>
              <c:idx val="3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8-BFDA-4C69-8E79-A083B7EFBA29}"/>
                </c:ext>
              </c:extLst>
            </c:dLbl>
            <c:dLbl>
              <c:idx val="3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9-BFDA-4C69-8E79-A083B7EFBA29}"/>
                </c:ext>
              </c:extLst>
            </c:dLbl>
            <c:dLbl>
              <c:idx val="3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BFDA-4C69-8E79-A083B7EFBA29}"/>
                </c:ext>
              </c:extLst>
            </c:dLbl>
            <c:dLbl>
              <c:idx val="3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B-BFDA-4C69-8E79-A083B7EFBA29}"/>
                </c:ext>
              </c:extLst>
            </c:dLbl>
            <c:dLbl>
              <c:idx val="3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C-BFDA-4C69-8E79-A083B7EFBA29}"/>
                </c:ext>
              </c:extLst>
            </c:dLbl>
            <c:dLbl>
              <c:idx val="3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D-BFDA-4C69-8E79-A083B7EFBA29}"/>
                </c:ext>
              </c:extLst>
            </c:dLbl>
            <c:dLbl>
              <c:idx val="3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BFDA-4C69-8E79-A083B7EFBA29}"/>
                </c:ext>
              </c:extLst>
            </c:dLbl>
            <c:dLbl>
              <c:idx val="3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BFDA-4C69-8E79-A083B7EFBA29}"/>
                </c:ext>
              </c:extLst>
            </c:dLbl>
            <c:dLbl>
              <c:idx val="3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BFDA-4C69-8E79-A083B7EFBA29}"/>
                </c:ext>
              </c:extLst>
            </c:dLbl>
            <c:dLbl>
              <c:idx val="4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1-BFDA-4C69-8E79-A083B7EFBA29}"/>
                </c:ext>
              </c:extLst>
            </c:dLbl>
            <c:dLbl>
              <c:idx val="4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BFDA-4C69-8E79-A083B7EFBA29}"/>
                </c:ext>
              </c:extLst>
            </c:dLbl>
            <c:dLbl>
              <c:idx val="4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BFDA-4C69-8E79-A083B7EFBA29}"/>
                </c:ext>
              </c:extLst>
            </c:dLbl>
            <c:dLbl>
              <c:idx val="4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BFDA-4C69-8E79-A083B7EFBA29}"/>
                </c:ext>
              </c:extLst>
            </c:dLbl>
            <c:dLbl>
              <c:idx val="4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BFDA-4C69-8E79-A083B7EFBA29}"/>
                </c:ext>
              </c:extLst>
            </c:dLbl>
            <c:dLbl>
              <c:idx val="4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BFDA-4C69-8E79-A083B7EFBA29}"/>
                </c:ext>
              </c:extLst>
            </c:dLbl>
            <c:dLbl>
              <c:idx val="4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BFDA-4C69-8E79-A083B7EFBA29}"/>
                </c:ext>
              </c:extLst>
            </c:dLbl>
            <c:dLbl>
              <c:idx val="4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BFDA-4C69-8E79-A083B7EFBA29}"/>
                </c:ext>
              </c:extLst>
            </c:dLbl>
            <c:dLbl>
              <c:idx val="4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12</c:f>
              <c:numCache>
                <c:formatCode>General</c:formatCode>
                <c:ptCount val="11"/>
                <c:pt idx="0">
                  <c:v>0.431</c:v>
                </c:pt>
                <c:pt idx="1">
                  <c:v>0.3722</c:v>
                </c:pt>
                <c:pt idx="2">
                  <c:v>0.4152</c:v>
                </c:pt>
                <c:pt idx="3">
                  <c:v>0.4105</c:v>
                </c:pt>
                <c:pt idx="4">
                  <c:v>0.339</c:v>
                </c:pt>
                <c:pt idx="5">
                  <c:v>0.3176</c:v>
                </c:pt>
                <c:pt idx="6">
                  <c:v>0.2542</c:v>
                </c:pt>
                <c:pt idx="7">
                  <c:v>0.5691</c:v>
                </c:pt>
                <c:pt idx="8">
                  <c:v>0.4843</c:v>
                </c:pt>
                <c:pt idx="9">
                  <c:v>0.3627</c:v>
                </c:pt>
                <c:pt idx="10">
                  <c:v>0.3397</c:v>
                </c:pt>
              </c:numCache>
            </c:numRef>
          </c:xVal>
          <c:yVal>
            <c:numRef>
              <c:f>Sheet1!$B$2:$B$12</c:f>
              <c:numCache>
                <c:formatCode>General</c:formatCode>
                <c:ptCount val="11"/>
                <c:pt idx="0">
                  <c:v>8120.540540540541</c:v>
                </c:pt>
                <c:pt idx="1">
                  <c:v>7373.959595959596</c:v>
                </c:pt>
                <c:pt idx="2">
                  <c:v>22077.017291066284</c:v>
                </c:pt>
                <c:pt idx="3">
                  <c:v>64775.47400611621</c:v>
                </c:pt>
                <c:pt idx="4">
                  <c:v>72823.24053452116</c:v>
                </c:pt>
                <c:pt idx="5">
                  <c:v>143117.46070133013</c:v>
                </c:pt>
                <c:pt idx="6">
                  <c:v>19364.593103448275</c:v>
                </c:pt>
                <c:pt idx="7">
                  <c:v>29388.75</c:v>
                </c:pt>
                <c:pt idx="8">
                  <c:v>3280.850622406639</c:v>
                </c:pt>
                <c:pt idx="9">
                  <c:v>19583.832599118945</c:v>
                </c:pt>
                <c:pt idx="10">
                  <c:v>10205.714285714286</c:v>
                </c:pt>
              </c:numCache>
            </c:numRef>
          </c:yVal>
          <c:bubbleSize>
            <c:numRef>
              <c:f>Sheet1!$C$2:$C$12</c:f>
              <c:numCache>
                <c:formatCode>General</c:formatCode>
                <c:ptCount val="11"/>
                <c:pt idx="0">
                  <c:v>16203.9444</c:v>
                </c:pt>
                <c:pt idx="1">
                  <c:v>217204.8676</c:v>
                </c:pt>
                <c:pt idx="2">
                  <c:v>849338.8158</c:v>
                </c:pt>
                <c:pt idx="3">
                  <c:v>3550892.7451999993</c:v>
                </c:pt>
                <c:pt idx="4">
                  <c:v>4097158.8504999992</c:v>
                </c:pt>
                <c:pt idx="5">
                  <c:v>7653909.827999999</c:v>
                </c:pt>
                <c:pt idx="6">
                  <c:v>992410.8776999998</c:v>
                </c:pt>
                <c:pt idx="7">
                  <c:v>9603.1772</c:v>
                </c:pt>
                <c:pt idx="8">
                  <c:v>77295.2128</c:v>
                </c:pt>
                <c:pt idx="9">
                  <c:v>1074141.922</c:v>
                </c:pt>
                <c:pt idx="10">
                  <c:v>277231.0708</c:v>
                </c:pt>
              </c:numCache>
            </c:numRef>
          </c:bubbleSize>
          <c:bubble3D val="0"/>
          <c:extLst>
            <c:ext xmlns:c15="http://schemas.microsoft.com/office/drawing/2012/chart" uri="{02D57815-91ED-43cb-92C2-25804820EDAC}">
              <c15:datalabelsRange>
                <c15:f>Sheet1!$E$2:$E$50</c15:f>
                <c15:dlblRangeCache>
                  <c:ptCount val="49"/>
                  <c:pt idx="0">
                    <c:v>Findus Merluzzo Altro Findus Fish Bar 245GR</c:v>
                  </c:pt>
                  <c:pt idx="1">
                    <c:v>Findus Merluzzo D Alaska Chips Findus Big Burger 227GR</c:v>
                  </c:pt>
                  <c:pt idx="2">
                    <c:v>Findus Merluzzo D Alaska Standard Findus Big Burger 227GR</c:v>
                  </c:pt>
                  <c:pt idx="3">
                    <c:v>Findus Merluzzo E Spinaci Filetto Findus Croccole 300GR</c:v>
                  </c:pt>
                  <c:pt idx="4">
                    <c:v>Findus Merluzzo Filetto Findus Croccole 300GR</c:v>
                  </c:pt>
                  <c:pt idx="5">
                    <c:v>Findus Merluzzo Filetto Findus Croccole 600GR</c:v>
                  </c:pt>
                  <c:pt idx="6">
                    <c:v>Findus Merluzzo Filetto Findus Fish &amp; Crock 250GR</c:v>
                  </c:pt>
                  <c:pt idx="7">
                    <c:v>Findus Merluzzo Filetto Findus Fish Bar 240GR</c:v>
                  </c:pt>
                  <c:pt idx="8">
                    <c:v>Findus Merluzzo Semi Filetto Findus Croccole 300GR</c:v>
                  </c:pt>
                  <c:pt idx="9">
                    <c:v>Findus Merluzzo Senza Glutine Filetto Findus Croccole 250GR</c:v>
                  </c:pt>
                  <c:pt idx="10">
                    <c:v>Findus Platessa Filetto Findus Platessa 250GR</c:v>
                  </c:pt>
                  <c:pt idx="11">
                    <c:v>Findus Salmone Altro Findus Fish Bar 220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3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F1DCA460-88F2-4072-8F1A-E2E5C2B625A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53A81365-354D-448A-AE8A-6B92B5AFFF8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E7982765-4975-480C-868B-5AD64494767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F0532FE9-7B75-4FFC-8C25-658BAF1559D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ACC38349-4054-4F19-AA39-5C95D0BB8DD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9E24B748-DCA9-414C-9B30-2DB0DADFE01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83D2F6A7-7301-4CA4-BC6C-12084C630B2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5-BFDA-4C69-8E79-A083B7EFBA29}"/>
                </c:ext>
              </c:extLst>
            </c:dLbl>
            <c:dLbl>
              <c:idx val="1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BFDA-4C69-8E79-A083B7EFBA29}"/>
                </c:ext>
              </c:extLst>
            </c:dLbl>
            <c:dLbl>
              <c:idx val="1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BFDA-4C69-8E79-A083B7EFBA29}"/>
                </c:ext>
              </c:extLst>
            </c:dLbl>
            <c:dLbl>
              <c:idx val="1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BFDA-4C69-8E79-A083B7EFBA29}"/>
                </c:ext>
              </c:extLst>
            </c:dLbl>
            <c:dLbl>
              <c:idx val="1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9-BFDA-4C69-8E79-A083B7EFBA29}"/>
                </c:ext>
              </c:extLst>
            </c:dLbl>
            <c:dLbl>
              <c:idx val="1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A-BFDA-4C69-8E79-A083B7EFBA29}"/>
                </c:ext>
              </c:extLst>
            </c:dLbl>
            <c:dLbl>
              <c:idx val="1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B-BFDA-4C69-8E79-A083B7EFBA29}"/>
                </c:ext>
              </c:extLst>
            </c:dLbl>
            <c:dLbl>
              <c:idx val="1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C-BFDA-4C69-8E79-A083B7EFBA29}"/>
                </c:ext>
              </c:extLst>
            </c:dLbl>
            <c:dLbl>
              <c:idx val="2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BFDA-4C69-8E79-A083B7EFBA29}"/>
                </c:ext>
              </c:extLst>
            </c:dLbl>
            <c:dLbl>
              <c:idx val="2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BFDA-4C69-8E79-A083B7EFBA29}"/>
                </c:ext>
              </c:extLst>
            </c:dLbl>
            <c:dLbl>
              <c:idx val="2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F-BFDA-4C69-8E79-A083B7EFBA29}"/>
                </c:ext>
              </c:extLst>
            </c:dLbl>
            <c:dLbl>
              <c:idx val="2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0-BFDA-4C69-8E79-A083B7EFBA29}"/>
                </c:ext>
              </c:extLst>
            </c:dLbl>
            <c:dLbl>
              <c:idx val="2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1-BFDA-4C69-8E79-A083B7EFBA29}"/>
                </c:ext>
              </c:extLst>
            </c:dLbl>
            <c:dLbl>
              <c:idx val="2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BFDA-4C69-8E79-A083B7EFBA29}"/>
                </c:ext>
              </c:extLst>
            </c:dLbl>
            <c:dLbl>
              <c:idx val="2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BFDA-4C69-8E79-A083B7EFBA29}"/>
                </c:ext>
              </c:extLst>
            </c:dLbl>
            <c:dLbl>
              <c:idx val="2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BFDA-4C69-8E79-A083B7EFBA29}"/>
                </c:ext>
              </c:extLst>
            </c:dLbl>
            <c:dLbl>
              <c:idx val="2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5-BFDA-4C69-8E79-A083B7EFBA29}"/>
                </c:ext>
              </c:extLst>
            </c:dLbl>
            <c:dLbl>
              <c:idx val="2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6-BFDA-4C69-8E79-A083B7EFBA29}"/>
                </c:ext>
              </c:extLst>
            </c:dLbl>
            <c:dLbl>
              <c:idx val="3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7-BFDA-4C69-8E79-A083B7EFBA29}"/>
                </c:ext>
              </c:extLst>
            </c:dLbl>
            <c:dLbl>
              <c:idx val="3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8-BFDA-4C69-8E79-A083B7EFBA29}"/>
                </c:ext>
              </c:extLst>
            </c:dLbl>
            <c:dLbl>
              <c:idx val="3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9-BFDA-4C69-8E79-A083B7EFBA29}"/>
                </c:ext>
              </c:extLst>
            </c:dLbl>
            <c:dLbl>
              <c:idx val="3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BFDA-4C69-8E79-A083B7EFBA29}"/>
                </c:ext>
              </c:extLst>
            </c:dLbl>
            <c:dLbl>
              <c:idx val="3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B-BFDA-4C69-8E79-A083B7EFBA29}"/>
                </c:ext>
              </c:extLst>
            </c:dLbl>
            <c:dLbl>
              <c:idx val="3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C-BFDA-4C69-8E79-A083B7EFBA29}"/>
                </c:ext>
              </c:extLst>
            </c:dLbl>
            <c:dLbl>
              <c:idx val="3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D-BFDA-4C69-8E79-A083B7EFBA29}"/>
                </c:ext>
              </c:extLst>
            </c:dLbl>
            <c:dLbl>
              <c:idx val="3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BFDA-4C69-8E79-A083B7EFBA29}"/>
                </c:ext>
              </c:extLst>
            </c:dLbl>
            <c:dLbl>
              <c:idx val="3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BFDA-4C69-8E79-A083B7EFBA29}"/>
                </c:ext>
              </c:extLst>
            </c:dLbl>
            <c:dLbl>
              <c:idx val="3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BFDA-4C69-8E79-A083B7EFBA29}"/>
                </c:ext>
              </c:extLst>
            </c:dLbl>
            <c:dLbl>
              <c:idx val="4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1-BFDA-4C69-8E79-A083B7EFBA29}"/>
                </c:ext>
              </c:extLst>
            </c:dLbl>
            <c:dLbl>
              <c:idx val="4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BFDA-4C69-8E79-A083B7EFBA29}"/>
                </c:ext>
              </c:extLst>
            </c:dLbl>
            <c:dLbl>
              <c:idx val="4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BFDA-4C69-8E79-A083B7EFBA29}"/>
                </c:ext>
              </c:extLst>
            </c:dLbl>
            <c:dLbl>
              <c:idx val="4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BFDA-4C69-8E79-A083B7EFBA29}"/>
                </c:ext>
              </c:extLst>
            </c:dLbl>
            <c:dLbl>
              <c:idx val="4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BFDA-4C69-8E79-A083B7EFBA29}"/>
                </c:ext>
              </c:extLst>
            </c:dLbl>
            <c:dLbl>
              <c:idx val="4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BFDA-4C69-8E79-A083B7EFBA29}"/>
                </c:ext>
              </c:extLst>
            </c:dLbl>
            <c:dLbl>
              <c:idx val="4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BFDA-4C69-8E79-A083B7EFBA29}"/>
                </c:ext>
              </c:extLst>
            </c:dLbl>
            <c:dLbl>
              <c:idx val="4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BFDA-4C69-8E79-A083B7EFBA29}"/>
                </c:ext>
              </c:extLst>
            </c:dLbl>
            <c:dLbl>
              <c:idx val="4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24</c:f>
              <c:numCache>
                <c:formatCode>General</c:formatCode>
                <c:ptCount val="23"/>
                <c:pt idx="0">
                  <c:v>0.3528</c:v>
                </c:pt>
                <c:pt idx="1">
                  <c:v>0.3064</c:v>
                </c:pt>
                <c:pt idx="2">
                  <c:v>0.3456</c:v>
                </c:pt>
                <c:pt idx="3">
                  <c:v>0.3426</c:v>
                </c:pt>
                <c:pt idx="4">
                  <c:v>0.3496</c:v>
                </c:pt>
                <c:pt idx="5">
                  <c:v>0.3794</c:v>
                </c:pt>
                <c:pt idx="6">
                  <c:v>0.5608</c:v>
                </c:pt>
                <c:pt idx="7">
                  <c:v>0.4813</c:v>
                </c:pt>
                <c:pt idx="8">
                  <c:v>0.3136</c:v>
                </c:pt>
                <c:pt idx="9">
                  <c:v>0.3567</c:v>
                </c:pt>
                <c:pt idx="10">
                  <c:v>0.3442</c:v>
                </c:pt>
                <c:pt idx="11">
                  <c:v>0.2502</c:v>
                </c:pt>
                <c:pt idx="12">
                  <c:v>0.3895</c:v>
                </c:pt>
                <c:pt idx="13">
                  <c:v>0.5133</c:v>
                </c:pt>
                <c:pt idx="14">
                  <c:v>0.4359</c:v>
                </c:pt>
                <c:pt idx="15">
                  <c:v>0.5245</c:v>
                </c:pt>
                <c:pt idx="16">
                  <c:v>0.4213</c:v>
                </c:pt>
                <c:pt idx="17">
                  <c:v>0.3974</c:v>
                </c:pt>
                <c:pt idx="18">
                  <c:v>0.4973</c:v>
                </c:pt>
                <c:pt idx="19">
                  <c:v>0.5497</c:v>
                </c:pt>
                <c:pt idx="20">
                  <c:v>0.4326</c:v>
                </c:pt>
                <c:pt idx="21">
                  <c:v>0.4189</c:v>
                </c:pt>
                <c:pt idx="22">
                  <c:v>0.394</c:v>
                </c:pt>
              </c:numCache>
            </c:numRef>
          </c:xVal>
          <c:yVal>
            <c:numRef>
              <c:f>Sheet1!$B$2:$B$24</c:f>
              <c:numCache>
                <c:formatCode>General</c:formatCode>
                <c:ptCount val="23"/>
                <c:pt idx="0">
                  <c:v>36210.3825136612</c:v>
                </c:pt>
                <c:pt idx="1">
                  <c:v>912.4431818181818</c:v>
                </c:pt>
                <c:pt idx="2">
                  <c:v>35111.05371900827</c:v>
                </c:pt>
                <c:pt idx="3">
                  <c:v>8691.462799495586</c:v>
                </c:pt>
                <c:pt idx="4">
                  <c:v>6379.6974063400585</c:v>
                </c:pt>
                <c:pt idx="5">
                  <c:v>956.9080234833659</c:v>
                </c:pt>
                <c:pt idx="6">
                  <c:v>1782.2718808193667</c:v>
                </c:pt>
                <c:pt idx="7">
                  <c:v>1204.4591029023748</c:v>
                </c:pt>
                <c:pt idx="8">
                  <c:v>3167.51677852349</c:v>
                </c:pt>
                <c:pt idx="9">
                  <c:v>11865.90742996346</c:v>
                </c:pt>
                <c:pt idx="10">
                  <c:v>25830.86903304774</c:v>
                </c:pt>
                <c:pt idx="11">
                  <c:v>4761.811320754717</c:v>
                </c:pt>
                <c:pt idx="12">
                  <c:v>7665.387596899224</c:v>
                </c:pt>
                <c:pt idx="13">
                  <c:v>2258.3985765124553</c:v>
                </c:pt>
                <c:pt idx="14">
                  <c:v>1840.8</c:v>
                </c:pt>
                <c:pt idx="15">
                  <c:v>502.5925925925926</c:v>
                </c:pt>
                <c:pt idx="16">
                  <c:v>2165.547263681592</c:v>
                </c:pt>
                <c:pt idx="17">
                  <c:v>20726.22661122661</c:v>
                </c:pt>
                <c:pt idx="18">
                  <c:v>4221.722846441947</c:v>
                </c:pt>
                <c:pt idx="19">
                  <c:v>1752.3170731707319</c:v>
                </c:pt>
                <c:pt idx="20">
                  <c:v>5431.676866585068</c:v>
                </c:pt>
                <c:pt idx="21">
                  <c:v>2424.059405940594</c:v>
                </c:pt>
                <c:pt idx="22">
                  <c:v>1723.9541547277938</c:v>
                </c:pt>
              </c:numCache>
            </c:numRef>
          </c:yVal>
          <c:bubbleSize>
            <c:numRef>
              <c:f>Sheet1!$C$2:$C$24</c:f>
              <c:numCache>
                <c:formatCode>General</c:formatCode>
                <c:ptCount val="23"/>
                <c:pt idx="0">
                  <c:v>2032641.614</c:v>
                </c:pt>
                <c:pt idx="1">
                  <c:v>31672.401400000002</c:v>
                </c:pt>
                <c:pt idx="2">
                  <c:v>2108282.3343999996</c:v>
                </c:pt>
                <c:pt idx="3">
                  <c:v>429447.70180000004</c:v>
                </c:pt>
                <c:pt idx="4">
                  <c:v>272937.85020000004</c:v>
                </c:pt>
                <c:pt idx="5">
                  <c:v>28764.763499999994</c:v>
                </c:pt>
                <c:pt idx="6">
                  <c:v>39845.55759999999</c:v>
                </c:pt>
                <c:pt idx="7">
                  <c:v>22443.9804</c:v>
                </c:pt>
                <c:pt idx="8">
                  <c:v>92124.07410000001</c:v>
                </c:pt>
                <c:pt idx="9">
                  <c:v>594060.8762999999</c:v>
                </c:pt>
                <c:pt idx="10">
                  <c:v>1311822.8504</c:v>
                </c:pt>
                <c:pt idx="11">
                  <c:v>89686.7917</c:v>
                </c:pt>
                <c:pt idx="12">
                  <c:v>343315.12559999997</c:v>
                </c:pt>
                <c:pt idx="13">
                  <c:v>29273.478900000002</c:v>
                </c:pt>
                <c:pt idx="14">
                  <c:v>7381.949</c:v>
                </c:pt>
                <c:pt idx="15">
                  <c:v>7339.8537</c:v>
                </c:pt>
                <c:pt idx="16">
                  <c:v>47748.37920000001</c:v>
                </c:pt>
                <c:pt idx="17">
                  <c:v>1138834.3723</c:v>
                </c:pt>
                <c:pt idx="18">
                  <c:v>161142.32499999995</c:v>
                </c:pt>
                <c:pt idx="19">
                  <c:v>55191.65740000001</c:v>
                </c:pt>
                <c:pt idx="20">
                  <c:v>238681.35979999995</c:v>
                </c:pt>
                <c:pt idx="21">
                  <c:v>94390.67159999999</c:v>
                </c:pt>
                <c:pt idx="22">
                  <c:v>69122.323</c:v>
                </c:pt>
              </c:numCache>
            </c:numRef>
          </c:bubbleSize>
          <c:bubble3D val="0"/>
          <c:extLst>
            <c:ext xmlns:c15="http://schemas.microsoft.com/office/drawing/2012/chart" uri="{02D57815-91ED-43cb-92C2-25804820EDAC}">
              <c15:datalabelsRange>
                <c15:f>Sheet1!$E$2:$E$50</c15:f>
                <c15:dlblRangeCache>
                  <c:ptCount val="49"/>
                  <c:pt idx="0">
                    <c:v>Findus Merluzzo Altro Findus Fish Bar 245GR</c:v>
                  </c:pt>
                  <c:pt idx="1">
                    <c:v>Findus Merluzzo D Alaska Chips Findus Big Burger 227GR</c:v>
                  </c:pt>
                  <c:pt idx="2">
                    <c:v>Findus Merluzzo D Alaska Standard Findus Big Burger 227GR</c:v>
                  </c:pt>
                  <c:pt idx="3">
                    <c:v>Findus Merluzzo E Spinaci Filetto Findus Croccole 300GR</c:v>
                  </c:pt>
                  <c:pt idx="4">
                    <c:v>Findus Merluzzo Filetto Findus Croccole 300GR</c:v>
                  </c:pt>
                  <c:pt idx="5">
                    <c:v>Findus Merluzzo Filetto Findus Croccole 600GR</c:v>
                  </c:pt>
                  <c:pt idx="6">
                    <c:v>Findus Merluzzo Filetto Findus Fish &amp; Crock 250GR</c:v>
                  </c:pt>
                  <c:pt idx="7">
                    <c:v>Findus Merluzzo Filetto Findus Fish Bar 240GR</c:v>
                  </c:pt>
                  <c:pt idx="8">
                    <c:v>Findus Merluzzo Semi Filetto Findus Croccole 300GR</c:v>
                  </c:pt>
                  <c:pt idx="9">
                    <c:v>Findus Merluzzo Senza Glutine Filetto Findus Croccole 250GR</c:v>
                  </c:pt>
                  <c:pt idx="10">
                    <c:v>Findus Platessa Filetto Findus Platessa 250GR</c:v>
                  </c:pt>
                  <c:pt idx="11">
                    <c:v>Findus Salmone Altro Findus Fish Bar 220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3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46400D7D-B1BF-4709-A39F-F38B15229F2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60FACF14-AB1D-440C-B47D-015C3C24186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B1F13BD7-3C0A-4B9B-9C6E-7392ED946CF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FB93E50E-A796-4646-8AA5-8756802FED8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B8073163-9C8B-469A-8B0E-AC63984AAA8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6D4063EC-F29A-4BC9-A5C4-5F7FA797EA9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CB2D2CF4-421B-4422-B971-46EB58B06F8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5-BFDA-4C69-8E79-A083B7EFBA29}"/>
                </c:ext>
              </c:extLst>
            </c:dLbl>
            <c:dLbl>
              <c:idx val="1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BFDA-4C69-8E79-A083B7EFBA29}"/>
                </c:ext>
              </c:extLst>
            </c:dLbl>
            <c:dLbl>
              <c:idx val="1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BFDA-4C69-8E79-A083B7EFBA29}"/>
                </c:ext>
              </c:extLst>
            </c:dLbl>
            <c:dLbl>
              <c:idx val="1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BFDA-4C69-8E79-A083B7EFBA29}"/>
                </c:ext>
              </c:extLst>
            </c:dLbl>
            <c:dLbl>
              <c:idx val="1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9-BFDA-4C69-8E79-A083B7EFBA29}"/>
                </c:ext>
              </c:extLst>
            </c:dLbl>
            <c:dLbl>
              <c:idx val="1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A-BFDA-4C69-8E79-A083B7EFBA29}"/>
                </c:ext>
              </c:extLst>
            </c:dLbl>
            <c:dLbl>
              <c:idx val="1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B-BFDA-4C69-8E79-A083B7EFBA29}"/>
                </c:ext>
              </c:extLst>
            </c:dLbl>
            <c:dLbl>
              <c:idx val="1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C-BFDA-4C69-8E79-A083B7EFBA29}"/>
                </c:ext>
              </c:extLst>
            </c:dLbl>
            <c:dLbl>
              <c:idx val="2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BFDA-4C69-8E79-A083B7EFBA29}"/>
                </c:ext>
              </c:extLst>
            </c:dLbl>
            <c:dLbl>
              <c:idx val="2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BFDA-4C69-8E79-A083B7EFBA29}"/>
                </c:ext>
              </c:extLst>
            </c:dLbl>
            <c:dLbl>
              <c:idx val="2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F-BFDA-4C69-8E79-A083B7EFBA29}"/>
                </c:ext>
              </c:extLst>
            </c:dLbl>
            <c:dLbl>
              <c:idx val="2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0-BFDA-4C69-8E79-A083B7EFBA29}"/>
                </c:ext>
              </c:extLst>
            </c:dLbl>
            <c:dLbl>
              <c:idx val="2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1-BFDA-4C69-8E79-A083B7EFBA29}"/>
                </c:ext>
              </c:extLst>
            </c:dLbl>
            <c:dLbl>
              <c:idx val="2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BFDA-4C69-8E79-A083B7EFBA29}"/>
                </c:ext>
              </c:extLst>
            </c:dLbl>
            <c:dLbl>
              <c:idx val="2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BFDA-4C69-8E79-A083B7EFBA29}"/>
                </c:ext>
              </c:extLst>
            </c:dLbl>
            <c:dLbl>
              <c:idx val="2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BFDA-4C69-8E79-A083B7EFBA29}"/>
                </c:ext>
              </c:extLst>
            </c:dLbl>
            <c:dLbl>
              <c:idx val="2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5-BFDA-4C69-8E79-A083B7EFBA29}"/>
                </c:ext>
              </c:extLst>
            </c:dLbl>
            <c:dLbl>
              <c:idx val="2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6-BFDA-4C69-8E79-A083B7EFBA29}"/>
                </c:ext>
              </c:extLst>
            </c:dLbl>
            <c:dLbl>
              <c:idx val="3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7-BFDA-4C69-8E79-A083B7EFBA29}"/>
                </c:ext>
              </c:extLst>
            </c:dLbl>
            <c:dLbl>
              <c:idx val="3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8-BFDA-4C69-8E79-A083B7EFBA29}"/>
                </c:ext>
              </c:extLst>
            </c:dLbl>
            <c:dLbl>
              <c:idx val="3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9-BFDA-4C69-8E79-A083B7EFBA29}"/>
                </c:ext>
              </c:extLst>
            </c:dLbl>
            <c:dLbl>
              <c:idx val="3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BFDA-4C69-8E79-A083B7EFBA29}"/>
                </c:ext>
              </c:extLst>
            </c:dLbl>
            <c:dLbl>
              <c:idx val="3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B-BFDA-4C69-8E79-A083B7EFBA29}"/>
                </c:ext>
              </c:extLst>
            </c:dLbl>
            <c:dLbl>
              <c:idx val="3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C-BFDA-4C69-8E79-A083B7EFBA29}"/>
                </c:ext>
              </c:extLst>
            </c:dLbl>
            <c:dLbl>
              <c:idx val="3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D-BFDA-4C69-8E79-A083B7EFBA29}"/>
                </c:ext>
              </c:extLst>
            </c:dLbl>
            <c:dLbl>
              <c:idx val="3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BFDA-4C69-8E79-A083B7EFBA29}"/>
                </c:ext>
              </c:extLst>
            </c:dLbl>
            <c:dLbl>
              <c:idx val="3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BFDA-4C69-8E79-A083B7EFBA29}"/>
                </c:ext>
              </c:extLst>
            </c:dLbl>
            <c:dLbl>
              <c:idx val="3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BFDA-4C69-8E79-A083B7EFBA29}"/>
                </c:ext>
              </c:extLst>
            </c:dLbl>
            <c:dLbl>
              <c:idx val="4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1-BFDA-4C69-8E79-A083B7EFBA29}"/>
                </c:ext>
              </c:extLst>
            </c:dLbl>
            <c:dLbl>
              <c:idx val="4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BFDA-4C69-8E79-A083B7EFBA29}"/>
                </c:ext>
              </c:extLst>
            </c:dLbl>
            <c:dLbl>
              <c:idx val="4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BFDA-4C69-8E79-A083B7EFBA29}"/>
                </c:ext>
              </c:extLst>
            </c:dLbl>
            <c:dLbl>
              <c:idx val="4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BFDA-4C69-8E79-A083B7EFBA29}"/>
                </c:ext>
              </c:extLst>
            </c:dLbl>
            <c:dLbl>
              <c:idx val="4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BFDA-4C69-8E79-A083B7EFBA29}"/>
                </c:ext>
              </c:extLst>
            </c:dLbl>
            <c:dLbl>
              <c:idx val="4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BFDA-4C69-8E79-A083B7EFBA29}"/>
                </c:ext>
              </c:extLst>
            </c:dLbl>
            <c:dLbl>
              <c:idx val="4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BFDA-4C69-8E79-A083B7EFBA29}"/>
                </c:ext>
              </c:extLst>
            </c:dLbl>
            <c:dLbl>
              <c:idx val="4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BFDA-4C69-8E79-A083B7EFBA29}"/>
                </c:ext>
              </c:extLst>
            </c:dLbl>
            <c:dLbl>
              <c:idx val="4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12</c:f>
              <c:numCache>
                <c:formatCode>General</c:formatCode>
                <c:ptCount val="11"/>
                <c:pt idx="0">
                  <c:v>0.3242</c:v>
                </c:pt>
                <c:pt idx="1">
                  <c:v>0.3511</c:v>
                </c:pt>
                <c:pt idx="2">
                  <c:v>0.4593</c:v>
                </c:pt>
                <c:pt idx="3">
                  <c:v>0.4991</c:v>
                </c:pt>
                <c:pt idx="4">
                  <c:v>0.479</c:v>
                </c:pt>
                <c:pt idx="5">
                  <c:v>0.348</c:v>
                </c:pt>
                <c:pt idx="6">
                  <c:v>0.4193</c:v>
                </c:pt>
                <c:pt idx="7">
                  <c:v>0.2799</c:v>
                </c:pt>
                <c:pt idx="8">
                  <c:v>0.3693</c:v>
                </c:pt>
                <c:pt idx="9">
                  <c:v>0.3607</c:v>
                </c:pt>
                <c:pt idx="10">
                  <c:v>0.4797</c:v>
                </c:pt>
              </c:numCache>
            </c:numRef>
          </c:xVal>
          <c:yVal>
            <c:numRef>
              <c:f>Sheet1!$B$2:$B$12</c:f>
              <c:numCache>
                <c:formatCode>General</c:formatCode>
                <c:ptCount val="11"/>
                <c:pt idx="0">
                  <c:v>45724.89230769231</c:v>
                </c:pt>
                <c:pt idx="1">
                  <c:v>43360.813008130084</c:v>
                </c:pt>
                <c:pt idx="2">
                  <c:v>6139.832735961768</c:v>
                </c:pt>
                <c:pt idx="3">
                  <c:v>481.37096774193543</c:v>
                </c:pt>
                <c:pt idx="4">
                  <c:v>7090.928689883914</c:v>
                </c:pt>
                <c:pt idx="5">
                  <c:v>25786.988809766022</c:v>
                </c:pt>
                <c:pt idx="6">
                  <c:v>3027.5083798882683</c:v>
                </c:pt>
                <c:pt idx="7">
                  <c:v>3357.02570379437</c:v>
                </c:pt>
                <c:pt idx="8">
                  <c:v>20585.647298674823</c:v>
                </c:pt>
                <c:pt idx="9">
                  <c:v>27675.493562231757</c:v>
                </c:pt>
                <c:pt idx="10">
                  <c:v>5504.077380952381</c:v>
                </c:pt>
              </c:numCache>
            </c:numRef>
          </c:yVal>
          <c:bubbleSize>
            <c:numRef>
              <c:f>Sheet1!$C$2:$C$12</c:f>
              <c:numCache>
                <c:formatCode>General</c:formatCode>
                <c:ptCount val="11"/>
                <c:pt idx="0">
                  <c:v>2855956.0229999996</c:v>
                </c:pt>
                <c:pt idx="1">
                  <c:v>2296187.0626000003</c:v>
                </c:pt>
                <c:pt idx="2">
                  <c:v>263362.13670000003</c:v>
                </c:pt>
                <c:pt idx="3">
                  <c:v>8501.64</c:v>
                </c:pt>
                <c:pt idx="4">
                  <c:v>211148.30579999997</c:v>
                </c:pt>
                <c:pt idx="5">
                  <c:v>1566649.6702999999</c:v>
                </c:pt>
                <c:pt idx="6">
                  <c:v>149151.07840000003</c:v>
                </c:pt>
                <c:pt idx="7">
                  <c:v>187196.62399999998</c:v>
                </c:pt>
                <c:pt idx="8">
                  <c:v>1207357.7841999999</c:v>
                </c:pt>
                <c:pt idx="9">
                  <c:v>1563091.1579999998</c:v>
                </c:pt>
                <c:pt idx="10">
                  <c:v>182424.33279999997</c:v>
                </c:pt>
              </c:numCache>
            </c:numRef>
          </c:bubbleSize>
          <c:bubble3D val="0"/>
          <c:extLst>
            <c:ext xmlns:c15="http://schemas.microsoft.com/office/drawing/2012/chart" uri="{02D57815-91ED-43cb-92C2-25804820EDAC}">
              <c15:datalabelsRange>
                <c15:f>Sheet1!$E$2:$E$50</c15:f>
                <c15:dlblRangeCache>
                  <c:ptCount val="49"/>
                  <c:pt idx="0">
                    <c:v>Findus Merluzzo Altro Findus Fish Bar 245GR</c:v>
                  </c:pt>
                  <c:pt idx="1">
                    <c:v>Findus Merluzzo D Alaska Chips Findus Big Burger 227GR</c:v>
                  </c:pt>
                  <c:pt idx="2">
                    <c:v>Findus Merluzzo D Alaska Standard Findus Big Burger 227GR</c:v>
                  </c:pt>
                  <c:pt idx="3">
                    <c:v>Findus Merluzzo E Spinaci Filetto Findus Croccole 300GR</c:v>
                  </c:pt>
                  <c:pt idx="4">
                    <c:v>Findus Merluzzo Filetto Findus Croccole 300GR</c:v>
                  </c:pt>
                  <c:pt idx="5">
                    <c:v>Findus Merluzzo Filetto Findus Croccole 600GR</c:v>
                  </c:pt>
                  <c:pt idx="6">
                    <c:v>Findus Merluzzo Filetto Findus Fish &amp; Crock 250GR</c:v>
                  </c:pt>
                  <c:pt idx="7">
                    <c:v>Findus Merluzzo Filetto Findus Fish Bar 240GR</c:v>
                  </c:pt>
                  <c:pt idx="8">
                    <c:v>Findus Merluzzo Semi Filetto Findus Croccole 300GR</c:v>
                  </c:pt>
                  <c:pt idx="9">
                    <c:v>Findus Merluzzo Senza Glutine Filetto Findus Croccole 250GR</c:v>
                  </c:pt>
                  <c:pt idx="10">
                    <c:v>Findus Platessa Filetto Findus Platessa 250GR</c:v>
                  </c:pt>
                  <c:pt idx="11">
                    <c:v>Findus Salmone Altro Findus Fish Bar 220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3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D68B3D95-1E80-484D-8F08-4E0C4080FD8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8B8E13F3-C41B-47D6-805A-5814E7A6AF6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4F01A70D-046E-4E0C-8B6A-F73CA4BEEB1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BD80B2E7-0133-4AB7-A16F-66FC9074E9C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C6F87A2A-AE81-4146-ACF0-0F09D1AF6D4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75A678BE-067A-473B-93A9-91FD0F5B0C0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958A0AA3-F254-4AFD-BA74-93DF47DACF3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5-BFDA-4C69-8E79-A083B7EFBA29}"/>
                </c:ext>
              </c:extLst>
            </c:dLbl>
            <c:dLbl>
              <c:idx val="1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BFDA-4C69-8E79-A083B7EFBA29}"/>
                </c:ext>
              </c:extLst>
            </c:dLbl>
            <c:dLbl>
              <c:idx val="1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BFDA-4C69-8E79-A083B7EFBA29}"/>
                </c:ext>
              </c:extLst>
            </c:dLbl>
            <c:dLbl>
              <c:idx val="1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BFDA-4C69-8E79-A083B7EFBA29}"/>
                </c:ext>
              </c:extLst>
            </c:dLbl>
            <c:dLbl>
              <c:idx val="1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9-BFDA-4C69-8E79-A083B7EFBA29}"/>
                </c:ext>
              </c:extLst>
            </c:dLbl>
            <c:dLbl>
              <c:idx val="1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A-BFDA-4C69-8E79-A083B7EFBA29}"/>
                </c:ext>
              </c:extLst>
            </c:dLbl>
            <c:dLbl>
              <c:idx val="1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B-BFDA-4C69-8E79-A083B7EFBA29}"/>
                </c:ext>
              </c:extLst>
            </c:dLbl>
            <c:dLbl>
              <c:idx val="1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C-BFDA-4C69-8E79-A083B7EFBA29}"/>
                </c:ext>
              </c:extLst>
            </c:dLbl>
            <c:dLbl>
              <c:idx val="2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BFDA-4C69-8E79-A083B7EFBA29}"/>
                </c:ext>
              </c:extLst>
            </c:dLbl>
            <c:dLbl>
              <c:idx val="2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BFDA-4C69-8E79-A083B7EFBA29}"/>
                </c:ext>
              </c:extLst>
            </c:dLbl>
            <c:dLbl>
              <c:idx val="2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F-BFDA-4C69-8E79-A083B7EFBA29}"/>
                </c:ext>
              </c:extLst>
            </c:dLbl>
            <c:dLbl>
              <c:idx val="2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0-BFDA-4C69-8E79-A083B7EFBA29}"/>
                </c:ext>
              </c:extLst>
            </c:dLbl>
            <c:dLbl>
              <c:idx val="2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1-BFDA-4C69-8E79-A083B7EFBA29}"/>
                </c:ext>
              </c:extLst>
            </c:dLbl>
            <c:dLbl>
              <c:idx val="2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BFDA-4C69-8E79-A083B7EFBA29}"/>
                </c:ext>
              </c:extLst>
            </c:dLbl>
            <c:dLbl>
              <c:idx val="2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BFDA-4C69-8E79-A083B7EFBA29}"/>
                </c:ext>
              </c:extLst>
            </c:dLbl>
            <c:dLbl>
              <c:idx val="2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BFDA-4C69-8E79-A083B7EFBA29}"/>
                </c:ext>
              </c:extLst>
            </c:dLbl>
            <c:dLbl>
              <c:idx val="2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5-BFDA-4C69-8E79-A083B7EFBA29}"/>
                </c:ext>
              </c:extLst>
            </c:dLbl>
            <c:dLbl>
              <c:idx val="2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6-BFDA-4C69-8E79-A083B7EFBA29}"/>
                </c:ext>
              </c:extLst>
            </c:dLbl>
            <c:dLbl>
              <c:idx val="3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7-BFDA-4C69-8E79-A083B7EFBA29}"/>
                </c:ext>
              </c:extLst>
            </c:dLbl>
            <c:dLbl>
              <c:idx val="3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8-BFDA-4C69-8E79-A083B7EFBA29}"/>
                </c:ext>
              </c:extLst>
            </c:dLbl>
            <c:dLbl>
              <c:idx val="3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9-BFDA-4C69-8E79-A083B7EFBA29}"/>
                </c:ext>
              </c:extLst>
            </c:dLbl>
            <c:dLbl>
              <c:idx val="3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BFDA-4C69-8E79-A083B7EFBA29}"/>
                </c:ext>
              </c:extLst>
            </c:dLbl>
            <c:dLbl>
              <c:idx val="3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B-BFDA-4C69-8E79-A083B7EFBA29}"/>
                </c:ext>
              </c:extLst>
            </c:dLbl>
            <c:dLbl>
              <c:idx val="3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C-BFDA-4C69-8E79-A083B7EFBA29}"/>
                </c:ext>
              </c:extLst>
            </c:dLbl>
            <c:dLbl>
              <c:idx val="3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D-BFDA-4C69-8E79-A083B7EFBA29}"/>
                </c:ext>
              </c:extLst>
            </c:dLbl>
            <c:dLbl>
              <c:idx val="3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BFDA-4C69-8E79-A083B7EFBA29}"/>
                </c:ext>
              </c:extLst>
            </c:dLbl>
            <c:dLbl>
              <c:idx val="3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BFDA-4C69-8E79-A083B7EFBA29}"/>
                </c:ext>
              </c:extLst>
            </c:dLbl>
            <c:dLbl>
              <c:idx val="3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BFDA-4C69-8E79-A083B7EFBA29}"/>
                </c:ext>
              </c:extLst>
            </c:dLbl>
            <c:dLbl>
              <c:idx val="4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1-BFDA-4C69-8E79-A083B7EFBA29}"/>
                </c:ext>
              </c:extLst>
            </c:dLbl>
            <c:dLbl>
              <c:idx val="4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BFDA-4C69-8E79-A083B7EFBA29}"/>
                </c:ext>
              </c:extLst>
            </c:dLbl>
            <c:dLbl>
              <c:idx val="4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BFDA-4C69-8E79-A083B7EFBA29}"/>
                </c:ext>
              </c:extLst>
            </c:dLbl>
            <c:dLbl>
              <c:idx val="4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BFDA-4C69-8E79-A083B7EFBA29}"/>
                </c:ext>
              </c:extLst>
            </c:dLbl>
            <c:dLbl>
              <c:idx val="4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BFDA-4C69-8E79-A083B7EFBA29}"/>
                </c:ext>
              </c:extLst>
            </c:dLbl>
            <c:dLbl>
              <c:idx val="4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BFDA-4C69-8E79-A083B7EFBA29}"/>
                </c:ext>
              </c:extLst>
            </c:dLbl>
            <c:dLbl>
              <c:idx val="4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BFDA-4C69-8E79-A083B7EFBA29}"/>
                </c:ext>
              </c:extLst>
            </c:dLbl>
            <c:dLbl>
              <c:idx val="4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BFDA-4C69-8E79-A083B7EFBA29}"/>
                </c:ext>
              </c:extLst>
            </c:dLbl>
            <c:dLbl>
              <c:idx val="4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9</c:f>
              <c:numCache>
                <c:formatCode>General</c:formatCode>
                <c:ptCount val="8"/>
                <c:pt idx="0">
                  <c:v>0.5395</c:v>
                </c:pt>
                <c:pt idx="1">
                  <c:v>0.4336</c:v>
                </c:pt>
                <c:pt idx="2">
                  <c:v>0.3976</c:v>
                </c:pt>
                <c:pt idx="3">
                  <c:v>0.363</c:v>
                </c:pt>
                <c:pt idx="4">
                  <c:v>0.3263</c:v>
                </c:pt>
                <c:pt idx="5">
                  <c:v>0.2464</c:v>
                </c:pt>
                <c:pt idx="6">
                  <c:v>0.4233</c:v>
                </c:pt>
                <c:pt idx="7">
                  <c:v>0.4895</c:v>
                </c:pt>
              </c:numCache>
            </c:numRef>
          </c:xVal>
          <c:yVal>
            <c:numRef>
              <c:f>Sheet1!$B$2:$B$9</c:f>
              <c:numCache>
                <c:formatCode>General</c:formatCode>
                <c:ptCount val="8"/>
                <c:pt idx="0">
                  <c:v>6740.530191458026</c:v>
                </c:pt>
                <c:pt idx="1">
                  <c:v>10304.161712247325</c:v>
                </c:pt>
                <c:pt idx="2">
                  <c:v>61730.22044088176</c:v>
                </c:pt>
                <c:pt idx="3">
                  <c:v>52226.90754516472</c:v>
                </c:pt>
                <c:pt idx="4">
                  <c:v>79341.23548046463</c:v>
                </c:pt>
                <c:pt idx="5">
                  <c:v>1325.1948051948052</c:v>
                </c:pt>
                <c:pt idx="6">
                  <c:v>14262.722513089006</c:v>
                </c:pt>
                <c:pt idx="7">
                  <c:v>14741.662735849057</c:v>
                </c:pt>
              </c:numCache>
            </c:numRef>
          </c:yVal>
          <c:bubbleSize>
            <c:numRef>
              <c:f>Sheet1!$C$2:$C$9</c:f>
              <c:numCache>
                <c:formatCode>General</c:formatCode>
                <c:ptCount val="8"/>
                <c:pt idx="0">
                  <c:v>199774.98380000005</c:v>
                </c:pt>
                <c:pt idx="1">
                  <c:v>465262.3417000001</c:v>
                </c:pt>
                <c:pt idx="2">
                  <c:v>3517429.0794000006</c:v>
                </c:pt>
                <c:pt idx="3">
                  <c:v>2967487.1029999997</c:v>
                </c:pt>
                <c:pt idx="4">
                  <c:v>4797651.408399999</c:v>
                </c:pt>
                <c:pt idx="5">
                  <c:v>21865.146199999996</c:v>
                </c:pt>
                <c:pt idx="6">
                  <c:v>744418.5861000001</c:v>
                </c:pt>
                <c:pt idx="7">
                  <c:v>604870.5601999997</c:v>
                </c:pt>
              </c:numCache>
            </c:numRef>
          </c:bubbleSize>
          <c:bubble3D val="0"/>
          <c:extLst>
            <c:ext xmlns:c15="http://schemas.microsoft.com/office/drawing/2012/chart" uri="{02D57815-91ED-43cb-92C2-25804820EDAC}">
              <c15:datalabelsRange>
                <c15:f>Sheet1!$E$2:$E$50</c15:f>
                <c15:dlblRangeCache>
                  <c:ptCount val="49"/>
                  <c:pt idx="0">
                    <c:v>Findus Merluzzo Altro Findus Fish Bar 245GR</c:v>
                  </c:pt>
                  <c:pt idx="1">
                    <c:v>Findus Merluzzo D Alaska Chips Findus Big Burger 227GR</c:v>
                  </c:pt>
                  <c:pt idx="2">
                    <c:v>Findus Merluzzo D Alaska Standard Findus Big Burger 227GR</c:v>
                  </c:pt>
                  <c:pt idx="3">
                    <c:v>Findus Merluzzo E Spinaci Filetto Findus Croccole 300GR</c:v>
                  </c:pt>
                  <c:pt idx="4">
                    <c:v>Findus Merluzzo Filetto Findus Croccole 300GR</c:v>
                  </c:pt>
                  <c:pt idx="5">
                    <c:v>Findus Merluzzo Filetto Findus Croccole 600GR</c:v>
                  </c:pt>
                  <c:pt idx="6">
                    <c:v>Findus Merluzzo Filetto Findus Fish &amp; Crock 250GR</c:v>
                  </c:pt>
                  <c:pt idx="7">
                    <c:v>Findus Merluzzo Filetto Findus Fish Bar 240GR</c:v>
                  </c:pt>
                  <c:pt idx="8">
                    <c:v>Findus Merluzzo Semi Filetto Findus Croccole 300GR</c:v>
                  </c:pt>
                  <c:pt idx="9">
                    <c:v>Findus Merluzzo Senza Glutine Filetto Findus Croccole 250GR</c:v>
                  </c:pt>
                  <c:pt idx="10">
                    <c:v>Findus Platessa Filetto Findus Platessa 250GR</c:v>
                  </c:pt>
                  <c:pt idx="11">
                    <c:v>Findus Salmone Altro Findus Fish Bar 220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3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1FF749E1-4B27-4915-9C96-8AB950CA577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DB6B2365-27C7-47E1-A788-9F6694CF389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B75C0C35-C6D6-489F-A4B6-EBE0E368E92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0B41EA37-1664-43D5-A73A-553725061FC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A1BF0B99-4413-4EB9-9169-6D73889FD04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92C13DA5-D735-4FAC-9D91-AD57E913252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88C89920-0634-49A0-B427-2225F6055FE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5-BFDA-4C69-8E79-A083B7EFBA29}"/>
                </c:ext>
              </c:extLst>
            </c:dLbl>
            <c:dLbl>
              <c:idx val="1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BFDA-4C69-8E79-A083B7EFBA29}"/>
                </c:ext>
              </c:extLst>
            </c:dLbl>
            <c:dLbl>
              <c:idx val="1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BFDA-4C69-8E79-A083B7EFBA29}"/>
                </c:ext>
              </c:extLst>
            </c:dLbl>
            <c:dLbl>
              <c:idx val="1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BFDA-4C69-8E79-A083B7EFBA29}"/>
                </c:ext>
              </c:extLst>
            </c:dLbl>
            <c:dLbl>
              <c:idx val="1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9-BFDA-4C69-8E79-A083B7EFBA29}"/>
                </c:ext>
              </c:extLst>
            </c:dLbl>
            <c:dLbl>
              <c:idx val="1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A-BFDA-4C69-8E79-A083B7EFBA29}"/>
                </c:ext>
              </c:extLst>
            </c:dLbl>
            <c:dLbl>
              <c:idx val="1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B-BFDA-4C69-8E79-A083B7EFBA29}"/>
                </c:ext>
              </c:extLst>
            </c:dLbl>
            <c:dLbl>
              <c:idx val="1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C-BFDA-4C69-8E79-A083B7EFBA29}"/>
                </c:ext>
              </c:extLst>
            </c:dLbl>
            <c:dLbl>
              <c:idx val="2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BFDA-4C69-8E79-A083B7EFBA29}"/>
                </c:ext>
              </c:extLst>
            </c:dLbl>
            <c:dLbl>
              <c:idx val="2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BFDA-4C69-8E79-A083B7EFBA29}"/>
                </c:ext>
              </c:extLst>
            </c:dLbl>
            <c:dLbl>
              <c:idx val="2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F-BFDA-4C69-8E79-A083B7EFBA29}"/>
                </c:ext>
              </c:extLst>
            </c:dLbl>
            <c:dLbl>
              <c:idx val="2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0-BFDA-4C69-8E79-A083B7EFBA29}"/>
                </c:ext>
              </c:extLst>
            </c:dLbl>
            <c:dLbl>
              <c:idx val="2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1-BFDA-4C69-8E79-A083B7EFBA29}"/>
                </c:ext>
              </c:extLst>
            </c:dLbl>
            <c:dLbl>
              <c:idx val="2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BFDA-4C69-8E79-A083B7EFBA29}"/>
                </c:ext>
              </c:extLst>
            </c:dLbl>
            <c:dLbl>
              <c:idx val="2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BFDA-4C69-8E79-A083B7EFBA29}"/>
                </c:ext>
              </c:extLst>
            </c:dLbl>
            <c:dLbl>
              <c:idx val="2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BFDA-4C69-8E79-A083B7EFBA29}"/>
                </c:ext>
              </c:extLst>
            </c:dLbl>
            <c:dLbl>
              <c:idx val="2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5-BFDA-4C69-8E79-A083B7EFBA29}"/>
                </c:ext>
              </c:extLst>
            </c:dLbl>
            <c:dLbl>
              <c:idx val="2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6-BFDA-4C69-8E79-A083B7EFBA29}"/>
                </c:ext>
              </c:extLst>
            </c:dLbl>
            <c:dLbl>
              <c:idx val="3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7-BFDA-4C69-8E79-A083B7EFBA29}"/>
                </c:ext>
              </c:extLst>
            </c:dLbl>
            <c:dLbl>
              <c:idx val="3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8-BFDA-4C69-8E79-A083B7EFBA29}"/>
                </c:ext>
              </c:extLst>
            </c:dLbl>
            <c:dLbl>
              <c:idx val="3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9-BFDA-4C69-8E79-A083B7EFBA29}"/>
                </c:ext>
              </c:extLst>
            </c:dLbl>
            <c:dLbl>
              <c:idx val="3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BFDA-4C69-8E79-A083B7EFBA29}"/>
                </c:ext>
              </c:extLst>
            </c:dLbl>
            <c:dLbl>
              <c:idx val="3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B-BFDA-4C69-8E79-A083B7EFBA29}"/>
                </c:ext>
              </c:extLst>
            </c:dLbl>
            <c:dLbl>
              <c:idx val="3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C-BFDA-4C69-8E79-A083B7EFBA29}"/>
                </c:ext>
              </c:extLst>
            </c:dLbl>
            <c:dLbl>
              <c:idx val="3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D-BFDA-4C69-8E79-A083B7EFBA29}"/>
                </c:ext>
              </c:extLst>
            </c:dLbl>
            <c:dLbl>
              <c:idx val="3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BFDA-4C69-8E79-A083B7EFBA29}"/>
                </c:ext>
              </c:extLst>
            </c:dLbl>
            <c:dLbl>
              <c:idx val="3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BFDA-4C69-8E79-A083B7EFBA29}"/>
                </c:ext>
              </c:extLst>
            </c:dLbl>
            <c:dLbl>
              <c:idx val="3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BFDA-4C69-8E79-A083B7EFBA29}"/>
                </c:ext>
              </c:extLst>
            </c:dLbl>
            <c:dLbl>
              <c:idx val="4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1-BFDA-4C69-8E79-A083B7EFBA29}"/>
                </c:ext>
              </c:extLst>
            </c:dLbl>
            <c:dLbl>
              <c:idx val="4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BFDA-4C69-8E79-A083B7EFBA29}"/>
                </c:ext>
              </c:extLst>
            </c:dLbl>
            <c:dLbl>
              <c:idx val="4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BFDA-4C69-8E79-A083B7EFBA29}"/>
                </c:ext>
              </c:extLst>
            </c:dLbl>
            <c:dLbl>
              <c:idx val="4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BFDA-4C69-8E79-A083B7EFBA29}"/>
                </c:ext>
              </c:extLst>
            </c:dLbl>
            <c:dLbl>
              <c:idx val="4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BFDA-4C69-8E79-A083B7EFBA29}"/>
                </c:ext>
              </c:extLst>
            </c:dLbl>
            <c:dLbl>
              <c:idx val="4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BFDA-4C69-8E79-A083B7EFBA29}"/>
                </c:ext>
              </c:extLst>
            </c:dLbl>
            <c:dLbl>
              <c:idx val="4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BFDA-4C69-8E79-A083B7EFBA29}"/>
                </c:ext>
              </c:extLst>
            </c:dLbl>
            <c:dLbl>
              <c:idx val="4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BFDA-4C69-8E79-A083B7EFBA29}"/>
                </c:ext>
              </c:extLst>
            </c:dLbl>
            <c:dLbl>
              <c:idx val="4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19</c:f>
              <c:numCache>
                <c:formatCode>General</c:formatCode>
                <c:ptCount val="18"/>
                <c:pt idx="0">
                  <c:v>0.3548</c:v>
                </c:pt>
                <c:pt idx="1">
                  <c:v>0.3578</c:v>
                </c:pt>
                <c:pt idx="2">
                  <c:v>0.4275</c:v>
                </c:pt>
                <c:pt idx="3">
                  <c:v>0.4031</c:v>
                </c:pt>
                <c:pt idx="4">
                  <c:v>0.5215</c:v>
                </c:pt>
                <c:pt idx="5">
                  <c:v>0.4011</c:v>
                </c:pt>
                <c:pt idx="6">
                  <c:v>0.4043</c:v>
                </c:pt>
                <c:pt idx="7">
                  <c:v>0.3731</c:v>
                </c:pt>
                <c:pt idx="8">
                  <c:v>0.4073</c:v>
                </c:pt>
                <c:pt idx="9">
                  <c:v>0.4856</c:v>
                </c:pt>
                <c:pt idx="10">
                  <c:v>0.4414</c:v>
                </c:pt>
                <c:pt idx="11">
                  <c:v>0.3881</c:v>
                </c:pt>
                <c:pt idx="12">
                  <c:v>0.4369</c:v>
                </c:pt>
                <c:pt idx="13">
                  <c:v>0.3868</c:v>
                </c:pt>
                <c:pt idx="14">
                  <c:v>0.3638</c:v>
                </c:pt>
                <c:pt idx="15">
                  <c:v>0.4263</c:v>
                </c:pt>
                <c:pt idx="16">
                  <c:v>0.4791</c:v>
                </c:pt>
                <c:pt idx="17">
                  <c:v>0.4301</c:v>
                </c:pt>
              </c:numCache>
            </c:numRef>
          </c:xVal>
          <c:yVal>
            <c:numRef>
              <c:f>Sheet1!$B$2:$B$19</c:f>
              <c:numCache>
                <c:formatCode>General</c:formatCode>
                <c:ptCount val="18"/>
                <c:pt idx="0">
                  <c:v>27527.410805300715</c:v>
                </c:pt>
                <c:pt idx="1">
                  <c:v>24558.517034068136</c:v>
                </c:pt>
                <c:pt idx="2">
                  <c:v>8635.179856115108</c:v>
                </c:pt>
                <c:pt idx="3">
                  <c:v>10309.234693877552</c:v>
                </c:pt>
                <c:pt idx="4">
                  <c:v>648.2532751091703</c:v>
                </c:pt>
                <c:pt idx="5">
                  <c:v>2730.892307692308</c:v>
                </c:pt>
                <c:pt idx="6">
                  <c:v>11438.093716719915</c:v>
                </c:pt>
                <c:pt idx="7">
                  <c:v>27838.23469387755</c:v>
                </c:pt>
                <c:pt idx="8">
                  <c:v>8505.593023255815</c:v>
                </c:pt>
                <c:pt idx="9">
                  <c:v>12471.153039832287</c:v>
                </c:pt>
                <c:pt idx="10">
                  <c:v>5809.356435643564</c:v>
                </c:pt>
                <c:pt idx="11">
                  <c:v>7229.13829787234</c:v>
                </c:pt>
                <c:pt idx="12">
                  <c:v>11293.564049586777</c:v>
                </c:pt>
                <c:pt idx="13">
                  <c:v>2199.242603550296</c:v>
                </c:pt>
                <c:pt idx="14">
                  <c:v>1098.206724782067</c:v>
                </c:pt>
                <c:pt idx="15">
                  <c:v>3335.868772782503</c:v>
                </c:pt>
                <c:pt idx="16">
                  <c:v>1614.0757575757575</c:v>
                </c:pt>
                <c:pt idx="17">
                  <c:v>1111.304347826087</c:v>
                </c:pt>
              </c:numCache>
            </c:numRef>
          </c:yVal>
          <c:bubbleSize>
            <c:numRef>
              <c:f>Sheet1!$C$2:$C$19</c:f>
              <c:numCache>
                <c:formatCode>General</c:formatCode>
                <c:ptCount val="18"/>
                <c:pt idx="0">
                  <c:v>1651385.2755000002</c:v>
                </c:pt>
                <c:pt idx="1">
                  <c:v>1491960.5067000005</c:v>
                </c:pt>
                <c:pt idx="2">
                  <c:v>455950.0355</c:v>
                </c:pt>
                <c:pt idx="3">
                  <c:v>571593.6846999999</c:v>
                </c:pt>
                <c:pt idx="4">
                  <c:v>19383.52</c:v>
                </c:pt>
                <c:pt idx="5">
                  <c:v>50382.1857</c:v>
                </c:pt>
                <c:pt idx="6">
                  <c:v>606479.7723999999</c:v>
                </c:pt>
                <c:pt idx="7">
                  <c:v>1621213.0609000002</c:v>
                </c:pt>
                <c:pt idx="8">
                  <c:v>410939.0</c:v>
                </c:pt>
                <c:pt idx="9">
                  <c:v>580146.0286</c:v>
                </c:pt>
                <c:pt idx="10">
                  <c:v>248552.02370000002</c:v>
                </c:pt>
                <c:pt idx="11">
                  <c:v>394111.0859</c:v>
                </c:pt>
                <c:pt idx="12">
                  <c:v>583488.7946</c:v>
                </c:pt>
                <c:pt idx="13">
                  <c:v>108019.20160000001</c:v>
                </c:pt>
                <c:pt idx="14">
                  <c:v>53176.0122</c:v>
                </c:pt>
                <c:pt idx="15">
                  <c:v>149306.44979999997</c:v>
                </c:pt>
                <c:pt idx="16">
                  <c:v>52600.97309999999</c:v>
                </c:pt>
                <c:pt idx="17">
                  <c:v>24854.501100000005</c:v>
                </c:pt>
              </c:numCache>
            </c:numRef>
          </c:bubbleSize>
          <c:bubble3D val="0"/>
          <c:extLst>
            <c:ext xmlns:c15="http://schemas.microsoft.com/office/drawing/2012/chart" uri="{02D57815-91ED-43cb-92C2-25804820EDAC}">
              <c15:datalabelsRange>
                <c15:f>Sheet1!$E$2:$E$50</c15:f>
                <c15:dlblRangeCache>
                  <c:ptCount val="49"/>
                  <c:pt idx="0">
                    <c:v>Findus Merluzzo Altro Findus Fish Bar 245GR</c:v>
                  </c:pt>
                  <c:pt idx="1">
                    <c:v>Findus Merluzzo D Alaska Chips Findus Big Burger 227GR</c:v>
                  </c:pt>
                  <c:pt idx="2">
                    <c:v>Findus Merluzzo D Alaska Standard Findus Big Burger 227GR</c:v>
                  </c:pt>
                  <c:pt idx="3">
                    <c:v>Findus Merluzzo E Spinaci Filetto Findus Croccole 300GR</c:v>
                  </c:pt>
                  <c:pt idx="4">
                    <c:v>Findus Merluzzo Filetto Findus Croccole 300GR</c:v>
                  </c:pt>
                  <c:pt idx="5">
                    <c:v>Findus Merluzzo Filetto Findus Croccole 600GR</c:v>
                  </c:pt>
                  <c:pt idx="6">
                    <c:v>Findus Merluzzo Filetto Findus Fish &amp; Crock 250GR</c:v>
                  </c:pt>
                  <c:pt idx="7">
                    <c:v>Findus Merluzzo Filetto Findus Fish Bar 240GR</c:v>
                  </c:pt>
                  <c:pt idx="8">
                    <c:v>Findus Merluzzo Semi Filetto Findus Croccole 300GR</c:v>
                  </c:pt>
                  <c:pt idx="9">
                    <c:v>Findus Merluzzo Senza Glutine Filetto Findus Croccole 250GR</c:v>
                  </c:pt>
                  <c:pt idx="10">
                    <c:v>Findus Platessa Filetto Findus Platessa 250GR</c:v>
                  </c:pt>
                  <c:pt idx="11">
                    <c:v>Findus Salmone Altro Findus Fish Bar 220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3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14DC7F43-2DE8-49E0-854E-45C0D4F0E21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585910FB-A9A2-40DE-BEAD-C10B238B2F9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217BFEA3-462D-4E51-A28A-D921A0E73DB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5E30104A-E7D2-41B5-B907-7A9E7310D84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8AFBBF56-E06F-43B9-A01A-4E7FB3A5576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B5E4ED4C-64AC-4560-B8F8-A992841A921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819113C4-3F8C-4E17-AEE2-6061DFB4F68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5-BFDA-4C69-8E79-A083B7EFBA29}"/>
                </c:ext>
              </c:extLst>
            </c:dLbl>
            <c:dLbl>
              <c:idx val="1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BFDA-4C69-8E79-A083B7EFBA29}"/>
                </c:ext>
              </c:extLst>
            </c:dLbl>
            <c:dLbl>
              <c:idx val="1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BFDA-4C69-8E79-A083B7EFBA29}"/>
                </c:ext>
              </c:extLst>
            </c:dLbl>
            <c:dLbl>
              <c:idx val="1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BFDA-4C69-8E79-A083B7EFBA29}"/>
                </c:ext>
              </c:extLst>
            </c:dLbl>
            <c:dLbl>
              <c:idx val="1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9-BFDA-4C69-8E79-A083B7EFBA29}"/>
                </c:ext>
              </c:extLst>
            </c:dLbl>
            <c:dLbl>
              <c:idx val="1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A-BFDA-4C69-8E79-A083B7EFBA29}"/>
                </c:ext>
              </c:extLst>
            </c:dLbl>
            <c:dLbl>
              <c:idx val="1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B-BFDA-4C69-8E79-A083B7EFBA29}"/>
                </c:ext>
              </c:extLst>
            </c:dLbl>
            <c:dLbl>
              <c:idx val="1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C-BFDA-4C69-8E79-A083B7EFBA29}"/>
                </c:ext>
              </c:extLst>
            </c:dLbl>
            <c:dLbl>
              <c:idx val="2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BFDA-4C69-8E79-A083B7EFBA29}"/>
                </c:ext>
              </c:extLst>
            </c:dLbl>
            <c:dLbl>
              <c:idx val="2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BFDA-4C69-8E79-A083B7EFBA29}"/>
                </c:ext>
              </c:extLst>
            </c:dLbl>
            <c:dLbl>
              <c:idx val="2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F-BFDA-4C69-8E79-A083B7EFBA29}"/>
                </c:ext>
              </c:extLst>
            </c:dLbl>
            <c:dLbl>
              <c:idx val="2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0-BFDA-4C69-8E79-A083B7EFBA29}"/>
                </c:ext>
              </c:extLst>
            </c:dLbl>
            <c:dLbl>
              <c:idx val="2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1-BFDA-4C69-8E79-A083B7EFBA29}"/>
                </c:ext>
              </c:extLst>
            </c:dLbl>
            <c:dLbl>
              <c:idx val="2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BFDA-4C69-8E79-A083B7EFBA29}"/>
                </c:ext>
              </c:extLst>
            </c:dLbl>
            <c:dLbl>
              <c:idx val="2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BFDA-4C69-8E79-A083B7EFBA29}"/>
                </c:ext>
              </c:extLst>
            </c:dLbl>
            <c:dLbl>
              <c:idx val="2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BFDA-4C69-8E79-A083B7EFBA29}"/>
                </c:ext>
              </c:extLst>
            </c:dLbl>
            <c:dLbl>
              <c:idx val="2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5-BFDA-4C69-8E79-A083B7EFBA29}"/>
                </c:ext>
              </c:extLst>
            </c:dLbl>
            <c:dLbl>
              <c:idx val="2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6-BFDA-4C69-8E79-A083B7EFBA29}"/>
                </c:ext>
              </c:extLst>
            </c:dLbl>
            <c:dLbl>
              <c:idx val="3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7-BFDA-4C69-8E79-A083B7EFBA29}"/>
                </c:ext>
              </c:extLst>
            </c:dLbl>
            <c:dLbl>
              <c:idx val="3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8-BFDA-4C69-8E79-A083B7EFBA29}"/>
                </c:ext>
              </c:extLst>
            </c:dLbl>
            <c:dLbl>
              <c:idx val="3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9-BFDA-4C69-8E79-A083B7EFBA29}"/>
                </c:ext>
              </c:extLst>
            </c:dLbl>
            <c:dLbl>
              <c:idx val="3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BFDA-4C69-8E79-A083B7EFBA29}"/>
                </c:ext>
              </c:extLst>
            </c:dLbl>
            <c:dLbl>
              <c:idx val="3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B-BFDA-4C69-8E79-A083B7EFBA29}"/>
                </c:ext>
              </c:extLst>
            </c:dLbl>
            <c:dLbl>
              <c:idx val="3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C-BFDA-4C69-8E79-A083B7EFBA29}"/>
                </c:ext>
              </c:extLst>
            </c:dLbl>
            <c:dLbl>
              <c:idx val="3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D-BFDA-4C69-8E79-A083B7EFBA29}"/>
                </c:ext>
              </c:extLst>
            </c:dLbl>
            <c:dLbl>
              <c:idx val="3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BFDA-4C69-8E79-A083B7EFBA29}"/>
                </c:ext>
              </c:extLst>
            </c:dLbl>
            <c:dLbl>
              <c:idx val="3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BFDA-4C69-8E79-A083B7EFBA29}"/>
                </c:ext>
              </c:extLst>
            </c:dLbl>
            <c:dLbl>
              <c:idx val="3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BFDA-4C69-8E79-A083B7EFBA29}"/>
                </c:ext>
              </c:extLst>
            </c:dLbl>
            <c:dLbl>
              <c:idx val="4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1-BFDA-4C69-8E79-A083B7EFBA29}"/>
                </c:ext>
              </c:extLst>
            </c:dLbl>
            <c:dLbl>
              <c:idx val="4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BFDA-4C69-8E79-A083B7EFBA29}"/>
                </c:ext>
              </c:extLst>
            </c:dLbl>
            <c:dLbl>
              <c:idx val="4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BFDA-4C69-8E79-A083B7EFBA29}"/>
                </c:ext>
              </c:extLst>
            </c:dLbl>
            <c:dLbl>
              <c:idx val="4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BFDA-4C69-8E79-A083B7EFBA29}"/>
                </c:ext>
              </c:extLst>
            </c:dLbl>
            <c:dLbl>
              <c:idx val="4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BFDA-4C69-8E79-A083B7EFBA29}"/>
                </c:ext>
              </c:extLst>
            </c:dLbl>
            <c:dLbl>
              <c:idx val="4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BFDA-4C69-8E79-A083B7EFBA29}"/>
                </c:ext>
              </c:extLst>
            </c:dLbl>
            <c:dLbl>
              <c:idx val="4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BFDA-4C69-8E79-A083B7EFBA29}"/>
                </c:ext>
              </c:extLst>
            </c:dLbl>
            <c:dLbl>
              <c:idx val="4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BFDA-4C69-8E79-A083B7EFBA29}"/>
                </c:ext>
              </c:extLst>
            </c:dLbl>
            <c:dLbl>
              <c:idx val="4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11</c:f>
              <c:numCache>
                <c:formatCode>General</c:formatCode>
                <c:ptCount val="10"/>
                <c:pt idx="0">
                  <c:v>0.2973</c:v>
                </c:pt>
                <c:pt idx="1">
                  <c:v>0.3816</c:v>
                </c:pt>
                <c:pt idx="2">
                  <c:v>0.3731</c:v>
                </c:pt>
                <c:pt idx="3">
                  <c:v>0.4025</c:v>
                </c:pt>
                <c:pt idx="4">
                  <c:v>0.3495</c:v>
                </c:pt>
                <c:pt idx="5">
                  <c:v>0.2925</c:v>
                </c:pt>
                <c:pt idx="6">
                  <c:v>0.3734</c:v>
                </c:pt>
                <c:pt idx="7">
                  <c:v>0.2595</c:v>
                </c:pt>
                <c:pt idx="8">
                  <c:v>0.3229</c:v>
                </c:pt>
                <c:pt idx="9">
                  <c:v>0.3338</c:v>
                </c:pt>
              </c:numCache>
            </c:numRef>
          </c:xVal>
          <c:yVal>
            <c:numRef>
              <c:f>Sheet1!$B$2:$B$11</c:f>
              <c:numCache>
                <c:formatCode>General</c:formatCode>
                <c:ptCount val="10"/>
                <c:pt idx="0">
                  <c:v>19457.76</c:v>
                </c:pt>
                <c:pt idx="1">
                  <c:v>45589.41414141414</c:v>
                </c:pt>
                <c:pt idx="2">
                  <c:v>2226.4591836734694</c:v>
                </c:pt>
                <c:pt idx="3">
                  <c:v>3431.15625</c:v>
                </c:pt>
                <c:pt idx="4">
                  <c:v>1891.3733333333332</c:v>
                </c:pt>
                <c:pt idx="5">
                  <c:v>11794.45</c:v>
                </c:pt>
                <c:pt idx="6">
                  <c:v>1402.6404494382023</c:v>
                </c:pt>
                <c:pt idx="7">
                  <c:v>8238.34693877551</c:v>
                </c:pt>
                <c:pt idx="8">
                  <c:v>14911.01</c:v>
                </c:pt>
                <c:pt idx="9">
                  <c:v>11125.10101010101</c:v>
                </c:pt>
              </c:numCache>
            </c:numRef>
          </c:yVal>
          <c:bubbleSize>
            <c:numRef>
              <c:f>Sheet1!$C$2:$C$11</c:f>
              <c:numCache>
                <c:formatCode>General</c:formatCode>
                <c:ptCount val="10"/>
                <c:pt idx="0">
                  <c:v>1296098.2605999997</c:v>
                </c:pt>
                <c:pt idx="1">
                  <c:v>2645737.671800001</c:v>
                </c:pt>
                <c:pt idx="2">
                  <c:v>129655.06629999999</c:v>
                </c:pt>
                <c:pt idx="3">
                  <c:v>186540.4972</c:v>
                </c:pt>
                <c:pt idx="4">
                  <c:v>87470.35269999999</c:v>
                </c:pt>
                <c:pt idx="5">
                  <c:v>790966.1867999999</c:v>
                </c:pt>
                <c:pt idx="6">
                  <c:v>74144.0196</c:v>
                </c:pt>
                <c:pt idx="7">
                  <c:v>566708.1048</c:v>
                </c:pt>
                <c:pt idx="8">
                  <c:v>956991.22</c:v>
                </c:pt>
                <c:pt idx="9">
                  <c:v>695514.2348000001</c:v>
                </c:pt>
              </c:numCache>
            </c:numRef>
          </c:bubbleSize>
          <c:bubble3D val="0"/>
          <c:extLst>
            <c:ext xmlns:c15="http://schemas.microsoft.com/office/drawing/2012/chart" uri="{02D57815-91ED-43cb-92C2-25804820EDAC}">
              <c15:datalabelsRange>
                <c15:f>Sheet1!$E$2:$E$50</c15:f>
                <c15:dlblRangeCache>
                  <c:ptCount val="49"/>
                  <c:pt idx="0">
                    <c:v>Findus Merluzzo Altro Findus Fish Bar 245GR</c:v>
                  </c:pt>
                  <c:pt idx="1">
                    <c:v>Findus Merluzzo D Alaska Chips Findus Big Burger 227GR</c:v>
                  </c:pt>
                  <c:pt idx="2">
                    <c:v>Findus Merluzzo D Alaska Standard Findus Big Burger 227GR</c:v>
                  </c:pt>
                  <c:pt idx="3">
                    <c:v>Findus Merluzzo E Spinaci Filetto Findus Croccole 300GR</c:v>
                  </c:pt>
                  <c:pt idx="4">
                    <c:v>Findus Merluzzo Filetto Findus Croccole 300GR</c:v>
                  </c:pt>
                  <c:pt idx="5">
                    <c:v>Findus Merluzzo Filetto Findus Croccole 600GR</c:v>
                  </c:pt>
                  <c:pt idx="6">
                    <c:v>Findus Merluzzo Filetto Findus Fish &amp; Crock 250GR</c:v>
                  </c:pt>
                  <c:pt idx="7">
                    <c:v>Findus Merluzzo Filetto Findus Fish Bar 240GR</c:v>
                  </c:pt>
                  <c:pt idx="8">
                    <c:v>Findus Merluzzo Semi Filetto Findus Croccole 300GR</c:v>
                  </c:pt>
                  <c:pt idx="9">
                    <c:v>Findus Merluzzo Senza Glutine Filetto Findus Croccole 250GR</c:v>
                  </c:pt>
                  <c:pt idx="10">
                    <c:v>Findus Platessa Filetto Findus Platessa 250GR</c:v>
                  </c:pt>
                  <c:pt idx="11">
                    <c:v>Findus Salmone Altro Findus Fish Bar 220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Private Label</c:v>
                </c:pt>
                <c:pt idx="1">
                  <c:v>President</c:v>
                </c:pt>
                <c:pt idx="2">
                  <c:v>La Belle Etoile</c:v>
                </c:pt>
                <c:pt idx="3">
                  <c:v>Raguin</c:v>
                </c:pt>
                <c:pt idx="4">
                  <c:v>Boursin</c:v>
                </c:pt>
                <c:pt idx="5">
                  <c:v>Richesmonts</c:v>
                </c:pt>
                <c:pt idx="6">
                  <c:v>Others</c:v>
                </c:pt>
              </c:strCache>
            </c:strRef>
          </c:cat>
          <c:val>
            <c:numRef>
              <c:f>Sheet1!$B$2:$B$8</c:f>
              <c:numCache>
                <c:formatCode>General</c:formatCode>
                <c:ptCount val="7"/>
                <c:pt idx="0">
                  <c:v>0.4208697424760605</c:v>
                </c:pt>
                <c:pt idx="1">
                  <c:v>0.3544354484694789</c:v>
                </c:pt>
                <c:pt idx="2">
                  <c:v>0.10148031610485833</c:v>
                </c:pt>
                <c:pt idx="3">
                  <c:v>0.042742172307624</c:v>
                </c:pt>
                <c:pt idx="4">
                  <c:v>0.01588254349166496</c:v>
                </c:pt>
                <c:pt idx="5">
                  <c:v>0.011545839947443681</c:v>
                </c:pt>
                <c:pt idx="6">
                  <c:v>0.05304393720286961</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Private Label</c:v>
                </c:pt>
                <c:pt idx="1">
                  <c:v>President</c:v>
                </c:pt>
                <c:pt idx="2">
                  <c:v>La Belle Etoile</c:v>
                </c:pt>
                <c:pt idx="3">
                  <c:v>Raguin</c:v>
                </c:pt>
                <c:pt idx="4">
                  <c:v>Boursin</c:v>
                </c:pt>
                <c:pt idx="5">
                  <c:v>Richesmonts</c:v>
                </c:pt>
                <c:pt idx="6">
                  <c:v>Others</c:v>
                </c:pt>
              </c:strCache>
            </c:strRef>
          </c:cat>
          <c:val>
            <c:numRef>
              <c:f>Sheet1!$C$2:$C$8</c:f>
              <c:numCache>
                <c:formatCode>General</c:formatCode>
                <c:ptCount val="7"/>
                <c:pt idx="0">
                  <c:v>0.30349013657056145</c:v>
                </c:pt>
                <c:pt idx="1">
                  <c:v>0.28730399595346484</c:v>
                </c:pt>
                <c:pt idx="2">
                  <c:v>0.10015174506828532</c:v>
                </c:pt>
                <c:pt idx="3">
                  <c:v>0.050581689428426925</c:v>
                </c:pt>
                <c:pt idx="4">
                  <c:v>0.048558421851289835</c:v>
                </c:pt>
                <c:pt idx="5">
                  <c:v>0.048052604957005564</c:v>
                </c:pt>
                <c:pt idx="6">
                  <c:v>0.16186140617096614</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Private Label</c:v>
                </c:pt>
                <c:pt idx="1">
                  <c:v>President</c:v>
                </c:pt>
                <c:pt idx="2">
                  <c:v>La Belle Etoile</c:v>
                </c:pt>
                <c:pt idx="3">
                  <c:v>Raguin</c:v>
                </c:pt>
                <c:pt idx="4">
                  <c:v>Boursin</c:v>
                </c:pt>
                <c:pt idx="5">
                  <c:v>Richesmonts</c:v>
                </c:pt>
                <c:pt idx="6">
                  <c:v>Others</c:v>
                </c:pt>
              </c:strCache>
            </c:strRef>
          </c:cat>
          <c:val>
            <c:numRef>
              <c:f>Sheet1!$D$2:$D$8</c:f>
              <c:numCache>
                <c:formatCode>General</c:formatCode>
                <c:ptCount val="7"/>
                <c:pt idx="0">
                  <c:v>72.11022935150162</c:v>
                </c:pt>
                <c:pt idx="1">
                  <c:v>81.05961105022065</c:v>
                </c:pt>
                <c:pt idx="2">
                  <c:v>98.6908091267668</c:v>
                </c:pt>
                <c:pt idx="3">
                  <c:v>118.3414101285736</c:v>
                </c:pt>
                <c:pt idx="4">
                  <c:v>305.7345435683707</c:v>
                </c:pt>
                <c:pt idx="5">
                  <c:v>416.1897720368512</c:v>
                </c:pt>
                <c:pt idx="6">
                  <c:v>305.14591243843347</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BAB91B93-421E-456E-AC91-667B9DF8160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96737FD3-4719-4929-AD93-CD261580009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B022F1E3-6D70-43AB-BA34-B479FE97019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CA5C940A-779E-4749-B80D-FE2D1E494FA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033C7163-99EA-4BE6-95EA-125B31311A4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6480A59D-A5B4-4355-8701-13234346551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F203E926-CEB9-40C7-8ED4-E44625ADAE5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5-BFDA-4C69-8E79-A083B7EFBA29}"/>
                </c:ext>
              </c:extLst>
            </c:dLbl>
            <c:dLbl>
              <c:idx val="1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BFDA-4C69-8E79-A083B7EFBA29}"/>
                </c:ext>
              </c:extLst>
            </c:dLbl>
            <c:dLbl>
              <c:idx val="1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BFDA-4C69-8E79-A083B7EFBA29}"/>
                </c:ext>
              </c:extLst>
            </c:dLbl>
            <c:dLbl>
              <c:idx val="1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BFDA-4C69-8E79-A083B7EFBA29}"/>
                </c:ext>
              </c:extLst>
            </c:dLbl>
            <c:dLbl>
              <c:idx val="1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9-BFDA-4C69-8E79-A083B7EFBA29}"/>
                </c:ext>
              </c:extLst>
            </c:dLbl>
            <c:dLbl>
              <c:idx val="1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A-BFDA-4C69-8E79-A083B7EFBA29}"/>
                </c:ext>
              </c:extLst>
            </c:dLbl>
            <c:dLbl>
              <c:idx val="1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B-BFDA-4C69-8E79-A083B7EFBA29}"/>
                </c:ext>
              </c:extLst>
            </c:dLbl>
            <c:dLbl>
              <c:idx val="1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C-BFDA-4C69-8E79-A083B7EFBA29}"/>
                </c:ext>
              </c:extLst>
            </c:dLbl>
            <c:dLbl>
              <c:idx val="2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BFDA-4C69-8E79-A083B7EFBA29}"/>
                </c:ext>
              </c:extLst>
            </c:dLbl>
            <c:dLbl>
              <c:idx val="2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BFDA-4C69-8E79-A083B7EFBA29}"/>
                </c:ext>
              </c:extLst>
            </c:dLbl>
            <c:dLbl>
              <c:idx val="2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F-BFDA-4C69-8E79-A083B7EFBA29}"/>
                </c:ext>
              </c:extLst>
            </c:dLbl>
            <c:dLbl>
              <c:idx val="2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0-BFDA-4C69-8E79-A083B7EFBA29}"/>
                </c:ext>
              </c:extLst>
            </c:dLbl>
            <c:dLbl>
              <c:idx val="2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1-BFDA-4C69-8E79-A083B7EFBA29}"/>
                </c:ext>
              </c:extLst>
            </c:dLbl>
            <c:dLbl>
              <c:idx val="2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BFDA-4C69-8E79-A083B7EFBA29}"/>
                </c:ext>
              </c:extLst>
            </c:dLbl>
            <c:dLbl>
              <c:idx val="2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BFDA-4C69-8E79-A083B7EFBA29}"/>
                </c:ext>
              </c:extLst>
            </c:dLbl>
            <c:dLbl>
              <c:idx val="2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BFDA-4C69-8E79-A083B7EFBA29}"/>
                </c:ext>
              </c:extLst>
            </c:dLbl>
            <c:dLbl>
              <c:idx val="2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5-BFDA-4C69-8E79-A083B7EFBA29}"/>
                </c:ext>
              </c:extLst>
            </c:dLbl>
            <c:dLbl>
              <c:idx val="2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6-BFDA-4C69-8E79-A083B7EFBA29}"/>
                </c:ext>
              </c:extLst>
            </c:dLbl>
            <c:dLbl>
              <c:idx val="3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7-BFDA-4C69-8E79-A083B7EFBA29}"/>
                </c:ext>
              </c:extLst>
            </c:dLbl>
            <c:dLbl>
              <c:idx val="3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8-BFDA-4C69-8E79-A083B7EFBA29}"/>
                </c:ext>
              </c:extLst>
            </c:dLbl>
            <c:dLbl>
              <c:idx val="3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9-BFDA-4C69-8E79-A083B7EFBA29}"/>
                </c:ext>
              </c:extLst>
            </c:dLbl>
            <c:dLbl>
              <c:idx val="3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BFDA-4C69-8E79-A083B7EFBA29}"/>
                </c:ext>
              </c:extLst>
            </c:dLbl>
            <c:dLbl>
              <c:idx val="3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B-BFDA-4C69-8E79-A083B7EFBA29}"/>
                </c:ext>
              </c:extLst>
            </c:dLbl>
            <c:dLbl>
              <c:idx val="3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C-BFDA-4C69-8E79-A083B7EFBA29}"/>
                </c:ext>
              </c:extLst>
            </c:dLbl>
            <c:dLbl>
              <c:idx val="3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D-BFDA-4C69-8E79-A083B7EFBA29}"/>
                </c:ext>
              </c:extLst>
            </c:dLbl>
            <c:dLbl>
              <c:idx val="3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BFDA-4C69-8E79-A083B7EFBA29}"/>
                </c:ext>
              </c:extLst>
            </c:dLbl>
            <c:dLbl>
              <c:idx val="3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BFDA-4C69-8E79-A083B7EFBA29}"/>
                </c:ext>
              </c:extLst>
            </c:dLbl>
            <c:dLbl>
              <c:idx val="3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BFDA-4C69-8E79-A083B7EFBA29}"/>
                </c:ext>
              </c:extLst>
            </c:dLbl>
            <c:dLbl>
              <c:idx val="4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1-BFDA-4C69-8E79-A083B7EFBA29}"/>
                </c:ext>
              </c:extLst>
            </c:dLbl>
            <c:dLbl>
              <c:idx val="4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BFDA-4C69-8E79-A083B7EFBA29}"/>
                </c:ext>
              </c:extLst>
            </c:dLbl>
            <c:dLbl>
              <c:idx val="4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BFDA-4C69-8E79-A083B7EFBA29}"/>
                </c:ext>
              </c:extLst>
            </c:dLbl>
            <c:dLbl>
              <c:idx val="4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BFDA-4C69-8E79-A083B7EFBA29}"/>
                </c:ext>
              </c:extLst>
            </c:dLbl>
            <c:dLbl>
              <c:idx val="4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BFDA-4C69-8E79-A083B7EFBA29}"/>
                </c:ext>
              </c:extLst>
            </c:dLbl>
            <c:dLbl>
              <c:idx val="4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BFDA-4C69-8E79-A083B7EFBA29}"/>
                </c:ext>
              </c:extLst>
            </c:dLbl>
            <c:dLbl>
              <c:idx val="4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BFDA-4C69-8E79-A083B7EFBA29}"/>
                </c:ext>
              </c:extLst>
            </c:dLbl>
            <c:dLbl>
              <c:idx val="4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BFDA-4C69-8E79-A083B7EFBA29}"/>
                </c:ext>
              </c:extLst>
            </c:dLbl>
            <c:dLbl>
              <c:idx val="4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11</c:f>
              <c:numCache>
                <c:formatCode>General</c:formatCode>
                <c:ptCount val="10"/>
                <c:pt idx="0">
                  <c:v>0.431</c:v>
                </c:pt>
                <c:pt idx="1">
                  <c:v>0.3713</c:v>
                </c:pt>
                <c:pt idx="2">
                  <c:v>0.409</c:v>
                </c:pt>
                <c:pt idx="3">
                  <c:v>0.3655</c:v>
                </c:pt>
                <c:pt idx="4">
                  <c:v>0.296</c:v>
                </c:pt>
                <c:pt idx="5">
                  <c:v>0.3065</c:v>
                </c:pt>
                <c:pt idx="6">
                  <c:v>0.256</c:v>
                </c:pt>
                <c:pt idx="7">
                  <c:v>0.4727</c:v>
                </c:pt>
                <c:pt idx="8">
                  <c:v>0.2836</c:v>
                </c:pt>
                <c:pt idx="9">
                  <c:v>0.3397</c:v>
                </c:pt>
              </c:numCache>
            </c:numRef>
          </c:xVal>
          <c:yVal>
            <c:numRef>
              <c:f>Sheet1!$B$2:$B$11</c:f>
              <c:numCache>
                <c:formatCode>General</c:formatCode>
                <c:ptCount val="10"/>
                <c:pt idx="0">
                  <c:v>3755.75</c:v>
                </c:pt>
                <c:pt idx="1">
                  <c:v>3117.8720930232557</c:v>
                </c:pt>
                <c:pt idx="2">
                  <c:v>8213.010638297872</c:v>
                </c:pt>
                <c:pt idx="3">
                  <c:v>16701.66</c:v>
                </c:pt>
                <c:pt idx="4">
                  <c:v>29213.62</c:v>
                </c:pt>
                <c:pt idx="5">
                  <c:v>82610.36363636363</c:v>
                </c:pt>
                <c:pt idx="6">
                  <c:v>9848.946808510638</c:v>
                </c:pt>
                <c:pt idx="7">
                  <c:v>999.7317073170732</c:v>
                </c:pt>
                <c:pt idx="8">
                  <c:v>7241.72</c:v>
                </c:pt>
                <c:pt idx="9">
                  <c:v>4657.1894736842105</c:v>
                </c:pt>
              </c:numCache>
            </c:numRef>
          </c:yVal>
          <c:bubbleSize>
            <c:numRef>
              <c:f>Sheet1!$C$2:$C$11</c:f>
              <c:numCache>
                <c:formatCode>General</c:formatCode>
                <c:ptCount val="10"/>
                <c:pt idx="0">
                  <c:v>16203.9444</c:v>
                </c:pt>
                <c:pt idx="1">
                  <c:v>159781.21240000002</c:v>
                </c:pt>
                <c:pt idx="2">
                  <c:v>432475.68330000003</c:v>
                </c:pt>
                <c:pt idx="3">
                  <c:v>1004464.2163000001</c:v>
                </c:pt>
                <c:pt idx="4">
                  <c:v>1949339.2618000002</c:v>
                </c:pt>
                <c:pt idx="5">
                  <c:v>5376313.341299999</c:v>
                </c:pt>
                <c:pt idx="6">
                  <c:v>652910.7028</c:v>
                </c:pt>
                <c:pt idx="7">
                  <c:v>40975.85999999999</c:v>
                </c:pt>
                <c:pt idx="8">
                  <c:v>491716.5952</c:v>
                </c:pt>
                <c:pt idx="9">
                  <c:v>276915.12139999995</c:v>
                </c:pt>
              </c:numCache>
            </c:numRef>
          </c:bubbleSize>
          <c:bubble3D val="0"/>
          <c:extLst>
            <c:ext xmlns:c15="http://schemas.microsoft.com/office/drawing/2012/chart" uri="{02D57815-91ED-43cb-92C2-25804820EDAC}">
              <c15:datalabelsRange>
                <c15:f>Sheet1!$E$2:$E$50</c15:f>
                <c15:dlblRangeCache>
                  <c:ptCount val="49"/>
                  <c:pt idx="0">
                    <c:v>Findus Merluzzo Altro Findus Fish Bar 245GR</c:v>
                  </c:pt>
                  <c:pt idx="1">
                    <c:v>Findus Merluzzo D Alaska Chips Findus Big Burger 227GR</c:v>
                  </c:pt>
                  <c:pt idx="2">
                    <c:v>Findus Merluzzo D Alaska Standard Findus Big Burger 227GR</c:v>
                  </c:pt>
                  <c:pt idx="3">
                    <c:v>Findus Merluzzo E Spinaci Filetto Findus Croccole 300GR</c:v>
                  </c:pt>
                  <c:pt idx="4">
                    <c:v>Findus Merluzzo Filetto Findus Croccole 300GR</c:v>
                  </c:pt>
                  <c:pt idx="5">
                    <c:v>Findus Merluzzo Filetto Findus Croccole 600GR</c:v>
                  </c:pt>
                  <c:pt idx="6">
                    <c:v>Findus Merluzzo Filetto Findus Fish &amp; Crock 250GR</c:v>
                  </c:pt>
                  <c:pt idx="7">
                    <c:v>Findus Merluzzo Filetto Findus Fish Bar 240GR</c:v>
                  </c:pt>
                  <c:pt idx="8">
                    <c:v>Findus Merluzzo Semi Filetto Findus Croccole 300GR</c:v>
                  </c:pt>
                  <c:pt idx="9">
                    <c:v>Findus Merluzzo Senza Glutine Filetto Findus Croccole 250GR</c:v>
                  </c:pt>
                  <c:pt idx="10">
                    <c:v>Findus Platessa Filetto Findus Platessa 250GR</c:v>
                  </c:pt>
                  <c:pt idx="11">
                    <c:v>Findus Salmone Altro Findus Fish Bar 220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3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635C0E51-CCCB-4DCC-B64F-B4DB53BC6DE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306ED23C-DB94-4FEB-BD3F-73661184A04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361455DC-4F35-4B1D-BDEA-B13DD9815C8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F3872CF7-B8C5-4924-BB04-0567468D113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67AD86A6-1DC8-43F9-9A21-7960ACC04B9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9AB42A2A-B662-4A4C-902A-7A9468EEAD5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E96C5A54-2046-4683-A589-2A244F476CB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5-BFDA-4C69-8E79-A083B7EFBA29}"/>
                </c:ext>
              </c:extLst>
            </c:dLbl>
            <c:dLbl>
              <c:idx val="1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BFDA-4C69-8E79-A083B7EFBA29}"/>
                </c:ext>
              </c:extLst>
            </c:dLbl>
            <c:dLbl>
              <c:idx val="1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BFDA-4C69-8E79-A083B7EFBA29}"/>
                </c:ext>
              </c:extLst>
            </c:dLbl>
            <c:dLbl>
              <c:idx val="1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BFDA-4C69-8E79-A083B7EFBA29}"/>
                </c:ext>
              </c:extLst>
            </c:dLbl>
            <c:dLbl>
              <c:idx val="1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9-BFDA-4C69-8E79-A083B7EFBA29}"/>
                </c:ext>
              </c:extLst>
            </c:dLbl>
            <c:dLbl>
              <c:idx val="1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A-BFDA-4C69-8E79-A083B7EFBA29}"/>
                </c:ext>
              </c:extLst>
            </c:dLbl>
            <c:dLbl>
              <c:idx val="1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B-BFDA-4C69-8E79-A083B7EFBA29}"/>
                </c:ext>
              </c:extLst>
            </c:dLbl>
            <c:dLbl>
              <c:idx val="1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C-BFDA-4C69-8E79-A083B7EFBA29}"/>
                </c:ext>
              </c:extLst>
            </c:dLbl>
            <c:dLbl>
              <c:idx val="2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BFDA-4C69-8E79-A083B7EFBA29}"/>
                </c:ext>
              </c:extLst>
            </c:dLbl>
            <c:dLbl>
              <c:idx val="2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BFDA-4C69-8E79-A083B7EFBA29}"/>
                </c:ext>
              </c:extLst>
            </c:dLbl>
            <c:dLbl>
              <c:idx val="2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F-BFDA-4C69-8E79-A083B7EFBA29}"/>
                </c:ext>
              </c:extLst>
            </c:dLbl>
            <c:dLbl>
              <c:idx val="2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0-BFDA-4C69-8E79-A083B7EFBA29}"/>
                </c:ext>
              </c:extLst>
            </c:dLbl>
            <c:dLbl>
              <c:idx val="2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1-BFDA-4C69-8E79-A083B7EFBA29}"/>
                </c:ext>
              </c:extLst>
            </c:dLbl>
            <c:dLbl>
              <c:idx val="2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BFDA-4C69-8E79-A083B7EFBA29}"/>
                </c:ext>
              </c:extLst>
            </c:dLbl>
            <c:dLbl>
              <c:idx val="2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BFDA-4C69-8E79-A083B7EFBA29}"/>
                </c:ext>
              </c:extLst>
            </c:dLbl>
            <c:dLbl>
              <c:idx val="2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BFDA-4C69-8E79-A083B7EFBA29}"/>
                </c:ext>
              </c:extLst>
            </c:dLbl>
            <c:dLbl>
              <c:idx val="2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5-BFDA-4C69-8E79-A083B7EFBA29}"/>
                </c:ext>
              </c:extLst>
            </c:dLbl>
            <c:dLbl>
              <c:idx val="2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6-BFDA-4C69-8E79-A083B7EFBA29}"/>
                </c:ext>
              </c:extLst>
            </c:dLbl>
            <c:dLbl>
              <c:idx val="3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7-BFDA-4C69-8E79-A083B7EFBA29}"/>
                </c:ext>
              </c:extLst>
            </c:dLbl>
            <c:dLbl>
              <c:idx val="3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8-BFDA-4C69-8E79-A083B7EFBA29}"/>
                </c:ext>
              </c:extLst>
            </c:dLbl>
            <c:dLbl>
              <c:idx val="3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9-BFDA-4C69-8E79-A083B7EFBA29}"/>
                </c:ext>
              </c:extLst>
            </c:dLbl>
            <c:dLbl>
              <c:idx val="3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BFDA-4C69-8E79-A083B7EFBA29}"/>
                </c:ext>
              </c:extLst>
            </c:dLbl>
            <c:dLbl>
              <c:idx val="3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B-BFDA-4C69-8E79-A083B7EFBA29}"/>
                </c:ext>
              </c:extLst>
            </c:dLbl>
            <c:dLbl>
              <c:idx val="3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C-BFDA-4C69-8E79-A083B7EFBA29}"/>
                </c:ext>
              </c:extLst>
            </c:dLbl>
            <c:dLbl>
              <c:idx val="3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D-BFDA-4C69-8E79-A083B7EFBA29}"/>
                </c:ext>
              </c:extLst>
            </c:dLbl>
            <c:dLbl>
              <c:idx val="3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BFDA-4C69-8E79-A083B7EFBA29}"/>
                </c:ext>
              </c:extLst>
            </c:dLbl>
            <c:dLbl>
              <c:idx val="3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BFDA-4C69-8E79-A083B7EFBA29}"/>
                </c:ext>
              </c:extLst>
            </c:dLbl>
            <c:dLbl>
              <c:idx val="3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BFDA-4C69-8E79-A083B7EFBA29}"/>
                </c:ext>
              </c:extLst>
            </c:dLbl>
            <c:dLbl>
              <c:idx val="4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1-BFDA-4C69-8E79-A083B7EFBA29}"/>
                </c:ext>
              </c:extLst>
            </c:dLbl>
            <c:dLbl>
              <c:idx val="4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BFDA-4C69-8E79-A083B7EFBA29}"/>
                </c:ext>
              </c:extLst>
            </c:dLbl>
            <c:dLbl>
              <c:idx val="4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BFDA-4C69-8E79-A083B7EFBA29}"/>
                </c:ext>
              </c:extLst>
            </c:dLbl>
            <c:dLbl>
              <c:idx val="4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BFDA-4C69-8E79-A083B7EFBA29}"/>
                </c:ext>
              </c:extLst>
            </c:dLbl>
            <c:dLbl>
              <c:idx val="4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BFDA-4C69-8E79-A083B7EFBA29}"/>
                </c:ext>
              </c:extLst>
            </c:dLbl>
            <c:dLbl>
              <c:idx val="4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BFDA-4C69-8E79-A083B7EFBA29}"/>
                </c:ext>
              </c:extLst>
            </c:dLbl>
            <c:dLbl>
              <c:idx val="4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BFDA-4C69-8E79-A083B7EFBA29}"/>
                </c:ext>
              </c:extLst>
            </c:dLbl>
            <c:dLbl>
              <c:idx val="4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BFDA-4C69-8E79-A083B7EFBA29}"/>
                </c:ext>
              </c:extLst>
            </c:dLbl>
            <c:dLbl>
              <c:idx val="4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24</c:f>
              <c:numCache>
                <c:formatCode>General</c:formatCode>
                <c:ptCount val="23"/>
                <c:pt idx="0">
                  <c:v>0.3355</c:v>
                </c:pt>
                <c:pt idx="1">
                  <c:v>0.2841</c:v>
                </c:pt>
                <c:pt idx="2">
                  <c:v>0.2871</c:v>
                </c:pt>
                <c:pt idx="3">
                  <c:v>0.3286</c:v>
                </c:pt>
                <c:pt idx="4">
                  <c:v>0.3484</c:v>
                </c:pt>
                <c:pt idx="5">
                  <c:v>0.3732</c:v>
                </c:pt>
                <c:pt idx="6">
                  <c:v>0.5699</c:v>
                </c:pt>
                <c:pt idx="7">
                  <c:v>0.4256</c:v>
                </c:pt>
                <c:pt idx="8">
                  <c:v>0.2924</c:v>
                </c:pt>
                <c:pt idx="9">
                  <c:v>0.349</c:v>
                </c:pt>
                <c:pt idx="10">
                  <c:v>0.3378</c:v>
                </c:pt>
                <c:pt idx="11">
                  <c:v>0.2502</c:v>
                </c:pt>
                <c:pt idx="12">
                  <c:v>0.3784</c:v>
                </c:pt>
                <c:pt idx="13">
                  <c:v>0.5159</c:v>
                </c:pt>
                <c:pt idx="14">
                  <c:v>0.4364</c:v>
                </c:pt>
                <c:pt idx="15">
                  <c:v>0.5246</c:v>
                </c:pt>
                <c:pt idx="16">
                  <c:v>0.4213</c:v>
                </c:pt>
                <c:pt idx="17">
                  <c:v>0.3521</c:v>
                </c:pt>
                <c:pt idx="18">
                  <c:v>0.5164</c:v>
                </c:pt>
                <c:pt idx="19">
                  <c:v>0.5655</c:v>
                </c:pt>
                <c:pt idx="20">
                  <c:v>0.4574</c:v>
                </c:pt>
                <c:pt idx="21">
                  <c:v>0.414</c:v>
                </c:pt>
                <c:pt idx="22">
                  <c:v>0.373</c:v>
                </c:pt>
              </c:numCache>
            </c:numRef>
          </c:xVal>
          <c:yVal>
            <c:numRef>
              <c:f>Sheet1!$B$2:$B$24</c:f>
              <c:numCache>
                <c:formatCode>General</c:formatCode>
                <c:ptCount val="23"/>
                <c:pt idx="0">
                  <c:v>14268.91</c:v>
                </c:pt>
                <c:pt idx="1">
                  <c:v>333.52941176470586</c:v>
                </c:pt>
                <c:pt idx="2">
                  <c:v>9722.94</c:v>
                </c:pt>
                <c:pt idx="3">
                  <c:v>3345.6288659793813</c:v>
                </c:pt>
                <c:pt idx="4">
                  <c:v>3773.0</c:v>
                </c:pt>
                <c:pt idx="5">
                  <c:v>480.09090909090907</c:v>
                </c:pt>
                <c:pt idx="6">
                  <c:v>871.6865671641791</c:v>
                </c:pt>
                <c:pt idx="7">
                  <c:v>524.9183673469388</c:v>
                </c:pt>
                <c:pt idx="8">
                  <c:v>1281.0212765957447</c:v>
                </c:pt>
                <c:pt idx="9">
                  <c:v>4276.89</c:v>
                </c:pt>
                <c:pt idx="10">
                  <c:v>11512.05</c:v>
                </c:pt>
                <c:pt idx="11">
                  <c:v>2175.4827586206898</c:v>
                </c:pt>
                <c:pt idx="12">
                  <c:v>2658.080808080808</c:v>
                </c:pt>
                <c:pt idx="13">
                  <c:v>1025.2881355932204</c:v>
                </c:pt>
                <c:pt idx="14">
                  <c:v>964.3571428571428</c:v>
                </c:pt>
                <c:pt idx="15">
                  <c:v>229.1267605633803</c:v>
                </c:pt>
                <c:pt idx="16">
                  <c:v>989.2613636363636</c:v>
                </c:pt>
                <c:pt idx="17">
                  <c:v>6542.91</c:v>
                </c:pt>
                <c:pt idx="18">
                  <c:v>1562.84</c:v>
                </c:pt>
                <c:pt idx="19">
                  <c:v>708.2708333333334</c:v>
                </c:pt>
                <c:pt idx="20">
                  <c:v>2741.89</c:v>
                </c:pt>
                <c:pt idx="21">
                  <c:v>844.6315789473684</c:v>
                </c:pt>
                <c:pt idx="22">
                  <c:v>593.8510638297872</c:v>
                </c:pt>
              </c:numCache>
            </c:numRef>
          </c:yVal>
          <c:bubbleSize>
            <c:numRef>
              <c:f>Sheet1!$C$2:$C$24</c:f>
              <c:numCache>
                <c:formatCode>General</c:formatCode>
                <c:ptCount val="23"/>
                <c:pt idx="0">
                  <c:v>898746.52</c:v>
                </c:pt>
                <c:pt idx="1">
                  <c:v>19237.013</c:v>
                </c:pt>
                <c:pt idx="2">
                  <c:v>657023.8293999999</c:v>
                </c:pt>
                <c:pt idx="3">
                  <c:v>206540.63040000002</c:v>
                </c:pt>
                <c:pt idx="4">
                  <c:v>228380.87689999997</c:v>
                </c:pt>
                <c:pt idx="5">
                  <c:v>18823.971899999997</c:v>
                </c:pt>
                <c:pt idx="6">
                  <c:v>23810.2759</c:v>
                </c:pt>
                <c:pt idx="7">
                  <c:v>14005.127400000003</c:v>
                </c:pt>
                <c:pt idx="8">
                  <c:v>80761.50040000002</c:v>
                </c:pt>
                <c:pt idx="9">
                  <c:v>263890.7431</c:v>
                </c:pt>
                <c:pt idx="10">
                  <c:v>722599.8118000001</c:v>
                </c:pt>
                <c:pt idx="11">
                  <c:v>89676.90090000001</c:v>
                </c:pt>
                <c:pt idx="12">
                  <c:v>155042.7336</c:v>
                </c:pt>
                <c:pt idx="13">
                  <c:v>27759.832300000002</c:v>
                </c:pt>
                <c:pt idx="14">
                  <c:v>7213.105999999999</c:v>
                </c:pt>
                <c:pt idx="15">
                  <c:v>7330.667399999999</c:v>
                </c:pt>
                <c:pt idx="16">
                  <c:v>47748.37920000001</c:v>
                </c:pt>
                <c:pt idx="17">
                  <c:v>401788.2896</c:v>
                </c:pt>
                <c:pt idx="18">
                  <c:v>71635.07</c:v>
                </c:pt>
                <c:pt idx="19">
                  <c:v>28003.5766</c:v>
                </c:pt>
                <c:pt idx="20">
                  <c:v>141010.1934</c:v>
                </c:pt>
                <c:pt idx="21">
                  <c:v>44570.80829999999</c:v>
                </c:pt>
                <c:pt idx="22">
                  <c:v>33173.866</c:v>
                </c:pt>
              </c:numCache>
            </c:numRef>
          </c:bubbleSize>
          <c:bubble3D val="0"/>
          <c:extLst>
            <c:ext xmlns:c15="http://schemas.microsoft.com/office/drawing/2012/chart" uri="{02D57815-91ED-43cb-92C2-25804820EDAC}">
              <c15:datalabelsRange>
                <c15:f>Sheet1!$E$2:$E$50</c15:f>
                <c15:dlblRangeCache>
                  <c:ptCount val="49"/>
                  <c:pt idx="0">
                    <c:v>Findus Merluzzo Altro Findus Fish Bar 245GR</c:v>
                  </c:pt>
                  <c:pt idx="1">
                    <c:v>Findus Merluzzo D Alaska Chips Findus Big Burger 227GR</c:v>
                  </c:pt>
                  <c:pt idx="2">
                    <c:v>Findus Merluzzo D Alaska Standard Findus Big Burger 227GR</c:v>
                  </c:pt>
                  <c:pt idx="3">
                    <c:v>Findus Merluzzo E Spinaci Filetto Findus Croccole 300GR</c:v>
                  </c:pt>
                  <c:pt idx="4">
                    <c:v>Findus Merluzzo Filetto Findus Croccole 300GR</c:v>
                  </c:pt>
                  <c:pt idx="5">
                    <c:v>Findus Merluzzo Filetto Findus Croccole 600GR</c:v>
                  </c:pt>
                  <c:pt idx="6">
                    <c:v>Findus Merluzzo Filetto Findus Fish &amp; Crock 250GR</c:v>
                  </c:pt>
                  <c:pt idx="7">
                    <c:v>Findus Merluzzo Filetto Findus Fish Bar 240GR</c:v>
                  </c:pt>
                  <c:pt idx="8">
                    <c:v>Findus Merluzzo Semi Filetto Findus Croccole 300GR</c:v>
                  </c:pt>
                  <c:pt idx="9">
                    <c:v>Findus Merluzzo Senza Glutine Filetto Findus Croccole 250GR</c:v>
                  </c:pt>
                  <c:pt idx="10">
                    <c:v>Findus Platessa Filetto Findus Platessa 250GR</c:v>
                  </c:pt>
                  <c:pt idx="11">
                    <c:v>Findus Salmone Altro Findus Fish Bar 220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3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C7987FBB-59C5-42B7-9F51-744EFD42041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DBD18ACC-5652-442F-A62E-7DC3009AADD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BCE1CBB6-12C1-4C0F-80E2-50B53BEF0E4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DDEA3550-0CAD-4302-BE3F-0464EE8C2A4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5D0CB9AA-BFCD-4F58-B767-2CB1760DA3C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F9A3AE37-15F0-423A-BF3C-39FD650DF98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2D9448F4-0065-4DCD-8B06-C877A4E16DF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5-BFDA-4C69-8E79-A083B7EFBA29}"/>
                </c:ext>
              </c:extLst>
            </c:dLbl>
            <c:dLbl>
              <c:idx val="1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BFDA-4C69-8E79-A083B7EFBA29}"/>
                </c:ext>
              </c:extLst>
            </c:dLbl>
            <c:dLbl>
              <c:idx val="1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BFDA-4C69-8E79-A083B7EFBA29}"/>
                </c:ext>
              </c:extLst>
            </c:dLbl>
            <c:dLbl>
              <c:idx val="1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BFDA-4C69-8E79-A083B7EFBA29}"/>
                </c:ext>
              </c:extLst>
            </c:dLbl>
            <c:dLbl>
              <c:idx val="1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9-BFDA-4C69-8E79-A083B7EFBA29}"/>
                </c:ext>
              </c:extLst>
            </c:dLbl>
            <c:dLbl>
              <c:idx val="1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A-BFDA-4C69-8E79-A083B7EFBA29}"/>
                </c:ext>
              </c:extLst>
            </c:dLbl>
            <c:dLbl>
              <c:idx val="1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B-BFDA-4C69-8E79-A083B7EFBA29}"/>
                </c:ext>
              </c:extLst>
            </c:dLbl>
            <c:dLbl>
              <c:idx val="1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C-BFDA-4C69-8E79-A083B7EFBA29}"/>
                </c:ext>
              </c:extLst>
            </c:dLbl>
            <c:dLbl>
              <c:idx val="2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BFDA-4C69-8E79-A083B7EFBA29}"/>
                </c:ext>
              </c:extLst>
            </c:dLbl>
            <c:dLbl>
              <c:idx val="2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BFDA-4C69-8E79-A083B7EFBA29}"/>
                </c:ext>
              </c:extLst>
            </c:dLbl>
            <c:dLbl>
              <c:idx val="2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F-BFDA-4C69-8E79-A083B7EFBA29}"/>
                </c:ext>
              </c:extLst>
            </c:dLbl>
            <c:dLbl>
              <c:idx val="2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0-BFDA-4C69-8E79-A083B7EFBA29}"/>
                </c:ext>
              </c:extLst>
            </c:dLbl>
            <c:dLbl>
              <c:idx val="2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1-BFDA-4C69-8E79-A083B7EFBA29}"/>
                </c:ext>
              </c:extLst>
            </c:dLbl>
            <c:dLbl>
              <c:idx val="2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BFDA-4C69-8E79-A083B7EFBA29}"/>
                </c:ext>
              </c:extLst>
            </c:dLbl>
            <c:dLbl>
              <c:idx val="2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BFDA-4C69-8E79-A083B7EFBA29}"/>
                </c:ext>
              </c:extLst>
            </c:dLbl>
            <c:dLbl>
              <c:idx val="2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BFDA-4C69-8E79-A083B7EFBA29}"/>
                </c:ext>
              </c:extLst>
            </c:dLbl>
            <c:dLbl>
              <c:idx val="2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5-BFDA-4C69-8E79-A083B7EFBA29}"/>
                </c:ext>
              </c:extLst>
            </c:dLbl>
            <c:dLbl>
              <c:idx val="2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6-BFDA-4C69-8E79-A083B7EFBA29}"/>
                </c:ext>
              </c:extLst>
            </c:dLbl>
            <c:dLbl>
              <c:idx val="3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7-BFDA-4C69-8E79-A083B7EFBA29}"/>
                </c:ext>
              </c:extLst>
            </c:dLbl>
            <c:dLbl>
              <c:idx val="3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8-BFDA-4C69-8E79-A083B7EFBA29}"/>
                </c:ext>
              </c:extLst>
            </c:dLbl>
            <c:dLbl>
              <c:idx val="3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9-BFDA-4C69-8E79-A083B7EFBA29}"/>
                </c:ext>
              </c:extLst>
            </c:dLbl>
            <c:dLbl>
              <c:idx val="3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BFDA-4C69-8E79-A083B7EFBA29}"/>
                </c:ext>
              </c:extLst>
            </c:dLbl>
            <c:dLbl>
              <c:idx val="3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B-BFDA-4C69-8E79-A083B7EFBA29}"/>
                </c:ext>
              </c:extLst>
            </c:dLbl>
            <c:dLbl>
              <c:idx val="3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C-BFDA-4C69-8E79-A083B7EFBA29}"/>
                </c:ext>
              </c:extLst>
            </c:dLbl>
            <c:dLbl>
              <c:idx val="3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D-BFDA-4C69-8E79-A083B7EFBA29}"/>
                </c:ext>
              </c:extLst>
            </c:dLbl>
            <c:dLbl>
              <c:idx val="3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BFDA-4C69-8E79-A083B7EFBA29}"/>
                </c:ext>
              </c:extLst>
            </c:dLbl>
            <c:dLbl>
              <c:idx val="3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BFDA-4C69-8E79-A083B7EFBA29}"/>
                </c:ext>
              </c:extLst>
            </c:dLbl>
            <c:dLbl>
              <c:idx val="3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BFDA-4C69-8E79-A083B7EFBA29}"/>
                </c:ext>
              </c:extLst>
            </c:dLbl>
            <c:dLbl>
              <c:idx val="4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1-BFDA-4C69-8E79-A083B7EFBA29}"/>
                </c:ext>
              </c:extLst>
            </c:dLbl>
            <c:dLbl>
              <c:idx val="4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BFDA-4C69-8E79-A083B7EFBA29}"/>
                </c:ext>
              </c:extLst>
            </c:dLbl>
            <c:dLbl>
              <c:idx val="4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BFDA-4C69-8E79-A083B7EFBA29}"/>
                </c:ext>
              </c:extLst>
            </c:dLbl>
            <c:dLbl>
              <c:idx val="4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BFDA-4C69-8E79-A083B7EFBA29}"/>
                </c:ext>
              </c:extLst>
            </c:dLbl>
            <c:dLbl>
              <c:idx val="4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BFDA-4C69-8E79-A083B7EFBA29}"/>
                </c:ext>
              </c:extLst>
            </c:dLbl>
            <c:dLbl>
              <c:idx val="4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BFDA-4C69-8E79-A083B7EFBA29}"/>
                </c:ext>
              </c:extLst>
            </c:dLbl>
            <c:dLbl>
              <c:idx val="4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BFDA-4C69-8E79-A083B7EFBA29}"/>
                </c:ext>
              </c:extLst>
            </c:dLbl>
            <c:dLbl>
              <c:idx val="4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BFDA-4C69-8E79-A083B7EFBA29}"/>
                </c:ext>
              </c:extLst>
            </c:dLbl>
            <c:dLbl>
              <c:idx val="4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11</c:f>
              <c:numCache>
                <c:formatCode>General</c:formatCode>
                <c:ptCount val="10"/>
                <c:pt idx="0">
                  <c:v>0.3159</c:v>
                </c:pt>
                <c:pt idx="1">
                  <c:v>0.4209</c:v>
                </c:pt>
                <c:pt idx="2">
                  <c:v>0.4039</c:v>
                </c:pt>
                <c:pt idx="3">
                  <c:v>0.4052</c:v>
                </c:pt>
                <c:pt idx="4">
                  <c:v>0.3576</c:v>
                </c:pt>
                <c:pt idx="5">
                  <c:v>0.2943</c:v>
                </c:pt>
                <c:pt idx="6">
                  <c:v>0.3765</c:v>
                </c:pt>
                <c:pt idx="7">
                  <c:v>0.2711</c:v>
                </c:pt>
                <c:pt idx="8">
                  <c:v>0.423</c:v>
                </c:pt>
                <c:pt idx="9">
                  <c:v>0.3557</c:v>
                </c:pt>
              </c:numCache>
            </c:numRef>
          </c:xVal>
          <c:yVal>
            <c:numRef>
              <c:f>Sheet1!$B$2:$B$11</c:f>
              <c:numCache>
                <c:formatCode>General</c:formatCode>
                <c:ptCount val="10"/>
                <c:pt idx="0">
                  <c:v>16372.639175257733</c:v>
                </c:pt>
                <c:pt idx="1">
                  <c:v>21137.0</c:v>
                </c:pt>
                <c:pt idx="2">
                  <c:v>2355.7580645161293</c:v>
                </c:pt>
                <c:pt idx="3">
                  <c:v>2737.277777777778</c:v>
                </c:pt>
                <c:pt idx="4">
                  <c:v>3755.2619047619046</c:v>
                </c:pt>
                <c:pt idx="5">
                  <c:v>11937.040404040405</c:v>
                </c:pt>
                <c:pt idx="6">
                  <c:v>2356.285714285714</c:v>
                </c:pt>
                <c:pt idx="7">
                  <c:v>5146.887323943662</c:v>
                </c:pt>
                <c:pt idx="8">
                  <c:v>9403.747474747475</c:v>
                </c:pt>
                <c:pt idx="9">
                  <c:v>9956.643835616438</c:v>
                </c:pt>
              </c:numCache>
            </c:numRef>
          </c:yVal>
          <c:bubbleSize>
            <c:numRef>
              <c:f>Sheet1!$C$2:$C$11</c:f>
              <c:numCache>
                <c:formatCode>General</c:formatCode>
                <c:ptCount val="10"/>
                <c:pt idx="0">
                  <c:v>1029743.1952999999</c:v>
                </c:pt>
                <c:pt idx="1">
                  <c:v>997758.3252</c:v>
                </c:pt>
                <c:pt idx="2">
                  <c:v>82530.89319999999</c:v>
                </c:pt>
                <c:pt idx="3">
                  <c:v>83329.80059999999</c:v>
                </c:pt>
                <c:pt idx="4">
                  <c:v>96030.5091</c:v>
                </c:pt>
                <c:pt idx="5">
                  <c:v>790489.4105</c:v>
                </c:pt>
                <c:pt idx="6">
                  <c:v>87735.412</c:v>
                </c:pt>
                <c:pt idx="7">
                  <c:v>252465.3258</c:v>
                </c:pt>
                <c:pt idx="8">
                  <c:v>509171.56849999994</c:v>
                </c:pt>
                <c:pt idx="9">
                  <c:v>443910.00560000003</c:v>
                </c:pt>
              </c:numCache>
            </c:numRef>
          </c:bubbleSize>
          <c:bubble3D val="0"/>
          <c:extLst>
            <c:ext xmlns:c15="http://schemas.microsoft.com/office/drawing/2012/chart" uri="{02D57815-91ED-43cb-92C2-25804820EDAC}">
              <c15:datalabelsRange>
                <c15:f>Sheet1!$E$2:$E$50</c15:f>
                <c15:dlblRangeCache>
                  <c:ptCount val="49"/>
                  <c:pt idx="0">
                    <c:v>Findus Merluzzo Altro Findus Fish Bar 245GR</c:v>
                  </c:pt>
                  <c:pt idx="1">
                    <c:v>Findus Merluzzo D Alaska Chips Findus Big Burger 227GR</c:v>
                  </c:pt>
                  <c:pt idx="2">
                    <c:v>Findus Merluzzo D Alaska Standard Findus Big Burger 227GR</c:v>
                  </c:pt>
                  <c:pt idx="3">
                    <c:v>Findus Merluzzo E Spinaci Filetto Findus Croccole 300GR</c:v>
                  </c:pt>
                  <c:pt idx="4">
                    <c:v>Findus Merluzzo Filetto Findus Croccole 300GR</c:v>
                  </c:pt>
                  <c:pt idx="5">
                    <c:v>Findus Merluzzo Filetto Findus Croccole 600GR</c:v>
                  </c:pt>
                  <c:pt idx="6">
                    <c:v>Findus Merluzzo Filetto Findus Fish &amp; Crock 250GR</c:v>
                  </c:pt>
                  <c:pt idx="7">
                    <c:v>Findus Merluzzo Filetto Findus Fish Bar 240GR</c:v>
                  </c:pt>
                  <c:pt idx="8">
                    <c:v>Findus Merluzzo Semi Filetto Findus Croccole 300GR</c:v>
                  </c:pt>
                  <c:pt idx="9">
                    <c:v>Findus Merluzzo Senza Glutine Filetto Findus Croccole 250GR</c:v>
                  </c:pt>
                  <c:pt idx="10">
                    <c:v>Findus Platessa Filetto Findus Platessa 250GR</c:v>
                  </c:pt>
                  <c:pt idx="11">
                    <c:v>Findus Salmone Altro Findus Fish Bar 220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3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699036F2-0B79-4B8B-AF4B-6C3BB3E6B81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A126F5E1-EAA4-45EF-839C-CF862320C35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EE653542-BD20-49F8-A3ED-AEEB0C58EA3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E7193741-5FFB-4C6B-B810-DC499670675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5946FB11-D9E8-4748-8661-A23717E449C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AB36EE3E-C248-4AC1-9D74-0B1CF420F71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A6859028-8C4C-468B-A1F1-418A20CDB14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5-BFDA-4C69-8E79-A083B7EFBA29}"/>
                </c:ext>
              </c:extLst>
            </c:dLbl>
            <c:dLbl>
              <c:idx val="1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BFDA-4C69-8E79-A083B7EFBA29}"/>
                </c:ext>
              </c:extLst>
            </c:dLbl>
            <c:dLbl>
              <c:idx val="1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BFDA-4C69-8E79-A083B7EFBA29}"/>
                </c:ext>
              </c:extLst>
            </c:dLbl>
            <c:dLbl>
              <c:idx val="1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BFDA-4C69-8E79-A083B7EFBA29}"/>
                </c:ext>
              </c:extLst>
            </c:dLbl>
            <c:dLbl>
              <c:idx val="1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9-BFDA-4C69-8E79-A083B7EFBA29}"/>
                </c:ext>
              </c:extLst>
            </c:dLbl>
            <c:dLbl>
              <c:idx val="1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A-BFDA-4C69-8E79-A083B7EFBA29}"/>
                </c:ext>
              </c:extLst>
            </c:dLbl>
            <c:dLbl>
              <c:idx val="1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B-BFDA-4C69-8E79-A083B7EFBA29}"/>
                </c:ext>
              </c:extLst>
            </c:dLbl>
            <c:dLbl>
              <c:idx val="1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C-BFDA-4C69-8E79-A083B7EFBA29}"/>
                </c:ext>
              </c:extLst>
            </c:dLbl>
            <c:dLbl>
              <c:idx val="2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BFDA-4C69-8E79-A083B7EFBA29}"/>
                </c:ext>
              </c:extLst>
            </c:dLbl>
            <c:dLbl>
              <c:idx val="2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BFDA-4C69-8E79-A083B7EFBA29}"/>
                </c:ext>
              </c:extLst>
            </c:dLbl>
            <c:dLbl>
              <c:idx val="2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F-BFDA-4C69-8E79-A083B7EFBA29}"/>
                </c:ext>
              </c:extLst>
            </c:dLbl>
            <c:dLbl>
              <c:idx val="2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0-BFDA-4C69-8E79-A083B7EFBA29}"/>
                </c:ext>
              </c:extLst>
            </c:dLbl>
            <c:dLbl>
              <c:idx val="2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1-BFDA-4C69-8E79-A083B7EFBA29}"/>
                </c:ext>
              </c:extLst>
            </c:dLbl>
            <c:dLbl>
              <c:idx val="2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BFDA-4C69-8E79-A083B7EFBA29}"/>
                </c:ext>
              </c:extLst>
            </c:dLbl>
            <c:dLbl>
              <c:idx val="2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BFDA-4C69-8E79-A083B7EFBA29}"/>
                </c:ext>
              </c:extLst>
            </c:dLbl>
            <c:dLbl>
              <c:idx val="2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BFDA-4C69-8E79-A083B7EFBA29}"/>
                </c:ext>
              </c:extLst>
            </c:dLbl>
            <c:dLbl>
              <c:idx val="2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5-BFDA-4C69-8E79-A083B7EFBA29}"/>
                </c:ext>
              </c:extLst>
            </c:dLbl>
            <c:dLbl>
              <c:idx val="2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6-BFDA-4C69-8E79-A083B7EFBA29}"/>
                </c:ext>
              </c:extLst>
            </c:dLbl>
            <c:dLbl>
              <c:idx val="3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7-BFDA-4C69-8E79-A083B7EFBA29}"/>
                </c:ext>
              </c:extLst>
            </c:dLbl>
            <c:dLbl>
              <c:idx val="3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8-BFDA-4C69-8E79-A083B7EFBA29}"/>
                </c:ext>
              </c:extLst>
            </c:dLbl>
            <c:dLbl>
              <c:idx val="3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9-BFDA-4C69-8E79-A083B7EFBA29}"/>
                </c:ext>
              </c:extLst>
            </c:dLbl>
            <c:dLbl>
              <c:idx val="3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BFDA-4C69-8E79-A083B7EFBA29}"/>
                </c:ext>
              </c:extLst>
            </c:dLbl>
            <c:dLbl>
              <c:idx val="3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B-BFDA-4C69-8E79-A083B7EFBA29}"/>
                </c:ext>
              </c:extLst>
            </c:dLbl>
            <c:dLbl>
              <c:idx val="3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C-BFDA-4C69-8E79-A083B7EFBA29}"/>
                </c:ext>
              </c:extLst>
            </c:dLbl>
            <c:dLbl>
              <c:idx val="3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D-BFDA-4C69-8E79-A083B7EFBA29}"/>
                </c:ext>
              </c:extLst>
            </c:dLbl>
            <c:dLbl>
              <c:idx val="3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BFDA-4C69-8E79-A083B7EFBA29}"/>
                </c:ext>
              </c:extLst>
            </c:dLbl>
            <c:dLbl>
              <c:idx val="3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BFDA-4C69-8E79-A083B7EFBA29}"/>
                </c:ext>
              </c:extLst>
            </c:dLbl>
            <c:dLbl>
              <c:idx val="3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BFDA-4C69-8E79-A083B7EFBA29}"/>
                </c:ext>
              </c:extLst>
            </c:dLbl>
            <c:dLbl>
              <c:idx val="4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1-BFDA-4C69-8E79-A083B7EFBA29}"/>
                </c:ext>
              </c:extLst>
            </c:dLbl>
            <c:dLbl>
              <c:idx val="4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BFDA-4C69-8E79-A083B7EFBA29}"/>
                </c:ext>
              </c:extLst>
            </c:dLbl>
            <c:dLbl>
              <c:idx val="4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BFDA-4C69-8E79-A083B7EFBA29}"/>
                </c:ext>
              </c:extLst>
            </c:dLbl>
            <c:dLbl>
              <c:idx val="4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BFDA-4C69-8E79-A083B7EFBA29}"/>
                </c:ext>
              </c:extLst>
            </c:dLbl>
            <c:dLbl>
              <c:idx val="4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BFDA-4C69-8E79-A083B7EFBA29}"/>
                </c:ext>
              </c:extLst>
            </c:dLbl>
            <c:dLbl>
              <c:idx val="4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BFDA-4C69-8E79-A083B7EFBA29}"/>
                </c:ext>
              </c:extLst>
            </c:dLbl>
            <c:dLbl>
              <c:idx val="4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BFDA-4C69-8E79-A083B7EFBA29}"/>
                </c:ext>
              </c:extLst>
            </c:dLbl>
            <c:dLbl>
              <c:idx val="4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BFDA-4C69-8E79-A083B7EFBA29}"/>
                </c:ext>
              </c:extLst>
            </c:dLbl>
            <c:dLbl>
              <c:idx val="4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9</c:f>
              <c:numCache>
                <c:formatCode>General</c:formatCode>
                <c:ptCount val="8"/>
                <c:pt idx="0">
                  <c:v>0.3746</c:v>
                </c:pt>
                <c:pt idx="1">
                  <c:v>0.4112</c:v>
                </c:pt>
                <c:pt idx="2">
                  <c:v>0.3831</c:v>
                </c:pt>
                <c:pt idx="3">
                  <c:v>0.3327</c:v>
                </c:pt>
                <c:pt idx="4">
                  <c:v>0.3424</c:v>
                </c:pt>
                <c:pt idx="5">
                  <c:v>0.2508</c:v>
                </c:pt>
                <c:pt idx="6">
                  <c:v>0.4856</c:v>
                </c:pt>
                <c:pt idx="7">
                  <c:v>0.3828</c:v>
                </c:pt>
              </c:numCache>
            </c:numRef>
          </c:xVal>
          <c:yVal>
            <c:numRef>
              <c:f>Sheet1!$B$2:$B$9</c:f>
              <c:numCache>
                <c:formatCode>General</c:formatCode>
                <c:ptCount val="8"/>
                <c:pt idx="0">
                  <c:v>3586.0</c:v>
                </c:pt>
                <c:pt idx="1">
                  <c:v>9583.09090909091</c:v>
                </c:pt>
                <c:pt idx="2">
                  <c:v>19283.141414141413</c:v>
                </c:pt>
                <c:pt idx="3">
                  <c:v>23908.927083333332</c:v>
                </c:pt>
                <c:pt idx="4">
                  <c:v>36882.89898989899</c:v>
                </c:pt>
                <c:pt idx="5">
                  <c:v>6125.961538461538</c:v>
                </c:pt>
                <c:pt idx="6">
                  <c:v>1907.64</c:v>
                </c:pt>
                <c:pt idx="7">
                  <c:v>6300.711340206186</c:v>
                </c:pt>
              </c:numCache>
            </c:numRef>
          </c:yVal>
          <c:bubbleSize>
            <c:numRef>
              <c:f>Sheet1!$C$2:$C$9</c:f>
              <c:numCache>
                <c:formatCode>General</c:formatCode>
                <c:ptCount val="8"/>
                <c:pt idx="0">
                  <c:v>57399.4148</c:v>
                </c:pt>
                <c:pt idx="1">
                  <c:v>352968.0401</c:v>
                </c:pt>
                <c:pt idx="2">
                  <c:v>1116328.0320999997</c:v>
                </c:pt>
                <c:pt idx="3">
                  <c:v>1451796.8903</c:v>
                </c:pt>
                <c:pt idx="4">
                  <c:v>2274744.2531999997</c:v>
                </c:pt>
                <c:pt idx="5">
                  <c:v>339328.07600000006</c:v>
                </c:pt>
                <c:pt idx="6">
                  <c:v>23255.5641</c:v>
                </c:pt>
                <c:pt idx="7">
                  <c:v>357551.62440000003</c:v>
                </c:pt>
              </c:numCache>
            </c:numRef>
          </c:bubbleSize>
          <c:bubble3D val="0"/>
          <c:extLst>
            <c:ext xmlns:c15="http://schemas.microsoft.com/office/drawing/2012/chart" uri="{02D57815-91ED-43cb-92C2-25804820EDAC}">
              <c15:datalabelsRange>
                <c15:f>Sheet1!$E$2:$E$50</c15:f>
                <c15:dlblRangeCache>
                  <c:ptCount val="49"/>
                  <c:pt idx="0">
                    <c:v>Findus Merluzzo Altro Findus Fish Bar 245GR</c:v>
                  </c:pt>
                  <c:pt idx="1">
                    <c:v>Findus Merluzzo D Alaska Chips Findus Big Burger 227GR</c:v>
                  </c:pt>
                  <c:pt idx="2">
                    <c:v>Findus Merluzzo D Alaska Standard Findus Big Burger 227GR</c:v>
                  </c:pt>
                  <c:pt idx="3">
                    <c:v>Findus Merluzzo E Spinaci Filetto Findus Croccole 300GR</c:v>
                  </c:pt>
                  <c:pt idx="4">
                    <c:v>Findus Merluzzo Filetto Findus Croccole 300GR</c:v>
                  </c:pt>
                  <c:pt idx="5">
                    <c:v>Findus Merluzzo Filetto Findus Croccole 600GR</c:v>
                  </c:pt>
                  <c:pt idx="6">
                    <c:v>Findus Merluzzo Filetto Findus Fish &amp; Crock 250GR</c:v>
                  </c:pt>
                  <c:pt idx="7">
                    <c:v>Findus Merluzzo Filetto Findus Fish Bar 240GR</c:v>
                  </c:pt>
                  <c:pt idx="8">
                    <c:v>Findus Merluzzo Semi Filetto Findus Croccole 300GR</c:v>
                  </c:pt>
                  <c:pt idx="9">
                    <c:v>Findus Merluzzo Senza Glutine Filetto Findus Croccole 250GR</c:v>
                  </c:pt>
                  <c:pt idx="10">
                    <c:v>Findus Platessa Filetto Findus Platessa 250GR</c:v>
                  </c:pt>
                  <c:pt idx="11">
                    <c:v>Findus Salmone Altro Findus Fish Bar 220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3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40E7AEF7-ACE4-4BCD-A423-A25C0BBACC9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8B0950F6-88C9-43DA-BE4E-1A9FEC8B83B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748456BC-37EC-453C-ADB0-6754790B921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100A7CA9-C31C-4763-ACB9-03A805E52F1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E387A435-DC03-4DDC-9380-762FC0B59D5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9453CC20-2915-4CF1-B533-C021C1D4B2B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1E8EE478-F622-419E-8AAC-1DA5DED7938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5-BFDA-4C69-8E79-A083B7EFBA29}"/>
                </c:ext>
              </c:extLst>
            </c:dLbl>
            <c:dLbl>
              <c:idx val="1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BFDA-4C69-8E79-A083B7EFBA29}"/>
                </c:ext>
              </c:extLst>
            </c:dLbl>
            <c:dLbl>
              <c:idx val="1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BFDA-4C69-8E79-A083B7EFBA29}"/>
                </c:ext>
              </c:extLst>
            </c:dLbl>
            <c:dLbl>
              <c:idx val="1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BFDA-4C69-8E79-A083B7EFBA29}"/>
                </c:ext>
              </c:extLst>
            </c:dLbl>
            <c:dLbl>
              <c:idx val="1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9-BFDA-4C69-8E79-A083B7EFBA29}"/>
                </c:ext>
              </c:extLst>
            </c:dLbl>
            <c:dLbl>
              <c:idx val="1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A-BFDA-4C69-8E79-A083B7EFBA29}"/>
                </c:ext>
              </c:extLst>
            </c:dLbl>
            <c:dLbl>
              <c:idx val="1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B-BFDA-4C69-8E79-A083B7EFBA29}"/>
                </c:ext>
              </c:extLst>
            </c:dLbl>
            <c:dLbl>
              <c:idx val="1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C-BFDA-4C69-8E79-A083B7EFBA29}"/>
                </c:ext>
              </c:extLst>
            </c:dLbl>
            <c:dLbl>
              <c:idx val="2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BFDA-4C69-8E79-A083B7EFBA29}"/>
                </c:ext>
              </c:extLst>
            </c:dLbl>
            <c:dLbl>
              <c:idx val="2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BFDA-4C69-8E79-A083B7EFBA29}"/>
                </c:ext>
              </c:extLst>
            </c:dLbl>
            <c:dLbl>
              <c:idx val="2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F-BFDA-4C69-8E79-A083B7EFBA29}"/>
                </c:ext>
              </c:extLst>
            </c:dLbl>
            <c:dLbl>
              <c:idx val="2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0-BFDA-4C69-8E79-A083B7EFBA29}"/>
                </c:ext>
              </c:extLst>
            </c:dLbl>
            <c:dLbl>
              <c:idx val="2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1-BFDA-4C69-8E79-A083B7EFBA29}"/>
                </c:ext>
              </c:extLst>
            </c:dLbl>
            <c:dLbl>
              <c:idx val="2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BFDA-4C69-8E79-A083B7EFBA29}"/>
                </c:ext>
              </c:extLst>
            </c:dLbl>
            <c:dLbl>
              <c:idx val="2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BFDA-4C69-8E79-A083B7EFBA29}"/>
                </c:ext>
              </c:extLst>
            </c:dLbl>
            <c:dLbl>
              <c:idx val="2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BFDA-4C69-8E79-A083B7EFBA29}"/>
                </c:ext>
              </c:extLst>
            </c:dLbl>
            <c:dLbl>
              <c:idx val="2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5-BFDA-4C69-8E79-A083B7EFBA29}"/>
                </c:ext>
              </c:extLst>
            </c:dLbl>
            <c:dLbl>
              <c:idx val="2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6-BFDA-4C69-8E79-A083B7EFBA29}"/>
                </c:ext>
              </c:extLst>
            </c:dLbl>
            <c:dLbl>
              <c:idx val="3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7-BFDA-4C69-8E79-A083B7EFBA29}"/>
                </c:ext>
              </c:extLst>
            </c:dLbl>
            <c:dLbl>
              <c:idx val="3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8-BFDA-4C69-8E79-A083B7EFBA29}"/>
                </c:ext>
              </c:extLst>
            </c:dLbl>
            <c:dLbl>
              <c:idx val="3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9-BFDA-4C69-8E79-A083B7EFBA29}"/>
                </c:ext>
              </c:extLst>
            </c:dLbl>
            <c:dLbl>
              <c:idx val="3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BFDA-4C69-8E79-A083B7EFBA29}"/>
                </c:ext>
              </c:extLst>
            </c:dLbl>
            <c:dLbl>
              <c:idx val="3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B-BFDA-4C69-8E79-A083B7EFBA29}"/>
                </c:ext>
              </c:extLst>
            </c:dLbl>
            <c:dLbl>
              <c:idx val="3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C-BFDA-4C69-8E79-A083B7EFBA29}"/>
                </c:ext>
              </c:extLst>
            </c:dLbl>
            <c:dLbl>
              <c:idx val="3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D-BFDA-4C69-8E79-A083B7EFBA29}"/>
                </c:ext>
              </c:extLst>
            </c:dLbl>
            <c:dLbl>
              <c:idx val="3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BFDA-4C69-8E79-A083B7EFBA29}"/>
                </c:ext>
              </c:extLst>
            </c:dLbl>
            <c:dLbl>
              <c:idx val="3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BFDA-4C69-8E79-A083B7EFBA29}"/>
                </c:ext>
              </c:extLst>
            </c:dLbl>
            <c:dLbl>
              <c:idx val="3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BFDA-4C69-8E79-A083B7EFBA29}"/>
                </c:ext>
              </c:extLst>
            </c:dLbl>
            <c:dLbl>
              <c:idx val="4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1-BFDA-4C69-8E79-A083B7EFBA29}"/>
                </c:ext>
              </c:extLst>
            </c:dLbl>
            <c:dLbl>
              <c:idx val="4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BFDA-4C69-8E79-A083B7EFBA29}"/>
                </c:ext>
              </c:extLst>
            </c:dLbl>
            <c:dLbl>
              <c:idx val="4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BFDA-4C69-8E79-A083B7EFBA29}"/>
                </c:ext>
              </c:extLst>
            </c:dLbl>
            <c:dLbl>
              <c:idx val="4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BFDA-4C69-8E79-A083B7EFBA29}"/>
                </c:ext>
              </c:extLst>
            </c:dLbl>
            <c:dLbl>
              <c:idx val="4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BFDA-4C69-8E79-A083B7EFBA29}"/>
                </c:ext>
              </c:extLst>
            </c:dLbl>
            <c:dLbl>
              <c:idx val="4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BFDA-4C69-8E79-A083B7EFBA29}"/>
                </c:ext>
              </c:extLst>
            </c:dLbl>
            <c:dLbl>
              <c:idx val="4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BFDA-4C69-8E79-A083B7EFBA29}"/>
                </c:ext>
              </c:extLst>
            </c:dLbl>
            <c:dLbl>
              <c:idx val="4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BFDA-4C69-8E79-A083B7EFBA29}"/>
                </c:ext>
              </c:extLst>
            </c:dLbl>
            <c:dLbl>
              <c:idx val="4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19</c:f>
              <c:numCache>
                <c:formatCode>General</c:formatCode>
                <c:ptCount val="18"/>
                <c:pt idx="0">
                  <c:v>0.3509</c:v>
                </c:pt>
                <c:pt idx="1">
                  <c:v>0.3383</c:v>
                </c:pt>
                <c:pt idx="2">
                  <c:v>0.2986</c:v>
                </c:pt>
                <c:pt idx="3">
                  <c:v>0.3345</c:v>
                </c:pt>
                <c:pt idx="4">
                  <c:v>0.356</c:v>
                </c:pt>
                <c:pt idx="5">
                  <c:v>0.3901</c:v>
                </c:pt>
                <c:pt idx="6">
                  <c:v>0.5465</c:v>
                </c:pt>
                <c:pt idx="7">
                  <c:v>0.5532</c:v>
                </c:pt>
                <c:pt idx="8">
                  <c:v>0.357</c:v>
                </c:pt>
                <c:pt idx="9">
                  <c:v>0.3518</c:v>
                </c:pt>
                <c:pt idx="10">
                  <c:v>0.3984</c:v>
                </c:pt>
                <c:pt idx="11">
                  <c:v>0.4621</c:v>
                </c:pt>
                <c:pt idx="12">
                  <c:v>0.3441</c:v>
                </c:pt>
                <c:pt idx="13">
                  <c:v>0.4808</c:v>
                </c:pt>
                <c:pt idx="14">
                  <c:v>0.5323</c:v>
                </c:pt>
                <c:pt idx="15">
                  <c:v>0.3923</c:v>
                </c:pt>
                <c:pt idx="16">
                  <c:v>0.4232</c:v>
                </c:pt>
                <c:pt idx="17">
                  <c:v>0.4121</c:v>
                </c:pt>
              </c:numCache>
            </c:numRef>
          </c:xVal>
          <c:yVal>
            <c:numRef>
              <c:f>Sheet1!$B$2:$B$19</c:f>
              <c:numCache>
                <c:formatCode>General</c:formatCode>
                <c:ptCount val="18"/>
                <c:pt idx="0">
                  <c:v>12114.479591836734</c:v>
                </c:pt>
                <c:pt idx="1">
                  <c:v>535.8648648648649</c:v>
                </c:pt>
                <c:pt idx="2">
                  <c:v>11147.282828282829</c:v>
                </c:pt>
                <c:pt idx="3">
                  <c:v>3558.674157303371</c:v>
                </c:pt>
                <c:pt idx="4">
                  <c:v>1122.0923076923077</c:v>
                </c:pt>
                <c:pt idx="5">
                  <c:v>247.92156862745097</c:v>
                </c:pt>
                <c:pt idx="6">
                  <c:v>611.5573770491803</c:v>
                </c:pt>
                <c:pt idx="7">
                  <c:v>486.0487804878049</c:v>
                </c:pt>
                <c:pt idx="8">
                  <c:v>5526.197802197802</c:v>
                </c:pt>
                <c:pt idx="9">
                  <c:v>10084.61052631579</c:v>
                </c:pt>
                <c:pt idx="10">
                  <c:v>3883.3764705882354</c:v>
                </c:pt>
                <c:pt idx="11">
                  <c:v>989.6666666666666</c:v>
                </c:pt>
                <c:pt idx="12">
                  <c:v>7616.333333333333</c:v>
                </c:pt>
                <c:pt idx="13">
                  <c:v>1998.6373626373627</c:v>
                </c:pt>
                <c:pt idx="14">
                  <c:v>776.2911392405064</c:v>
                </c:pt>
                <c:pt idx="15">
                  <c:v>1784.8315789473684</c:v>
                </c:pt>
                <c:pt idx="16">
                  <c:v>1265.2916666666667</c:v>
                </c:pt>
                <c:pt idx="17">
                  <c:v>908.5915492957746</c:v>
                </c:pt>
              </c:numCache>
            </c:numRef>
          </c:yVal>
          <c:bubbleSize>
            <c:numRef>
              <c:f>Sheet1!$C$2:$C$19</c:f>
              <c:numCache>
                <c:formatCode>General</c:formatCode>
                <c:ptCount val="18"/>
                <c:pt idx="0">
                  <c:v>730494.22</c:v>
                </c:pt>
                <c:pt idx="1">
                  <c:v>12435.3884</c:v>
                </c:pt>
                <c:pt idx="2">
                  <c:v>733678.5325999999</c:v>
                </c:pt>
                <c:pt idx="3">
                  <c:v>199793.7276</c:v>
                </c:pt>
                <c:pt idx="4">
                  <c:v>44525.3437</c:v>
                </c:pt>
                <c:pt idx="5">
                  <c:v>7309.838999999999</c:v>
                </c:pt>
                <c:pt idx="6">
                  <c:v>16035.281699999998</c:v>
                </c:pt>
                <c:pt idx="7">
                  <c:v>8438.853000000001</c:v>
                </c:pt>
                <c:pt idx="8">
                  <c:v>306494.22589999996</c:v>
                </c:pt>
                <c:pt idx="9">
                  <c:v>588623.4519</c:v>
                </c:pt>
                <c:pt idx="10">
                  <c:v>188241.61899999998</c:v>
                </c:pt>
                <c:pt idx="11">
                  <c:v>1513.6466000000003</c:v>
                </c:pt>
                <c:pt idx="12">
                  <c:v>468795.9846999999</c:v>
                </c:pt>
                <c:pt idx="13">
                  <c:v>89507.25500000002</c:v>
                </c:pt>
                <c:pt idx="14">
                  <c:v>27188.0808</c:v>
                </c:pt>
                <c:pt idx="15">
                  <c:v>97662.7545</c:v>
                </c:pt>
                <c:pt idx="16">
                  <c:v>49804.415400000005</c:v>
                </c:pt>
                <c:pt idx="17">
                  <c:v>35948.457</c:v>
                </c:pt>
              </c:numCache>
            </c:numRef>
          </c:bubbleSize>
          <c:bubble3D val="0"/>
          <c:extLst>
            <c:ext xmlns:c15="http://schemas.microsoft.com/office/drawing/2012/chart" uri="{02D57815-91ED-43cb-92C2-25804820EDAC}">
              <c15:datalabelsRange>
                <c15:f>Sheet1!$E$2:$E$50</c15:f>
                <c15:dlblRangeCache>
                  <c:ptCount val="49"/>
                  <c:pt idx="0">
                    <c:v>Findus Merluzzo Altro Findus Fish Bar 245GR</c:v>
                  </c:pt>
                  <c:pt idx="1">
                    <c:v>Findus Merluzzo D Alaska Chips Findus Big Burger 227GR</c:v>
                  </c:pt>
                  <c:pt idx="2">
                    <c:v>Findus Merluzzo D Alaska Standard Findus Big Burger 227GR</c:v>
                  </c:pt>
                  <c:pt idx="3">
                    <c:v>Findus Merluzzo E Spinaci Filetto Findus Croccole 300GR</c:v>
                  </c:pt>
                  <c:pt idx="4">
                    <c:v>Findus Merluzzo Filetto Findus Croccole 300GR</c:v>
                  </c:pt>
                  <c:pt idx="5">
                    <c:v>Findus Merluzzo Filetto Findus Croccole 600GR</c:v>
                  </c:pt>
                  <c:pt idx="6">
                    <c:v>Findus Merluzzo Filetto Findus Fish &amp; Crock 250GR</c:v>
                  </c:pt>
                  <c:pt idx="7">
                    <c:v>Findus Merluzzo Filetto Findus Fish Bar 240GR</c:v>
                  </c:pt>
                  <c:pt idx="8">
                    <c:v>Findus Merluzzo Semi Filetto Findus Croccole 300GR</c:v>
                  </c:pt>
                  <c:pt idx="9">
                    <c:v>Findus Merluzzo Senza Glutine Filetto Findus Croccole 250GR</c:v>
                  </c:pt>
                  <c:pt idx="10">
                    <c:v>Findus Platessa Filetto Findus Platessa 250GR</c:v>
                  </c:pt>
                  <c:pt idx="11">
                    <c:v>Findus Salmone Altro Findus Fish Bar 220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3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C3B68982-9FA7-4B88-98B4-BBE382A65D1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0C919051-E56E-44CB-9D78-57DFA2FCA7E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B1BEFE3E-09F9-4597-94CF-1744A6009F6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5A079908-76C0-4E7C-851E-7C2934FB927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BE417F80-A35B-4737-8AE6-5FD2036149E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0233B37A-377E-4E2C-B870-0AEAFA94768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8666952C-8174-4CEF-9FD2-DEBFAE64E7A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5-BFDA-4C69-8E79-A083B7EFBA29}"/>
                </c:ext>
              </c:extLst>
            </c:dLbl>
            <c:dLbl>
              <c:idx val="1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BFDA-4C69-8E79-A083B7EFBA29}"/>
                </c:ext>
              </c:extLst>
            </c:dLbl>
            <c:dLbl>
              <c:idx val="1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BFDA-4C69-8E79-A083B7EFBA29}"/>
                </c:ext>
              </c:extLst>
            </c:dLbl>
            <c:dLbl>
              <c:idx val="1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BFDA-4C69-8E79-A083B7EFBA29}"/>
                </c:ext>
              </c:extLst>
            </c:dLbl>
            <c:dLbl>
              <c:idx val="1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9-BFDA-4C69-8E79-A083B7EFBA29}"/>
                </c:ext>
              </c:extLst>
            </c:dLbl>
            <c:dLbl>
              <c:idx val="1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A-BFDA-4C69-8E79-A083B7EFBA29}"/>
                </c:ext>
              </c:extLst>
            </c:dLbl>
            <c:dLbl>
              <c:idx val="1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B-BFDA-4C69-8E79-A083B7EFBA29}"/>
                </c:ext>
              </c:extLst>
            </c:dLbl>
            <c:dLbl>
              <c:idx val="1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C-BFDA-4C69-8E79-A083B7EFBA29}"/>
                </c:ext>
              </c:extLst>
            </c:dLbl>
            <c:dLbl>
              <c:idx val="2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BFDA-4C69-8E79-A083B7EFBA29}"/>
                </c:ext>
              </c:extLst>
            </c:dLbl>
            <c:dLbl>
              <c:idx val="2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BFDA-4C69-8E79-A083B7EFBA29}"/>
                </c:ext>
              </c:extLst>
            </c:dLbl>
            <c:dLbl>
              <c:idx val="2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F-BFDA-4C69-8E79-A083B7EFBA29}"/>
                </c:ext>
              </c:extLst>
            </c:dLbl>
            <c:dLbl>
              <c:idx val="2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0-BFDA-4C69-8E79-A083B7EFBA29}"/>
                </c:ext>
              </c:extLst>
            </c:dLbl>
            <c:dLbl>
              <c:idx val="2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1-BFDA-4C69-8E79-A083B7EFBA29}"/>
                </c:ext>
              </c:extLst>
            </c:dLbl>
            <c:dLbl>
              <c:idx val="2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BFDA-4C69-8E79-A083B7EFBA29}"/>
                </c:ext>
              </c:extLst>
            </c:dLbl>
            <c:dLbl>
              <c:idx val="2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BFDA-4C69-8E79-A083B7EFBA29}"/>
                </c:ext>
              </c:extLst>
            </c:dLbl>
            <c:dLbl>
              <c:idx val="2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BFDA-4C69-8E79-A083B7EFBA29}"/>
                </c:ext>
              </c:extLst>
            </c:dLbl>
            <c:dLbl>
              <c:idx val="2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5-BFDA-4C69-8E79-A083B7EFBA29}"/>
                </c:ext>
              </c:extLst>
            </c:dLbl>
            <c:dLbl>
              <c:idx val="2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6-BFDA-4C69-8E79-A083B7EFBA29}"/>
                </c:ext>
              </c:extLst>
            </c:dLbl>
            <c:dLbl>
              <c:idx val="3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7-BFDA-4C69-8E79-A083B7EFBA29}"/>
                </c:ext>
              </c:extLst>
            </c:dLbl>
            <c:dLbl>
              <c:idx val="3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8-BFDA-4C69-8E79-A083B7EFBA29}"/>
                </c:ext>
              </c:extLst>
            </c:dLbl>
            <c:dLbl>
              <c:idx val="3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9-BFDA-4C69-8E79-A083B7EFBA29}"/>
                </c:ext>
              </c:extLst>
            </c:dLbl>
            <c:dLbl>
              <c:idx val="3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BFDA-4C69-8E79-A083B7EFBA29}"/>
                </c:ext>
              </c:extLst>
            </c:dLbl>
            <c:dLbl>
              <c:idx val="3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B-BFDA-4C69-8E79-A083B7EFBA29}"/>
                </c:ext>
              </c:extLst>
            </c:dLbl>
            <c:dLbl>
              <c:idx val="3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C-BFDA-4C69-8E79-A083B7EFBA29}"/>
                </c:ext>
              </c:extLst>
            </c:dLbl>
            <c:dLbl>
              <c:idx val="3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D-BFDA-4C69-8E79-A083B7EFBA29}"/>
                </c:ext>
              </c:extLst>
            </c:dLbl>
            <c:dLbl>
              <c:idx val="3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BFDA-4C69-8E79-A083B7EFBA29}"/>
                </c:ext>
              </c:extLst>
            </c:dLbl>
            <c:dLbl>
              <c:idx val="3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BFDA-4C69-8E79-A083B7EFBA29}"/>
                </c:ext>
              </c:extLst>
            </c:dLbl>
            <c:dLbl>
              <c:idx val="3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BFDA-4C69-8E79-A083B7EFBA29}"/>
                </c:ext>
              </c:extLst>
            </c:dLbl>
            <c:dLbl>
              <c:idx val="4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1-BFDA-4C69-8E79-A083B7EFBA29}"/>
                </c:ext>
              </c:extLst>
            </c:dLbl>
            <c:dLbl>
              <c:idx val="4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BFDA-4C69-8E79-A083B7EFBA29}"/>
                </c:ext>
              </c:extLst>
            </c:dLbl>
            <c:dLbl>
              <c:idx val="4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BFDA-4C69-8E79-A083B7EFBA29}"/>
                </c:ext>
              </c:extLst>
            </c:dLbl>
            <c:dLbl>
              <c:idx val="4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BFDA-4C69-8E79-A083B7EFBA29}"/>
                </c:ext>
              </c:extLst>
            </c:dLbl>
            <c:dLbl>
              <c:idx val="4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BFDA-4C69-8E79-A083B7EFBA29}"/>
                </c:ext>
              </c:extLst>
            </c:dLbl>
            <c:dLbl>
              <c:idx val="4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BFDA-4C69-8E79-A083B7EFBA29}"/>
                </c:ext>
              </c:extLst>
            </c:dLbl>
            <c:dLbl>
              <c:idx val="4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BFDA-4C69-8E79-A083B7EFBA29}"/>
                </c:ext>
              </c:extLst>
            </c:dLbl>
            <c:dLbl>
              <c:idx val="4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BFDA-4C69-8E79-A083B7EFBA29}"/>
                </c:ext>
              </c:extLst>
            </c:dLbl>
            <c:dLbl>
              <c:idx val="4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7</c:f>
              <c:numCache>
                <c:formatCode>General</c:formatCode>
                <c:ptCount val="6"/>
                <c:pt idx="0">
                  <c:v>0.3472</c:v>
                </c:pt>
                <c:pt idx="1">
                  <c:v>0.4695</c:v>
                </c:pt>
                <c:pt idx="2">
                  <c:v>0.4202</c:v>
                </c:pt>
                <c:pt idx="3">
                  <c:v>0.4249</c:v>
                </c:pt>
                <c:pt idx="4">
                  <c:v>0.5233</c:v>
                </c:pt>
                <c:pt idx="5">
                  <c:v>0.3955</c:v>
                </c:pt>
              </c:numCache>
            </c:numRef>
          </c:xVal>
          <c:yVal>
            <c:numRef>
              <c:f>Sheet1!$B$2:$B$7</c:f>
              <c:numCache>
                <c:formatCode>General</c:formatCode>
                <c:ptCount val="6"/>
                <c:pt idx="0">
                  <c:v>6803.333333333333</c:v>
                </c:pt>
                <c:pt idx="1">
                  <c:v>6336.732142857142</c:v>
                </c:pt>
                <c:pt idx="2">
                  <c:v>24603.90625</c:v>
                </c:pt>
                <c:pt idx="3">
                  <c:v>4204.222222222223</c:v>
                </c:pt>
                <c:pt idx="4">
                  <c:v>11954.0</c:v>
                </c:pt>
                <c:pt idx="5">
                  <c:v>7187.0</c:v>
                </c:pt>
              </c:numCache>
            </c:numRef>
          </c:yVal>
          <c:bubbleSize>
            <c:numRef>
              <c:f>Sheet1!$C$2:$C$7</c:f>
              <c:numCache>
                <c:formatCode>General</c:formatCode>
                <c:ptCount val="6"/>
                <c:pt idx="0">
                  <c:v>25256.3515</c:v>
                </c:pt>
                <c:pt idx="1">
                  <c:v>178439.9606</c:v>
                </c:pt>
                <c:pt idx="2">
                  <c:v>1298103.7783000001</c:v>
                </c:pt>
                <c:pt idx="3">
                  <c:v>61878.7852</c:v>
                </c:pt>
                <c:pt idx="4">
                  <c:v>383488.5416</c:v>
                </c:pt>
                <c:pt idx="5">
                  <c:v>8236.3448</c:v>
                </c:pt>
              </c:numCache>
            </c:numRef>
          </c:bubbleSize>
          <c:bubble3D val="0"/>
          <c:extLst>
            <c:ext xmlns:c15="http://schemas.microsoft.com/office/drawing/2012/chart" uri="{02D57815-91ED-43cb-92C2-25804820EDAC}">
              <c15:datalabelsRange>
                <c15:f>Sheet1!$E$2:$E$50</c15:f>
                <c15:dlblRangeCache>
                  <c:ptCount val="49"/>
                  <c:pt idx="0">
                    <c:v>Findus Merluzzo Altro Findus Fish Bar 245GR</c:v>
                  </c:pt>
                  <c:pt idx="1">
                    <c:v>Findus Merluzzo D Alaska Chips Findus Big Burger 227GR</c:v>
                  </c:pt>
                  <c:pt idx="2">
                    <c:v>Findus Merluzzo D Alaska Standard Findus Big Burger 227GR</c:v>
                  </c:pt>
                  <c:pt idx="3">
                    <c:v>Findus Merluzzo E Spinaci Filetto Findus Croccole 300GR</c:v>
                  </c:pt>
                  <c:pt idx="4">
                    <c:v>Findus Merluzzo Filetto Findus Croccole 300GR</c:v>
                  </c:pt>
                  <c:pt idx="5">
                    <c:v>Findus Merluzzo Filetto Findus Croccole 600GR</c:v>
                  </c:pt>
                  <c:pt idx="6">
                    <c:v>Findus Merluzzo Filetto Findus Fish &amp; Crock 250GR</c:v>
                  </c:pt>
                  <c:pt idx="7">
                    <c:v>Findus Merluzzo Filetto Findus Fish Bar 240GR</c:v>
                  </c:pt>
                  <c:pt idx="8">
                    <c:v>Findus Merluzzo Semi Filetto Findus Croccole 300GR</c:v>
                  </c:pt>
                  <c:pt idx="9">
                    <c:v>Findus Merluzzo Senza Glutine Filetto Findus Croccole 250GR</c:v>
                  </c:pt>
                  <c:pt idx="10">
                    <c:v>Findus Platessa Filetto Findus Platessa 250GR</c:v>
                  </c:pt>
                  <c:pt idx="11">
                    <c:v>Findus Salmone Altro Findus Fish Bar 220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3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D3689F35-2966-421D-86B7-E9C55DF45F9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8168DDCA-604E-4975-83DD-C12BAA8AA7F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F4D93E54-91B6-45EE-A512-C483EE4E516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A955CB9E-20D6-48EA-8CA4-ECA3D4CFBB0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859339F2-E974-4388-8AF7-38583BE87E3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BECD01BD-06BF-410C-BACC-AAB06C23820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2DDF8D7C-DA46-4452-917B-247755BDE11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5-BFDA-4C69-8E79-A083B7EFBA29}"/>
                </c:ext>
              </c:extLst>
            </c:dLbl>
            <c:dLbl>
              <c:idx val="1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BFDA-4C69-8E79-A083B7EFBA29}"/>
                </c:ext>
              </c:extLst>
            </c:dLbl>
            <c:dLbl>
              <c:idx val="1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BFDA-4C69-8E79-A083B7EFBA29}"/>
                </c:ext>
              </c:extLst>
            </c:dLbl>
            <c:dLbl>
              <c:idx val="1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BFDA-4C69-8E79-A083B7EFBA29}"/>
                </c:ext>
              </c:extLst>
            </c:dLbl>
            <c:dLbl>
              <c:idx val="1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9-BFDA-4C69-8E79-A083B7EFBA29}"/>
                </c:ext>
              </c:extLst>
            </c:dLbl>
            <c:dLbl>
              <c:idx val="1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A-BFDA-4C69-8E79-A083B7EFBA29}"/>
                </c:ext>
              </c:extLst>
            </c:dLbl>
            <c:dLbl>
              <c:idx val="1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B-BFDA-4C69-8E79-A083B7EFBA29}"/>
                </c:ext>
              </c:extLst>
            </c:dLbl>
            <c:dLbl>
              <c:idx val="1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C-BFDA-4C69-8E79-A083B7EFBA29}"/>
                </c:ext>
              </c:extLst>
            </c:dLbl>
            <c:dLbl>
              <c:idx val="2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BFDA-4C69-8E79-A083B7EFBA29}"/>
                </c:ext>
              </c:extLst>
            </c:dLbl>
            <c:dLbl>
              <c:idx val="2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BFDA-4C69-8E79-A083B7EFBA29}"/>
                </c:ext>
              </c:extLst>
            </c:dLbl>
            <c:dLbl>
              <c:idx val="2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F-BFDA-4C69-8E79-A083B7EFBA29}"/>
                </c:ext>
              </c:extLst>
            </c:dLbl>
            <c:dLbl>
              <c:idx val="2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0-BFDA-4C69-8E79-A083B7EFBA29}"/>
                </c:ext>
              </c:extLst>
            </c:dLbl>
            <c:dLbl>
              <c:idx val="2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1-BFDA-4C69-8E79-A083B7EFBA29}"/>
                </c:ext>
              </c:extLst>
            </c:dLbl>
            <c:dLbl>
              <c:idx val="2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BFDA-4C69-8E79-A083B7EFBA29}"/>
                </c:ext>
              </c:extLst>
            </c:dLbl>
            <c:dLbl>
              <c:idx val="2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BFDA-4C69-8E79-A083B7EFBA29}"/>
                </c:ext>
              </c:extLst>
            </c:dLbl>
            <c:dLbl>
              <c:idx val="2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BFDA-4C69-8E79-A083B7EFBA29}"/>
                </c:ext>
              </c:extLst>
            </c:dLbl>
            <c:dLbl>
              <c:idx val="2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5-BFDA-4C69-8E79-A083B7EFBA29}"/>
                </c:ext>
              </c:extLst>
            </c:dLbl>
            <c:dLbl>
              <c:idx val="2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6-BFDA-4C69-8E79-A083B7EFBA29}"/>
                </c:ext>
              </c:extLst>
            </c:dLbl>
            <c:dLbl>
              <c:idx val="3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7-BFDA-4C69-8E79-A083B7EFBA29}"/>
                </c:ext>
              </c:extLst>
            </c:dLbl>
            <c:dLbl>
              <c:idx val="3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8-BFDA-4C69-8E79-A083B7EFBA29}"/>
                </c:ext>
              </c:extLst>
            </c:dLbl>
            <c:dLbl>
              <c:idx val="3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9-BFDA-4C69-8E79-A083B7EFBA29}"/>
                </c:ext>
              </c:extLst>
            </c:dLbl>
            <c:dLbl>
              <c:idx val="3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BFDA-4C69-8E79-A083B7EFBA29}"/>
                </c:ext>
              </c:extLst>
            </c:dLbl>
            <c:dLbl>
              <c:idx val="3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B-BFDA-4C69-8E79-A083B7EFBA29}"/>
                </c:ext>
              </c:extLst>
            </c:dLbl>
            <c:dLbl>
              <c:idx val="3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C-BFDA-4C69-8E79-A083B7EFBA29}"/>
                </c:ext>
              </c:extLst>
            </c:dLbl>
            <c:dLbl>
              <c:idx val="3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D-BFDA-4C69-8E79-A083B7EFBA29}"/>
                </c:ext>
              </c:extLst>
            </c:dLbl>
            <c:dLbl>
              <c:idx val="3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BFDA-4C69-8E79-A083B7EFBA29}"/>
                </c:ext>
              </c:extLst>
            </c:dLbl>
            <c:dLbl>
              <c:idx val="3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BFDA-4C69-8E79-A083B7EFBA29}"/>
                </c:ext>
              </c:extLst>
            </c:dLbl>
            <c:dLbl>
              <c:idx val="3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BFDA-4C69-8E79-A083B7EFBA29}"/>
                </c:ext>
              </c:extLst>
            </c:dLbl>
            <c:dLbl>
              <c:idx val="4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1-BFDA-4C69-8E79-A083B7EFBA29}"/>
                </c:ext>
              </c:extLst>
            </c:dLbl>
            <c:dLbl>
              <c:idx val="4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BFDA-4C69-8E79-A083B7EFBA29}"/>
                </c:ext>
              </c:extLst>
            </c:dLbl>
            <c:dLbl>
              <c:idx val="4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BFDA-4C69-8E79-A083B7EFBA29}"/>
                </c:ext>
              </c:extLst>
            </c:dLbl>
            <c:dLbl>
              <c:idx val="4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BFDA-4C69-8E79-A083B7EFBA29}"/>
                </c:ext>
              </c:extLst>
            </c:dLbl>
            <c:dLbl>
              <c:idx val="4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BFDA-4C69-8E79-A083B7EFBA29}"/>
                </c:ext>
              </c:extLst>
            </c:dLbl>
            <c:dLbl>
              <c:idx val="4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BFDA-4C69-8E79-A083B7EFBA29}"/>
                </c:ext>
              </c:extLst>
            </c:dLbl>
            <c:dLbl>
              <c:idx val="4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BFDA-4C69-8E79-A083B7EFBA29}"/>
                </c:ext>
              </c:extLst>
            </c:dLbl>
            <c:dLbl>
              <c:idx val="4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BFDA-4C69-8E79-A083B7EFBA29}"/>
                </c:ext>
              </c:extLst>
            </c:dLbl>
            <c:dLbl>
              <c:idx val="4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7</c:f>
              <c:numCache>
                <c:formatCode>General</c:formatCode>
                <c:ptCount val="6"/>
                <c:pt idx="0">
                  <c:v>0.4719</c:v>
                </c:pt>
                <c:pt idx="1">
                  <c:v>0.4564</c:v>
                </c:pt>
                <c:pt idx="2">
                  <c:v>0.4449</c:v>
                </c:pt>
                <c:pt idx="3">
                  <c:v>0.5691</c:v>
                </c:pt>
                <c:pt idx="4">
                  <c:v>0.5159</c:v>
                </c:pt>
                <c:pt idx="5">
                  <c:v>0.4643</c:v>
                </c:pt>
              </c:numCache>
            </c:numRef>
          </c:xVal>
          <c:yVal>
            <c:numRef>
              <c:f>Sheet1!$B$2:$B$7</c:f>
              <c:numCache>
                <c:formatCode>General</c:formatCode>
                <c:ptCount val="6"/>
                <c:pt idx="0">
                  <c:v>14182.0</c:v>
                </c:pt>
                <c:pt idx="1">
                  <c:v>30497.54945054945</c:v>
                </c:pt>
                <c:pt idx="2">
                  <c:v>28146.978723404256</c:v>
                </c:pt>
                <c:pt idx="3">
                  <c:v>4702.2</c:v>
                </c:pt>
                <c:pt idx="4">
                  <c:v>3558.5</c:v>
                </c:pt>
                <c:pt idx="5">
                  <c:v>8683.745098039215</c:v>
                </c:pt>
              </c:numCache>
            </c:numRef>
          </c:yVal>
          <c:bubbleSize>
            <c:numRef>
              <c:f>Sheet1!$C$2:$C$7</c:f>
              <c:numCache>
                <c:formatCode>General</c:formatCode>
                <c:ptCount val="6"/>
                <c:pt idx="0">
                  <c:v>63895.0924</c:v>
                </c:pt>
                <c:pt idx="1">
                  <c:v>1430100.4967999998</c:v>
                </c:pt>
                <c:pt idx="2">
                  <c:v>696022.6984</c:v>
                </c:pt>
                <c:pt idx="3">
                  <c:v>9603.1772</c:v>
                </c:pt>
                <c:pt idx="4">
                  <c:v>13063.7887</c:v>
                </c:pt>
                <c:pt idx="5">
                  <c:v>224873.70239999998</c:v>
                </c:pt>
              </c:numCache>
            </c:numRef>
          </c:bubbleSize>
          <c:bubble3D val="0"/>
          <c:extLst>
            <c:ext xmlns:c15="http://schemas.microsoft.com/office/drawing/2012/chart" uri="{02D57815-91ED-43cb-92C2-25804820EDAC}">
              <c15:datalabelsRange>
                <c15:f>Sheet1!$E$2:$E$50</c15:f>
                <c15:dlblRangeCache>
                  <c:ptCount val="49"/>
                  <c:pt idx="0">
                    <c:v>Findus Merluzzo Altro Findus Fish Bar 245GR</c:v>
                  </c:pt>
                  <c:pt idx="1">
                    <c:v>Findus Merluzzo D Alaska Chips Findus Big Burger 227GR</c:v>
                  </c:pt>
                  <c:pt idx="2">
                    <c:v>Findus Merluzzo D Alaska Standard Findus Big Burger 227GR</c:v>
                  </c:pt>
                  <c:pt idx="3">
                    <c:v>Findus Merluzzo E Spinaci Filetto Findus Croccole 300GR</c:v>
                  </c:pt>
                  <c:pt idx="4">
                    <c:v>Findus Merluzzo Filetto Findus Croccole 300GR</c:v>
                  </c:pt>
                  <c:pt idx="5">
                    <c:v>Findus Merluzzo Filetto Findus Croccole 600GR</c:v>
                  </c:pt>
                  <c:pt idx="6">
                    <c:v>Findus Merluzzo Filetto Findus Fish &amp; Crock 250GR</c:v>
                  </c:pt>
                  <c:pt idx="7">
                    <c:v>Findus Merluzzo Filetto Findus Fish Bar 240GR</c:v>
                  </c:pt>
                  <c:pt idx="8">
                    <c:v>Findus Merluzzo Semi Filetto Findus Croccole 300GR</c:v>
                  </c:pt>
                  <c:pt idx="9">
                    <c:v>Findus Merluzzo Senza Glutine Filetto Findus Croccole 250GR</c:v>
                  </c:pt>
                  <c:pt idx="10">
                    <c:v>Findus Platessa Filetto Findus Platessa 250GR</c:v>
                  </c:pt>
                  <c:pt idx="11">
                    <c:v>Findus Salmone Altro Findus Fish Bar 220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3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79531794-06AC-40A2-B027-86390E303A7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994A0258-3A7B-4E07-95F3-9812E9A158F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583C75A9-3252-408F-8687-7F6A0A4EEE2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5855FFD8-FCA6-4326-8E88-C24AF07DE6E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234C69D2-15B0-4B47-86A5-CA58DAB234F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4114A186-A622-4F8D-AD08-9B325E8DD29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CBE551B3-8B9F-4EC4-8399-CBB60EEA48A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5-BFDA-4C69-8E79-A083B7EFBA29}"/>
                </c:ext>
              </c:extLst>
            </c:dLbl>
            <c:dLbl>
              <c:idx val="1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BFDA-4C69-8E79-A083B7EFBA29}"/>
                </c:ext>
              </c:extLst>
            </c:dLbl>
            <c:dLbl>
              <c:idx val="1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BFDA-4C69-8E79-A083B7EFBA29}"/>
                </c:ext>
              </c:extLst>
            </c:dLbl>
            <c:dLbl>
              <c:idx val="1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BFDA-4C69-8E79-A083B7EFBA29}"/>
                </c:ext>
              </c:extLst>
            </c:dLbl>
            <c:dLbl>
              <c:idx val="1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9-BFDA-4C69-8E79-A083B7EFBA29}"/>
                </c:ext>
              </c:extLst>
            </c:dLbl>
            <c:dLbl>
              <c:idx val="1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A-BFDA-4C69-8E79-A083B7EFBA29}"/>
                </c:ext>
              </c:extLst>
            </c:dLbl>
            <c:dLbl>
              <c:idx val="1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B-BFDA-4C69-8E79-A083B7EFBA29}"/>
                </c:ext>
              </c:extLst>
            </c:dLbl>
            <c:dLbl>
              <c:idx val="1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C-BFDA-4C69-8E79-A083B7EFBA29}"/>
                </c:ext>
              </c:extLst>
            </c:dLbl>
            <c:dLbl>
              <c:idx val="2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BFDA-4C69-8E79-A083B7EFBA29}"/>
                </c:ext>
              </c:extLst>
            </c:dLbl>
            <c:dLbl>
              <c:idx val="2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BFDA-4C69-8E79-A083B7EFBA29}"/>
                </c:ext>
              </c:extLst>
            </c:dLbl>
            <c:dLbl>
              <c:idx val="2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F-BFDA-4C69-8E79-A083B7EFBA29}"/>
                </c:ext>
              </c:extLst>
            </c:dLbl>
            <c:dLbl>
              <c:idx val="2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0-BFDA-4C69-8E79-A083B7EFBA29}"/>
                </c:ext>
              </c:extLst>
            </c:dLbl>
            <c:dLbl>
              <c:idx val="2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1-BFDA-4C69-8E79-A083B7EFBA29}"/>
                </c:ext>
              </c:extLst>
            </c:dLbl>
            <c:dLbl>
              <c:idx val="2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BFDA-4C69-8E79-A083B7EFBA29}"/>
                </c:ext>
              </c:extLst>
            </c:dLbl>
            <c:dLbl>
              <c:idx val="2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BFDA-4C69-8E79-A083B7EFBA29}"/>
                </c:ext>
              </c:extLst>
            </c:dLbl>
            <c:dLbl>
              <c:idx val="2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BFDA-4C69-8E79-A083B7EFBA29}"/>
                </c:ext>
              </c:extLst>
            </c:dLbl>
            <c:dLbl>
              <c:idx val="2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5-BFDA-4C69-8E79-A083B7EFBA29}"/>
                </c:ext>
              </c:extLst>
            </c:dLbl>
            <c:dLbl>
              <c:idx val="2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6-BFDA-4C69-8E79-A083B7EFBA29}"/>
                </c:ext>
              </c:extLst>
            </c:dLbl>
            <c:dLbl>
              <c:idx val="3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7-BFDA-4C69-8E79-A083B7EFBA29}"/>
                </c:ext>
              </c:extLst>
            </c:dLbl>
            <c:dLbl>
              <c:idx val="3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8-BFDA-4C69-8E79-A083B7EFBA29}"/>
                </c:ext>
              </c:extLst>
            </c:dLbl>
            <c:dLbl>
              <c:idx val="3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9-BFDA-4C69-8E79-A083B7EFBA29}"/>
                </c:ext>
              </c:extLst>
            </c:dLbl>
            <c:dLbl>
              <c:idx val="3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BFDA-4C69-8E79-A083B7EFBA29}"/>
                </c:ext>
              </c:extLst>
            </c:dLbl>
            <c:dLbl>
              <c:idx val="3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B-BFDA-4C69-8E79-A083B7EFBA29}"/>
                </c:ext>
              </c:extLst>
            </c:dLbl>
            <c:dLbl>
              <c:idx val="3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C-BFDA-4C69-8E79-A083B7EFBA29}"/>
                </c:ext>
              </c:extLst>
            </c:dLbl>
            <c:dLbl>
              <c:idx val="3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D-BFDA-4C69-8E79-A083B7EFBA29}"/>
                </c:ext>
              </c:extLst>
            </c:dLbl>
            <c:dLbl>
              <c:idx val="3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BFDA-4C69-8E79-A083B7EFBA29}"/>
                </c:ext>
              </c:extLst>
            </c:dLbl>
            <c:dLbl>
              <c:idx val="3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BFDA-4C69-8E79-A083B7EFBA29}"/>
                </c:ext>
              </c:extLst>
            </c:dLbl>
            <c:dLbl>
              <c:idx val="3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BFDA-4C69-8E79-A083B7EFBA29}"/>
                </c:ext>
              </c:extLst>
            </c:dLbl>
            <c:dLbl>
              <c:idx val="4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1-BFDA-4C69-8E79-A083B7EFBA29}"/>
                </c:ext>
              </c:extLst>
            </c:dLbl>
            <c:dLbl>
              <c:idx val="4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BFDA-4C69-8E79-A083B7EFBA29}"/>
                </c:ext>
              </c:extLst>
            </c:dLbl>
            <c:dLbl>
              <c:idx val="4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BFDA-4C69-8E79-A083B7EFBA29}"/>
                </c:ext>
              </c:extLst>
            </c:dLbl>
            <c:dLbl>
              <c:idx val="4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BFDA-4C69-8E79-A083B7EFBA29}"/>
                </c:ext>
              </c:extLst>
            </c:dLbl>
            <c:dLbl>
              <c:idx val="4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BFDA-4C69-8E79-A083B7EFBA29}"/>
                </c:ext>
              </c:extLst>
            </c:dLbl>
            <c:dLbl>
              <c:idx val="4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BFDA-4C69-8E79-A083B7EFBA29}"/>
                </c:ext>
              </c:extLst>
            </c:dLbl>
            <c:dLbl>
              <c:idx val="4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BFDA-4C69-8E79-A083B7EFBA29}"/>
                </c:ext>
              </c:extLst>
            </c:dLbl>
            <c:dLbl>
              <c:idx val="4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BFDA-4C69-8E79-A083B7EFBA29}"/>
                </c:ext>
              </c:extLst>
            </c:dLbl>
            <c:dLbl>
              <c:idx val="4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8</c:f>
              <c:numCache>
                <c:formatCode>General</c:formatCode>
                <c:ptCount val="7"/>
                <c:pt idx="0">
                  <c:v>0.3913</c:v>
                </c:pt>
                <c:pt idx="1">
                  <c:v>0.4277</c:v>
                </c:pt>
                <c:pt idx="2">
                  <c:v>0.4918</c:v>
                </c:pt>
                <c:pt idx="3">
                  <c:v>0.3924</c:v>
                </c:pt>
                <c:pt idx="4">
                  <c:v>0.4352</c:v>
                </c:pt>
                <c:pt idx="5">
                  <c:v>0.4273</c:v>
                </c:pt>
                <c:pt idx="6">
                  <c:v>0.5167</c:v>
                </c:pt>
              </c:numCache>
            </c:numRef>
          </c:xVal>
          <c:yVal>
            <c:numRef>
              <c:f>Sheet1!$B$2:$B$8</c:f>
              <c:numCache>
                <c:formatCode>General</c:formatCode>
                <c:ptCount val="7"/>
                <c:pt idx="0">
                  <c:v>13191.32075471698</c:v>
                </c:pt>
                <c:pt idx="1">
                  <c:v>15938.253012048193</c:v>
                </c:pt>
                <c:pt idx="2">
                  <c:v>5998.125</c:v>
                </c:pt>
                <c:pt idx="3">
                  <c:v>456.8</c:v>
                </c:pt>
                <c:pt idx="4">
                  <c:v>1914.8181818181818</c:v>
                </c:pt>
                <c:pt idx="5">
                  <c:v>3634.8333333333335</c:v>
                </c:pt>
                <c:pt idx="6">
                  <c:v>7412.088607594937</c:v>
                </c:pt>
              </c:numCache>
            </c:numRef>
          </c:yVal>
          <c:bubbleSize>
            <c:numRef>
              <c:f>Sheet1!$C$2:$C$8</c:f>
              <c:numCache>
                <c:formatCode>General</c:formatCode>
                <c:ptCount val="7"/>
                <c:pt idx="0">
                  <c:v>403400.8740000001</c:v>
                </c:pt>
                <c:pt idx="1">
                  <c:v>717579.9723999999</c:v>
                </c:pt>
                <c:pt idx="2">
                  <c:v>23113.3438</c:v>
                </c:pt>
                <c:pt idx="3">
                  <c:v>2630.9526</c:v>
                </c:pt>
                <c:pt idx="4">
                  <c:v>11275.9124</c:v>
                </c:pt>
                <c:pt idx="5">
                  <c:v>23675.9073</c:v>
                </c:pt>
                <c:pt idx="6">
                  <c:v>268250.098</c:v>
                </c:pt>
              </c:numCache>
            </c:numRef>
          </c:bubbleSize>
          <c:bubble3D val="0"/>
          <c:extLst>
            <c:ext xmlns:c15="http://schemas.microsoft.com/office/drawing/2012/chart" uri="{02D57815-91ED-43cb-92C2-25804820EDAC}">
              <c15:datalabelsRange>
                <c15:f>Sheet1!$E$2:$E$50</c15:f>
                <c15:dlblRangeCache>
                  <c:ptCount val="49"/>
                  <c:pt idx="0">
                    <c:v>Findus Merluzzo Altro Findus Fish Bar 245GR</c:v>
                  </c:pt>
                  <c:pt idx="1">
                    <c:v>Findus Merluzzo D Alaska Chips Findus Big Burger 227GR</c:v>
                  </c:pt>
                  <c:pt idx="2">
                    <c:v>Findus Merluzzo D Alaska Standard Findus Big Burger 227GR</c:v>
                  </c:pt>
                  <c:pt idx="3">
                    <c:v>Findus Merluzzo E Spinaci Filetto Findus Croccole 300GR</c:v>
                  </c:pt>
                  <c:pt idx="4">
                    <c:v>Findus Merluzzo Filetto Findus Croccole 300GR</c:v>
                  </c:pt>
                  <c:pt idx="5">
                    <c:v>Findus Merluzzo Filetto Findus Croccole 600GR</c:v>
                  </c:pt>
                  <c:pt idx="6">
                    <c:v>Findus Merluzzo Filetto Findus Fish &amp; Crock 250GR</c:v>
                  </c:pt>
                  <c:pt idx="7">
                    <c:v>Findus Merluzzo Filetto Findus Fish Bar 240GR</c:v>
                  </c:pt>
                  <c:pt idx="8">
                    <c:v>Findus Merluzzo Semi Filetto Findus Croccole 300GR</c:v>
                  </c:pt>
                  <c:pt idx="9">
                    <c:v>Findus Merluzzo Senza Glutine Filetto Findus Croccole 250GR</c:v>
                  </c:pt>
                  <c:pt idx="10">
                    <c:v>Findus Platessa Filetto Findus Platessa 250GR</c:v>
                  </c:pt>
                  <c:pt idx="11">
                    <c:v>Findus Salmone Altro Findus Fish Bar 220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3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5A7E3C79-73E5-4AE6-8492-FD4E8C0961D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6DF7529B-08B9-4F13-9B68-6E92C8DD574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67CD9A29-97DD-4DC6-ACCF-54E0B82741B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FD5A9DDF-C75C-4116-AD2A-9212C9CE07E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BDB6C53F-A685-4762-9076-0A08F91F5ED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29C757CE-053B-4DE5-A97F-91C2F2A6BE5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469A24CF-A19F-45D7-9F9C-A869DD4640E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5-BFDA-4C69-8E79-A083B7EFBA29}"/>
                </c:ext>
              </c:extLst>
            </c:dLbl>
            <c:dLbl>
              <c:idx val="1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BFDA-4C69-8E79-A083B7EFBA29}"/>
                </c:ext>
              </c:extLst>
            </c:dLbl>
            <c:dLbl>
              <c:idx val="1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BFDA-4C69-8E79-A083B7EFBA29}"/>
                </c:ext>
              </c:extLst>
            </c:dLbl>
            <c:dLbl>
              <c:idx val="1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BFDA-4C69-8E79-A083B7EFBA29}"/>
                </c:ext>
              </c:extLst>
            </c:dLbl>
            <c:dLbl>
              <c:idx val="1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9-BFDA-4C69-8E79-A083B7EFBA29}"/>
                </c:ext>
              </c:extLst>
            </c:dLbl>
            <c:dLbl>
              <c:idx val="1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A-BFDA-4C69-8E79-A083B7EFBA29}"/>
                </c:ext>
              </c:extLst>
            </c:dLbl>
            <c:dLbl>
              <c:idx val="1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B-BFDA-4C69-8E79-A083B7EFBA29}"/>
                </c:ext>
              </c:extLst>
            </c:dLbl>
            <c:dLbl>
              <c:idx val="1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C-BFDA-4C69-8E79-A083B7EFBA29}"/>
                </c:ext>
              </c:extLst>
            </c:dLbl>
            <c:dLbl>
              <c:idx val="2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BFDA-4C69-8E79-A083B7EFBA29}"/>
                </c:ext>
              </c:extLst>
            </c:dLbl>
            <c:dLbl>
              <c:idx val="2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BFDA-4C69-8E79-A083B7EFBA29}"/>
                </c:ext>
              </c:extLst>
            </c:dLbl>
            <c:dLbl>
              <c:idx val="2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F-BFDA-4C69-8E79-A083B7EFBA29}"/>
                </c:ext>
              </c:extLst>
            </c:dLbl>
            <c:dLbl>
              <c:idx val="2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0-BFDA-4C69-8E79-A083B7EFBA29}"/>
                </c:ext>
              </c:extLst>
            </c:dLbl>
            <c:dLbl>
              <c:idx val="2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1-BFDA-4C69-8E79-A083B7EFBA29}"/>
                </c:ext>
              </c:extLst>
            </c:dLbl>
            <c:dLbl>
              <c:idx val="2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BFDA-4C69-8E79-A083B7EFBA29}"/>
                </c:ext>
              </c:extLst>
            </c:dLbl>
            <c:dLbl>
              <c:idx val="2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BFDA-4C69-8E79-A083B7EFBA29}"/>
                </c:ext>
              </c:extLst>
            </c:dLbl>
            <c:dLbl>
              <c:idx val="2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BFDA-4C69-8E79-A083B7EFBA29}"/>
                </c:ext>
              </c:extLst>
            </c:dLbl>
            <c:dLbl>
              <c:idx val="2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5-BFDA-4C69-8E79-A083B7EFBA29}"/>
                </c:ext>
              </c:extLst>
            </c:dLbl>
            <c:dLbl>
              <c:idx val="2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6-BFDA-4C69-8E79-A083B7EFBA29}"/>
                </c:ext>
              </c:extLst>
            </c:dLbl>
            <c:dLbl>
              <c:idx val="3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7-BFDA-4C69-8E79-A083B7EFBA29}"/>
                </c:ext>
              </c:extLst>
            </c:dLbl>
            <c:dLbl>
              <c:idx val="3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8-BFDA-4C69-8E79-A083B7EFBA29}"/>
                </c:ext>
              </c:extLst>
            </c:dLbl>
            <c:dLbl>
              <c:idx val="3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9-BFDA-4C69-8E79-A083B7EFBA29}"/>
                </c:ext>
              </c:extLst>
            </c:dLbl>
            <c:dLbl>
              <c:idx val="3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BFDA-4C69-8E79-A083B7EFBA29}"/>
                </c:ext>
              </c:extLst>
            </c:dLbl>
            <c:dLbl>
              <c:idx val="3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B-BFDA-4C69-8E79-A083B7EFBA29}"/>
                </c:ext>
              </c:extLst>
            </c:dLbl>
            <c:dLbl>
              <c:idx val="3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C-BFDA-4C69-8E79-A083B7EFBA29}"/>
                </c:ext>
              </c:extLst>
            </c:dLbl>
            <c:dLbl>
              <c:idx val="3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D-BFDA-4C69-8E79-A083B7EFBA29}"/>
                </c:ext>
              </c:extLst>
            </c:dLbl>
            <c:dLbl>
              <c:idx val="3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BFDA-4C69-8E79-A083B7EFBA29}"/>
                </c:ext>
              </c:extLst>
            </c:dLbl>
            <c:dLbl>
              <c:idx val="3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BFDA-4C69-8E79-A083B7EFBA29}"/>
                </c:ext>
              </c:extLst>
            </c:dLbl>
            <c:dLbl>
              <c:idx val="3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BFDA-4C69-8E79-A083B7EFBA29}"/>
                </c:ext>
              </c:extLst>
            </c:dLbl>
            <c:dLbl>
              <c:idx val="4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1-BFDA-4C69-8E79-A083B7EFBA29}"/>
                </c:ext>
              </c:extLst>
            </c:dLbl>
            <c:dLbl>
              <c:idx val="4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BFDA-4C69-8E79-A083B7EFBA29}"/>
                </c:ext>
              </c:extLst>
            </c:dLbl>
            <c:dLbl>
              <c:idx val="4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BFDA-4C69-8E79-A083B7EFBA29}"/>
                </c:ext>
              </c:extLst>
            </c:dLbl>
            <c:dLbl>
              <c:idx val="4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BFDA-4C69-8E79-A083B7EFBA29}"/>
                </c:ext>
              </c:extLst>
            </c:dLbl>
            <c:dLbl>
              <c:idx val="4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BFDA-4C69-8E79-A083B7EFBA29}"/>
                </c:ext>
              </c:extLst>
            </c:dLbl>
            <c:dLbl>
              <c:idx val="4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BFDA-4C69-8E79-A083B7EFBA29}"/>
                </c:ext>
              </c:extLst>
            </c:dLbl>
            <c:dLbl>
              <c:idx val="4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BFDA-4C69-8E79-A083B7EFBA29}"/>
                </c:ext>
              </c:extLst>
            </c:dLbl>
            <c:dLbl>
              <c:idx val="4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BFDA-4C69-8E79-A083B7EFBA29}"/>
                </c:ext>
              </c:extLst>
            </c:dLbl>
            <c:dLbl>
              <c:idx val="4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12</c:f>
              <c:numCache>
                <c:formatCode>General</c:formatCode>
                <c:ptCount val="11"/>
                <c:pt idx="0">
                  <c:v>0.3214</c:v>
                </c:pt>
                <c:pt idx="1">
                  <c:v>0.3494</c:v>
                </c:pt>
                <c:pt idx="2">
                  <c:v>0.4579</c:v>
                </c:pt>
                <c:pt idx="3">
                  <c:v>0.502</c:v>
                </c:pt>
                <c:pt idx="4">
                  <c:v>0.4765</c:v>
                </c:pt>
                <c:pt idx="5">
                  <c:v>0.3426</c:v>
                </c:pt>
                <c:pt idx="6">
                  <c:v>0.4019</c:v>
                </c:pt>
                <c:pt idx="7">
                  <c:v>0.2801</c:v>
                </c:pt>
                <c:pt idx="8">
                  <c:v>0.3664</c:v>
                </c:pt>
                <c:pt idx="9">
                  <c:v>0.3605</c:v>
                </c:pt>
                <c:pt idx="10">
                  <c:v>0.4792</c:v>
                </c:pt>
              </c:numCache>
            </c:numRef>
          </c:xVal>
          <c:yVal>
            <c:numRef>
              <c:f>Sheet1!$B$2:$B$12</c:f>
              <c:numCache>
                <c:formatCode>General</c:formatCode>
                <c:ptCount val="11"/>
                <c:pt idx="0">
                  <c:v>33468.14141414141</c:v>
                </c:pt>
                <c:pt idx="1">
                  <c:v>32269.03370786517</c:v>
                </c:pt>
                <c:pt idx="2">
                  <c:v>4455.919540229885</c:v>
                </c:pt>
                <c:pt idx="3">
                  <c:v>372.55263157894734</c:v>
                </c:pt>
                <c:pt idx="4">
                  <c:v>5208.266666666666</c:v>
                </c:pt>
                <c:pt idx="5">
                  <c:v>18609.40404040404</c:v>
                </c:pt>
                <c:pt idx="6">
                  <c:v>2162.531914893617</c:v>
                </c:pt>
                <c:pt idx="7">
                  <c:v>2418.6506024096384</c:v>
                </c:pt>
                <c:pt idx="8">
                  <c:v>14583.535353535353</c:v>
                </c:pt>
                <c:pt idx="9">
                  <c:v>20546.0</c:v>
                </c:pt>
                <c:pt idx="10">
                  <c:v>4180.294117647059</c:v>
                </c:pt>
              </c:numCache>
            </c:numRef>
          </c:yVal>
          <c:bubbleSize>
            <c:numRef>
              <c:f>Sheet1!$C$2:$C$12</c:f>
              <c:numCache>
                <c:formatCode>General</c:formatCode>
                <c:ptCount val="11"/>
                <c:pt idx="0">
                  <c:v>2131265.6236</c:v>
                </c:pt>
                <c:pt idx="1">
                  <c:v>1770957.3417000002</c:v>
                </c:pt>
                <c:pt idx="2">
                  <c:v>199191.6838</c:v>
                </c:pt>
                <c:pt idx="3">
                  <c:v>6682.76</c:v>
                </c:pt>
                <c:pt idx="4">
                  <c:v>155071.3642</c:v>
                </c:pt>
                <c:pt idx="5">
                  <c:v>1147936.0168</c:v>
                </c:pt>
                <c:pt idx="6">
                  <c:v>115246.484</c:v>
                </c:pt>
                <c:pt idx="7">
                  <c:v>136986.13999999998</c:v>
                </c:pt>
                <c:pt idx="8">
                  <c:v>867137.4487</c:v>
                </c:pt>
                <c:pt idx="9">
                  <c:v>1195605.3462</c:v>
                </c:pt>
                <c:pt idx="10">
                  <c:v>140324.76739999998</c:v>
                </c:pt>
              </c:numCache>
            </c:numRef>
          </c:bubbleSize>
          <c:bubble3D val="0"/>
          <c:extLst>
            <c:ext xmlns:c15="http://schemas.microsoft.com/office/drawing/2012/chart" uri="{02D57815-91ED-43cb-92C2-25804820EDAC}">
              <c15:datalabelsRange>
                <c15:f>Sheet1!$E$2:$E$50</c15:f>
                <c15:dlblRangeCache>
                  <c:ptCount val="49"/>
                  <c:pt idx="0">
                    <c:v>Findus Merluzzo Altro Findus Fish Bar 245GR</c:v>
                  </c:pt>
                  <c:pt idx="1">
                    <c:v>Findus Merluzzo D Alaska Chips Findus Big Burger 227GR</c:v>
                  </c:pt>
                  <c:pt idx="2">
                    <c:v>Findus Merluzzo D Alaska Standard Findus Big Burger 227GR</c:v>
                  </c:pt>
                  <c:pt idx="3">
                    <c:v>Findus Merluzzo E Spinaci Filetto Findus Croccole 300GR</c:v>
                  </c:pt>
                  <c:pt idx="4">
                    <c:v>Findus Merluzzo Filetto Findus Croccole 300GR</c:v>
                  </c:pt>
                  <c:pt idx="5">
                    <c:v>Findus Merluzzo Filetto Findus Croccole 600GR</c:v>
                  </c:pt>
                  <c:pt idx="6">
                    <c:v>Findus Merluzzo Filetto Findus Fish &amp; Crock 250GR</c:v>
                  </c:pt>
                  <c:pt idx="7">
                    <c:v>Findus Merluzzo Filetto Findus Fish Bar 240GR</c:v>
                  </c:pt>
                  <c:pt idx="8">
                    <c:v>Findus Merluzzo Semi Filetto Findus Croccole 300GR</c:v>
                  </c:pt>
                  <c:pt idx="9">
                    <c:v>Findus Merluzzo Senza Glutine Filetto Findus Croccole 250GR</c:v>
                  </c:pt>
                  <c:pt idx="10">
                    <c:v>Findus Platessa Filetto Findus Platessa 250GR</c:v>
                  </c:pt>
                  <c:pt idx="11">
                    <c:v>Findus Salmone Altro Findus Fish Bar 220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3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4518E517-6F8F-4443-969A-575FE97E45B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2DE1233D-BA68-4B82-8351-32084BC0CE0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E1065E43-058E-4707-9D94-20BE4906819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00ED682E-A28D-477B-BD36-2FC397FC70B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4A2E46E7-2012-4CDF-923E-1F2ED798211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31444167-7822-49E3-BEE3-FB87E27AD37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3E7104F9-D5C1-4D24-9D11-AB23CB682DC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5-BFDA-4C69-8E79-A083B7EFBA29}"/>
                </c:ext>
              </c:extLst>
            </c:dLbl>
            <c:dLbl>
              <c:idx val="1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BFDA-4C69-8E79-A083B7EFBA29}"/>
                </c:ext>
              </c:extLst>
            </c:dLbl>
            <c:dLbl>
              <c:idx val="1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BFDA-4C69-8E79-A083B7EFBA29}"/>
                </c:ext>
              </c:extLst>
            </c:dLbl>
            <c:dLbl>
              <c:idx val="1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BFDA-4C69-8E79-A083B7EFBA29}"/>
                </c:ext>
              </c:extLst>
            </c:dLbl>
            <c:dLbl>
              <c:idx val="1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9-BFDA-4C69-8E79-A083B7EFBA29}"/>
                </c:ext>
              </c:extLst>
            </c:dLbl>
            <c:dLbl>
              <c:idx val="1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A-BFDA-4C69-8E79-A083B7EFBA29}"/>
                </c:ext>
              </c:extLst>
            </c:dLbl>
            <c:dLbl>
              <c:idx val="1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B-BFDA-4C69-8E79-A083B7EFBA29}"/>
                </c:ext>
              </c:extLst>
            </c:dLbl>
            <c:dLbl>
              <c:idx val="1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C-BFDA-4C69-8E79-A083B7EFBA29}"/>
                </c:ext>
              </c:extLst>
            </c:dLbl>
            <c:dLbl>
              <c:idx val="2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BFDA-4C69-8E79-A083B7EFBA29}"/>
                </c:ext>
              </c:extLst>
            </c:dLbl>
            <c:dLbl>
              <c:idx val="2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BFDA-4C69-8E79-A083B7EFBA29}"/>
                </c:ext>
              </c:extLst>
            </c:dLbl>
            <c:dLbl>
              <c:idx val="2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F-BFDA-4C69-8E79-A083B7EFBA29}"/>
                </c:ext>
              </c:extLst>
            </c:dLbl>
            <c:dLbl>
              <c:idx val="2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0-BFDA-4C69-8E79-A083B7EFBA29}"/>
                </c:ext>
              </c:extLst>
            </c:dLbl>
            <c:dLbl>
              <c:idx val="2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1-BFDA-4C69-8E79-A083B7EFBA29}"/>
                </c:ext>
              </c:extLst>
            </c:dLbl>
            <c:dLbl>
              <c:idx val="2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BFDA-4C69-8E79-A083B7EFBA29}"/>
                </c:ext>
              </c:extLst>
            </c:dLbl>
            <c:dLbl>
              <c:idx val="2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BFDA-4C69-8E79-A083B7EFBA29}"/>
                </c:ext>
              </c:extLst>
            </c:dLbl>
            <c:dLbl>
              <c:idx val="2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BFDA-4C69-8E79-A083B7EFBA29}"/>
                </c:ext>
              </c:extLst>
            </c:dLbl>
            <c:dLbl>
              <c:idx val="2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5-BFDA-4C69-8E79-A083B7EFBA29}"/>
                </c:ext>
              </c:extLst>
            </c:dLbl>
            <c:dLbl>
              <c:idx val="2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6-BFDA-4C69-8E79-A083B7EFBA29}"/>
                </c:ext>
              </c:extLst>
            </c:dLbl>
            <c:dLbl>
              <c:idx val="3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7-BFDA-4C69-8E79-A083B7EFBA29}"/>
                </c:ext>
              </c:extLst>
            </c:dLbl>
            <c:dLbl>
              <c:idx val="3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8-BFDA-4C69-8E79-A083B7EFBA29}"/>
                </c:ext>
              </c:extLst>
            </c:dLbl>
            <c:dLbl>
              <c:idx val="3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9-BFDA-4C69-8E79-A083B7EFBA29}"/>
                </c:ext>
              </c:extLst>
            </c:dLbl>
            <c:dLbl>
              <c:idx val="3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BFDA-4C69-8E79-A083B7EFBA29}"/>
                </c:ext>
              </c:extLst>
            </c:dLbl>
            <c:dLbl>
              <c:idx val="3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B-BFDA-4C69-8E79-A083B7EFBA29}"/>
                </c:ext>
              </c:extLst>
            </c:dLbl>
            <c:dLbl>
              <c:idx val="3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C-BFDA-4C69-8E79-A083B7EFBA29}"/>
                </c:ext>
              </c:extLst>
            </c:dLbl>
            <c:dLbl>
              <c:idx val="3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D-BFDA-4C69-8E79-A083B7EFBA29}"/>
                </c:ext>
              </c:extLst>
            </c:dLbl>
            <c:dLbl>
              <c:idx val="3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BFDA-4C69-8E79-A083B7EFBA29}"/>
                </c:ext>
              </c:extLst>
            </c:dLbl>
            <c:dLbl>
              <c:idx val="3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BFDA-4C69-8E79-A083B7EFBA29}"/>
                </c:ext>
              </c:extLst>
            </c:dLbl>
            <c:dLbl>
              <c:idx val="3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BFDA-4C69-8E79-A083B7EFBA29}"/>
                </c:ext>
              </c:extLst>
            </c:dLbl>
            <c:dLbl>
              <c:idx val="4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1-BFDA-4C69-8E79-A083B7EFBA29}"/>
                </c:ext>
              </c:extLst>
            </c:dLbl>
            <c:dLbl>
              <c:idx val="4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BFDA-4C69-8E79-A083B7EFBA29}"/>
                </c:ext>
              </c:extLst>
            </c:dLbl>
            <c:dLbl>
              <c:idx val="4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BFDA-4C69-8E79-A083B7EFBA29}"/>
                </c:ext>
              </c:extLst>
            </c:dLbl>
            <c:dLbl>
              <c:idx val="4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BFDA-4C69-8E79-A083B7EFBA29}"/>
                </c:ext>
              </c:extLst>
            </c:dLbl>
            <c:dLbl>
              <c:idx val="4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BFDA-4C69-8E79-A083B7EFBA29}"/>
                </c:ext>
              </c:extLst>
            </c:dLbl>
            <c:dLbl>
              <c:idx val="4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BFDA-4C69-8E79-A083B7EFBA29}"/>
                </c:ext>
              </c:extLst>
            </c:dLbl>
            <c:dLbl>
              <c:idx val="4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BFDA-4C69-8E79-A083B7EFBA29}"/>
                </c:ext>
              </c:extLst>
            </c:dLbl>
            <c:dLbl>
              <c:idx val="4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BFDA-4C69-8E79-A083B7EFBA29}"/>
                </c:ext>
              </c:extLst>
            </c:dLbl>
            <c:dLbl>
              <c:idx val="4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9</c:f>
              <c:numCache>
                <c:formatCode>General</c:formatCode>
                <c:ptCount val="8"/>
                <c:pt idx="0">
                  <c:v>0.5376</c:v>
                </c:pt>
                <c:pt idx="1">
                  <c:v>0.4297</c:v>
                </c:pt>
                <c:pt idx="2">
                  <c:v>0.3959</c:v>
                </c:pt>
                <c:pt idx="3">
                  <c:v>0.3593</c:v>
                </c:pt>
                <c:pt idx="4">
                  <c:v>0.3196</c:v>
                </c:pt>
                <c:pt idx="5">
                  <c:v>0.2455</c:v>
                </c:pt>
                <c:pt idx="6">
                  <c:v>0.4182</c:v>
                </c:pt>
                <c:pt idx="7">
                  <c:v>0.4881</c:v>
                </c:pt>
              </c:numCache>
            </c:numRef>
          </c:xVal>
          <c:yVal>
            <c:numRef>
              <c:f>Sheet1!$B$2:$B$9</c:f>
              <c:numCache>
                <c:formatCode>General</c:formatCode>
                <c:ptCount val="8"/>
                <c:pt idx="0">
                  <c:v>5071.260869565217</c:v>
                </c:pt>
                <c:pt idx="1">
                  <c:v>7595.781609195402</c:v>
                </c:pt>
                <c:pt idx="2">
                  <c:v>45209.37</c:v>
                </c:pt>
                <c:pt idx="3">
                  <c:v>38529.47422680412</c:v>
                </c:pt>
                <c:pt idx="4">
                  <c:v>58923.051020408166</c:v>
                </c:pt>
                <c:pt idx="5">
                  <c:v>990.84</c:v>
                </c:pt>
                <c:pt idx="6">
                  <c:v>10108.0</c:v>
                </c:pt>
                <c:pt idx="7">
                  <c:v>10818.426966292134</c:v>
                </c:pt>
              </c:numCache>
            </c:numRef>
          </c:yVal>
          <c:bubbleSize>
            <c:numRef>
              <c:f>Sheet1!$C$2:$C$9</c:f>
              <c:numCache>
                <c:formatCode>General</c:formatCode>
                <c:ptCount val="8"/>
                <c:pt idx="0">
                  <c:v>153372.101</c:v>
                </c:pt>
                <c:pt idx="1">
                  <c:v>357216.5298</c:v>
                </c:pt>
                <c:pt idx="2">
                  <c:v>2588496.7709999997</c:v>
                </c:pt>
                <c:pt idx="3">
                  <c:v>2269501.2134</c:v>
                </c:pt>
                <c:pt idx="4">
                  <c:v>3724121.2061000005</c:v>
                </c:pt>
                <c:pt idx="5">
                  <c:v>17714.462399999997</c:v>
                </c:pt>
                <c:pt idx="6">
                  <c:v>540684.2676000001</c:v>
                </c:pt>
                <c:pt idx="7">
                  <c:v>467206.7514</c:v>
                </c:pt>
              </c:numCache>
            </c:numRef>
          </c:bubbleSize>
          <c:bubble3D val="0"/>
          <c:extLst>
            <c:ext xmlns:c15="http://schemas.microsoft.com/office/drawing/2012/chart" uri="{02D57815-91ED-43cb-92C2-25804820EDAC}">
              <c15:datalabelsRange>
                <c15:f>Sheet1!$E$2:$E$50</c15:f>
                <c15:dlblRangeCache>
                  <c:ptCount val="49"/>
                  <c:pt idx="0">
                    <c:v>Findus Merluzzo Altro Findus Fish Bar 245GR</c:v>
                  </c:pt>
                  <c:pt idx="1">
                    <c:v>Findus Merluzzo D Alaska Chips Findus Big Burger 227GR</c:v>
                  </c:pt>
                  <c:pt idx="2">
                    <c:v>Findus Merluzzo D Alaska Standard Findus Big Burger 227GR</c:v>
                  </c:pt>
                  <c:pt idx="3">
                    <c:v>Findus Merluzzo E Spinaci Filetto Findus Croccole 300GR</c:v>
                  </c:pt>
                  <c:pt idx="4">
                    <c:v>Findus Merluzzo Filetto Findus Croccole 300GR</c:v>
                  </c:pt>
                  <c:pt idx="5">
                    <c:v>Findus Merluzzo Filetto Findus Croccole 600GR</c:v>
                  </c:pt>
                  <c:pt idx="6">
                    <c:v>Findus Merluzzo Filetto Findus Fish &amp; Crock 250GR</c:v>
                  </c:pt>
                  <c:pt idx="7">
                    <c:v>Findus Merluzzo Filetto Findus Fish Bar 240GR</c:v>
                  </c:pt>
                  <c:pt idx="8">
                    <c:v>Findus Merluzzo Semi Filetto Findus Croccole 300GR</c:v>
                  </c:pt>
                  <c:pt idx="9">
                    <c:v>Findus Merluzzo Senza Glutine Filetto Findus Croccole 250GR</c:v>
                  </c:pt>
                  <c:pt idx="10">
                    <c:v>Findus Platessa Filetto Findus Platessa 250GR</c:v>
                  </c:pt>
                  <c:pt idx="11">
                    <c:v>Findus Salmone Altro Findus Fish Bar 220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Private Label</c:v>
                </c:pt>
                <c:pt idx="1">
                  <c:v>President</c:v>
                </c:pt>
                <c:pt idx="2">
                  <c:v>La Belle Etoile</c:v>
                </c:pt>
                <c:pt idx="3">
                  <c:v>Boursin</c:v>
                </c:pt>
                <c:pt idx="4">
                  <c:v>Raguin</c:v>
                </c:pt>
                <c:pt idx="5">
                  <c:v>La Vache Qui Rit</c:v>
                </c:pt>
                <c:pt idx="6">
                  <c:v>Others</c:v>
                </c:pt>
              </c:strCache>
            </c:strRef>
          </c:cat>
          <c:val>
            <c:numRef>
              <c:f>Sheet1!$B$2:$B$8</c:f>
              <c:numCache>
                <c:formatCode>General</c:formatCode>
                <c:ptCount val="7"/>
                <c:pt idx="0">
                  <c:v>0.5147284335265367</c:v>
                </c:pt>
                <c:pt idx="1">
                  <c:v>0.33737885886012503</c:v>
                </c:pt>
                <c:pt idx="2">
                  <c:v>0.0538000432687264</c:v>
                </c:pt>
                <c:pt idx="3">
                  <c:v>0.028788259819164833</c:v>
                </c:pt>
                <c:pt idx="4">
                  <c:v>0.024882027466104073</c:v>
                </c:pt>
                <c:pt idx="5">
                  <c:v>8.307394685576405e-05</c:v>
                </c:pt>
                <c:pt idx="6">
                  <c:v>0.040339303112487145</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Private Label</c:v>
                </c:pt>
                <c:pt idx="1">
                  <c:v>President</c:v>
                </c:pt>
                <c:pt idx="2">
                  <c:v>La Belle Etoile</c:v>
                </c:pt>
                <c:pt idx="3">
                  <c:v>Boursin</c:v>
                </c:pt>
                <c:pt idx="4">
                  <c:v>Raguin</c:v>
                </c:pt>
                <c:pt idx="5">
                  <c:v>La Vache Qui Rit</c:v>
                </c:pt>
                <c:pt idx="6">
                  <c:v>Others</c:v>
                </c:pt>
              </c:strCache>
            </c:strRef>
          </c:cat>
          <c:val>
            <c:numRef>
              <c:f>Sheet1!$C$2:$C$8</c:f>
              <c:numCache>
                <c:formatCode>General</c:formatCode>
                <c:ptCount val="7"/>
                <c:pt idx="0">
                  <c:v>0.42307692307692324</c:v>
                </c:pt>
                <c:pt idx="1">
                  <c:v>0.3068376068376069</c:v>
                </c:pt>
                <c:pt idx="2">
                  <c:v>0.049572649572649605</c:v>
                </c:pt>
                <c:pt idx="3">
                  <c:v>0.062393162393162414</c:v>
                </c:pt>
                <c:pt idx="4">
                  <c:v>0.011965811965811968</c:v>
                </c:pt>
                <c:pt idx="5">
                  <c:v>0.002564102564102565</c:v>
                </c:pt>
                <c:pt idx="6">
                  <c:v>0.14358974358974366</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Private Label</c:v>
                </c:pt>
                <c:pt idx="1">
                  <c:v>President</c:v>
                </c:pt>
                <c:pt idx="2">
                  <c:v>La Belle Etoile</c:v>
                </c:pt>
                <c:pt idx="3">
                  <c:v>Boursin</c:v>
                </c:pt>
                <c:pt idx="4">
                  <c:v>Raguin</c:v>
                </c:pt>
                <c:pt idx="5">
                  <c:v>La Vache Qui Rit</c:v>
                </c:pt>
                <c:pt idx="6">
                  <c:v>Others</c:v>
                </c:pt>
              </c:strCache>
            </c:strRef>
          </c:cat>
          <c:val>
            <c:numRef>
              <c:f>Sheet1!$D$2:$D$8</c:f>
              <c:numCache>
                <c:formatCode>General</c:formatCode>
                <c:ptCount val="7"/>
                <c:pt idx="0">
                  <c:v>82.19420096502432</c:v>
                </c:pt>
                <c:pt idx="1">
                  <c:v>90.94749086362275</c:v>
                </c:pt>
                <c:pt idx="2">
                  <c:v>92.1423972189737</c:v>
                </c:pt>
                <c:pt idx="3">
                  <c:v>216.73127443301118</c:v>
                </c:pt>
                <c:pt idx="4">
                  <c:v>48.09018068207095</c:v>
                </c:pt>
                <c:pt idx="5">
                  <c:v>3086.5303276783648</c:v>
                </c:pt>
                <c:pt idx="6">
                  <c:v>355.9549434687558</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1F632DA7-A085-4F8B-83D7-A726155A049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B0E756A3-B842-42A0-AA8C-C50E08CEC1B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06734DB2-9070-4DE2-82C3-9BC86E87551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555C2F9B-3FC8-48E2-8811-D2DD1BECBD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C628F8C5-B78B-42BE-8E83-413AB03F6D0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FC0AE687-A108-4C61-95D7-CAF78800C52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B07E86AE-1381-4374-8266-2B232C60617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5-BFDA-4C69-8E79-A083B7EFBA29}"/>
                </c:ext>
              </c:extLst>
            </c:dLbl>
            <c:dLbl>
              <c:idx val="1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BFDA-4C69-8E79-A083B7EFBA29}"/>
                </c:ext>
              </c:extLst>
            </c:dLbl>
            <c:dLbl>
              <c:idx val="1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BFDA-4C69-8E79-A083B7EFBA29}"/>
                </c:ext>
              </c:extLst>
            </c:dLbl>
            <c:dLbl>
              <c:idx val="1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BFDA-4C69-8E79-A083B7EFBA29}"/>
                </c:ext>
              </c:extLst>
            </c:dLbl>
            <c:dLbl>
              <c:idx val="1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9-BFDA-4C69-8E79-A083B7EFBA29}"/>
                </c:ext>
              </c:extLst>
            </c:dLbl>
            <c:dLbl>
              <c:idx val="1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A-BFDA-4C69-8E79-A083B7EFBA29}"/>
                </c:ext>
              </c:extLst>
            </c:dLbl>
            <c:dLbl>
              <c:idx val="1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B-BFDA-4C69-8E79-A083B7EFBA29}"/>
                </c:ext>
              </c:extLst>
            </c:dLbl>
            <c:dLbl>
              <c:idx val="1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C-BFDA-4C69-8E79-A083B7EFBA29}"/>
                </c:ext>
              </c:extLst>
            </c:dLbl>
            <c:dLbl>
              <c:idx val="2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BFDA-4C69-8E79-A083B7EFBA29}"/>
                </c:ext>
              </c:extLst>
            </c:dLbl>
            <c:dLbl>
              <c:idx val="2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BFDA-4C69-8E79-A083B7EFBA29}"/>
                </c:ext>
              </c:extLst>
            </c:dLbl>
            <c:dLbl>
              <c:idx val="2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F-BFDA-4C69-8E79-A083B7EFBA29}"/>
                </c:ext>
              </c:extLst>
            </c:dLbl>
            <c:dLbl>
              <c:idx val="2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0-BFDA-4C69-8E79-A083B7EFBA29}"/>
                </c:ext>
              </c:extLst>
            </c:dLbl>
            <c:dLbl>
              <c:idx val="2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1-BFDA-4C69-8E79-A083B7EFBA29}"/>
                </c:ext>
              </c:extLst>
            </c:dLbl>
            <c:dLbl>
              <c:idx val="2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BFDA-4C69-8E79-A083B7EFBA29}"/>
                </c:ext>
              </c:extLst>
            </c:dLbl>
            <c:dLbl>
              <c:idx val="2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BFDA-4C69-8E79-A083B7EFBA29}"/>
                </c:ext>
              </c:extLst>
            </c:dLbl>
            <c:dLbl>
              <c:idx val="2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BFDA-4C69-8E79-A083B7EFBA29}"/>
                </c:ext>
              </c:extLst>
            </c:dLbl>
            <c:dLbl>
              <c:idx val="2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5-BFDA-4C69-8E79-A083B7EFBA29}"/>
                </c:ext>
              </c:extLst>
            </c:dLbl>
            <c:dLbl>
              <c:idx val="2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6-BFDA-4C69-8E79-A083B7EFBA29}"/>
                </c:ext>
              </c:extLst>
            </c:dLbl>
            <c:dLbl>
              <c:idx val="3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7-BFDA-4C69-8E79-A083B7EFBA29}"/>
                </c:ext>
              </c:extLst>
            </c:dLbl>
            <c:dLbl>
              <c:idx val="3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8-BFDA-4C69-8E79-A083B7EFBA29}"/>
                </c:ext>
              </c:extLst>
            </c:dLbl>
            <c:dLbl>
              <c:idx val="3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9-BFDA-4C69-8E79-A083B7EFBA29}"/>
                </c:ext>
              </c:extLst>
            </c:dLbl>
            <c:dLbl>
              <c:idx val="3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BFDA-4C69-8E79-A083B7EFBA29}"/>
                </c:ext>
              </c:extLst>
            </c:dLbl>
            <c:dLbl>
              <c:idx val="3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B-BFDA-4C69-8E79-A083B7EFBA29}"/>
                </c:ext>
              </c:extLst>
            </c:dLbl>
            <c:dLbl>
              <c:idx val="3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C-BFDA-4C69-8E79-A083B7EFBA29}"/>
                </c:ext>
              </c:extLst>
            </c:dLbl>
            <c:dLbl>
              <c:idx val="3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D-BFDA-4C69-8E79-A083B7EFBA29}"/>
                </c:ext>
              </c:extLst>
            </c:dLbl>
            <c:dLbl>
              <c:idx val="3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BFDA-4C69-8E79-A083B7EFBA29}"/>
                </c:ext>
              </c:extLst>
            </c:dLbl>
            <c:dLbl>
              <c:idx val="3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BFDA-4C69-8E79-A083B7EFBA29}"/>
                </c:ext>
              </c:extLst>
            </c:dLbl>
            <c:dLbl>
              <c:idx val="3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BFDA-4C69-8E79-A083B7EFBA29}"/>
                </c:ext>
              </c:extLst>
            </c:dLbl>
            <c:dLbl>
              <c:idx val="4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1-BFDA-4C69-8E79-A083B7EFBA29}"/>
                </c:ext>
              </c:extLst>
            </c:dLbl>
            <c:dLbl>
              <c:idx val="4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BFDA-4C69-8E79-A083B7EFBA29}"/>
                </c:ext>
              </c:extLst>
            </c:dLbl>
            <c:dLbl>
              <c:idx val="4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BFDA-4C69-8E79-A083B7EFBA29}"/>
                </c:ext>
              </c:extLst>
            </c:dLbl>
            <c:dLbl>
              <c:idx val="4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BFDA-4C69-8E79-A083B7EFBA29}"/>
                </c:ext>
              </c:extLst>
            </c:dLbl>
            <c:dLbl>
              <c:idx val="4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BFDA-4C69-8E79-A083B7EFBA29}"/>
                </c:ext>
              </c:extLst>
            </c:dLbl>
            <c:dLbl>
              <c:idx val="4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BFDA-4C69-8E79-A083B7EFBA29}"/>
                </c:ext>
              </c:extLst>
            </c:dLbl>
            <c:dLbl>
              <c:idx val="4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BFDA-4C69-8E79-A083B7EFBA29}"/>
                </c:ext>
              </c:extLst>
            </c:dLbl>
            <c:dLbl>
              <c:idx val="4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BFDA-4C69-8E79-A083B7EFBA29}"/>
                </c:ext>
              </c:extLst>
            </c:dLbl>
            <c:dLbl>
              <c:idx val="4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19</c:f>
              <c:numCache>
                <c:formatCode>General</c:formatCode>
                <c:ptCount val="18"/>
                <c:pt idx="0">
                  <c:v>0.3507</c:v>
                </c:pt>
                <c:pt idx="1">
                  <c:v>0.3505</c:v>
                </c:pt>
                <c:pt idx="2">
                  <c:v>0.4196</c:v>
                </c:pt>
                <c:pt idx="3">
                  <c:v>0.3942</c:v>
                </c:pt>
                <c:pt idx="4">
                  <c:v>0.5027</c:v>
                </c:pt>
                <c:pt idx="5">
                  <c:v>0.3991</c:v>
                </c:pt>
                <c:pt idx="6">
                  <c:v>0.401</c:v>
                </c:pt>
                <c:pt idx="7">
                  <c:v>0.3693</c:v>
                </c:pt>
                <c:pt idx="8">
                  <c:v>0.4066</c:v>
                </c:pt>
                <c:pt idx="9">
                  <c:v>0.4816</c:v>
                </c:pt>
                <c:pt idx="10">
                  <c:v>0.4413</c:v>
                </c:pt>
                <c:pt idx="11">
                  <c:v>0.3822</c:v>
                </c:pt>
                <c:pt idx="12">
                  <c:v>0.4342</c:v>
                </c:pt>
                <c:pt idx="13">
                  <c:v>0.3867</c:v>
                </c:pt>
                <c:pt idx="14">
                  <c:v>0.3648</c:v>
                </c:pt>
                <c:pt idx="15">
                  <c:v>0.4264</c:v>
                </c:pt>
                <c:pt idx="16">
                  <c:v>0.4791</c:v>
                </c:pt>
                <c:pt idx="17">
                  <c:v>0.4293</c:v>
                </c:pt>
              </c:numCache>
            </c:numRef>
          </c:xVal>
          <c:yVal>
            <c:numRef>
              <c:f>Sheet1!$B$2:$B$19</c:f>
              <c:numCache>
                <c:formatCode>General</c:formatCode>
                <c:ptCount val="18"/>
                <c:pt idx="0">
                  <c:v>20176.727272727272</c:v>
                </c:pt>
                <c:pt idx="1">
                  <c:v>17911.57</c:v>
                </c:pt>
                <c:pt idx="2">
                  <c:v>6243.686868686868</c:v>
                </c:pt>
                <c:pt idx="3">
                  <c:v>7410.282828282829</c:v>
                </c:pt>
                <c:pt idx="4">
                  <c:v>464.8142857142857</c:v>
                </c:pt>
                <c:pt idx="5">
                  <c:v>2016.586206896552</c:v>
                </c:pt>
                <c:pt idx="6">
                  <c:v>8247.145833333334</c:v>
                </c:pt>
                <c:pt idx="7">
                  <c:v>20997.565656565657</c:v>
                </c:pt>
                <c:pt idx="8">
                  <c:v>6186.218390804598</c:v>
                </c:pt>
                <c:pt idx="9">
                  <c:v>8871.60824742268</c:v>
                </c:pt>
                <c:pt idx="10">
                  <c:v>4356.843373493976</c:v>
                </c:pt>
                <c:pt idx="11">
                  <c:v>5263.666666666667</c:v>
                </c:pt>
                <c:pt idx="12">
                  <c:v>8367.65306122449</c:v>
                </c:pt>
                <c:pt idx="13">
                  <c:v>1613.590909090909</c:v>
                </c:pt>
                <c:pt idx="14">
                  <c:v>833.7349397590361</c:v>
                </c:pt>
                <c:pt idx="15">
                  <c:v>2456.7441860465115</c:v>
                </c:pt>
                <c:pt idx="16">
                  <c:v>1204.2388059701493</c:v>
                </c:pt>
                <c:pt idx="17">
                  <c:v>880.45</c:v>
                </c:pt>
              </c:numCache>
            </c:numRef>
          </c:yVal>
          <c:bubbleSize>
            <c:numRef>
              <c:f>Sheet1!$C$2:$C$19</c:f>
              <c:numCache>
                <c:formatCode>General</c:formatCode>
                <c:ptCount val="18"/>
                <c:pt idx="0">
                  <c:v>1229378.2704</c:v>
                </c:pt>
                <c:pt idx="1">
                  <c:v>1102724.8402</c:v>
                </c:pt>
                <c:pt idx="2">
                  <c:v>340046.8445</c:v>
                </c:pt>
                <c:pt idx="3">
                  <c:v>421246.15119999996</c:v>
                </c:pt>
                <c:pt idx="4">
                  <c:v>14702.586299999999</c:v>
                </c:pt>
                <c:pt idx="5">
                  <c:v>33307.8298</c:v>
                </c:pt>
                <c:pt idx="6">
                  <c:v>449521.4904999999</c:v>
                </c:pt>
                <c:pt idx="7">
                  <c:v>1242709.427</c:v>
                </c:pt>
                <c:pt idx="8">
                  <c:v>302695.39999999997</c:v>
                </c:pt>
                <c:pt idx="9">
                  <c:v>422865.65939999995</c:v>
                </c:pt>
                <c:pt idx="10">
                  <c:v>191507.8531</c:v>
                </c:pt>
                <c:pt idx="11">
                  <c:v>295907.8751</c:v>
                </c:pt>
                <c:pt idx="12">
                  <c:v>439809.19409999996</c:v>
                </c:pt>
                <c:pt idx="13">
                  <c:v>82541.7076</c:v>
                </c:pt>
                <c:pt idx="14">
                  <c:v>41666.6322</c:v>
                </c:pt>
                <c:pt idx="15">
                  <c:v>114864.4392</c:v>
                </c:pt>
                <c:pt idx="16">
                  <c:v>39835.8197</c:v>
                </c:pt>
                <c:pt idx="17">
                  <c:v>19049.4876</c:v>
                </c:pt>
              </c:numCache>
            </c:numRef>
          </c:bubbleSize>
          <c:bubble3D val="0"/>
          <c:extLst>
            <c:ext xmlns:c15="http://schemas.microsoft.com/office/drawing/2012/chart" uri="{02D57815-91ED-43cb-92C2-25804820EDAC}">
              <c15:datalabelsRange>
                <c15:f>Sheet1!$E$2:$E$50</c15:f>
                <c15:dlblRangeCache>
                  <c:ptCount val="49"/>
                  <c:pt idx="0">
                    <c:v>Findus Merluzzo Altro Findus Fish Bar 245GR</c:v>
                  </c:pt>
                  <c:pt idx="1">
                    <c:v>Findus Merluzzo D Alaska Chips Findus Big Burger 227GR</c:v>
                  </c:pt>
                  <c:pt idx="2">
                    <c:v>Findus Merluzzo D Alaska Standard Findus Big Burger 227GR</c:v>
                  </c:pt>
                  <c:pt idx="3">
                    <c:v>Findus Merluzzo E Spinaci Filetto Findus Croccole 300GR</c:v>
                  </c:pt>
                  <c:pt idx="4">
                    <c:v>Findus Merluzzo Filetto Findus Croccole 300GR</c:v>
                  </c:pt>
                  <c:pt idx="5">
                    <c:v>Findus Merluzzo Filetto Findus Croccole 600GR</c:v>
                  </c:pt>
                  <c:pt idx="6">
                    <c:v>Findus Merluzzo Filetto Findus Fish &amp; Crock 250GR</c:v>
                  </c:pt>
                  <c:pt idx="7">
                    <c:v>Findus Merluzzo Filetto Findus Fish Bar 240GR</c:v>
                  </c:pt>
                  <c:pt idx="8">
                    <c:v>Findus Merluzzo Semi Filetto Findus Croccole 300GR</c:v>
                  </c:pt>
                  <c:pt idx="9">
                    <c:v>Findus Merluzzo Senza Glutine Filetto Findus Croccole 250GR</c:v>
                  </c:pt>
                  <c:pt idx="10">
                    <c:v>Findus Platessa Filetto Findus Platessa 250GR</c:v>
                  </c:pt>
                  <c:pt idx="11">
                    <c:v>Findus Salmone Altro Findus Fish Bar 220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3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BEF03260-7937-405F-9D38-0AEA5BDE9E8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839CF79B-6302-476C-815C-B35521B528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BA9BC0DC-9A38-4725-8B08-03D34B0DD20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AC04D864-06C7-4A6A-A968-19743B87F93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78F215F2-D695-4877-8A94-2BCF756A092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0A6DF6B8-D330-4629-9558-6E95F3EC809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106456E1-2EBC-494C-BED6-070BB84DEA7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5-BFDA-4C69-8E79-A083B7EFBA29}"/>
                </c:ext>
              </c:extLst>
            </c:dLbl>
            <c:dLbl>
              <c:idx val="1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BFDA-4C69-8E79-A083B7EFBA29}"/>
                </c:ext>
              </c:extLst>
            </c:dLbl>
            <c:dLbl>
              <c:idx val="1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BFDA-4C69-8E79-A083B7EFBA29}"/>
                </c:ext>
              </c:extLst>
            </c:dLbl>
            <c:dLbl>
              <c:idx val="1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BFDA-4C69-8E79-A083B7EFBA29}"/>
                </c:ext>
              </c:extLst>
            </c:dLbl>
            <c:dLbl>
              <c:idx val="1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9-BFDA-4C69-8E79-A083B7EFBA29}"/>
                </c:ext>
              </c:extLst>
            </c:dLbl>
            <c:dLbl>
              <c:idx val="1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A-BFDA-4C69-8E79-A083B7EFBA29}"/>
                </c:ext>
              </c:extLst>
            </c:dLbl>
            <c:dLbl>
              <c:idx val="1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B-BFDA-4C69-8E79-A083B7EFBA29}"/>
                </c:ext>
              </c:extLst>
            </c:dLbl>
            <c:dLbl>
              <c:idx val="1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C-BFDA-4C69-8E79-A083B7EFBA29}"/>
                </c:ext>
              </c:extLst>
            </c:dLbl>
            <c:dLbl>
              <c:idx val="2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BFDA-4C69-8E79-A083B7EFBA29}"/>
                </c:ext>
              </c:extLst>
            </c:dLbl>
            <c:dLbl>
              <c:idx val="2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BFDA-4C69-8E79-A083B7EFBA29}"/>
                </c:ext>
              </c:extLst>
            </c:dLbl>
            <c:dLbl>
              <c:idx val="2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F-BFDA-4C69-8E79-A083B7EFBA29}"/>
                </c:ext>
              </c:extLst>
            </c:dLbl>
            <c:dLbl>
              <c:idx val="2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0-BFDA-4C69-8E79-A083B7EFBA29}"/>
                </c:ext>
              </c:extLst>
            </c:dLbl>
            <c:dLbl>
              <c:idx val="2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1-BFDA-4C69-8E79-A083B7EFBA29}"/>
                </c:ext>
              </c:extLst>
            </c:dLbl>
            <c:dLbl>
              <c:idx val="2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BFDA-4C69-8E79-A083B7EFBA29}"/>
                </c:ext>
              </c:extLst>
            </c:dLbl>
            <c:dLbl>
              <c:idx val="2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BFDA-4C69-8E79-A083B7EFBA29}"/>
                </c:ext>
              </c:extLst>
            </c:dLbl>
            <c:dLbl>
              <c:idx val="2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BFDA-4C69-8E79-A083B7EFBA29}"/>
                </c:ext>
              </c:extLst>
            </c:dLbl>
            <c:dLbl>
              <c:idx val="2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5-BFDA-4C69-8E79-A083B7EFBA29}"/>
                </c:ext>
              </c:extLst>
            </c:dLbl>
            <c:dLbl>
              <c:idx val="2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6-BFDA-4C69-8E79-A083B7EFBA29}"/>
                </c:ext>
              </c:extLst>
            </c:dLbl>
            <c:dLbl>
              <c:idx val="3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7-BFDA-4C69-8E79-A083B7EFBA29}"/>
                </c:ext>
              </c:extLst>
            </c:dLbl>
            <c:dLbl>
              <c:idx val="3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8-BFDA-4C69-8E79-A083B7EFBA29}"/>
                </c:ext>
              </c:extLst>
            </c:dLbl>
            <c:dLbl>
              <c:idx val="3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9-BFDA-4C69-8E79-A083B7EFBA29}"/>
                </c:ext>
              </c:extLst>
            </c:dLbl>
            <c:dLbl>
              <c:idx val="3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BFDA-4C69-8E79-A083B7EFBA29}"/>
                </c:ext>
              </c:extLst>
            </c:dLbl>
            <c:dLbl>
              <c:idx val="3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B-BFDA-4C69-8E79-A083B7EFBA29}"/>
                </c:ext>
              </c:extLst>
            </c:dLbl>
            <c:dLbl>
              <c:idx val="3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C-BFDA-4C69-8E79-A083B7EFBA29}"/>
                </c:ext>
              </c:extLst>
            </c:dLbl>
            <c:dLbl>
              <c:idx val="3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D-BFDA-4C69-8E79-A083B7EFBA29}"/>
                </c:ext>
              </c:extLst>
            </c:dLbl>
            <c:dLbl>
              <c:idx val="3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BFDA-4C69-8E79-A083B7EFBA29}"/>
                </c:ext>
              </c:extLst>
            </c:dLbl>
            <c:dLbl>
              <c:idx val="3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BFDA-4C69-8E79-A083B7EFBA29}"/>
                </c:ext>
              </c:extLst>
            </c:dLbl>
            <c:dLbl>
              <c:idx val="3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BFDA-4C69-8E79-A083B7EFBA29}"/>
                </c:ext>
              </c:extLst>
            </c:dLbl>
            <c:dLbl>
              <c:idx val="4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1-BFDA-4C69-8E79-A083B7EFBA29}"/>
                </c:ext>
              </c:extLst>
            </c:dLbl>
            <c:dLbl>
              <c:idx val="4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BFDA-4C69-8E79-A083B7EFBA29}"/>
                </c:ext>
              </c:extLst>
            </c:dLbl>
            <c:dLbl>
              <c:idx val="4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BFDA-4C69-8E79-A083B7EFBA29}"/>
                </c:ext>
              </c:extLst>
            </c:dLbl>
            <c:dLbl>
              <c:idx val="4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BFDA-4C69-8E79-A083B7EFBA29}"/>
                </c:ext>
              </c:extLst>
            </c:dLbl>
            <c:dLbl>
              <c:idx val="4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BFDA-4C69-8E79-A083B7EFBA29}"/>
                </c:ext>
              </c:extLst>
            </c:dLbl>
            <c:dLbl>
              <c:idx val="4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BFDA-4C69-8E79-A083B7EFBA29}"/>
                </c:ext>
              </c:extLst>
            </c:dLbl>
            <c:dLbl>
              <c:idx val="4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BFDA-4C69-8E79-A083B7EFBA29}"/>
                </c:ext>
              </c:extLst>
            </c:dLbl>
            <c:dLbl>
              <c:idx val="4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BFDA-4C69-8E79-A083B7EFBA29}"/>
                </c:ext>
              </c:extLst>
            </c:dLbl>
            <c:dLbl>
              <c:idx val="4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12</c:f>
              <c:numCache>
                <c:formatCode>General</c:formatCode>
                <c:ptCount val="11"/>
                <c:pt idx="0">
                  <c:v>0.3152</c:v>
                </c:pt>
                <c:pt idx="1">
                  <c:v>0.3415</c:v>
                </c:pt>
                <c:pt idx="2">
                  <c:v>0.4399</c:v>
                </c:pt>
                <c:pt idx="3">
                  <c:v>0.4881</c:v>
                </c:pt>
                <c:pt idx="4">
                  <c:v>0.4553</c:v>
                </c:pt>
                <c:pt idx="5">
                  <c:v>0.3307</c:v>
                </c:pt>
                <c:pt idx="6">
                  <c:v>0.4628</c:v>
                </c:pt>
                <c:pt idx="7">
                  <c:v>0.278</c:v>
                </c:pt>
                <c:pt idx="8">
                  <c:v>0.3501</c:v>
                </c:pt>
                <c:pt idx="9">
                  <c:v>0.3389</c:v>
                </c:pt>
                <c:pt idx="10">
                  <c:v>0.4654</c:v>
                </c:pt>
              </c:numCache>
            </c:numRef>
          </c:xVal>
          <c:yVal>
            <c:numRef>
              <c:f>Sheet1!$B$2:$B$12</c:f>
              <c:numCache>
                <c:formatCode>General</c:formatCode>
                <c:ptCount val="11"/>
                <c:pt idx="0">
                  <c:v>5841.94</c:v>
                </c:pt>
                <c:pt idx="1">
                  <c:v>5970.020202020202</c:v>
                </c:pt>
                <c:pt idx="2">
                  <c:v>772.4949494949495</c:v>
                </c:pt>
                <c:pt idx="3">
                  <c:v>58.203125</c:v>
                </c:pt>
                <c:pt idx="4">
                  <c:v>698.2873563218391</c:v>
                </c:pt>
                <c:pt idx="5">
                  <c:v>2915.26</c:v>
                </c:pt>
                <c:pt idx="6">
                  <c:v>474.734693877551</c:v>
                </c:pt>
                <c:pt idx="7">
                  <c:v>409.3829787234043</c:v>
                </c:pt>
                <c:pt idx="8">
                  <c:v>2549.27</c:v>
                </c:pt>
                <c:pt idx="9">
                  <c:v>3761.1111111111113</c:v>
                </c:pt>
                <c:pt idx="10">
                  <c:v>614.6363636363636</c:v>
                </c:pt>
              </c:numCache>
            </c:numRef>
          </c:yVal>
          <c:bubbleSize>
            <c:numRef>
              <c:f>Sheet1!$C$2:$C$12</c:f>
              <c:numCache>
                <c:formatCode>General</c:formatCode>
                <c:ptCount val="11"/>
                <c:pt idx="0">
                  <c:v>379175.70080000005</c:v>
                </c:pt>
                <c:pt idx="1">
                  <c:v>368896.3247</c:v>
                </c:pt>
                <c:pt idx="2">
                  <c:v>40602.4251</c:v>
                </c:pt>
                <c:pt idx="3">
                  <c:v>1807.5120000000002</c:v>
                </c:pt>
                <c:pt idx="4">
                  <c:v>31366.428200000002</c:v>
                </c:pt>
                <c:pt idx="5">
                  <c:v>184947.85040000002</c:v>
                </c:pt>
                <c:pt idx="6">
                  <c:v>23688.715</c:v>
                </c:pt>
                <c:pt idx="7">
                  <c:v>26336.5182</c:v>
                </c:pt>
                <c:pt idx="8">
                  <c:v>157027.87370000003</c:v>
                </c:pt>
                <c:pt idx="9">
                  <c:v>233330.66369999998</c:v>
                </c:pt>
                <c:pt idx="10">
                  <c:v>27407.7202</c:v>
                </c:pt>
              </c:numCache>
            </c:numRef>
          </c:bubbleSize>
          <c:bubble3D val="0"/>
          <c:extLst>
            <c:ext xmlns:c15="http://schemas.microsoft.com/office/drawing/2012/chart" uri="{02D57815-91ED-43cb-92C2-25804820EDAC}">
              <c15:datalabelsRange>
                <c15:f>Sheet1!$E$2:$E$50</c15:f>
                <c15:dlblRangeCache>
                  <c:ptCount val="49"/>
                  <c:pt idx="0">
                    <c:v>Findus Merluzzo Altro Findus Fish Bar 245GR</c:v>
                  </c:pt>
                  <c:pt idx="1">
                    <c:v>Findus Merluzzo D Alaska Chips Findus Big Burger 227GR</c:v>
                  </c:pt>
                  <c:pt idx="2">
                    <c:v>Findus Merluzzo D Alaska Standard Findus Big Burger 227GR</c:v>
                  </c:pt>
                  <c:pt idx="3">
                    <c:v>Findus Merluzzo E Spinaci Filetto Findus Croccole 300GR</c:v>
                  </c:pt>
                  <c:pt idx="4">
                    <c:v>Findus Merluzzo Filetto Findus Croccole 300GR</c:v>
                  </c:pt>
                  <c:pt idx="5">
                    <c:v>Findus Merluzzo Filetto Findus Croccole 600GR</c:v>
                  </c:pt>
                  <c:pt idx="6">
                    <c:v>Findus Merluzzo Filetto Findus Fish &amp; Crock 250GR</c:v>
                  </c:pt>
                  <c:pt idx="7">
                    <c:v>Findus Merluzzo Filetto Findus Fish Bar 240GR</c:v>
                  </c:pt>
                  <c:pt idx="8">
                    <c:v>Findus Merluzzo Semi Filetto Findus Croccole 300GR</c:v>
                  </c:pt>
                  <c:pt idx="9">
                    <c:v>Findus Merluzzo Senza Glutine Filetto Findus Croccole 250GR</c:v>
                  </c:pt>
                  <c:pt idx="10">
                    <c:v>Findus Platessa Filetto Findus Platessa 250GR</c:v>
                  </c:pt>
                  <c:pt idx="11">
                    <c:v>Findus Salmone Altro Findus Fish Bar 220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3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1F9DA6FC-9DA2-435E-8CB6-F5607A3273F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289B132C-AF83-4F01-AED8-F72E8FF7502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C25365DE-8B1D-4FB9-936C-ABAA7DB6301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188D2B1E-2BB6-4E52-B5C0-CBE77679C1D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E971F9E5-2659-4D70-854D-F8114A7B599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C5618C15-49D2-484E-A085-176A368FC20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FAAF1E25-1364-45B1-A7D0-9CFABA4E9A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5-BFDA-4C69-8E79-A083B7EFBA29}"/>
                </c:ext>
              </c:extLst>
            </c:dLbl>
            <c:dLbl>
              <c:idx val="1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BFDA-4C69-8E79-A083B7EFBA29}"/>
                </c:ext>
              </c:extLst>
            </c:dLbl>
            <c:dLbl>
              <c:idx val="1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BFDA-4C69-8E79-A083B7EFBA29}"/>
                </c:ext>
              </c:extLst>
            </c:dLbl>
            <c:dLbl>
              <c:idx val="1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BFDA-4C69-8E79-A083B7EFBA29}"/>
                </c:ext>
              </c:extLst>
            </c:dLbl>
            <c:dLbl>
              <c:idx val="1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9-BFDA-4C69-8E79-A083B7EFBA29}"/>
                </c:ext>
              </c:extLst>
            </c:dLbl>
            <c:dLbl>
              <c:idx val="1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A-BFDA-4C69-8E79-A083B7EFBA29}"/>
                </c:ext>
              </c:extLst>
            </c:dLbl>
            <c:dLbl>
              <c:idx val="1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B-BFDA-4C69-8E79-A083B7EFBA29}"/>
                </c:ext>
              </c:extLst>
            </c:dLbl>
            <c:dLbl>
              <c:idx val="1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C-BFDA-4C69-8E79-A083B7EFBA29}"/>
                </c:ext>
              </c:extLst>
            </c:dLbl>
            <c:dLbl>
              <c:idx val="2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BFDA-4C69-8E79-A083B7EFBA29}"/>
                </c:ext>
              </c:extLst>
            </c:dLbl>
            <c:dLbl>
              <c:idx val="2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BFDA-4C69-8E79-A083B7EFBA29}"/>
                </c:ext>
              </c:extLst>
            </c:dLbl>
            <c:dLbl>
              <c:idx val="2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F-BFDA-4C69-8E79-A083B7EFBA29}"/>
                </c:ext>
              </c:extLst>
            </c:dLbl>
            <c:dLbl>
              <c:idx val="2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0-BFDA-4C69-8E79-A083B7EFBA29}"/>
                </c:ext>
              </c:extLst>
            </c:dLbl>
            <c:dLbl>
              <c:idx val="2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1-BFDA-4C69-8E79-A083B7EFBA29}"/>
                </c:ext>
              </c:extLst>
            </c:dLbl>
            <c:dLbl>
              <c:idx val="2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BFDA-4C69-8E79-A083B7EFBA29}"/>
                </c:ext>
              </c:extLst>
            </c:dLbl>
            <c:dLbl>
              <c:idx val="2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BFDA-4C69-8E79-A083B7EFBA29}"/>
                </c:ext>
              </c:extLst>
            </c:dLbl>
            <c:dLbl>
              <c:idx val="2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BFDA-4C69-8E79-A083B7EFBA29}"/>
                </c:ext>
              </c:extLst>
            </c:dLbl>
            <c:dLbl>
              <c:idx val="2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5-BFDA-4C69-8E79-A083B7EFBA29}"/>
                </c:ext>
              </c:extLst>
            </c:dLbl>
            <c:dLbl>
              <c:idx val="2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6-BFDA-4C69-8E79-A083B7EFBA29}"/>
                </c:ext>
              </c:extLst>
            </c:dLbl>
            <c:dLbl>
              <c:idx val="3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7-BFDA-4C69-8E79-A083B7EFBA29}"/>
                </c:ext>
              </c:extLst>
            </c:dLbl>
            <c:dLbl>
              <c:idx val="3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8-BFDA-4C69-8E79-A083B7EFBA29}"/>
                </c:ext>
              </c:extLst>
            </c:dLbl>
            <c:dLbl>
              <c:idx val="3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9-BFDA-4C69-8E79-A083B7EFBA29}"/>
                </c:ext>
              </c:extLst>
            </c:dLbl>
            <c:dLbl>
              <c:idx val="3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BFDA-4C69-8E79-A083B7EFBA29}"/>
                </c:ext>
              </c:extLst>
            </c:dLbl>
            <c:dLbl>
              <c:idx val="3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B-BFDA-4C69-8E79-A083B7EFBA29}"/>
                </c:ext>
              </c:extLst>
            </c:dLbl>
            <c:dLbl>
              <c:idx val="3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C-BFDA-4C69-8E79-A083B7EFBA29}"/>
                </c:ext>
              </c:extLst>
            </c:dLbl>
            <c:dLbl>
              <c:idx val="3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D-BFDA-4C69-8E79-A083B7EFBA29}"/>
                </c:ext>
              </c:extLst>
            </c:dLbl>
            <c:dLbl>
              <c:idx val="3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BFDA-4C69-8E79-A083B7EFBA29}"/>
                </c:ext>
              </c:extLst>
            </c:dLbl>
            <c:dLbl>
              <c:idx val="3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BFDA-4C69-8E79-A083B7EFBA29}"/>
                </c:ext>
              </c:extLst>
            </c:dLbl>
            <c:dLbl>
              <c:idx val="3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BFDA-4C69-8E79-A083B7EFBA29}"/>
                </c:ext>
              </c:extLst>
            </c:dLbl>
            <c:dLbl>
              <c:idx val="4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1-BFDA-4C69-8E79-A083B7EFBA29}"/>
                </c:ext>
              </c:extLst>
            </c:dLbl>
            <c:dLbl>
              <c:idx val="4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BFDA-4C69-8E79-A083B7EFBA29}"/>
                </c:ext>
              </c:extLst>
            </c:dLbl>
            <c:dLbl>
              <c:idx val="4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BFDA-4C69-8E79-A083B7EFBA29}"/>
                </c:ext>
              </c:extLst>
            </c:dLbl>
            <c:dLbl>
              <c:idx val="4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BFDA-4C69-8E79-A083B7EFBA29}"/>
                </c:ext>
              </c:extLst>
            </c:dLbl>
            <c:dLbl>
              <c:idx val="4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BFDA-4C69-8E79-A083B7EFBA29}"/>
                </c:ext>
              </c:extLst>
            </c:dLbl>
            <c:dLbl>
              <c:idx val="4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BFDA-4C69-8E79-A083B7EFBA29}"/>
                </c:ext>
              </c:extLst>
            </c:dLbl>
            <c:dLbl>
              <c:idx val="4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BFDA-4C69-8E79-A083B7EFBA29}"/>
                </c:ext>
              </c:extLst>
            </c:dLbl>
            <c:dLbl>
              <c:idx val="4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BFDA-4C69-8E79-A083B7EFBA29}"/>
                </c:ext>
              </c:extLst>
            </c:dLbl>
            <c:dLbl>
              <c:idx val="4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9</c:f>
              <c:numCache>
                <c:formatCode>General</c:formatCode>
                <c:ptCount val="8"/>
                <c:pt idx="0">
                  <c:v>0.5355</c:v>
                </c:pt>
                <c:pt idx="1">
                  <c:v>0.4174</c:v>
                </c:pt>
                <c:pt idx="2">
                  <c:v>0.3991</c:v>
                </c:pt>
                <c:pt idx="3">
                  <c:v>0.3588</c:v>
                </c:pt>
                <c:pt idx="4">
                  <c:v>0.3351</c:v>
                </c:pt>
                <c:pt idx="5">
                  <c:v>0.2511</c:v>
                </c:pt>
                <c:pt idx="6">
                  <c:v>0.4148</c:v>
                </c:pt>
                <c:pt idx="7">
                  <c:v>0.4852</c:v>
                </c:pt>
              </c:numCache>
            </c:numRef>
          </c:xVal>
          <c:yVal>
            <c:numRef>
              <c:f>Sheet1!$B$2:$B$9</c:f>
              <c:numCache>
                <c:formatCode>General</c:formatCode>
                <c:ptCount val="8"/>
                <c:pt idx="0">
                  <c:v>817.8586956521739</c:v>
                </c:pt>
                <c:pt idx="1">
                  <c:v>1169.9072164948454</c:v>
                </c:pt>
                <c:pt idx="2">
                  <c:v>7702.77</c:v>
                </c:pt>
                <c:pt idx="3">
                  <c:v>6931.8</c:v>
                </c:pt>
                <c:pt idx="4">
                  <c:v>11429.494949494949</c:v>
                </c:pt>
                <c:pt idx="5">
                  <c:v>177.34375</c:v>
                </c:pt>
                <c:pt idx="6">
                  <c:v>2091.7979797979797</c:v>
                </c:pt>
                <c:pt idx="7">
                  <c:v>2261.183673469388</c:v>
                </c:pt>
              </c:numCache>
            </c:numRef>
          </c:yVal>
          <c:bubbleSize>
            <c:numRef>
              <c:f>Sheet1!$C$2:$C$9</c:f>
              <c:numCache>
                <c:formatCode>General</c:formatCode>
                <c:ptCount val="8"/>
                <c:pt idx="0">
                  <c:v>33125.899600000004</c:v>
                </c:pt>
                <c:pt idx="1">
                  <c:v>62668.0704</c:v>
                </c:pt>
                <c:pt idx="2">
                  <c:v>438730.5022</c:v>
                </c:pt>
                <c:pt idx="3">
                  <c:v>421297.28959999996</c:v>
                </c:pt>
                <c:pt idx="4">
                  <c:v>713125.1897</c:v>
                </c:pt>
                <c:pt idx="5">
                  <c:v>4028.3973999999994</c:v>
                </c:pt>
                <c:pt idx="6">
                  <c:v>114869.08230000001</c:v>
                </c:pt>
                <c:pt idx="7">
                  <c:v>108131.18439999998</c:v>
                </c:pt>
              </c:numCache>
            </c:numRef>
          </c:bubbleSize>
          <c:bubble3D val="0"/>
          <c:extLst>
            <c:ext xmlns:c15="http://schemas.microsoft.com/office/drawing/2012/chart" uri="{02D57815-91ED-43cb-92C2-25804820EDAC}">
              <c15:datalabelsRange>
                <c15:f>Sheet1!$E$2:$E$50</c15:f>
                <c15:dlblRangeCache>
                  <c:ptCount val="49"/>
                  <c:pt idx="0">
                    <c:v>Findus Merluzzo Altro Findus Fish Bar 245GR</c:v>
                  </c:pt>
                  <c:pt idx="1">
                    <c:v>Findus Merluzzo D Alaska Chips Findus Big Burger 227GR</c:v>
                  </c:pt>
                  <c:pt idx="2">
                    <c:v>Findus Merluzzo D Alaska Standard Findus Big Burger 227GR</c:v>
                  </c:pt>
                  <c:pt idx="3">
                    <c:v>Findus Merluzzo E Spinaci Filetto Findus Croccole 300GR</c:v>
                  </c:pt>
                  <c:pt idx="4">
                    <c:v>Findus Merluzzo Filetto Findus Croccole 300GR</c:v>
                  </c:pt>
                  <c:pt idx="5">
                    <c:v>Findus Merluzzo Filetto Findus Croccole 600GR</c:v>
                  </c:pt>
                  <c:pt idx="6">
                    <c:v>Findus Merluzzo Filetto Findus Fish &amp; Crock 250GR</c:v>
                  </c:pt>
                  <c:pt idx="7">
                    <c:v>Findus Merluzzo Filetto Findus Fish Bar 240GR</c:v>
                  </c:pt>
                  <c:pt idx="8">
                    <c:v>Findus Merluzzo Semi Filetto Findus Croccole 300GR</c:v>
                  </c:pt>
                  <c:pt idx="9">
                    <c:v>Findus Merluzzo Senza Glutine Filetto Findus Croccole 250GR</c:v>
                  </c:pt>
                  <c:pt idx="10">
                    <c:v>Findus Platessa Filetto Findus Platessa 250GR</c:v>
                  </c:pt>
                  <c:pt idx="11">
                    <c:v>Findus Salmone Altro Findus Fish Bar 220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3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8924E592-344A-45F6-A099-386032FCBF2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D1E0380D-D0F2-4298-8C68-D14FD8AC9EF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FBAC5F33-7771-4036-9AB1-8B31FE877A7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12172357-8DFA-4981-834B-65505B28E4F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AC4234EF-D02E-40BD-B36B-90BFFA68F14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B836C9BB-9190-4977-9099-D553AFB4991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E6FE7032-9102-4EC8-A2E7-AAF6A070622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5-BFDA-4C69-8E79-A083B7EFBA29}"/>
                </c:ext>
              </c:extLst>
            </c:dLbl>
            <c:dLbl>
              <c:idx val="1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BFDA-4C69-8E79-A083B7EFBA29}"/>
                </c:ext>
              </c:extLst>
            </c:dLbl>
            <c:dLbl>
              <c:idx val="1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BFDA-4C69-8E79-A083B7EFBA29}"/>
                </c:ext>
              </c:extLst>
            </c:dLbl>
            <c:dLbl>
              <c:idx val="1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BFDA-4C69-8E79-A083B7EFBA29}"/>
                </c:ext>
              </c:extLst>
            </c:dLbl>
            <c:dLbl>
              <c:idx val="1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9-BFDA-4C69-8E79-A083B7EFBA29}"/>
                </c:ext>
              </c:extLst>
            </c:dLbl>
            <c:dLbl>
              <c:idx val="1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A-BFDA-4C69-8E79-A083B7EFBA29}"/>
                </c:ext>
              </c:extLst>
            </c:dLbl>
            <c:dLbl>
              <c:idx val="1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B-BFDA-4C69-8E79-A083B7EFBA29}"/>
                </c:ext>
              </c:extLst>
            </c:dLbl>
            <c:dLbl>
              <c:idx val="1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C-BFDA-4C69-8E79-A083B7EFBA29}"/>
                </c:ext>
              </c:extLst>
            </c:dLbl>
            <c:dLbl>
              <c:idx val="2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BFDA-4C69-8E79-A083B7EFBA29}"/>
                </c:ext>
              </c:extLst>
            </c:dLbl>
            <c:dLbl>
              <c:idx val="2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BFDA-4C69-8E79-A083B7EFBA29}"/>
                </c:ext>
              </c:extLst>
            </c:dLbl>
            <c:dLbl>
              <c:idx val="2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F-BFDA-4C69-8E79-A083B7EFBA29}"/>
                </c:ext>
              </c:extLst>
            </c:dLbl>
            <c:dLbl>
              <c:idx val="2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0-BFDA-4C69-8E79-A083B7EFBA29}"/>
                </c:ext>
              </c:extLst>
            </c:dLbl>
            <c:dLbl>
              <c:idx val="2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1-BFDA-4C69-8E79-A083B7EFBA29}"/>
                </c:ext>
              </c:extLst>
            </c:dLbl>
            <c:dLbl>
              <c:idx val="2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BFDA-4C69-8E79-A083B7EFBA29}"/>
                </c:ext>
              </c:extLst>
            </c:dLbl>
            <c:dLbl>
              <c:idx val="2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BFDA-4C69-8E79-A083B7EFBA29}"/>
                </c:ext>
              </c:extLst>
            </c:dLbl>
            <c:dLbl>
              <c:idx val="2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BFDA-4C69-8E79-A083B7EFBA29}"/>
                </c:ext>
              </c:extLst>
            </c:dLbl>
            <c:dLbl>
              <c:idx val="2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5-BFDA-4C69-8E79-A083B7EFBA29}"/>
                </c:ext>
              </c:extLst>
            </c:dLbl>
            <c:dLbl>
              <c:idx val="2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6-BFDA-4C69-8E79-A083B7EFBA29}"/>
                </c:ext>
              </c:extLst>
            </c:dLbl>
            <c:dLbl>
              <c:idx val="3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7-BFDA-4C69-8E79-A083B7EFBA29}"/>
                </c:ext>
              </c:extLst>
            </c:dLbl>
            <c:dLbl>
              <c:idx val="3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8-BFDA-4C69-8E79-A083B7EFBA29}"/>
                </c:ext>
              </c:extLst>
            </c:dLbl>
            <c:dLbl>
              <c:idx val="3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9-BFDA-4C69-8E79-A083B7EFBA29}"/>
                </c:ext>
              </c:extLst>
            </c:dLbl>
            <c:dLbl>
              <c:idx val="3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BFDA-4C69-8E79-A083B7EFBA29}"/>
                </c:ext>
              </c:extLst>
            </c:dLbl>
            <c:dLbl>
              <c:idx val="3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B-BFDA-4C69-8E79-A083B7EFBA29}"/>
                </c:ext>
              </c:extLst>
            </c:dLbl>
            <c:dLbl>
              <c:idx val="3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C-BFDA-4C69-8E79-A083B7EFBA29}"/>
                </c:ext>
              </c:extLst>
            </c:dLbl>
            <c:dLbl>
              <c:idx val="3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D-BFDA-4C69-8E79-A083B7EFBA29}"/>
                </c:ext>
              </c:extLst>
            </c:dLbl>
            <c:dLbl>
              <c:idx val="3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BFDA-4C69-8E79-A083B7EFBA29}"/>
                </c:ext>
              </c:extLst>
            </c:dLbl>
            <c:dLbl>
              <c:idx val="3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BFDA-4C69-8E79-A083B7EFBA29}"/>
                </c:ext>
              </c:extLst>
            </c:dLbl>
            <c:dLbl>
              <c:idx val="3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BFDA-4C69-8E79-A083B7EFBA29}"/>
                </c:ext>
              </c:extLst>
            </c:dLbl>
            <c:dLbl>
              <c:idx val="4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1-BFDA-4C69-8E79-A083B7EFBA29}"/>
                </c:ext>
              </c:extLst>
            </c:dLbl>
            <c:dLbl>
              <c:idx val="4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BFDA-4C69-8E79-A083B7EFBA29}"/>
                </c:ext>
              </c:extLst>
            </c:dLbl>
            <c:dLbl>
              <c:idx val="4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BFDA-4C69-8E79-A083B7EFBA29}"/>
                </c:ext>
              </c:extLst>
            </c:dLbl>
            <c:dLbl>
              <c:idx val="4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BFDA-4C69-8E79-A083B7EFBA29}"/>
                </c:ext>
              </c:extLst>
            </c:dLbl>
            <c:dLbl>
              <c:idx val="4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BFDA-4C69-8E79-A083B7EFBA29}"/>
                </c:ext>
              </c:extLst>
            </c:dLbl>
            <c:dLbl>
              <c:idx val="4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BFDA-4C69-8E79-A083B7EFBA29}"/>
                </c:ext>
              </c:extLst>
            </c:dLbl>
            <c:dLbl>
              <c:idx val="4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BFDA-4C69-8E79-A083B7EFBA29}"/>
                </c:ext>
              </c:extLst>
            </c:dLbl>
            <c:dLbl>
              <c:idx val="4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BFDA-4C69-8E79-A083B7EFBA29}"/>
                </c:ext>
              </c:extLst>
            </c:dLbl>
            <c:dLbl>
              <c:idx val="4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19</c:f>
              <c:numCache>
                <c:formatCode>General</c:formatCode>
                <c:ptCount val="18"/>
                <c:pt idx="0">
                  <c:v>0.3453</c:v>
                </c:pt>
                <c:pt idx="1">
                  <c:v>0.3533</c:v>
                </c:pt>
                <c:pt idx="2">
                  <c:v>0.4141</c:v>
                </c:pt>
                <c:pt idx="3">
                  <c:v>0.3876</c:v>
                </c:pt>
                <c:pt idx="4">
                  <c:v>0.5716</c:v>
                </c:pt>
                <c:pt idx="5">
                  <c:v>0.379</c:v>
                </c:pt>
                <c:pt idx="6">
                  <c:v>0.3842</c:v>
                </c:pt>
                <c:pt idx="7">
                  <c:v>0.3714</c:v>
                </c:pt>
                <c:pt idx="8">
                  <c:v>0.4071</c:v>
                </c:pt>
                <c:pt idx="9">
                  <c:v>0.466</c:v>
                </c:pt>
                <c:pt idx="10">
                  <c:v>0.4228</c:v>
                </c:pt>
                <c:pt idx="11">
                  <c:v>0.3719</c:v>
                </c:pt>
                <c:pt idx="12">
                  <c:v>0.4242</c:v>
                </c:pt>
                <c:pt idx="13">
                  <c:v>0.3709</c:v>
                </c:pt>
                <c:pt idx="14">
                  <c:v>0.3496</c:v>
                </c:pt>
                <c:pt idx="15">
                  <c:v>0.412</c:v>
                </c:pt>
                <c:pt idx="16">
                  <c:v>0.4653</c:v>
                </c:pt>
                <c:pt idx="17">
                  <c:v>0.4187</c:v>
                </c:pt>
              </c:numCache>
            </c:numRef>
          </c:xVal>
          <c:yVal>
            <c:numRef>
              <c:f>Sheet1!$B$2:$B$19</c:f>
              <c:numCache>
                <c:formatCode>General</c:formatCode>
                <c:ptCount val="18"/>
                <c:pt idx="0">
                  <c:v>3513.05</c:v>
                </c:pt>
                <c:pt idx="1">
                  <c:v>3000.58</c:v>
                </c:pt>
                <c:pt idx="2">
                  <c:v>982.89</c:v>
                </c:pt>
                <c:pt idx="3">
                  <c:v>1156.58</c:v>
                </c:pt>
                <c:pt idx="4">
                  <c:v>85.19565217391305</c:v>
                </c:pt>
                <c:pt idx="5">
                  <c:v>306.57142857142856</c:v>
                </c:pt>
                <c:pt idx="6">
                  <c:v>1363.8080808080808</c:v>
                </c:pt>
                <c:pt idx="7">
                  <c:v>4098.92</c:v>
                </c:pt>
                <c:pt idx="8">
                  <c:v>1431.0707070707072</c:v>
                </c:pt>
                <c:pt idx="9">
                  <c:v>1389.5656565656566</c:v>
                </c:pt>
                <c:pt idx="10">
                  <c:v>744.8673469387755</c:v>
                </c:pt>
                <c:pt idx="11">
                  <c:v>888.8282828282828</c:v>
                </c:pt>
                <c:pt idx="12">
                  <c:v>1429.39</c:v>
                </c:pt>
                <c:pt idx="13">
                  <c:v>310.11340206185565</c:v>
                </c:pt>
                <c:pt idx="14">
                  <c:v>137.64646464646464</c:v>
                </c:pt>
                <c:pt idx="15">
                  <c:v>472.06315789473683</c:v>
                </c:pt>
                <c:pt idx="16">
                  <c:v>197.19354838709677</c:v>
                </c:pt>
                <c:pt idx="17">
                  <c:v>106.42465753424658</c:v>
                </c:pt>
              </c:numCache>
            </c:numRef>
          </c:yVal>
          <c:bubbleSize>
            <c:numRef>
              <c:f>Sheet1!$C$2:$C$19</c:f>
              <c:numCache>
                <c:formatCode>General</c:formatCode>
                <c:ptCount val="18"/>
                <c:pt idx="0">
                  <c:v>217995.5344</c:v>
                </c:pt>
                <c:pt idx="1">
                  <c:v>183944.61229999998</c:v>
                </c:pt>
                <c:pt idx="2">
                  <c:v>54583.746999999996</c:v>
                </c:pt>
                <c:pt idx="3">
                  <c:v>67138.9672</c:v>
                </c:pt>
                <c:pt idx="4">
                  <c:v>3133.9797</c:v>
                </c:pt>
                <c:pt idx="5">
                  <c:v>12632.8769</c:v>
                </c:pt>
                <c:pt idx="6">
                  <c:v>78814.35209999999</c:v>
                </c:pt>
                <c:pt idx="7">
                  <c:v>244236.8179</c:v>
                </c:pt>
                <c:pt idx="8">
                  <c:v>79625.80200000001</c:v>
                </c:pt>
                <c:pt idx="9">
                  <c:v>69631.62839999999</c:v>
                </c:pt>
                <c:pt idx="10">
                  <c:v>39937.712700000004</c:v>
                </c:pt>
                <c:pt idx="11">
                  <c:v>52391.7181</c:v>
                </c:pt>
                <c:pt idx="12">
                  <c:v>78015.81190000002</c:v>
                </c:pt>
                <c:pt idx="13">
                  <c:v>17938.264600000002</c:v>
                </c:pt>
                <c:pt idx="14">
                  <c:v>8400.509100000001</c:v>
                </c:pt>
                <c:pt idx="15">
                  <c:v>24993.7191</c:v>
                </c:pt>
                <c:pt idx="16">
                  <c:v>9294.5678</c:v>
                </c:pt>
                <c:pt idx="17">
                  <c:v>4280.9481000000005</c:v>
                </c:pt>
              </c:numCache>
            </c:numRef>
          </c:bubbleSize>
          <c:bubble3D val="0"/>
          <c:extLst>
            <c:ext xmlns:c15="http://schemas.microsoft.com/office/drawing/2012/chart" uri="{02D57815-91ED-43cb-92C2-25804820EDAC}">
              <c15:datalabelsRange>
                <c15:f>Sheet1!$E$2:$E$50</c15:f>
                <c15:dlblRangeCache>
                  <c:ptCount val="49"/>
                  <c:pt idx="0">
                    <c:v>Findus Merluzzo Altro Findus Fish Bar 245GR</c:v>
                  </c:pt>
                  <c:pt idx="1">
                    <c:v>Findus Merluzzo D Alaska Chips Findus Big Burger 227GR</c:v>
                  </c:pt>
                  <c:pt idx="2">
                    <c:v>Findus Merluzzo D Alaska Standard Findus Big Burger 227GR</c:v>
                  </c:pt>
                  <c:pt idx="3">
                    <c:v>Findus Merluzzo E Spinaci Filetto Findus Croccole 300GR</c:v>
                  </c:pt>
                  <c:pt idx="4">
                    <c:v>Findus Merluzzo Filetto Findus Croccole 300GR</c:v>
                  </c:pt>
                  <c:pt idx="5">
                    <c:v>Findus Merluzzo Filetto Findus Croccole 600GR</c:v>
                  </c:pt>
                  <c:pt idx="6">
                    <c:v>Findus Merluzzo Filetto Findus Fish &amp; Crock 250GR</c:v>
                  </c:pt>
                  <c:pt idx="7">
                    <c:v>Findus Merluzzo Filetto Findus Fish Bar 240GR</c:v>
                  </c:pt>
                  <c:pt idx="8">
                    <c:v>Findus Merluzzo Semi Filetto Findus Croccole 300GR</c:v>
                  </c:pt>
                  <c:pt idx="9">
                    <c:v>Findus Merluzzo Senza Glutine Filetto Findus Croccole 250GR</c:v>
                  </c:pt>
                  <c:pt idx="10">
                    <c:v>Findus Platessa Filetto Findus Platessa 250GR</c:v>
                  </c:pt>
                  <c:pt idx="11">
                    <c:v>Findus Salmone Altro Findus Fish Bar 220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3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83B1A37D-9E05-494E-87E7-DF4698CC23D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4A2DA432-3D2C-4D9B-B0A0-18998459D31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17C74294-9F9F-42B4-893A-2A8CB088861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EA8AD6EE-DEDB-4CF1-B5EA-CC69F846FE5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22B577A7-BC07-49AA-A7B4-4524830AE48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775A0B83-FC01-44BD-A623-777EA389D62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286641EE-0ABA-4E1C-B190-4258B7C0AAB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5-BFDA-4C69-8E79-A083B7EFBA29}"/>
                </c:ext>
              </c:extLst>
            </c:dLbl>
            <c:dLbl>
              <c:idx val="1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BFDA-4C69-8E79-A083B7EFBA29}"/>
                </c:ext>
              </c:extLst>
            </c:dLbl>
            <c:dLbl>
              <c:idx val="1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BFDA-4C69-8E79-A083B7EFBA29}"/>
                </c:ext>
              </c:extLst>
            </c:dLbl>
            <c:dLbl>
              <c:idx val="1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BFDA-4C69-8E79-A083B7EFBA29}"/>
                </c:ext>
              </c:extLst>
            </c:dLbl>
            <c:dLbl>
              <c:idx val="1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9-BFDA-4C69-8E79-A083B7EFBA29}"/>
                </c:ext>
              </c:extLst>
            </c:dLbl>
            <c:dLbl>
              <c:idx val="1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A-BFDA-4C69-8E79-A083B7EFBA29}"/>
                </c:ext>
              </c:extLst>
            </c:dLbl>
            <c:dLbl>
              <c:idx val="1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B-BFDA-4C69-8E79-A083B7EFBA29}"/>
                </c:ext>
              </c:extLst>
            </c:dLbl>
            <c:dLbl>
              <c:idx val="1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C-BFDA-4C69-8E79-A083B7EFBA29}"/>
                </c:ext>
              </c:extLst>
            </c:dLbl>
            <c:dLbl>
              <c:idx val="2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BFDA-4C69-8E79-A083B7EFBA29}"/>
                </c:ext>
              </c:extLst>
            </c:dLbl>
            <c:dLbl>
              <c:idx val="2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BFDA-4C69-8E79-A083B7EFBA29}"/>
                </c:ext>
              </c:extLst>
            </c:dLbl>
            <c:dLbl>
              <c:idx val="2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F-BFDA-4C69-8E79-A083B7EFBA29}"/>
                </c:ext>
              </c:extLst>
            </c:dLbl>
            <c:dLbl>
              <c:idx val="2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0-BFDA-4C69-8E79-A083B7EFBA29}"/>
                </c:ext>
              </c:extLst>
            </c:dLbl>
            <c:dLbl>
              <c:idx val="2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1-BFDA-4C69-8E79-A083B7EFBA29}"/>
                </c:ext>
              </c:extLst>
            </c:dLbl>
            <c:dLbl>
              <c:idx val="2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BFDA-4C69-8E79-A083B7EFBA29}"/>
                </c:ext>
              </c:extLst>
            </c:dLbl>
            <c:dLbl>
              <c:idx val="2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BFDA-4C69-8E79-A083B7EFBA29}"/>
                </c:ext>
              </c:extLst>
            </c:dLbl>
            <c:dLbl>
              <c:idx val="2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BFDA-4C69-8E79-A083B7EFBA29}"/>
                </c:ext>
              </c:extLst>
            </c:dLbl>
            <c:dLbl>
              <c:idx val="2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5-BFDA-4C69-8E79-A083B7EFBA29}"/>
                </c:ext>
              </c:extLst>
            </c:dLbl>
            <c:dLbl>
              <c:idx val="2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6-BFDA-4C69-8E79-A083B7EFBA29}"/>
                </c:ext>
              </c:extLst>
            </c:dLbl>
            <c:dLbl>
              <c:idx val="3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7-BFDA-4C69-8E79-A083B7EFBA29}"/>
                </c:ext>
              </c:extLst>
            </c:dLbl>
            <c:dLbl>
              <c:idx val="3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8-BFDA-4C69-8E79-A083B7EFBA29}"/>
                </c:ext>
              </c:extLst>
            </c:dLbl>
            <c:dLbl>
              <c:idx val="3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9-BFDA-4C69-8E79-A083B7EFBA29}"/>
                </c:ext>
              </c:extLst>
            </c:dLbl>
            <c:dLbl>
              <c:idx val="3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BFDA-4C69-8E79-A083B7EFBA29}"/>
                </c:ext>
              </c:extLst>
            </c:dLbl>
            <c:dLbl>
              <c:idx val="3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B-BFDA-4C69-8E79-A083B7EFBA29}"/>
                </c:ext>
              </c:extLst>
            </c:dLbl>
            <c:dLbl>
              <c:idx val="3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C-BFDA-4C69-8E79-A083B7EFBA29}"/>
                </c:ext>
              </c:extLst>
            </c:dLbl>
            <c:dLbl>
              <c:idx val="3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D-BFDA-4C69-8E79-A083B7EFBA29}"/>
                </c:ext>
              </c:extLst>
            </c:dLbl>
            <c:dLbl>
              <c:idx val="3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BFDA-4C69-8E79-A083B7EFBA29}"/>
                </c:ext>
              </c:extLst>
            </c:dLbl>
            <c:dLbl>
              <c:idx val="3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BFDA-4C69-8E79-A083B7EFBA29}"/>
                </c:ext>
              </c:extLst>
            </c:dLbl>
            <c:dLbl>
              <c:idx val="3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BFDA-4C69-8E79-A083B7EFBA29}"/>
                </c:ext>
              </c:extLst>
            </c:dLbl>
            <c:dLbl>
              <c:idx val="4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1-BFDA-4C69-8E79-A083B7EFBA29}"/>
                </c:ext>
              </c:extLst>
            </c:dLbl>
            <c:dLbl>
              <c:idx val="4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BFDA-4C69-8E79-A083B7EFBA29}"/>
                </c:ext>
              </c:extLst>
            </c:dLbl>
            <c:dLbl>
              <c:idx val="4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BFDA-4C69-8E79-A083B7EFBA29}"/>
                </c:ext>
              </c:extLst>
            </c:dLbl>
            <c:dLbl>
              <c:idx val="4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BFDA-4C69-8E79-A083B7EFBA29}"/>
                </c:ext>
              </c:extLst>
            </c:dLbl>
            <c:dLbl>
              <c:idx val="4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BFDA-4C69-8E79-A083B7EFBA29}"/>
                </c:ext>
              </c:extLst>
            </c:dLbl>
            <c:dLbl>
              <c:idx val="4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BFDA-4C69-8E79-A083B7EFBA29}"/>
                </c:ext>
              </c:extLst>
            </c:dLbl>
            <c:dLbl>
              <c:idx val="4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BFDA-4C69-8E79-A083B7EFBA29}"/>
                </c:ext>
              </c:extLst>
            </c:dLbl>
            <c:dLbl>
              <c:idx val="4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BFDA-4C69-8E79-A083B7EFBA29}"/>
                </c:ext>
              </c:extLst>
            </c:dLbl>
            <c:dLbl>
              <c:idx val="4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11</c:f>
              <c:numCache>
                <c:formatCode>General</c:formatCode>
                <c:ptCount val="10"/>
                <c:pt idx="0">
                  <c:v>0.3498</c:v>
                </c:pt>
                <c:pt idx="1">
                  <c:v>0.39</c:v>
                </c:pt>
                <c:pt idx="2">
                  <c:v>0.5003</c:v>
                </c:pt>
                <c:pt idx="3">
                  <c:v>0.5202</c:v>
                </c:pt>
                <c:pt idx="4">
                  <c:v>0.385</c:v>
                </c:pt>
                <c:pt idx="5">
                  <c:v>0.4907</c:v>
                </c:pt>
                <c:pt idx="6">
                  <c:v>0.2812</c:v>
                </c:pt>
                <c:pt idx="7">
                  <c:v>0.3975</c:v>
                </c:pt>
                <c:pt idx="8">
                  <c:v>0.3967</c:v>
                </c:pt>
                <c:pt idx="9">
                  <c:v>0.5083</c:v>
                </c:pt>
              </c:numCache>
            </c:numRef>
          </c:xVal>
          <c:yVal>
            <c:numRef>
              <c:f>Sheet1!$B$2:$B$11</c:f>
              <c:numCache>
                <c:formatCode>General</c:formatCode>
                <c:ptCount val="10"/>
                <c:pt idx="0">
                  <c:v>6595.729411764706</c:v>
                </c:pt>
                <c:pt idx="1">
                  <c:v>5199.807692307692</c:v>
                </c:pt>
                <c:pt idx="2">
                  <c:v>1130.9545454545455</c:v>
                </c:pt>
                <c:pt idx="3">
                  <c:v>1752.774193548387</c:v>
                </c:pt>
                <c:pt idx="4">
                  <c:v>4358.739130434783</c:v>
                </c:pt>
                <c:pt idx="5">
                  <c:v>423.2</c:v>
                </c:pt>
                <c:pt idx="6">
                  <c:v>593.8813559322034</c:v>
                </c:pt>
                <c:pt idx="7">
                  <c:v>3563.9444444444443</c:v>
                </c:pt>
                <c:pt idx="8">
                  <c:v>3449.8529411764707</c:v>
                </c:pt>
                <c:pt idx="9">
                  <c:v>829.6315789473684</c:v>
                </c:pt>
              </c:numCache>
            </c:numRef>
          </c:yVal>
          <c:bubbleSize>
            <c:numRef>
              <c:f>Sheet1!$C$2:$C$11</c:f>
              <c:numCache>
                <c:formatCode>General</c:formatCode>
                <c:ptCount val="10"/>
                <c:pt idx="0">
                  <c:v>345514.6986</c:v>
                </c:pt>
                <c:pt idx="1">
                  <c:v>156333.39620000002</c:v>
                </c:pt>
                <c:pt idx="2">
                  <c:v>23568.027800000003</c:v>
                </c:pt>
                <c:pt idx="3">
                  <c:v>24710.5134</c:v>
                </c:pt>
                <c:pt idx="4">
                  <c:v>233765.80310000002</c:v>
                </c:pt>
                <c:pt idx="5">
                  <c:v>10215.879399999998</c:v>
                </c:pt>
                <c:pt idx="6">
                  <c:v>23873.965799999998</c:v>
                </c:pt>
                <c:pt idx="7">
                  <c:v>183192.46180000002</c:v>
                </c:pt>
                <c:pt idx="8">
                  <c:v>134155.1481</c:v>
                </c:pt>
                <c:pt idx="9">
                  <c:v>14691.8452</c:v>
                </c:pt>
              </c:numCache>
            </c:numRef>
          </c:bubbleSize>
          <c:bubble3D val="0"/>
          <c:extLst>
            <c:ext xmlns:c15="http://schemas.microsoft.com/office/drawing/2012/chart" uri="{02D57815-91ED-43cb-92C2-25804820EDAC}">
              <c15:datalabelsRange>
                <c15:f>Sheet1!$E$2:$E$50</c15:f>
                <c15:dlblRangeCache>
                  <c:ptCount val="49"/>
                  <c:pt idx="0">
                    <c:v>Findus Merluzzo Altro Findus Fish Bar 245GR</c:v>
                  </c:pt>
                  <c:pt idx="1">
                    <c:v>Findus Merluzzo D Alaska Chips Findus Big Burger 227GR</c:v>
                  </c:pt>
                  <c:pt idx="2">
                    <c:v>Findus Merluzzo D Alaska Standard Findus Big Burger 227GR</c:v>
                  </c:pt>
                  <c:pt idx="3">
                    <c:v>Findus Merluzzo E Spinaci Filetto Findus Croccole 300GR</c:v>
                  </c:pt>
                  <c:pt idx="4">
                    <c:v>Findus Merluzzo Filetto Findus Croccole 300GR</c:v>
                  </c:pt>
                  <c:pt idx="5">
                    <c:v>Findus Merluzzo Filetto Findus Croccole 600GR</c:v>
                  </c:pt>
                  <c:pt idx="6">
                    <c:v>Findus Merluzzo Filetto Findus Fish &amp; Crock 250GR</c:v>
                  </c:pt>
                  <c:pt idx="7">
                    <c:v>Findus Merluzzo Filetto Findus Fish Bar 240GR</c:v>
                  </c:pt>
                  <c:pt idx="8">
                    <c:v>Findus Merluzzo Semi Filetto Findus Croccole 300GR</c:v>
                  </c:pt>
                  <c:pt idx="9">
                    <c:v>Findus Merluzzo Senza Glutine Filetto Findus Croccole 250GR</c:v>
                  </c:pt>
                  <c:pt idx="10">
                    <c:v>Findus Platessa Filetto Findus Platessa 250GR</c:v>
                  </c:pt>
                  <c:pt idx="11">
                    <c:v>Findus Salmone Altro Findus Fish Bar 220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3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5702B1A4-30B1-4CA8-A23E-F9891497B75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4EC5F0DF-F26E-40AB-AA21-DA6D150C7D2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850DCDF3-0CCA-4F2D-8891-3FDC382BED1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9242A438-451C-4B35-BD67-7D579F1D76E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EFDE09FA-96E0-4D71-BB8B-9AEFA28D3E0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AE8ED583-5430-451E-967A-BBA6B12E45F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C6EF3D25-6AD3-4622-84FE-B2D3EBD40DF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5-BFDA-4C69-8E79-A083B7EFBA29}"/>
                </c:ext>
              </c:extLst>
            </c:dLbl>
            <c:dLbl>
              <c:idx val="1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BFDA-4C69-8E79-A083B7EFBA29}"/>
                </c:ext>
              </c:extLst>
            </c:dLbl>
            <c:dLbl>
              <c:idx val="1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BFDA-4C69-8E79-A083B7EFBA29}"/>
                </c:ext>
              </c:extLst>
            </c:dLbl>
            <c:dLbl>
              <c:idx val="1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BFDA-4C69-8E79-A083B7EFBA29}"/>
                </c:ext>
              </c:extLst>
            </c:dLbl>
            <c:dLbl>
              <c:idx val="1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9-BFDA-4C69-8E79-A083B7EFBA29}"/>
                </c:ext>
              </c:extLst>
            </c:dLbl>
            <c:dLbl>
              <c:idx val="1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A-BFDA-4C69-8E79-A083B7EFBA29}"/>
                </c:ext>
              </c:extLst>
            </c:dLbl>
            <c:dLbl>
              <c:idx val="1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B-BFDA-4C69-8E79-A083B7EFBA29}"/>
                </c:ext>
              </c:extLst>
            </c:dLbl>
            <c:dLbl>
              <c:idx val="1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C-BFDA-4C69-8E79-A083B7EFBA29}"/>
                </c:ext>
              </c:extLst>
            </c:dLbl>
            <c:dLbl>
              <c:idx val="2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BFDA-4C69-8E79-A083B7EFBA29}"/>
                </c:ext>
              </c:extLst>
            </c:dLbl>
            <c:dLbl>
              <c:idx val="2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BFDA-4C69-8E79-A083B7EFBA29}"/>
                </c:ext>
              </c:extLst>
            </c:dLbl>
            <c:dLbl>
              <c:idx val="2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F-BFDA-4C69-8E79-A083B7EFBA29}"/>
                </c:ext>
              </c:extLst>
            </c:dLbl>
            <c:dLbl>
              <c:idx val="2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0-BFDA-4C69-8E79-A083B7EFBA29}"/>
                </c:ext>
              </c:extLst>
            </c:dLbl>
            <c:dLbl>
              <c:idx val="2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1-BFDA-4C69-8E79-A083B7EFBA29}"/>
                </c:ext>
              </c:extLst>
            </c:dLbl>
            <c:dLbl>
              <c:idx val="2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BFDA-4C69-8E79-A083B7EFBA29}"/>
                </c:ext>
              </c:extLst>
            </c:dLbl>
            <c:dLbl>
              <c:idx val="2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BFDA-4C69-8E79-A083B7EFBA29}"/>
                </c:ext>
              </c:extLst>
            </c:dLbl>
            <c:dLbl>
              <c:idx val="2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BFDA-4C69-8E79-A083B7EFBA29}"/>
                </c:ext>
              </c:extLst>
            </c:dLbl>
            <c:dLbl>
              <c:idx val="2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5-BFDA-4C69-8E79-A083B7EFBA29}"/>
                </c:ext>
              </c:extLst>
            </c:dLbl>
            <c:dLbl>
              <c:idx val="2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6-BFDA-4C69-8E79-A083B7EFBA29}"/>
                </c:ext>
              </c:extLst>
            </c:dLbl>
            <c:dLbl>
              <c:idx val="3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7-BFDA-4C69-8E79-A083B7EFBA29}"/>
                </c:ext>
              </c:extLst>
            </c:dLbl>
            <c:dLbl>
              <c:idx val="3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8-BFDA-4C69-8E79-A083B7EFBA29}"/>
                </c:ext>
              </c:extLst>
            </c:dLbl>
            <c:dLbl>
              <c:idx val="3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9-BFDA-4C69-8E79-A083B7EFBA29}"/>
                </c:ext>
              </c:extLst>
            </c:dLbl>
            <c:dLbl>
              <c:idx val="3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BFDA-4C69-8E79-A083B7EFBA29}"/>
                </c:ext>
              </c:extLst>
            </c:dLbl>
            <c:dLbl>
              <c:idx val="3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B-BFDA-4C69-8E79-A083B7EFBA29}"/>
                </c:ext>
              </c:extLst>
            </c:dLbl>
            <c:dLbl>
              <c:idx val="3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C-BFDA-4C69-8E79-A083B7EFBA29}"/>
                </c:ext>
              </c:extLst>
            </c:dLbl>
            <c:dLbl>
              <c:idx val="3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D-BFDA-4C69-8E79-A083B7EFBA29}"/>
                </c:ext>
              </c:extLst>
            </c:dLbl>
            <c:dLbl>
              <c:idx val="3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BFDA-4C69-8E79-A083B7EFBA29}"/>
                </c:ext>
              </c:extLst>
            </c:dLbl>
            <c:dLbl>
              <c:idx val="3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BFDA-4C69-8E79-A083B7EFBA29}"/>
                </c:ext>
              </c:extLst>
            </c:dLbl>
            <c:dLbl>
              <c:idx val="3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BFDA-4C69-8E79-A083B7EFBA29}"/>
                </c:ext>
              </c:extLst>
            </c:dLbl>
            <c:dLbl>
              <c:idx val="4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1-BFDA-4C69-8E79-A083B7EFBA29}"/>
                </c:ext>
              </c:extLst>
            </c:dLbl>
            <c:dLbl>
              <c:idx val="4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BFDA-4C69-8E79-A083B7EFBA29}"/>
                </c:ext>
              </c:extLst>
            </c:dLbl>
            <c:dLbl>
              <c:idx val="4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BFDA-4C69-8E79-A083B7EFBA29}"/>
                </c:ext>
              </c:extLst>
            </c:dLbl>
            <c:dLbl>
              <c:idx val="4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BFDA-4C69-8E79-A083B7EFBA29}"/>
                </c:ext>
              </c:extLst>
            </c:dLbl>
            <c:dLbl>
              <c:idx val="4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BFDA-4C69-8E79-A083B7EFBA29}"/>
                </c:ext>
              </c:extLst>
            </c:dLbl>
            <c:dLbl>
              <c:idx val="4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BFDA-4C69-8E79-A083B7EFBA29}"/>
                </c:ext>
              </c:extLst>
            </c:dLbl>
            <c:dLbl>
              <c:idx val="4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BFDA-4C69-8E79-A083B7EFBA29}"/>
                </c:ext>
              </c:extLst>
            </c:dLbl>
            <c:dLbl>
              <c:idx val="4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BFDA-4C69-8E79-A083B7EFBA29}"/>
                </c:ext>
              </c:extLst>
            </c:dLbl>
            <c:dLbl>
              <c:idx val="4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8</c:f>
              <c:numCache>
                <c:formatCode>General</c:formatCode>
                <c:ptCount val="7"/>
                <c:pt idx="0">
                  <c:v>0.5693</c:v>
                </c:pt>
                <c:pt idx="1">
                  <c:v>0.4811</c:v>
                </c:pt>
                <c:pt idx="2">
                  <c:v>0.4052</c:v>
                </c:pt>
                <c:pt idx="3">
                  <c:v>0.3969</c:v>
                </c:pt>
                <c:pt idx="4">
                  <c:v>0.3743</c:v>
                </c:pt>
                <c:pt idx="5">
                  <c:v>0.462</c:v>
                </c:pt>
                <c:pt idx="6">
                  <c:v>0.5255</c:v>
                </c:pt>
              </c:numCache>
            </c:numRef>
          </c:xVal>
          <c:yVal>
            <c:numRef>
              <c:f>Sheet1!$B$2:$B$8</c:f>
              <c:numCache>
                <c:formatCode>General</c:formatCode>
                <c:ptCount val="7"/>
                <c:pt idx="0">
                  <c:v>985.5151515151515</c:v>
                </c:pt>
                <c:pt idx="1">
                  <c:v>1845.32</c:v>
                </c:pt>
                <c:pt idx="2">
                  <c:v>8872.061224489797</c:v>
                </c:pt>
                <c:pt idx="3">
                  <c:v>7117.838235294118</c:v>
                </c:pt>
                <c:pt idx="4">
                  <c:v>8935.823529411764</c:v>
                </c:pt>
                <c:pt idx="5">
                  <c:v>2128.3658536585367</c:v>
                </c:pt>
                <c:pt idx="6">
                  <c:v>1563.2619047619048</c:v>
                </c:pt>
              </c:numCache>
            </c:numRef>
          </c:yVal>
          <c:bubbleSize>
            <c:numRef>
              <c:f>Sheet1!$C$2:$C$8</c:f>
              <c:numCache>
                <c:formatCode>General</c:formatCode>
                <c:ptCount val="7"/>
                <c:pt idx="0">
                  <c:v>13276.983199999999</c:v>
                </c:pt>
                <c:pt idx="1">
                  <c:v>45377.7415</c:v>
                </c:pt>
                <c:pt idx="2">
                  <c:v>490201.80620000005</c:v>
                </c:pt>
                <c:pt idx="3">
                  <c:v>276688.60000000003</c:v>
                </c:pt>
                <c:pt idx="4">
                  <c:v>360405.01259999996</c:v>
                </c:pt>
                <c:pt idx="5">
                  <c:v>88865.2362</c:v>
                </c:pt>
                <c:pt idx="6">
                  <c:v>29532.624399999997</c:v>
                </c:pt>
              </c:numCache>
            </c:numRef>
          </c:bubbleSize>
          <c:bubble3D val="0"/>
          <c:extLst>
            <c:ext xmlns:c15="http://schemas.microsoft.com/office/drawing/2012/chart" uri="{02D57815-91ED-43cb-92C2-25804820EDAC}">
              <c15:datalabelsRange>
                <c15:f>Sheet1!$E$2:$E$50</c15:f>
                <c15:dlblRangeCache>
                  <c:ptCount val="49"/>
                  <c:pt idx="0">
                    <c:v>Findus Merluzzo Altro Findus Fish Bar 245GR</c:v>
                  </c:pt>
                  <c:pt idx="1">
                    <c:v>Findus Merluzzo D Alaska Chips Findus Big Burger 227GR</c:v>
                  </c:pt>
                  <c:pt idx="2">
                    <c:v>Findus Merluzzo D Alaska Standard Findus Big Burger 227GR</c:v>
                  </c:pt>
                  <c:pt idx="3">
                    <c:v>Findus Merluzzo E Spinaci Filetto Findus Croccole 300GR</c:v>
                  </c:pt>
                  <c:pt idx="4">
                    <c:v>Findus Merluzzo Filetto Findus Croccole 300GR</c:v>
                  </c:pt>
                  <c:pt idx="5">
                    <c:v>Findus Merluzzo Filetto Findus Croccole 600GR</c:v>
                  </c:pt>
                  <c:pt idx="6">
                    <c:v>Findus Merluzzo Filetto Findus Fish &amp; Crock 250GR</c:v>
                  </c:pt>
                  <c:pt idx="7">
                    <c:v>Findus Merluzzo Filetto Findus Fish Bar 240GR</c:v>
                  </c:pt>
                  <c:pt idx="8">
                    <c:v>Findus Merluzzo Semi Filetto Findus Croccole 300GR</c:v>
                  </c:pt>
                  <c:pt idx="9">
                    <c:v>Findus Merluzzo Senza Glutine Filetto Findus Croccole 250GR</c:v>
                  </c:pt>
                  <c:pt idx="10">
                    <c:v>Findus Platessa Filetto Findus Platessa 250GR</c:v>
                  </c:pt>
                  <c:pt idx="11">
                    <c:v>Findus Salmone Altro Findus Fish Bar 220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3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D8166E86-E2F4-4E30-A0C9-70D83DD4F9E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D5ECAB08-0C4A-4743-907D-E848D9102AD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89EB6915-B41C-4B3D-8B29-B5EC174F186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D193EEC7-696F-4468-AFED-FAAF2B92C7D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86138CEC-8810-4157-B1C3-13C930BDF12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D1FDAD15-5EF7-4F17-A18B-E9498C9394E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E747AB52-14F8-439C-806D-E83369CE8EC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5-BFDA-4C69-8E79-A083B7EFBA29}"/>
                </c:ext>
              </c:extLst>
            </c:dLbl>
            <c:dLbl>
              <c:idx val="1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BFDA-4C69-8E79-A083B7EFBA29}"/>
                </c:ext>
              </c:extLst>
            </c:dLbl>
            <c:dLbl>
              <c:idx val="1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BFDA-4C69-8E79-A083B7EFBA29}"/>
                </c:ext>
              </c:extLst>
            </c:dLbl>
            <c:dLbl>
              <c:idx val="1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BFDA-4C69-8E79-A083B7EFBA29}"/>
                </c:ext>
              </c:extLst>
            </c:dLbl>
            <c:dLbl>
              <c:idx val="1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9-BFDA-4C69-8E79-A083B7EFBA29}"/>
                </c:ext>
              </c:extLst>
            </c:dLbl>
            <c:dLbl>
              <c:idx val="1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A-BFDA-4C69-8E79-A083B7EFBA29}"/>
                </c:ext>
              </c:extLst>
            </c:dLbl>
            <c:dLbl>
              <c:idx val="1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B-BFDA-4C69-8E79-A083B7EFBA29}"/>
                </c:ext>
              </c:extLst>
            </c:dLbl>
            <c:dLbl>
              <c:idx val="1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C-BFDA-4C69-8E79-A083B7EFBA29}"/>
                </c:ext>
              </c:extLst>
            </c:dLbl>
            <c:dLbl>
              <c:idx val="2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BFDA-4C69-8E79-A083B7EFBA29}"/>
                </c:ext>
              </c:extLst>
            </c:dLbl>
            <c:dLbl>
              <c:idx val="2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BFDA-4C69-8E79-A083B7EFBA29}"/>
                </c:ext>
              </c:extLst>
            </c:dLbl>
            <c:dLbl>
              <c:idx val="2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F-BFDA-4C69-8E79-A083B7EFBA29}"/>
                </c:ext>
              </c:extLst>
            </c:dLbl>
            <c:dLbl>
              <c:idx val="2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0-BFDA-4C69-8E79-A083B7EFBA29}"/>
                </c:ext>
              </c:extLst>
            </c:dLbl>
            <c:dLbl>
              <c:idx val="2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1-BFDA-4C69-8E79-A083B7EFBA29}"/>
                </c:ext>
              </c:extLst>
            </c:dLbl>
            <c:dLbl>
              <c:idx val="2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BFDA-4C69-8E79-A083B7EFBA29}"/>
                </c:ext>
              </c:extLst>
            </c:dLbl>
            <c:dLbl>
              <c:idx val="2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BFDA-4C69-8E79-A083B7EFBA29}"/>
                </c:ext>
              </c:extLst>
            </c:dLbl>
            <c:dLbl>
              <c:idx val="2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BFDA-4C69-8E79-A083B7EFBA29}"/>
                </c:ext>
              </c:extLst>
            </c:dLbl>
            <c:dLbl>
              <c:idx val="2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5-BFDA-4C69-8E79-A083B7EFBA29}"/>
                </c:ext>
              </c:extLst>
            </c:dLbl>
            <c:dLbl>
              <c:idx val="2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6-BFDA-4C69-8E79-A083B7EFBA29}"/>
                </c:ext>
              </c:extLst>
            </c:dLbl>
            <c:dLbl>
              <c:idx val="3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7-BFDA-4C69-8E79-A083B7EFBA29}"/>
                </c:ext>
              </c:extLst>
            </c:dLbl>
            <c:dLbl>
              <c:idx val="3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8-BFDA-4C69-8E79-A083B7EFBA29}"/>
                </c:ext>
              </c:extLst>
            </c:dLbl>
            <c:dLbl>
              <c:idx val="3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9-BFDA-4C69-8E79-A083B7EFBA29}"/>
                </c:ext>
              </c:extLst>
            </c:dLbl>
            <c:dLbl>
              <c:idx val="3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BFDA-4C69-8E79-A083B7EFBA29}"/>
                </c:ext>
              </c:extLst>
            </c:dLbl>
            <c:dLbl>
              <c:idx val="3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B-BFDA-4C69-8E79-A083B7EFBA29}"/>
                </c:ext>
              </c:extLst>
            </c:dLbl>
            <c:dLbl>
              <c:idx val="3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C-BFDA-4C69-8E79-A083B7EFBA29}"/>
                </c:ext>
              </c:extLst>
            </c:dLbl>
            <c:dLbl>
              <c:idx val="3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D-BFDA-4C69-8E79-A083B7EFBA29}"/>
                </c:ext>
              </c:extLst>
            </c:dLbl>
            <c:dLbl>
              <c:idx val="3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BFDA-4C69-8E79-A083B7EFBA29}"/>
                </c:ext>
              </c:extLst>
            </c:dLbl>
            <c:dLbl>
              <c:idx val="3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BFDA-4C69-8E79-A083B7EFBA29}"/>
                </c:ext>
              </c:extLst>
            </c:dLbl>
            <c:dLbl>
              <c:idx val="3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BFDA-4C69-8E79-A083B7EFBA29}"/>
                </c:ext>
              </c:extLst>
            </c:dLbl>
            <c:dLbl>
              <c:idx val="4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1-BFDA-4C69-8E79-A083B7EFBA29}"/>
                </c:ext>
              </c:extLst>
            </c:dLbl>
            <c:dLbl>
              <c:idx val="4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BFDA-4C69-8E79-A083B7EFBA29}"/>
                </c:ext>
              </c:extLst>
            </c:dLbl>
            <c:dLbl>
              <c:idx val="4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BFDA-4C69-8E79-A083B7EFBA29}"/>
                </c:ext>
              </c:extLst>
            </c:dLbl>
            <c:dLbl>
              <c:idx val="4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BFDA-4C69-8E79-A083B7EFBA29}"/>
                </c:ext>
              </c:extLst>
            </c:dLbl>
            <c:dLbl>
              <c:idx val="4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BFDA-4C69-8E79-A083B7EFBA29}"/>
                </c:ext>
              </c:extLst>
            </c:dLbl>
            <c:dLbl>
              <c:idx val="4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BFDA-4C69-8E79-A083B7EFBA29}"/>
                </c:ext>
              </c:extLst>
            </c:dLbl>
            <c:dLbl>
              <c:idx val="4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BFDA-4C69-8E79-A083B7EFBA29}"/>
                </c:ext>
              </c:extLst>
            </c:dLbl>
            <c:dLbl>
              <c:idx val="4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BFDA-4C69-8E79-A083B7EFBA29}"/>
                </c:ext>
              </c:extLst>
            </c:dLbl>
            <c:dLbl>
              <c:idx val="4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19</c:f>
              <c:numCache>
                <c:formatCode>General</c:formatCode>
                <c:ptCount val="18"/>
                <c:pt idx="0">
                  <c:v>0.3878</c:v>
                </c:pt>
                <c:pt idx="1">
                  <c:v>0.3979</c:v>
                </c:pt>
                <c:pt idx="2">
                  <c:v>0.4774</c:v>
                </c:pt>
                <c:pt idx="3">
                  <c:v>0.4548</c:v>
                </c:pt>
                <c:pt idx="4">
                  <c:v>0.574</c:v>
                </c:pt>
                <c:pt idx="5">
                  <c:v>0.4683</c:v>
                </c:pt>
                <c:pt idx="6">
                  <c:v>0.4403</c:v>
                </c:pt>
                <c:pt idx="7">
                  <c:v>0.4085</c:v>
                </c:pt>
                <c:pt idx="8">
                  <c:v>0.4149</c:v>
                </c:pt>
                <c:pt idx="9">
                  <c:v>0.5175</c:v>
                </c:pt>
                <c:pt idx="10">
                  <c:v>0.4811</c:v>
                </c:pt>
                <c:pt idx="11">
                  <c:v>0.4395</c:v>
                </c:pt>
                <c:pt idx="12">
                  <c:v>0.4681</c:v>
                </c:pt>
                <c:pt idx="13">
                  <c:v>0.4219</c:v>
                </c:pt>
                <c:pt idx="14">
                  <c:v>0.388</c:v>
                </c:pt>
                <c:pt idx="15">
                  <c:v>0.4587</c:v>
                </c:pt>
                <c:pt idx="16">
                  <c:v>0.5122</c:v>
                </c:pt>
                <c:pt idx="17">
                  <c:v>0.4678</c:v>
                </c:pt>
              </c:numCache>
            </c:numRef>
          </c:xVal>
          <c:yVal>
            <c:numRef>
              <c:f>Sheet1!$B$2:$B$19</c:f>
              <c:numCache>
                <c:formatCode>General</c:formatCode>
                <c:ptCount val="18"/>
                <c:pt idx="0">
                  <c:v>3907.088888888889</c:v>
                </c:pt>
                <c:pt idx="1">
                  <c:v>3670.6632653061224</c:v>
                </c:pt>
                <c:pt idx="2">
                  <c:v>1491.433734939759</c:v>
                </c:pt>
                <c:pt idx="3">
                  <c:v>1809.314606741573</c:v>
                </c:pt>
                <c:pt idx="4">
                  <c:v>126.06060606060606</c:v>
                </c:pt>
                <c:pt idx="5">
                  <c:v>734.4166666666666</c:v>
                </c:pt>
                <c:pt idx="6">
                  <c:v>1990.4594594594594</c:v>
                </c:pt>
                <c:pt idx="7">
                  <c:v>2690.9662921348313</c:v>
                </c:pt>
                <c:pt idx="8">
                  <c:v>806.3125</c:v>
                </c:pt>
                <c:pt idx="9">
                  <c:v>2365.864197530864</c:v>
                </c:pt>
                <c:pt idx="10">
                  <c:v>756.1086956521739</c:v>
                </c:pt>
                <c:pt idx="11">
                  <c:v>1149.7733333333333</c:v>
                </c:pt>
                <c:pt idx="12">
                  <c:v>1532.3294117647058</c:v>
                </c:pt>
                <c:pt idx="13">
                  <c:v>292.74468085106383</c:v>
                </c:pt>
                <c:pt idx="14">
                  <c:v>130.70731707317074</c:v>
                </c:pt>
                <c:pt idx="15">
                  <c:v>428.27906976744185</c:v>
                </c:pt>
                <c:pt idx="16">
                  <c:v>268.07142857142856</c:v>
                </c:pt>
                <c:pt idx="17">
                  <c:v>215.78571428571425</c:v>
                </c:pt>
              </c:numCache>
            </c:numRef>
          </c:yVal>
          <c:bubbleSize>
            <c:numRef>
              <c:f>Sheet1!$C$2:$C$19</c:f>
              <c:numCache>
                <c:formatCode>General</c:formatCode>
                <c:ptCount val="18"/>
                <c:pt idx="0">
                  <c:v>204011.4707</c:v>
                </c:pt>
                <c:pt idx="1">
                  <c:v>205291.0542</c:v>
                </c:pt>
                <c:pt idx="2">
                  <c:v>61319.443999999996</c:v>
                </c:pt>
                <c:pt idx="3">
                  <c:v>83208.5663</c:v>
                </c:pt>
                <c:pt idx="4">
                  <c:v>1546.954</c:v>
                </c:pt>
                <c:pt idx="5">
                  <c:v>4441.479</c:v>
                </c:pt>
                <c:pt idx="6">
                  <c:v>78143.92979999998</c:v>
                </c:pt>
                <c:pt idx="7">
                  <c:v>134266.816</c:v>
                </c:pt>
                <c:pt idx="8">
                  <c:v>28617.798000000003</c:v>
                </c:pt>
                <c:pt idx="9">
                  <c:v>87648.74079999999</c:v>
                </c:pt>
                <c:pt idx="10">
                  <c:v>17106.4579</c:v>
                </c:pt>
                <c:pt idx="11">
                  <c:v>45811.4927</c:v>
                </c:pt>
                <c:pt idx="12">
                  <c:v>65663.78859999999</c:v>
                </c:pt>
                <c:pt idx="13">
                  <c:v>7539.2294</c:v>
                </c:pt>
                <c:pt idx="14">
                  <c:v>3108.8709</c:v>
                </c:pt>
                <c:pt idx="15">
                  <c:v>9448.2915</c:v>
                </c:pt>
                <c:pt idx="16">
                  <c:v>3470.5856</c:v>
                </c:pt>
                <c:pt idx="17">
                  <c:v>1524.0654000000002</c:v>
                </c:pt>
              </c:numCache>
            </c:numRef>
          </c:bubbleSize>
          <c:bubble3D val="0"/>
          <c:extLst>
            <c:ext xmlns:c15="http://schemas.microsoft.com/office/drawing/2012/chart" uri="{02D57815-91ED-43cb-92C2-25804820EDAC}">
              <c15:datalabelsRange>
                <c15:f>Sheet1!$E$2:$E$50</c15:f>
                <c15:dlblRangeCache>
                  <c:ptCount val="49"/>
                  <c:pt idx="0">
                    <c:v>Findus Merluzzo Altro Findus Fish Bar 245GR</c:v>
                  </c:pt>
                  <c:pt idx="1">
                    <c:v>Findus Merluzzo D Alaska Chips Findus Big Burger 227GR</c:v>
                  </c:pt>
                  <c:pt idx="2">
                    <c:v>Findus Merluzzo D Alaska Standard Findus Big Burger 227GR</c:v>
                  </c:pt>
                  <c:pt idx="3">
                    <c:v>Findus Merluzzo E Spinaci Filetto Findus Croccole 300GR</c:v>
                  </c:pt>
                  <c:pt idx="4">
                    <c:v>Findus Merluzzo Filetto Findus Croccole 300GR</c:v>
                  </c:pt>
                  <c:pt idx="5">
                    <c:v>Findus Merluzzo Filetto Findus Croccole 600GR</c:v>
                  </c:pt>
                  <c:pt idx="6">
                    <c:v>Findus Merluzzo Filetto Findus Fish &amp; Crock 250GR</c:v>
                  </c:pt>
                  <c:pt idx="7">
                    <c:v>Findus Merluzzo Filetto Findus Fish Bar 240GR</c:v>
                  </c:pt>
                  <c:pt idx="8">
                    <c:v>Findus Merluzzo Semi Filetto Findus Croccole 300GR</c:v>
                  </c:pt>
                  <c:pt idx="9">
                    <c:v>Findus Merluzzo Senza Glutine Filetto Findus Croccole 250GR</c:v>
                  </c:pt>
                  <c:pt idx="10">
                    <c:v>Findus Platessa Filetto Findus Platessa 250GR</c:v>
                  </c:pt>
                  <c:pt idx="11">
                    <c:v>Findus Salmone Altro Findus Fish Bar 220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3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535E4BB7-E0B7-4019-816D-7532CDCD017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D1A945CF-C4C7-4CCB-AB44-4E864A9B66A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E4E30B05-0D88-45C6-A2AA-075AC7315E9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80240B10-0122-44AD-A104-F64968B45B0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0A37E6BD-D960-4959-B584-040287D8BF1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0205F26B-FA90-4404-B906-F0B529DA80C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B07FBF60-3EE3-4850-B5AB-1CEA639FCF8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5-BFDA-4C69-8E79-A083B7EFBA29}"/>
                </c:ext>
              </c:extLst>
            </c:dLbl>
            <c:dLbl>
              <c:idx val="1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BFDA-4C69-8E79-A083B7EFBA29}"/>
                </c:ext>
              </c:extLst>
            </c:dLbl>
            <c:dLbl>
              <c:idx val="1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BFDA-4C69-8E79-A083B7EFBA29}"/>
                </c:ext>
              </c:extLst>
            </c:dLbl>
            <c:dLbl>
              <c:idx val="1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BFDA-4C69-8E79-A083B7EFBA29}"/>
                </c:ext>
              </c:extLst>
            </c:dLbl>
            <c:dLbl>
              <c:idx val="1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9-BFDA-4C69-8E79-A083B7EFBA29}"/>
                </c:ext>
              </c:extLst>
            </c:dLbl>
            <c:dLbl>
              <c:idx val="1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A-BFDA-4C69-8E79-A083B7EFBA29}"/>
                </c:ext>
              </c:extLst>
            </c:dLbl>
            <c:dLbl>
              <c:idx val="1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B-BFDA-4C69-8E79-A083B7EFBA29}"/>
                </c:ext>
              </c:extLst>
            </c:dLbl>
            <c:dLbl>
              <c:idx val="1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C-BFDA-4C69-8E79-A083B7EFBA29}"/>
                </c:ext>
              </c:extLst>
            </c:dLbl>
            <c:dLbl>
              <c:idx val="2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BFDA-4C69-8E79-A083B7EFBA29}"/>
                </c:ext>
              </c:extLst>
            </c:dLbl>
            <c:dLbl>
              <c:idx val="2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BFDA-4C69-8E79-A083B7EFBA29}"/>
                </c:ext>
              </c:extLst>
            </c:dLbl>
            <c:dLbl>
              <c:idx val="2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F-BFDA-4C69-8E79-A083B7EFBA29}"/>
                </c:ext>
              </c:extLst>
            </c:dLbl>
            <c:dLbl>
              <c:idx val="2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0-BFDA-4C69-8E79-A083B7EFBA29}"/>
                </c:ext>
              </c:extLst>
            </c:dLbl>
            <c:dLbl>
              <c:idx val="2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1-BFDA-4C69-8E79-A083B7EFBA29}"/>
                </c:ext>
              </c:extLst>
            </c:dLbl>
            <c:dLbl>
              <c:idx val="2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BFDA-4C69-8E79-A083B7EFBA29}"/>
                </c:ext>
              </c:extLst>
            </c:dLbl>
            <c:dLbl>
              <c:idx val="2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BFDA-4C69-8E79-A083B7EFBA29}"/>
                </c:ext>
              </c:extLst>
            </c:dLbl>
            <c:dLbl>
              <c:idx val="2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BFDA-4C69-8E79-A083B7EFBA29}"/>
                </c:ext>
              </c:extLst>
            </c:dLbl>
            <c:dLbl>
              <c:idx val="2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5-BFDA-4C69-8E79-A083B7EFBA29}"/>
                </c:ext>
              </c:extLst>
            </c:dLbl>
            <c:dLbl>
              <c:idx val="2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6-BFDA-4C69-8E79-A083B7EFBA29}"/>
                </c:ext>
              </c:extLst>
            </c:dLbl>
            <c:dLbl>
              <c:idx val="3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7-BFDA-4C69-8E79-A083B7EFBA29}"/>
                </c:ext>
              </c:extLst>
            </c:dLbl>
            <c:dLbl>
              <c:idx val="3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8-BFDA-4C69-8E79-A083B7EFBA29}"/>
                </c:ext>
              </c:extLst>
            </c:dLbl>
            <c:dLbl>
              <c:idx val="3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9-BFDA-4C69-8E79-A083B7EFBA29}"/>
                </c:ext>
              </c:extLst>
            </c:dLbl>
            <c:dLbl>
              <c:idx val="3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BFDA-4C69-8E79-A083B7EFBA29}"/>
                </c:ext>
              </c:extLst>
            </c:dLbl>
            <c:dLbl>
              <c:idx val="3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B-BFDA-4C69-8E79-A083B7EFBA29}"/>
                </c:ext>
              </c:extLst>
            </c:dLbl>
            <c:dLbl>
              <c:idx val="3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C-BFDA-4C69-8E79-A083B7EFBA29}"/>
                </c:ext>
              </c:extLst>
            </c:dLbl>
            <c:dLbl>
              <c:idx val="3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D-BFDA-4C69-8E79-A083B7EFBA29}"/>
                </c:ext>
              </c:extLst>
            </c:dLbl>
            <c:dLbl>
              <c:idx val="3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BFDA-4C69-8E79-A083B7EFBA29}"/>
                </c:ext>
              </c:extLst>
            </c:dLbl>
            <c:dLbl>
              <c:idx val="3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BFDA-4C69-8E79-A083B7EFBA29}"/>
                </c:ext>
              </c:extLst>
            </c:dLbl>
            <c:dLbl>
              <c:idx val="3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BFDA-4C69-8E79-A083B7EFBA29}"/>
                </c:ext>
              </c:extLst>
            </c:dLbl>
            <c:dLbl>
              <c:idx val="4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1-BFDA-4C69-8E79-A083B7EFBA29}"/>
                </c:ext>
              </c:extLst>
            </c:dLbl>
            <c:dLbl>
              <c:idx val="4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BFDA-4C69-8E79-A083B7EFBA29}"/>
                </c:ext>
              </c:extLst>
            </c:dLbl>
            <c:dLbl>
              <c:idx val="4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BFDA-4C69-8E79-A083B7EFBA29}"/>
                </c:ext>
              </c:extLst>
            </c:dLbl>
            <c:dLbl>
              <c:idx val="4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BFDA-4C69-8E79-A083B7EFBA29}"/>
                </c:ext>
              </c:extLst>
            </c:dLbl>
            <c:dLbl>
              <c:idx val="4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BFDA-4C69-8E79-A083B7EFBA29}"/>
                </c:ext>
              </c:extLst>
            </c:dLbl>
            <c:dLbl>
              <c:idx val="4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BFDA-4C69-8E79-A083B7EFBA29}"/>
                </c:ext>
              </c:extLst>
            </c:dLbl>
            <c:dLbl>
              <c:idx val="4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BFDA-4C69-8E79-A083B7EFBA29}"/>
                </c:ext>
              </c:extLst>
            </c:dLbl>
            <c:dLbl>
              <c:idx val="4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BFDA-4C69-8E79-A083B7EFBA29}"/>
                </c:ext>
              </c:extLst>
            </c:dLbl>
            <c:dLbl>
              <c:idx val="4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5</c:f>
              <c:numCache>
                <c:formatCode>General</c:formatCode>
                <c:ptCount val="4"/>
                <c:pt idx="0">
                  <c:v>0.3637</c:v>
                </c:pt>
                <c:pt idx="1">
                  <c:v>0.354</c:v>
                </c:pt>
                <c:pt idx="2">
                  <c:v>0.5275</c:v>
                </c:pt>
                <c:pt idx="3">
                  <c:v>0.4543</c:v>
                </c:pt>
              </c:numCache>
            </c:numRef>
          </c:xVal>
          <c:yVal>
            <c:numRef>
              <c:f>Sheet1!$B$2:$B$5</c:f>
              <c:numCache>
                <c:formatCode>General</c:formatCode>
                <c:ptCount val="4"/>
                <c:pt idx="0">
                  <c:v>28428.861878453037</c:v>
                </c:pt>
                <c:pt idx="1">
                  <c:v>12732.23350253807</c:v>
                </c:pt>
                <c:pt idx="2">
                  <c:v>1246.9437652811737</c:v>
                </c:pt>
                <c:pt idx="3">
                  <c:v>1488.977272727273</c:v>
                </c:pt>
              </c:numCache>
            </c:numRef>
          </c:yVal>
          <c:bubbleSize>
            <c:numRef>
              <c:f>Sheet1!$C$2:$C$5</c:f>
              <c:numCache>
                <c:formatCode>General</c:formatCode>
                <c:ptCount val="4"/>
                <c:pt idx="0">
                  <c:v>1551828.5882</c:v>
                </c:pt>
                <c:pt idx="1">
                  <c:v>614373.5508000001</c:v>
                </c:pt>
                <c:pt idx="2">
                  <c:v>22839.868000000006</c:v>
                </c:pt>
                <c:pt idx="3">
                  <c:v>27109.391400000004</c:v>
                </c:pt>
              </c:numCache>
            </c:numRef>
          </c:bubbleSize>
          <c:bubble3D val="0"/>
          <c:extLst>
            <c:ext xmlns:c15="http://schemas.microsoft.com/office/drawing/2012/chart" uri="{02D57815-91ED-43cb-92C2-25804820EDAC}">
              <c15:datalabelsRange>
                <c15:f>Sheet1!$E$2:$E$50</c15:f>
                <c15:dlblRangeCache>
                  <c:ptCount val="49"/>
                  <c:pt idx="0">
                    <c:v>Findus Merluzzo Altro Findus Fish Bar 245GR</c:v>
                  </c:pt>
                  <c:pt idx="1">
                    <c:v>Findus Merluzzo D Alaska Chips Findus Big Burger 227GR</c:v>
                  </c:pt>
                  <c:pt idx="2">
                    <c:v>Findus Merluzzo D Alaska Standard Findus Big Burger 227GR</c:v>
                  </c:pt>
                  <c:pt idx="3">
                    <c:v>Findus Merluzzo E Spinaci Filetto Findus Croccole 300GR</c:v>
                  </c:pt>
                  <c:pt idx="4">
                    <c:v>Findus Merluzzo Filetto Findus Croccole 300GR</c:v>
                  </c:pt>
                  <c:pt idx="5">
                    <c:v>Findus Merluzzo Filetto Findus Croccole 600GR</c:v>
                  </c:pt>
                  <c:pt idx="6">
                    <c:v>Findus Merluzzo Filetto Findus Fish &amp; Crock 250GR</c:v>
                  </c:pt>
                  <c:pt idx="7">
                    <c:v>Findus Merluzzo Filetto Findus Fish Bar 240GR</c:v>
                  </c:pt>
                  <c:pt idx="8">
                    <c:v>Findus Merluzzo Semi Filetto Findus Croccole 300GR</c:v>
                  </c:pt>
                  <c:pt idx="9">
                    <c:v>Findus Merluzzo Senza Glutine Filetto Findus Croccole 250GR</c:v>
                  </c:pt>
                  <c:pt idx="10">
                    <c:v>Findus Platessa Filetto Findus Platessa 250GR</c:v>
                  </c:pt>
                  <c:pt idx="11">
                    <c:v>Findus Salmone Altro Findus Fish Bar 220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3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44A1B93C-0CC0-4CF9-B7B4-67578701721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414282E6-F78C-4563-96F3-A500CBAD70E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DE3F45A0-B81B-40E4-8D67-A6280754B99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64D8DB14-7EA4-4EAE-8CDA-CADC29FDEC8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5ACB711F-E5F5-4FEE-AA86-224D3660D52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BE833F67-A5EE-4F54-AC74-A95FF24D27B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0403204A-0348-4DE2-B686-5B3CF9739BE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5-BFDA-4C69-8E79-A083B7EFBA29}"/>
                </c:ext>
              </c:extLst>
            </c:dLbl>
            <c:dLbl>
              <c:idx val="1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BFDA-4C69-8E79-A083B7EFBA29}"/>
                </c:ext>
              </c:extLst>
            </c:dLbl>
            <c:dLbl>
              <c:idx val="1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BFDA-4C69-8E79-A083B7EFBA29}"/>
                </c:ext>
              </c:extLst>
            </c:dLbl>
            <c:dLbl>
              <c:idx val="1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BFDA-4C69-8E79-A083B7EFBA29}"/>
                </c:ext>
              </c:extLst>
            </c:dLbl>
            <c:dLbl>
              <c:idx val="1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9-BFDA-4C69-8E79-A083B7EFBA29}"/>
                </c:ext>
              </c:extLst>
            </c:dLbl>
            <c:dLbl>
              <c:idx val="1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A-BFDA-4C69-8E79-A083B7EFBA29}"/>
                </c:ext>
              </c:extLst>
            </c:dLbl>
            <c:dLbl>
              <c:idx val="1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B-BFDA-4C69-8E79-A083B7EFBA29}"/>
                </c:ext>
              </c:extLst>
            </c:dLbl>
            <c:dLbl>
              <c:idx val="1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C-BFDA-4C69-8E79-A083B7EFBA29}"/>
                </c:ext>
              </c:extLst>
            </c:dLbl>
            <c:dLbl>
              <c:idx val="2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BFDA-4C69-8E79-A083B7EFBA29}"/>
                </c:ext>
              </c:extLst>
            </c:dLbl>
            <c:dLbl>
              <c:idx val="2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BFDA-4C69-8E79-A083B7EFBA29}"/>
                </c:ext>
              </c:extLst>
            </c:dLbl>
            <c:dLbl>
              <c:idx val="2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F-BFDA-4C69-8E79-A083B7EFBA29}"/>
                </c:ext>
              </c:extLst>
            </c:dLbl>
            <c:dLbl>
              <c:idx val="2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0-BFDA-4C69-8E79-A083B7EFBA29}"/>
                </c:ext>
              </c:extLst>
            </c:dLbl>
            <c:dLbl>
              <c:idx val="2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1-BFDA-4C69-8E79-A083B7EFBA29}"/>
                </c:ext>
              </c:extLst>
            </c:dLbl>
            <c:dLbl>
              <c:idx val="2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BFDA-4C69-8E79-A083B7EFBA29}"/>
                </c:ext>
              </c:extLst>
            </c:dLbl>
            <c:dLbl>
              <c:idx val="2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BFDA-4C69-8E79-A083B7EFBA29}"/>
                </c:ext>
              </c:extLst>
            </c:dLbl>
            <c:dLbl>
              <c:idx val="2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BFDA-4C69-8E79-A083B7EFBA29}"/>
                </c:ext>
              </c:extLst>
            </c:dLbl>
            <c:dLbl>
              <c:idx val="2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5-BFDA-4C69-8E79-A083B7EFBA29}"/>
                </c:ext>
              </c:extLst>
            </c:dLbl>
            <c:dLbl>
              <c:idx val="2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6-BFDA-4C69-8E79-A083B7EFBA29}"/>
                </c:ext>
              </c:extLst>
            </c:dLbl>
            <c:dLbl>
              <c:idx val="3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7-BFDA-4C69-8E79-A083B7EFBA29}"/>
                </c:ext>
              </c:extLst>
            </c:dLbl>
            <c:dLbl>
              <c:idx val="3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8-BFDA-4C69-8E79-A083B7EFBA29}"/>
                </c:ext>
              </c:extLst>
            </c:dLbl>
            <c:dLbl>
              <c:idx val="3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9-BFDA-4C69-8E79-A083B7EFBA29}"/>
                </c:ext>
              </c:extLst>
            </c:dLbl>
            <c:dLbl>
              <c:idx val="3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BFDA-4C69-8E79-A083B7EFBA29}"/>
                </c:ext>
              </c:extLst>
            </c:dLbl>
            <c:dLbl>
              <c:idx val="3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B-BFDA-4C69-8E79-A083B7EFBA29}"/>
                </c:ext>
              </c:extLst>
            </c:dLbl>
            <c:dLbl>
              <c:idx val="3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C-BFDA-4C69-8E79-A083B7EFBA29}"/>
                </c:ext>
              </c:extLst>
            </c:dLbl>
            <c:dLbl>
              <c:idx val="3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D-BFDA-4C69-8E79-A083B7EFBA29}"/>
                </c:ext>
              </c:extLst>
            </c:dLbl>
            <c:dLbl>
              <c:idx val="3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BFDA-4C69-8E79-A083B7EFBA29}"/>
                </c:ext>
              </c:extLst>
            </c:dLbl>
            <c:dLbl>
              <c:idx val="3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BFDA-4C69-8E79-A083B7EFBA29}"/>
                </c:ext>
              </c:extLst>
            </c:dLbl>
            <c:dLbl>
              <c:idx val="3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BFDA-4C69-8E79-A083B7EFBA29}"/>
                </c:ext>
              </c:extLst>
            </c:dLbl>
            <c:dLbl>
              <c:idx val="4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1-BFDA-4C69-8E79-A083B7EFBA29}"/>
                </c:ext>
              </c:extLst>
            </c:dLbl>
            <c:dLbl>
              <c:idx val="4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BFDA-4C69-8E79-A083B7EFBA29}"/>
                </c:ext>
              </c:extLst>
            </c:dLbl>
            <c:dLbl>
              <c:idx val="4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BFDA-4C69-8E79-A083B7EFBA29}"/>
                </c:ext>
              </c:extLst>
            </c:dLbl>
            <c:dLbl>
              <c:idx val="4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BFDA-4C69-8E79-A083B7EFBA29}"/>
                </c:ext>
              </c:extLst>
            </c:dLbl>
            <c:dLbl>
              <c:idx val="4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BFDA-4C69-8E79-A083B7EFBA29}"/>
                </c:ext>
              </c:extLst>
            </c:dLbl>
            <c:dLbl>
              <c:idx val="4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BFDA-4C69-8E79-A083B7EFBA29}"/>
                </c:ext>
              </c:extLst>
            </c:dLbl>
            <c:dLbl>
              <c:idx val="4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BFDA-4C69-8E79-A083B7EFBA29}"/>
                </c:ext>
              </c:extLst>
            </c:dLbl>
            <c:dLbl>
              <c:idx val="4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BFDA-4C69-8E79-A083B7EFBA29}"/>
                </c:ext>
              </c:extLst>
            </c:dLbl>
            <c:dLbl>
              <c:idx val="4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6</c:f>
              <c:numCache>
                <c:formatCode>General</c:formatCode>
                <c:ptCount val="5"/>
                <c:pt idx="0">
                  <c:v>0.4022</c:v>
                </c:pt>
                <c:pt idx="1">
                  <c:v>0.4058</c:v>
                </c:pt>
                <c:pt idx="2">
                  <c:v>0.4202</c:v>
                </c:pt>
                <c:pt idx="3">
                  <c:v>0.2555</c:v>
                </c:pt>
                <c:pt idx="4">
                  <c:v>0.2447</c:v>
                </c:pt>
              </c:numCache>
            </c:numRef>
          </c:xVal>
          <c:yVal>
            <c:numRef>
              <c:f>Sheet1!$B$2:$B$6</c:f>
              <c:numCache>
                <c:formatCode>General</c:formatCode>
                <c:ptCount val="5"/>
                <c:pt idx="0">
                  <c:v>22494.254658385096</c:v>
                </c:pt>
                <c:pt idx="1">
                  <c:v>7525.876288659794</c:v>
                </c:pt>
                <c:pt idx="2">
                  <c:v>14703.468715697034</c:v>
                </c:pt>
                <c:pt idx="3">
                  <c:v>775.1466666666666</c:v>
                </c:pt>
                <c:pt idx="4">
                  <c:v>730.5446293494704</c:v>
                </c:pt>
              </c:numCache>
            </c:numRef>
          </c:yVal>
          <c:bubbleSize>
            <c:numRef>
              <c:f>Sheet1!$C$2:$C$6</c:f>
              <c:numCache>
                <c:formatCode>General</c:formatCode>
                <c:ptCount val="5"/>
                <c:pt idx="0">
                  <c:v>1231312.4589</c:v>
                </c:pt>
                <c:pt idx="1">
                  <c:v>370057.5055999999</c:v>
                </c:pt>
                <c:pt idx="2">
                  <c:v>736195.6952000001</c:v>
                </c:pt>
                <c:pt idx="3">
                  <c:v>41023.2397</c:v>
                </c:pt>
                <c:pt idx="4">
                  <c:v>34571.8464</c:v>
                </c:pt>
              </c:numCache>
            </c:numRef>
          </c:bubbleSize>
          <c:bubble3D val="0"/>
          <c:extLst>
            <c:ext xmlns:c15="http://schemas.microsoft.com/office/drawing/2012/chart" uri="{02D57815-91ED-43cb-92C2-25804820EDAC}">
              <c15:datalabelsRange>
                <c15:f>Sheet1!$E$2:$E$50</c15:f>
                <c15:dlblRangeCache>
                  <c:ptCount val="49"/>
                  <c:pt idx="0">
                    <c:v>Findus Merluzzo Altro Findus Fish Bar 245GR</c:v>
                  </c:pt>
                  <c:pt idx="1">
                    <c:v>Findus Merluzzo D Alaska Chips Findus Big Burger 227GR</c:v>
                  </c:pt>
                  <c:pt idx="2">
                    <c:v>Findus Merluzzo D Alaska Standard Findus Big Burger 227GR</c:v>
                  </c:pt>
                  <c:pt idx="3">
                    <c:v>Findus Merluzzo E Spinaci Filetto Findus Croccole 300GR</c:v>
                  </c:pt>
                  <c:pt idx="4">
                    <c:v>Findus Merluzzo Filetto Findus Croccole 300GR</c:v>
                  </c:pt>
                  <c:pt idx="5">
                    <c:v>Findus Merluzzo Filetto Findus Croccole 600GR</c:v>
                  </c:pt>
                  <c:pt idx="6">
                    <c:v>Findus Merluzzo Filetto Findus Fish &amp; Crock 250GR</c:v>
                  </c:pt>
                  <c:pt idx="7">
                    <c:v>Findus Merluzzo Filetto Findus Fish Bar 240GR</c:v>
                  </c:pt>
                  <c:pt idx="8">
                    <c:v>Findus Merluzzo Semi Filetto Findus Croccole 300GR</c:v>
                  </c:pt>
                  <c:pt idx="9">
                    <c:v>Findus Merluzzo Senza Glutine Filetto Findus Croccole 250GR</c:v>
                  </c:pt>
                  <c:pt idx="10">
                    <c:v>Findus Platessa Filetto Findus Platessa 250GR</c:v>
                  </c:pt>
                  <c:pt idx="11">
                    <c:v>Findus Salmone Altro Findus Fish Bar 220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3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9599A933-EE40-4898-93F0-B478E8588FA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66CD20C9-D67B-456B-8B89-F4BF05ADF8E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E1FDBA9E-432F-4F84-8FDC-E5B625AFFEF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3392AFAC-AF9E-4955-A514-D9D4CDF074D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43B3DF81-C6A3-4165-BCAF-216A7C79FA1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D7A16341-D9DB-4187-BF9C-3E98A6E1442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0E020889-9841-4F09-9765-0F22F8B395F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5-BFDA-4C69-8E79-A083B7EFBA29}"/>
                </c:ext>
              </c:extLst>
            </c:dLbl>
            <c:dLbl>
              <c:idx val="1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BFDA-4C69-8E79-A083B7EFBA29}"/>
                </c:ext>
              </c:extLst>
            </c:dLbl>
            <c:dLbl>
              <c:idx val="1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BFDA-4C69-8E79-A083B7EFBA29}"/>
                </c:ext>
              </c:extLst>
            </c:dLbl>
            <c:dLbl>
              <c:idx val="1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BFDA-4C69-8E79-A083B7EFBA29}"/>
                </c:ext>
              </c:extLst>
            </c:dLbl>
            <c:dLbl>
              <c:idx val="1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9-BFDA-4C69-8E79-A083B7EFBA29}"/>
                </c:ext>
              </c:extLst>
            </c:dLbl>
            <c:dLbl>
              <c:idx val="1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A-BFDA-4C69-8E79-A083B7EFBA29}"/>
                </c:ext>
              </c:extLst>
            </c:dLbl>
            <c:dLbl>
              <c:idx val="1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B-BFDA-4C69-8E79-A083B7EFBA29}"/>
                </c:ext>
              </c:extLst>
            </c:dLbl>
            <c:dLbl>
              <c:idx val="1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C-BFDA-4C69-8E79-A083B7EFBA29}"/>
                </c:ext>
              </c:extLst>
            </c:dLbl>
            <c:dLbl>
              <c:idx val="2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BFDA-4C69-8E79-A083B7EFBA29}"/>
                </c:ext>
              </c:extLst>
            </c:dLbl>
            <c:dLbl>
              <c:idx val="2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BFDA-4C69-8E79-A083B7EFBA29}"/>
                </c:ext>
              </c:extLst>
            </c:dLbl>
            <c:dLbl>
              <c:idx val="2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F-BFDA-4C69-8E79-A083B7EFBA29}"/>
                </c:ext>
              </c:extLst>
            </c:dLbl>
            <c:dLbl>
              <c:idx val="2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0-BFDA-4C69-8E79-A083B7EFBA29}"/>
                </c:ext>
              </c:extLst>
            </c:dLbl>
            <c:dLbl>
              <c:idx val="2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1-BFDA-4C69-8E79-A083B7EFBA29}"/>
                </c:ext>
              </c:extLst>
            </c:dLbl>
            <c:dLbl>
              <c:idx val="2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BFDA-4C69-8E79-A083B7EFBA29}"/>
                </c:ext>
              </c:extLst>
            </c:dLbl>
            <c:dLbl>
              <c:idx val="2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BFDA-4C69-8E79-A083B7EFBA29}"/>
                </c:ext>
              </c:extLst>
            </c:dLbl>
            <c:dLbl>
              <c:idx val="2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BFDA-4C69-8E79-A083B7EFBA29}"/>
                </c:ext>
              </c:extLst>
            </c:dLbl>
            <c:dLbl>
              <c:idx val="2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5-BFDA-4C69-8E79-A083B7EFBA29}"/>
                </c:ext>
              </c:extLst>
            </c:dLbl>
            <c:dLbl>
              <c:idx val="2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6-BFDA-4C69-8E79-A083B7EFBA29}"/>
                </c:ext>
              </c:extLst>
            </c:dLbl>
            <c:dLbl>
              <c:idx val="3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7-BFDA-4C69-8E79-A083B7EFBA29}"/>
                </c:ext>
              </c:extLst>
            </c:dLbl>
            <c:dLbl>
              <c:idx val="3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8-BFDA-4C69-8E79-A083B7EFBA29}"/>
                </c:ext>
              </c:extLst>
            </c:dLbl>
            <c:dLbl>
              <c:idx val="3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9-BFDA-4C69-8E79-A083B7EFBA29}"/>
                </c:ext>
              </c:extLst>
            </c:dLbl>
            <c:dLbl>
              <c:idx val="3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BFDA-4C69-8E79-A083B7EFBA29}"/>
                </c:ext>
              </c:extLst>
            </c:dLbl>
            <c:dLbl>
              <c:idx val="3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B-BFDA-4C69-8E79-A083B7EFBA29}"/>
                </c:ext>
              </c:extLst>
            </c:dLbl>
            <c:dLbl>
              <c:idx val="3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C-BFDA-4C69-8E79-A083B7EFBA29}"/>
                </c:ext>
              </c:extLst>
            </c:dLbl>
            <c:dLbl>
              <c:idx val="3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D-BFDA-4C69-8E79-A083B7EFBA29}"/>
                </c:ext>
              </c:extLst>
            </c:dLbl>
            <c:dLbl>
              <c:idx val="3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BFDA-4C69-8E79-A083B7EFBA29}"/>
                </c:ext>
              </c:extLst>
            </c:dLbl>
            <c:dLbl>
              <c:idx val="3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BFDA-4C69-8E79-A083B7EFBA29}"/>
                </c:ext>
              </c:extLst>
            </c:dLbl>
            <c:dLbl>
              <c:idx val="3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BFDA-4C69-8E79-A083B7EFBA29}"/>
                </c:ext>
              </c:extLst>
            </c:dLbl>
            <c:dLbl>
              <c:idx val="4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1-BFDA-4C69-8E79-A083B7EFBA29}"/>
                </c:ext>
              </c:extLst>
            </c:dLbl>
            <c:dLbl>
              <c:idx val="4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BFDA-4C69-8E79-A083B7EFBA29}"/>
                </c:ext>
              </c:extLst>
            </c:dLbl>
            <c:dLbl>
              <c:idx val="4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BFDA-4C69-8E79-A083B7EFBA29}"/>
                </c:ext>
              </c:extLst>
            </c:dLbl>
            <c:dLbl>
              <c:idx val="4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BFDA-4C69-8E79-A083B7EFBA29}"/>
                </c:ext>
              </c:extLst>
            </c:dLbl>
            <c:dLbl>
              <c:idx val="4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BFDA-4C69-8E79-A083B7EFBA29}"/>
                </c:ext>
              </c:extLst>
            </c:dLbl>
            <c:dLbl>
              <c:idx val="4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BFDA-4C69-8E79-A083B7EFBA29}"/>
                </c:ext>
              </c:extLst>
            </c:dLbl>
            <c:dLbl>
              <c:idx val="4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BFDA-4C69-8E79-A083B7EFBA29}"/>
                </c:ext>
              </c:extLst>
            </c:dLbl>
            <c:dLbl>
              <c:idx val="4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BFDA-4C69-8E79-A083B7EFBA29}"/>
                </c:ext>
              </c:extLst>
            </c:dLbl>
            <c:dLbl>
              <c:idx val="4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5</c:f>
              <c:numCache>
                <c:formatCode>General</c:formatCode>
                <c:ptCount val="4"/>
                <c:pt idx="0">
                  <c:v>0.3292</c:v>
                </c:pt>
                <c:pt idx="1">
                  <c:v>0.3454</c:v>
                </c:pt>
                <c:pt idx="2">
                  <c:v>0.5195</c:v>
                </c:pt>
                <c:pt idx="3">
                  <c:v>0.4345</c:v>
                </c:pt>
              </c:numCache>
            </c:numRef>
          </c:xVal>
          <c:yVal>
            <c:numRef>
              <c:f>Sheet1!$B$2:$B$5</c:f>
              <c:numCache>
                <c:formatCode>General</c:formatCode>
                <c:ptCount val="4"/>
                <c:pt idx="0">
                  <c:v>7852.5</c:v>
                </c:pt>
                <c:pt idx="1">
                  <c:v>4007.6315789473683</c:v>
                </c:pt>
                <c:pt idx="2">
                  <c:v>537.3958333333334</c:v>
                </c:pt>
                <c:pt idx="3">
                  <c:v>590.9056603773585</c:v>
                </c:pt>
              </c:numCache>
            </c:numRef>
          </c:yVal>
          <c:bubbleSize>
            <c:numRef>
              <c:f>Sheet1!$C$2:$C$5</c:f>
              <c:numCache>
                <c:formatCode>General</c:formatCode>
                <c:ptCount val="4"/>
                <c:pt idx="0">
                  <c:v>499287.04469999997</c:v>
                </c:pt>
                <c:pt idx="1">
                  <c:v>236239.36200000002</c:v>
                </c:pt>
                <c:pt idx="2">
                  <c:v>11748.244000000002</c:v>
                </c:pt>
                <c:pt idx="3">
                  <c:v>16785.955200000004</c:v>
                </c:pt>
              </c:numCache>
            </c:numRef>
          </c:bubbleSize>
          <c:bubble3D val="0"/>
          <c:extLst>
            <c:ext xmlns:c15="http://schemas.microsoft.com/office/drawing/2012/chart" uri="{02D57815-91ED-43cb-92C2-25804820EDAC}">
              <c15:datalabelsRange>
                <c15:f>Sheet1!$E$2:$E$50</c15:f>
                <c15:dlblRangeCache>
                  <c:ptCount val="49"/>
                  <c:pt idx="0">
                    <c:v>Findus Merluzzo Altro Findus Fish Bar 245GR</c:v>
                  </c:pt>
                  <c:pt idx="1">
                    <c:v>Findus Merluzzo D Alaska Chips Findus Big Burger 227GR</c:v>
                  </c:pt>
                  <c:pt idx="2">
                    <c:v>Findus Merluzzo D Alaska Standard Findus Big Burger 227GR</c:v>
                  </c:pt>
                  <c:pt idx="3">
                    <c:v>Findus Merluzzo E Spinaci Filetto Findus Croccole 300GR</c:v>
                  </c:pt>
                  <c:pt idx="4">
                    <c:v>Findus Merluzzo Filetto Findus Croccole 300GR</c:v>
                  </c:pt>
                  <c:pt idx="5">
                    <c:v>Findus Merluzzo Filetto Findus Croccole 600GR</c:v>
                  </c:pt>
                  <c:pt idx="6">
                    <c:v>Findus Merluzzo Filetto Findus Fish &amp; Crock 250GR</c:v>
                  </c:pt>
                  <c:pt idx="7">
                    <c:v>Findus Merluzzo Filetto Findus Fish Bar 240GR</c:v>
                  </c:pt>
                  <c:pt idx="8">
                    <c:v>Findus Merluzzo Semi Filetto Findus Croccole 300GR</c:v>
                  </c:pt>
                  <c:pt idx="9">
                    <c:v>Findus Merluzzo Senza Glutine Filetto Findus Croccole 250GR</c:v>
                  </c:pt>
                  <c:pt idx="10">
                    <c:v>Findus Platessa Filetto Findus Platessa 250GR</c:v>
                  </c:pt>
                  <c:pt idx="11">
                    <c:v>Findus Salmone Altro Findus Fish Bar 220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La Vache Qui Rit</c:v>
                </c:pt>
                <c:pt idx="1">
                  <c:v>Mini Babybel</c:v>
                </c:pt>
                <c:pt idx="2">
                  <c:v>Kiri</c:v>
                </c:pt>
                <c:pt idx="3">
                  <c:v>Private Label</c:v>
                </c:pt>
                <c:pt idx="4">
                  <c:v>Ficello</c:v>
                </c:pt>
                <c:pt idx="5">
                  <c:v>P'Tit Louis</c:v>
                </c:pt>
                <c:pt idx="6">
                  <c:v>Others</c:v>
                </c:pt>
              </c:strCache>
            </c:strRef>
          </c:cat>
          <c:val>
            <c:numRef>
              <c:f>Sheet1!$B$2:$B$8</c:f>
              <c:numCache>
                <c:formatCode>General</c:formatCode>
                <c:ptCount val="7"/>
                <c:pt idx="0">
                  <c:v>0.3194900776830782</c:v>
                </c:pt>
                <c:pt idx="1">
                  <c:v>0.2371278195280579</c:v>
                </c:pt>
                <c:pt idx="2">
                  <c:v>0.22265176642420145</c:v>
                </c:pt>
                <c:pt idx="3">
                  <c:v>0.11253127286336931</c:v>
                </c:pt>
                <c:pt idx="4">
                  <c:v>0.08695976281886975</c:v>
                </c:pt>
                <c:pt idx="5">
                  <c:v>0.02118842270597265</c:v>
                </c:pt>
                <c:pt idx="6">
                  <c:v>5.08779764507532e-05</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La Vache Qui Rit</c:v>
                </c:pt>
                <c:pt idx="1">
                  <c:v>Mini Babybel</c:v>
                </c:pt>
                <c:pt idx="2">
                  <c:v>Kiri</c:v>
                </c:pt>
                <c:pt idx="3">
                  <c:v>Private Label</c:v>
                </c:pt>
                <c:pt idx="4">
                  <c:v>Ficello</c:v>
                </c:pt>
                <c:pt idx="5">
                  <c:v>P'Tit Louis</c:v>
                </c:pt>
                <c:pt idx="6">
                  <c:v>Others</c:v>
                </c:pt>
              </c:strCache>
            </c:strRef>
          </c:cat>
          <c:val>
            <c:numRef>
              <c:f>Sheet1!$C$2:$C$8</c:f>
              <c:numCache>
                <c:formatCode>General</c:formatCode>
                <c:ptCount val="7"/>
                <c:pt idx="0">
                  <c:v>0.2233918128654971</c:v>
                </c:pt>
                <c:pt idx="1">
                  <c:v>0.24644945697577278</c:v>
                </c:pt>
                <c:pt idx="2">
                  <c:v>0.19111668059036482</c:v>
                </c:pt>
                <c:pt idx="3">
                  <c:v>0.15179615705931498</c:v>
                </c:pt>
                <c:pt idx="4">
                  <c:v>0.09846839320523532</c:v>
                </c:pt>
                <c:pt idx="5">
                  <c:v>0.0885547201336675</c:v>
                </c:pt>
                <c:pt idx="6">
                  <c:v>0.00022277917014759124</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La Vache Qui Rit</c:v>
                </c:pt>
                <c:pt idx="1">
                  <c:v>Mini Babybel</c:v>
                </c:pt>
                <c:pt idx="2">
                  <c:v>Kiri</c:v>
                </c:pt>
                <c:pt idx="3">
                  <c:v>Private Label</c:v>
                </c:pt>
                <c:pt idx="4">
                  <c:v>Ficello</c:v>
                </c:pt>
                <c:pt idx="5">
                  <c:v>P'Tit Louis</c:v>
                </c:pt>
                <c:pt idx="6">
                  <c:v>Others</c:v>
                </c:pt>
              </c:strCache>
            </c:strRef>
          </c:cat>
          <c:val>
            <c:numRef>
              <c:f>Sheet1!$D$2:$D$8</c:f>
              <c:numCache>
                <c:formatCode>General</c:formatCode>
                <c:ptCount val="7"/>
                <c:pt idx="0">
                  <c:v>69.92136171662055</c:v>
                </c:pt>
                <c:pt idx="1">
                  <c:v>103.93106024686062</c:v>
                </c:pt>
                <c:pt idx="2">
                  <c:v>85.83658852552949</c:v>
                </c:pt>
                <c:pt idx="3">
                  <c:v>134.89241985525163</c:v>
                </c:pt>
                <c:pt idx="4">
                  <c:v>113.23443166506459</c:v>
                </c:pt>
                <c:pt idx="5">
                  <c:v>417.9391801009588</c:v>
                </c:pt>
                <c:pt idx="6">
                  <c:v>437.86955710242916</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1A1FC824-6C30-4BB6-BC7C-DACEE6CA6ED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29FA1E7A-2EE6-4F0A-94F2-1FCD3996566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CBDACD5A-00D7-49E4-82C5-3406BCA5847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11AD9D71-BFC2-4C43-A4B6-1A71CB543B3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C75A8E9A-5BA5-4660-BF54-AA9010D36C9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DB1ED1DC-F534-4432-9915-E28DA1775B9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C91E3293-F0A6-4DC6-B7D9-E6BCFB3CF51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5-BFDA-4C69-8E79-A083B7EFBA29}"/>
                </c:ext>
              </c:extLst>
            </c:dLbl>
            <c:dLbl>
              <c:idx val="1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BFDA-4C69-8E79-A083B7EFBA29}"/>
                </c:ext>
              </c:extLst>
            </c:dLbl>
            <c:dLbl>
              <c:idx val="1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BFDA-4C69-8E79-A083B7EFBA29}"/>
                </c:ext>
              </c:extLst>
            </c:dLbl>
            <c:dLbl>
              <c:idx val="1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BFDA-4C69-8E79-A083B7EFBA29}"/>
                </c:ext>
              </c:extLst>
            </c:dLbl>
            <c:dLbl>
              <c:idx val="1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9-BFDA-4C69-8E79-A083B7EFBA29}"/>
                </c:ext>
              </c:extLst>
            </c:dLbl>
            <c:dLbl>
              <c:idx val="1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A-BFDA-4C69-8E79-A083B7EFBA29}"/>
                </c:ext>
              </c:extLst>
            </c:dLbl>
            <c:dLbl>
              <c:idx val="1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B-BFDA-4C69-8E79-A083B7EFBA29}"/>
                </c:ext>
              </c:extLst>
            </c:dLbl>
            <c:dLbl>
              <c:idx val="1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C-BFDA-4C69-8E79-A083B7EFBA29}"/>
                </c:ext>
              </c:extLst>
            </c:dLbl>
            <c:dLbl>
              <c:idx val="2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BFDA-4C69-8E79-A083B7EFBA29}"/>
                </c:ext>
              </c:extLst>
            </c:dLbl>
            <c:dLbl>
              <c:idx val="2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BFDA-4C69-8E79-A083B7EFBA29}"/>
                </c:ext>
              </c:extLst>
            </c:dLbl>
            <c:dLbl>
              <c:idx val="2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F-BFDA-4C69-8E79-A083B7EFBA29}"/>
                </c:ext>
              </c:extLst>
            </c:dLbl>
            <c:dLbl>
              <c:idx val="2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0-BFDA-4C69-8E79-A083B7EFBA29}"/>
                </c:ext>
              </c:extLst>
            </c:dLbl>
            <c:dLbl>
              <c:idx val="2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1-BFDA-4C69-8E79-A083B7EFBA29}"/>
                </c:ext>
              </c:extLst>
            </c:dLbl>
            <c:dLbl>
              <c:idx val="2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BFDA-4C69-8E79-A083B7EFBA29}"/>
                </c:ext>
              </c:extLst>
            </c:dLbl>
            <c:dLbl>
              <c:idx val="2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BFDA-4C69-8E79-A083B7EFBA29}"/>
                </c:ext>
              </c:extLst>
            </c:dLbl>
            <c:dLbl>
              <c:idx val="2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BFDA-4C69-8E79-A083B7EFBA29}"/>
                </c:ext>
              </c:extLst>
            </c:dLbl>
            <c:dLbl>
              <c:idx val="2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5-BFDA-4C69-8E79-A083B7EFBA29}"/>
                </c:ext>
              </c:extLst>
            </c:dLbl>
            <c:dLbl>
              <c:idx val="2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6-BFDA-4C69-8E79-A083B7EFBA29}"/>
                </c:ext>
              </c:extLst>
            </c:dLbl>
            <c:dLbl>
              <c:idx val="3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7-BFDA-4C69-8E79-A083B7EFBA29}"/>
                </c:ext>
              </c:extLst>
            </c:dLbl>
            <c:dLbl>
              <c:idx val="3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8-BFDA-4C69-8E79-A083B7EFBA29}"/>
                </c:ext>
              </c:extLst>
            </c:dLbl>
            <c:dLbl>
              <c:idx val="3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9-BFDA-4C69-8E79-A083B7EFBA29}"/>
                </c:ext>
              </c:extLst>
            </c:dLbl>
            <c:dLbl>
              <c:idx val="3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BFDA-4C69-8E79-A083B7EFBA29}"/>
                </c:ext>
              </c:extLst>
            </c:dLbl>
            <c:dLbl>
              <c:idx val="3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B-BFDA-4C69-8E79-A083B7EFBA29}"/>
                </c:ext>
              </c:extLst>
            </c:dLbl>
            <c:dLbl>
              <c:idx val="3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C-BFDA-4C69-8E79-A083B7EFBA29}"/>
                </c:ext>
              </c:extLst>
            </c:dLbl>
            <c:dLbl>
              <c:idx val="3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D-BFDA-4C69-8E79-A083B7EFBA29}"/>
                </c:ext>
              </c:extLst>
            </c:dLbl>
            <c:dLbl>
              <c:idx val="3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BFDA-4C69-8E79-A083B7EFBA29}"/>
                </c:ext>
              </c:extLst>
            </c:dLbl>
            <c:dLbl>
              <c:idx val="3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BFDA-4C69-8E79-A083B7EFBA29}"/>
                </c:ext>
              </c:extLst>
            </c:dLbl>
            <c:dLbl>
              <c:idx val="3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BFDA-4C69-8E79-A083B7EFBA29}"/>
                </c:ext>
              </c:extLst>
            </c:dLbl>
            <c:dLbl>
              <c:idx val="4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1-BFDA-4C69-8E79-A083B7EFBA29}"/>
                </c:ext>
              </c:extLst>
            </c:dLbl>
            <c:dLbl>
              <c:idx val="4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BFDA-4C69-8E79-A083B7EFBA29}"/>
                </c:ext>
              </c:extLst>
            </c:dLbl>
            <c:dLbl>
              <c:idx val="4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BFDA-4C69-8E79-A083B7EFBA29}"/>
                </c:ext>
              </c:extLst>
            </c:dLbl>
            <c:dLbl>
              <c:idx val="4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BFDA-4C69-8E79-A083B7EFBA29}"/>
                </c:ext>
              </c:extLst>
            </c:dLbl>
            <c:dLbl>
              <c:idx val="4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BFDA-4C69-8E79-A083B7EFBA29}"/>
                </c:ext>
              </c:extLst>
            </c:dLbl>
            <c:dLbl>
              <c:idx val="4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BFDA-4C69-8E79-A083B7EFBA29}"/>
                </c:ext>
              </c:extLst>
            </c:dLbl>
            <c:dLbl>
              <c:idx val="4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BFDA-4C69-8E79-A083B7EFBA29}"/>
                </c:ext>
              </c:extLst>
            </c:dLbl>
            <c:dLbl>
              <c:idx val="4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BFDA-4C69-8E79-A083B7EFBA29}"/>
                </c:ext>
              </c:extLst>
            </c:dLbl>
            <c:dLbl>
              <c:idx val="4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5</c:f>
              <c:numCache>
                <c:formatCode>General</c:formatCode>
                <c:ptCount val="4"/>
                <c:pt idx="0">
                  <c:v>0.3336</c:v>
                </c:pt>
                <c:pt idx="1">
                  <c:v>0.3408</c:v>
                </c:pt>
                <c:pt idx="2">
                  <c:v>0.5357</c:v>
                </c:pt>
                <c:pt idx="3">
                  <c:v>0.4837</c:v>
                </c:pt>
              </c:numCache>
            </c:numRef>
          </c:xVal>
          <c:yVal>
            <c:numRef>
              <c:f>Sheet1!$B$2:$B$5</c:f>
              <c:numCache>
                <c:formatCode>General</c:formatCode>
                <c:ptCount val="4"/>
                <c:pt idx="0">
                  <c:v>9753.297872340425</c:v>
                </c:pt>
                <c:pt idx="1">
                  <c:v>6344.662790697675</c:v>
                </c:pt>
                <c:pt idx="2">
                  <c:v>504.1</c:v>
                </c:pt>
                <c:pt idx="3">
                  <c:v>727.3793103448277</c:v>
                </c:pt>
              </c:numCache>
            </c:numRef>
          </c:yVal>
          <c:bubbleSize>
            <c:numRef>
              <c:f>Sheet1!$C$2:$C$5</c:f>
              <c:numCache>
                <c:formatCode>General</c:formatCode>
                <c:ptCount val="4"/>
                <c:pt idx="0">
                  <c:v>579119.5173</c:v>
                </c:pt>
                <c:pt idx="1">
                  <c:v>340926.53160000005</c:v>
                </c:pt>
                <c:pt idx="2">
                  <c:v>11091.624</c:v>
                </c:pt>
                <c:pt idx="3">
                  <c:v>10323.4362</c:v>
                </c:pt>
              </c:numCache>
            </c:numRef>
          </c:bubbleSize>
          <c:bubble3D val="0"/>
          <c:extLst>
            <c:ext xmlns:c15="http://schemas.microsoft.com/office/drawing/2012/chart" uri="{02D57815-91ED-43cb-92C2-25804820EDAC}">
              <c15:datalabelsRange>
                <c15:f>Sheet1!$E$2:$E$50</c15:f>
                <c15:dlblRangeCache>
                  <c:ptCount val="49"/>
                  <c:pt idx="0">
                    <c:v>Findus Merluzzo Altro Findus Fish Bar 245GR</c:v>
                  </c:pt>
                  <c:pt idx="1">
                    <c:v>Findus Merluzzo D Alaska Chips Findus Big Burger 227GR</c:v>
                  </c:pt>
                  <c:pt idx="2">
                    <c:v>Findus Merluzzo D Alaska Standard Findus Big Burger 227GR</c:v>
                  </c:pt>
                  <c:pt idx="3">
                    <c:v>Findus Merluzzo E Spinaci Filetto Findus Croccole 300GR</c:v>
                  </c:pt>
                  <c:pt idx="4">
                    <c:v>Findus Merluzzo Filetto Findus Croccole 300GR</c:v>
                  </c:pt>
                  <c:pt idx="5">
                    <c:v>Findus Merluzzo Filetto Findus Croccole 600GR</c:v>
                  </c:pt>
                  <c:pt idx="6">
                    <c:v>Findus Merluzzo Filetto Findus Fish &amp; Crock 250GR</c:v>
                  </c:pt>
                  <c:pt idx="7">
                    <c:v>Findus Merluzzo Filetto Findus Fish Bar 240GR</c:v>
                  </c:pt>
                  <c:pt idx="8">
                    <c:v>Findus Merluzzo Semi Filetto Findus Croccole 300GR</c:v>
                  </c:pt>
                  <c:pt idx="9">
                    <c:v>Findus Merluzzo Senza Glutine Filetto Findus Croccole 250GR</c:v>
                  </c:pt>
                  <c:pt idx="10">
                    <c:v>Findus Platessa Filetto Findus Platessa 250GR</c:v>
                  </c:pt>
                  <c:pt idx="11">
                    <c:v>Findus Salmone Altro Findus Fish Bar 220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3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590AA529-7268-428E-95FB-B746929C6FB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030324D6-74C6-4B1C-B1EA-337674B8536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F0F09197-F42C-4D36-AE63-01E468BE6FD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A283FA3D-94C2-41D6-B539-5142B1498AF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F2B1A63F-4C5D-4FC7-A1E5-2BFE3CE1537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486D5314-3137-49D2-9CC2-55509DE6403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E9D2C988-9014-47B8-8DEB-597B3FAF736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5-BFDA-4C69-8E79-A083B7EFBA29}"/>
                </c:ext>
              </c:extLst>
            </c:dLbl>
            <c:dLbl>
              <c:idx val="1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BFDA-4C69-8E79-A083B7EFBA29}"/>
                </c:ext>
              </c:extLst>
            </c:dLbl>
            <c:dLbl>
              <c:idx val="1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BFDA-4C69-8E79-A083B7EFBA29}"/>
                </c:ext>
              </c:extLst>
            </c:dLbl>
            <c:dLbl>
              <c:idx val="1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BFDA-4C69-8E79-A083B7EFBA29}"/>
                </c:ext>
              </c:extLst>
            </c:dLbl>
            <c:dLbl>
              <c:idx val="1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9-BFDA-4C69-8E79-A083B7EFBA29}"/>
                </c:ext>
              </c:extLst>
            </c:dLbl>
            <c:dLbl>
              <c:idx val="1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A-BFDA-4C69-8E79-A083B7EFBA29}"/>
                </c:ext>
              </c:extLst>
            </c:dLbl>
            <c:dLbl>
              <c:idx val="1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B-BFDA-4C69-8E79-A083B7EFBA29}"/>
                </c:ext>
              </c:extLst>
            </c:dLbl>
            <c:dLbl>
              <c:idx val="1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C-BFDA-4C69-8E79-A083B7EFBA29}"/>
                </c:ext>
              </c:extLst>
            </c:dLbl>
            <c:dLbl>
              <c:idx val="2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BFDA-4C69-8E79-A083B7EFBA29}"/>
                </c:ext>
              </c:extLst>
            </c:dLbl>
            <c:dLbl>
              <c:idx val="2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BFDA-4C69-8E79-A083B7EFBA29}"/>
                </c:ext>
              </c:extLst>
            </c:dLbl>
            <c:dLbl>
              <c:idx val="2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F-BFDA-4C69-8E79-A083B7EFBA29}"/>
                </c:ext>
              </c:extLst>
            </c:dLbl>
            <c:dLbl>
              <c:idx val="2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0-BFDA-4C69-8E79-A083B7EFBA29}"/>
                </c:ext>
              </c:extLst>
            </c:dLbl>
            <c:dLbl>
              <c:idx val="2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1-BFDA-4C69-8E79-A083B7EFBA29}"/>
                </c:ext>
              </c:extLst>
            </c:dLbl>
            <c:dLbl>
              <c:idx val="2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BFDA-4C69-8E79-A083B7EFBA29}"/>
                </c:ext>
              </c:extLst>
            </c:dLbl>
            <c:dLbl>
              <c:idx val="2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BFDA-4C69-8E79-A083B7EFBA29}"/>
                </c:ext>
              </c:extLst>
            </c:dLbl>
            <c:dLbl>
              <c:idx val="2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BFDA-4C69-8E79-A083B7EFBA29}"/>
                </c:ext>
              </c:extLst>
            </c:dLbl>
            <c:dLbl>
              <c:idx val="2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5-BFDA-4C69-8E79-A083B7EFBA29}"/>
                </c:ext>
              </c:extLst>
            </c:dLbl>
            <c:dLbl>
              <c:idx val="2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6-BFDA-4C69-8E79-A083B7EFBA29}"/>
                </c:ext>
              </c:extLst>
            </c:dLbl>
            <c:dLbl>
              <c:idx val="3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7-BFDA-4C69-8E79-A083B7EFBA29}"/>
                </c:ext>
              </c:extLst>
            </c:dLbl>
            <c:dLbl>
              <c:idx val="3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8-BFDA-4C69-8E79-A083B7EFBA29}"/>
                </c:ext>
              </c:extLst>
            </c:dLbl>
            <c:dLbl>
              <c:idx val="3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9-BFDA-4C69-8E79-A083B7EFBA29}"/>
                </c:ext>
              </c:extLst>
            </c:dLbl>
            <c:dLbl>
              <c:idx val="3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BFDA-4C69-8E79-A083B7EFBA29}"/>
                </c:ext>
              </c:extLst>
            </c:dLbl>
            <c:dLbl>
              <c:idx val="3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B-BFDA-4C69-8E79-A083B7EFBA29}"/>
                </c:ext>
              </c:extLst>
            </c:dLbl>
            <c:dLbl>
              <c:idx val="3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C-BFDA-4C69-8E79-A083B7EFBA29}"/>
                </c:ext>
              </c:extLst>
            </c:dLbl>
            <c:dLbl>
              <c:idx val="3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D-BFDA-4C69-8E79-A083B7EFBA29}"/>
                </c:ext>
              </c:extLst>
            </c:dLbl>
            <c:dLbl>
              <c:idx val="3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BFDA-4C69-8E79-A083B7EFBA29}"/>
                </c:ext>
              </c:extLst>
            </c:dLbl>
            <c:dLbl>
              <c:idx val="3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BFDA-4C69-8E79-A083B7EFBA29}"/>
                </c:ext>
              </c:extLst>
            </c:dLbl>
            <c:dLbl>
              <c:idx val="3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BFDA-4C69-8E79-A083B7EFBA29}"/>
                </c:ext>
              </c:extLst>
            </c:dLbl>
            <c:dLbl>
              <c:idx val="4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1-BFDA-4C69-8E79-A083B7EFBA29}"/>
                </c:ext>
              </c:extLst>
            </c:dLbl>
            <c:dLbl>
              <c:idx val="4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BFDA-4C69-8E79-A083B7EFBA29}"/>
                </c:ext>
              </c:extLst>
            </c:dLbl>
            <c:dLbl>
              <c:idx val="4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BFDA-4C69-8E79-A083B7EFBA29}"/>
                </c:ext>
              </c:extLst>
            </c:dLbl>
            <c:dLbl>
              <c:idx val="4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BFDA-4C69-8E79-A083B7EFBA29}"/>
                </c:ext>
              </c:extLst>
            </c:dLbl>
            <c:dLbl>
              <c:idx val="4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BFDA-4C69-8E79-A083B7EFBA29}"/>
                </c:ext>
              </c:extLst>
            </c:dLbl>
            <c:dLbl>
              <c:idx val="4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BFDA-4C69-8E79-A083B7EFBA29}"/>
                </c:ext>
              </c:extLst>
            </c:dLbl>
            <c:dLbl>
              <c:idx val="4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BFDA-4C69-8E79-A083B7EFBA29}"/>
                </c:ext>
              </c:extLst>
            </c:dLbl>
            <c:dLbl>
              <c:idx val="4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BFDA-4C69-8E79-A083B7EFBA29}"/>
                </c:ext>
              </c:extLst>
            </c:dLbl>
            <c:dLbl>
              <c:idx val="4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3</c:f>
              <c:numCache>
                <c:formatCode>General</c:formatCode>
                <c:ptCount val="2"/>
                <c:pt idx="0">
                  <c:v>0.4264</c:v>
                </c:pt>
                <c:pt idx="1">
                  <c:v>0.4898</c:v>
                </c:pt>
              </c:numCache>
            </c:numRef>
          </c:xVal>
          <c:yVal>
            <c:numRef>
              <c:f>Sheet1!$B$2:$B$3</c:f>
              <c:numCache>
                <c:formatCode>General</c:formatCode>
                <c:ptCount val="2"/>
                <c:pt idx="0">
                  <c:v>15549.142857142855</c:v>
                </c:pt>
                <c:pt idx="1">
                  <c:v>4525.529411764706</c:v>
                </c:pt>
              </c:numCache>
            </c:numRef>
          </c:yVal>
          <c:bubbleSize>
            <c:numRef>
              <c:f>Sheet1!$C$2:$C$3</c:f>
              <c:numCache>
                <c:formatCode>General</c:formatCode>
                <c:ptCount val="2"/>
                <c:pt idx="0">
                  <c:v>473422.0262</c:v>
                </c:pt>
                <c:pt idx="1">
                  <c:v>37207.6572</c:v>
                </c:pt>
              </c:numCache>
            </c:numRef>
          </c:bubbleSize>
          <c:bubble3D val="0"/>
          <c:extLst>
            <c:ext xmlns:c15="http://schemas.microsoft.com/office/drawing/2012/chart" uri="{02D57815-91ED-43cb-92C2-25804820EDAC}">
              <c15:datalabelsRange>
                <c15:f>Sheet1!$E$2:$E$50</c15:f>
                <c15:dlblRangeCache>
                  <c:ptCount val="49"/>
                  <c:pt idx="0">
                    <c:v>Findus Merluzzo Altro Findus Fish Bar 245GR</c:v>
                  </c:pt>
                  <c:pt idx="1">
                    <c:v>Findus Merluzzo D Alaska Chips Findus Big Burger 227GR</c:v>
                  </c:pt>
                  <c:pt idx="2">
                    <c:v>Findus Merluzzo D Alaska Standard Findus Big Burger 227GR</c:v>
                  </c:pt>
                  <c:pt idx="3">
                    <c:v>Findus Merluzzo E Spinaci Filetto Findus Croccole 300GR</c:v>
                  </c:pt>
                  <c:pt idx="4">
                    <c:v>Findus Merluzzo Filetto Findus Croccole 300GR</c:v>
                  </c:pt>
                  <c:pt idx="5">
                    <c:v>Findus Merluzzo Filetto Findus Croccole 600GR</c:v>
                  </c:pt>
                  <c:pt idx="6">
                    <c:v>Findus Merluzzo Filetto Findus Fish &amp; Crock 250GR</c:v>
                  </c:pt>
                  <c:pt idx="7">
                    <c:v>Findus Merluzzo Filetto Findus Fish Bar 240GR</c:v>
                  </c:pt>
                  <c:pt idx="8">
                    <c:v>Findus Merluzzo Semi Filetto Findus Croccole 300GR</c:v>
                  </c:pt>
                  <c:pt idx="9">
                    <c:v>Findus Merluzzo Senza Glutine Filetto Findus Croccole 250GR</c:v>
                  </c:pt>
                  <c:pt idx="10">
                    <c:v>Findus Platessa Filetto Findus Platessa 250GR</c:v>
                  </c:pt>
                  <c:pt idx="11">
                    <c:v>Findus Salmone Altro Findus Fish Bar 220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3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DC3597EB-CECC-4E5A-8035-9A9C30AFB17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DAD3BEFC-A1B2-4881-928D-C7E31986D11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209B53FF-A13B-4ED8-B94D-CE1A2005D8A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9F59B9B6-0572-4F21-9D90-5CB8EAB8333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7E91CE82-6A26-45BD-B16E-A4AC8710F4F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9DF6ED28-3899-4EC0-B3C7-DD45781ED12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49CB77D9-E5DF-4618-ABB6-29AD2CB2195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5-BFDA-4C69-8E79-A083B7EFBA29}"/>
                </c:ext>
              </c:extLst>
            </c:dLbl>
            <c:dLbl>
              <c:idx val="1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BFDA-4C69-8E79-A083B7EFBA29}"/>
                </c:ext>
              </c:extLst>
            </c:dLbl>
            <c:dLbl>
              <c:idx val="1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BFDA-4C69-8E79-A083B7EFBA29}"/>
                </c:ext>
              </c:extLst>
            </c:dLbl>
            <c:dLbl>
              <c:idx val="1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BFDA-4C69-8E79-A083B7EFBA29}"/>
                </c:ext>
              </c:extLst>
            </c:dLbl>
            <c:dLbl>
              <c:idx val="1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9-BFDA-4C69-8E79-A083B7EFBA29}"/>
                </c:ext>
              </c:extLst>
            </c:dLbl>
            <c:dLbl>
              <c:idx val="1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A-BFDA-4C69-8E79-A083B7EFBA29}"/>
                </c:ext>
              </c:extLst>
            </c:dLbl>
            <c:dLbl>
              <c:idx val="1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B-BFDA-4C69-8E79-A083B7EFBA29}"/>
                </c:ext>
              </c:extLst>
            </c:dLbl>
            <c:dLbl>
              <c:idx val="1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C-BFDA-4C69-8E79-A083B7EFBA29}"/>
                </c:ext>
              </c:extLst>
            </c:dLbl>
            <c:dLbl>
              <c:idx val="2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BFDA-4C69-8E79-A083B7EFBA29}"/>
                </c:ext>
              </c:extLst>
            </c:dLbl>
            <c:dLbl>
              <c:idx val="2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BFDA-4C69-8E79-A083B7EFBA29}"/>
                </c:ext>
              </c:extLst>
            </c:dLbl>
            <c:dLbl>
              <c:idx val="2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F-BFDA-4C69-8E79-A083B7EFBA29}"/>
                </c:ext>
              </c:extLst>
            </c:dLbl>
            <c:dLbl>
              <c:idx val="2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0-BFDA-4C69-8E79-A083B7EFBA29}"/>
                </c:ext>
              </c:extLst>
            </c:dLbl>
            <c:dLbl>
              <c:idx val="2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1-BFDA-4C69-8E79-A083B7EFBA29}"/>
                </c:ext>
              </c:extLst>
            </c:dLbl>
            <c:dLbl>
              <c:idx val="2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BFDA-4C69-8E79-A083B7EFBA29}"/>
                </c:ext>
              </c:extLst>
            </c:dLbl>
            <c:dLbl>
              <c:idx val="2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BFDA-4C69-8E79-A083B7EFBA29}"/>
                </c:ext>
              </c:extLst>
            </c:dLbl>
            <c:dLbl>
              <c:idx val="2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BFDA-4C69-8E79-A083B7EFBA29}"/>
                </c:ext>
              </c:extLst>
            </c:dLbl>
            <c:dLbl>
              <c:idx val="2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5-BFDA-4C69-8E79-A083B7EFBA29}"/>
                </c:ext>
              </c:extLst>
            </c:dLbl>
            <c:dLbl>
              <c:idx val="2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6-BFDA-4C69-8E79-A083B7EFBA29}"/>
                </c:ext>
              </c:extLst>
            </c:dLbl>
            <c:dLbl>
              <c:idx val="3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7-BFDA-4C69-8E79-A083B7EFBA29}"/>
                </c:ext>
              </c:extLst>
            </c:dLbl>
            <c:dLbl>
              <c:idx val="3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8-BFDA-4C69-8E79-A083B7EFBA29}"/>
                </c:ext>
              </c:extLst>
            </c:dLbl>
            <c:dLbl>
              <c:idx val="3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9-BFDA-4C69-8E79-A083B7EFBA29}"/>
                </c:ext>
              </c:extLst>
            </c:dLbl>
            <c:dLbl>
              <c:idx val="3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BFDA-4C69-8E79-A083B7EFBA29}"/>
                </c:ext>
              </c:extLst>
            </c:dLbl>
            <c:dLbl>
              <c:idx val="3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B-BFDA-4C69-8E79-A083B7EFBA29}"/>
                </c:ext>
              </c:extLst>
            </c:dLbl>
            <c:dLbl>
              <c:idx val="3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C-BFDA-4C69-8E79-A083B7EFBA29}"/>
                </c:ext>
              </c:extLst>
            </c:dLbl>
            <c:dLbl>
              <c:idx val="3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D-BFDA-4C69-8E79-A083B7EFBA29}"/>
                </c:ext>
              </c:extLst>
            </c:dLbl>
            <c:dLbl>
              <c:idx val="3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BFDA-4C69-8E79-A083B7EFBA29}"/>
                </c:ext>
              </c:extLst>
            </c:dLbl>
            <c:dLbl>
              <c:idx val="3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BFDA-4C69-8E79-A083B7EFBA29}"/>
                </c:ext>
              </c:extLst>
            </c:dLbl>
            <c:dLbl>
              <c:idx val="3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BFDA-4C69-8E79-A083B7EFBA29}"/>
                </c:ext>
              </c:extLst>
            </c:dLbl>
            <c:dLbl>
              <c:idx val="4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1-BFDA-4C69-8E79-A083B7EFBA29}"/>
                </c:ext>
              </c:extLst>
            </c:dLbl>
            <c:dLbl>
              <c:idx val="4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BFDA-4C69-8E79-A083B7EFBA29}"/>
                </c:ext>
              </c:extLst>
            </c:dLbl>
            <c:dLbl>
              <c:idx val="4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BFDA-4C69-8E79-A083B7EFBA29}"/>
                </c:ext>
              </c:extLst>
            </c:dLbl>
            <c:dLbl>
              <c:idx val="4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BFDA-4C69-8E79-A083B7EFBA29}"/>
                </c:ext>
              </c:extLst>
            </c:dLbl>
            <c:dLbl>
              <c:idx val="4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BFDA-4C69-8E79-A083B7EFBA29}"/>
                </c:ext>
              </c:extLst>
            </c:dLbl>
            <c:dLbl>
              <c:idx val="4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BFDA-4C69-8E79-A083B7EFBA29}"/>
                </c:ext>
              </c:extLst>
            </c:dLbl>
            <c:dLbl>
              <c:idx val="4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BFDA-4C69-8E79-A083B7EFBA29}"/>
                </c:ext>
              </c:extLst>
            </c:dLbl>
            <c:dLbl>
              <c:idx val="4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BFDA-4C69-8E79-A083B7EFBA29}"/>
                </c:ext>
              </c:extLst>
            </c:dLbl>
            <c:dLbl>
              <c:idx val="4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6</c:f>
              <c:numCache>
                <c:formatCode>General</c:formatCode>
                <c:ptCount val="5"/>
                <c:pt idx="0">
                  <c:v>0.3962</c:v>
                </c:pt>
                <c:pt idx="1">
                  <c:v>0.4039</c:v>
                </c:pt>
                <c:pt idx="2">
                  <c:v>0.417</c:v>
                </c:pt>
                <c:pt idx="3">
                  <c:v>0.2555</c:v>
                </c:pt>
                <c:pt idx="4">
                  <c:v>0.2446</c:v>
                </c:pt>
              </c:numCache>
            </c:numRef>
          </c:xVal>
          <c:yVal>
            <c:numRef>
              <c:f>Sheet1!$B$2:$B$6</c:f>
              <c:numCache>
                <c:formatCode>General</c:formatCode>
                <c:ptCount val="5"/>
                <c:pt idx="0">
                  <c:v>16275.387755102041</c:v>
                </c:pt>
                <c:pt idx="1">
                  <c:v>5635.011111111111</c:v>
                </c:pt>
                <c:pt idx="2">
                  <c:v>10927.284210526315</c:v>
                </c:pt>
                <c:pt idx="3">
                  <c:v>574.225</c:v>
                </c:pt>
                <c:pt idx="4">
                  <c:v>553.0857142857143</c:v>
                </c:pt>
              </c:numCache>
            </c:numRef>
          </c:yVal>
          <c:bubbleSize>
            <c:numRef>
              <c:f>Sheet1!$C$2:$C$6</c:f>
              <c:numCache>
                <c:formatCode>General</c:formatCode>
                <c:ptCount val="5"/>
                <c:pt idx="0">
                  <c:v>912804.1278000001</c:v>
                </c:pt>
                <c:pt idx="1">
                  <c:v>286561.2592</c:v>
                </c:pt>
                <c:pt idx="2">
                  <c:v>573696.2559</c:v>
                </c:pt>
                <c:pt idx="3">
                  <c:v>32418.2479</c:v>
                </c:pt>
                <c:pt idx="4">
                  <c:v>27723.0184</c:v>
                </c:pt>
              </c:numCache>
            </c:numRef>
          </c:bubbleSize>
          <c:bubble3D val="0"/>
          <c:extLst>
            <c:ext xmlns:c15="http://schemas.microsoft.com/office/drawing/2012/chart" uri="{02D57815-91ED-43cb-92C2-25804820EDAC}">
              <c15:datalabelsRange>
                <c15:f>Sheet1!$E$2:$E$50</c15:f>
                <c15:dlblRangeCache>
                  <c:ptCount val="49"/>
                  <c:pt idx="0">
                    <c:v>Findus Merluzzo Altro Findus Fish Bar 245GR</c:v>
                  </c:pt>
                  <c:pt idx="1">
                    <c:v>Findus Merluzzo D Alaska Chips Findus Big Burger 227GR</c:v>
                  </c:pt>
                  <c:pt idx="2">
                    <c:v>Findus Merluzzo D Alaska Standard Findus Big Burger 227GR</c:v>
                  </c:pt>
                  <c:pt idx="3">
                    <c:v>Findus Merluzzo E Spinaci Filetto Findus Croccole 300GR</c:v>
                  </c:pt>
                  <c:pt idx="4">
                    <c:v>Findus Merluzzo Filetto Findus Croccole 300GR</c:v>
                  </c:pt>
                  <c:pt idx="5">
                    <c:v>Findus Merluzzo Filetto Findus Croccole 600GR</c:v>
                  </c:pt>
                  <c:pt idx="6">
                    <c:v>Findus Merluzzo Filetto Findus Fish &amp; Crock 250GR</c:v>
                  </c:pt>
                  <c:pt idx="7">
                    <c:v>Findus Merluzzo Filetto Findus Fish Bar 240GR</c:v>
                  </c:pt>
                  <c:pt idx="8">
                    <c:v>Findus Merluzzo Semi Filetto Findus Croccole 300GR</c:v>
                  </c:pt>
                  <c:pt idx="9">
                    <c:v>Findus Merluzzo Senza Glutine Filetto Findus Croccole 250GR</c:v>
                  </c:pt>
                  <c:pt idx="10">
                    <c:v>Findus Platessa Filetto Findus Platessa 250GR</c:v>
                  </c:pt>
                  <c:pt idx="11">
                    <c:v>Findus Salmone Altro Findus Fish Bar 220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3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61498D87-C1A0-4E4D-85EC-08CB3E1C951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D0F70481-EB19-48A8-A14C-A0061498D13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7C5C62B9-CA82-4117-A068-2CC3765E2A4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DB9CCFC1-FBD5-4DE5-B189-F8D3A7CDF2B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120C96C6-9C89-4449-A881-3D9E0C38791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8653E636-83F7-4700-A2FE-788F2EFC2B9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C35A66F4-767C-41D4-A65C-837EDE3BE6A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5-BFDA-4C69-8E79-A083B7EFBA29}"/>
                </c:ext>
              </c:extLst>
            </c:dLbl>
            <c:dLbl>
              <c:idx val="1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BFDA-4C69-8E79-A083B7EFBA29}"/>
                </c:ext>
              </c:extLst>
            </c:dLbl>
            <c:dLbl>
              <c:idx val="1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BFDA-4C69-8E79-A083B7EFBA29}"/>
                </c:ext>
              </c:extLst>
            </c:dLbl>
            <c:dLbl>
              <c:idx val="1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BFDA-4C69-8E79-A083B7EFBA29}"/>
                </c:ext>
              </c:extLst>
            </c:dLbl>
            <c:dLbl>
              <c:idx val="1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9-BFDA-4C69-8E79-A083B7EFBA29}"/>
                </c:ext>
              </c:extLst>
            </c:dLbl>
            <c:dLbl>
              <c:idx val="1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A-BFDA-4C69-8E79-A083B7EFBA29}"/>
                </c:ext>
              </c:extLst>
            </c:dLbl>
            <c:dLbl>
              <c:idx val="1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B-BFDA-4C69-8E79-A083B7EFBA29}"/>
                </c:ext>
              </c:extLst>
            </c:dLbl>
            <c:dLbl>
              <c:idx val="1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C-BFDA-4C69-8E79-A083B7EFBA29}"/>
                </c:ext>
              </c:extLst>
            </c:dLbl>
            <c:dLbl>
              <c:idx val="2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BFDA-4C69-8E79-A083B7EFBA29}"/>
                </c:ext>
              </c:extLst>
            </c:dLbl>
            <c:dLbl>
              <c:idx val="2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BFDA-4C69-8E79-A083B7EFBA29}"/>
                </c:ext>
              </c:extLst>
            </c:dLbl>
            <c:dLbl>
              <c:idx val="2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F-BFDA-4C69-8E79-A083B7EFBA29}"/>
                </c:ext>
              </c:extLst>
            </c:dLbl>
            <c:dLbl>
              <c:idx val="2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0-BFDA-4C69-8E79-A083B7EFBA29}"/>
                </c:ext>
              </c:extLst>
            </c:dLbl>
            <c:dLbl>
              <c:idx val="2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1-BFDA-4C69-8E79-A083B7EFBA29}"/>
                </c:ext>
              </c:extLst>
            </c:dLbl>
            <c:dLbl>
              <c:idx val="2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BFDA-4C69-8E79-A083B7EFBA29}"/>
                </c:ext>
              </c:extLst>
            </c:dLbl>
            <c:dLbl>
              <c:idx val="2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BFDA-4C69-8E79-A083B7EFBA29}"/>
                </c:ext>
              </c:extLst>
            </c:dLbl>
            <c:dLbl>
              <c:idx val="2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BFDA-4C69-8E79-A083B7EFBA29}"/>
                </c:ext>
              </c:extLst>
            </c:dLbl>
            <c:dLbl>
              <c:idx val="2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5-BFDA-4C69-8E79-A083B7EFBA29}"/>
                </c:ext>
              </c:extLst>
            </c:dLbl>
            <c:dLbl>
              <c:idx val="2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6-BFDA-4C69-8E79-A083B7EFBA29}"/>
                </c:ext>
              </c:extLst>
            </c:dLbl>
            <c:dLbl>
              <c:idx val="3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7-BFDA-4C69-8E79-A083B7EFBA29}"/>
                </c:ext>
              </c:extLst>
            </c:dLbl>
            <c:dLbl>
              <c:idx val="3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8-BFDA-4C69-8E79-A083B7EFBA29}"/>
                </c:ext>
              </c:extLst>
            </c:dLbl>
            <c:dLbl>
              <c:idx val="3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9-BFDA-4C69-8E79-A083B7EFBA29}"/>
                </c:ext>
              </c:extLst>
            </c:dLbl>
            <c:dLbl>
              <c:idx val="3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BFDA-4C69-8E79-A083B7EFBA29}"/>
                </c:ext>
              </c:extLst>
            </c:dLbl>
            <c:dLbl>
              <c:idx val="3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B-BFDA-4C69-8E79-A083B7EFBA29}"/>
                </c:ext>
              </c:extLst>
            </c:dLbl>
            <c:dLbl>
              <c:idx val="3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C-BFDA-4C69-8E79-A083B7EFBA29}"/>
                </c:ext>
              </c:extLst>
            </c:dLbl>
            <c:dLbl>
              <c:idx val="3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D-BFDA-4C69-8E79-A083B7EFBA29}"/>
                </c:ext>
              </c:extLst>
            </c:dLbl>
            <c:dLbl>
              <c:idx val="3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BFDA-4C69-8E79-A083B7EFBA29}"/>
                </c:ext>
              </c:extLst>
            </c:dLbl>
            <c:dLbl>
              <c:idx val="3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BFDA-4C69-8E79-A083B7EFBA29}"/>
                </c:ext>
              </c:extLst>
            </c:dLbl>
            <c:dLbl>
              <c:idx val="3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BFDA-4C69-8E79-A083B7EFBA29}"/>
                </c:ext>
              </c:extLst>
            </c:dLbl>
            <c:dLbl>
              <c:idx val="4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1-BFDA-4C69-8E79-A083B7EFBA29}"/>
                </c:ext>
              </c:extLst>
            </c:dLbl>
            <c:dLbl>
              <c:idx val="4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BFDA-4C69-8E79-A083B7EFBA29}"/>
                </c:ext>
              </c:extLst>
            </c:dLbl>
            <c:dLbl>
              <c:idx val="4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BFDA-4C69-8E79-A083B7EFBA29}"/>
                </c:ext>
              </c:extLst>
            </c:dLbl>
            <c:dLbl>
              <c:idx val="4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BFDA-4C69-8E79-A083B7EFBA29}"/>
                </c:ext>
              </c:extLst>
            </c:dLbl>
            <c:dLbl>
              <c:idx val="4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BFDA-4C69-8E79-A083B7EFBA29}"/>
                </c:ext>
              </c:extLst>
            </c:dLbl>
            <c:dLbl>
              <c:idx val="4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BFDA-4C69-8E79-A083B7EFBA29}"/>
                </c:ext>
              </c:extLst>
            </c:dLbl>
            <c:dLbl>
              <c:idx val="4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BFDA-4C69-8E79-A083B7EFBA29}"/>
                </c:ext>
              </c:extLst>
            </c:dLbl>
            <c:dLbl>
              <c:idx val="4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BFDA-4C69-8E79-A083B7EFBA29}"/>
                </c:ext>
              </c:extLst>
            </c:dLbl>
            <c:dLbl>
              <c:idx val="4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6</c:f>
              <c:numCache>
                <c:formatCode>General</c:formatCode>
                <c:ptCount val="5"/>
                <c:pt idx="0">
                  <c:v>0.4025</c:v>
                </c:pt>
                <c:pt idx="1">
                  <c:v>0.404</c:v>
                </c:pt>
                <c:pt idx="2">
                  <c:v>0.4194</c:v>
                </c:pt>
                <c:pt idx="3">
                  <c:v>0.2552</c:v>
                </c:pt>
                <c:pt idx="4">
                  <c:v>0.2445</c:v>
                </c:pt>
              </c:numCache>
            </c:numRef>
          </c:xVal>
          <c:yVal>
            <c:numRef>
              <c:f>Sheet1!$B$2:$B$6</c:f>
              <c:numCache>
                <c:formatCode>General</c:formatCode>
                <c:ptCount val="5"/>
                <c:pt idx="0">
                  <c:v>3316.959595959596</c:v>
                </c:pt>
                <c:pt idx="1">
                  <c:v>1040.5408163265306</c:v>
                </c:pt>
                <c:pt idx="2">
                  <c:v>2060.5151515151515</c:v>
                </c:pt>
                <c:pt idx="3">
                  <c:v>100.04166666666667</c:v>
                </c:pt>
                <c:pt idx="4">
                  <c:v>83.18604651162791</c:v>
                </c:pt>
              </c:numCache>
            </c:numRef>
          </c:yVal>
          <c:bubbleSize>
            <c:numRef>
              <c:f>Sheet1!$C$2:$C$6</c:f>
              <c:numCache>
                <c:formatCode>General</c:formatCode>
                <c:ptCount val="5"/>
                <c:pt idx="0">
                  <c:v>185965.56900000002</c:v>
                </c:pt>
                <c:pt idx="1">
                  <c:v>57608.7796</c:v>
                </c:pt>
                <c:pt idx="2">
                  <c:v>112255.39539999998</c:v>
                </c:pt>
                <c:pt idx="3">
                  <c:v>6780.0874</c:v>
                </c:pt>
                <c:pt idx="4">
                  <c:v>5123.0648</c:v>
                </c:pt>
              </c:numCache>
            </c:numRef>
          </c:bubbleSize>
          <c:bubble3D val="0"/>
          <c:extLst>
            <c:ext xmlns:c15="http://schemas.microsoft.com/office/drawing/2012/chart" uri="{02D57815-91ED-43cb-92C2-25804820EDAC}">
              <c15:datalabelsRange>
                <c15:f>Sheet1!$E$2:$E$50</c15:f>
                <c15:dlblRangeCache>
                  <c:ptCount val="49"/>
                  <c:pt idx="0">
                    <c:v>Findus Merluzzo Altro Findus Fish Bar 245GR</c:v>
                  </c:pt>
                  <c:pt idx="1">
                    <c:v>Findus Merluzzo D Alaska Chips Findus Big Burger 227GR</c:v>
                  </c:pt>
                  <c:pt idx="2">
                    <c:v>Findus Merluzzo D Alaska Standard Findus Big Burger 227GR</c:v>
                  </c:pt>
                  <c:pt idx="3">
                    <c:v>Findus Merluzzo E Spinaci Filetto Findus Croccole 300GR</c:v>
                  </c:pt>
                  <c:pt idx="4">
                    <c:v>Findus Merluzzo Filetto Findus Croccole 300GR</c:v>
                  </c:pt>
                  <c:pt idx="5">
                    <c:v>Findus Merluzzo Filetto Findus Croccole 600GR</c:v>
                  </c:pt>
                  <c:pt idx="6">
                    <c:v>Findus Merluzzo Filetto Findus Fish &amp; Crock 250GR</c:v>
                  </c:pt>
                  <c:pt idx="7">
                    <c:v>Findus Merluzzo Filetto Findus Fish Bar 240GR</c:v>
                  </c:pt>
                  <c:pt idx="8">
                    <c:v>Findus Merluzzo Semi Filetto Findus Croccole 300GR</c:v>
                  </c:pt>
                  <c:pt idx="9">
                    <c:v>Findus Merluzzo Senza Glutine Filetto Findus Croccole 250GR</c:v>
                  </c:pt>
                  <c:pt idx="10">
                    <c:v>Findus Platessa Filetto Findus Platessa 250GR</c:v>
                  </c:pt>
                  <c:pt idx="11">
                    <c:v>Findus Salmone Altro Findus Fish Bar 220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3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C2C21B75-9ACE-48BA-912A-893E144E283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E6CA1653-F641-4302-9F3A-82EED3C9F6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C462FE3A-AB9A-423A-AAE5-841D72C7909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06971525-8442-4932-894C-4DCD3729AC1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E5F770F1-B3EA-4168-B28E-8A39211AE0E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6420C60C-952C-437A-8FF3-45BDC034603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542ED9F0-0932-4DAB-8824-A40CB21381A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5-BFDA-4C69-8E79-A083B7EFBA29}"/>
                </c:ext>
              </c:extLst>
            </c:dLbl>
            <c:dLbl>
              <c:idx val="1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BFDA-4C69-8E79-A083B7EFBA29}"/>
                </c:ext>
              </c:extLst>
            </c:dLbl>
            <c:dLbl>
              <c:idx val="1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BFDA-4C69-8E79-A083B7EFBA29}"/>
                </c:ext>
              </c:extLst>
            </c:dLbl>
            <c:dLbl>
              <c:idx val="1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BFDA-4C69-8E79-A083B7EFBA29}"/>
                </c:ext>
              </c:extLst>
            </c:dLbl>
            <c:dLbl>
              <c:idx val="1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9-BFDA-4C69-8E79-A083B7EFBA29}"/>
                </c:ext>
              </c:extLst>
            </c:dLbl>
            <c:dLbl>
              <c:idx val="1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A-BFDA-4C69-8E79-A083B7EFBA29}"/>
                </c:ext>
              </c:extLst>
            </c:dLbl>
            <c:dLbl>
              <c:idx val="1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B-BFDA-4C69-8E79-A083B7EFBA29}"/>
                </c:ext>
              </c:extLst>
            </c:dLbl>
            <c:dLbl>
              <c:idx val="1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C-BFDA-4C69-8E79-A083B7EFBA29}"/>
                </c:ext>
              </c:extLst>
            </c:dLbl>
            <c:dLbl>
              <c:idx val="2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BFDA-4C69-8E79-A083B7EFBA29}"/>
                </c:ext>
              </c:extLst>
            </c:dLbl>
            <c:dLbl>
              <c:idx val="2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BFDA-4C69-8E79-A083B7EFBA29}"/>
                </c:ext>
              </c:extLst>
            </c:dLbl>
            <c:dLbl>
              <c:idx val="2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F-BFDA-4C69-8E79-A083B7EFBA29}"/>
                </c:ext>
              </c:extLst>
            </c:dLbl>
            <c:dLbl>
              <c:idx val="2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0-BFDA-4C69-8E79-A083B7EFBA29}"/>
                </c:ext>
              </c:extLst>
            </c:dLbl>
            <c:dLbl>
              <c:idx val="2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1-BFDA-4C69-8E79-A083B7EFBA29}"/>
                </c:ext>
              </c:extLst>
            </c:dLbl>
            <c:dLbl>
              <c:idx val="2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BFDA-4C69-8E79-A083B7EFBA29}"/>
                </c:ext>
              </c:extLst>
            </c:dLbl>
            <c:dLbl>
              <c:idx val="2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BFDA-4C69-8E79-A083B7EFBA29}"/>
                </c:ext>
              </c:extLst>
            </c:dLbl>
            <c:dLbl>
              <c:idx val="2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BFDA-4C69-8E79-A083B7EFBA29}"/>
                </c:ext>
              </c:extLst>
            </c:dLbl>
            <c:dLbl>
              <c:idx val="2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5-BFDA-4C69-8E79-A083B7EFBA29}"/>
                </c:ext>
              </c:extLst>
            </c:dLbl>
            <c:dLbl>
              <c:idx val="2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6-BFDA-4C69-8E79-A083B7EFBA29}"/>
                </c:ext>
              </c:extLst>
            </c:dLbl>
            <c:dLbl>
              <c:idx val="3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7-BFDA-4C69-8E79-A083B7EFBA29}"/>
                </c:ext>
              </c:extLst>
            </c:dLbl>
            <c:dLbl>
              <c:idx val="3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8-BFDA-4C69-8E79-A083B7EFBA29}"/>
                </c:ext>
              </c:extLst>
            </c:dLbl>
            <c:dLbl>
              <c:idx val="3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9-BFDA-4C69-8E79-A083B7EFBA29}"/>
                </c:ext>
              </c:extLst>
            </c:dLbl>
            <c:dLbl>
              <c:idx val="3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BFDA-4C69-8E79-A083B7EFBA29}"/>
                </c:ext>
              </c:extLst>
            </c:dLbl>
            <c:dLbl>
              <c:idx val="3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B-BFDA-4C69-8E79-A083B7EFBA29}"/>
                </c:ext>
              </c:extLst>
            </c:dLbl>
            <c:dLbl>
              <c:idx val="3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C-BFDA-4C69-8E79-A083B7EFBA29}"/>
                </c:ext>
              </c:extLst>
            </c:dLbl>
            <c:dLbl>
              <c:idx val="3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D-BFDA-4C69-8E79-A083B7EFBA29}"/>
                </c:ext>
              </c:extLst>
            </c:dLbl>
            <c:dLbl>
              <c:idx val="3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BFDA-4C69-8E79-A083B7EFBA29}"/>
                </c:ext>
              </c:extLst>
            </c:dLbl>
            <c:dLbl>
              <c:idx val="3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BFDA-4C69-8E79-A083B7EFBA29}"/>
                </c:ext>
              </c:extLst>
            </c:dLbl>
            <c:dLbl>
              <c:idx val="3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BFDA-4C69-8E79-A083B7EFBA29}"/>
                </c:ext>
              </c:extLst>
            </c:dLbl>
            <c:dLbl>
              <c:idx val="4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1-BFDA-4C69-8E79-A083B7EFBA29}"/>
                </c:ext>
              </c:extLst>
            </c:dLbl>
            <c:dLbl>
              <c:idx val="4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BFDA-4C69-8E79-A083B7EFBA29}"/>
                </c:ext>
              </c:extLst>
            </c:dLbl>
            <c:dLbl>
              <c:idx val="4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BFDA-4C69-8E79-A083B7EFBA29}"/>
                </c:ext>
              </c:extLst>
            </c:dLbl>
            <c:dLbl>
              <c:idx val="4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BFDA-4C69-8E79-A083B7EFBA29}"/>
                </c:ext>
              </c:extLst>
            </c:dLbl>
            <c:dLbl>
              <c:idx val="4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BFDA-4C69-8E79-A083B7EFBA29}"/>
                </c:ext>
              </c:extLst>
            </c:dLbl>
            <c:dLbl>
              <c:idx val="4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BFDA-4C69-8E79-A083B7EFBA29}"/>
                </c:ext>
              </c:extLst>
            </c:dLbl>
            <c:dLbl>
              <c:idx val="4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BFDA-4C69-8E79-A083B7EFBA29}"/>
                </c:ext>
              </c:extLst>
            </c:dLbl>
            <c:dLbl>
              <c:idx val="4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BFDA-4C69-8E79-A083B7EFBA29}"/>
                </c:ext>
              </c:extLst>
            </c:dLbl>
            <c:dLbl>
              <c:idx val="4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6</c:f>
              <c:numCache>
                <c:formatCode>General</c:formatCode>
                <c:ptCount val="5"/>
                <c:pt idx="0">
                  <c:v>0.4397</c:v>
                </c:pt>
                <c:pt idx="1">
                  <c:v>0.4296</c:v>
                </c:pt>
                <c:pt idx="2">
                  <c:v>0.4558</c:v>
                </c:pt>
                <c:pt idx="3">
                  <c:v>0.2578</c:v>
                </c:pt>
                <c:pt idx="4">
                  <c:v>0.2473</c:v>
                </c:pt>
              </c:numCache>
            </c:numRef>
          </c:xVal>
          <c:yVal>
            <c:numRef>
              <c:f>Sheet1!$B$2:$B$6</c:f>
              <c:numCache>
                <c:formatCode>General</c:formatCode>
                <c:ptCount val="5"/>
                <c:pt idx="0">
                  <c:v>2936.211764705882</c:v>
                </c:pt>
                <c:pt idx="1">
                  <c:v>840.0877192982457</c:v>
                </c:pt>
                <c:pt idx="2">
                  <c:v>1739.3392857142856</c:v>
                </c:pt>
                <c:pt idx="3">
                  <c:v>144.11111111111111</c:v>
                </c:pt>
                <c:pt idx="4">
                  <c:v>142.2941176470588</c:v>
                </c:pt>
              </c:numCache>
            </c:numRef>
          </c:yVal>
          <c:bubbleSize>
            <c:numRef>
              <c:f>Sheet1!$C$2:$C$6</c:f>
              <c:numCache>
                <c:formatCode>General</c:formatCode>
                <c:ptCount val="5"/>
                <c:pt idx="0">
                  <c:v>132542.7621</c:v>
                </c:pt>
                <c:pt idx="1">
                  <c:v>25887.4668</c:v>
                </c:pt>
                <c:pt idx="2">
                  <c:v>50244.0439</c:v>
                </c:pt>
                <c:pt idx="3">
                  <c:v>1824.9044000000001</c:v>
                </c:pt>
                <c:pt idx="4">
                  <c:v>1725.7632</c:v>
                </c:pt>
              </c:numCache>
            </c:numRef>
          </c:bubbleSize>
          <c:bubble3D val="0"/>
          <c:extLst>
            <c:ext xmlns:c15="http://schemas.microsoft.com/office/drawing/2012/chart" uri="{02D57815-91ED-43cb-92C2-25804820EDAC}">
              <c15:datalabelsRange>
                <c15:f>Sheet1!$E$2:$E$50</c15:f>
                <c15:dlblRangeCache>
                  <c:ptCount val="49"/>
                  <c:pt idx="0">
                    <c:v>Findus Merluzzo Altro Findus Fish Bar 245GR</c:v>
                  </c:pt>
                  <c:pt idx="1">
                    <c:v>Findus Merluzzo D Alaska Chips Findus Big Burger 227GR</c:v>
                  </c:pt>
                  <c:pt idx="2">
                    <c:v>Findus Merluzzo D Alaska Standard Findus Big Burger 227GR</c:v>
                  </c:pt>
                  <c:pt idx="3">
                    <c:v>Findus Merluzzo E Spinaci Filetto Findus Croccole 300GR</c:v>
                  </c:pt>
                  <c:pt idx="4">
                    <c:v>Findus Merluzzo Filetto Findus Croccole 300GR</c:v>
                  </c:pt>
                  <c:pt idx="5">
                    <c:v>Findus Merluzzo Filetto Findus Croccole 600GR</c:v>
                  </c:pt>
                  <c:pt idx="6">
                    <c:v>Findus Merluzzo Filetto Findus Fish &amp; Crock 250GR</c:v>
                  </c:pt>
                  <c:pt idx="7">
                    <c:v>Findus Merluzzo Filetto Findus Fish Bar 240GR</c:v>
                  </c:pt>
                  <c:pt idx="8">
                    <c:v>Findus Merluzzo Semi Filetto Findus Croccole 300GR</c:v>
                  </c:pt>
                  <c:pt idx="9">
                    <c:v>Findus Merluzzo Senza Glutine Filetto Findus Croccole 250GR</c:v>
                  </c:pt>
                  <c:pt idx="10">
                    <c:v>Findus Platessa Filetto Findus Platessa 250GR</c:v>
                  </c:pt>
                  <c:pt idx="11">
                    <c:v>Findus Salmone Altro Findus Fish Bar 220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3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00764E5B-8304-43CE-B188-D4FA0C59484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99796889-159A-4664-9C14-45F95DD6AD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523AE712-1EDB-4115-BE4F-AE8ADA4F711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68E7D2D1-E4DB-4F9E-9C93-F714CECB64A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14625396-EC70-4E4C-BBFC-710D28EE1A2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1E000386-9758-4AC9-98E9-DA0CA1C5853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FE3AF6FE-1F14-4699-8325-7AC005B22E5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5-BFDA-4C69-8E79-A083B7EFBA29}"/>
                </c:ext>
              </c:extLst>
            </c:dLbl>
            <c:dLbl>
              <c:idx val="1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BFDA-4C69-8E79-A083B7EFBA29}"/>
                </c:ext>
              </c:extLst>
            </c:dLbl>
            <c:dLbl>
              <c:idx val="1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BFDA-4C69-8E79-A083B7EFBA29}"/>
                </c:ext>
              </c:extLst>
            </c:dLbl>
            <c:dLbl>
              <c:idx val="1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BFDA-4C69-8E79-A083B7EFBA29}"/>
                </c:ext>
              </c:extLst>
            </c:dLbl>
            <c:dLbl>
              <c:idx val="1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9-BFDA-4C69-8E79-A083B7EFBA29}"/>
                </c:ext>
              </c:extLst>
            </c:dLbl>
            <c:dLbl>
              <c:idx val="1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A-BFDA-4C69-8E79-A083B7EFBA29}"/>
                </c:ext>
              </c:extLst>
            </c:dLbl>
            <c:dLbl>
              <c:idx val="1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B-BFDA-4C69-8E79-A083B7EFBA29}"/>
                </c:ext>
              </c:extLst>
            </c:dLbl>
            <c:dLbl>
              <c:idx val="1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C-BFDA-4C69-8E79-A083B7EFBA29}"/>
                </c:ext>
              </c:extLst>
            </c:dLbl>
            <c:dLbl>
              <c:idx val="2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BFDA-4C69-8E79-A083B7EFBA29}"/>
                </c:ext>
              </c:extLst>
            </c:dLbl>
            <c:dLbl>
              <c:idx val="2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BFDA-4C69-8E79-A083B7EFBA29}"/>
                </c:ext>
              </c:extLst>
            </c:dLbl>
            <c:dLbl>
              <c:idx val="2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F-BFDA-4C69-8E79-A083B7EFBA29}"/>
                </c:ext>
              </c:extLst>
            </c:dLbl>
            <c:dLbl>
              <c:idx val="2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0-BFDA-4C69-8E79-A083B7EFBA29}"/>
                </c:ext>
              </c:extLst>
            </c:dLbl>
            <c:dLbl>
              <c:idx val="2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1-BFDA-4C69-8E79-A083B7EFBA29}"/>
                </c:ext>
              </c:extLst>
            </c:dLbl>
            <c:dLbl>
              <c:idx val="2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BFDA-4C69-8E79-A083B7EFBA29}"/>
                </c:ext>
              </c:extLst>
            </c:dLbl>
            <c:dLbl>
              <c:idx val="2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BFDA-4C69-8E79-A083B7EFBA29}"/>
                </c:ext>
              </c:extLst>
            </c:dLbl>
            <c:dLbl>
              <c:idx val="2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BFDA-4C69-8E79-A083B7EFBA29}"/>
                </c:ext>
              </c:extLst>
            </c:dLbl>
            <c:dLbl>
              <c:idx val="2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5-BFDA-4C69-8E79-A083B7EFBA29}"/>
                </c:ext>
              </c:extLst>
            </c:dLbl>
            <c:dLbl>
              <c:idx val="2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6-BFDA-4C69-8E79-A083B7EFBA29}"/>
                </c:ext>
              </c:extLst>
            </c:dLbl>
            <c:dLbl>
              <c:idx val="3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7-BFDA-4C69-8E79-A083B7EFBA29}"/>
                </c:ext>
              </c:extLst>
            </c:dLbl>
            <c:dLbl>
              <c:idx val="3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8-BFDA-4C69-8E79-A083B7EFBA29}"/>
                </c:ext>
              </c:extLst>
            </c:dLbl>
            <c:dLbl>
              <c:idx val="3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9-BFDA-4C69-8E79-A083B7EFBA29}"/>
                </c:ext>
              </c:extLst>
            </c:dLbl>
            <c:dLbl>
              <c:idx val="3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BFDA-4C69-8E79-A083B7EFBA29}"/>
                </c:ext>
              </c:extLst>
            </c:dLbl>
            <c:dLbl>
              <c:idx val="3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B-BFDA-4C69-8E79-A083B7EFBA29}"/>
                </c:ext>
              </c:extLst>
            </c:dLbl>
            <c:dLbl>
              <c:idx val="3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C-BFDA-4C69-8E79-A083B7EFBA29}"/>
                </c:ext>
              </c:extLst>
            </c:dLbl>
            <c:dLbl>
              <c:idx val="3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D-BFDA-4C69-8E79-A083B7EFBA29}"/>
                </c:ext>
              </c:extLst>
            </c:dLbl>
            <c:dLbl>
              <c:idx val="3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BFDA-4C69-8E79-A083B7EFBA29}"/>
                </c:ext>
              </c:extLst>
            </c:dLbl>
            <c:dLbl>
              <c:idx val="3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BFDA-4C69-8E79-A083B7EFBA29}"/>
                </c:ext>
              </c:extLst>
            </c:dLbl>
            <c:dLbl>
              <c:idx val="3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BFDA-4C69-8E79-A083B7EFBA29}"/>
                </c:ext>
              </c:extLst>
            </c:dLbl>
            <c:dLbl>
              <c:idx val="4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1-BFDA-4C69-8E79-A083B7EFBA29}"/>
                </c:ext>
              </c:extLst>
            </c:dLbl>
            <c:dLbl>
              <c:idx val="4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BFDA-4C69-8E79-A083B7EFBA29}"/>
                </c:ext>
              </c:extLst>
            </c:dLbl>
            <c:dLbl>
              <c:idx val="4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BFDA-4C69-8E79-A083B7EFBA29}"/>
                </c:ext>
              </c:extLst>
            </c:dLbl>
            <c:dLbl>
              <c:idx val="4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BFDA-4C69-8E79-A083B7EFBA29}"/>
                </c:ext>
              </c:extLst>
            </c:dLbl>
            <c:dLbl>
              <c:idx val="4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BFDA-4C69-8E79-A083B7EFBA29}"/>
                </c:ext>
              </c:extLst>
            </c:dLbl>
            <c:dLbl>
              <c:idx val="4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BFDA-4C69-8E79-A083B7EFBA29}"/>
                </c:ext>
              </c:extLst>
            </c:dLbl>
            <c:dLbl>
              <c:idx val="4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BFDA-4C69-8E79-A083B7EFBA29}"/>
                </c:ext>
              </c:extLst>
            </c:dLbl>
            <c:dLbl>
              <c:idx val="4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BFDA-4C69-8E79-A083B7EFBA29}"/>
                </c:ext>
              </c:extLst>
            </c:dLbl>
            <c:dLbl>
              <c:idx val="4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6</c:f>
              <c:numCache>
                <c:formatCode>General</c:formatCode>
                <c:ptCount val="5"/>
                <c:pt idx="0">
                  <c:v>0.3553</c:v>
                </c:pt>
                <c:pt idx="1">
                  <c:v>0.373</c:v>
                </c:pt>
                <c:pt idx="2">
                  <c:v>0.3698</c:v>
                </c:pt>
                <c:pt idx="3">
                  <c:v>0.4074</c:v>
                </c:pt>
                <c:pt idx="4">
                  <c:v>0.4747</c:v>
                </c:pt>
              </c:numCache>
            </c:numRef>
          </c:xVal>
          <c:yVal>
            <c:numRef>
              <c:f>Sheet1!$B$2:$B$6</c:f>
              <c:numCache>
                <c:formatCode>General</c:formatCode>
                <c:ptCount val="5"/>
                <c:pt idx="0">
                  <c:v>3420.0</c:v>
                </c:pt>
                <c:pt idx="1">
                  <c:v>9790.585480093678</c:v>
                </c:pt>
                <c:pt idx="2">
                  <c:v>9643.92670157068</c:v>
                </c:pt>
                <c:pt idx="3">
                  <c:v>3727.8082191780823</c:v>
                </c:pt>
                <c:pt idx="4">
                  <c:v>1497.620817843866</c:v>
                </c:pt>
              </c:numCache>
            </c:numRef>
          </c:yVal>
          <c:bubbleSize>
            <c:numRef>
              <c:f>Sheet1!$C$2:$C$6</c:f>
              <c:numCache>
                <c:formatCode>General</c:formatCode>
                <c:ptCount val="5"/>
                <c:pt idx="0">
                  <c:v>15255.881699999998</c:v>
                </c:pt>
                <c:pt idx="1">
                  <c:v>496893.394</c:v>
                </c:pt>
                <c:pt idx="2">
                  <c:v>440091.45629999996</c:v>
                </c:pt>
                <c:pt idx="3">
                  <c:v>15284.814499999999</c:v>
                </c:pt>
                <c:pt idx="4">
                  <c:v>20057.2962</c:v>
                </c:pt>
              </c:numCache>
            </c:numRef>
          </c:bubbleSize>
          <c:bubble3D val="0"/>
          <c:extLst>
            <c:ext xmlns:c15="http://schemas.microsoft.com/office/drawing/2012/chart" uri="{02D57815-91ED-43cb-92C2-25804820EDAC}">
              <c15:datalabelsRange>
                <c15:f>Sheet1!$E$2:$E$50</c15:f>
                <c15:dlblRangeCache>
                  <c:ptCount val="49"/>
                  <c:pt idx="0">
                    <c:v>Findus Merluzzo Altro Findus Fish Bar 245GR</c:v>
                  </c:pt>
                  <c:pt idx="1">
                    <c:v>Findus Merluzzo D Alaska Chips Findus Big Burger 227GR</c:v>
                  </c:pt>
                  <c:pt idx="2">
                    <c:v>Findus Merluzzo D Alaska Standard Findus Big Burger 227GR</c:v>
                  </c:pt>
                  <c:pt idx="3">
                    <c:v>Findus Merluzzo E Spinaci Filetto Findus Croccole 300GR</c:v>
                  </c:pt>
                  <c:pt idx="4">
                    <c:v>Findus Merluzzo Filetto Findus Croccole 300GR</c:v>
                  </c:pt>
                  <c:pt idx="5">
                    <c:v>Findus Merluzzo Filetto Findus Croccole 600GR</c:v>
                  </c:pt>
                  <c:pt idx="6">
                    <c:v>Findus Merluzzo Filetto Findus Fish &amp; Crock 250GR</c:v>
                  </c:pt>
                  <c:pt idx="7">
                    <c:v>Findus Merluzzo Filetto Findus Fish Bar 240GR</c:v>
                  </c:pt>
                  <c:pt idx="8">
                    <c:v>Findus Merluzzo Semi Filetto Findus Croccole 300GR</c:v>
                  </c:pt>
                  <c:pt idx="9">
                    <c:v>Findus Merluzzo Senza Glutine Filetto Findus Croccole 250GR</c:v>
                  </c:pt>
                  <c:pt idx="10">
                    <c:v>Findus Platessa Filetto Findus Platessa 250GR</c:v>
                  </c:pt>
                  <c:pt idx="11">
                    <c:v>Findus Salmone Altro Findus Fish Bar 220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3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AF60645D-77DD-4A8C-A517-69D312FD56E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5EFBD094-2C55-46BE-AD9A-797124BB245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5531F269-95DA-4E10-BC5F-CD5BBC84B3C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19D0437D-C37C-48ED-9A0C-8135679C321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E01B99E3-5851-4B02-B6BC-D3D5673B2B2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9F4A914D-D3E5-4F67-B41F-D6E18C499FF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82D2C3F4-5450-47A6-951C-44A8E7A16BA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5-BFDA-4C69-8E79-A083B7EFBA29}"/>
                </c:ext>
              </c:extLst>
            </c:dLbl>
            <c:dLbl>
              <c:idx val="1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BFDA-4C69-8E79-A083B7EFBA29}"/>
                </c:ext>
              </c:extLst>
            </c:dLbl>
            <c:dLbl>
              <c:idx val="1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BFDA-4C69-8E79-A083B7EFBA29}"/>
                </c:ext>
              </c:extLst>
            </c:dLbl>
            <c:dLbl>
              <c:idx val="1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BFDA-4C69-8E79-A083B7EFBA29}"/>
                </c:ext>
              </c:extLst>
            </c:dLbl>
            <c:dLbl>
              <c:idx val="1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9-BFDA-4C69-8E79-A083B7EFBA29}"/>
                </c:ext>
              </c:extLst>
            </c:dLbl>
            <c:dLbl>
              <c:idx val="1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A-BFDA-4C69-8E79-A083B7EFBA29}"/>
                </c:ext>
              </c:extLst>
            </c:dLbl>
            <c:dLbl>
              <c:idx val="1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B-BFDA-4C69-8E79-A083B7EFBA29}"/>
                </c:ext>
              </c:extLst>
            </c:dLbl>
            <c:dLbl>
              <c:idx val="1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C-BFDA-4C69-8E79-A083B7EFBA29}"/>
                </c:ext>
              </c:extLst>
            </c:dLbl>
            <c:dLbl>
              <c:idx val="2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BFDA-4C69-8E79-A083B7EFBA29}"/>
                </c:ext>
              </c:extLst>
            </c:dLbl>
            <c:dLbl>
              <c:idx val="2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BFDA-4C69-8E79-A083B7EFBA29}"/>
                </c:ext>
              </c:extLst>
            </c:dLbl>
            <c:dLbl>
              <c:idx val="2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F-BFDA-4C69-8E79-A083B7EFBA29}"/>
                </c:ext>
              </c:extLst>
            </c:dLbl>
            <c:dLbl>
              <c:idx val="2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0-BFDA-4C69-8E79-A083B7EFBA29}"/>
                </c:ext>
              </c:extLst>
            </c:dLbl>
            <c:dLbl>
              <c:idx val="2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1-BFDA-4C69-8E79-A083B7EFBA29}"/>
                </c:ext>
              </c:extLst>
            </c:dLbl>
            <c:dLbl>
              <c:idx val="2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BFDA-4C69-8E79-A083B7EFBA29}"/>
                </c:ext>
              </c:extLst>
            </c:dLbl>
            <c:dLbl>
              <c:idx val="2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BFDA-4C69-8E79-A083B7EFBA29}"/>
                </c:ext>
              </c:extLst>
            </c:dLbl>
            <c:dLbl>
              <c:idx val="2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BFDA-4C69-8E79-A083B7EFBA29}"/>
                </c:ext>
              </c:extLst>
            </c:dLbl>
            <c:dLbl>
              <c:idx val="2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5-BFDA-4C69-8E79-A083B7EFBA29}"/>
                </c:ext>
              </c:extLst>
            </c:dLbl>
            <c:dLbl>
              <c:idx val="2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6-BFDA-4C69-8E79-A083B7EFBA29}"/>
                </c:ext>
              </c:extLst>
            </c:dLbl>
            <c:dLbl>
              <c:idx val="3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7-BFDA-4C69-8E79-A083B7EFBA29}"/>
                </c:ext>
              </c:extLst>
            </c:dLbl>
            <c:dLbl>
              <c:idx val="3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8-BFDA-4C69-8E79-A083B7EFBA29}"/>
                </c:ext>
              </c:extLst>
            </c:dLbl>
            <c:dLbl>
              <c:idx val="3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9-BFDA-4C69-8E79-A083B7EFBA29}"/>
                </c:ext>
              </c:extLst>
            </c:dLbl>
            <c:dLbl>
              <c:idx val="3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BFDA-4C69-8E79-A083B7EFBA29}"/>
                </c:ext>
              </c:extLst>
            </c:dLbl>
            <c:dLbl>
              <c:idx val="3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B-BFDA-4C69-8E79-A083B7EFBA29}"/>
                </c:ext>
              </c:extLst>
            </c:dLbl>
            <c:dLbl>
              <c:idx val="3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C-BFDA-4C69-8E79-A083B7EFBA29}"/>
                </c:ext>
              </c:extLst>
            </c:dLbl>
            <c:dLbl>
              <c:idx val="3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D-BFDA-4C69-8E79-A083B7EFBA29}"/>
                </c:ext>
              </c:extLst>
            </c:dLbl>
            <c:dLbl>
              <c:idx val="3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BFDA-4C69-8E79-A083B7EFBA29}"/>
                </c:ext>
              </c:extLst>
            </c:dLbl>
            <c:dLbl>
              <c:idx val="3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BFDA-4C69-8E79-A083B7EFBA29}"/>
                </c:ext>
              </c:extLst>
            </c:dLbl>
            <c:dLbl>
              <c:idx val="3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BFDA-4C69-8E79-A083B7EFBA29}"/>
                </c:ext>
              </c:extLst>
            </c:dLbl>
            <c:dLbl>
              <c:idx val="4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1-BFDA-4C69-8E79-A083B7EFBA29}"/>
                </c:ext>
              </c:extLst>
            </c:dLbl>
            <c:dLbl>
              <c:idx val="4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BFDA-4C69-8E79-A083B7EFBA29}"/>
                </c:ext>
              </c:extLst>
            </c:dLbl>
            <c:dLbl>
              <c:idx val="4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BFDA-4C69-8E79-A083B7EFBA29}"/>
                </c:ext>
              </c:extLst>
            </c:dLbl>
            <c:dLbl>
              <c:idx val="4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BFDA-4C69-8E79-A083B7EFBA29}"/>
                </c:ext>
              </c:extLst>
            </c:dLbl>
            <c:dLbl>
              <c:idx val="4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BFDA-4C69-8E79-A083B7EFBA29}"/>
                </c:ext>
              </c:extLst>
            </c:dLbl>
            <c:dLbl>
              <c:idx val="4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BFDA-4C69-8E79-A083B7EFBA29}"/>
                </c:ext>
              </c:extLst>
            </c:dLbl>
            <c:dLbl>
              <c:idx val="4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BFDA-4C69-8E79-A083B7EFBA29}"/>
                </c:ext>
              </c:extLst>
            </c:dLbl>
            <c:dLbl>
              <c:idx val="4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BFDA-4C69-8E79-A083B7EFBA29}"/>
                </c:ext>
              </c:extLst>
            </c:dLbl>
            <c:dLbl>
              <c:idx val="4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2</c:f>
              <c:numCache>
                <c:formatCode>General</c:formatCode>
                <c:ptCount val="1"/>
                <c:pt idx="0">
                  <c:v>0.4064</c:v>
                </c:pt>
              </c:numCache>
            </c:numRef>
          </c:xVal>
          <c:yVal>
            <c:numRef>
              <c:f>Sheet1!$B$2:$B$2</c:f>
              <c:numCache>
                <c:formatCode>General</c:formatCode>
                <c:ptCount val="1"/>
                <c:pt idx="0">
                  <c:v>4929.184993531695</c:v>
                </c:pt>
              </c:numCache>
            </c:numRef>
          </c:yVal>
          <c:bubbleSize>
            <c:numRef>
              <c:f>Sheet1!$C$2:$C$2</c:f>
              <c:numCache>
                <c:formatCode>General</c:formatCode>
                <c:ptCount val="1"/>
                <c:pt idx="0">
                  <c:v>214387.12039999999</c:v>
                </c:pt>
              </c:numCache>
            </c:numRef>
          </c:bubbleSize>
          <c:bubble3D val="0"/>
          <c:extLst>
            <c:ext xmlns:c15="http://schemas.microsoft.com/office/drawing/2012/chart" uri="{02D57815-91ED-43cb-92C2-25804820EDAC}">
              <c15:datalabelsRange>
                <c15:f>Sheet1!$E$2:$E$50</c15:f>
                <c15:dlblRangeCache>
                  <c:ptCount val="49"/>
                  <c:pt idx="0">
                    <c:v>Findus Merluzzo Altro Findus Fish Bar 245GR</c:v>
                  </c:pt>
                  <c:pt idx="1">
                    <c:v>Findus Merluzzo D Alaska Chips Findus Big Burger 227GR</c:v>
                  </c:pt>
                  <c:pt idx="2">
                    <c:v>Findus Merluzzo D Alaska Standard Findus Big Burger 227GR</c:v>
                  </c:pt>
                  <c:pt idx="3">
                    <c:v>Findus Merluzzo E Spinaci Filetto Findus Croccole 300GR</c:v>
                  </c:pt>
                  <c:pt idx="4">
                    <c:v>Findus Merluzzo Filetto Findus Croccole 300GR</c:v>
                  </c:pt>
                  <c:pt idx="5">
                    <c:v>Findus Merluzzo Filetto Findus Croccole 600GR</c:v>
                  </c:pt>
                  <c:pt idx="6">
                    <c:v>Findus Merluzzo Filetto Findus Fish &amp; Crock 250GR</c:v>
                  </c:pt>
                  <c:pt idx="7">
                    <c:v>Findus Merluzzo Filetto Findus Fish Bar 240GR</c:v>
                  </c:pt>
                  <c:pt idx="8">
                    <c:v>Findus Merluzzo Semi Filetto Findus Croccole 300GR</c:v>
                  </c:pt>
                  <c:pt idx="9">
                    <c:v>Findus Merluzzo Senza Glutine Filetto Findus Croccole 250GR</c:v>
                  </c:pt>
                  <c:pt idx="10">
                    <c:v>Findus Platessa Filetto Findus Platessa 250GR</c:v>
                  </c:pt>
                  <c:pt idx="11">
                    <c:v>Findus Salmone Altro Findus Fish Bar 220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3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65771080-CC8B-4F14-98C1-195C85F1416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CD33F2D2-26FB-4783-8340-C4E6B48FFB6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6F6E5916-74D3-4A7B-AB50-20D8AA8B20B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250D46A2-8D67-441A-9D51-EEA3142CCED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2D05CFF6-98AC-4D8B-9D33-41512A88994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22B52B36-EB13-4FC3-8030-540FEEEBAEA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7758FBD1-0B71-46C2-8677-88F0F4B3F68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5-BFDA-4C69-8E79-A083B7EFBA29}"/>
                </c:ext>
              </c:extLst>
            </c:dLbl>
            <c:dLbl>
              <c:idx val="1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BFDA-4C69-8E79-A083B7EFBA29}"/>
                </c:ext>
              </c:extLst>
            </c:dLbl>
            <c:dLbl>
              <c:idx val="1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BFDA-4C69-8E79-A083B7EFBA29}"/>
                </c:ext>
              </c:extLst>
            </c:dLbl>
            <c:dLbl>
              <c:idx val="1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BFDA-4C69-8E79-A083B7EFBA29}"/>
                </c:ext>
              </c:extLst>
            </c:dLbl>
            <c:dLbl>
              <c:idx val="1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9-BFDA-4C69-8E79-A083B7EFBA29}"/>
                </c:ext>
              </c:extLst>
            </c:dLbl>
            <c:dLbl>
              <c:idx val="1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A-BFDA-4C69-8E79-A083B7EFBA29}"/>
                </c:ext>
              </c:extLst>
            </c:dLbl>
            <c:dLbl>
              <c:idx val="1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B-BFDA-4C69-8E79-A083B7EFBA29}"/>
                </c:ext>
              </c:extLst>
            </c:dLbl>
            <c:dLbl>
              <c:idx val="1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C-BFDA-4C69-8E79-A083B7EFBA29}"/>
                </c:ext>
              </c:extLst>
            </c:dLbl>
            <c:dLbl>
              <c:idx val="2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BFDA-4C69-8E79-A083B7EFBA29}"/>
                </c:ext>
              </c:extLst>
            </c:dLbl>
            <c:dLbl>
              <c:idx val="2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BFDA-4C69-8E79-A083B7EFBA29}"/>
                </c:ext>
              </c:extLst>
            </c:dLbl>
            <c:dLbl>
              <c:idx val="2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F-BFDA-4C69-8E79-A083B7EFBA29}"/>
                </c:ext>
              </c:extLst>
            </c:dLbl>
            <c:dLbl>
              <c:idx val="2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0-BFDA-4C69-8E79-A083B7EFBA29}"/>
                </c:ext>
              </c:extLst>
            </c:dLbl>
            <c:dLbl>
              <c:idx val="2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1-BFDA-4C69-8E79-A083B7EFBA29}"/>
                </c:ext>
              </c:extLst>
            </c:dLbl>
            <c:dLbl>
              <c:idx val="2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BFDA-4C69-8E79-A083B7EFBA29}"/>
                </c:ext>
              </c:extLst>
            </c:dLbl>
            <c:dLbl>
              <c:idx val="2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BFDA-4C69-8E79-A083B7EFBA29}"/>
                </c:ext>
              </c:extLst>
            </c:dLbl>
            <c:dLbl>
              <c:idx val="2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BFDA-4C69-8E79-A083B7EFBA29}"/>
                </c:ext>
              </c:extLst>
            </c:dLbl>
            <c:dLbl>
              <c:idx val="2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5-BFDA-4C69-8E79-A083B7EFBA29}"/>
                </c:ext>
              </c:extLst>
            </c:dLbl>
            <c:dLbl>
              <c:idx val="2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6-BFDA-4C69-8E79-A083B7EFBA29}"/>
                </c:ext>
              </c:extLst>
            </c:dLbl>
            <c:dLbl>
              <c:idx val="3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7-BFDA-4C69-8E79-A083B7EFBA29}"/>
                </c:ext>
              </c:extLst>
            </c:dLbl>
            <c:dLbl>
              <c:idx val="3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8-BFDA-4C69-8E79-A083B7EFBA29}"/>
                </c:ext>
              </c:extLst>
            </c:dLbl>
            <c:dLbl>
              <c:idx val="3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9-BFDA-4C69-8E79-A083B7EFBA29}"/>
                </c:ext>
              </c:extLst>
            </c:dLbl>
            <c:dLbl>
              <c:idx val="3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BFDA-4C69-8E79-A083B7EFBA29}"/>
                </c:ext>
              </c:extLst>
            </c:dLbl>
            <c:dLbl>
              <c:idx val="3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B-BFDA-4C69-8E79-A083B7EFBA29}"/>
                </c:ext>
              </c:extLst>
            </c:dLbl>
            <c:dLbl>
              <c:idx val="3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C-BFDA-4C69-8E79-A083B7EFBA29}"/>
                </c:ext>
              </c:extLst>
            </c:dLbl>
            <c:dLbl>
              <c:idx val="3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D-BFDA-4C69-8E79-A083B7EFBA29}"/>
                </c:ext>
              </c:extLst>
            </c:dLbl>
            <c:dLbl>
              <c:idx val="3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BFDA-4C69-8E79-A083B7EFBA29}"/>
                </c:ext>
              </c:extLst>
            </c:dLbl>
            <c:dLbl>
              <c:idx val="3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BFDA-4C69-8E79-A083B7EFBA29}"/>
                </c:ext>
              </c:extLst>
            </c:dLbl>
            <c:dLbl>
              <c:idx val="3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BFDA-4C69-8E79-A083B7EFBA29}"/>
                </c:ext>
              </c:extLst>
            </c:dLbl>
            <c:dLbl>
              <c:idx val="4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1-BFDA-4C69-8E79-A083B7EFBA29}"/>
                </c:ext>
              </c:extLst>
            </c:dLbl>
            <c:dLbl>
              <c:idx val="4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BFDA-4C69-8E79-A083B7EFBA29}"/>
                </c:ext>
              </c:extLst>
            </c:dLbl>
            <c:dLbl>
              <c:idx val="4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BFDA-4C69-8E79-A083B7EFBA29}"/>
                </c:ext>
              </c:extLst>
            </c:dLbl>
            <c:dLbl>
              <c:idx val="4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BFDA-4C69-8E79-A083B7EFBA29}"/>
                </c:ext>
              </c:extLst>
            </c:dLbl>
            <c:dLbl>
              <c:idx val="4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BFDA-4C69-8E79-A083B7EFBA29}"/>
                </c:ext>
              </c:extLst>
            </c:dLbl>
            <c:dLbl>
              <c:idx val="4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BFDA-4C69-8E79-A083B7EFBA29}"/>
                </c:ext>
              </c:extLst>
            </c:dLbl>
            <c:dLbl>
              <c:idx val="4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BFDA-4C69-8E79-A083B7EFBA29}"/>
                </c:ext>
              </c:extLst>
            </c:dLbl>
            <c:dLbl>
              <c:idx val="4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BFDA-4C69-8E79-A083B7EFBA29}"/>
                </c:ext>
              </c:extLst>
            </c:dLbl>
            <c:dLbl>
              <c:idx val="4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2</c:f>
              <c:numCache>
                <c:formatCode>General</c:formatCode>
                <c:ptCount val="1"/>
                <c:pt idx="0">
                  <c:v>0.4003</c:v>
                </c:pt>
              </c:numCache>
            </c:numRef>
          </c:xVal>
          <c:yVal>
            <c:numRef>
              <c:f>Sheet1!$B$2:$B$2</c:f>
              <c:numCache>
                <c:formatCode>General</c:formatCode>
                <c:ptCount val="1"/>
                <c:pt idx="0">
                  <c:v>8120.263459335624</c:v>
                </c:pt>
              </c:numCache>
            </c:numRef>
          </c:yVal>
          <c:bubbleSize>
            <c:numRef>
              <c:f>Sheet1!$C$2:$C$2</c:f>
              <c:numCache>
                <c:formatCode>General</c:formatCode>
                <c:ptCount val="1"/>
                <c:pt idx="0">
                  <c:v>402947.6498000001</c:v>
                </c:pt>
              </c:numCache>
            </c:numRef>
          </c:bubbleSize>
          <c:bubble3D val="0"/>
          <c:extLst>
            <c:ext xmlns:c15="http://schemas.microsoft.com/office/drawing/2012/chart" uri="{02D57815-91ED-43cb-92C2-25804820EDAC}">
              <c15:datalabelsRange>
                <c15:f>Sheet1!$E$2:$E$50</c15:f>
                <c15:dlblRangeCache>
                  <c:ptCount val="49"/>
                  <c:pt idx="0">
                    <c:v>Findus Merluzzo Altro Findus Fish Bar 245GR</c:v>
                  </c:pt>
                  <c:pt idx="1">
                    <c:v>Findus Merluzzo D Alaska Chips Findus Big Burger 227GR</c:v>
                  </c:pt>
                  <c:pt idx="2">
                    <c:v>Findus Merluzzo D Alaska Standard Findus Big Burger 227GR</c:v>
                  </c:pt>
                  <c:pt idx="3">
                    <c:v>Findus Merluzzo E Spinaci Filetto Findus Croccole 300GR</c:v>
                  </c:pt>
                  <c:pt idx="4">
                    <c:v>Findus Merluzzo Filetto Findus Croccole 300GR</c:v>
                  </c:pt>
                  <c:pt idx="5">
                    <c:v>Findus Merluzzo Filetto Findus Croccole 600GR</c:v>
                  </c:pt>
                  <c:pt idx="6">
                    <c:v>Findus Merluzzo Filetto Findus Fish &amp; Crock 250GR</c:v>
                  </c:pt>
                  <c:pt idx="7">
                    <c:v>Findus Merluzzo Filetto Findus Fish Bar 240GR</c:v>
                  </c:pt>
                  <c:pt idx="8">
                    <c:v>Findus Merluzzo Semi Filetto Findus Croccole 300GR</c:v>
                  </c:pt>
                  <c:pt idx="9">
                    <c:v>Findus Merluzzo Senza Glutine Filetto Findus Croccole 250GR</c:v>
                  </c:pt>
                  <c:pt idx="10">
                    <c:v>Findus Platessa Filetto Findus Platessa 250GR</c:v>
                  </c:pt>
                  <c:pt idx="11">
                    <c:v>Findus Salmone Altro Findus Fish Bar 220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3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AB1EFA63-4A13-402B-AEC5-817385D1E82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8FA9FA09-FDF3-40A9-AB15-8A8B8912893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A11C9582-8AA5-44FA-8EBD-12318252AE5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3E9D3E6F-0926-4257-A67D-6ECD5D24B4A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785A4DCE-F085-41F5-9858-52EBE3C2A77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7986E4B1-5BE4-473F-B5BF-0B7CFFE26E7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C4CE4095-4890-467B-A54F-06CED0B0B78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5-BFDA-4C69-8E79-A083B7EFBA29}"/>
                </c:ext>
              </c:extLst>
            </c:dLbl>
            <c:dLbl>
              <c:idx val="1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BFDA-4C69-8E79-A083B7EFBA29}"/>
                </c:ext>
              </c:extLst>
            </c:dLbl>
            <c:dLbl>
              <c:idx val="1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BFDA-4C69-8E79-A083B7EFBA29}"/>
                </c:ext>
              </c:extLst>
            </c:dLbl>
            <c:dLbl>
              <c:idx val="1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BFDA-4C69-8E79-A083B7EFBA29}"/>
                </c:ext>
              </c:extLst>
            </c:dLbl>
            <c:dLbl>
              <c:idx val="1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9-BFDA-4C69-8E79-A083B7EFBA29}"/>
                </c:ext>
              </c:extLst>
            </c:dLbl>
            <c:dLbl>
              <c:idx val="1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A-BFDA-4C69-8E79-A083B7EFBA29}"/>
                </c:ext>
              </c:extLst>
            </c:dLbl>
            <c:dLbl>
              <c:idx val="1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B-BFDA-4C69-8E79-A083B7EFBA29}"/>
                </c:ext>
              </c:extLst>
            </c:dLbl>
            <c:dLbl>
              <c:idx val="1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C-BFDA-4C69-8E79-A083B7EFBA29}"/>
                </c:ext>
              </c:extLst>
            </c:dLbl>
            <c:dLbl>
              <c:idx val="2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BFDA-4C69-8E79-A083B7EFBA29}"/>
                </c:ext>
              </c:extLst>
            </c:dLbl>
            <c:dLbl>
              <c:idx val="2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BFDA-4C69-8E79-A083B7EFBA29}"/>
                </c:ext>
              </c:extLst>
            </c:dLbl>
            <c:dLbl>
              <c:idx val="2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F-BFDA-4C69-8E79-A083B7EFBA29}"/>
                </c:ext>
              </c:extLst>
            </c:dLbl>
            <c:dLbl>
              <c:idx val="2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0-BFDA-4C69-8E79-A083B7EFBA29}"/>
                </c:ext>
              </c:extLst>
            </c:dLbl>
            <c:dLbl>
              <c:idx val="2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1-BFDA-4C69-8E79-A083B7EFBA29}"/>
                </c:ext>
              </c:extLst>
            </c:dLbl>
            <c:dLbl>
              <c:idx val="2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BFDA-4C69-8E79-A083B7EFBA29}"/>
                </c:ext>
              </c:extLst>
            </c:dLbl>
            <c:dLbl>
              <c:idx val="2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BFDA-4C69-8E79-A083B7EFBA29}"/>
                </c:ext>
              </c:extLst>
            </c:dLbl>
            <c:dLbl>
              <c:idx val="2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BFDA-4C69-8E79-A083B7EFBA29}"/>
                </c:ext>
              </c:extLst>
            </c:dLbl>
            <c:dLbl>
              <c:idx val="2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5-BFDA-4C69-8E79-A083B7EFBA29}"/>
                </c:ext>
              </c:extLst>
            </c:dLbl>
            <c:dLbl>
              <c:idx val="2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6-BFDA-4C69-8E79-A083B7EFBA29}"/>
                </c:ext>
              </c:extLst>
            </c:dLbl>
            <c:dLbl>
              <c:idx val="3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7-BFDA-4C69-8E79-A083B7EFBA29}"/>
                </c:ext>
              </c:extLst>
            </c:dLbl>
            <c:dLbl>
              <c:idx val="3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8-BFDA-4C69-8E79-A083B7EFBA29}"/>
                </c:ext>
              </c:extLst>
            </c:dLbl>
            <c:dLbl>
              <c:idx val="3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9-BFDA-4C69-8E79-A083B7EFBA29}"/>
                </c:ext>
              </c:extLst>
            </c:dLbl>
            <c:dLbl>
              <c:idx val="3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BFDA-4C69-8E79-A083B7EFBA29}"/>
                </c:ext>
              </c:extLst>
            </c:dLbl>
            <c:dLbl>
              <c:idx val="3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B-BFDA-4C69-8E79-A083B7EFBA29}"/>
                </c:ext>
              </c:extLst>
            </c:dLbl>
            <c:dLbl>
              <c:idx val="3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C-BFDA-4C69-8E79-A083B7EFBA29}"/>
                </c:ext>
              </c:extLst>
            </c:dLbl>
            <c:dLbl>
              <c:idx val="3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D-BFDA-4C69-8E79-A083B7EFBA29}"/>
                </c:ext>
              </c:extLst>
            </c:dLbl>
            <c:dLbl>
              <c:idx val="3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BFDA-4C69-8E79-A083B7EFBA29}"/>
                </c:ext>
              </c:extLst>
            </c:dLbl>
            <c:dLbl>
              <c:idx val="3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BFDA-4C69-8E79-A083B7EFBA29}"/>
                </c:ext>
              </c:extLst>
            </c:dLbl>
            <c:dLbl>
              <c:idx val="3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BFDA-4C69-8E79-A083B7EFBA29}"/>
                </c:ext>
              </c:extLst>
            </c:dLbl>
            <c:dLbl>
              <c:idx val="4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1-BFDA-4C69-8E79-A083B7EFBA29}"/>
                </c:ext>
              </c:extLst>
            </c:dLbl>
            <c:dLbl>
              <c:idx val="4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BFDA-4C69-8E79-A083B7EFBA29}"/>
                </c:ext>
              </c:extLst>
            </c:dLbl>
            <c:dLbl>
              <c:idx val="4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BFDA-4C69-8E79-A083B7EFBA29}"/>
                </c:ext>
              </c:extLst>
            </c:dLbl>
            <c:dLbl>
              <c:idx val="4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BFDA-4C69-8E79-A083B7EFBA29}"/>
                </c:ext>
              </c:extLst>
            </c:dLbl>
            <c:dLbl>
              <c:idx val="4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BFDA-4C69-8E79-A083B7EFBA29}"/>
                </c:ext>
              </c:extLst>
            </c:dLbl>
            <c:dLbl>
              <c:idx val="4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BFDA-4C69-8E79-A083B7EFBA29}"/>
                </c:ext>
              </c:extLst>
            </c:dLbl>
            <c:dLbl>
              <c:idx val="4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BFDA-4C69-8E79-A083B7EFBA29}"/>
                </c:ext>
              </c:extLst>
            </c:dLbl>
            <c:dLbl>
              <c:idx val="4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BFDA-4C69-8E79-A083B7EFBA29}"/>
                </c:ext>
              </c:extLst>
            </c:dLbl>
            <c:dLbl>
              <c:idx val="4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6</c:f>
              <c:numCache>
                <c:formatCode>General</c:formatCode>
                <c:ptCount val="5"/>
                <c:pt idx="0">
                  <c:v>0.3553</c:v>
                </c:pt>
                <c:pt idx="1">
                  <c:v>0.3621</c:v>
                </c:pt>
                <c:pt idx="2">
                  <c:v>0.3632</c:v>
                </c:pt>
                <c:pt idx="3">
                  <c:v>0.4076</c:v>
                </c:pt>
                <c:pt idx="4">
                  <c:v>0.4747</c:v>
                </c:pt>
              </c:numCache>
            </c:numRef>
          </c:xVal>
          <c:yVal>
            <c:numRef>
              <c:f>Sheet1!$B$2:$B$6</c:f>
              <c:numCache>
                <c:formatCode>General</c:formatCode>
                <c:ptCount val="5"/>
                <c:pt idx="0">
                  <c:v>1560.375</c:v>
                </c:pt>
                <c:pt idx="1">
                  <c:v>4355.39</c:v>
                </c:pt>
                <c:pt idx="2">
                  <c:v>4384.49</c:v>
                </c:pt>
                <c:pt idx="3">
                  <c:v>1699.3125</c:v>
                </c:pt>
                <c:pt idx="4">
                  <c:v>682.8135593220339</c:v>
                </c:pt>
              </c:numCache>
            </c:numRef>
          </c:yVal>
          <c:bubbleSize>
            <c:numRef>
              <c:f>Sheet1!$C$2:$C$6</c:f>
              <c:numCache>
                <c:formatCode>General</c:formatCode>
                <c:ptCount val="5"/>
                <c:pt idx="0">
                  <c:v>15255.881699999998</c:v>
                </c:pt>
                <c:pt idx="1">
                  <c:v>263336.331</c:v>
                </c:pt>
                <c:pt idx="2">
                  <c:v>264664.55909999995</c:v>
                </c:pt>
                <c:pt idx="3">
                  <c:v>15268.289499999999</c:v>
                </c:pt>
                <c:pt idx="4">
                  <c:v>20057.2962</c:v>
                </c:pt>
              </c:numCache>
            </c:numRef>
          </c:bubbleSize>
          <c:bubble3D val="0"/>
          <c:extLst>
            <c:ext xmlns:c15="http://schemas.microsoft.com/office/drawing/2012/chart" uri="{02D57815-91ED-43cb-92C2-25804820EDAC}">
              <c15:datalabelsRange>
                <c15:f>Sheet1!$E$2:$E$50</c15:f>
                <c15:dlblRangeCache>
                  <c:ptCount val="49"/>
                  <c:pt idx="0">
                    <c:v>Findus Merluzzo Altro Findus Fish Bar 245GR</c:v>
                  </c:pt>
                  <c:pt idx="1">
                    <c:v>Findus Merluzzo D Alaska Chips Findus Big Burger 227GR</c:v>
                  </c:pt>
                  <c:pt idx="2">
                    <c:v>Findus Merluzzo D Alaska Standard Findus Big Burger 227GR</c:v>
                  </c:pt>
                  <c:pt idx="3">
                    <c:v>Findus Merluzzo E Spinaci Filetto Findus Croccole 300GR</c:v>
                  </c:pt>
                  <c:pt idx="4">
                    <c:v>Findus Merluzzo Filetto Findus Croccole 300GR</c:v>
                  </c:pt>
                  <c:pt idx="5">
                    <c:v>Findus Merluzzo Filetto Findus Croccole 600GR</c:v>
                  </c:pt>
                  <c:pt idx="6">
                    <c:v>Findus Merluzzo Filetto Findus Fish &amp; Crock 250GR</c:v>
                  </c:pt>
                  <c:pt idx="7">
                    <c:v>Findus Merluzzo Filetto Findus Fish Bar 240GR</c:v>
                  </c:pt>
                  <c:pt idx="8">
                    <c:v>Findus Merluzzo Semi Filetto Findus Croccole 300GR</c:v>
                  </c:pt>
                  <c:pt idx="9">
                    <c:v>Findus Merluzzo Senza Glutine Filetto Findus Croccole 250GR</c:v>
                  </c:pt>
                  <c:pt idx="10">
                    <c:v>Findus Platessa Filetto Findus Platessa 250GR</c:v>
                  </c:pt>
                  <c:pt idx="11">
                    <c:v>Findus Salmone Altro Findus Fish Bar 220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3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F29DB6C7-D216-4BDB-904E-2DA0D748E67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98185674-ADAD-4F5E-9680-8D06CC1860A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779E9E83-FAC1-4F2F-8AF7-55EFA527CB9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45703749-8FD7-48E3-95A2-17F9A76A9CD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E2688B62-131A-4BD9-A312-845CB0C83A6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C6A047A9-90AF-4E6E-9082-1B4E1A3865F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9824DD4E-3034-499B-A04A-8E0036D1A39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5-BFDA-4C69-8E79-A083B7EFBA29}"/>
                </c:ext>
              </c:extLst>
            </c:dLbl>
            <c:dLbl>
              <c:idx val="1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BFDA-4C69-8E79-A083B7EFBA29}"/>
                </c:ext>
              </c:extLst>
            </c:dLbl>
            <c:dLbl>
              <c:idx val="1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BFDA-4C69-8E79-A083B7EFBA29}"/>
                </c:ext>
              </c:extLst>
            </c:dLbl>
            <c:dLbl>
              <c:idx val="1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BFDA-4C69-8E79-A083B7EFBA29}"/>
                </c:ext>
              </c:extLst>
            </c:dLbl>
            <c:dLbl>
              <c:idx val="1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9-BFDA-4C69-8E79-A083B7EFBA29}"/>
                </c:ext>
              </c:extLst>
            </c:dLbl>
            <c:dLbl>
              <c:idx val="1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A-BFDA-4C69-8E79-A083B7EFBA29}"/>
                </c:ext>
              </c:extLst>
            </c:dLbl>
            <c:dLbl>
              <c:idx val="1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B-BFDA-4C69-8E79-A083B7EFBA29}"/>
                </c:ext>
              </c:extLst>
            </c:dLbl>
            <c:dLbl>
              <c:idx val="1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C-BFDA-4C69-8E79-A083B7EFBA29}"/>
                </c:ext>
              </c:extLst>
            </c:dLbl>
            <c:dLbl>
              <c:idx val="2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BFDA-4C69-8E79-A083B7EFBA29}"/>
                </c:ext>
              </c:extLst>
            </c:dLbl>
            <c:dLbl>
              <c:idx val="2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BFDA-4C69-8E79-A083B7EFBA29}"/>
                </c:ext>
              </c:extLst>
            </c:dLbl>
            <c:dLbl>
              <c:idx val="2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F-BFDA-4C69-8E79-A083B7EFBA29}"/>
                </c:ext>
              </c:extLst>
            </c:dLbl>
            <c:dLbl>
              <c:idx val="2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0-BFDA-4C69-8E79-A083B7EFBA29}"/>
                </c:ext>
              </c:extLst>
            </c:dLbl>
            <c:dLbl>
              <c:idx val="2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1-BFDA-4C69-8E79-A083B7EFBA29}"/>
                </c:ext>
              </c:extLst>
            </c:dLbl>
            <c:dLbl>
              <c:idx val="2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BFDA-4C69-8E79-A083B7EFBA29}"/>
                </c:ext>
              </c:extLst>
            </c:dLbl>
            <c:dLbl>
              <c:idx val="2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BFDA-4C69-8E79-A083B7EFBA29}"/>
                </c:ext>
              </c:extLst>
            </c:dLbl>
            <c:dLbl>
              <c:idx val="2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BFDA-4C69-8E79-A083B7EFBA29}"/>
                </c:ext>
              </c:extLst>
            </c:dLbl>
            <c:dLbl>
              <c:idx val="2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5-BFDA-4C69-8E79-A083B7EFBA29}"/>
                </c:ext>
              </c:extLst>
            </c:dLbl>
            <c:dLbl>
              <c:idx val="2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6-BFDA-4C69-8E79-A083B7EFBA29}"/>
                </c:ext>
              </c:extLst>
            </c:dLbl>
            <c:dLbl>
              <c:idx val="3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7-BFDA-4C69-8E79-A083B7EFBA29}"/>
                </c:ext>
              </c:extLst>
            </c:dLbl>
            <c:dLbl>
              <c:idx val="3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8-BFDA-4C69-8E79-A083B7EFBA29}"/>
                </c:ext>
              </c:extLst>
            </c:dLbl>
            <c:dLbl>
              <c:idx val="3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9-BFDA-4C69-8E79-A083B7EFBA29}"/>
                </c:ext>
              </c:extLst>
            </c:dLbl>
            <c:dLbl>
              <c:idx val="3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BFDA-4C69-8E79-A083B7EFBA29}"/>
                </c:ext>
              </c:extLst>
            </c:dLbl>
            <c:dLbl>
              <c:idx val="3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B-BFDA-4C69-8E79-A083B7EFBA29}"/>
                </c:ext>
              </c:extLst>
            </c:dLbl>
            <c:dLbl>
              <c:idx val="3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C-BFDA-4C69-8E79-A083B7EFBA29}"/>
                </c:ext>
              </c:extLst>
            </c:dLbl>
            <c:dLbl>
              <c:idx val="3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D-BFDA-4C69-8E79-A083B7EFBA29}"/>
                </c:ext>
              </c:extLst>
            </c:dLbl>
            <c:dLbl>
              <c:idx val="3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BFDA-4C69-8E79-A083B7EFBA29}"/>
                </c:ext>
              </c:extLst>
            </c:dLbl>
            <c:dLbl>
              <c:idx val="3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BFDA-4C69-8E79-A083B7EFBA29}"/>
                </c:ext>
              </c:extLst>
            </c:dLbl>
            <c:dLbl>
              <c:idx val="3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BFDA-4C69-8E79-A083B7EFBA29}"/>
                </c:ext>
              </c:extLst>
            </c:dLbl>
            <c:dLbl>
              <c:idx val="4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1-BFDA-4C69-8E79-A083B7EFBA29}"/>
                </c:ext>
              </c:extLst>
            </c:dLbl>
            <c:dLbl>
              <c:idx val="4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BFDA-4C69-8E79-A083B7EFBA29}"/>
                </c:ext>
              </c:extLst>
            </c:dLbl>
            <c:dLbl>
              <c:idx val="4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BFDA-4C69-8E79-A083B7EFBA29}"/>
                </c:ext>
              </c:extLst>
            </c:dLbl>
            <c:dLbl>
              <c:idx val="4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BFDA-4C69-8E79-A083B7EFBA29}"/>
                </c:ext>
              </c:extLst>
            </c:dLbl>
            <c:dLbl>
              <c:idx val="4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BFDA-4C69-8E79-A083B7EFBA29}"/>
                </c:ext>
              </c:extLst>
            </c:dLbl>
            <c:dLbl>
              <c:idx val="4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BFDA-4C69-8E79-A083B7EFBA29}"/>
                </c:ext>
              </c:extLst>
            </c:dLbl>
            <c:dLbl>
              <c:idx val="4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BFDA-4C69-8E79-A083B7EFBA29}"/>
                </c:ext>
              </c:extLst>
            </c:dLbl>
            <c:dLbl>
              <c:idx val="4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BFDA-4C69-8E79-A083B7EFBA29}"/>
                </c:ext>
              </c:extLst>
            </c:dLbl>
            <c:dLbl>
              <c:idx val="4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2</c:f>
              <c:numCache>
                <c:formatCode>General</c:formatCode>
                <c:ptCount val="1"/>
                <c:pt idx="0">
                  <c:v>0.3742</c:v>
                </c:pt>
              </c:numCache>
            </c:numRef>
          </c:xVal>
          <c:yVal>
            <c:numRef>
              <c:f>Sheet1!$B$2:$B$2</c:f>
              <c:numCache>
                <c:formatCode>General</c:formatCode>
                <c:ptCount val="1"/>
                <c:pt idx="0">
                  <c:v>1964.9795918367347</c:v>
                </c:pt>
              </c:numCache>
            </c:numRef>
          </c:yVal>
          <c:bubbleSize>
            <c:numRef>
              <c:f>Sheet1!$C$2:$C$2</c:f>
              <c:numCache>
                <c:formatCode>General</c:formatCode>
                <c:ptCount val="1"/>
                <c:pt idx="0">
                  <c:v>114232.42059999998</c:v>
                </c:pt>
              </c:numCache>
            </c:numRef>
          </c:bubbleSize>
          <c:bubble3D val="0"/>
          <c:extLst>
            <c:ext xmlns:c15="http://schemas.microsoft.com/office/drawing/2012/chart" uri="{02D57815-91ED-43cb-92C2-25804820EDAC}">
              <c15:datalabelsRange>
                <c15:f>Sheet1!$E$2:$E$50</c15:f>
                <c15:dlblRangeCache>
                  <c:ptCount val="49"/>
                  <c:pt idx="0">
                    <c:v>Findus Merluzzo Altro Findus Fish Bar 245GR</c:v>
                  </c:pt>
                  <c:pt idx="1">
                    <c:v>Findus Merluzzo D Alaska Chips Findus Big Burger 227GR</c:v>
                  </c:pt>
                  <c:pt idx="2">
                    <c:v>Findus Merluzzo D Alaska Standard Findus Big Burger 227GR</c:v>
                  </c:pt>
                  <c:pt idx="3">
                    <c:v>Findus Merluzzo E Spinaci Filetto Findus Croccole 300GR</c:v>
                  </c:pt>
                  <c:pt idx="4">
                    <c:v>Findus Merluzzo Filetto Findus Croccole 300GR</c:v>
                  </c:pt>
                  <c:pt idx="5">
                    <c:v>Findus Merluzzo Filetto Findus Croccole 600GR</c:v>
                  </c:pt>
                  <c:pt idx="6">
                    <c:v>Findus Merluzzo Filetto Findus Fish &amp; Crock 250GR</c:v>
                  </c:pt>
                  <c:pt idx="7">
                    <c:v>Findus Merluzzo Filetto Findus Fish Bar 240GR</c:v>
                  </c:pt>
                  <c:pt idx="8">
                    <c:v>Findus Merluzzo Semi Filetto Findus Croccole 300GR</c:v>
                  </c:pt>
                  <c:pt idx="9">
                    <c:v>Findus Merluzzo Senza Glutine Filetto Findus Croccole 250GR</c:v>
                  </c:pt>
                  <c:pt idx="10">
                    <c:v>Findus Platessa Filetto Findus Platessa 250GR</c:v>
                  </c:pt>
                  <c:pt idx="11">
                    <c:v>Findus Salmone Altro Findus Fish Bar 220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La Vache Qui Rit</c:v>
                </c:pt>
                <c:pt idx="1">
                  <c:v>Mini Babybel</c:v>
                </c:pt>
                <c:pt idx="2">
                  <c:v>Kiri</c:v>
                </c:pt>
                <c:pt idx="3">
                  <c:v>Private Label</c:v>
                </c:pt>
                <c:pt idx="4">
                  <c:v>Ficello</c:v>
                </c:pt>
                <c:pt idx="5">
                  <c:v>P'Tit Louis</c:v>
                </c:pt>
                <c:pt idx="6">
                  <c:v>Others</c:v>
                </c:pt>
              </c:strCache>
            </c:strRef>
          </c:cat>
          <c:val>
            <c:numRef>
              <c:f>Sheet1!$B$2:$B$8</c:f>
              <c:numCache>
                <c:formatCode>General</c:formatCode>
                <c:ptCount val="7"/>
                <c:pt idx="0">
                  <c:v>0.2960830729772855</c:v>
                </c:pt>
                <c:pt idx="1">
                  <c:v>0.2535139895538707</c:v>
                </c:pt>
                <c:pt idx="2">
                  <c:v>0.21522591902681237</c:v>
                </c:pt>
                <c:pt idx="3">
                  <c:v>0.1390592036146225</c:v>
                </c:pt>
                <c:pt idx="4">
                  <c:v>0.07612622175659405</c:v>
                </c:pt>
                <c:pt idx="5">
                  <c:v>0.019990162338737134</c:v>
                </c:pt>
                <c:pt idx="6">
                  <c:v>1.430732077777116e-06</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La Vache Qui Rit</c:v>
                </c:pt>
                <c:pt idx="1">
                  <c:v>Mini Babybel</c:v>
                </c:pt>
                <c:pt idx="2">
                  <c:v>Kiri</c:v>
                </c:pt>
                <c:pt idx="3">
                  <c:v>Private Label</c:v>
                </c:pt>
                <c:pt idx="4">
                  <c:v>Ficello</c:v>
                </c:pt>
                <c:pt idx="5">
                  <c:v>P'Tit Louis</c:v>
                </c:pt>
                <c:pt idx="6">
                  <c:v>Others</c:v>
                </c:pt>
              </c:strCache>
            </c:strRef>
          </c:cat>
          <c:val>
            <c:numRef>
              <c:f>Sheet1!$C$2:$C$8</c:f>
              <c:numCache>
                <c:formatCode>General</c:formatCode>
                <c:ptCount val="7"/>
                <c:pt idx="0">
                  <c:v>0.24831712789827973</c:v>
                </c:pt>
                <c:pt idx="1">
                  <c:v>0.24840688107703818</c:v>
                </c:pt>
                <c:pt idx="2">
                  <c:v>0.264831712789828</c:v>
                </c:pt>
                <c:pt idx="3">
                  <c:v>0.11596110695587136</c:v>
                </c:pt>
                <c:pt idx="4">
                  <c:v>0.08409872849663426</c:v>
                </c:pt>
                <c:pt idx="5">
                  <c:v>0.038384442782348545</c:v>
                </c:pt>
                <c:pt idx="6">
                  <c:v>0.0</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La Vache Qui Rit</c:v>
                </c:pt>
                <c:pt idx="1">
                  <c:v>Mini Babybel</c:v>
                </c:pt>
                <c:pt idx="2">
                  <c:v>Kiri</c:v>
                </c:pt>
                <c:pt idx="3">
                  <c:v>Private Label</c:v>
                </c:pt>
                <c:pt idx="4">
                  <c:v>Ficello</c:v>
                </c:pt>
                <c:pt idx="5">
                  <c:v>P'Tit Louis</c:v>
                </c:pt>
                <c:pt idx="6">
                  <c:v>Others</c:v>
                </c:pt>
              </c:strCache>
            </c:strRef>
          </c:cat>
          <c:val>
            <c:numRef>
              <c:f>Sheet1!$D$2:$D$8</c:f>
              <c:numCache>
                <c:formatCode>General</c:formatCode>
                <c:ptCount val="7"/>
                <c:pt idx="0">
                  <c:v>83.86738404235956</c:v>
                </c:pt>
                <c:pt idx="1">
                  <c:v>97.98547272053113</c:v>
                </c:pt>
                <c:pt idx="2">
                  <c:v>123.04824343987855</c:v>
                </c:pt>
                <c:pt idx="3">
                  <c:v>83.3897390044291</c:v>
                </c:pt>
                <c:pt idx="4">
                  <c:v>110.47274717709163</c:v>
                </c:pt>
                <c:pt idx="5">
                  <c:v>192.0166636564366</c:v>
                </c:pt>
                <c:pt idx="6">
                  <c:v>1.0</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F0C9F5DA-F824-4B50-B51B-A60BD64B542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6F6512BA-F0B1-4BF9-9832-870CD25E074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CA534D7F-75AC-404D-ABBD-8B747AE129A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FAACBD5E-79D8-4A14-97AD-8105EEE39DA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445C2073-69ED-470E-A7E1-B246849B2F2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5960CE21-FD35-4678-AF15-2A1BAD5ADEF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840CAC9C-CDC8-434D-9BFA-D9FF8EAAE74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5-BFDA-4C69-8E79-A083B7EFBA29}"/>
                </c:ext>
              </c:extLst>
            </c:dLbl>
            <c:dLbl>
              <c:idx val="1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BFDA-4C69-8E79-A083B7EFBA29}"/>
                </c:ext>
              </c:extLst>
            </c:dLbl>
            <c:dLbl>
              <c:idx val="1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BFDA-4C69-8E79-A083B7EFBA29}"/>
                </c:ext>
              </c:extLst>
            </c:dLbl>
            <c:dLbl>
              <c:idx val="1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BFDA-4C69-8E79-A083B7EFBA29}"/>
                </c:ext>
              </c:extLst>
            </c:dLbl>
            <c:dLbl>
              <c:idx val="1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9-BFDA-4C69-8E79-A083B7EFBA29}"/>
                </c:ext>
              </c:extLst>
            </c:dLbl>
            <c:dLbl>
              <c:idx val="1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A-BFDA-4C69-8E79-A083B7EFBA29}"/>
                </c:ext>
              </c:extLst>
            </c:dLbl>
            <c:dLbl>
              <c:idx val="1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B-BFDA-4C69-8E79-A083B7EFBA29}"/>
                </c:ext>
              </c:extLst>
            </c:dLbl>
            <c:dLbl>
              <c:idx val="1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C-BFDA-4C69-8E79-A083B7EFBA29}"/>
                </c:ext>
              </c:extLst>
            </c:dLbl>
            <c:dLbl>
              <c:idx val="2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BFDA-4C69-8E79-A083B7EFBA29}"/>
                </c:ext>
              </c:extLst>
            </c:dLbl>
            <c:dLbl>
              <c:idx val="2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BFDA-4C69-8E79-A083B7EFBA29}"/>
                </c:ext>
              </c:extLst>
            </c:dLbl>
            <c:dLbl>
              <c:idx val="2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F-BFDA-4C69-8E79-A083B7EFBA29}"/>
                </c:ext>
              </c:extLst>
            </c:dLbl>
            <c:dLbl>
              <c:idx val="2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0-BFDA-4C69-8E79-A083B7EFBA29}"/>
                </c:ext>
              </c:extLst>
            </c:dLbl>
            <c:dLbl>
              <c:idx val="2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1-BFDA-4C69-8E79-A083B7EFBA29}"/>
                </c:ext>
              </c:extLst>
            </c:dLbl>
            <c:dLbl>
              <c:idx val="2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BFDA-4C69-8E79-A083B7EFBA29}"/>
                </c:ext>
              </c:extLst>
            </c:dLbl>
            <c:dLbl>
              <c:idx val="2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BFDA-4C69-8E79-A083B7EFBA29}"/>
                </c:ext>
              </c:extLst>
            </c:dLbl>
            <c:dLbl>
              <c:idx val="2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BFDA-4C69-8E79-A083B7EFBA29}"/>
                </c:ext>
              </c:extLst>
            </c:dLbl>
            <c:dLbl>
              <c:idx val="2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5-BFDA-4C69-8E79-A083B7EFBA29}"/>
                </c:ext>
              </c:extLst>
            </c:dLbl>
            <c:dLbl>
              <c:idx val="2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6-BFDA-4C69-8E79-A083B7EFBA29}"/>
                </c:ext>
              </c:extLst>
            </c:dLbl>
            <c:dLbl>
              <c:idx val="3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7-BFDA-4C69-8E79-A083B7EFBA29}"/>
                </c:ext>
              </c:extLst>
            </c:dLbl>
            <c:dLbl>
              <c:idx val="3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8-BFDA-4C69-8E79-A083B7EFBA29}"/>
                </c:ext>
              </c:extLst>
            </c:dLbl>
            <c:dLbl>
              <c:idx val="3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9-BFDA-4C69-8E79-A083B7EFBA29}"/>
                </c:ext>
              </c:extLst>
            </c:dLbl>
            <c:dLbl>
              <c:idx val="3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BFDA-4C69-8E79-A083B7EFBA29}"/>
                </c:ext>
              </c:extLst>
            </c:dLbl>
            <c:dLbl>
              <c:idx val="3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B-BFDA-4C69-8E79-A083B7EFBA29}"/>
                </c:ext>
              </c:extLst>
            </c:dLbl>
            <c:dLbl>
              <c:idx val="3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C-BFDA-4C69-8E79-A083B7EFBA29}"/>
                </c:ext>
              </c:extLst>
            </c:dLbl>
            <c:dLbl>
              <c:idx val="3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D-BFDA-4C69-8E79-A083B7EFBA29}"/>
                </c:ext>
              </c:extLst>
            </c:dLbl>
            <c:dLbl>
              <c:idx val="3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BFDA-4C69-8E79-A083B7EFBA29}"/>
                </c:ext>
              </c:extLst>
            </c:dLbl>
            <c:dLbl>
              <c:idx val="3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BFDA-4C69-8E79-A083B7EFBA29}"/>
                </c:ext>
              </c:extLst>
            </c:dLbl>
            <c:dLbl>
              <c:idx val="3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BFDA-4C69-8E79-A083B7EFBA29}"/>
                </c:ext>
              </c:extLst>
            </c:dLbl>
            <c:dLbl>
              <c:idx val="4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1-BFDA-4C69-8E79-A083B7EFBA29}"/>
                </c:ext>
              </c:extLst>
            </c:dLbl>
            <c:dLbl>
              <c:idx val="4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BFDA-4C69-8E79-A083B7EFBA29}"/>
                </c:ext>
              </c:extLst>
            </c:dLbl>
            <c:dLbl>
              <c:idx val="4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BFDA-4C69-8E79-A083B7EFBA29}"/>
                </c:ext>
              </c:extLst>
            </c:dLbl>
            <c:dLbl>
              <c:idx val="4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BFDA-4C69-8E79-A083B7EFBA29}"/>
                </c:ext>
              </c:extLst>
            </c:dLbl>
            <c:dLbl>
              <c:idx val="4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BFDA-4C69-8E79-A083B7EFBA29}"/>
                </c:ext>
              </c:extLst>
            </c:dLbl>
            <c:dLbl>
              <c:idx val="4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BFDA-4C69-8E79-A083B7EFBA29}"/>
                </c:ext>
              </c:extLst>
            </c:dLbl>
            <c:dLbl>
              <c:idx val="4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BFDA-4C69-8E79-A083B7EFBA29}"/>
                </c:ext>
              </c:extLst>
            </c:dLbl>
            <c:dLbl>
              <c:idx val="4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BFDA-4C69-8E79-A083B7EFBA29}"/>
                </c:ext>
              </c:extLst>
            </c:dLbl>
            <c:dLbl>
              <c:idx val="4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3</c:f>
              <c:numCache>
                <c:formatCode>General</c:formatCode>
                <c:ptCount val="2"/>
                <c:pt idx="0">
                  <c:v>0.3783</c:v>
                </c:pt>
                <c:pt idx="1">
                  <c:v>0.3769</c:v>
                </c:pt>
              </c:numCache>
            </c:numRef>
          </c:xVal>
          <c:yVal>
            <c:numRef>
              <c:f>Sheet1!$B$2:$B$3</c:f>
              <c:numCache>
                <c:formatCode>General</c:formatCode>
                <c:ptCount val="2"/>
                <c:pt idx="0">
                  <c:v>3677.639175257732</c:v>
                </c:pt>
                <c:pt idx="1">
                  <c:v>3513.025316455696</c:v>
                </c:pt>
              </c:numCache>
            </c:numRef>
          </c:yVal>
          <c:bubbleSize>
            <c:numRef>
              <c:f>Sheet1!$C$2:$C$3</c:f>
              <c:numCache>
                <c:formatCode>General</c:formatCode>
                <c:ptCount val="2"/>
                <c:pt idx="0">
                  <c:v>210202.21399999998</c:v>
                </c:pt>
                <c:pt idx="1">
                  <c:v>163905.20519999997</c:v>
                </c:pt>
              </c:numCache>
            </c:numRef>
          </c:bubbleSize>
          <c:bubble3D val="0"/>
          <c:extLst>
            <c:ext xmlns:c15="http://schemas.microsoft.com/office/drawing/2012/chart" uri="{02D57815-91ED-43cb-92C2-25804820EDAC}">
              <c15:datalabelsRange>
                <c15:f>Sheet1!$E$2:$E$50</c15:f>
                <c15:dlblRangeCache>
                  <c:ptCount val="49"/>
                  <c:pt idx="0">
                    <c:v>Findus Merluzzo Altro Findus Fish Bar 245GR</c:v>
                  </c:pt>
                  <c:pt idx="1">
                    <c:v>Findus Merluzzo D Alaska Chips Findus Big Burger 227GR</c:v>
                  </c:pt>
                  <c:pt idx="2">
                    <c:v>Findus Merluzzo D Alaska Standard Findus Big Burger 227GR</c:v>
                  </c:pt>
                  <c:pt idx="3">
                    <c:v>Findus Merluzzo E Spinaci Filetto Findus Croccole 300GR</c:v>
                  </c:pt>
                  <c:pt idx="4">
                    <c:v>Findus Merluzzo Filetto Findus Croccole 300GR</c:v>
                  </c:pt>
                  <c:pt idx="5">
                    <c:v>Findus Merluzzo Filetto Findus Croccole 600GR</c:v>
                  </c:pt>
                  <c:pt idx="6">
                    <c:v>Findus Merluzzo Filetto Findus Fish &amp; Crock 250GR</c:v>
                  </c:pt>
                  <c:pt idx="7">
                    <c:v>Findus Merluzzo Filetto Findus Fish Bar 240GR</c:v>
                  </c:pt>
                  <c:pt idx="8">
                    <c:v>Findus Merluzzo Semi Filetto Findus Croccole 300GR</c:v>
                  </c:pt>
                  <c:pt idx="9">
                    <c:v>Findus Merluzzo Senza Glutine Filetto Findus Croccole 250GR</c:v>
                  </c:pt>
                  <c:pt idx="10">
                    <c:v>Findus Platessa Filetto Findus Platessa 250GR</c:v>
                  </c:pt>
                  <c:pt idx="11">
                    <c:v>Findus Salmone Altro Findus Fish Bar 220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3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DE2E1E45-A057-4B7D-86E0-D7F8B25FEE8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9F02A6F3-ADF2-44DF-8433-3E4B0987C02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98CF92E4-7E4A-4E21-B378-9262D00B65F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86C71064-EB99-42A9-A861-B2A38CF96F2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DD6F9CB8-94D4-42E3-9803-CDAAF0ACCB4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7034985C-3108-416F-9388-36687B96470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C2560023-CBD1-4194-B91E-06F7D60CF58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5-BFDA-4C69-8E79-A083B7EFBA29}"/>
                </c:ext>
              </c:extLst>
            </c:dLbl>
            <c:dLbl>
              <c:idx val="1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BFDA-4C69-8E79-A083B7EFBA29}"/>
                </c:ext>
              </c:extLst>
            </c:dLbl>
            <c:dLbl>
              <c:idx val="1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BFDA-4C69-8E79-A083B7EFBA29}"/>
                </c:ext>
              </c:extLst>
            </c:dLbl>
            <c:dLbl>
              <c:idx val="1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BFDA-4C69-8E79-A083B7EFBA29}"/>
                </c:ext>
              </c:extLst>
            </c:dLbl>
            <c:dLbl>
              <c:idx val="1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9-BFDA-4C69-8E79-A083B7EFBA29}"/>
                </c:ext>
              </c:extLst>
            </c:dLbl>
            <c:dLbl>
              <c:idx val="1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A-BFDA-4C69-8E79-A083B7EFBA29}"/>
                </c:ext>
              </c:extLst>
            </c:dLbl>
            <c:dLbl>
              <c:idx val="1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B-BFDA-4C69-8E79-A083B7EFBA29}"/>
                </c:ext>
              </c:extLst>
            </c:dLbl>
            <c:dLbl>
              <c:idx val="1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C-BFDA-4C69-8E79-A083B7EFBA29}"/>
                </c:ext>
              </c:extLst>
            </c:dLbl>
            <c:dLbl>
              <c:idx val="2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BFDA-4C69-8E79-A083B7EFBA29}"/>
                </c:ext>
              </c:extLst>
            </c:dLbl>
            <c:dLbl>
              <c:idx val="2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BFDA-4C69-8E79-A083B7EFBA29}"/>
                </c:ext>
              </c:extLst>
            </c:dLbl>
            <c:dLbl>
              <c:idx val="2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F-BFDA-4C69-8E79-A083B7EFBA29}"/>
                </c:ext>
              </c:extLst>
            </c:dLbl>
            <c:dLbl>
              <c:idx val="2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0-BFDA-4C69-8E79-A083B7EFBA29}"/>
                </c:ext>
              </c:extLst>
            </c:dLbl>
            <c:dLbl>
              <c:idx val="2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1-BFDA-4C69-8E79-A083B7EFBA29}"/>
                </c:ext>
              </c:extLst>
            </c:dLbl>
            <c:dLbl>
              <c:idx val="2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BFDA-4C69-8E79-A083B7EFBA29}"/>
                </c:ext>
              </c:extLst>
            </c:dLbl>
            <c:dLbl>
              <c:idx val="2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BFDA-4C69-8E79-A083B7EFBA29}"/>
                </c:ext>
              </c:extLst>
            </c:dLbl>
            <c:dLbl>
              <c:idx val="2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BFDA-4C69-8E79-A083B7EFBA29}"/>
                </c:ext>
              </c:extLst>
            </c:dLbl>
            <c:dLbl>
              <c:idx val="2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5-BFDA-4C69-8E79-A083B7EFBA29}"/>
                </c:ext>
              </c:extLst>
            </c:dLbl>
            <c:dLbl>
              <c:idx val="2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6-BFDA-4C69-8E79-A083B7EFBA29}"/>
                </c:ext>
              </c:extLst>
            </c:dLbl>
            <c:dLbl>
              <c:idx val="3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7-BFDA-4C69-8E79-A083B7EFBA29}"/>
                </c:ext>
              </c:extLst>
            </c:dLbl>
            <c:dLbl>
              <c:idx val="3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8-BFDA-4C69-8E79-A083B7EFBA29}"/>
                </c:ext>
              </c:extLst>
            </c:dLbl>
            <c:dLbl>
              <c:idx val="3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9-BFDA-4C69-8E79-A083B7EFBA29}"/>
                </c:ext>
              </c:extLst>
            </c:dLbl>
            <c:dLbl>
              <c:idx val="3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BFDA-4C69-8E79-A083B7EFBA29}"/>
                </c:ext>
              </c:extLst>
            </c:dLbl>
            <c:dLbl>
              <c:idx val="3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B-BFDA-4C69-8E79-A083B7EFBA29}"/>
                </c:ext>
              </c:extLst>
            </c:dLbl>
            <c:dLbl>
              <c:idx val="3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C-BFDA-4C69-8E79-A083B7EFBA29}"/>
                </c:ext>
              </c:extLst>
            </c:dLbl>
            <c:dLbl>
              <c:idx val="3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D-BFDA-4C69-8E79-A083B7EFBA29}"/>
                </c:ext>
              </c:extLst>
            </c:dLbl>
            <c:dLbl>
              <c:idx val="3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BFDA-4C69-8E79-A083B7EFBA29}"/>
                </c:ext>
              </c:extLst>
            </c:dLbl>
            <c:dLbl>
              <c:idx val="3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BFDA-4C69-8E79-A083B7EFBA29}"/>
                </c:ext>
              </c:extLst>
            </c:dLbl>
            <c:dLbl>
              <c:idx val="3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BFDA-4C69-8E79-A083B7EFBA29}"/>
                </c:ext>
              </c:extLst>
            </c:dLbl>
            <c:dLbl>
              <c:idx val="4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1-BFDA-4C69-8E79-A083B7EFBA29}"/>
                </c:ext>
              </c:extLst>
            </c:dLbl>
            <c:dLbl>
              <c:idx val="4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BFDA-4C69-8E79-A083B7EFBA29}"/>
                </c:ext>
              </c:extLst>
            </c:dLbl>
            <c:dLbl>
              <c:idx val="4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BFDA-4C69-8E79-A083B7EFBA29}"/>
                </c:ext>
              </c:extLst>
            </c:dLbl>
            <c:dLbl>
              <c:idx val="4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BFDA-4C69-8E79-A083B7EFBA29}"/>
                </c:ext>
              </c:extLst>
            </c:dLbl>
            <c:dLbl>
              <c:idx val="4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BFDA-4C69-8E79-A083B7EFBA29}"/>
                </c:ext>
              </c:extLst>
            </c:dLbl>
            <c:dLbl>
              <c:idx val="4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BFDA-4C69-8E79-A083B7EFBA29}"/>
                </c:ext>
              </c:extLst>
            </c:dLbl>
            <c:dLbl>
              <c:idx val="4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BFDA-4C69-8E79-A083B7EFBA29}"/>
                </c:ext>
              </c:extLst>
            </c:dLbl>
            <c:dLbl>
              <c:idx val="4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BFDA-4C69-8E79-A083B7EFBA29}"/>
                </c:ext>
              </c:extLst>
            </c:dLbl>
            <c:dLbl>
              <c:idx val="4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2</c:f>
              <c:numCache>
                <c:formatCode>General</c:formatCode>
                <c:ptCount val="1"/>
                <c:pt idx="0">
                  <c:v>0.4017</c:v>
                </c:pt>
              </c:numCache>
            </c:numRef>
          </c:xVal>
          <c:yVal>
            <c:numRef>
              <c:f>Sheet1!$B$2:$B$2</c:f>
              <c:numCache>
                <c:formatCode>General</c:formatCode>
                <c:ptCount val="1"/>
                <c:pt idx="0">
                  <c:v>1510.361111111111</c:v>
                </c:pt>
              </c:numCache>
            </c:numRef>
          </c:yVal>
          <c:bubbleSize>
            <c:numRef>
              <c:f>Sheet1!$C$2:$C$2</c:f>
              <c:numCache>
                <c:formatCode>General</c:formatCode>
                <c:ptCount val="1"/>
                <c:pt idx="0">
                  <c:v>61671.757699999995</c:v>
                </c:pt>
              </c:numCache>
            </c:numRef>
          </c:bubbleSize>
          <c:bubble3D val="0"/>
          <c:extLst>
            <c:ext xmlns:c15="http://schemas.microsoft.com/office/drawing/2012/chart" uri="{02D57815-91ED-43cb-92C2-25804820EDAC}">
              <c15:datalabelsRange>
                <c15:f>Sheet1!$E$2:$E$50</c15:f>
                <c15:dlblRangeCache>
                  <c:ptCount val="49"/>
                  <c:pt idx="0">
                    <c:v>Findus Merluzzo Altro Findus Fish Bar 245GR</c:v>
                  </c:pt>
                  <c:pt idx="1">
                    <c:v>Findus Merluzzo D Alaska Chips Findus Big Burger 227GR</c:v>
                  </c:pt>
                  <c:pt idx="2">
                    <c:v>Findus Merluzzo D Alaska Standard Findus Big Burger 227GR</c:v>
                  </c:pt>
                  <c:pt idx="3">
                    <c:v>Findus Merluzzo E Spinaci Filetto Findus Croccole 300GR</c:v>
                  </c:pt>
                  <c:pt idx="4">
                    <c:v>Findus Merluzzo Filetto Findus Croccole 300GR</c:v>
                  </c:pt>
                  <c:pt idx="5">
                    <c:v>Findus Merluzzo Filetto Findus Croccole 600GR</c:v>
                  </c:pt>
                  <c:pt idx="6">
                    <c:v>Findus Merluzzo Filetto Findus Fish &amp; Crock 250GR</c:v>
                  </c:pt>
                  <c:pt idx="7">
                    <c:v>Findus Merluzzo Filetto Findus Fish Bar 240GR</c:v>
                  </c:pt>
                  <c:pt idx="8">
                    <c:v>Findus Merluzzo Semi Filetto Findus Croccole 300GR</c:v>
                  </c:pt>
                  <c:pt idx="9">
                    <c:v>Findus Merluzzo Senza Glutine Filetto Findus Croccole 250GR</c:v>
                  </c:pt>
                  <c:pt idx="10">
                    <c:v>Findus Platessa Filetto Findus Platessa 250GR</c:v>
                  </c:pt>
                  <c:pt idx="11">
                    <c:v>Findus Salmone Altro Findus Fish Bar 220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3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FE63A132-F0DA-4142-B498-2473FB2EC33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FB541232-CBAC-486F-BBAC-0C3AFDACB8A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EC3717D3-5974-4530-8879-CD6C2B91190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169D0AAD-D05A-4CCD-AC30-8DB05F06054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6E90C1F6-6483-4F2D-A3F2-FAE52AC5EAB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D4DEEE48-798B-444B-A83A-F9877EF3E96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404B45E2-9C47-470A-B3A7-EE15B9F9947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5-BFDA-4C69-8E79-A083B7EFBA29}"/>
                </c:ext>
              </c:extLst>
            </c:dLbl>
            <c:dLbl>
              <c:idx val="1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BFDA-4C69-8E79-A083B7EFBA29}"/>
                </c:ext>
              </c:extLst>
            </c:dLbl>
            <c:dLbl>
              <c:idx val="1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BFDA-4C69-8E79-A083B7EFBA29}"/>
                </c:ext>
              </c:extLst>
            </c:dLbl>
            <c:dLbl>
              <c:idx val="1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BFDA-4C69-8E79-A083B7EFBA29}"/>
                </c:ext>
              </c:extLst>
            </c:dLbl>
            <c:dLbl>
              <c:idx val="1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9-BFDA-4C69-8E79-A083B7EFBA29}"/>
                </c:ext>
              </c:extLst>
            </c:dLbl>
            <c:dLbl>
              <c:idx val="1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A-BFDA-4C69-8E79-A083B7EFBA29}"/>
                </c:ext>
              </c:extLst>
            </c:dLbl>
            <c:dLbl>
              <c:idx val="1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B-BFDA-4C69-8E79-A083B7EFBA29}"/>
                </c:ext>
              </c:extLst>
            </c:dLbl>
            <c:dLbl>
              <c:idx val="1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C-BFDA-4C69-8E79-A083B7EFBA29}"/>
                </c:ext>
              </c:extLst>
            </c:dLbl>
            <c:dLbl>
              <c:idx val="2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BFDA-4C69-8E79-A083B7EFBA29}"/>
                </c:ext>
              </c:extLst>
            </c:dLbl>
            <c:dLbl>
              <c:idx val="2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BFDA-4C69-8E79-A083B7EFBA29}"/>
                </c:ext>
              </c:extLst>
            </c:dLbl>
            <c:dLbl>
              <c:idx val="2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F-BFDA-4C69-8E79-A083B7EFBA29}"/>
                </c:ext>
              </c:extLst>
            </c:dLbl>
            <c:dLbl>
              <c:idx val="2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0-BFDA-4C69-8E79-A083B7EFBA29}"/>
                </c:ext>
              </c:extLst>
            </c:dLbl>
            <c:dLbl>
              <c:idx val="2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1-BFDA-4C69-8E79-A083B7EFBA29}"/>
                </c:ext>
              </c:extLst>
            </c:dLbl>
            <c:dLbl>
              <c:idx val="2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BFDA-4C69-8E79-A083B7EFBA29}"/>
                </c:ext>
              </c:extLst>
            </c:dLbl>
            <c:dLbl>
              <c:idx val="2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BFDA-4C69-8E79-A083B7EFBA29}"/>
                </c:ext>
              </c:extLst>
            </c:dLbl>
            <c:dLbl>
              <c:idx val="2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BFDA-4C69-8E79-A083B7EFBA29}"/>
                </c:ext>
              </c:extLst>
            </c:dLbl>
            <c:dLbl>
              <c:idx val="2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5-BFDA-4C69-8E79-A083B7EFBA29}"/>
                </c:ext>
              </c:extLst>
            </c:dLbl>
            <c:dLbl>
              <c:idx val="2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6-BFDA-4C69-8E79-A083B7EFBA29}"/>
                </c:ext>
              </c:extLst>
            </c:dLbl>
            <c:dLbl>
              <c:idx val="3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7-BFDA-4C69-8E79-A083B7EFBA29}"/>
                </c:ext>
              </c:extLst>
            </c:dLbl>
            <c:dLbl>
              <c:idx val="3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8-BFDA-4C69-8E79-A083B7EFBA29}"/>
                </c:ext>
              </c:extLst>
            </c:dLbl>
            <c:dLbl>
              <c:idx val="3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9-BFDA-4C69-8E79-A083B7EFBA29}"/>
                </c:ext>
              </c:extLst>
            </c:dLbl>
            <c:dLbl>
              <c:idx val="3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BFDA-4C69-8E79-A083B7EFBA29}"/>
                </c:ext>
              </c:extLst>
            </c:dLbl>
            <c:dLbl>
              <c:idx val="3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B-BFDA-4C69-8E79-A083B7EFBA29}"/>
                </c:ext>
              </c:extLst>
            </c:dLbl>
            <c:dLbl>
              <c:idx val="3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C-BFDA-4C69-8E79-A083B7EFBA29}"/>
                </c:ext>
              </c:extLst>
            </c:dLbl>
            <c:dLbl>
              <c:idx val="3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D-BFDA-4C69-8E79-A083B7EFBA29}"/>
                </c:ext>
              </c:extLst>
            </c:dLbl>
            <c:dLbl>
              <c:idx val="3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BFDA-4C69-8E79-A083B7EFBA29}"/>
                </c:ext>
              </c:extLst>
            </c:dLbl>
            <c:dLbl>
              <c:idx val="3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BFDA-4C69-8E79-A083B7EFBA29}"/>
                </c:ext>
              </c:extLst>
            </c:dLbl>
            <c:dLbl>
              <c:idx val="3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BFDA-4C69-8E79-A083B7EFBA29}"/>
                </c:ext>
              </c:extLst>
            </c:dLbl>
            <c:dLbl>
              <c:idx val="4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1-BFDA-4C69-8E79-A083B7EFBA29}"/>
                </c:ext>
              </c:extLst>
            </c:dLbl>
            <c:dLbl>
              <c:idx val="4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BFDA-4C69-8E79-A083B7EFBA29}"/>
                </c:ext>
              </c:extLst>
            </c:dLbl>
            <c:dLbl>
              <c:idx val="4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BFDA-4C69-8E79-A083B7EFBA29}"/>
                </c:ext>
              </c:extLst>
            </c:dLbl>
            <c:dLbl>
              <c:idx val="4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BFDA-4C69-8E79-A083B7EFBA29}"/>
                </c:ext>
              </c:extLst>
            </c:dLbl>
            <c:dLbl>
              <c:idx val="4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BFDA-4C69-8E79-A083B7EFBA29}"/>
                </c:ext>
              </c:extLst>
            </c:dLbl>
            <c:dLbl>
              <c:idx val="4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BFDA-4C69-8E79-A083B7EFBA29}"/>
                </c:ext>
              </c:extLst>
            </c:dLbl>
            <c:dLbl>
              <c:idx val="4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BFDA-4C69-8E79-A083B7EFBA29}"/>
                </c:ext>
              </c:extLst>
            </c:dLbl>
            <c:dLbl>
              <c:idx val="4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BFDA-4C69-8E79-A083B7EFBA29}"/>
                </c:ext>
              </c:extLst>
            </c:dLbl>
            <c:dLbl>
              <c:idx val="4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3</c:f>
              <c:numCache>
                <c:formatCode>General</c:formatCode>
                <c:ptCount val="2"/>
                <c:pt idx="0">
                  <c:v>0.438</c:v>
                </c:pt>
                <c:pt idx="1">
                  <c:v>0.4161</c:v>
                </c:pt>
              </c:numCache>
            </c:numRef>
          </c:xVal>
          <c:yVal>
            <c:numRef>
              <c:f>Sheet1!$B$2:$B$3</c:f>
              <c:numCache>
                <c:formatCode>General</c:formatCode>
                <c:ptCount val="2"/>
                <c:pt idx="0">
                  <c:v>2435.8888888888887</c:v>
                </c:pt>
                <c:pt idx="1">
                  <c:v>4163.6</c:v>
                </c:pt>
              </c:numCache>
            </c:numRef>
          </c:yVal>
          <c:bubbleSize>
            <c:numRef>
              <c:f>Sheet1!$C$2:$C$3</c:f>
              <c:numCache>
                <c:formatCode>General</c:formatCode>
                <c:ptCount val="2"/>
                <c:pt idx="0">
                  <c:v>23354.848999999995</c:v>
                </c:pt>
                <c:pt idx="1">
                  <c:v>11521.692000000001</c:v>
                </c:pt>
              </c:numCache>
            </c:numRef>
          </c:bubbleSize>
          <c:bubble3D val="0"/>
          <c:extLst>
            <c:ext xmlns:c15="http://schemas.microsoft.com/office/drawing/2012/chart" uri="{02D57815-91ED-43cb-92C2-25804820EDAC}">
              <c15:datalabelsRange>
                <c15:f>Sheet1!$E$2:$E$50</c15:f>
                <c15:dlblRangeCache>
                  <c:ptCount val="49"/>
                  <c:pt idx="0">
                    <c:v>Findus Merluzzo Altro Findus Fish Bar 245GR</c:v>
                  </c:pt>
                  <c:pt idx="1">
                    <c:v>Findus Merluzzo D Alaska Chips Findus Big Burger 227GR</c:v>
                  </c:pt>
                  <c:pt idx="2">
                    <c:v>Findus Merluzzo D Alaska Standard Findus Big Burger 227GR</c:v>
                  </c:pt>
                  <c:pt idx="3">
                    <c:v>Findus Merluzzo E Spinaci Filetto Findus Croccole 300GR</c:v>
                  </c:pt>
                  <c:pt idx="4">
                    <c:v>Findus Merluzzo Filetto Findus Croccole 300GR</c:v>
                  </c:pt>
                  <c:pt idx="5">
                    <c:v>Findus Merluzzo Filetto Findus Croccole 600GR</c:v>
                  </c:pt>
                  <c:pt idx="6">
                    <c:v>Findus Merluzzo Filetto Findus Fish &amp; Crock 250GR</c:v>
                  </c:pt>
                  <c:pt idx="7">
                    <c:v>Findus Merluzzo Filetto Findus Fish Bar 240GR</c:v>
                  </c:pt>
                  <c:pt idx="8">
                    <c:v>Findus Merluzzo Semi Filetto Findus Croccole 300GR</c:v>
                  </c:pt>
                  <c:pt idx="9">
                    <c:v>Findus Merluzzo Senza Glutine Filetto Findus Croccole 250GR</c:v>
                  </c:pt>
                  <c:pt idx="10">
                    <c:v>Findus Platessa Filetto Findus Platessa 250GR</c:v>
                  </c:pt>
                  <c:pt idx="11">
                    <c:v>Findus Salmone Altro Findus Fish Bar 220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3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30BA17A3-6321-4F8E-968D-D8C3229263B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47F1E333-067E-4F61-BC48-5FFDAD53F44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98BA9377-F733-4163-945D-94854E240B1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53C1FDA7-DB57-4441-898C-8BD322A11E5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9CCE3121-95B1-45C9-9502-355671E9E7F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013EBF86-2FC7-4EB6-86AA-A46754F137D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ABACC977-F918-4C8E-B010-F17826C7947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5-BFDA-4C69-8E79-A083B7EFBA29}"/>
                </c:ext>
              </c:extLst>
            </c:dLbl>
            <c:dLbl>
              <c:idx val="1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BFDA-4C69-8E79-A083B7EFBA29}"/>
                </c:ext>
              </c:extLst>
            </c:dLbl>
            <c:dLbl>
              <c:idx val="1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BFDA-4C69-8E79-A083B7EFBA29}"/>
                </c:ext>
              </c:extLst>
            </c:dLbl>
            <c:dLbl>
              <c:idx val="1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BFDA-4C69-8E79-A083B7EFBA29}"/>
                </c:ext>
              </c:extLst>
            </c:dLbl>
            <c:dLbl>
              <c:idx val="1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9-BFDA-4C69-8E79-A083B7EFBA29}"/>
                </c:ext>
              </c:extLst>
            </c:dLbl>
            <c:dLbl>
              <c:idx val="1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A-BFDA-4C69-8E79-A083B7EFBA29}"/>
                </c:ext>
              </c:extLst>
            </c:dLbl>
            <c:dLbl>
              <c:idx val="1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B-BFDA-4C69-8E79-A083B7EFBA29}"/>
                </c:ext>
              </c:extLst>
            </c:dLbl>
            <c:dLbl>
              <c:idx val="1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C-BFDA-4C69-8E79-A083B7EFBA29}"/>
                </c:ext>
              </c:extLst>
            </c:dLbl>
            <c:dLbl>
              <c:idx val="2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BFDA-4C69-8E79-A083B7EFBA29}"/>
                </c:ext>
              </c:extLst>
            </c:dLbl>
            <c:dLbl>
              <c:idx val="2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BFDA-4C69-8E79-A083B7EFBA29}"/>
                </c:ext>
              </c:extLst>
            </c:dLbl>
            <c:dLbl>
              <c:idx val="2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F-BFDA-4C69-8E79-A083B7EFBA29}"/>
                </c:ext>
              </c:extLst>
            </c:dLbl>
            <c:dLbl>
              <c:idx val="2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0-BFDA-4C69-8E79-A083B7EFBA29}"/>
                </c:ext>
              </c:extLst>
            </c:dLbl>
            <c:dLbl>
              <c:idx val="2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1-BFDA-4C69-8E79-A083B7EFBA29}"/>
                </c:ext>
              </c:extLst>
            </c:dLbl>
            <c:dLbl>
              <c:idx val="2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BFDA-4C69-8E79-A083B7EFBA29}"/>
                </c:ext>
              </c:extLst>
            </c:dLbl>
            <c:dLbl>
              <c:idx val="2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BFDA-4C69-8E79-A083B7EFBA29}"/>
                </c:ext>
              </c:extLst>
            </c:dLbl>
            <c:dLbl>
              <c:idx val="2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BFDA-4C69-8E79-A083B7EFBA29}"/>
                </c:ext>
              </c:extLst>
            </c:dLbl>
            <c:dLbl>
              <c:idx val="2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5-BFDA-4C69-8E79-A083B7EFBA29}"/>
                </c:ext>
              </c:extLst>
            </c:dLbl>
            <c:dLbl>
              <c:idx val="2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6-BFDA-4C69-8E79-A083B7EFBA29}"/>
                </c:ext>
              </c:extLst>
            </c:dLbl>
            <c:dLbl>
              <c:idx val="3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7-BFDA-4C69-8E79-A083B7EFBA29}"/>
                </c:ext>
              </c:extLst>
            </c:dLbl>
            <c:dLbl>
              <c:idx val="3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8-BFDA-4C69-8E79-A083B7EFBA29}"/>
                </c:ext>
              </c:extLst>
            </c:dLbl>
            <c:dLbl>
              <c:idx val="3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9-BFDA-4C69-8E79-A083B7EFBA29}"/>
                </c:ext>
              </c:extLst>
            </c:dLbl>
            <c:dLbl>
              <c:idx val="3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BFDA-4C69-8E79-A083B7EFBA29}"/>
                </c:ext>
              </c:extLst>
            </c:dLbl>
            <c:dLbl>
              <c:idx val="3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B-BFDA-4C69-8E79-A083B7EFBA29}"/>
                </c:ext>
              </c:extLst>
            </c:dLbl>
            <c:dLbl>
              <c:idx val="3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C-BFDA-4C69-8E79-A083B7EFBA29}"/>
                </c:ext>
              </c:extLst>
            </c:dLbl>
            <c:dLbl>
              <c:idx val="3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D-BFDA-4C69-8E79-A083B7EFBA29}"/>
                </c:ext>
              </c:extLst>
            </c:dLbl>
            <c:dLbl>
              <c:idx val="3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BFDA-4C69-8E79-A083B7EFBA29}"/>
                </c:ext>
              </c:extLst>
            </c:dLbl>
            <c:dLbl>
              <c:idx val="3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BFDA-4C69-8E79-A083B7EFBA29}"/>
                </c:ext>
              </c:extLst>
            </c:dLbl>
            <c:dLbl>
              <c:idx val="3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BFDA-4C69-8E79-A083B7EFBA29}"/>
                </c:ext>
              </c:extLst>
            </c:dLbl>
            <c:dLbl>
              <c:idx val="4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1-BFDA-4C69-8E79-A083B7EFBA29}"/>
                </c:ext>
              </c:extLst>
            </c:dLbl>
            <c:dLbl>
              <c:idx val="4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BFDA-4C69-8E79-A083B7EFBA29}"/>
                </c:ext>
              </c:extLst>
            </c:dLbl>
            <c:dLbl>
              <c:idx val="4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BFDA-4C69-8E79-A083B7EFBA29}"/>
                </c:ext>
              </c:extLst>
            </c:dLbl>
            <c:dLbl>
              <c:idx val="4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BFDA-4C69-8E79-A083B7EFBA29}"/>
                </c:ext>
              </c:extLst>
            </c:dLbl>
            <c:dLbl>
              <c:idx val="4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BFDA-4C69-8E79-A083B7EFBA29}"/>
                </c:ext>
              </c:extLst>
            </c:dLbl>
            <c:dLbl>
              <c:idx val="4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BFDA-4C69-8E79-A083B7EFBA29}"/>
                </c:ext>
              </c:extLst>
            </c:dLbl>
            <c:dLbl>
              <c:idx val="4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BFDA-4C69-8E79-A083B7EFBA29}"/>
                </c:ext>
              </c:extLst>
            </c:dLbl>
            <c:dLbl>
              <c:idx val="4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BFDA-4C69-8E79-A083B7EFBA29}"/>
                </c:ext>
              </c:extLst>
            </c:dLbl>
            <c:dLbl>
              <c:idx val="4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2</c:f>
              <c:numCache>
                <c:formatCode>General</c:formatCode>
                <c:ptCount val="1"/>
                <c:pt idx="0">
                  <c:v>0.4907</c:v>
                </c:pt>
              </c:numCache>
            </c:numRef>
          </c:xVal>
          <c:yVal>
            <c:numRef>
              <c:f>Sheet1!$B$2:$B$2</c:f>
              <c:numCache>
                <c:formatCode>General</c:formatCode>
                <c:ptCount val="1"/>
                <c:pt idx="0">
                  <c:v>2491.0</c:v>
                </c:pt>
              </c:numCache>
            </c:numRef>
          </c:yVal>
          <c:bubbleSize>
            <c:numRef>
              <c:f>Sheet1!$C$2:$C$2</c:f>
              <c:numCache>
                <c:formatCode>General</c:formatCode>
                <c:ptCount val="1"/>
                <c:pt idx="0">
                  <c:v>38482.9421</c:v>
                </c:pt>
              </c:numCache>
            </c:numRef>
          </c:bubbleSize>
          <c:bubble3D val="0"/>
          <c:extLst>
            <c:ext xmlns:c15="http://schemas.microsoft.com/office/drawing/2012/chart" uri="{02D57815-91ED-43cb-92C2-25804820EDAC}">
              <c15:datalabelsRange>
                <c15:f>Sheet1!$E$2:$E$50</c15:f>
                <c15:dlblRangeCache>
                  <c:ptCount val="49"/>
                  <c:pt idx="0">
                    <c:v>Findus Merluzzo Altro Findus Fish Bar 245GR</c:v>
                  </c:pt>
                  <c:pt idx="1">
                    <c:v>Findus Merluzzo D Alaska Chips Findus Big Burger 227GR</c:v>
                  </c:pt>
                  <c:pt idx="2">
                    <c:v>Findus Merluzzo D Alaska Standard Findus Big Burger 227GR</c:v>
                  </c:pt>
                  <c:pt idx="3">
                    <c:v>Findus Merluzzo E Spinaci Filetto Findus Croccole 300GR</c:v>
                  </c:pt>
                  <c:pt idx="4">
                    <c:v>Findus Merluzzo Filetto Findus Croccole 300GR</c:v>
                  </c:pt>
                  <c:pt idx="5">
                    <c:v>Findus Merluzzo Filetto Findus Croccole 600GR</c:v>
                  </c:pt>
                  <c:pt idx="6">
                    <c:v>Findus Merluzzo Filetto Findus Fish &amp; Crock 250GR</c:v>
                  </c:pt>
                  <c:pt idx="7">
                    <c:v>Findus Merluzzo Filetto Findus Fish Bar 240GR</c:v>
                  </c:pt>
                  <c:pt idx="8">
                    <c:v>Findus Merluzzo Semi Filetto Findus Croccole 300GR</c:v>
                  </c:pt>
                  <c:pt idx="9">
                    <c:v>Findus Merluzzo Senza Glutine Filetto Findus Croccole 250GR</c:v>
                  </c:pt>
                  <c:pt idx="10">
                    <c:v>Findus Platessa Filetto Findus Platessa 250GR</c:v>
                  </c:pt>
                  <c:pt idx="11">
                    <c:v>Findus Salmone Altro Findus Fish Bar 220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3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AE85D5E1-EC08-4524-A5B6-30A6A2170FA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8A9A9042-B61B-49F4-8187-1402EF366CF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F919E463-1D81-46B4-A325-12B0C113BB8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5296166C-9DCF-49E7-A539-FFF07B922B1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056599EB-202E-4FAF-866E-A1E0CB3C571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31583C7D-E225-4C72-BABD-7982B8AAFFD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E6CE7AAF-ED5C-4034-A6D9-7DB17A53457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5-BFDA-4C69-8E79-A083B7EFBA29}"/>
                </c:ext>
              </c:extLst>
            </c:dLbl>
            <c:dLbl>
              <c:idx val="1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BFDA-4C69-8E79-A083B7EFBA29}"/>
                </c:ext>
              </c:extLst>
            </c:dLbl>
            <c:dLbl>
              <c:idx val="1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BFDA-4C69-8E79-A083B7EFBA29}"/>
                </c:ext>
              </c:extLst>
            </c:dLbl>
            <c:dLbl>
              <c:idx val="1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BFDA-4C69-8E79-A083B7EFBA29}"/>
                </c:ext>
              </c:extLst>
            </c:dLbl>
            <c:dLbl>
              <c:idx val="1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9-BFDA-4C69-8E79-A083B7EFBA29}"/>
                </c:ext>
              </c:extLst>
            </c:dLbl>
            <c:dLbl>
              <c:idx val="1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A-BFDA-4C69-8E79-A083B7EFBA29}"/>
                </c:ext>
              </c:extLst>
            </c:dLbl>
            <c:dLbl>
              <c:idx val="1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B-BFDA-4C69-8E79-A083B7EFBA29}"/>
                </c:ext>
              </c:extLst>
            </c:dLbl>
            <c:dLbl>
              <c:idx val="1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C-BFDA-4C69-8E79-A083B7EFBA29}"/>
                </c:ext>
              </c:extLst>
            </c:dLbl>
            <c:dLbl>
              <c:idx val="2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BFDA-4C69-8E79-A083B7EFBA29}"/>
                </c:ext>
              </c:extLst>
            </c:dLbl>
            <c:dLbl>
              <c:idx val="2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BFDA-4C69-8E79-A083B7EFBA29}"/>
                </c:ext>
              </c:extLst>
            </c:dLbl>
            <c:dLbl>
              <c:idx val="2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F-BFDA-4C69-8E79-A083B7EFBA29}"/>
                </c:ext>
              </c:extLst>
            </c:dLbl>
            <c:dLbl>
              <c:idx val="2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0-BFDA-4C69-8E79-A083B7EFBA29}"/>
                </c:ext>
              </c:extLst>
            </c:dLbl>
            <c:dLbl>
              <c:idx val="2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1-BFDA-4C69-8E79-A083B7EFBA29}"/>
                </c:ext>
              </c:extLst>
            </c:dLbl>
            <c:dLbl>
              <c:idx val="2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BFDA-4C69-8E79-A083B7EFBA29}"/>
                </c:ext>
              </c:extLst>
            </c:dLbl>
            <c:dLbl>
              <c:idx val="2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BFDA-4C69-8E79-A083B7EFBA29}"/>
                </c:ext>
              </c:extLst>
            </c:dLbl>
            <c:dLbl>
              <c:idx val="2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BFDA-4C69-8E79-A083B7EFBA29}"/>
                </c:ext>
              </c:extLst>
            </c:dLbl>
            <c:dLbl>
              <c:idx val="2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5-BFDA-4C69-8E79-A083B7EFBA29}"/>
                </c:ext>
              </c:extLst>
            </c:dLbl>
            <c:dLbl>
              <c:idx val="2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6-BFDA-4C69-8E79-A083B7EFBA29}"/>
                </c:ext>
              </c:extLst>
            </c:dLbl>
            <c:dLbl>
              <c:idx val="3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7-BFDA-4C69-8E79-A083B7EFBA29}"/>
                </c:ext>
              </c:extLst>
            </c:dLbl>
            <c:dLbl>
              <c:idx val="3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8-BFDA-4C69-8E79-A083B7EFBA29}"/>
                </c:ext>
              </c:extLst>
            </c:dLbl>
            <c:dLbl>
              <c:idx val="3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9-BFDA-4C69-8E79-A083B7EFBA29}"/>
                </c:ext>
              </c:extLst>
            </c:dLbl>
            <c:dLbl>
              <c:idx val="3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BFDA-4C69-8E79-A083B7EFBA29}"/>
                </c:ext>
              </c:extLst>
            </c:dLbl>
            <c:dLbl>
              <c:idx val="3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B-BFDA-4C69-8E79-A083B7EFBA29}"/>
                </c:ext>
              </c:extLst>
            </c:dLbl>
            <c:dLbl>
              <c:idx val="3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C-BFDA-4C69-8E79-A083B7EFBA29}"/>
                </c:ext>
              </c:extLst>
            </c:dLbl>
            <c:dLbl>
              <c:idx val="3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D-BFDA-4C69-8E79-A083B7EFBA29}"/>
                </c:ext>
              </c:extLst>
            </c:dLbl>
            <c:dLbl>
              <c:idx val="3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BFDA-4C69-8E79-A083B7EFBA29}"/>
                </c:ext>
              </c:extLst>
            </c:dLbl>
            <c:dLbl>
              <c:idx val="3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BFDA-4C69-8E79-A083B7EFBA29}"/>
                </c:ext>
              </c:extLst>
            </c:dLbl>
            <c:dLbl>
              <c:idx val="3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BFDA-4C69-8E79-A083B7EFBA29}"/>
                </c:ext>
              </c:extLst>
            </c:dLbl>
            <c:dLbl>
              <c:idx val="4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1-BFDA-4C69-8E79-A083B7EFBA29}"/>
                </c:ext>
              </c:extLst>
            </c:dLbl>
            <c:dLbl>
              <c:idx val="4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BFDA-4C69-8E79-A083B7EFBA29}"/>
                </c:ext>
              </c:extLst>
            </c:dLbl>
            <c:dLbl>
              <c:idx val="4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BFDA-4C69-8E79-A083B7EFBA29}"/>
                </c:ext>
              </c:extLst>
            </c:dLbl>
            <c:dLbl>
              <c:idx val="4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BFDA-4C69-8E79-A083B7EFBA29}"/>
                </c:ext>
              </c:extLst>
            </c:dLbl>
            <c:dLbl>
              <c:idx val="4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BFDA-4C69-8E79-A083B7EFBA29}"/>
                </c:ext>
              </c:extLst>
            </c:dLbl>
            <c:dLbl>
              <c:idx val="4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BFDA-4C69-8E79-A083B7EFBA29}"/>
                </c:ext>
              </c:extLst>
            </c:dLbl>
            <c:dLbl>
              <c:idx val="4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BFDA-4C69-8E79-A083B7EFBA29}"/>
                </c:ext>
              </c:extLst>
            </c:dLbl>
            <c:dLbl>
              <c:idx val="4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BFDA-4C69-8E79-A083B7EFBA29}"/>
                </c:ext>
              </c:extLst>
            </c:dLbl>
            <c:dLbl>
              <c:idx val="4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2</c:f>
              <c:numCache>
                <c:formatCode>General</c:formatCode>
                <c:ptCount val="1"/>
                <c:pt idx="0">
                  <c:v>0.3969</c:v>
                </c:pt>
              </c:numCache>
            </c:numRef>
          </c:xVal>
          <c:yVal>
            <c:numRef>
              <c:f>Sheet1!$B$2:$B$2</c:f>
              <c:numCache>
                <c:formatCode>General</c:formatCode>
                <c:ptCount val="1"/>
                <c:pt idx="0">
                  <c:v>5857.977272727273</c:v>
                </c:pt>
              </c:numCache>
            </c:numRef>
          </c:yVal>
          <c:bubbleSize>
            <c:numRef>
              <c:f>Sheet1!$C$2:$C$2</c:f>
              <c:numCache>
                <c:formatCode>General</c:formatCode>
                <c:ptCount val="1"/>
                <c:pt idx="0">
                  <c:v>294677.5556</c:v>
                </c:pt>
              </c:numCache>
            </c:numRef>
          </c:bubbleSize>
          <c:bubble3D val="0"/>
          <c:extLst>
            <c:ext xmlns:c15="http://schemas.microsoft.com/office/drawing/2012/chart" uri="{02D57815-91ED-43cb-92C2-25804820EDAC}">
              <c15:datalabelsRange>
                <c15:f>Sheet1!$E$2:$E$50</c15:f>
                <c15:dlblRangeCache>
                  <c:ptCount val="49"/>
                  <c:pt idx="0">
                    <c:v>Findus Merluzzo Altro Findus Fish Bar 245GR</c:v>
                  </c:pt>
                  <c:pt idx="1">
                    <c:v>Findus Merluzzo D Alaska Chips Findus Big Burger 227GR</c:v>
                  </c:pt>
                  <c:pt idx="2">
                    <c:v>Findus Merluzzo D Alaska Standard Findus Big Burger 227GR</c:v>
                  </c:pt>
                  <c:pt idx="3">
                    <c:v>Findus Merluzzo E Spinaci Filetto Findus Croccole 300GR</c:v>
                  </c:pt>
                  <c:pt idx="4">
                    <c:v>Findus Merluzzo Filetto Findus Croccole 300GR</c:v>
                  </c:pt>
                  <c:pt idx="5">
                    <c:v>Findus Merluzzo Filetto Findus Croccole 600GR</c:v>
                  </c:pt>
                  <c:pt idx="6">
                    <c:v>Findus Merluzzo Filetto Findus Fish &amp; Crock 250GR</c:v>
                  </c:pt>
                  <c:pt idx="7">
                    <c:v>Findus Merluzzo Filetto Findus Fish Bar 240GR</c:v>
                  </c:pt>
                  <c:pt idx="8">
                    <c:v>Findus Merluzzo Semi Filetto Findus Croccole 300GR</c:v>
                  </c:pt>
                  <c:pt idx="9">
                    <c:v>Findus Merluzzo Senza Glutine Filetto Findus Croccole 250GR</c:v>
                  </c:pt>
                  <c:pt idx="10">
                    <c:v>Findus Platessa Filetto Findus Platessa 250GR</c:v>
                  </c:pt>
                  <c:pt idx="11">
                    <c:v>Findus Salmone Altro Findus Fish Bar 220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3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2774C329-8CEF-45D2-BE06-ED573F82AB6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867BBEE7-07FC-4019-BF89-F49AECB4550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15A66E94-D061-4F46-ACEC-281A63079EE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4C6164A2-1C6E-4F7B-9337-AAAD4DB87F4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C1D16082-63CB-4DD0-A685-D1A80D1F8BF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9101DE17-7969-4806-BBB9-E13FF85434D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652B8AA6-CFFE-430A-B045-FEF18DD8F17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5-BFDA-4C69-8E79-A083B7EFBA29}"/>
                </c:ext>
              </c:extLst>
            </c:dLbl>
            <c:dLbl>
              <c:idx val="1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BFDA-4C69-8E79-A083B7EFBA29}"/>
                </c:ext>
              </c:extLst>
            </c:dLbl>
            <c:dLbl>
              <c:idx val="1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BFDA-4C69-8E79-A083B7EFBA29}"/>
                </c:ext>
              </c:extLst>
            </c:dLbl>
            <c:dLbl>
              <c:idx val="1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BFDA-4C69-8E79-A083B7EFBA29}"/>
                </c:ext>
              </c:extLst>
            </c:dLbl>
            <c:dLbl>
              <c:idx val="1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9-BFDA-4C69-8E79-A083B7EFBA29}"/>
                </c:ext>
              </c:extLst>
            </c:dLbl>
            <c:dLbl>
              <c:idx val="1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A-BFDA-4C69-8E79-A083B7EFBA29}"/>
                </c:ext>
              </c:extLst>
            </c:dLbl>
            <c:dLbl>
              <c:idx val="1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B-BFDA-4C69-8E79-A083B7EFBA29}"/>
                </c:ext>
              </c:extLst>
            </c:dLbl>
            <c:dLbl>
              <c:idx val="1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C-BFDA-4C69-8E79-A083B7EFBA29}"/>
                </c:ext>
              </c:extLst>
            </c:dLbl>
            <c:dLbl>
              <c:idx val="2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BFDA-4C69-8E79-A083B7EFBA29}"/>
                </c:ext>
              </c:extLst>
            </c:dLbl>
            <c:dLbl>
              <c:idx val="2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BFDA-4C69-8E79-A083B7EFBA29}"/>
                </c:ext>
              </c:extLst>
            </c:dLbl>
            <c:dLbl>
              <c:idx val="2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F-BFDA-4C69-8E79-A083B7EFBA29}"/>
                </c:ext>
              </c:extLst>
            </c:dLbl>
            <c:dLbl>
              <c:idx val="2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0-BFDA-4C69-8E79-A083B7EFBA29}"/>
                </c:ext>
              </c:extLst>
            </c:dLbl>
            <c:dLbl>
              <c:idx val="2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1-BFDA-4C69-8E79-A083B7EFBA29}"/>
                </c:ext>
              </c:extLst>
            </c:dLbl>
            <c:dLbl>
              <c:idx val="2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BFDA-4C69-8E79-A083B7EFBA29}"/>
                </c:ext>
              </c:extLst>
            </c:dLbl>
            <c:dLbl>
              <c:idx val="2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BFDA-4C69-8E79-A083B7EFBA29}"/>
                </c:ext>
              </c:extLst>
            </c:dLbl>
            <c:dLbl>
              <c:idx val="2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BFDA-4C69-8E79-A083B7EFBA29}"/>
                </c:ext>
              </c:extLst>
            </c:dLbl>
            <c:dLbl>
              <c:idx val="2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5-BFDA-4C69-8E79-A083B7EFBA29}"/>
                </c:ext>
              </c:extLst>
            </c:dLbl>
            <c:dLbl>
              <c:idx val="2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6-BFDA-4C69-8E79-A083B7EFBA29}"/>
                </c:ext>
              </c:extLst>
            </c:dLbl>
            <c:dLbl>
              <c:idx val="3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7-BFDA-4C69-8E79-A083B7EFBA29}"/>
                </c:ext>
              </c:extLst>
            </c:dLbl>
            <c:dLbl>
              <c:idx val="3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8-BFDA-4C69-8E79-A083B7EFBA29}"/>
                </c:ext>
              </c:extLst>
            </c:dLbl>
            <c:dLbl>
              <c:idx val="3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9-BFDA-4C69-8E79-A083B7EFBA29}"/>
                </c:ext>
              </c:extLst>
            </c:dLbl>
            <c:dLbl>
              <c:idx val="3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BFDA-4C69-8E79-A083B7EFBA29}"/>
                </c:ext>
              </c:extLst>
            </c:dLbl>
            <c:dLbl>
              <c:idx val="3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B-BFDA-4C69-8E79-A083B7EFBA29}"/>
                </c:ext>
              </c:extLst>
            </c:dLbl>
            <c:dLbl>
              <c:idx val="3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C-BFDA-4C69-8E79-A083B7EFBA29}"/>
                </c:ext>
              </c:extLst>
            </c:dLbl>
            <c:dLbl>
              <c:idx val="3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D-BFDA-4C69-8E79-A083B7EFBA29}"/>
                </c:ext>
              </c:extLst>
            </c:dLbl>
            <c:dLbl>
              <c:idx val="3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BFDA-4C69-8E79-A083B7EFBA29}"/>
                </c:ext>
              </c:extLst>
            </c:dLbl>
            <c:dLbl>
              <c:idx val="3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BFDA-4C69-8E79-A083B7EFBA29}"/>
                </c:ext>
              </c:extLst>
            </c:dLbl>
            <c:dLbl>
              <c:idx val="3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BFDA-4C69-8E79-A083B7EFBA29}"/>
                </c:ext>
              </c:extLst>
            </c:dLbl>
            <c:dLbl>
              <c:idx val="4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1-BFDA-4C69-8E79-A083B7EFBA29}"/>
                </c:ext>
              </c:extLst>
            </c:dLbl>
            <c:dLbl>
              <c:idx val="4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BFDA-4C69-8E79-A083B7EFBA29}"/>
                </c:ext>
              </c:extLst>
            </c:dLbl>
            <c:dLbl>
              <c:idx val="4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BFDA-4C69-8E79-A083B7EFBA29}"/>
                </c:ext>
              </c:extLst>
            </c:dLbl>
            <c:dLbl>
              <c:idx val="4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BFDA-4C69-8E79-A083B7EFBA29}"/>
                </c:ext>
              </c:extLst>
            </c:dLbl>
            <c:dLbl>
              <c:idx val="4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BFDA-4C69-8E79-A083B7EFBA29}"/>
                </c:ext>
              </c:extLst>
            </c:dLbl>
            <c:dLbl>
              <c:idx val="4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BFDA-4C69-8E79-A083B7EFBA29}"/>
                </c:ext>
              </c:extLst>
            </c:dLbl>
            <c:dLbl>
              <c:idx val="4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BFDA-4C69-8E79-A083B7EFBA29}"/>
                </c:ext>
              </c:extLst>
            </c:dLbl>
            <c:dLbl>
              <c:idx val="4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BFDA-4C69-8E79-A083B7EFBA29}"/>
                </c:ext>
              </c:extLst>
            </c:dLbl>
            <c:dLbl>
              <c:idx val="4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2</c:f>
              <c:numCache>
                <c:formatCode>General</c:formatCode>
                <c:ptCount val="1"/>
                <c:pt idx="0">
                  <c:v>0.3748</c:v>
                </c:pt>
              </c:numCache>
            </c:numRef>
          </c:xVal>
          <c:yVal>
            <c:numRef>
              <c:f>Sheet1!$B$2:$B$2</c:f>
              <c:numCache>
                <c:formatCode>General</c:formatCode>
                <c:ptCount val="1"/>
                <c:pt idx="0">
                  <c:v>819.71875</c:v>
                </c:pt>
              </c:numCache>
            </c:numRef>
          </c:yVal>
          <c:bubbleSize>
            <c:numRef>
              <c:f>Sheet1!$C$2:$C$2</c:f>
              <c:numCache>
                <c:formatCode>General</c:formatCode>
                <c:ptCount val="1"/>
                <c:pt idx="0">
                  <c:v>46634.509099999996</c:v>
                </c:pt>
              </c:numCache>
            </c:numRef>
          </c:bubbleSize>
          <c:bubble3D val="0"/>
          <c:extLst>
            <c:ext xmlns:c15="http://schemas.microsoft.com/office/drawing/2012/chart" uri="{02D57815-91ED-43cb-92C2-25804820EDAC}">
              <c15:datalabelsRange>
                <c15:f>Sheet1!$E$2:$E$50</c15:f>
                <c15:dlblRangeCache>
                  <c:ptCount val="49"/>
                  <c:pt idx="0">
                    <c:v>Findus Merluzzo Altro Findus Fish Bar 245GR</c:v>
                  </c:pt>
                  <c:pt idx="1">
                    <c:v>Findus Merluzzo D Alaska Chips Findus Big Burger 227GR</c:v>
                  </c:pt>
                  <c:pt idx="2">
                    <c:v>Findus Merluzzo D Alaska Standard Findus Big Burger 227GR</c:v>
                  </c:pt>
                  <c:pt idx="3">
                    <c:v>Findus Merluzzo E Spinaci Filetto Findus Croccole 300GR</c:v>
                  </c:pt>
                  <c:pt idx="4">
                    <c:v>Findus Merluzzo Filetto Findus Croccole 300GR</c:v>
                  </c:pt>
                  <c:pt idx="5">
                    <c:v>Findus Merluzzo Filetto Findus Croccole 600GR</c:v>
                  </c:pt>
                  <c:pt idx="6">
                    <c:v>Findus Merluzzo Filetto Findus Fish &amp; Crock 250GR</c:v>
                  </c:pt>
                  <c:pt idx="7">
                    <c:v>Findus Merluzzo Filetto Findus Fish Bar 240GR</c:v>
                  </c:pt>
                  <c:pt idx="8">
                    <c:v>Findus Merluzzo Semi Filetto Findus Croccole 300GR</c:v>
                  </c:pt>
                  <c:pt idx="9">
                    <c:v>Findus Merluzzo Senza Glutine Filetto Findus Croccole 250GR</c:v>
                  </c:pt>
                  <c:pt idx="10">
                    <c:v>Findus Platessa Filetto Findus Platessa 250GR</c:v>
                  </c:pt>
                  <c:pt idx="11">
                    <c:v>Findus Salmone Altro Findus Fish Bar 220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3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AD7045C4-8CF4-4F63-973C-4812A5D3ADF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D66A2D6C-FCD1-4DA7-A722-1E5EE9714F6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A060DF3B-77A2-4AE9-AB37-ED66E4C9CB2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2C57C273-87B1-4371-8D4E-39291C727DF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985DC3E2-AB08-4827-AD9E-5A1F2575258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81AF39DD-D03B-496C-870B-7962B0B13E6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42D680EA-5D2E-4700-80B2-2B4190F897C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5-BFDA-4C69-8E79-A083B7EFBA29}"/>
                </c:ext>
              </c:extLst>
            </c:dLbl>
            <c:dLbl>
              <c:idx val="1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BFDA-4C69-8E79-A083B7EFBA29}"/>
                </c:ext>
              </c:extLst>
            </c:dLbl>
            <c:dLbl>
              <c:idx val="1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BFDA-4C69-8E79-A083B7EFBA29}"/>
                </c:ext>
              </c:extLst>
            </c:dLbl>
            <c:dLbl>
              <c:idx val="1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BFDA-4C69-8E79-A083B7EFBA29}"/>
                </c:ext>
              </c:extLst>
            </c:dLbl>
            <c:dLbl>
              <c:idx val="1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9-BFDA-4C69-8E79-A083B7EFBA29}"/>
                </c:ext>
              </c:extLst>
            </c:dLbl>
            <c:dLbl>
              <c:idx val="1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A-BFDA-4C69-8E79-A083B7EFBA29}"/>
                </c:ext>
              </c:extLst>
            </c:dLbl>
            <c:dLbl>
              <c:idx val="1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B-BFDA-4C69-8E79-A083B7EFBA29}"/>
                </c:ext>
              </c:extLst>
            </c:dLbl>
            <c:dLbl>
              <c:idx val="1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C-BFDA-4C69-8E79-A083B7EFBA29}"/>
                </c:ext>
              </c:extLst>
            </c:dLbl>
            <c:dLbl>
              <c:idx val="2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BFDA-4C69-8E79-A083B7EFBA29}"/>
                </c:ext>
              </c:extLst>
            </c:dLbl>
            <c:dLbl>
              <c:idx val="2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BFDA-4C69-8E79-A083B7EFBA29}"/>
                </c:ext>
              </c:extLst>
            </c:dLbl>
            <c:dLbl>
              <c:idx val="2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F-BFDA-4C69-8E79-A083B7EFBA29}"/>
                </c:ext>
              </c:extLst>
            </c:dLbl>
            <c:dLbl>
              <c:idx val="2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0-BFDA-4C69-8E79-A083B7EFBA29}"/>
                </c:ext>
              </c:extLst>
            </c:dLbl>
            <c:dLbl>
              <c:idx val="2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1-BFDA-4C69-8E79-A083B7EFBA29}"/>
                </c:ext>
              </c:extLst>
            </c:dLbl>
            <c:dLbl>
              <c:idx val="2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BFDA-4C69-8E79-A083B7EFBA29}"/>
                </c:ext>
              </c:extLst>
            </c:dLbl>
            <c:dLbl>
              <c:idx val="2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BFDA-4C69-8E79-A083B7EFBA29}"/>
                </c:ext>
              </c:extLst>
            </c:dLbl>
            <c:dLbl>
              <c:idx val="2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BFDA-4C69-8E79-A083B7EFBA29}"/>
                </c:ext>
              </c:extLst>
            </c:dLbl>
            <c:dLbl>
              <c:idx val="2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5-BFDA-4C69-8E79-A083B7EFBA29}"/>
                </c:ext>
              </c:extLst>
            </c:dLbl>
            <c:dLbl>
              <c:idx val="2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6-BFDA-4C69-8E79-A083B7EFBA29}"/>
                </c:ext>
              </c:extLst>
            </c:dLbl>
            <c:dLbl>
              <c:idx val="3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7-BFDA-4C69-8E79-A083B7EFBA29}"/>
                </c:ext>
              </c:extLst>
            </c:dLbl>
            <c:dLbl>
              <c:idx val="3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8-BFDA-4C69-8E79-A083B7EFBA29}"/>
                </c:ext>
              </c:extLst>
            </c:dLbl>
            <c:dLbl>
              <c:idx val="3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9-BFDA-4C69-8E79-A083B7EFBA29}"/>
                </c:ext>
              </c:extLst>
            </c:dLbl>
            <c:dLbl>
              <c:idx val="3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BFDA-4C69-8E79-A083B7EFBA29}"/>
                </c:ext>
              </c:extLst>
            </c:dLbl>
            <c:dLbl>
              <c:idx val="3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B-BFDA-4C69-8E79-A083B7EFBA29}"/>
                </c:ext>
              </c:extLst>
            </c:dLbl>
            <c:dLbl>
              <c:idx val="3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C-BFDA-4C69-8E79-A083B7EFBA29}"/>
                </c:ext>
              </c:extLst>
            </c:dLbl>
            <c:dLbl>
              <c:idx val="3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D-BFDA-4C69-8E79-A083B7EFBA29}"/>
                </c:ext>
              </c:extLst>
            </c:dLbl>
            <c:dLbl>
              <c:idx val="3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BFDA-4C69-8E79-A083B7EFBA29}"/>
                </c:ext>
              </c:extLst>
            </c:dLbl>
            <c:dLbl>
              <c:idx val="3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BFDA-4C69-8E79-A083B7EFBA29}"/>
                </c:ext>
              </c:extLst>
            </c:dLbl>
            <c:dLbl>
              <c:idx val="3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BFDA-4C69-8E79-A083B7EFBA29}"/>
                </c:ext>
              </c:extLst>
            </c:dLbl>
            <c:dLbl>
              <c:idx val="4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1-BFDA-4C69-8E79-A083B7EFBA29}"/>
                </c:ext>
              </c:extLst>
            </c:dLbl>
            <c:dLbl>
              <c:idx val="4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BFDA-4C69-8E79-A083B7EFBA29}"/>
                </c:ext>
              </c:extLst>
            </c:dLbl>
            <c:dLbl>
              <c:idx val="4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BFDA-4C69-8E79-A083B7EFBA29}"/>
                </c:ext>
              </c:extLst>
            </c:dLbl>
            <c:dLbl>
              <c:idx val="4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BFDA-4C69-8E79-A083B7EFBA29}"/>
                </c:ext>
              </c:extLst>
            </c:dLbl>
            <c:dLbl>
              <c:idx val="4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BFDA-4C69-8E79-A083B7EFBA29}"/>
                </c:ext>
              </c:extLst>
            </c:dLbl>
            <c:dLbl>
              <c:idx val="4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BFDA-4C69-8E79-A083B7EFBA29}"/>
                </c:ext>
              </c:extLst>
            </c:dLbl>
            <c:dLbl>
              <c:idx val="4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BFDA-4C69-8E79-A083B7EFBA29}"/>
                </c:ext>
              </c:extLst>
            </c:dLbl>
            <c:dLbl>
              <c:idx val="4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BFDA-4C69-8E79-A083B7EFBA29}"/>
                </c:ext>
              </c:extLst>
            </c:dLbl>
            <c:dLbl>
              <c:idx val="4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2</c:f>
              <c:numCache>
                <c:formatCode>General</c:formatCode>
                <c:ptCount val="1"/>
                <c:pt idx="0">
                  <c:v>0.4331</c:v>
                </c:pt>
              </c:numCache>
            </c:numRef>
          </c:xVal>
          <c:yVal>
            <c:numRef>
              <c:f>Sheet1!$B$2:$B$2</c:f>
              <c:numCache>
                <c:formatCode>General</c:formatCode>
                <c:ptCount val="1"/>
                <c:pt idx="0">
                  <c:v>1571.2876712328766</c:v>
                </c:pt>
              </c:numCache>
            </c:numRef>
          </c:yVal>
          <c:bubbleSize>
            <c:numRef>
              <c:f>Sheet1!$C$2:$C$2</c:f>
              <c:numCache>
                <c:formatCode>General</c:formatCode>
                <c:ptCount val="1"/>
                <c:pt idx="0">
                  <c:v>61635.58510000001</c:v>
                </c:pt>
              </c:numCache>
            </c:numRef>
          </c:bubbleSize>
          <c:bubble3D val="0"/>
          <c:extLst>
            <c:ext xmlns:c15="http://schemas.microsoft.com/office/drawing/2012/chart" uri="{02D57815-91ED-43cb-92C2-25804820EDAC}">
              <c15:datalabelsRange>
                <c15:f>Sheet1!$E$2:$E$50</c15:f>
                <c15:dlblRangeCache>
                  <c:ptCount val="49"/>
                  <c:pt idx="0">
                    <c:v>Findus Merluzzo Altro Findus Fish Bar 245GR</c:v>
                  </c:pt>
                  <c:pt idx="1">
                    <c:v>Findus Merluzzo D Alaska Chips Findus Big Burger 227GR</c:v>
                  </c:pt>
                  <c:pt idx="2">
                    <c:v>Findus Merluzzo D Alaska Standard Findus Big Burger 227GR</c:v>
                  </c:pt>
                  <c:pt idx="3">
                    <c:v>Findus Merluzzo E Spinaci Filetto Findus Croccole 300GR</c:v>
                  </c:pt>
                  <c:pt idx="4">
                    <c:v>Findus Merluzzo Filetto Findus Croccole 300GR</c:v>
                  </c:pt>
                  <c:pt idx="5">
                    <c:v>Findus Merluzzo Filetto Findus Croccole 600GR</c:v>
                  </c:pt>
                  <c:pt idx="6">
                    <c:v>Findus Merluzzo Filetto Findus Fish &amp; Crock 250GR</c:v>
                  </c:pt>
                  <c:pt idx="7">
                    <c:v>Findus Merluzzo Filetto Findus Fish Bar 240GR</c:v>
                  </c:pt>
                  <c:pt idx="8">
                    <c:v>Findus Merluzzo Semi Filetto Findus Croccole 300GR</c:v>
                  </c:pt>
                  <c:pt idx="9">
                    <c:v>Findus Merluzzo Senza Glutine Filetto Findus Croccole 250GR</c:v>
                  </c:pt>
                  <c:pt idx="10">
                    <c:v>Findus Platessa Filetto Findus Platessa 250GR</c:v>
                  </c:pt>
                  <c:pt idx="11">
                    <c:v>Findus Salmone Altro Findus Fish Bar 220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3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E5427181-F4FB-4009-AFD9-9B91944CD36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C417AD55-E342-40F5-ABC2-6C615B06461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291CB281-7336-4B67-A80C-87C98D8C85D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81903D44-70C3-4162-9487-E2CDFCE5B88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C8C9A76C-9F65-4F72-BDF8-4D9D00E47BD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9F233FD0-121C-4BA4-AA55-74EB7F485C4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264BAF3C-C338-425C-B3E0-87698117A94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5-BFDA-4C69-8E79-A083B7EFBA29}"/>
                </c:ext>
              </c:extLst>
            </c:dLbl>
            <c:dLbl>
              <c:idx val="1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BFDA-4C69-8E79-A083B7EFBA29}"/>
                </c:ext>
              </c:extLst>
            </c:dLbl>
            <c:dLbl>
              <c:idx val="1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BFDA-4C69-8E79-A083B7EFBA29}"/>
                </c:ext>
              </c:extLst>
            </c:dLbl>
            <c:dLbl>
              <c:idx val="1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BFDA-4C69-8E79-A083B7EFBA29}"/>
                </c:ext>
              </c:extLst>
            </c:dLbl>
            <c:dLbl>
              <c:idx val="1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9-BFDA-4C69-8E79-A083B7EFBA29}"/>
                </c:ext>
              </c:extLst>
            </c:dLbl>
            <c:dLbl>
              <c:idx val="1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A-BFDA-4C69-8E79-A083B7EFBA29}"/>
                </c:ext>
              </c:extLst>
            </c:dLbl>
            <c:dLbl>
              <c:idx val="1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B-BFDA-4C69-8E79-A083B7EFBA29}"/>
                </c:ext>
              </c:extLst>
            </c:dLbl>
            <c:dLbl>
              <c:idx val="1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C-BFDA-4C69-8E79-A083B7EFBA29}"/>
                </c:ext>
              </c:extLst>
            </c:dLbl>
            <c:dLbl>
              <c:idx val="2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BFDA-4C69-8E79-A083B7EFBA29}"/>
                </c:ext>
              </c:extLst>
            </c:dLbl>
            <c:dLbl>
              <c:idx val="2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BFDA-4C69-8E79-A083B7EFBA29}"/>
                </c:ext>
              </c:extLst>
            </c:dLbl>
            <c:dLbl>
              <c:idx val="2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F-BFDA-4C69-8E79-A083B7EFBA29}"/>
                </c:ext>
              </c:extLst>
            </c:dLbl>
            <c:dLbl>
              <c:idx val="2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0-BFDA-4C69-8E79-A083B7EFBA29}"/>
                </c:ext>
              </c:extLst>
            </c:dLbl>
            <c:dLbl>
              <c:idx val="2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1-BFDA-4C69-8E79-A083B7EFBA29}"/>
                </c:ext>
              </c:extLst>
            </c:dLbl>
            <c:dLbl>
              <c:idx val="2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BFDA-4C69-8E79-A083B7EFBA29}"/>
                </c:ext>
              </c:extLst>
            </c:dLbl>
            <c:dLbl>
              <c:idx val="2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BFDA-4C69-8E79-A083B7EFBA29}"/>
                </c:ext>
              </c:extLst>
            </c:dLbl>
            <c:dLbl>
              <c:idx val="2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BFDA-4C69-8E79-A083B7EFBA29}"/>
                </c:ext>
              </c:extLst>
            </c:dLbl>
            <c:dLbl>
              <c:idx val="2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5-BFDA-4C69-8E79-A083B7EFBA29}"/>
                </c:ext>
              </c:extLst>
            </c:dLbl>
            <c:dLbl>
              <c:idx val="2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6-BFDA-4C69-8E79-A083B7EFBA29}"/>
                </c:ext>
              </c:extLst>
            </c:dLbl>
            <c:dLbl>
              <c:idx val="3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7-BFDA-4C69-8E79-A083B7EFBA29}"/>
                </c:ext>
              </c:extLst>
            </c:dLbl>
            <c:dLbl>
              <c:idx val="3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8-BFDA-4C69-8E79-A083B7EFBA29}"/>
                </c:ext>
              </c:extLst>
            </c:dLbl>
            <c:dLbl>
              <c:idx val="3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9-BFDA-4C69-8E79-A083B7EFBA29}"/>
                </c:ext>
              </c:extLst>
            </c:dLbl>
            <c:dLbl>
              <c:idx val="3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BFDA-4C69-8E79-A083B7EFBA29}"/>
                </c:ext>
              </c:extLst>
            </c:dLbl>
            <c:dLbl>
              <c:idx val="3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B-BFDA-4C69-8E79-A083B7EFBA29}"/>
                </c:ext>
              </c:extLst>
            </c:dLbl>
            <c:dLbl>
              <c:idx val="3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C-BFDA-4C69-8E79-A083B7EFBA29}"/>
                </c:ext>
              </c:extLst>
            </c:dLbl>
            <c:dLbl>
              <c:idx val="3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D-BFDA-4C69-8E79-A083B7EFBA29}"/>
                </c:ext>
              </c:extLst>
            </c:dLbl>
            <c:dLbl>
              <c:idx val="3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BFDA-4C69-8E79-A083B7EFBA29}"/>
                </c:ext>
              </c:extLst>
            </c:dLbl>
            <c:dLbl>
              <c:idx val="3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BFDA-4C69-8E79-A083B7EFBA29}"/>
                </c:ext>
              </c:extLst>
            </c:dLbl>
            <c:dLbl>
              <c:idx val="3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BFDA-4C69-8E79-A083B7EFBA29}"/>
                </c:ext>
              </c:extLst>
            </c:dLbl>
            <c:dLbl>
              <c:idx val="4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1-BFDA-4C69-8E79-A083B7EFBA29}"/>
                </c:ext>
              </c:extLst>
            </c:dLbl>
            <c:dLbl>
              <c:idx val="4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BFDA-4C69-8E79-A083B7EFBA29}"/>
                </c:ext>
              </c:extLst>
            </c:dLbl>
            <c:dLbl>
              <c:idx val="4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BFDA-4C69-8E79-A083B7EFBA29}"/>
                </c:ext>
              </c:extLst>
            </c:dLbl>
            <c:dLbl>
              <c:idx val="4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BFDA-4C69-8E79-A083B7EFBA29}"/>
                </c:ext>
              </c:extLst>
            </c:dLbl>
            <c:dLbl>
              <c:idx val="4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BFDA-4C69-8E79-A083B7EFBA29}"/>
                </c:ext>
              </c:extLst>
            </c:dLbl>
            <c:dLbl>
              <c:idx val="4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BFDA-4C69-8E79-A083B7EFBA29}"/>
                </c:ext>
              </c:extLst>
            </c:dLbl>
            <c:dLbl>
              <c:idx val="4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BFDA-4C69-8E79-A083B7EFBA29}"/>
                </c:ext>
              </c:extLst>
            </c:dLbl>
            <c:dLbl>
              <c:idx val="4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BFDA-4C69-8E79-A083B7EFBA29}"/>
                </c:ext>
              </c:extLst>
            </c:dLbl>
            <c:dLbl>
              <c:idx val="4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8</c:f>
              <c:numCache>
                <c:formatCode>General</c:formatCode>
                <c:ptCount val="7"/>
                <c:pt idx="0">
                  <c:v>0.3061</c:v>
                </c:pt>
                <c:pt idx="1">
                  <c:v>0.3929</c:v>
                </c:pt>
                <c:pt idx="2">
                  <c:v>0.3538</c:v>
                </c:pt>
                <c:pt idx="3">
                  <c:v>0.3568</c:v>
                </c:pt>
                <c:pt idx="4">
                  <c:v>0.2631</c:v>
                </c:pt>
                <c:pt idx="5">
                  <c:v>0.4034</c:v>
                </c:pt>
                <c:pt idx="6">
                  <c:v>0.3429</c:v>
                </c:pt>
              </c:numCache>
            </c:numRef>
          </c:xVal>
          <c:yVal>
            <c:numRef>
              <c:f>Sheet1!$B$2:$B$8</c:f>
              <c:numCache>
                <c:formatCode>General</c:formatCode>
                <c:ptCount val="7"/>
                <c:pt idx="0">
                  <c:v>42862.6139088729</c:v>
                </c:pt>
                <c:pt idx="1">
                  <c:v>81394.7557840617</c:v>
                </c:pt>
                <c:pt idx="2">
                  <c:v>5967.609561752988</c:v>
                </c:pt>
                <c:pt idx="3">
                  <c:v>47708.9595959596</c:v>
                </c:pt>
                <c:pt idx="4">
                  <c:v>16379.706703910615</c:v>
                </c:pt>
                <c:pt idx="5">
                  <c:v>34465.81664910432</c:v>
                </c:pt>
                <c:pt idx="6">
                  <c:v>25172.049180327867</c:v>
                </c:pt>
              </c:numCache>
            </c:numRef>
          </c:yVal>
          <c:bubbleSize>
            <c:numRef>
              <c:f>Sheet1!$C$2:$C$8</c:f>
              <c:numCache>
                <c:formatCode>General</c:formatCode>
                <c:ptCount val="7"/>
                <c:pt idx="0">
                  <c:v>2351097.8074000003</c:v>
                </c:pt>
                <c:pt idx="1">
                  <c:v>3644081.5352000003</c:v>
                </c:pt>
                <c:pt idx="2">
                  <c:v>183500.86179999998</c:v>
                </c:pt>
                <c:pt idx="3">
                  <c:v>2879559.3756000004</c:v>
                </c:pt>
                <c:pt idx="4">
                  <c:v>819173.4306000001</c:v>
                </c:pt>
                <c:pt idx="5">
                  <c:v>1849651.3301000001</c:v>
                </c:pt>
                <c:pt idx="6">
                  <c:v>1147660.5851999999</c:v>
                </c:pt>
              </c:numCache>
            </c:numRef>
          </c:bubbleSize>
          <c:bubble3D val="0"/>
          <c:extLst>
            <c:ext xmlns:c15="http://schemas.microsoft.com/office/drawing/2012/chart" uri="{02D57815-91ED-43cb-92C2-25804820EDAC}">
              <c15:datalabelsRange>
                <c15:f>Sheet1!$E$2:$E$50</c15:f>
                <c15:dlblRangeCache>
                  <c:ptCount val="49"/>
                  <c:pt idx="0">
                    <c:v>Findus Merluzzo Altro Findus Fish Bar 245GR</c:v>
                  </c:pt>
                  <c:pt idx="1">
                    <c:v>Findus Merluzzo D Alaska Chips Findus Big Burger 227GR</c:v>
                  </c:pt>
                  <c:pt idx="2">
                    <c:v>Findus Merluzzo D Alaska Standard Findus Big Burger 227GR</c:v>
                  </c:pt>
                  <c:pt idx="3">
                    <c:v>Findus Merluzzo E Spinaci Filetto Findus Croccole 300GR</c:v>
                  </c:pt>
                  <c:pt idx="4">
                    <c:v>Findus Merluzzo Filetto Findus Croccole 300GR</c:v>
                  </c:pt>
                  <c:pt idx="5">
                    <c:v>Findus Merluzzo Filetto Findus Croccole 600GR</c:v>
                  </c:pt>
                  <c:pt idx="6">
                    <c:v>Findus Merluzzo Filetto Findus Fish &amp; Crock 250GR</c:v>
                  </c:pt>
                  <c:pt idx="7">
                    <c:v>Findus Merluzzo Filetto Findus Fish Bar 240GR</c:v>
                  </c:pt>
                  <c:pt idx="8">
                    <c:v>Findus Merluzzo Semi Filetto Findus Croccole 300GR</c:v>
                  </c:pt>
                  <c:pt idx="9">
                    <c:v>Findus Merluzzo Senza Glutine Filetto Findus Croccole 250GR</c:v>
                  </c:pt>
                  <c:pt idx="10">
                    <c:v>Findus Platessa Filetto Findus Platessa 250GR</c:v>
                  </c:pt>
                  <c:pt idx="11">
                    <c:v>Findus Salmone Altro Findus Fish Bar 220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3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50071D82-A49A-4027-BBC3-B8B72012110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4B9E2694-4A5E-4B9A-9688-44842647442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CCF506A7-27EE-455B-A8AE-73B4521CD31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B992E3AF-40A7-42E0-A0F8-17A88B45A1E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445F33D6-8ECA-404C-A0EF-69286ABFA5F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97D99914-5B9F-4CDE-9564-B03AD0695FA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7EA94513-DD31-4181-9DE7-11C4E025459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5-BFDA-4C69-8E79-A083B7EFBA29}"/>
                </c:ext>
              </c:extLst>
            </c:dLbl>
            <c:dLbl>
              <c:idx val="1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BFDA-4C69-8E79-A083B7EFBA29}"/>
                </c:ext>
              </c:extLst>
            </c:dLbl>
            <c:dLbl>
              <c:idx val="1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BFDA-4C69-8E79-A083B7EFBA29}"/>
                </c:ext>
              </c:extLst>
            </c:dLbl>
            <c:dLbl>
              <c:idx val="1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BFDA-4C69-8E79-A083B7EFBA29}"/>
                </c:ext>
              </c:extLst>
            </c:dLbl>
            <c:dLbl>
              <c:idx val="1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9-BFDA-4C69-8E79-A083B7EFBA29}"/>
                </c:ext>
              </c:extLst>
            </c:dLbl>
            <c:dLbl>
              <c:idx val="1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A-BFDA-4C69-8E79-A083B7EFBA29}"/>
                </c:ext>
              </c:extLst>
            </c:dLbl>
            <c:dLbl>
              <c:idx val="1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B-BFDA-4C69-8E79-A083B7EFBA29}"/>
                </c:ext>
              </c:extLst>
            </c:dLbl>
            <c:dLbl>
              <c:idx val="1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C-BFDA-4C69-8E79-A083B7EFBA29}"/>
                </c:ext>
              </c:extLst>
            </c:dLbl>
            <c:dLbl>
              <c:idx val="2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BFDA-4C69-8E79-A083B7EFBA29}"/>
                </c:ext>
              </c:extLst>
            </c:dLbl>
            <c:dLbl>
              <c:idx val="2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BFDA-4C69-8E79-A083B7EFBA29}"/>
                </c:ext>
              </c:extLst>
            </c:dLbl>
            <c:dLbl>
              <c:idx val="2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F-BFDA-4C69-8E79-A083B7EFBA29}"/>
                </c:ext>
              </c:extLst>
            </c:dLbl>
            <c:dLbl>
              <c:idx val="2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0-BFDA-4C69-8E79-A083B7EFBA29}"/>
                </c:ext>
              </c:extLst>
            </c:dLbl>
            <c:dLbl>
              <c:idx val="2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1-BFDA-4C69-8E79-A083B7EFBA29}"/>
                </c:ext>
              </c:extLst>
            </c:dLbl>
            <c:dLbl>
              <c:idx val="2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BFDA-4C69-8E79-A083B7EFBA29}"/>
                </c:ext>
              </c:extLst>
            </c:dLbl>
            <c:dLbl>
              <c:idx val="2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BFDA-4C69-8E79-A083B7EFBA29}"/>
                </c:ext>
              </c:extLst>
            </c:dLbl>
            <c:dLbl>
              <c:idx val="2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BFDA-4C69-8E79-A083B7EFBA29}"/>
                </c:ext>
              </c:extLst>
            </c:dLbl>
            <c:dLbl>
              <c:idx val="2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5-BFDA-4C69-8E79-A083B7EFBA29}"/>
                </c:ext>
              </c:extLst>
            </c:dLbl>
            <c:dLbl>
              <c:idx val="2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6-BFDA-4C69-8E79-A083B7EFBA29}"/>
                </c:ext>
              </c:extLst>
            </c:dLbl>
            <c:dLbl>
              <c:idx val="3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7-BFDA-4C69-8E79-A083B7EFBA29}"/>
                </c:ext>
              </c:extLst>
            </c:dLbl>
            <c:dLbl>
              <c:idx val="3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8-BFDA-4C69-8E79-A083B7EFBA29}"/>
                </c:ext>
              </c:extLst>
            </c:dLbl>
            <c:dLbl>
              <c:idx val="3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9-BFDA-4C69-8E79-A083B7EFBA29}"/>
                </c:ext>
              </c:extLst>
            </c:dLbl>
            <c:dLbl>
              <c:idx val="3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BFDA-4C69-8E79-A083B7EFBA29}"/>
                </c:ext>
              </c:extLst>
            </c:dLbl>
            <c:dLbl>
              <c:idx val="3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B-BFDA-4C69-8E79-A083B7EFBA29}"/>
                </c:ext>
              </c:extLst>
            </c:dLbl>
            <c:dLbl>
              <c:idx val="3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C-BFDA-4C69-8E79-A083B7EFBA29}"/>
                </c:ext>
              </c:extLst>
            </c:dLbl>
            <c:dLbl>
              <c:idx val="3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D-BFDA-4C69-8E79-A083B7EFBA29}"/>
                </c:ext>
              </c:extLst>
            </c:dLbl>
            <c:dLbl>
              <c:idx val="3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BFDA-4C69-8E79-A083B7EFBA29}"/>
                </c:ext>
              </c:extLst>
            </c:dLbl>
            <c:dLbl>
              <c:idx val="3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BFDA-4C69-8E79-A083B7EFBA29}"/>
                </c:ext>
              </c:extLst>
            </c:dLbl>
            <c:dLbl>
              <c:idx val="3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BFDA-4C69-8E79-A083B7EFBA29}"/>
                </c:ext>
              </c:extLst>
            </c:dLbl>
            <c:dLbl>
              <c:idx val="4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1-BFDA-4C69-8E79-A083B7EFBA29}"/>
                </c:ext>
              </c:extLst>
            </c:dLbl>
            <c:dLbl>
              <c:idx val="4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BFDA-4C69-8E79-A083B7EFBA29}"/>
                </c:ext>
              </c:extLst>
            </c:dLbl>
            <c:dLbl>
              <c:idx val="4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BFDA-4C69-8E79-A083B7EFBA29}"/>
                </c:ext>
              </c:extLst>
            </c:dLbl>
            <c:dLbl>
              <c:idx val="4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BFDA-4C69-8E79-A083B7EFBA29}"/>
                </c:ext>
              </c:extLst>
            </c:dLbl>
            <c:dLbl>
              <c:idx val="4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BFDA-4C69-8E79-A083B7EFBA29}"/>
                </c:ext>
              </c:extLst>
            </c:dLbl>
            <c:dLbl>
              <c:idx val="4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BFDA-4C69-8E79-A083B7EFBA29}"/>
                </c:ext>
              </c:extLst>
            </c:dLbl>
            <c:dLbl>
              <c:idx val="4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BFDA-4C69-8E79-A083B7EFBA29}"/>
                </c:ext>
              </c:extLst>
            </c:dLbl>
            <c:dLbl>
              <c:idx val="4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BFDA-4C69-8E79-A083B7EFBA29}"/>
                </c:ext>
              </c:extLst>
            </c:dLbl>
            <c:dLbl>
              <c:idx val="4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12</c:f>
              <c:numCache>
                <c:formatCode>General</c:formatCode>
                <c:ptCount val="11"/>
                <c:pt idx="0">
                  <c:v>0.431</c:v>
                </c:pt>
                <c:pt idx="1">
                  <c:v>0.3722</c:v>
                </c:pt>
                <c:pt idx="2">
                  <c:v>0.4152</c:v>
                </c:pt>
                <c:pt idx="3">
                  <c:v>0.4105</c:v>
                </c:pt>
                <c:pt idx="4">
                  <c:v>0.339</c:v>
                </c:pt>
                <c:pt idx="5">
                  <c:v>0.3176</c:v>
                </c:pt>
                <c:pt idx="6">
                  <c:v>0.2542</c:v>
                </c:pt>
                <c:pt idx="7">
                  <c:v>0.5691</c:v>
                </c:pt>
                <c:pt idx="8">
                  <c:v>0.4843</c:v>
                </c:pt>
                <c:pt idx="9">
                  <c:v>0.3627</c:v>
                </c:pt>
                <c:pt idx="10">
                  <c:v>0.3397</c:v>
                </c:pt>
              </c:numCache>
            </c:numRef>
          </c:xVal>
          <c:yVal>
            <c:numRef>
              <c:f>Sheet1!$B$2:$B$12</c:f>
              <c:numCache>
                <c:formatCode>General</c:formatCode>
                <c:ptCount val="11"/>
                <c:pt idx="0">
                  <c:v>8120.540540540541</c:v>
                </c:pt>
                <c:pt idx="1">
                  <c:v>7373.959595959596</c:v>
                </c:pt>
                <c:pt idx="2">
                  <c:v>22077.017291066284</c:v>
                </c:pt>
                <c:pt idx="3">
                  <c:v>64775.47400611621</c:v>
                </c:pt>
                <c:pt idx="4">
                  <c:v>72823.24053452116</c:v>
                </c:pt>
                <c:pt idx="5">
                  <c:v>143117.46070133013</c:v>
                </c:pt>
                <c:pt idx="6">
                  <c:v>19364.593103448275</c:v>
                </c:pt>
                <c:pt idx="7">
                  <c:v>29388.75</c:v>
                </c:pt>
                <c:pt idx="8">
                  <c:v>3280.850622406639</c:v>
                </c:pt>
                <c:pt idx="9">
                  <c:v>19583.832599118945</c:v>
                </c:pt>
                <c:pt idx="10">
                  <c:v>10205.714285714286</c:v>
                </c:pt>
              </c:numCache>
            </c:numRef>
          </c:yVal>
          <c:bubbleSize>
            <c:numRef>
              <c:f>Sheet1!$C$2:$C$12</c:f>
              <c:numCache>
                <c:formatCode>General</c:formatCode>
                <c:ptCount val="11"/>
                <c:pt idx="0">
                  <c:v>16203.9444</c:v>
                </c:pt>
                <c:pt idx="1">
                  <c:v>217204.8676</c:v>
                </c:pt>
                <c:pt idx="2">
                  <c:v>849338.8158</c:v>
                </c:pt>
                <c:pt idx="3">
                  <c:v>3550892.7451999993</c:v>
                </c:pt>
                <c:pt idx="4">
                  <c:v>4097158.8504999992</c:v>
                </c:pt>
                <c:pt idx="5">
                  <c:v>7653909.827999999</c:v>
                </c:pt>
                <c:pt idx="6">
                  <c:v>992410.8776999998</c:v>
                </c:pt>
                <c:pt idx="7">
                  <c:v>9603.1772</c:v>
                </c:pt>
                <c:pt idx="8">
                  <c:v>77295.2128</c:v>
                </c:pt>
                <c:pt idx="9">
                  <c:v>1074141.922</c:v>
                </c:pt>
                <c:pt idx="10">
                  <c:v>277231.0708</c:v>
                </c:pt>
              </c:numCache>
            </c:numRef>
          </c:bubbleSize>
          <c:bubble3D val="0"/>
          <c:extLst>
            <c:ext xmlns:c15="http://schemas.microsoft.com/office/drawing/2012/chart" uri="{02D57815-91ED-43cb-92C2-25804820EDAC}">
              <c15:datalabelsRange>
                <c15:f>Sheet1!$E$2:$E$50</c15:f>
                <c15:dlblRangeCache>
                  <c:ptCount val="49"/>
                  <c:pt idx="0">
                    <c:v>Findus Merluzzo Altro Findus Fish Bar 245GR</c:v>
                  </c:pt>
                  <c:pt idx="1">
                    <c:v>Findus Merluzzo D Alaska Chips Findus Big Burger 227GR</c:v>
                  </c:pt>
                  <c:pt idx="2">
                    <c:v>Findus Merluzzo D Alaska Standard Findus Big Burger 227GR</c:v>
                  </c:pt>
                  <c:pt idx="3">
                    <c:v>Findus Merluzzo E Spinaci Filetto Findus Croccole 300GR</c:v>
                  </c:pt>
                  <c:pt idx="4">
                    <c:v>Findus Merluzzo Filetto Findus Croccole 300GR</c:v>
                  </c:pt>
                  <c:pt idx="5">
                    <c:v>Findus Merluzzo Filetto Findus Croccole 600GR</c:v>
                  </c:pt>
                  <c:pt idx="6">
                    <c:v>Findus Merluzzo Filetto Findus Fish &amp; Crock 250GR</c:v>
                  </c:pt>
                  <c:pt idx="7">
                    <c:v>Findus Merluzzo Filetto Findus Fish Bar 240GR</c:v>
                  </c:pt>
                  <c:pt idx="8">
                    <c:v>Findus Merluzzo Semi Filetto Findus Croccole 300GR</c:v>
                  </c:pt>
                  <c:pt idx="9">
                    <c:v>Findus Merluzzo Senza Glutine Filetto Findus Croccole 250GR</c:v>
                  </c:pt>
                  <c:pt idx="10">
                    <c:v>Findus Platessa Filetto Findus Platessa 250GR</c:v>
                  </c:pt>
                  <c:pt idx="11">
                    <c:v>Findus Salmone Altro Findus Fish Bar 220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3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85352A8E-1E16-4AF1-92C9-6C0599A81FC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C3CC1293-86F9-42DB-9DFC-8D06FCF53FB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538458DC-222E-4A68-A0F5-77B1C15D96E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3E3F8157-6D36-4211-B454-1FA57171D82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891574B7-6647-490C-8667-70CABCE2E9B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1A6491A7-9AF8-418E-9385-923228B0C85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AAF58117-FC9D-4ED9-B128-7976598CA9B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5-BFDA-4C69-8E79-A083B7EFBA29}"/>
                </c:ext>
              </c:extLst>
            </c:dLbl>
            <c:dLbl>
              <c:idx val="1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BFDA-4C69-8E79-A083B7EFBA29}"/>
                </c:ext>
              </c:extLst>
            </c:dLbl>
            <c:dLbl>
              <c:idx val="1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BFDA-4C69-8E79-A083B7EFBA29}"/>
                </c:ext>
              </c:extLst>
            </c:dLbl>
            <c:dLbl>
              <c:idx val="1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BFDA-4C69-8E79-A083B7EFBA29}"/>
                </c:ext>
              </c:extLst>
            </c:dLbl>
            <c:dLbl>
              <c:idx val="1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9-BFDA-4C69-8E79-A083B7EFBA29}"/>
                </c:ext>
              </c:extLst>
            </c:dLbl>
            <c:dLbl>
              <c:idx val="1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A-BFDA-4C69-8E79-A083B7EFBA29}"/>
                </c:ext>
              </c:extLst>
            </c:dLbl>
            <c:dLbl>
              <c:idx val="1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B-BFDA-4C69-8E79-A083B7EFBA29}"/>
                </c:ext>
              </c:extLst>
            </c:dLbl>
            <c:dLbl>
              <c:idx val="1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C-BFDA-4C69-8E79-A083B7EFBA29}"/>
                </c:ext>
              </c:extLst>
            </c:dLbl>
            <c:dLbl>
              <c:idx val="2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BFDA-4C69-8E79-A083B7EFBA29}"/>
                </c:ext>
              </c:extLst>
            </c:dLbl>
            <c:dLbl>
              <c:idx val="2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BFDA-4C69-8E79-A083B7EFBA29}"/>
                </c:ext>
              </c:extLst>
            </c:dLbl>
            <c:dLbl>
              <c:idx val="2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F-BFDA-4C69-8E79-A083B7EFBA29}"/>
                </c:ext>
              </c:extLst>
            </c:dLbl>
            <c:dLbl>
              <c:idx val="2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0-BFDA-4C69-8E79-A083B7EFBA29}"/>
                </c:ext>
              </c:extLst>
            </c:dLbl>
            <c:dLbl>
              <c:idx val="2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1-BFDA-4C69-8E79-A083B7EFBA29}"/>
                </c:ext>
              </c:extLst>
            </c:dLbl>
            <c:dLbl>
              <c:idx val="2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BFDA-4C69-8E79-A083B7EFBA29}"/>
                </c:ext>
              </c:extLst>
            </c:dLbl>
            <c:dLbl>
              <c:idx val="2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BFDA-4C69-8E79-A083B7EFBA29}"/>
                </c:ext>
              </c:extLst>
            </c:dLbl>
            <c:dLbl>
              <c:idx val="2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BFDA-4C69-8E79-A083B7EFBA29}"/>
                </c:ext>
              </c:extLst>
            </c:dLbl>
            <c:dLbl>
              <c:idx val="2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5-BFDA-4C69-8E79-A083B7EFBA29}"/>
                </c:ext>
              </c:extLst>
            </c:dLbl>
            <c:dLbl>
              <c:idx val="2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6-BFDA-4C69-8E79-A083B7EFBA29}"/>
                </c:ext>
              </c:extLst>
            </c:dLbl>
            <c:dLbl>
              <c:idx val="3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7-BFDA-4C69-8E79-A083B7EFBA29}"/>
                </c:ext>
              </c:extLst>
            </c:dLbl>
            <c:dLbl>
              <c:idx val="3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8-BFDA-4C69-8E79-A083B7EFBA29}"/>
                </c:ext>
              </c:extLst>
            </c:dLbl>
            <c:dLbl>
              <c:idx val="3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9-BFDA-4C69-8E79-A083B7EFBA29}"/>
                </c:ext>
              </c:extLst>
            </c:dLbl>
            <c:dLbl>
              <c:idx val="3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BFDA-4C69-8E79-A083B7EFBA29}"/>
                </c:ext>
              </c:extLst>
            </c:dLbl>
            <c:dLbl>
              <c:idx val="3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B-BFDA-4C69-8E79-A083B7EFBA29}"/>
                </c:ext>
              </c:extLst>
            </c:dLbl>
            <c:dLbl>
              <c:idx val="3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C-BFDA-4C69-8E79-A083B7EFBA29}"/>
                </c:ext>
              </c:extLst>
            </c:dLbl>
            <c:dLbl>
              <c:idx val="3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D-BFDA-4C69-8E79-A083B7EFBA29}"/>
                </c:ext>
              </c:extLst>
            </c:dLbl>
            <c:dLbl>
              <c:idx val="3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BFDA-4C69-8E79-A083B7EFBA29}"/>
                </c:ext>
              </c:extLst>
            </c:dLbl>
            <c:dLbl>
              <c:idx val="3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BFDA-4C69-8E79-A083B7EFBA29}"/>
                </c:ext>
              </c:extLst>
            </c:dLbl>
            <c:dLbl>
              <c:idx val="3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BFDA-4C69-8E79-A083B7EFBA29}"/>
                </c:ext>
              </c:extLst>
            </c:dLbl>
            <c:dLbl>
              <c:idx val="4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1-BFDA-4C69-8E79-A083B7EFBA29}"/>
                </c:ext>
              </c:extLst>
            </c:dLbl>
            <c:dLbl>
              <c:idx val="4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BFDA-4C69-8E79-A083B7EFBA29}"/>
                </c:ext>
              </c:extLst>
            </c:dLbl>
            <c:dLbl>
              <c:idx val="4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BFDA-4C69-8E79-A083B7EFBA29}"/>
                </c:ext>
              </c:extLst>
            </c:dLbl>
            <c:dLbl>
              <c:idx val="4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BFDA-4C69-8E79-A083B7EFBA29}"/>
                </c:ext>
              </c:extLst>
            </c:dLbl>
            <c:dLbl>
              <c:idx val="4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BFDA-4C69-8E79-A083B7EFBA29}"/>
                </c:ext>
              </c:extLst>
            </c:dLbl>
            <c:dLbl>
              <c:idx val="4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BFDA-4C69-8E79-A083B7EFBA29}"/>
                </c:ext>
              </c:extLst>
            </c:dLbl>
            <c:dLbl>
              <c:idx val="4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BFDA-4C69-8E79-A083B7EFBA29}"/>
                </c:ext>
              </c:extLst>
            </c:dLbl>
            <c:dLbl>
              <c:idx val="4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BFDA-4C69-8E79-A083B7EFBA29}"/>
                </c:ext>
              </c:extLst>
            </c:dLbl>
            <c:dLbl>
              <c:idx val="4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9</c:f>
              <c:numCache>
                <c:formatCode>General</c:formatCode>
                <c:ptCount val="8"/>
                <c:pt idx="0">
                  <c:v>0.3242</c:v>
                </c:pt>
                <c:pt idx="1">
                  <c:v>0.3511</c:v>
                </c:pt>
                <c:pt idx="2">
                  <c:v>0.479</c:v>
                </c:pt>
                <c:pt idx="3">
                  <c:v>0.348</c:v>
                </c:pt>
                <c:pt idx="4">
                  <c:v>0.2799</c:v>
                </c:pt>
                <c:pt idx="5">
                  <c:v>0.3693</c:v>
                </c:pt>
                <c:pt idx="6">
                  <c:v>0.3607</c:v>
                </c:pt>
                <c:pt idx="7">
                  <c:v>0.4797</c:v>
                </c:pt>
              </c:numCache>
            </c:numRef>
          </c:xVal>
          <c:yVal>
            <c:numRef>
              <c:f>Sheet1!$B$2:$B$9</c:f>
              <c:numCache>
                <c:formatCode>General</c:formatCode>
                <c:ptCount val="8"/>
                <c:pt idx="0">
                  <c:v>45724.89230769231</c:v>
                </c:pt>
                <c:pt idx="1">
                  <c:v>43360.813008130084</c:v>
                </c:pt>
                <c:pt idx="2">
                  <c:v>7090.928689883914</c:v>
                </c:pt>
                <c:pt idx="3">
                  <c:v>25786.988809766022</c:v>
                </c:pt>
                <c:pt idx="4">
                  <c:v>3357.02570379437</c:v>
                </c:pt>
                <c:pt idx="5">
                  <c:v>20585.647298674823</c:v>
                </c:pt>
                <c:pt idx="6">
                  <c:v>27675.493562231757</c:v>
                </c:pt>
                <c:pt idx="7">
                  <c:v>5504.077380952381</c:v>
                </c:pt>
              </c:numCache>
            </c:numRef>
          </c:yVal>
          <c:bubbleSize>
            <c:numRef>
              <c:f>Sheet1!$C$2:$C$9</c:f>
              <c:numCache>
                <c:formatCode>General</c:formatCode>
                <c:ptCount val="8"/>
                <c:pt idx="0">
                  <c:v>2855956.0229999996</c:v>
                </c:pt>
                <c:pt idx="1">
                  <c:v>2296187.0626000003</c:v>
                </c:pt>
                <c:pt idx="2">
                  <c:v>211148.30579999997</c:v>
                </c:pt>
                <c:pt idx="3">
                  <c:v>1566649.6702999999</c:v>
                </c:pt>
                <c:pt idx="4">
                  <c:v>187196.62399999998</c:v>
                </c:pt>
                <c:pt idx="5">
                  <c:v>1207357.7841999999</c:v>
                </c:pt>
                <c:pt idx="6">
                  <c:v>1563091.1579999998</c:v>
                </c:pt>
                <c:pt idx="7">
                  <c:v>182424.33279999997</c:v>
                </c:pt>
              </c:numCache>
            </c:numRef>
          </c:bubbleSize>
          <c:bubble3D val="0"/>
          <c:extLst>
            <c:ext xmlns:c15="http://schemas.microsoft.com/office/drawing/2012/chart" uri="{02D57815-91ED-43cb-92C2-25804820EDAC}">
              <c15:datalabelsRange>
                <c15:f>Sheet1!$E$2:$E$50</c15:f>
                <c15:dlblRangeCache>
                  <c:ptCount val="49"/>
                  <c:pt idx="0">
                    <c:v>Findus Merluzzo Altro Findus Fish Bar 245GR</c:v>
                  </c:pt>
                  <c:pt idx="1">
                    <c:v>Findus Merluzzo D Alaska Chips Findus Big Burger 227GR</c:v>
                  </c:pt>
                  <c:pt idx="2">
                    <c:v>Findus Merluzzo D Alaska Standard Findus Big Burger 227GR</c:v>
                  </c:pt>
                  <c:pt idx="3">
                    <c:v>Findus Merluzzo E Spinaci Filetto Findus Croccole 300GR</c:v>
                  </c:pt>
                  <c:pt idx="4">
                    <c:v>Findus Merluzzo Filetto Findus Croccole 300GR</c:v>
                  </c:pt>
                  <c:pt idx="5">
                    <c:v>Findus Merluzzo Filetto Findus Croccole 600GR</c:v>
                  </c:pt>
                  <c:pt idx="6">
                    <c:v>Findus Merluzzo Filetto Findus Fish &amp; Crock 250GR</c:v>
                  </c:pt>
                  <c:pt idx="7">
                    <c:v>Findus Merluzzo Filetto Findus Fish Bar 240GR</c:v>
                  </c:pt>
                  <c:pt idx="8">
                    <c:v>Findus Merluzzo Semi Filetto Findus Croccole 300GR</c:v>
                  </c:pt>
                  <c:pt idx="9">
                    <c:v>Findus Merluzzo Senza Glutine Filetto Findus Croccole 250GR</c:v>
                  </c:pt>
                  <c:pt idx="10">
                    <c:v>Findus Platessa Filetto Findus Platessa 250GR</c:v>
                  </c:pt>
                  <c:pt idx="11">
                    <c:v>Findus Salmone Altro Findus Fish Bar 220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La Vache Qui Rit</c:v>
                </c:pt>
                <c:pt idx="1">
                  <c:v>Kiri</c:v>
                </c:pt>
                <c:pt idx="2">
                  <c:v>Mini Babybel</c:v>
                </c:pt>
                <c:pt idx="3">
                  <c:v>Private Label</c:v>
                </c:pt>
                <c:pt idx="4">
                  <c:v>Ficello</c:v>
                </c:pt>
                <c:pt idx="5">
                  <c:v>P'Tit Louis</c:v>
                </c:pt>
                <c:pt idx="6">
                  <c:v>Others</c:v>
                </c:pt>
              </c:strCache>
            </c:strRef>
          </c:cat>
          <c:val>
            <c:numRef>
              <c:f>Sheet1!$B$2:$B$8</c:f>
              <c:numCache>
                <c:formatCode>General</c:formatCode>
                <c:ptCount val="7"/>
                <c:pt idx="0">
                  <c:v>0.32869398106931474</c:v>
                </c:pt>
                <c:pt idx="1">
                  <c:v>0.2297766886177145</c:v>
                </c:pt>
                <c:pt idx="2">
                  <c:v>0.22810911694786623</c:v>
                </c:pt>
                <c:pt idx="3">
                  <c:v>0.11660926998015506</c:v>
                </c:pt>
                <c:pt idx="4">
                  <c:v>0.07547679327735066</c:v>
                </c:pt>
                <c:pt idx="5">
                  <c:v>0.02130081796743565</c:v>
                </c:pt>
                <c:pt idx="6">
                  <c:v>3.333214016312716e-05</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La Vache Qui Rit</c:v>
                </c:pt>
                <c:pt idx="1">
                  <c:v>Kiri</c:v>
                </c:pt>
                <c:pt idx="2">
                  <c:v>Mini Babybel</c:v>
                </c:pt>
                <c:pt idx="3">
                  <c:v>Private Label</c:v>
                </c:pt>
                <c:pt idx="4">
                  <c:v>Ficello</c:v>
                </c:pt>
                <c:pt idx="5">
                  <c:v>P'Tit Louis</c:v>
                </c:pt>
                <c:pt idx="6">
                  <c:v>Others</c:v>
                </c:pt>
              </c:strCache>
            </c:strRef>
          </c:cat>
          <c:val>
            <c:numRef>
              <c:f>Sheet1!$C$2:$C$8</c:f>
              <c:numCache>
                <c:formatCode>General</c:formatCode>
                <c:ptCount val="7"/>
                <c:pt idx="0">
                  <c:v>0.2160278745644599</c:v>
                </c:pt>
                <c:pt idx="1">
                  <c:v>0.18302930928468952</c:v>
                </c:pt>
                <c:pt idx="2">
                  <c:v>0.2643984423037507</c:v>
                </c:pt>
                <c:pt idx="3">
                  <c:v>0.14921090387374464</c:v>
                </c:pt>
                <c:pt idx="4">
                  <c:v>0.10043041606886657</c:v>
                </c:pt>
                <c:pt idx="5">
                  <c:v>0.08669809387169503</c:v>
                </c:pt>
                <c:pt idx="6">
                  <c:v>0.00020496003279360525</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La Vache Qui Rit</c:v>
                </c:pt>
                <c:pt idx="1">
                  <c:v>Kiri</c:v>
                </c:pt>
                <c:pt idx="2">
                  <c:v>Mini Babybel</c:v>
                </c:pt>
                <c:pt idx="3">
                  <c:v>Private Label</c:v>
                </c:pt>
                <c:pt idx="4">
                  <c:v>Ficello</c:v>
                </c:pt>
                <c:pt idx="5">
                  <c:v>P'Tit Louis</c:v>
                </c:pt>
                <c:pt idx="6">
                  <c:v>Others</c:v>
                </c:pt>
              </c:strCache>
            </c:strRef>
          </c:cat>
          <c:val>
            <c:numRef>
              <c:f>Sheet1!$D$2:$D$8</c:f>
              <c:numCache>
                <c:formatCode>General</c:formatCode>
                <c:ptCount val="7"/>
                <c:pt idx="0">
                  <c:v>65.72310021061935</c:v>
                </c:pt>
                <c:pt idx="1">
                  <c:v>79.65529940645989</c:v>
                </c:pt>
                <c:pt idx="2">
                  <c:v>115.90875710775659</c:v>
                </c:pt>
                <c:pt idx="3">
                  <c:v>127.95801217102023</c:v>
                </c:pt>
                <c:pt idx="4">
                  <c:v>133.0613181985887</c:v>
                </c:pt>
                <c:pt idx="5">
                  <c:v>407.01767417682123</c:v>
                </c:pt>
                <c:pt idx="6">
                  <c:v>614.9021088670961</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A5E5F9D0-0B20-41ED-B660-4CE672BCA8E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B4C3576E-A869-4A6D-A152-31BBCFBD5FB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C6A62F7F-FB45-4C6C-9A19-E9EE467A72E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01EFC5E9-3AB1-4C05-94BD-7FEBEEB9D27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9674975E-AF4A-4D88-B0D2-2789E2A3D10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CFEF76B2-2D58-42E7-A3F4-AF184C54CA1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2E228943-0C9E-41A6-B333-FF4F1C40811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5-BFDA-4C69-8E79-A083B7EFBA29}"/>
                </c:ext>
              </c:extLst>
            </c:dLbl>
            <c:dLbl>
              <c:idx val="1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BFDA-4C69-8E79-A083B7EFBA29}"/>
                </c:ext>
              </c:extLst>
            </c:dLbl>
            <c:dLbl>
              <c:idx val="1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BFDA-4C69-8E79-A083B7EFBA29}"/>
                </c:ext>
              </c:extLst>
            </c:dLbl>
            <c:dLbl>
              <c:idx val="1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BFDA-4C69-8E79-A083B7EFBA29}"/>
                </c:ext>
              </c:extLst>
            </c:dLbl>
            <c:dLbl>
              <c:idx val="1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9-BFDA-4C69-8E79-A083B7EFBA29}"/>
                </c:ext>
              </c:extLst>
            </c:dLbl>
            <c:dLbl>
              <c:idx val="1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A-BFDA-4C69-8E79-A083B7EFBA29}"/>
                </c:ext>
              </c:extLst>
            </c:dLbl>
            <c:dLbl>
              <c:idx val="1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B-BFDA-4C69-8E79-A083B7EFBA29}"/>
                </c:ext>
              </c:extLst>
            </c:dLbl>
            <c:dLbl>
              <c:idx val="1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C-BFDA-4C69-8E79-A083B7EFBA29}"/>
                </c:ext>
              </c:extLst>
            </c:dLbl>
            <c:dLbl>
              <c:idx val="2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BFDA-4C69-8E79-A083B7EFBA29}"/>
                </c:ext>
              </c:extLst>
            </c:dLbl>
            <c:dLbl>
              <c:idx val="2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BFDA-4C69-8E79-A083B7EFBA29}"/>
                </c:ext>
              </c:extLst>
            </c:dLbl>
            <c:dLbl>
              <c:idx val="2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F-BFDA-4C69-8E79-A083B7EFBA29}"/>
                </c:ext>
              </c:extLst>
            </c:dLbl>
            <c:dLbl>
              <c:idx val="2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0-BFDA-4C69-8E79-A083B7EFBA29}"/>
                </c:ext>
              </c:extLst>
            </c:dLbl>
            <c:dLbl>
              <c:idx val="2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1-BFDA-4C69-8E79-A083B7EFBA29}"/>
                </c:ext>
              </c:extLst>
            </c:dLbl>
            <c:dLbl>
              <c:idx val="2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BFDA-4C69-8E79-A083B7EFBA29}"/>
                </c:ext>
              </c:extLst>
            </c:dLbl>
            <c:dLbl>
              <c:idx val="2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BFDA-4C69-8E79-A083B7EFBA29}"/>
                </c:ext>
              </c:extLst>
            </c:dLbl>
            <c:dLbl>
              <c:idx val="2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BFDA-4C69-8E79-A083B7EFBA29}"/>
                </c:ext>
              </c:extLst>
            </c:dLbl>
            <c:dLbl>
              <c:idx val="2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5-BFDA-4C69-8E79-A083B7EFBA29}"/>
                </c:ext>
              </c:extLst>
            </c:dLbl>
            <c:dLbl>
              <c:idx val="2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6-BFDA-4C69-8E79-A083B7EFBA29}"/>
                </c:ext>
              </c:extLst>
            </c:dLbl>
            <c:dLbl>
              <c:idx val="3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7-BFDA-4C69-8E79-A083B7EFBA29}"/>
                </c:ext>
              </c:extLst>
            </c:dLbl>
            <c:dLbl>
              <c:idx val="3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8-BFDA-4C69-8E79-A083B7EFBA29}"/>
                </c:ext>
              </c:extLst>
            </c:dLbl>
            <c:dLbl>
              <c:idx val="3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9-BFDA-4C69-8E79-A083B7EFBA29}"/>
                </c:ext>
              </c:extLst>
            </c:dLbl>
            <c:dLbl>
              <c:idx val="3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BFDA-4C69-8E79-A083B7EFBA29}"/>
                </c:ext>
              </c:extLst>
            </c:dLbl>
            <c:dLbl>
              <c:idx val="3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B-BFDA-4C69-8E79-A083B7EFBA29}"/>
                </c:ext>
              </c:extLst>
            </c:dLbl>
            <c:dLbl>
              <c:idx val="3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C-BFDA-4C69-8E79-A083B7EFBA29}"/>
                </c:ext>
              </c:extLst>
            </c:dLbl>
            <c:dLbl>
              <c:idx val="3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D-BFDA-4C69-8E79-A083B7EFBA29}"/>
                </c:ext>
              </c:extLst>
            </c:dLbl>
            <c:dLbl>
              <c:idx val="3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BFDA-4C69-8E79-A083B7EFBA29}"/>
                </c:ext>
              </c:extLst>
            </c:dLbl>
            <c:dLbl>
              <c:idx val="3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BFDA-4C69-8E79-A083B7EFBA29}"/>
                </c:ext>
              </c:extLst>
            </c:dLbl>
            <c:dLbl>
              <c:idx val="3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BFDA-4C69-8E79-A083B7EFBA29}"/>
                </c:ext>
              </c:extLst>
            </c:dLbl>
            <c:dLbl>
              <c:idx val="4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1-BFDA-4C69-8E79-A083B7EFBA29}"/>
                </c:ext>
              </c:extLst>
            </c:dLbl>
            <c:dLbl>
              <c:idx val="4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BFDA-4C69-8E79-A083B7EFBA29}"/>
                </c:ext>
              </c:extLst>
            </c:dLbl>
            <c:dLbl>
              <c:idx val="4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BFDA-4C69-8E79-A083B7EFBA29}"/>
                </c:ext>
              </c:extLst>
            </c:dLbl>
            <c:dLbl>
              <c:idx val="4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BFDA-4C69-8E79-A083B7EFBA29}"/>
                </c:ext>
              </c:extLst>
            </c:dLbl>
            <c:dLbl>
              <c:idx val="4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BFDA-4C69-8E79-A083B7EFBA29}"/>
                </c:ext>
              </c:extLst>
            </c:dLbl>
            <c:dLbl>
              <c:idx val="4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BFDA-4C69-8E79-A083B7EFBA29}"/>
                </c:ext>
              </c:extLst>
            </c:dLbl>
            <c:dLbl>
              <c:idx val="4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BFDA-4C69-8E79-A083B7EFBA29}"/>
                </c:ext>
              </c:extLst>
            </c:dLbl>
            <c:dLbl>
              <c:idx val="4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BFDA-4C69-8E79-A083B7EFBA29}"/>
                </c:ext>
              </c:extLst>
            </c:dLbl>
            <c:dLbl>
              <c:idx val="4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9</c:f>
              <c:numCache>
                <c:formatCode>General</c:formatCode>
                <c:ptCount val="8"/>
                <c:pt idx="0">
                  <c:v>0.5395</c:v>
                </c:pt>
                <c:pt idx="1">
                  <c:v>0.4336</c:v>
                </c:pt>
                <c:pt idx="2">
                  <c:v>0.3976</c:v>
                </c:pt>
                <c:pt idx="3">
                  <c:v>0.363</c:v>
                </c:pt>
                <c:pt idx="4">
                  <c:v>0.3263</c:v>
                </c:pt>
                <c:pt idx="5">
                  <c:v>0.2464</c:v>
                </c:pt>
                <c:pt idx="6">
                  <c:v>0.4233</c:v>
                </c:pt>
                <c:pt idx="7">
                  <c:v>0.4895</c:v>
                </c:pt>
              </c:numCache>
            </c:numRef>
          </c:xVal>
          <c:yVal>
            <c:numRef>
              <c:f>Sheet1!$B$2:$B$9</c:f>
              <c:numCache>
                <c:formatCode>General</c:formatCode>
                <c:ptCount val="8"/>
                <c:pt idx="0">
                  <c:v>6740.530191458026</c:v>
                </c:pt>
                <c:pt idx="1">
                  <c:v>10304.161712247325</c:v>
                </c:pt>
                <c:pt idx="2">
                  <c:v>61730.22044088176</c:v>
                </c:pt>
                <c:pt idx="3">
                  <c:v>52226.90754516472</c:v>
                </c:pt>
                <c:pt idx="4">
                  <c:v>79341.23548046463</c:v>
                </c:pt>
                <c:pt idx="5">
                  <c:v>1325.1948051948052</c:v>
                </c:pt>
                <c:pt idx="6">
                  <c:v>14262.722513089006</c:v>
                </c:pt>
                <c:pt idx="7">
                  <c:v>14741.662735849057</c:v>
                </c:pt>
              </c:numCache>
            </c:numRef>
          </c:yVal>
          <c:bubbleSize>
            <c:numRef>
              <c:f>Sheet1!$C$2:$C$9</c:f>
              <c:numCache>
                <c:formatCode>General</c:formatCode>
                <c:ptCount val="8"/>
                <c:pt idx="0">
                  <c:v>199774.98380000005</c:v>
                </c:pt>
                <c:pt idx="1">
                  <c:v>465262.3417000001</c:v>
                </c:pt>
                <c:pt idx="2">
                  <c:v>3517429.0794000006</c:v>
                </c:pt>
                <c:pt idx="3">
                  <c:v>2967487.1029999997</c:v>
                </c:pt>
                <c:pt idx="4">
                  <c:v>4797651.408399999</c:v>
                </c:pt>
                <c:pt idx="5">
                  <c:v>21865.146199999996</c:v>
                </c:pt>
                <c:pt idx="6">
                  <c:v>744418.5861000001</c:v>
                </c:pt>
                <c:pt idx="7">
                  <c:v>604870.5601999997</c:v>
                </c:pt>
              </c:numCache>
            </c:numRef>
          </c:bubbleSize>
          <c:bubble3D val="0"/>
          <c:extLst>
            <c:ext xmlns:c15="http://schemas.microsoft.com/office/drawing/2012/chart" uri="{02D57815-91ED-43cb-92C2-25804820EDAC}">
              <c15:datalabelsRange>
                <c15:f>Sheet1!$E$2:$E$50</c15:f>
                <c15:dlblRangeCache>
                  <c:ptCount val="49"/>
                  <c:pt idx="0">
                    <c:v>Findus Merluzzo Altro Findus Fish Bar 245GR</c:v>
                  </c:pt>
                  <c:pt idx="1">
                    <c:v>Findus Merluzzo D Alaska Chips Findus Big Burger 227GR</c:v>
                  </c:pt>
                  <c:pt idx="2">
                    <c:v>Findus Merluzzo D Alaska Standard Findus Big Burger 227GR</c:v>
                  </c:pt>
                  <c:pt idx="3">
                    <c:v>Findus Merluzzo E Spinaci Filetto Findus Croccole 300GR</c:v>
                  </c:pt>
                  <c:pt idx="4">
                    <c:v>Findus Merluzzo Filetto Findus Croccole 300GR</c:v>
                  </c:pt>
                  <c:pt idx="5">
                    <c:v>Findus Merluzzo Filetto Findus Croccole 600GR</c:v>
                  </c:pt>
                  <c:pt idx="6">
                    <c:v>Findus Merluzzo Filetto Findus Fish &amp; Crock 250GR</c:v>
                  </c:pt>
                  <c:pt idx="7">
                    <c:v>Findus Merluzzo Filetto Findus Fish Bar 240GR</c:v>
                  </c:pt>
                  <c:pt idx="8">
                    <c:v>Findus Merluzzo Semi Filetto Findus Croccole 300GR</c:v>
                  </c:pt>
                  <c:pt idx="9">
                    <c:v>Findus Merluzzo Senza Glutine Filetto Findus Croccole 250GR</c:v>
                  </c:pt>
                  <c:pt idx="10">
                    <c:v>Findus Platessa Filetto Findus Platessa 250GR</c:v>
                  </c:pt>
                  <c:pt idx="11">
                    <c:v>Findus Salmone Altro Findus Fish Bar 220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3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5C98031C-2752-4D4E-A983-5AFE9DAAA7E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B5FD0562-3ED4-4845-95D9-B3EA96D97FD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AF24AB8A-1F25-423F-8B1A-F697C1CC274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5EEAC31D-CA37-41F8-AD10-53AE689FD4D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B2BEF631-F6B3-4845-9E0F-0D42B120B9B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EB987B88-3AAC-4E2B-8B21-17AEAE41D04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32DDA874-1BAB-4D5B-8B64-B763B0C85E6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5-BFDA-4C69-8E79-A083B7EFBA29}"/>
                </c:ext>
              </c:extLst>
            </c:dLbl>
            <c:dLbl>
              <c:idx val="1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BFDA-4C69-8E79-A083B7EFBA29}"/>
                </c:ext>
              </c:extLst>
            </c:dLbl>
            <c:dLbl>
              <c:idx val="1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BFDA-4C69-8E79-A083B7EFBA29}"/>
                </c:ext>
              </c:extLst>
            </c:dLbl>
            <c:dLbl>
              <c:idx val="1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BFDA-4C69-8E79-A083B7EFBA29}"/>
                </c:ext>
              </c:extLst>
            </c:dLbl>
            <c:dLbl>
              <c:idx val="1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9-BFDA-4C69-8E79-A083B7EFBA29}"/>
                </c:ext>
              </c:extLst>
            </c:dLbl>
            <c:dLbl>
              <c:idx val="1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A-BFDA-4C69-8E79-A083B7EFBA29}"/>
                </c:ext>
              </c:extLst>
            </c:dLbl>
            <c:dLbl>
              <c:idx val="1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B-BFDA-4C69-8E79-A083B7EFBA29}"/>
                </c:ext>
              </c:extLst>
            </c:dLbl>
            <c:dLbl>
              <c:idx val="1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C-BFDA-4C69-8E79-A083B7EFBA29}"/>
                </c:ext>
              </c:extLst>
            </c:dLbl>
            <c:dLbl>
              <c:idx val="2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BFDA-4C69-8E79-A083B7EFBA29}"/>
                </c:ext>
              </c:extLst>
            </c:dLbl>
            <c:dLbl>
              <c:idx val="2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BFDA-4C69-8E79-A083B7EFBA29}"/>
                </c:ext>
              </c:extLst>
            </c:dLbl>
            <c:dLbl>
              <c:idx val="2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F-BFDA-4C69-8E79-A083B7EFBA29}"/>
                </c:ext>
              </c:extLst>
            </c:dLbl>
            <c:dLbl>
              <c:idx val="2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0-BFDA-4C69-8E79-A083B7EFBA29}"/>
                </c:ext>
              </c:extLst>
            </c:dLbl>
            <c:dLbl>
              <c:idx val="2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1-BFDA-4C69-8E79-A083B7EFBA29}"/>
                </c:ext>
              </c:extLst>
            </c:dLbl>
            <c:dLbl>
              <c:idx val="2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BFDA-4C69-8E79-A083B7EFBA29}"/>
                </c:ext>
              </c:extLst>
            </c:dLbl>
            <c:dLbl>
              <c:idx val="2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BFDA-4C69-8E79-A083B7EFBA29}"/>
                </c:ext>
              </c:extLst>
            </c:dLbl>
            <c:dLbl>
              <c:idx val="2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BFDA-4C69-8E79-A083B7EFBA29}"/>
                </c:ext>
              </c:extLst>
            </c:dLbl>
            <c:dLbl>
              <c:idx val="2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5-BFDA-4C69-8E79-A083B7EFBA29}"/>
                </c:ext>
              </c:extLst>
            </c:dLbl>
            <c:dLbl>
              <c:idx val="2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6-BFDA-4C69-8E79-A083B7EFBA29}"/>
                </c:ext>
              </c:extLst>
            </c:dLbl>
            <c:dLbl>
              <c:idx val="3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7-BFDA-4C69-8E79-A083B7EFBA29}"/>
                </c:ext>
              </c:extLst>
            </c:dLbl>
            <c:dLbl>
              <c:idx val="3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8-BFDA-4C69-8E79-A083B7EFBA29}"/>
                </c:ext>
              </c:extLst>
            </c:dLbl>
            <c:dLbl>
              <c:idx val="3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9-BFDA-4C69-8E79-A083B7EFBA29}"/>
                </c:ext>
              </c:extLst>
            </c:dLbl>
            <c:dLbl>
              <c:idx val="3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BFDA-4C69-8E79-A083B7EFBA29}"/>
                </c:ext>
              </c:extLst>
            </c:dLbl>
            <c:dLbl>
              <c:idx val="3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B-BFDA-4C69-8E79-A083B7EFBA29}"/>
                </c:ext>
              </c:extLst>
            </c:dLbl>
            <c:dLbl>
              <c:idx val="3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C-BFDA-4C69-8E79-A083B7EFBA29}"/>
                </c:ext>
              </c:extLst>
            </c:dLbl>
            <c:dLbl>
              <c:idx val="3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D-BFDA-4C69-8E79-A083B7EFBA29}"/>
                </c:ext>
              </c:extLst>
            </c:dLbl>
            <c:dLbl>
              <c:idx val="3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BFDA-4C69-8E79-A083B7EFBA29}"/>
                </c:ext>
              </c:extLst>
            </c:dLbl>
            <c:dLbl>
              <c:idx val="3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BFDA-4C69-8E79-A083B7EFBA29}"/>
                </c:ext>
              </c:extLst>
            </c:dLbl>
            <c:dLbl>
              <c:idx val="3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BFDA-4C69-8E79-A083B7EFBA29}"/>
                </c:ext>
              </c:extLst>
            </c:dLbl>
            <c:dLbl>
              <c:idx val="4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1-BFDA-4C69-8E79-A083B7EFBA29}"/>
                </c:ext>
              </c:extLst>
            </c:dLbl>
            <c:dLbl>
              <c:idx val="4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BFDA-4C69-8E79-A083B7EFBA29}"/>
                </c:ext>
              </c:extLst>
            </c:dLbl>
            <c:dLbl>
              <c:idx val="4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BFDA-4C69-8E79-A083B7EFBA29}"/>
                </c:ext>
              </c:extLst>
            </c:dLbl>
            <c:dLbl>
              <c:idx val="4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BFDA-4C69-8E79-A083B7EFBA29}"/>
                </c:ext>
              </c:extLst>
            </c:dLbl>
            <c:dLbl>
              <c:idx val="4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BFDA-4C69-8E79-A083B7EFBA29}"/>
                </c:ext>
              </c:extLst>
            </c:dLbl>
            <c:dLbl>
              <c:idx val="4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BFDA-4C69-8E79-A083B7EFBA29}"/>
                </c:ext>
              </c:extLst>
            </c:dLbl>
            <c:dLbl>
              <c:idx val="4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BFDA-4C69-8E79-A083B7EFBA29}"/>
                </c:ext>
              </c:extLst>
            </c:dLbl>
            <c:dLbl>
              <c:idx val="4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BFDA-4C69-8E79-A083B7EFBA29}"/>
                </c:ext>
              </c:extLst>
            </c:dLbl>
            <c:dLbl>
              <c:idx val="4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8</c:f>
              <c:numCache>
                <c:formatCode>General</c:formatCode>
                <c:ptCount val="7"/>
                <c:pt idx="0">
                  <c:v>0.2973</c:v>
                </c:pt>
                <c:pt idx="1">
                  <c:v>0.3816</c:v>
                </c:pt>
                <c:pt idx="2">
                  <c:v>0.3495</c:v>
                </c:pt>
                <c:pt idx="3">
                  <c:v>0.2925</c:v>
                </c:pt>
                <c:pt idx="4">
                  <c:v>0.2595</c:v>
                </c:pt>
                <c:pt idx="5">
                  <c:v>0.3229</c:v>
                </c:pt>
                <c:pt idx="6">
                  <c:v>0.3338</c:v>
                </c:pt>
              </c:numCache>
            </c:numRef>
          </c:xVal>
          <c:yVal>
            <c:numRef>
              <c:f>Sheet1!$B$2:$B$8</c:f>
              <c:numCache>
                <c:formatCode>General</c:formatCode>
                <c:ptCount val="7"/>
                <c:pt idx="0">
                  <c:v>19457.76</c:v>
                </c:pt>
                <c:pt idx="1">
                  <c:v>45589.41414141414</c:v>
                </c:pt>
                <c:pt idx="2">
                  <c:v>1891.3733333333332</c:v>
                </c:pt>
                <c:pt idx="3">
                  <c:v>11794.45</c:v>
                </c:pt>
                <c:pt idx="4">
                  <c:v>8238.34693877551</c:v>
                </c:pt>
                <c:pt idx="5">
                  <c:v>14911.01</c:v>
                </c:pt>
                <c:pt idx="6">
                  <c:v>11125.10101010101</c:v>
                </c:pt>
              </c:numCache>
            </c:numRef>
          </c:yVal>
          <c:bubbleSize>
            <c:numRef>
              <c:f>Sheet1!$C$2:$C$8</c:f>
              <c:numCache>
                <c:formatCode>General</c:formatCode>
                <c:ptCount val="7"/>
                <c:pt idx="0">
                  <c:v>1296098.2605999997</c:v>
                </c:pt>
                <c:pt idx="1">
                  <c:v>2645737.671800001</c:v>
                </c:pt>
                <c:pt idx="2">
                  <c:v>87470.35269999999</c:v>
                </c:pt>
                <c:pt idx="3">
                  <c:v>790966.1867999999</c:v>
                </c:pt>
                <c:pt idx="4">
                  <c:v>566708.1048</c:v>
                </c:pt>
                <c:pt idx="5">
                  <c:v>956991.22</c:v>
                </c:pt>
                <c:pt idx="6">
                  <c:v>695514.2348000001</c:v>
                </c:pt>
              </c:numCache>
            </c:numRef>
          </c:bubbleSize>
          <c:bubble3D val="0"/>
          <c:extLst>
            <c:ext xmlns:c15="http://schemas.microsoft.com/office/drawing/2012/chart" uri="{02D57815-91ED-43cb-92C2-25804820EDAC}">
              <c15:datalabelsRange>
                <c15:f>Sheet1!$E$2:$E$50</c15:f>
                <c15:dlblRangeCache>
                  <c:ptCount val="49"/>
                  <c:pt idx="0">
                    <c:v>Findus Merluzzo Altro Findus Fish Bar 245GR</c:v>
                  </c:pt>
                  <c:pt idx="1">
                    <c:v>Findus Merluzzo D Alaska Chips Findus Big Burger 227GR</c:v>
                  </c:pt>
                  <c:pt idx="2">
                    <c:v>Findus Merluzzo D Alaska Standard Findus Big Burger 227GR</c:v>
                  </c:pt>
                  <c:pt idx="3">
                    <c:v>Findus Merluzzo E Spinaci Filetto Findus Croccole 300GR</c:v>
                  </c:pt>
                  <c:pt idx="4">
                    <c:v>Findus Merluzzo Filetto Findus Croccole 300GR</c:v>
                  </c:pt>
                  <c:pt idx="5">
                    <c:v>Findus Merluzzo Filetto Findus Croccole 600GR</c:v>
                  </c:pt>
                  <c:pt idx="6">
                    <c:v>Findus Merluzzo Filetto Findus Fish &amp; Crock 250GR</c:v>
                  </c:pt>
                  <c:pt idx="7">
                    <c:v>Findus Merluzzo Filetto Findus Fish Bar 240GR</c:v>
                  </c:pt>
                  <c:pt idx="8">
                    <c:v>Findus Merluzzo Semi Filetto Findus Croccole 300GR</c:v>
                  </c:pt>
                  <c:pt idx="9">
                    <c:v>Findus Merluzzo Senza Glutine Filetto Findus Croccole 250GR</c:v>
                  </c:pt>
                  <c:pt idx="10">
                    <c:v>Findus Platessa Filetto Findus Platessa 250GR</c:v>
                  </c:pt>
                  <c:pt idx="11">
                    <c:v>Findus Salmone Altro Findus Fish Bar 220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3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E72ACDDA-6004-4242-BFC8-F45EE150E88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CD47A8AD-B697-49CC-9250-E893D414CA3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9D534631-ED68-4C1C-AD33-D07EA9D0F1B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3FBFDAEF-895A-46FB-B623-8CA1EB77CD1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B0B8B90C-5511-4006-A07E-2C7E0B8555E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3F81A892-E0DF-4EBB-82A7-7589E1371D9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99F6D35E-6134-43E7-B000-CF1111A5BCA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5-BFDA-4C69-8E79-A083B7EFBA29}"/>
                </c:ext>
              </c:extLst>
            </c:dLbl>
            <c:dLbl>
              <c:idx val="1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BFDA-4C69-8E79-A083B7EFBA29}"/>
                </c:ext>
              </c:extLst>
            </c:dLbl>
            <c:dLbl>
              <c:idx val="1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BFDA-4C69-8E79-A083B7EFBA29}"/>
                </c:ext>
              </c:extLst>
            </c:dLbl>
            <c:dLbl>
              <c:idx val="1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BFDA-4C69-8E79-A083B7EFBA29}"/>
                </c:ext>
              </c:extLst>
            </c:dLbl>
            <c:dLbl>
              <c:idx val="1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9-BFDA-4C69-8E79-A083B7EFBA29}"/>
                </c:ext>
              </c:extLst>
            </c:dLbl>
            <c:dLbl>
              <c:idx val="1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A-BFDA-4C69-8E79-A083B7EFBA29}"/>
                </c:ext>
              </c:extLst>
            </c:dLbl>
            <c:dLbl>
              <c:idx val="1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B-BFDA-4C69-8E79-A083B7EFBA29}"/>
                </c:ext>
              </c:extLst>
            </c:dLbl>
            <c:dLbl>
              <c:idx val="1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C-BFDA-4C69-8E79-A083B7EFBA29}"/>
                </c:ext>
              </c:extLst>
            </c:dLbl>
            <c:dLbl>
              <c:idx val="2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BFDA-4C69-8E79-A083B7EFBA29}"/>
                </c:ext>
              </c:extLst>
            </c:dLbl>
            <c:dLbl>
              <c:idx val="2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BFDA-4C69-8E79-A083B7EFBA29}"/>
                </c:ext>
              </c:extLst>
            </c:dLbl>
            <c:dLbl>
              <c:idx val="2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F-BFDA-4C69-8E79-A083B7EFBA29}"/>
                </c:ext>
              </c:extLst>
            </c:dLbl>
            <c:dLbl>
              <c:idx val="2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0-BFDA-4C69-8E79-A083B7EFBA29}"/>
                </c:ext>
              </c:extLst>
            </c:dLbl>
            <c:dLbl>
              <c:idx val="2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1-BFDA-4C69-8E79-A083B7EFBA29}"/>
                </c:ext>
              </c:extLst>
            </c:dLbl>
            <c:dLbl>
              <c:idx val="2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BFDA-4C69-8E79-A083B7EFBA29}"/>
                </c:ext>
              </c:extLst>
            </c:dLbl>
            <c:dLbl>
              <c:idx val="2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BFDA-4C69-8E79-A083B7EFBA29}"/>
                </c:ext>
              </c:extLst>
            </c:dLbl>
            <c:dLbl>
              <c:idx val="2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BFDA-4C69-8E79-A083B7EFBA29}"/>
                </c:ext>
              </c:extLst>
            </c:dLbl>
            <c:dLbl>
              <c:idx val="2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5-BFDA-4C69-8E79-A083B7EFBA29}"/>
                </c:ext>
              </c:extLst>
            </c:dLbl>
            <c:dLbl>
              <c:idx val="2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6-BFDA-4C69-8E79-A083B7EFBA29}"/>
                </c:ext>
              </c:extLst>
            </c:dLbl>
            <c:dLbl>
              <c:idx val="3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7-BFDA-4C69-8E79-A083B7EFBA29}"/>
                </c:ext>
              </c:extLst>
            </c:dLbl>
            <c:dLbl>
              <c:idx val="3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8-BFDA-4C69-8E79-A083B7EFBA29}"/>
                </c:ext>
              </c:extLst>
            </c:dLbl>
            <c:dLbl>
              <c:idx val="3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9-BFDA-4C69-8E79-A083B7EFBA29}"/>
                </c:ext>
              </c:extLst>
            </c:dLbl>
            <c:dLbl>
              <c:idx val="3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BFDA-4C69-8E79-A083B7EFBA29}"/>
                </c:ext>
              </c:extLst>
            </c:dLbl>
            <c:dLbl>
              <c:idx val="3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B-BFDA-4C69-8E79-A083B7EFBA29}"/>
                </c:ext>
              </c:extLst>
            </c:dLbl>
            <c:dLbl>
              <c:idx val="3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C-BFDA-4C69-8E79-A083B7EFBA29}"/>
                </c:ext>
              </c:extLst>
            </c:dLbl>
            <c:dLbl>
              <c:idx val="3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D-BFDA-4C69-8E79-A083B7EFBA29}"/>
                </c:ext>
              </c:extLst>
            </c:dLbl>
            <c:dLbl>
              <c:idx val="3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BFDA-4C69-8E79-A083B7EFBA29}"/>
                </c:ext>
              </c:extLst>
            </c:dLbl>
            <c:dLbl>
              <c:idx val="3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BFDA-4C69-8E79-A083B7EFBA29}"/>
                </c:ext>
              </c:extLst>
            </c:dLbl>
            <c:dLbl>
              <c:idx val="3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BFDA-4C69-8E79-A083B7EFBA29}"/>
                </c:ext>
              </c:extLst>
            </c:dLbl>
            <c:dLbl>
              <c:idx val="4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1-BFDA-4C69-8E79-A083B7EFBA29}"/>
                </c:ext>
              </c:extLst>
            </c:dLbl>
            <c:dLbl>
              <c:idx val="4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BFDA-4C69-8E79-A083B7EFBA29}"/>
                </c:ext>
              </c:extLst>
            </c:dLbl>
            <c:dLbl>
              <c:idx val="4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BFDA-4C69-8E79-A083B7EFBA29}"/>
                </c:ext>
              </c:extLst>
            </c:dLbl>
            <c:dLbl>
              <c:idx val="4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BFDA-4C69-8E79-A083B7EFBA29}"/>
                </c:ext>
              </c:extLst>
            </c:dLbl>
            <c:dLbl>
              <c:idx val="4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BFDA-4C69-8E79-A083B7EFBA29}"/>
                </c:ext>
              </c:extLst>
            </c:dLbl>
            <c:dLbl>
              <c:idx val="4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BFDA-4C69-8E79-A083B7EFBA29}"/>
                </c:ext>
              </c:extLst>
            </c:dLbl>
            <c:dLbl>
              <c:idx val="4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BFDA-4C69-8E79-A083B7EFBA29}"/>
                </c:ext>
              </c:extLst>
            </c:dLbl>
            <c:dLbl>
              <c:idx val="4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BFDA-4C69-8E79-A083B7EFBA29}"/>
                </c:ext>
              </c:extLst>
            </c:dLbl>
            <c:dLbl>
              <c:idx val="4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11</c:f>
              <c:numCache>
                <c:formatCode>General</c:formatCode>
                <c:ptCount val="10"/>
                <c:pt idx="0">
                  <c:v>0.431</c:v>
                </c:pt>
                <c:pt idx="1">
                  <c:v>0.3713</c:v>
                </c:pt>
                <c:pt idx="2">
                  <c:v>0.409</c:v>
                </c:pt>
                <c:pt idx="3">
                  <c:v>0.3655</c:v>
                </c:pt>
                <c:pt idx="4">
                  <c:v>0.296</c:v>
                </c:pt>
                <c:pt idx="5">
                  <c:v>0.3065</c:v>
                </c:pt>
                <c:pt idx="6">
                  <c:v>0.256</c:v>
                </c:pt>
                <c:pt idx="7">
                  <c:v>0.4727</c:v>
                </c:pt>
                <c:pt idx="8">
                  <c:v>0.2836</c:v>
                </c:pt>
                <c:pt idx="9">
                  <c:v>0.3397</c:v>
                </c:pt>
              </c:numCache>
            </c:numRef>
          </c:xVal>
          <c:yVal>
            <c:numRef>
              <c:f>Sheet1!$B$2:$B$11</c:f>
              <c:numCache>
                <c:formatCode>General</c:formatCode>
                <c:ptCount val="10"/>
                <c:pt idx="0">
                  <c:v>3755.75</c:v>
                </c:pt>
                <c:pt idx="1">
                  <c:v>3117.8720930232557</c:v>
                </c:pt>
                <c:pt idx="2">
                  <c:v>8213.010638297872</c:v>
                </c:pt>
                <c:pt idx="3">
                  <c:v>16701.66</c:v>
                </c:pt>
                <c:pt idx="4">
                  <c:v>29213.62</c:v>
                </c:pt>
                <c:pt idx="5">
                  <c:v>82610.36363636363</c:v>
                </c:pt>
                <c:pt idx="6">
                  <c:v>9848.946808510638</c:v>
                </c:pt>
                <c:pt idx="7">
                  <c:v>999.7317073170732</c:v>
                </c:pt>
                <c:pt idx="8">
                  <c:v>7241.72</c:v>
                </c:pt>
                <c:pt idx="9">
                  <c:v>4657.1894736842105</c:v>
                </c:pt>
              </c:numCache>
            </c:numRef>
          </c:yVal>
          <c:bubbleSize>
            <c:numRef>
              <c:f>Sheet1!$C$2:$C$11</c:f>
              <c:numCache>
                <c:formatCode>General</c:formatCode>
                <c:ptCount val="10"/>
                <c:pt idx="0">
                  <c:v>16203.9444</c:v>
                </c:pt>
                <c:pt idx="1">
                  <c:v>159781.21240000002</c:v>
                </c:pt>
                <c:pt idx="2">
                  <c:v>432475.68330000003</c:v>
                </c:pt>
                <c:pt idx="3">
                  <c:v>1004464.2163000001</c:v>
                </c:pt>
                <c:pt idx="4">
                  <c:v>1949339.2618000002</c:v>
                </c:pt>
                <c:pt idx="5">
                  <c:v>5376313.341299999</c:v>
                </c:pt>
                <c:pt idx="6">
                  <c:v>652910.7028</c:v>
                </c:pt>
                <c:pt idx="7">
                  <c:v>40975.85999999999</c:v>
                </c:pt>
                <c:pt idx="8">
                  <c:v>491716.5952</c:v>
                </c:pt>
                <c:pt idx="9">
                  <c:v>276915.12139999995</c:v>
                </c:pt>
              </c:numCache>
            </c:numRef>
          </c:bubbleSize>
          <c:bubble3D val="0"/>
          <c:extLst>
            <c:ext xmlns:c15="http://schemas.microsoft.com/office/drawing/2012/chart" uri="{02D57815-91ED-43cb-92C2-25804820EDAC}">
              <c15:datalabelsRange>
                <c15:f>Sheet1!$E$2:$E$50</c15:f>
                <c15:dlblRangeCache>
                  <c:ptCount val="49"/>
                  <c:pt idx="0">
                    <c:v>Findus Merluzzo Altro Findus Fish Bar 245GR</c:v>
                  </c:pt>
                  <c:pt idx="1">
                    <c:v>Findus Merluzzo D Alaska Chips Findus Big Burger 227GR</c:v>
                  </c:pt>
                  <c:pt idx="2">
                    <c:v>Findus Merluzzo D Alaska Standard Findus Big Burger 227GR</c:v>
                  </c:pt>
                  <c:pt idx="3">
                    <c:v>Findus Merluzzo E Spinaci Filetto Findus Croccole 300GR</c:v>
                  </c:pt>
                  <c:pt idx="4">
                    <c:v>Findus Merluzzo Filetto Findus Croccole 300GR</c:v>
                  </c:pt>
                  <c:pt idx="5">
                    <c:v>Findus Merluzzo Filetto Findus Croccole 600GR</c:v>
                  </c:pt>
                  <c:pt idx="6">
                    <c:v>Findus Merluzzo Filetto Findus Fish &amp; Crock 250GR</c:v>
                  </c:pt>
                  <c:pt idx="7">
                    <c:v>Findus Merluzzo Filetto Findus Fish Bar 240GR</c:v>
                  </c:pt>
                  <c:pt idx="8">
                    <c:v>Findus Merluzzo Semi Filetto Findus Croccole 300GR</c:v>
                  </c:pt>
                  <c:pt idx="9">
                    <c:v>Findus Merluzzo Senza Glutine Filetto Findus Croccole 250GR</c:v>
                  </c:pt>
                  <c:pt idx="10">
                    <c:v>Findus Platessa Filetto Findus Platessa 250GR</c:v>
                  </c:pt>
                  <c:pt idx="11">
                    <c:v>Findus Salmone Altro Findus Fish Bar 220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3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4EE29375-066C-4FCF-A67B-82CF3A774B8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6558AFD6-9DF4-4566-BC08-B9B47E193CE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EBD5B150-1858-4DC5-8928-5D5C022B48C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30E7D24C-C7FD-49D9-8C89-722500F96E0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2D5D6B0F-5974-49A3-89AC-216B32C175D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9480208C-14D1-415F-B205-E336B14876F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39F37056-9D67-4FAD-8C82-9065999B525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5-BFDA-4C69-8E79-A083B7EFBA29}"/>
                </c:ext>
              </c:extLst>
            </c:dLbl>
            <c:dLbl>
              <c:idx val="1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BFDA-4C69-8E79-A083B7EFBA29}"/>
                </c:ext>
              </c:extLst>
            </c:dLbl>
            <c:dLbl>
              <c:idx val="1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BFDA-4C69-8E79-A083B7EFBA29}"/>
                </c:ext>
              </c:extLst>
            </c:dLbl>
            <c:dLbl>
              <c:idx val="1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BFDA-4C69-8E79-A083B7EFBA29}"/>
                </c:ext>
              </c:extLst>
            </c:dLbl>
            <c:dLbl>
              <c:idx val="1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9-BFDA-4C69-8E79-A083B7EFBA29}"/>
                </c:ext>
              </c:extLst>
            </c:dLbl>
            <c:dLbl>
              <c:idx val="1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A-BFDA-4C69-8E79-A083B7EFBA29}"/>
                </c:ext>
              </c:extLst>
            </c:dLbl>
            <c:dLbl>
              <c:idx val="1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B-BFDA-4C69-8E79-A083B7EFBA29}"/>
                </c:ext>
              </c:extLst>
            </c:dLbl>
            <c:dLbl>
              <c:idx val="1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C-BFDA-4C69-8E79-A083B7EFBA29}"/>
                </c:ext>
              </c:extLst>
            </c:dLbl>
            <c:dLbl>
              <c:idx val="2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BFDA-4C69-8E79-A083B7EFBA29}"/>
                </c:ext>
              </c:extLst>
            </c:dLbl>
            <c:dLbl>
              <c:idx val="2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BFDA-4C69-8E79-A083B7EFBA29}"/>
                </c:ext>
              </c:extLst>
            </c:dLbl>
            <c:dLbl>
              <c:idx val="2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F-BFDA-4C69-8E79-A083B7EFBA29}"/>
                </c:ext>
              </c:extLst>
            </c:dLbl>
            <c:dLbl>
              <c:idx val="2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0-BFDA-4C69-8E79-A083B7EFBA29}"/>
                </c:ext>
              </c:extLst>
            </c:dLbl>
            <c:dLbl>
              <c:idx val="2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1-BFDA-4C69-8E79-A083B7EFBA29}"/>
                </c:ext>
              </c:extLst>
            </c:dLbl>
            <c:dLbl>
              <c:idx val="2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BFDA-4C69-8E79-A083B7EFBA29}"/>
                </c:ext>
              </c:extLst>
            </c:dLbl>
            <c:dLbl>
              <c:idx val="2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BFDA-4C69-8E79-A083B7EFBA29}"/>
                </c:ext>
              </c:extLst>
            </c:dLbl>
            <c:dLbl>
              <c:idx val="2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BFDA-4C69-8E79-A083B7EFBA29}"/>
                </c:ext>
              </c:extLst>
            </c:dLbl>
            <c:dLbl>
              <c:idx val="2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5-BFDA-4C69-8E79-A083B7EFBA29}"/>
                </c:ext>
              </c:extLst>
            </c:dLbl>
            <c:dLbl>
              <c:idx val="2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6-BFDA-4C69-8E79-A083B7EFBA29}"/>
                </c:ext>
              </c:extLst>
            </c:dLbl>
            <c:dLbl>
              <c:idx val="3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7-BFDA-4C69-8E79-A083B7EFBA29}"/>
                </c:ext>
              </c:extLst>
            </c:dLbl>
            <c:dLbl>
              <c:idx val="3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8-BFDA-4C69-8E79-A083B7EFBA29}"/>
                </c:ext>
              </c:extLst>
            </c:dLbl>
            <c:dLbl>
              <c:idx val="3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9-BFDA-4C69-8E79-A083B7EFBA29}"/>
                </c:ext>
              </c:extLst>
            </c:dLbl>
            <c:dLbl>
              <c:idx val="3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BFDA-4C69-8E79-A083B7EFBA29}"/>
                </c:ext>
              </c:extLst>
            </c:dLbl>
            <c:dLbl>
              <c:idx val="3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B-BFDA-4C69-8E79-A083B7EFBA29}"/>
                </c:ext>
              </c:extLst>
            </c:dLbl>
            <c:dLbl>
              <c:idx val="3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C-BFDA-4C69-8E79-A083B7EFBA29}"/>
                </c:ext>
              </c:extLst>
            </c:dLbl>
            <c:dLbl>
              <c:idx val="3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D-BFDA-4C69-8E79-A083B7EFBA29}"/>
                </c:ext>
              </c:extLst>
            </c:dLbl>
            <c:dLbl>
              <c:idx val="3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BFDA-4C69-8E79-A083B7EFBA29}"/>
                </c:ext>
              </c:extLst>
            </c:dLbl>
            <c:dLbl>
              <c:idx val="3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BFDA-4C69-8E79-A083B7EFBA29}"/>
                </c:ext>
              </c:extLst>
            </c:dLbl>
            <c:dLbl>
              <c:idx val="3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BFDA-4C69-8E79-A083B7EFBA29}"/>
                </c:ext>
              </c:extLst>
            </c:dLbl>
            <c:dLbl>
              <c:idx val="4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1-BFDA-4C69-8E79-A083B7EFBA29}"/>
                </c:ext>
              </c:extLst>
            </c:dLbl>
            <c:dLbl>
              <c:idx val="4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BFDA-4C69-8E79-A083B7EFBA29}"/>
                </c:ext>
              </c:extLst>
            </c:dLbl>
            <c:dLbl>
              <c:idx val="4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BFDA-4C69-8E79-A083B7EFBA29}"/>
                </c:ext>
              </c:extLst>
            </c:dLbl>
            <c:dLbl>
              <c:idx val="4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BFDA-4C69-8E79-A083B7EFBA29}"/>
                </c:ext>
              </c:extLst>
            </c:dLbl>
            <c:dLbl>
              <c:idx val="4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BFDA-4C69-8E79-A083B7EFBA29}"/>
                </c:ext>
              </c:extLst>
            </c:dLbl>
            <c:dLbl>
              <c:idx val="4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BFDA-4C69-8E79-A083B7EFBA29}"/>
                </c:ext>
              </c:extLst>
            </c:dLbl>
            <c:dLbl>
              <c:idx val="4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BFDA-4C69-8E79-A083B7EFBA29}"/>
                </c:ext>
              </c:extLst>
            </c:dLbl>
            <c:dLbl>
              <c:idx val="4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BFDA-4C69-8E79-A083B7EFBA29}"/>
                </c:ext>
              </c:extLst>
            </c:dLbl>
            <c:dLbl>
              <c:idx val="4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8</c:f>
              <c:numCache>
                <c:formatCode>General</c:formatCode>
                <c:ptCount val="7"/>
                <c:pt idx="0">
                  <c:v>0.3159</c:v>
                </c:pt>
                <c:pt idx="1">
                  <c:v>0.4209</c:v>
                </c:pt>
                <c:pt idx="2">
                  <c:v>0.3576</c:v>
                </c:pt>
                <c:pt idx="3">
                  <c:v>0.2943</c:v>
                </c:pt>
                <c:pt idx="4">
                  <c:v>0.2711</c:v>
                </c:pt>
                <c:pt idx="5">
                  <c:v>0.423</c:v>
                </c:pt>
                <c:pt idx="6">
                  <c:v>0.3557</c:v>
                </c:pt>
              </c:numCache>
            </c:numRef>
          </c:xVal>
          <c:yVal>
            <c:numRef>
              <c:f>Sheet1!$B$2:$B$8</c:f>
              <c:numCache>
                <c:formatCode>General</c:formatCode>
                <c:ptCount val="7"/>
                <c:pt idx="0">
                  <c:v>16372.639175257733</c:v>
                </c:pt>
                <c:pt idx="1">
                  <c:v>21137.0</c:v>
                </c:pt>
                <c:pt idx="2">
                  <c:v>3755.2619047619046</c:v>
                </c:pt>
                <c:pt idx="3">
                  <c:v>11937.040404040405</c:v>
                </c:pt>
                <c:pt idx="4">
                  <c:v>5146.887323943662</c:v>
                </c:pt>
                <c:pt idx="5">
                  <c:v>9403.747474747475</c:v>
                </c:pt>
                <c:pt idx="6">
                  <c:v>9956.643835616438</c:v>
                </c:pt>
              </c:numCache>
            </c:numRef>
          </c:yVal>
          <c:bubbleSize>
            <c:numRef>
              <c:f>Sheet1!$C$2:$C$8</c:f>
              <c:numCache>
                <c:formatCode>General</c:formatCode>
                <c:ptCount val="7"/>
                <c:pt idx="0">
                  <c:v>1029743.1952999999</c:v>
                </c:pt>
                <c:pt idx="1">
                  <c:v>997758.3252</c:v>
                </c:pt>
                <c:pt idx="2">
                  <c:v>96030.5091</c:v>
                </c:pt>
                <c:pt idx="3">
                  <c:v>790489.4105</c:v>
                </c:pt>
                <c:pt idx="4">
                  <c:v>252465.3258</c:v>
                </c:pt>
                <c:pt idx="5">
                  <c:v>509171.56849999994</c:v>
                </c:pt>
                <c:pt idx="6">
                  <c:v>443910.00560000003</c:v>
                </c:pt>
              </c:numCache>
            </c:numRef>
          </c:bubbleSize>
          <c:bubble3D val="0"/>
          <c:extLst>
            <c:ext xmlns:c15="http://schemas.microsoft.com/office/drawing/2012/chart" uri="{02D57815-91ED-43cb-92C2-25804820EDAC}">
              <c15:datalabelsRange>
                <c15:f>Sheet1!$E$2:$E$50</c15:f>
                <c15:dlblRangeCache>
                  <c:ptCount val="49"/>
                  <c:pt idx="0">
                    <c:v>Findus Merluzzo Altro Findus Fish Bar 245GR</c:v>
                  </c:pt>
                  <c:pt idx="1">
                    <c:v>Findus Merluzzo D Alaska Chips Findus Big Burger 227GR</c:v>
                  </c:pt>
                  <c:pt idx="2">
                    <c:v>Findus Merluzzo D Alaska Standard Findus Big Burger 227GR</c:v>
                  </c:pt>
                  <c:pt idx="3">
                    <c:v>Findus Merluzzo E Spinaci Filetto Findus Croccole 300GR</c:v>
                  </c:pt>
                  <c:pt idx="4">
                    <c:v>Findus Merluzzo Filetto Findus Croccole 300GR</c:v>
                  </c:pt>
                  <c:pt idx="5">
                    <c:v>Findus Merluzzo Filetto Findus Croccole 600GR</c:v>
                  </c:pt>
                  <c:pt idx="6">
                    <c:v>Findus Merluzzo Filetto Findus Fish &amp; Crock 250GR</c:v>
                  </c:pt>
                  <c:pt idx="7">
                    <c:v>Findus Merluzzo Filetto Findus Fish Bar 240GR</c:v>
                  </c:pt>
                  <c:pt idx="8">
                    <c:v>Findus Merluzzo Semi Filetto Findus Croccole 300GR</c:v>
                  </c:pt>
                  <c:pt idx="9">
                    <c:v>Findus Merluzzo Senza Glutine Filetto Findus Croccole 250GR</c:v>
                  </c:pt>
                  <c:pt idx="10">
                    <c:v>Findus Platessa Filetto Findus Platessa 250GR</c:v>
                  </c:pt>
                  <c:pt idx="11">
                    <c:v>Findus Salmone Altro Findus Fish Bar 220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3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80FF2045-A913-4B4F-8B63-1D70E8EE74C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02F0543F-CC8F-45AF-A19A-D39B0FDE98D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6DB10735-B1E3-4C63-9F52-53FDAD9959E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14584F66-3C61-40C5-934A-6FB0DAB9E2D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C86D9230-3BB2-4EFA-ADE1-9FFD929E7F7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4F393EF1-C806-4EBC-8B22-746CF253D42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C82DECA2-D2AD-4A29-8054-4AAA24E83C7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5-BFDA-4C69-8E79-A083B7EFBA29}"/>
                </c:ext>
              </c:extLst>
            </c:dLbl>
            <c:dLbl>
              <c:idx val="1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BFDA-4C69-8E79-A083B7EFBA29}"/>
                </c:ext>
              </c:extLst>
            </c:dLbl>
            <c:dLbl>
              <c:idx val="1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BFDA-4C69-8E79-A083B7EFBA29}"/>
                </c:ext>
              </c:extLst>
            </c:dLbl>
            <c:dLbl>
              <c:idx val="1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BFDA-4C69-8E79-A083B7EFBA29}"/>
                </c:ext>
              </c:extLst>
            </c:dLbl>
            <c:dLbl>
              <c:idx val="1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9-BFDA-4C69-8E79-A083B7EFBA29}"/>
                </c:ext>
              </c:extLst>
            </c:dLbl>
            <c:dLbl>
              <c:idx val="1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A-BFDA-4C69-8E79-A083B7EFBA29}"/>
                </c:ext>
              </c:extLst>
            </c:dLbl>
            <c:dLbl>
              <c:idx val="1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B-BFDA-4C69-8E79-A083B7EFBA29}"/>
                </c:ext>
              </c:extLst>
            </c:dLbl>
            <c:dLbl>
              <c:idx val="1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C-BFDA-4C69-8E79-A083B7EFBA29}"/>
                </c:ext>
              </c:extLst>
            </c:dLbl>
            <c:dLbl>
              <c:idx val="2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BFDA-4C69-8E79-A083B7EFBA29}"/>
                </c:ext>
              </c:extLst>
            </c:dLbl>
            <c:dLbl>
              <c:idx val="2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BFDA-4C69-8E79-A083B7EFBA29}"/>
                </c:ext>
              </c:extLst>
            </c:dLbl>
            <c:dLbl>
              <c:idx val="2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F-BFDA-4C69-8E79-A083B7EFBA29}"/>
                </c:ext>
              </c:extLst>
            </c:dLbl>
            <c:dLbl>
              <c:idx val="2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0-BFDA-4C69-8E79-A083B7EFBA29}"/>
                </c:ext>
              </c:extLst>
            </c:dLbl>
            <c:dLbl>
              <c:idx val="2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1-BFDA-4C69-8E79-A083B7EFBA29}"/>
                </c:ext>
              </c:extLst>
            </c:dLbl>
            <c:dLbl>
              <c:idx val="2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BFDA-4C69-8E79-A083B7EFBA29}"/>
                </c:ext>
              </c:extLst>
            </c:dLbl>
            <c:dLbl>
              <c:idx val="2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BFDA-4C69-8E79-A083B7EFBA29}"/>
                </c:ext>
              </c:extLst>
            </c:dLbl>
            <c:dLbl>
              <c:idx val="2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BFDA-4C69-8E79-A083B7EFBA29}"/>
                </c:ext>
              </c:extLst>
            </c:dLbl>
            <c:dLbl>
              <c:idx val="2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5-BFDA-4C69-8E79-A083B7EFBA29}"/>
                </c:ext>
              </c:extLst>
            </c:dLbl>
            <c:dLbl>
              <c:idx val="2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6-BFDA-4C69-8E79-A083B7EFBA29}"/>
                </c:ext>
              </c:extLst>
            </c:dLbl>
            <c:dLbl>
              <c:idx val="3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7-BFDA-4C69-8E79-A083B7EFBA29}"/>
                </c:ext>
              </c:extLst>
            </c:dLbl>
            <c:dLbl>
              <c:idx val="3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8-BFDA-4C69-8E79-A083B7EFBA29}"/>
                </c:ext>
              </c:extLst>
            </c:dLbl>
            <c:dLbl>
              <c:idx val="3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9-BFDA-4C69-8E79-A083B7EFBA29}"/>
                </c:ext>
              </c:extLst>
            </c:dLbl>
            <c:dLbl>
              <c:idx val="3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BFDA-4C69-8E79-A083B7EFBA29}"/>
                </c:ext>
              </c:extLst>
            </c:dLbl>
            <c:dLbl>
              <c:idx val="3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B-BFDA-4C69-8E79-A083B7EFBA29}"/>
                </c:ext>
              </c:extLst>
            </c:dLbl>
            <c:dLbl>
              <c:idx val="3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C-BFDA-4C69-8E79-A083B7EFBA29}"/>
                </c:ext>
              </c:extLst>
            </c:dLbl>
            <c:dLbl>
              <c:idx val="3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D-BFDA-4C69-8E79-A083B7EFBA29}"/>
                </c:ext>
              </c:extLst>
            </c:dLbl>
            <c:dLbl>
              <c:idx val="3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BFDA-4C69-8E79-A083B7EFBA29}"/>
                </c:ext>
              </c:extLst>
            </c:dLbl>
            <c:dLbl>
              <c:idx val="3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BFDA-4C69-8E79-A083B7EFBA29}"/>
                </c:ext>
              </c:extLst>
            </c:dLbl>
            <c:dLbl>
              <c:idx val="3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BFDA-4C69-8E79-A083B7EFBA29}"/>
                </c:ext>
              </c:extLst>
            </c:dLbl>
            <c:dLbl>
              <c:idx val="4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1-BFDA-4C69-8E79-A083B7EFBA29}"/>
                </c:ext>
              </c:extLst>
            </c:dLbl>
            <c:dLbl>
              <c:idx val="4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BFDA-4C69-8E79-A083B7EFBA29}"/>
                </c:ext>
              </c:extLst>
            </c:dLbl>
            <c:dLbl>
              <c:idx val="4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BFDA-4C69-8E79-A083B7EFBA29}"/>
                </c:ext>
              </c:extLst>
            </c:dLbl>
            <c:dLbl>
              <c:idx val="4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BFDA-4C69-8E79-A083B7EFBA29}"/>
                </c:ext>
              </c:extLst>
            </c:dLbl>
            <c:dLbl>
              <c:idx val="4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BFDA-4C69-8E79-A083B7EFBA29}"/>
                </c:ext>
              </c:extLst>
            </c:dLbl>
            <c:dLbl>
              <c:idx val="4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BFDA-4C69-8E79-A083B7EFBA29}"/>
                </c:ext>
              </c:extLst>
            </c:dLbl>
            <c:dLbl>
              <c:idx val="4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BFDA-4C69-8E79-A083B7EFBA29}"/>
                </c:ext>
              </c:extLst>
            </c:dLbl>
            <c:dLbl>
              <c:idx val="4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BFDA-4C69-8E79-A083B7EFBA29}"/>
                </c:ext>
              </c:extLst>
            </c:dLbl>
            <c:dLbl>
              <c:idx val="4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9</c:f>
              <c:numCache>
                <c:formatCode>General</c:formatCode>
                <c:ptCount val="8"/>
                <c:pt idx="0">
                  <c:v>0.3746</c:v>
                </c:pt>
                <c:pt idx="1">
                  <c:v>0.4112</c:v>
                </c:pt>
                <c:pt idx="2">
                  <c:v>0.3831</c:v>
                </c:pt>
                <c:pt idx="3">
                  <c:v>0.3327</c:v>
                </c:pt>
                <c:pt idx="4">
                  <c:v>0.3424</c:v>
                </c:pt>
                <c:pt idx="5">
                  <c:v>0.2508</c:v>
                </c:pt>
                <c:pt idx="6">
                  <c:v>0.4856</c:v>
                </c:pt>
                <c:pt idx="7">
                  <c:v>0.3828</c:v>
                </c:pt>
              </c:numCache>
            </c:numRef>
          </c:xVal>
          <c:yVal>
            <c:numRef>
              <c:f>Sheet1!$B$2:$B$9</c:f>
              <c:numCache>
                <c:formatCode>General</c:formatCode>
                <c:ptCount val="8"/>
                <c:pt idx="0">
                  <c:v>3586.0</c:v>
                </c:pt>
                <c:pt idx="1">
                  <c:v>9583.09090909091</c:v>
                </c:pt>
                <c:pt idx="2">
                  <c:v>19283.141414141413</c:v>
                </c:pt>
                <c:pt idx="3">
                  <c:v>23908.927083333332</c:v>
                </c:pt>
                <c:pt idx="4">
                  <c:v>36882.89898989899</c:v>
                </c:pt>
                <c:pt idx="5">
                  <c:v>6125.961538461538</c:v>
                </c:pt>
                <c:pt idx="6">
                  <c:v>1907.64</c:v>
                </c:pt>
                <c:pt idx="7">
                  <c:v>6300.711340206186</c:v>
                </c:pt>
              </c:numCache>
            </c:numRef>
          </c:yVal>
          <c:bubbleSize>
            <c:numRef>
              <c:f>Sheet1!$C$2:$C$9</c:f>
              <c:numCache>
                <c:formatCode>General</c:formatCode>
                <c:ptCount val="8"/>
                <c:pt idx="0">
                  <c:v>57399.4148</c:v>
                </c:pt>
                <c:pt idx="1">
                  <c:v>352968.0401</c:v>
                </c:pt>
                <c:pt idx="2">
                  <c:v>1116328.0320999997</c:v>
                </c:pt>
                <c:pt idx="3">
                  <c:v>1451796.8903</c:v>
                </c:pt>
                <c:pt idx="4">
                  <c:v>2274744.2531999997</c:v>
                </c:pt>
                <c:pt idx="5">
                  <c:v>339328.07600000006</c:v>
                </c:pt>
                <c:pt idx="6">
                  <c:v>23255.5641</c:v>
                </c:pt>
                <c:pt idx="7">
                  <c:v>357551.62440000003</c:v>
                </c:pt>
              </c:numCache>
            </c:numRef>
          </c:bubbleSize>
          <c:bubble3D val="0"/>
          <c:extLst>
            <c:ext xmlns:c15="http://schemas.microsoft.com/office/drawing/2012/chart" uri="{02D57815-91ED-43cb-92C2-25804820EDAC}">
              <c15:datalabelsRange>
                <c15:f>Sheet1!$E$2:$E$50</c15:f>
                <c15:dlblRangeCache>
                  <c:ptCount val="49"/>
                  <c:pt idx="0">
                    <c:v>Findus Merluzzo Altro Findus Fish Bar 245GR</c:v>
                  </c:pt>
                  <c:pt idx="1">
                    <c:v>Findus Merluzzo D Alaska Chips Findus Big Burger 227GR</c:v>
                  </c:pt>
                  <c:pt idx="2">
                    <c:v>Findus Merluzzo D Alaska Standard Findus Big Burger 227GR</c:v>
                  </c:pt>
                  <c:pt idx="3">
                    <c:v>Findus Merluzzo E Spinaci Filetto Findus Croccole 300GR</c:v>
                  </c:pt>
                  <c:pt idx="4">
                    <c:v>Findus Merluzzo Filetto Findus Croccole 300GR</c:v>
                  </c:pt>
                  <c:pt idx="5">
                    <c:v>Findus Merluzzo Filetto Findus Croccole 600GR</c:v>
                  </c:pt>
                  <c:pt idx="6">
                    <c:v>Findus Merluzzo Filetto Findus Fish &amp; Crock 250GR</c:v>
                  </c:pt>
                  <c:pt idx="7">
                    <c:v>Findus Merluzzo Filetto Findus Fish Bar 240GR</c:v>
                  </c:pt>
                  <c:pt idx="8">
                    <c:v>Findus Merluzzo Semi Filetto Findus Croccole 300GR</c:v>
                  </c:pt>
                  <c:pt idx="9">
                    <c:v>Findus Merluzzo Senza Glutine Filetto Findus Croccole 250GR</c:v>
                  </c:pt>
                  <c:pt idx="10">
                    <c:v>Findus Platessa Filetto Findus Platessa 250GR</c:v>
                  </c:pt>
                  <c:pt idx="11">
                    <c:v>Findus Salmone Altro Findus Fish Bar 220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3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0D53717D-14C8-4DE8-8D33-C23557BDBDC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7B958070-331C-48DE-B725-DA4880B0A9D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B24BF787-0BAA-46CF-B685-44BEFD45164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A063D363-5F21-41A1-95B1-DA1E7847B70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D2C3B85C-CC88-4605-BEE4-93983EA2915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AF84C89E-DBF8-4B5C-95B2-997DD5248DE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9F8EF630-CB26-4448-B296-E0EFCFC317C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5-BFDA-4C69-8E79-A083B7EFBA29}"/>
                </c:ext>
              </c:extLst>
            </c:dLbl>
            <c:dLbl>
              <c:idx val="1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BFDA-4C69-8E79-A083B7EFBA29}"/>
                </c:ext>
              </c:extLst>
            </c:dLbl>
            <c:dLbl>
              <c:idx val="1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BFDA-4C69-8E79-A083B7EFBA29}"/>
                </c:ext>
              </c:extLst>
            </c:dLbl>
            <c:dLbl>
              <c:idx val="1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BFDA-4C69-8E79-A083B7EFBA29}"/>
                </c:ext>
              </c:extLst>
            </c:dLbl>
            <c:dLbl>
              <c:idx val="1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9-BFDA-4C69-8E79-A083B7EFBA29}"/>
                </c:ext>
              </c:extLst>
            </c:dLbl>
            <c:dLbl>
              <c:idx val="1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A-BFDA-4C69-8E79-A083B7EFBA29}"/>
                </c:ext>
              </c:extLst>
            </c:dLbl>
            <c:dLbl>
              <c:idx val="1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B-BFDA-4C69-8E79-A083B7EFBA29}"/>
                </c:ext>
              </c:extLst>
            </c:dLbl>
            <c:dLbl>
              <c:idx val="1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C-BFDA-4C69-8E79-A083B7EFBA29}"/>
                </c:ext>
              </c:extLst>
            </c:dLbl>
            <c:dLbl>
              <c:idx val="2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BFDA-4C69-8E79-A083B7EFBA29}"/>
                </c:ext>
              </c:extLst>
            </c:dLbl>
            <c:dLbl>
              <c:idx val="2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BFDA-4C69-8E79-A083B7EFBA29}"/>
                </c:ext>
              </c:extLst>
            </c:dLbl>
            <c:dLbl>
              <c:idx val="2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F-BFDA-4C69-8E79-A083B7EFBA29}"/>
                </c:ext>
              </c:extLst>
            </c:dLbl>
            <c:dLbl>
              <c:idx val="2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0-BFDA-4C69-8E79-A083B7EFBA29}"/>
                </c:ext>
              </c:extLst>
            </c:dLbl>
            <c:dLbl>
              <c:idx val="2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1-BFDA-4C69-8E79-A083B7EFBA29}"/>
                </c:ext>
              </c:extLst>
            </c:dLbl>
            <c:dLbl>
              <c:idx val="2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BFDA-4C69-8E79-A083B7EFBA29}"/>
                </c:ext>
              </c:extLst>
            </c:dLbl>
            <c:dLbl>
              <c:idx val="2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BFDA-4C69-8E79-A083B7EFBA29}"/>
                </c:ext>
              </c:extLst>
            </c:dLbl>
            <c:dLbl>
              <c:idx val="2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BFDA-4C69-8E79-A083B7EFBA29}"/>
                </c:ext>
              </c:extLst>
            </c:dLbl>
            <c:dLbl>
              <c:idx val="2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5-BFDA-4C69-8E79-A083B7EFBA29}"/>
                </c:ext>
              </c:extLst>
            </c:dLbl>
            <c:dLbl>
              <c:idx val="2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6-BFDA-4C69-8E79-A083B7EFBA29}"/>
                </c:ext>
              </c:extLst>
            </c:dLbl>
            <c:dLbl>
              <c:idx val="3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7-BFDA-4C69-8E79-A083B7EFBA29}"/>
                </c:ext>
              </c:extLst>
            </c:dLbl>
            <c:dLbl>
              <c:idx val="3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8-BFDA-4C69-8E79-A083B7EFBA29}"/>
                </c:ext>
              </c:extLst>
            </c:dLbl>
            <c:dLbl>
              <c:idx val="3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9-BFDA-4C69-8E79-A083B7EFBA29}"/>
                </c:ext>
              </c:extLst>
            </c:dLbl>
            <c:dLbl>
              <c:idx val="3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BFDA-4C69-8E79-A083B7EFBA29}"/>
                </c:ext>
              </c:extLst>
            </c:dLbl>
            <c:dLbl>
              <c:idx val="3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B-BFDA-4C69-8E79-A083B7EFBA29}"/>
                </c:ext>
              </c:extLst>
            </c:dLbl>
            <c:dLbl>
              <c:idx val="3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C-BFDA-4C69-8E79-A083B7EFBA29}"/>
                </c:ext>
              </c:extLst>
            </c:dLbl>
            <c:dLbl>
              <c:idx val="3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D-BFDA-4C69-8E79-A083B7EFBA29}"/>
                </c:ext>
              </c:extLst>
            </c:dLbl>
            <c:dLbl>
              <c:idx val="3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BFDA-4C69-8E79-A083B7EFBA29}"/>
                </c:ext>
              </c:extLst>
            </c:dLbl>
            <c:dLbl>
              <c:idx val="3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BFDA-4C69-8E79-A083B7EFBA29}"/>
                </c:ext>
              </c:extLst>
            </c:dLbl>
            <c:dLbl>
              <c:idx val="3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BFDA-4C69-8E79-A083B7EFBA29}"/>
                </c:ext>
              </c:extLst>
            </c:dLbl>
            <c:dLbl>
              <c:idx val="4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1-BFDA-4C69-8E79-A083B7EFBA29}"/>
                </c:ext>
              </c:extLst>
            </c:dLbl>
            <c:dLbl>
              <c:idx val="4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BFDA-4C69-8E79-A083B7EFBA29}"/>
                </c:ext>
              </c:extLst>
            </c:dLbl>
            <c:dLbl>
              <c:idx val="4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BFDA-4C69-8E79-A083B7EFBA29}"/>
                </c:ext>
              </c:extLst>
            </c:dLbl>
            <c:dLbl>
              <c:idx val="4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BFDA-4C69-8E79-A083B7EFBA29}"/>
                </c:ext>
              </c:extLst>
            </c:dLbl>
            <c:dLbl>
              <c:idx val="4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BFDA-4C69-8E79-A083B7EFBA29}"/>
                </c:ext>
              </c:extLst>
            </c:dLbl>
            <c:dLbl>
              <c:idx val="4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BFDA-4C69-8E79-A083B7EFBA29}"/>
                </c:ext>
              </c:extLst>
            </c:dLbl>
            <c:dLbl>
              <c:idx val="4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BFDA-4C69-8E79-A083B7EFBA29}"/>
                </c:ext>
              </c:extLst>
            </c:dLbl>
            <c:dLbl>
              <c:idx val="4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BFDA-4C69-8E79-A083B7EFBA29}"/>
                </c:ext>
              </c:extLst>
            </c:dLbl>
            <c:dLbl>
              <c:idx val="4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5</c:f>
              <c:numCache>
                <c:formatCode>General</c:formatCode>
                <c:ptCount val="4"/>
                <c:pt idx="0">
                  <c:v>0.3472</c:v>
                </c:pt>
                <c:pt idx="1">
                  <c:v>0.4202</c:v>
                </c:pt>
                <c:pt idx="2">
                  <c:v>0.5233</c:v>
                </c:pt>
                <c:pt idx="3">
                  <c:v>0.3955</c:v>
                </c:pt>
              </c:numCache>
            </c:numRef>
          </c:xVal>
          <c:yVal>
            <c:numRef>
              <c:f>Sheet1!$B$2:$B$5</c:f>
              <c:numCache>
                <c:formatCode>General</c:formatCode>
                <c:ptCount val="4"/>
                <c:pt idx="0">
                  <c:v>6803.333333333333</c:v>
                </c:pt>
                <c:pt idx="1">
                  <c:v>24603.90625</c:v>
                </c:pt>
                <c:pt idx="2">
                  <c:v>11954.0</c:v>
                </c:pt>
                <c:pt idx="3">
                  <c:v>7187.0</c:v>
                </c:pt>
              </c:numCache>
            </c:numRef>
          </c:yVal>
          <c:bubbleSize>
            <c:numRef>
              <c:f>Sheet1!$C$2:$C$5</c:f>
              <c:numCache>
                <c:formatCode>General</c:formatCode>
                <c:ptCount val="4"/>
                <c:pt idx="0">
                  <c:v>25256.3515</c:v>
                </c:pt>
                <c:pt idx="1">
                  <c:v>1298103.7783000001</c:v>
                </c:pt>
                <c:pt idx="2">
                  <c:v>383488.5416</c:v>
                </c:pt>
                <c:pt idx="3">
                  <c:v>8236.3448</c:v>
                </c:pt>
              </c:numCache>
            </c:numRef>
          </c:bubbleSize>
          <c:bubble3D val="0"/>
          <c:extLst>
            <c:ext xmlns:c15="http://schemas.microsoft.com/office/drawing/2012/chart" uri="{02D57815-91ED-43cb-92C2-25804820EDAC}">
              <c15:datalabelsRange>
                <c15:f>Sheet1!$E$2:$E$50</c15:f>
                <c15:dlblRangeCache>
                  <c:ptCount val="49"/>
                  <c:pt idx="0">
                    <c:v>Findus Merluzzo Altro Findus Fish Bar 245GR</c:v>
                  </c:pt>
                  <c:pt idx="1">
                    <c:v>Findus Merluzzo D Alaska Chips Findus Big Burger 227GR</c:v>
                  </c:pt>
                  <c:pt idx="2">
                    <c:v>Findus Merluzzo D Alaska Standard Findus Big Burger 227GR</c:v>
                  </c:pt>
                  <c:pt idx="3">
                    <c:v>Findus Merluzzo E Spinaci Filetto Findus Croccole 300GR</c:v>
                  </c:pt>
                  <c:pt idx="4">
                    <c:v>Findus Merluzzo Filetto Findus Croccole 300GR</c:v>
                  </c:pt>
                  <c:pt idx="5">
                    <c:v>Findus Merluzzo Filetto Findus Croccole 600GR</c:v>
                  </c:pt>
                  <c:pt idx="6">
                    <c:v>Findus Merluzzo Filetto Findus Fish &amp; Crock 250GR</c:v>
                  </c:pt>
                  <c:pt idx="7">
                    <c:v>Findus Merluzzo Filetto Findus Fish Bar 240GR</c:v>
                  </c:pt>
                  <c:pt idx="8">
                    <c:v>Findus Merluzzo Semi Filetto Findus Croccole 300GR</c:v>
                  </c:pt>
                  <c:pt idx="9">
                    <c:v>Findus Merluzzo Senza Glutine Filetto Findus Croccole 250GR</c:v>
                  </c:pt>
                  <c:pt idx="10">
                    <c:v>Findus Platessa Filetto Findus Platessa 250GR</c:v>
                  </c:pt>
                  <c:pt idx="11">
                    <c:v>Findus Salmone Altro Findus Fish Bar 220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3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821C164C-6474-489E-A252-E4A9B4DCCF0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4D72E027-2D3E-41B4-87A0-2186283165B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D8A7DF9A-86D9-440C-8F73-613EB5BE9C9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9C0029DF-A6EE-4641-B142-BB8604050A9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05419459-A514-4D06-9EED-4DC6DF17401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CAE8FD97-D7E0-4E41-AD85-395E0E3F4FE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6B00D70D-0066-454F-B5DF-F263B6DBBDA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5-BFDA-4C69-8E79-A083B7EFBA29}"/>
                </c:ext>
              </c:extLst>
            </c:dLbl>
            <c:dLbl>
              <c:idx val="1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BFDA-4C69-8E79-A083B7EFBA29}"/>
                </c:ext>
              </c:extLst>
            </c:dLbl>
            <c:dLbl>
              <c:idx val="1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BFDA-4C69-8E79-A083B7EFBA29}"/>
                </c:ext>
              </c:extLst>
            </c:dLbl>
            <c:dLbl>
              <c:idx val="1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BFDA-4C69-8E79-A083B7EFBA29}"/>
                </c:ext>
              </c:extLst>
            </c:dLbl>
            <c:dLbl>
              <c:idx val="1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9-BFDA-4C69-8E79-A083B7EFBA29}"/>
                </c:ext>
              </c:extLst>
            </c:dLbl>
            <c:dLbl>
              <c:idx val="1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A-BFDA-4C69-8E79-A083B7EFBA29}"/>
                </c:ext>
              </c:extLst>
            </c:dLbl>
            <c:dLbl>
              <c:idx val="1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B-BFDA-4C69-8E79-A083B7EFBA29}"/>
                </c:ext>
              </c:extLst>
            </c:dLbl>
            <c:dLbl>
              <c:idx val="1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C-BFDA-4C69-8E79-A083B7EFBA29}"/>
                </c:ext>
              </c:extLst>
            </c:dLbl>
            <c:dLbl>
              <c:idx val="2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BFDA-4C69-8E79-A083B7EFBA29}"/>
                </c:ext>
              </c:extLst>
            </c:dLbl>
            <c:dLbl>
              <c:idx val="2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BFDA-4C69-8E79-A083B7EFBA29}"/>
                </c:ext>
              </c:extLst>
            </c:dLbl>
            <c:dLbl>
              <c:idx val="2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F-BFDA-4C69-8E79-A083B7EFBA29}"/>
                </c:ext>
              </c:extLst>
            </c:dLbl>
            <c:dLbl>
              <c:idx val="2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0-BFDA-4C69-8E79-A083B7EFBA29}"/>
                </c:ext>
              </c:extLst>
            </c:dLbl>
            <c:dLbl>
              <c:idx val="2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1-BFDA-4C69-8E79-A083B7EFBA29}"/>
                </c:ext>
              </c:extLst>
            </c:dLbl>
            <c:dLbl>
              <c:idx val="2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BFDA-4C69-8E79-A083B7EFBA29}"/>
                </c:ext>
              </c:extLst>
            </c:dLbl>
            <c:dLbl>
              <c:idx val="2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BFDA-4C69-8E79-A083B7EFBA29}"/>
                </c:ext>
              </c:extLst>
            </c:dLbl>
            <c:dLbl>
              <c:idx val="2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BFDA-4C69-8E79-A083B7EFBA29}"/>
                </c:ext>
              </c:extLst>
            </c:dLbl>
            <c:dLbl>
              <c:idx val="2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5-BFDA-4C69-8E79-A083B7EFBA29}"/>
                </c:ext>
              </c:extLst>
            </c:dLbl>
            <c:dLbl>
              <c:idx val="2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6-BFDA-4C69-8E79-A083B7EFBA29}"/>
                </c:ext>
              </c:extLst>
            </c:dLbl>
            <c:dLbl>
              <c:idx val="3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7-BFDA-4C69-8E79-A083B7EFBA29}"/>
                </c:ext>
              </c:extLst>
            </c:dLbl>
            <c:dLbl>
              <c:idx val="3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8-BFDA-4C69-8E79-A083B7EFBA29}"/>
                </c:ext>
              </c:extLst>
            </c:dLbl>
            <c:dLbl>
              <c:idx val="3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9-BFDA-4C69-8E79-A083B7EFBA29}"/>
                </c:ext>
              </c:extLst>
            </c:dLbl>
            <c:dLbl>
              <c:idx val="3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BFDA-4C69-8E79-A083B7EFBA29}"/>
                </c:ext>
              </c:extLst>
            </c:dLbl>
            <c:dLbl>
              <c:idx val="3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B-BFDA-4C69-8E79-A083B7EFBA29}"/>
                </c:ext>
              </c:extLst>
            </c:dLbl>
            <c:dLbl>
              <c:idx val="3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C-BFDA-4C69-8E79-A083B7EFBA29}"/>
                </c:ext>
              </c:extLst>
            </c:dLbl>
            <c:dLbl>
              <c:idx val="3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D-BFDA-4C69-8E79-A083B7EFBA29}"/>
                </c:ext>
              </c:extLst>
            </c:dLbl>
            <c:dLbl>
              <c:idx val="3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BFDA-4C69-8E79-A083B7EFBA29}"/>
                </c:ext>
              </c:extLst>
            </c:dLbl>
            <c:dLbl>
              <c:idx val="3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BFDA-4C69-8E79-A083B7EFBA29}"/>
                </c:ext>
              </c:extLst>
            </c:dLbl>
            <c:dLbl>
              <c:idx val="3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BFDA-4C69-8E79-A083B7EFBA29}"/>
                </c:ext>
              </c:extLst>
            </c:dLbl>
            <c:dLbl>
              <c:idx val="4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1-BFDA-4C69-8E79-A083B7EFBA29}"/>
                </c:ext>
              </c:extLst>
            </c:dLbl>
            <c:dLbl>
              <c:idx val="4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BFDA-4C69-8E79-A083B7EFBA29}"/>
                </c:ext>
              </c:extLst>
            </c:dLbl>
            <c:dLbl>
              <c:idx val="4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BFDA-4C69-8E79-A083B7EFBA29}"/>
                </c:ext>
              </c:extLst>
            </c:dLbl>
            <c:dLbl>
              <c:idx val="4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BFDA-4C69-8E79-A083B7EFBA29}"/>
                </c:ext>
              </c:extLst>
            </c:dLbl>
            <c:dLbl>
              <c:idx val="4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BFDA-4C69-8E79-A083B7EFBA29}"/>
                </c:ext>
              </c:extLst>
            </c:dLbl>
            <c:dLbl>
              <c:idx val="4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BFDA-4C69-8E79-A083B7EFBA29}"/>
                </c:ext>
              </c:extLst>
            </c:dLbl>
            <c:dLbl>
              <c:idx val="4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BFDA-4C69-8E79-A083B7EFBA29}"/>
                </c:ext>
              </c:extLst>
            </c:dLbl>
            <c:dLbl>
              <c:idx val="4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BFDA-4C69-8E79-A083B7EFBA29}"/>
                </c:ext>
              </c:extLst>
            </c:dLbl>
            <c:dLbl>
              <c:idx val="4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7</c:f>
              <c:numCache>
                <c:formatCode>General</c:formatCode>
                <c:ptCount val="6"/>
                <c:pt idx="0">
                  <c:v>0.4719</c:v>
                </c:pt>
                <c:pt idx="1">
                  <c:v>0.4564</c:v>
                </c:pt>
                <c:pt idx="2">
                  <c:v>0.4449</c:v>
                </c:pt>
                <c:pt idx="3">
                  <c:v>0.5691</c:v>
                </c:pt>
                <c:pt idx="4">
                  <c:v>0.5159</c:v>
                </c:pt>
                <c:pt idx="5">
                  <c:v>0.4643</c:v>
                </c:pt>
              </c:numCache>
            </c:numRef>
          </c:xVal>
          <c:yVal>
            <c:numRef>
              <c:f>Sheet1!$B$2:$B$7</c:f>
              <c:numCache>
                <c:formatCode>General</c:formatCode>
                <c:ptCount val="6"/>
                <c:pt idx="0">
                  <c:v>14182.0</c:v>
                </c:pt>
                <c:pt idx="1">
                  <c:v>30497.54945054945</c:v>
                </c:pt>
                <c:pt idx="2">
                  <c:v>28146.978723404256</c:v>
                </c:pt>
                <c:pt idx="3">
                  <c:v>4702.2</c:v>
                </c:pt>
                <c:pt idx="4">
                  <c:v>3558.5</c:v>
                </c:pt>
                <c:pt idx="5">
                  <c:v>8683.745098039215</c:v>
                </c:pt>
              </c:numCache>
            </c:numRef>
          </c:yVal>
          <c:bubbleSize>
            <c:numRef>
              <c:f>Sheet1!$C$2:$C$7</c:f>
              <c:numCache>
                <c:formatCode>General</c:formatCode>
                <c:ptCount val="6"/>
                <c:pt idx="0">
                  <c:v>63895.0924</c:v>
                </c:pt>
                <c:pt idx="1">
                  <c:v>1430100.4967999998</c:v>
                </c:pt>
                <c:pt idx="2">
                  <c:v>696022.6984</c:v>
                </c:pt>
                <c:pt idx="3">
                  <c:v>9603.1772</c:v>
                </c:pt>
                <c:pt idx="4">
                  <c:v>13063.7887</c:v>
                </c:pt>
                <c:pt idx="5">
                  <c:v>224873.70239999998</c:v>
                </c:pt>
              </c:numCache>
            </c:numRef>
          </c:bubbleSize>
          <c:bubble3D val="0"/>
          <c:extLst>
            <c:ext xmlns:c15="http://schemas.microsoft.com/office/drawing/2012/chart" uri="{02D57815-91ED-43cb-92C2-25804820EDAC}">
              <c15:datalabelsRange>
                <c15:f>Sheet1!$E$2:$E$50</c15:f>
                <c15:dlblRangeCache>
                  <c:ptCount val="49"/>
                  <c:pt idx="0">
                    <c:v>Findus Merluzzo Altro Findus Fish Bar 245GR</c:v>
                  </c:pt>
                  <c:pt idx="1">
                    <c:v>Findus Merluzzo D Alaska Chips Findus Big Burger 227GR</c:v>
                  </c:pt>
                  <c:pt idx="2">
                    <c:v>Findus Merluzzo D Alaska Standard Findus Big Burger 227GR</c:v>
                  </c:pt>
                  <c:pt idx="3">
                    <c:v>Findus Merluzzo E Spinaci Filetto Findus Croccole 300GR</c:v>
                  </c:pt>
                  <c:pt idx="4">
                    <c:v>Findus Merluzzo Filetto Findus Croccole 300GR</c:v>
                  </c:pt>
                  <c:pt idx="5">
                    <c:v>Findus Merluzzo Filetto Findus Croccole 600GR</c:v>
                  </c:pt>
                  <c:pt idx="6">
                    <c:v>Findus Merluzzo Filetto Findus Fish &amp; Crock 250GR</c:v>
                  </c:pt>
                  <c:pt idx="7">
                    <c:v>Findus Merluzzo Filetto Findus Fish Bar 240GR</c:v>
                  </c:pt>
                  <c:pt idx="8">
                    <c:v>Findus Merluzzo Semi Filetto Findus Croccole 300GR</c:v>
                  </c:pt>
                  <c:pt idx="9">
                    <c:v>Findus Merluzzo Senza Glutine Filetto Findus Croccole 250GR</c:v>
                  </c:pt>
                  <c:pt idx="10">
                    <c:v>Findus Platessa Filetto Findus Platessa 250GR</c:v>
                  </c:pt>
                  <c:pt idx="11">
                    <c:v>Findus Salmone Altro Findus Fish Bar 220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3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1861A7B1-1909-4E2E-8D5F-FAE3CD80C91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49BF1AEC-7099-4A76-A565-A09DC372F57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2722E404-4B6D-4CE5-8282-A73D246CA9B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0110043D-733B-4342-9E59-36952DFCB89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F558FD9C-C7A3-4A00-9962-413F1366F6C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0ADDCC43-CF4E-4B09-9B63-97F2D14A00E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046D6B23-28DD-46D8-9E34-3ABEA9A27AB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5-BFDA-4C69-8E79-A083B7EFBA29}"/>
                </c:ext>
              </c:extLst>
            </c:dLbl>
            <c:dLbl>
              <c:idx val="1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BFDA-4C69-8E79-A083B7EFBA29}"/>
                </c:ext>
              </c:extLst>
            </c:dLbl>
            <c:dLbl>
              <c:idx val="1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BFDA-4C69-8E79-A083B7EFBA29}"/>
                </c:ext>
              </c:extLst>
            </c:dLbl>
            <c:dLbl>
              <c:idx val="1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BFDA-4C69-8E79-A083B7EFBA29}"/>
                </c:ext>
              </c:extLst>
            </c:dLbl>
            <c:dLbl>
              <c:idx val="1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9-BFDA-4C69-8E79-A083B7EFBA29}"/>
                </c:ext>
              </c:extLst>
            </c:dLbl>
            <c:dLbl>
              <c:idx val="1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A-BFDA-4C69-8E79-A083B7EFBA29}"/>
                </c:ext>
              </c:extLst>
            </c:dLbl>
            <c:dLbl>
              <c:idx val="1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B-BFDA-4C69-8E79-A083B7EFBA29}"/>
                </c:ext>
              </c:extLst>
            </c:dLbl>
            <c:dLbl>
              <c:idx val="1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C-BFDA-4C69-8E79-A083B7EFBA29}"/>
                </c:ext>
              </c:extLst>
            </c:dLbl>
            <c:dLbl>
              <c:idx val="2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BFDA-4C69-8E79-A083B7EFBA29}"/>
                </c:ext>
              </c:extLst>
            </c:dLbl>
            <c:dLbl>
              <c:idx val="2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BFDA-4C69-8E79-A083B7EFBA29}"/>
                </c:ext>
              </c:extLst>
            </c:dLbl>
            <c:dLbl>
              <c:idx val="2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F-BFDA-4C69-8E79-A083B7EFBA29}"/>
                </c:ext>
              </c:extLst>
            </c:dLbl>
            <c:dLbl>
              <c:idx val="2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0-BFDA-4C69-8E79-A083B7EFBA29}"/>
                </c:ext>
              </c:extLst>
            </c:dLbl>
            <c:dLbl>
              <c:idx val="2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1-BFDA-4C69-8E79-A083B7EFBA29}"/>
                </c:ext>
              </c:extLst>
            </c:dLbl>
            <c:dLbl>
              <c:idx val="2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BFDA-4C69-8E79-A083B7EFBA29}"/>
                </c:ext>
              </c:extLst>
            </c:dLbl>
            <c:dLbl>
              <c:idx val="2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BFDA-4C69-8E79-A083B7EFBA29}"/>
                </c:ext>
              </c:extLst>
            </c:dLbl>
            <c:dLbl>
              <c:idx val="2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BFDA-4C69-8E79-A083B7EFBA29}"/>
                </c:ext>
              </c:extLst>
            </c:dLbl>
            <c:dLbl>
              <c:idx val="2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5-BFDA-4C69-8E79-A083B7EFBA29}"/>
                </c:ext>
              </c:extLst>
            </c:dLbl>
            <c:dLbl>
              <c:idx val="2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6-BFDA-4C69-8E79-A083B7EFBA29}"/>
                </c:ext>
              </c:extLst>
            </c:dLbl>
            <c:dLbl>
              <c:idx val="3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7-BFDA-4C69-8E79-A083B7EFBA29}"/>
                </c:ext>
              </c:extLst>
            </c:dLbl>
            <c:dLbl>
              <c:idx val="3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8-BFDA-4C69-8E79-A083B7EFBA29}"/>
                </c:ext>
              </c:extLst>
            </c:dLbl>
            <c:dLbl>
              <c:idx val="3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9-BFDA-4C69-8E79-A083B7EFBA29}"/>
                </c:ext>
              </c:extLst>
            </c:dLbl>
            <c:dLbl>
              <c:idx val="3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BFDA-4C69-8E79-A083B7EFBA29}"/>
                </c:ext>
              </c:extLst>
            </c:dLbl>
            <c:dLbl>
              <c:idx val="3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B-BFDA-4C69-8E79-A083B7EFBA29}"/>
                </c:ext>
              </c:extLst>
            </c:dLbl>
            <c:dLbl>
              <c:idx val="3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C-BFDA-4C69-8E79-A083B7EFBA29}"/>
                </c:ext>
              </c:extLst>
            </c:dLbl>
            <c:dLbl>
              <c:idx val="3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D-BFDA-4C69-8E79-A083B7EFBA29}"/>
                </c:ext>
              </c:extLst>
            </c:dLbl>
            <c:dLbl>
              <c:idx val="3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BFDA-4C69-8E79-A083B7EFBA29}"/>
                </c:ext>
              </c:extLst>
            </c:dLbl>
            <c:dLbl>
              <c:idx val="3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BFDA-4C69-8E79-A083B7EFBA29}"/>
                </c:ext>
              </c:extLst>
            </c:dLbl>
            <c:dLbl>
              <c:idx val="3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BFDA-4C69-8E79-A083B7EFBA29}"/>
                </c:ext>
              </c:extLst>
            </c:dLbl>
            <c:dLbl>
              <c:idx val="4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1-BFDA-4C69-8E79-A083B7EFBA29}"/>
                </c:ext>
              </c:extLst>
            </c:dLbl>
            <c:dLbl>
              <c:idx val="4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BFDA-4C69-8E79-A083B7EFBA29}"/>
                </c:ext>
              </c:extLst>
            </c:dLbl>
            <c:dLbl>
              <c:idx val="4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BFDA-4C69-8E79-A083B7EFBA29}"/>
                </c:ext>
              </c:extLst>
            </c:dLbl>
            <c:dLbl>
              <c:idx val="4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BFDA-4C69-8E79-A083B7EFBA29}"/>
                </c:ext>
              </c:extLst>
            </c:dLbl>
            <c:dLbl>
              <c:idx val="4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BFDA-4C69-8E79-A083B7EFBA29}"/>
                </c:ext>
              </c:extLst>
            </c:dLbl>
            <c:dLbl>
              <c:idx val="4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BFDA-4C69-8E79-A083B7EFBA29}"/>
                </c:ext>
              </c:extLst>
            </c:dLbl>
            <c:dLbl>
              <c:idx val="4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BFDA-4C69-8E79-A083B7EFBA29}"/>
                </c:ext>
              </c:extLst>
            </c:dLbl>
            <c:dLbl>
              <c:idx val="4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BFDA-4C69-8E79-A083B7EFBA29}"/>
                </c:ext>
              </c:extLst>
            </c:dLbl>
            <c:dLbl>
              <c:idx val="4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9</c:f>
              <c:numCache>
                <c:formatCode>General</c:formatCode>
                <c:ptCount val="8"/>
                <c:pt idx="0">
                  <c:v>0.3214</c:v>
                </c:pt>
                <c:pt idx="1">
                  <c:v>0.3494</c:v>
                </c:pt>
                <c:pt idx="2">
                  <c:v>0.4765</c:v>
                </c:pt>
                <c:pt idx="3">
                  <c:v>0.3426</c:v>
                </c:pt>
                <c:pt idx="4">
                  <c:v>0.2801</c:v>
                </c:pt>
                <c:pt idx="5">
                  <c:v>0.3664</c:v>
                </c:pt>
                <c:pt idx="6">
                  <c:v>0.3605</c:v>
                </c:pt>
                <c:pt idx="7">
                  <c:v>0.4792</c:v>
                </c:pt>
              </c:numCache>
            </c:numRef>
          </c:xVal>
          <c:yVal>
            <c:numRef>
              <c:f>Sheet1!$B$2:$B$9</c:f>
              <c:numCache>
                <c:formatCode>General</c:formatCode>
                <c:ptCount val="8"/>
                <c:pt idx="0">
                  <c:v>33468.14141414141</c:v>
                </c:pt>
                <c:pt idx="1">
                  <c:v>32269.03370786517</c:v>
                </c:pt>
                <c:pt idx="2">
                  <c:v>5208.266666666666</c:v>
                </c:pt>
                <c:pt idx="3">
                  <c:v>18609.40404040404</c:v>
                </c:pt>
                <c:pt idx="4">
                  <c:v>2418.6506024096384</c:v>
                </c:pt>
                <c:pt idx="5">
                  <c:v>14583.535353535353</c:v>
                </c:pt>
                <c:pt idx="6">
                  <c:v>20546.0</c:v>
                </c:pt>
                <c:pt idx="7">
                  <c:v>4180.294117647059</c:v>
                </c:pt>
              </c:numCache>
            </c:numRef>
          </c:yVal>
          <c:bubbleSize>
            <c:numRef>
              <c:f>Sheet1!$C$2:$C$9</c:f>
              <c:numCache>
                <c:formatCode>General</c:formatCode>
                <c:ptCount val="8"/>
                <c:pt idx="0">
                  <c:v>2131265.6236</c:v>
                </c:pt>
                <c:pt idx="1">
                  <c:v>1770957.3417000002</c:v>
                </c:pt>
                <c:pt idx="2">
                  <c:v>155071.3642</c:v>
                </c:pt>
                <c:pt idx="3">
                  <c:v>1147936.0168</c:v>
                </c:pt>
                <c:pt idx="4">
                  <c:v>136986.13999999998</c:v>
                </c:pt>
                <c:pt idx="5">
                  <c:v>867137.4487</c:v>
                </c:pt>
                <c:pt idx="6">
                  <c:v>1195605.3462</c:v>
                </c:pt>
                <c:pt idx="7">
                  <c:v>140324.76739999998</c:v>
                </c:pt>
              </c:numCache>
            </c:numRef>
          </c:bubbleSize>
          <c:bubble3D val="0"/>
          <c:extLst>
            <c:ext xmlns:c15="http://schemas.microsoft.com/office/drawing/2012/chart" uri="{02D57815-91ED-43cb-92C2-25804820EDAC}">
              <c15:datalabelsRange>
                <c15:f>Sheet1!$E$2:$E$50</c15:f>
                <c15:dlblRangeCache>
                  <c:ptCount val="49"/>
                  <c:pt idx="0">
                    <c:v>Findus Merluzzo Altro Findus Fish Bar 245GR</c:v>
                  </c:pt>
                  <c:pt idx="1">
                    <c:v>Findus Merluzzo D Alaska Chips Findus Big Burger 227GR</c:v>
                  </c:pt>
                  <c:pt idx="2">
                    <c:v>Findus Merluzzo D Alaska Standard Findus Big Burger 227GR</c:v>
                  </c:pt>
                  <c:pt idx="3">
                    <c:v>Findus Merluzzo E Spinaci Filetto Findus Croccole 300GR</c:v>
                  </c:pt>
                  <c:pt idx="4">
                    <c:v>Findus Merluzzo Filetto Findus Croccole 300GR</c:v>
                  </c:pt>
                  <c:pt idx="5">
                    <c:v>Findus Merluzzo Filetto Findus Croccole 600GR</c:v>
                  </c:pt>
                  <c:pt idx="6">
                    <c:v>Findus Merluzzo Filetto Findus Fish &amp; Crock 250GR</c:v>
                  </c:pt>
                  <c:pt idx="7">
                    <c:v>Findus Merluzzo Filetto Findus Fish Bar 240GR</c:v>
                  </c:pt>
                  <c:pt idx="8">
                    <c:v>Findus Merluzzo Semi Filetto Findus Croccole 300GR</c:v>
                  </c:pt>
                  <c:pt idx="9">
                    <c:v>Findus Merluzzo Senza Glutine Filetto Findus Croccole 250GR</c:v>
                  </c:pt>
                  <c:pt idx="10">
                    <c:v>Findus Platessa Filetto Findus Platessa 250GR</c:v>
                  </c:pt>
                  <c:pt idx="11">
                    <c:v>Findus Salmone Altro Findus Fish Bar 220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3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A4E7074F-E2DF-44D4-87C1-66859485B5D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44DA42FA-300E-4FC7-A996-9E322E8FEFB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B237B263-6E4C-41EE-9E66-66314F9C4CF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EA66F00C-D04C-4A01-92E0-2DD6F1DD128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26D50E40-BB4F-4DBC-997E-59D801B483A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F71551E0-86F3-47F1-8EF4-7EE4C99F481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5EB24058-3929-4C47-850D-311EA3F4DFD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5-BFDA-4C69-8E79-A083B7EFBA29}"/>
                </c:ext>
              </c:extLst>
            </c:dLbl>
            <c:dLbl>
              <c:idx val="1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BFDA-4C69-8E79-A083B7EFBA29}"/>
                </c:ext>
              </c:extLst>
            </c:dLbl>
            <c:dLbl>
              <c:idx val="1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BFDA-4C69-8E79-A083B7EFBA29}"/>
                </c:ext>
              </c:extLst>
            </c:dLbl>
            <c:dLbl>
              <c:idx val="1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BFDA-4C69-8E79-A083B7EFBA29}"/>
                </c:ext>
              </c:extLst>
            </c:dLbl>
            <c:dLbl>
              <c:idx val="1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9-BFDA-4C69-8E79-A083B7EFBA29}"/>
                </c:ext>
              </c:extLst>
            </c:dLbl>
            <c:dLbl>
              <c:idx val="1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A-BFDA-4C69-8E79-A083B7EFBA29}"/>
                </c:ext>
              </c:extLst>
            </c:dLbl>
            <c:dLbl>
              <c:idx val="1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B-BFDA-4C69-8E79-A083B7EFBA29}"/>
                </c:ext>
              </c:extLst>
            </c:dLbl>
            <c:dLbl>
              <c:idx val="1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C-BFDA-4C69-8E79-A083B7EFBA29}"/>
                </c:ext>
              </c:extLst>
            </c:dLbl>
            <c:dLbl>
              <c:idx val="2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BFDA-4C69-8E79-A083B7EFBA29}"/>
                </c:ext>
              </c:extLst>
            </c:dLbl>
            <c:dLbl>
              <c:idx val="2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BFDA-4C69-8E79-A083B7EFBA29}"/>
                </c:ext>
              </c:extLst>
            </c:dLbl>
            <c:dLbl>
              <c:idx val="2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F-BFDA-4C69-8E79-A083B7EFBA29}"/>
                </c:ext>
              </c:extLst>
            </c:dLbl>
            <c:dLbl>
              <c:idx val="2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0-BFDA-4C69-8E79-A083B7EFBA29}"/>
                </c:ext>
              </c:extLst>
            </c:dLbl>
            <c:dLbl>
              <c:idx val="2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1-BFDA-4C69-8E79-A083B7EFBA29}"/>
                </c:ext>
              </c:extLst>
            </c:dLbl>
            <c:dLbl>
              <c:idx val="2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BFDA-4C69-8E79-A083B7EFBA29}"/>
                </c:ext>
              </c:extLst>
            </c:dLbl>
            <c:dLbl>
              <c:idx val="2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BFDA-4C69-8E79-A083B7EFBA29}"/>
                </c:ext>
              </c:extLst>
            </c:dLbl>
            <c:dLbl>
              <c:idx val="2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BFDA-4C69-8E79-A083B7EFBA29}"/>
                </c:ext>
              </c:extLst>
            </c:dLbl>
            <c:dLbl>
              <c:idx val="2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5-BFDA-4C69-8E79-A083B7EFBA29}"/>
                </c:ext>
              </c:extLst>
            </c:dLbl>
            <c:dLbl>
              <c:idx val="2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6-BFDA-4C69-8E79-A083B7EFBA29}"/>
                </c:ext>
              </c:extLst>
            </c:dLbl>
            <c:dLbl>
              <c:idx val="3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7-BFDA-4C69-8E79-A083B7EFBA29}"/>
                </c:ext>
              </c:extLst>
            </c:dLbl>
            <c:dLbl>
              <c:idx val="3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8-BFDA-4C69-8E79-A083B7EFBA29}"/>
                </c:ext>
              </c:extLst>
            </c:dLbl>
            <c:dLbl>
              <c:idx val="3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9-BFDA-4C69-8E79-A083B7EFBA29}"/>
                </c:ext>
              </c:extLst>
            </c:dLbl>
            <c:dLbl>
              <c:idx val="3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BFDA-4C69-8E79-A083B7EFBA29}"/>
                </c:ext>
              </c:extLst>
            </c:dLbl>
            <c:dLbl>
              <c:idx val="3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B-BFDA-4C69-8E79-A083B7EFBA29}"/>
                </c:ext>
              </c:extLst>
            </c:dLbl>
            <c:dLbl>
              <c:idx val="3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C-BFDA-4C69-8E79-A083B7EFBA29}"/>
                </c:ext>
              </c:extLst>
            </c:dLbl>
            <c:dLbl>
              <c:idx val="3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D-BFDA-4C69-8E79-A083B7EFBA29}"/>
                </c:ext>
              </c:extLst>
            </c:dLbl>
            <c:dLbl>
              <c:idx val="3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BFDA-4C69-8E79-A083B7EFBA29}"/>
                </c:ext>
              </c:extLst>
            </c:dLbl>
            <c:dLbl>
              <c:idx val="3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BFDA-4C69-8E79-A083B7EFBA29}"/>
                </c:ext>
              </c:extLst>
            </c:dLbl>
            <c:dLbl>
              <c:idx val="3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BFDA-4C69-8E79-A083B7EFBA29}"/>
                </c:ext>
              </c:extLst>
            </c:dLbl>
            <c:dLbl>
              <c:idx val="4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1-BFDA-4C69-8E79-A083B7EFBA29}"/>
                </c:ext>
              </c:extLst>
            </c:dLbl>
            <c:dLbl>
              <c:idx val="4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BFDA-4C69-8E79-A083B7EFBA29}"/>
                </c:ext>
              </c:extLst>
            </c:dLbl>
            <c:dLbl>
              <c:idx val="4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BFDA-4C69-8E79-A083B7EFBA29}"/>
                </c:ext>
              </c:extLst>
            </c:dLbl>
            <c:dLbl>
              <c:idx val="4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BFDA-4C69-8E79-A083B7EFBA29}"/>
                </c:ext>
              </c:extLst>
            </c:dLbl>
            <c:dLbl>
              <c:idx val="4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BFDA-4C69-8E79-A083B7EFBA29}"/>
                </c:ext>
              </c:extLst>
            </c:dLbl>
            <c:dLbl>
              <c:idx val="4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BFDA-4C69-8E79-A083B7EFBA29}"/>
                </c:ext>
              </c:extLst>
            </c:dLbl>
            <c:dLbl>
              <c:idx val="4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BFDA-4C69-8E79-A083B7EFBA29}"/>
                </c:ext>
              </c:extLst>
            </c:dLbl>
            <c:dLbl>
              <c:idx val="4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BFDA-4C69-8E79-A083B7EFBA29}"/>
                </c:ext>
              </c:extLst>
            </c:dLbl>
            <c:dLbl>
              <c:idx val="4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9</c:f>
              <c:numCache>
                <c:formatCode>General</c:formatCode>
                <c:ptCount val="8"/>
                <c:pt idx="0">
                  <c:v>0.5376</c:v>
                </c:pt>
                <c:pt idx="1">
                  <c:v>0.4297</c:v>
                </c:pt>
                <c:pt idx="2">
                  <c:v>0.3959</c:v>
                </c:pt>
                <c:pt idx="3">
                  <c:v>0.3593</c:v>
                </c:pt>
                <c:pt idx="4">
                  <c:v>0.3196</c:v>
                </c:pt>
                <c:pt idx="5">
                  <c:v>0.2455</c:v>
                </c:pt>
                <c:pt idx="6">
                  <c:v>0.4182</c:v>
                </c:pt>
                <c:pt idx="7">
                  <c:v>0.4881</c:v>
                </c:pt>
              </c:numCache>
            </c:numRef>
          </c:xVal>
          <c:yVal>
            <c:numRef>
              <c:f>Sheet1!$B$2:$B$9</c:f>
              <c:numCache>
                <c:formatCode>General</c:formatCode>
                <c:ptCount val="8"/>
                <c:pt idx="0">
                  <c:v>5071.260869565217</c:v>
                </c:pt>
                <c:pt idx="1">
                  <c:v>7595.781609195402</c:v>
                </c:pt>
                <c:pt idx="2">
                  <c:v>45209.37</c:v>
                </c:pt>
                <c:pt idx="3">
                  <c:v>38529.47422680412</c:v>
                </c:pt>
                <c:pt idx="4">
                  <c:v>58923.051020408166</c:v>
                </c:pt>
                <c:pt idx="5">
                  <c:v>990.84</c:v>
                </c:pt>
                <c:pt idx="6">
                  <c:v>10108.0</c:v>
                </c:pt>
                <c:pt idx="7">
                  <c:v>10818.426966292134</c:v>
                </c:pt>
              </c:numCache>
            </c:numRef>
          </c:yVal>
          <c:bubbleSize>
            <c:numRef>
              <c:f>Sheet1!$C$2:$C$9</c:f>
              <c:numCache>
                <c:formatCode>General</c:formatCode>
                <c:ptCount val="8"/>
                <c:pt idx="0">
                  <c:v>153372.101</c:v>
                </c:pt>
                <c:pt idx="1">
                  <c:v>357216.5298</c:v>
                </c:pt>
                <c:pt idx="2">
                  <c:v>2588496.7709999997</c:v>
                </c:pt>
                <c:pt idx="3">
                  <c:v>2269501.2134</c:v>
                </c:pt>
                <c:pt idx="4">
                  <c:v>3724121.2061000005</c:v>
                </c:pt>
                <c:pt idx="5">
                  <c:v>17714.462399999997</c:v>
                </c:pt>
                <c:pt idx="6">
                  <c:v>540684.2676000001</c:v>
                </c:pt>
                <c:pt idx="7">
                  <c:v>467206.7514</c:v>
                </c:pt>
              </c:numCache>
            </c:numRef>
          </c:bubbleSize>
          <c:bubble3D val="0"/>
          <c:extLst>
            <c:ext xmlns:c15="http://schemas.microsoft.com/office/drawing/2012/chart" uri="{02D57815-91ED-43cb-92C2-25804820EDAC}">
              <c15:datalabelsRange>
                <c15:f>Sheet1!$E$2:$E$50</c15:f>
                <c15:dlblRangeCache>
                  <c:ptCount val="49"/>
                  <c:pt idx="0">
                    <c:v>Findus Merluzzo Altro Findus Fish Bar 245GR</c:v>
                  </c:pt>
                  <c:pt idx="1">
                    <c:v>Findus Merluzzo D Alaska Chips Findus Big Burger 227GR</c:v>
                  </c:pt>
                  <c:pt idx="2">
                    <c:v>Findus Merluzzo D Alaska Standard Findus Big Burger 227GR</c:v>
                  </c:pt>
                  <c:pt idx="3">
                    <c:v>Findus Merluzzo E Spinaci Filetto Findus Croccole 300GR</c:v>
                  </c:pt>
                  <c:pt idx="4">
                    <c:v>Findus Merluzzo Filetto Findus Croccole 300GR</c:v>
                  </c:pt>
                  <c:pt idx="5">
                    <c:v>Findus Merluzzo Filetto Findus Croccole 600GR</c:v>
                  </c:pt>
                  <c:pt idx="6">
                    <c:v>Findus Merluzzo Filetto Findus Fish &amp; Crock 250GR</c:v>
                  </c:pt>
                  <c:pt idx="7">
                    <c:v>Findus Merluzzo Filetto Findus Fish Bar 240GR</c:v>
                  </c:pt>
                  <c:pt idx="8">
                    <c:v>Findus Merluzzo Semi Filetto Findus Croccole 300GR</c:v>
                  </c:pt>
                  <c:pt idx="9">
                    <c:v>Findus Merluzzo Senza Glutine Filetto Findus Croccole 250GR</c:v>
                  </c:pt>
                  <c:pt idx="10">
                    <c:v>Findus Platessa Filetto Findus Platessa 250GR</c:v>
                  </c:pt>
                  <c:pt idx="11">
                    <c:v>Findus Salmone Altro Findus Fish Bar 220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3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0505E108-F64C-4DAE-931A-FF9B011166E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42CC306B-933E-4304-8478-51B96028D89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CE437CB9-4F6E-4E02-BB40-E88AC5144A9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F6DEDBA2-B791-45FE-AB6C-8ECEC8B47D6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15873AB3-8E8C-45AA-BC4C-25947FE82D4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3CD592F6-CF0F-42A7-ACB1-34155FF0FB4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D5C873EE-5EE3-4660-9D41-C3EB6C77687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5-BFDA-4C69-8E79-A083B7EFBA29}"/>
                </c:ext>
              </c:extLst>
            </c:dLbl>
            <c:dLbl>
              <c:idx val="1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BFDA-4C69-8E79-A083B7EFBA29}"/>
                </c:ext>
              </c:extLst>
            </c:dLbl>
            <c:dLbl>
              <c:idx val="1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BFDA-4C69-8E79-A083B7EFBA29}"/>
                </c:ext>
              </c:extLst>
            </c:dLbl>
            <c:dLbl>
              <c:idx val="1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BFDA-4C69-8E79-A083B7EFBA29}"/>
                </c:ext>
              </c:extLst>
            </c:dLbl>
            <c:dLbl>
              <c:idx val="1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9-BFDA-4C69-8E79-A083B7EFBA29}"/>
                </c:ext>
              </c:extLst>
            </c:dLbl>
            <c:dLbl>
              <c:idx val="1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A-BFDA-4C69-8E79-A083B7EFBA29}"/>
                </c:ext>
              </c:extLst>
            </c:dLbl>
            <c:dLbl>
              <c:idx val="1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B-BFDA-4C69-8E79-A083B7EFBA29}"/>
                </c:ext>
              </c:extLst>
            </c:dLbl>
            <c:dLbl>
              <c:idx val="1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C-BFDA-4C69-8E79-A083B7EFBA29}"/>
                </c:ext>
              </c:extLst>
            </c:dLbl>
            <c:dLbl>
              <c:idx val="2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BFDA-4C69-8E79-A083B7EFBA29}"/>
                </c:ext>
              </c:extLst>
            </c:dLbl>
            <c:dLbl>
              <c:idx val="2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BFDA-4C69-8E79-A083B7EFBA29}"/>
                </c:ext>
              </c:extLst>
            </c:dLbl>
            <c:dLbl>
              <c:idx val="2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F-BFDA-4C69-8E79-A083B7EFBA29}"/>
                </c:ext>
              </c:extLst>
            </c:dLbl>
            <c:dLbl>
              <c:idx val="2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0-BFDA-4C69-8E79-A083B7EFBA29}"/>
                </c:ext>
              </c:extLst>
            </c:dLbl>
            <c:dLbl>
              <c:idx val="2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1-BFDA-4C69-8E79-A083B7EFBA29}"/>
                </c:ext>
              </c:extLst>
            </c:dLbl>
            <c:dLbl>
              <c:idx val="2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BFDA-4C69-8E79-A083B7EFBA29}"/>
                </c:ext>
              </c:extLst>
            </c:dLbl>
            <c:dLbl>
              <c:idx val="2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BFDA-4C69-8E79-A083B7EFBA29}"/>
                </c:ext>
              </c:extLst>
            </c:dLbl>
            <c:dLbl>
              <c:idx val="2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BFDA-4C69-8E79-A083B7EFBA29}"/>
                </c:ext>
              </c:extLst>
            </c:dLbl>
            <c:dLbl>
              <c:idx val="2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5-BFDA-4C69-8E79-A083B7EFBA29}"/>
                </c:ext>
              </c:extLst>
            </c:dLbl>
            <c:dLbl>
              <c:idx val="2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6-BFDA-4C69-8E79-A083B7EFBA29}"/>
                </c:ext>
              </c:extLst>
            </c:dLbl>
            <c:dLbl>
              <c:idx val="3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7-BFDA-4C69-8E79-A083B7EFBA29}"/>
                </c:ext>
              </c:extLst>
            </c:dLbl>
            <c:dLbl>
              <c:idx val="3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8-BFDA-4C69-8E79-A083B7EFBA29}"/>
                </c:ext>
              </c:extLst>
            </c:dLbl>
            <c:dLbl>
              <c:idx val="3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9-BFDA-4C69-8E79-A083B7EFBA29}"/>
                </c:ext>
              </c:extLst>
            </c:dLbl>
            <c:dLbl>
              <c:idx val="3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BFDA-4C69-8E79-A083B7EFBA29}"/>
                </c:ext>
              </c:extLst>
            </c:dLbl>
            <c:dLbl>
              <c:idx val="3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B-BFDA-4C69-8E79-A083B7EFBA29}"/>
                </c:ext>
              </c:extLst>
            </c:dLbl>
            <c:dLbl>
              <c:idx val="3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C-BFDA-4C69-8E79-A083B7EFBA29}"/>
                </c:ext>
              </c:extLst>
            </c:dLbl>
            <c:dLbl>
              <c:idx val="3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D-BFDA-4C69-8E79-A083B7EFBA29}"/>
                </c:ext>
              </c:extLst>
            </c:dLbl>
            <c:dLbl>
              <c:idx val="3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BFDA-4C69-8E79-A083B7EFBA29}"/>
                </c:ext>
              </c:extLst>
            </c:dLbl>
            <c:dLbl>
              <c:idx val="3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BFDA-4C69-8E79-A083B7EFBA29}"/>
                </c:ext>
              </c:extLst>
            </c:dLbl>
            <c:dLbl>
              <c:idx val="3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BFDA-4C69-8E79-A083B7EFBA29}"/>
                </c:ext>
              </c:extLst>
            </c:dLbl>
            <c:dLbl>
              <c:idx val="4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1-BFDA-4C69-8E79-A083B7EFBA29}"/>
                </c:ext>
              </c:extLst>
            </c:dLbl>
            <c:dLbl>
              <c:idx val="4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BFDA-4C69-8E79-A083B7EFBA29}"/>
                </c:ext>
              </c:extLst>
            </c:dLbl>
            <c:dLbl>
              <c:idx val="4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BFDA-4C69-8E79-A083B7EFBA29}"/>
                </c:ext>
              </c:extLst>
            </c:dLbl>
            <c:dLbl>
              <c:idx val="4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BFDA-4C69-8E79-A083B7EFBA29}"/>
                </c:ext>
              </c:extLst>
            </c:dLbl>
            <c:dLbl>
              <c:idx val="4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BFDA-4C69-8E79-A083B7EFBA29}"/>
                </c:ext>
              </c:extLst>
            </c:dLbl>
            <c:dLbl>
              <c:idx val="4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BFDA-4C69-8E79-A083B7EFBA29}"/>
                </c:ext>
              </c:extLst>
            </c:dLbl>
            <c:dLbl>
              <c:idx val="4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BFDA-4C69-8E79-A083B7EFBA29}"/>
                </c:ext>
              </c:extLst>
            </c:dLbl>
            <c:dLbl>
              <c:idx val="4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BFDA-4C69-8E79-A083B7EFBA29}"/>
                </c:ext>
              </c:extLst>
            </c:dLbl>
            <c:dLbl>
              <c:idx val="4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9</c:f>
              <c:numCache>
                <c:formatCode>General</c:formatCode>
                <c:ptCount val="8"/>
                <c:pt idx="0">
                  <c:v>0.3152</c:v>
                </c:pt>
                <c:pt idx="1">
                  <c:v>0.3415</c:v>
                </c:pt>
                <c:pt idx="2">
                  <c:v>0.4553</c:v>
                </c:pt>
                <c:pt idx="3">
                  <c:v>0.3307</c:v>
                </c:pt>
                <c:pt idx="4">
                  <c:v>0.278</c:v>
                </c:pt>
                <c:pt idx="5">
                  <c:v>0.3501</c:v>
                </c:pt>
                <c:pt idx="6">
                  <c:v>0.3389</c:v>
                </c:pt>
                <c:pt idx="7">
                  <c:v>0.4654</c:v>
                </c:pt>
              </c:numCache>
            </c:numRef>
          </c:xVal>
          <c:yVal>
            <c:numRef>
              <c:f>Sheet1!$B$2:$B$9</c:f>
              <c:numCache>
                <c:formatCode>General</c:formatCode>
                <c:ptCount val="8"/>
                <c:pt idx="0">
                  <c:v>5841.94</c:v>
                </c:pt>
                <c:pt idx="1">
                  <c:v>5970.020202020202</c:v>
                </c:pt>
                <c:pt idx="2">
                  <c:v>698.2873563218391</c:v>
                </c:pt>
                <c:pt idx="3">
                  <c:v>2915.26</c:v>
                </c:pt>
                <c:pt idx="4">
                  <c:v>409.3829787234043</c:v>
                </c:pt>
                <c:pt idx="5">
                  <c:v>2549.27</c:v>
                </c:pt>
                <c:pt idx="6">
                  <c:v>3761.1111111111113</c:v>
                </c:pt>
                <c:pt idx="7">
                  <c:v>614.6363636363636</c:v>
                </c:pt>
              </c:numCache>
            </c:numRef>
          </c:yVal>
          <c:bubbleSize>
            <c:numRef>
              <c:f>Sheet1!$C$2:$C$9</c:f>
              <c:numCache>
                <c:formatCode>General</c:formatCode>
                <c:ptCount val="8"/>
                <c:pt idx="0">
                  <c:v>379175.70080000005</c:v>
                </c:pt>
                <c:pt idx="1">
                  <c:v>368896.3247</c:v>
                </c:pt>
                <c:pt idx="2">
                  <c:v>31366.428200000002</c:v>
                </c:pt>
                <c:pt idx="3">
                  <c:v>184947.85040000002</c:v>
                </c:pt>
                <c:pt idx="4">
                  <c:v>26336.5182</c:v>
                </c:pt>
                <c:pt idx="5">
                  <c:v>157027.87370000003</c:v>
                </c:pt>
                <c:pt idx="6">
                  <c:v>233330.66369999998</c:v>
                </c:pt>
                <c:pt idx="7">
                  <c:v>27407.7202</c:v>
                </c:pt>
              </c:numCache>
            </c:numRef>
          </c:bubbleSize>
          <c:bubble3D val="0"/>
          <c:extLst>
            <c:ext xmlns:c15="http://schemas.microsoft.com/office/drawing/2012/chart" uri="{02D57815-91ED-43cb-92C2-25804820EDAC}">
              <c15:datalabelsRange>
                <c15:f>Sheet1!$E$2:$E$50</c15:f>
                <c15:dlblRangeCache>
                  <c:ptCount val="49"/>
                  <c:pt idx="0">
                    <c:v>Findus Merluzzo Altro Findus Fish Bar 245GR</c:v>
                  </c:pt>
                  <c:pt idx="1">
                    <c:v>Findus Merluzzo D Alaska Chips Findus Big Burger 227GR</c:v>
                  </c:pt>
                  <c:pt idx="2">
                    <c:v>Findus Merluzzo D Alaska Standard Findus Big Burger 227GR</c:v>
                  </c:pt>
                  <c:pt idx="3">
                    <c:v>Findus Merluzzo E Spinaci Filetto Findus Croccole 300GR</c:v>
                  </c:pt>
                  <c:pt idx="4">
                    <c:v>Findus Merluzzo Filetto Findus Croccole 300GR</c:v>
                  </c:pt>
                  <c:pt idx="5">
                    <c:v>Findus Merluzzo Filetto Findus Croccole 600GR</c:v>
                  </c:pt>
                  <c:pt idx="6">
                    <c:v>Findus Merluzzo Filetto Findus Fish &amp; Crock 250GR</c:v>
                  </c:pt>
                  <c:pt idx="7">
                    <c:v>Findus Merluzzo Filetto Findus Fish Bar 240GR</c:v>
                  </c:pt>
                  <c:pt idx="8">
                    <c:v>Findus Merluzzo Semi Filetto Findus Croccole 300GR</c:v>
                  </c:pt>
                  <c:pt idx="9">
                    <c:v>Findus Merluzzo Senza Glutine Filetto Findus Croccole 250GR</c:v>
                  </c:pt>
                  <c:pt idx="10">
                    <c:v>Findus Platessa Filetto Findus Platessa 250GR</c:v>
                  </c:pt>
                  <c:pt idx="11">
                    <c:v>Findus Salmone Altro Findus Fish Bar 220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La Vache Qui Rit</c:v>
                </c:pt>
                <c:pt idx="1">
                  <c:v>Mini Babybel</c:v>
                </c:pt>
                <c:pt idx="2">
                  <c:v>Kiri</c:v>
                </c:pt>
                <c:pt idx="3">
                  <c:v>Private Label</c:v>
                </c:pt>
                <c:pt idx="4">
                  <c:v>Ficello</c:v>
                </c:pt>
                <c:pt idx="5">
                  <c:v>P'Tit Louis</c:v>
                </c:pt>
                <c:pt idx="6">
                  <c:v>Others</c:v>
                </c:pt>
              </c:strCache>
            </c:strRef>
          </c:cat>
          <c:val>
            <c:numRef>
              <c:f>Sheet1!$B$2:$B$8</c:f>
              <c:numCache>
                <c:formatCode>General</c:formatCode>
                <c:ptCount val="7"/>
                <c:pt idx="0">
                  <c:v>0.3015898969947911</c:v>
                </c:pt>
                <c:pt idx="1">
                  <c:v>0.24064716475410985</c:v>
                </c:pt>
                <c:pt idx="2">
                  <c:v>0.21003418865142254</c:v>
                </c:pt>
                <c:pt idx="3">
                  <c:v>0.13291820049045136</c:v>
                </c:pt>
                <c:pt idx="4">
                  <c:v>0.09285541810029324</c:v>
                </c:pt>
                <c:pt idx="5">
                  <c:v>0.021903016053763772</c:v>
                </c:pt>
                <c:pt idx="6">
                  <c:v>5.211495516810982e-05</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La Vache Qui Rit</c:v>
                </c:pt>
                <c:pt idx="1">
                  <c:v>Mini Babybel</c:v>
                </c:pt>
                <c:pt idx="2">
                  <c:v>Kiri</c:v>
                </c:pt>
                <c:pt idx="3">
                  <c:v>Private Label</c:v>
                </c:pt>
                <c:pt idx="4">
                  <c:v>Ficello</c:v>
                </c:pt>
                <c:pt idx="5">
                  <c:v>P'Tit Louis</c:v>
                </c:pt>
                <c:pt idx="6">
                  <c:v>Others</c:v>
                </c:pt>
              </c:strCache>
            </c:strRef>
          </c:cat>
          <c:val>
            <c:numRef>
              <c:f>Sheet1!$C$2:$C$8</c:f>
              <c:numCache>
                <c:formatCode>General</c:formatCode>
                <c:ptCount val="7"/>
                <c:pt idx="0">
                  <c:v>0.23237919359803014</c:v>
                </c:pt>
                <c:pt idx="1">
                  <c:v>0.2188365650969529</c:v>
                </c:pt>
                <c:pt idx="2">
                  <c:v>0.2028316405047707</c:v>
                </c:pt>
                <c:pt idx="3">
                  <c:v>0.16066481994459836</c:v>
                </c:pt>
                <c:pt idx="4">
                  <c:v>0.09295167743921207</c:v>
                </c:pt>
                <c:pt idx="5">
                  <c:v>0.09202831640504769</c:v>
                </c:pt>
                <c:pt idx="6">
                  <c:v>0.0003077870113881194</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La Vache Qui Rit</c:v>
                </c:pt>
                <c:pt idx="1">
                  <c:v>Mini Babybel</c:v>
                </c:pt>
                <c:pt idx="2">
                  <c:v>Kiri</c:v>
                </c:pt>
                <c:pt idx="3">
                  <c:v>Private Label</c:v>
                </c:pt>
                <c:pt idx="4">
                  <c:v>Ficello</c:v>
                </c:pt>
                <c:pt idx="5">
                  <c:v>P'Tit Louis</c:v>
                </c:pt>
                <c:pt idx="6">
                  <c:v>Others</c:v>
                </c:pt>
              </c:strCache>
            </c:strRef>
          </c:cat>
          <c:val>
            <c:numRef>
              <c:f>Sheet1!$D$2:$D$8</c:f>
              <c:numCache>
                <c:formatCode>General</c:formatCode>
                <c:ptCount val="7"/>
                <c:pt idx="0">
                  <c:v>77.05138531283217</c:v>
                </c:pt>
                <c:pt idx="1">
                  <c:v>90.93668953904246</c:v>
                </c:pt>
                <c:pt idx="2">
                  <c:v>96.57077345697974</c:v>
                </c:pt>
                <c:pt idx="3">
                  <c:v>120.87495869772948</c:v>
                </c:pt>
                <c:pt idx="4">
                  <c:v>100.10366582897173</c:v>
                </c:pt>
                <c:pt idx="5">
                  <c:v>420.16275831215364</c:v>
                </c:pt>
                <c:pt idx="6">
                  <c:v>590.592489996922</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21EA810E-F1EA-40B9-B57C-77870F2D7B9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8C3FD063-4DBD-476B-926F-FC9FA4EFC7F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E823DD4F-3B7D-46A2-AACF-A16EF7E132F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BDE19176-0E96-454D-8DED-8260169675F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9041917A-4031-434C-840D-1848F495A56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35B647C7-F911-4D84-AB00-DCD3126DDFD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3A841565-25E1-4043-93AB-C555731C4E7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5-BFDA-4C69-8E79-A083B7EFBA29}"/>
                </c:ext>
              </c:extLst>
            </c:dLbl>
            <c:dLbl>
              <c:idx val="1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BFDA-4C69-8E79-A083B7EFBA29}"/>
                </c:ext>
              </c:extLst>
            </c:dLbl>
            <c:dLbl>
              <c:idx val="1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BFDA-4C69-8E79-A083B7EFBA29}"/>
                </c:ext>
              </c:extLst>
            </c:dLbl>
            <c:dLbl>
              <c:idx val="1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BFDA-4C69-8E79-A083B7EFBA29}"/>
                </c:ext>
              </c:extLst>
            </c:dLbl>
            <c:dLbl>
              <c:idx val="1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9-BFDA-4C69-8E79-A083B7EFBA29}"/>
                </c:ext>
              </c:extLst>
            </c:dLbl>
            <c:dLbl>
              <c:idx val="1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A-BFDA-4C69-8E79-A083B7EFBA29}"/>
                </c:ext>
              </c:extLst>
            </c:dLbl>
            <c:dLbl>
              <c:idx val="1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B-BFDA-4C69-8E79-A083B7EFBA29}"/>
                </c:ext>
              </c:extLst>
            </c:dLbl>
            <c:dLbl>
              <c:idx val="1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C-BFDA-4C69-8E79-A083B7EFBA29}"/>
                </c:ext>
              </c:extLst>
            </c:dLbl>
            <c:dLbl>
              <c:idx val="2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BFDA-4C69-8E79-A083B7EFBA29}"/>
                </c:ext>
              </c:extLst>
            </c:dLbl>
            <c:dLbl>
              <c:idx val="2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BFDA-4C69-8E79-A083B7EFBA29}"/>
                </c:ext>
              </c:extLst>
            </c:dLbl>
            <c:dLbl>
              <c:idx val="2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F-BFDA-4C69-8E79-A083B7EFBA29}"/>
                </c:ext>
              </c:extLst>
            </c:dLbl>
            <c:dLbl>
              <c:idx val="2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0-BFDA-4C69-8E79-A083B7EFBA29}"/>
                </c:ext>
              </c:extLst>
            </c:dLbl>
            <c:dLbl>
              <c:idx val="2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1-BFDA-4C69-8E79-A083B7EFBA29}"/>
                </c:ext>
              </c:extLst>
            </c:dLbl>
            <c:dLbl>
              <c:idx val="2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BFDA-4C69-8E79-A083B7EFBA29}"/>
                </c:ext>
              </c:extLst>
            </c:dLbl>
            <c:dLbl>
              <c:idx val="2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BFDA-4C69-8E79-A083B7EFBA29}"/>
                </c:ext>
              </c:extLst>
            </c:dLbl>
            <c:dLbl>
              <c:idx val="2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BFDA-4C69-8E79-A083B7EFBA29}"/>
                </c:ext>
              </c:extLst>
            </c:dLbl>
            <c:dLbl>
              <c:idx val="2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5-BFDA-4C69-8E79-A083B7EFBA29}"/>
                </c:ext>
              </c:extLst>
            </c:dLbl>
            <c:dLbl>
              <c:idx val="2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6-BFDA-4C69-8E79-A083B7EFBA29}"/>
                </c:ext>
              </c:extLst>
            </c:dLbl>
            <c:dLbl>
              <c:idx val="3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7-BFDA-4C69-8E79-A083B7EFBA29}"/>
                </c:ext>
              </c:extLst>
            </c:dLbl>
            <c:dLbl>
              <c:idx val="3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8-BFDA-4C69-8E79-A083B7EFBA29}"/>
                </c:ext>
              </c:extLst>
            </c:dLbl>
            <c:dLbl>
              <c:idx val="3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9-BFDA-4C69-8E79-A083B7EFBA29}"/>
                </c:ext>
              </c:extLst>
            </c:dLbl>
            <c:dLbl>
              <c:idx val="3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BFDA-4C69-8E79-A083B7EFBA29}"/>
                </c:ext>
              </c:extLst>
            </c:dLbl>
            <c:dLbl>
              <c:idx val="3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B-BFDA-4C69-8E79-A083B7EFBA29}"/>
                </c:ext>
              </c:extLst>
            </c:dLbl>
            <c:dLbl>
              <c:idx val="3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C-BFDA-4C69-8E79-A083B7EFBA29}"/>
                </c:ext>
              </c:extLst>
            </c:dLbl>
            <c:dLbl>
              <c:idx val="3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D-BFDA-4C69-8E79-A083B7EFBA29}"/>
                </c:ext>
              </c:extLst>
            </c:dLbl>
            <c:dLbl>
              <c:idx val="3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BFDA-4C69-8E79-A083B7EFBA29}"/>
                </c:ext>
              </c:extLst>
            </c:dLbl>
            <c:dLbl>
              <c:idx val="3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BFDA-4C69-8E79-A083B7EFBA29}"/>
                </c:ext>
              </c:extLst>
            </c:dLbl>
            <c:dLbl>
              <c:idx val="3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BFDA-4C69-8E79-A083B7EFBA29}"/>
                </c:ext>
              </c:extLst>
            </c:dLbl>
            <c:dLbl>
              <c:idx val="4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1-BFDA-4C69-8E79-A083B7EFBA29}"/>
                </c:ext>
              </c:extLst>
            </c:dLbl>
            <c:dLbl>
              <c:idx val="4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BFDA-4C69-8E79-A083B7EFBA29}"/>
                </c:ext>
              </c:extLst>
            </c:dLbl>
            <c:dLbl>
              <c:idx val="4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BFDA-4C69-8E79-A083B7EFBA29}"/>
                </c:ext>
              </c:extLst>
            </c:dLbl>
            <c:dLbl>
              <c:idx val="4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BFDA-4C69-8E79-A083B7EFBA29}"/>
                </c:ext>
              </c:extLst>
            </c:dLbl>
            <c:dLbl>
              <c:idx val="4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BFDA-4C69-8E79-A083B7EFBA29}"/>
                </c:ext>
              </c:extLst>
            </c:dLbl>
            <c:dLbl>
              <c:idx val="4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BFDA-4C69-8E79-A083B7EFBA29}"/>
                </c:ext>
              </c:extLst>
            </c:dLbl>
            <c:dLbl>
              <c:idx val="4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BFDA-4C69-8E79-A083B7EFBA29}"/>
                </c:ext>
              </c:extLst>
            </c:dLbl>
            <c:dLbl>
              <c:idx val="4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BFDA-4C69-8E79-A083B7EFBA29}"/>
                </c:ext>
              </c:extLst>
            </c:dLbl>
            <c:dLbl>
              <c:idx val="4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9</c:f>
              <c:numCache>
                <c:formatCode>General</c:formatCode>
                <c:ptCount val="8"/>
                <c:pt idx="0">
                  <c:v>0.5355</c:v>
                </c:pt>
                <c:pt idx="1">
                  <c:v>0.4174</c:v>
                </c:pt>
                <c:pt idx="2">
                  <c:v>0.3991</c:v>
                </c:pt>
                <c:pt idx="3">
                  <c:v>0.3588</c:v>
                </c:pt>
                <c:pt idx="4">
                  <c:v>0.3351</c:v>
                </c:pt>
                <c:pt idx="5">
                  <c:v>0.2511</c:v>
                </c:pt>
                <c:pt idx="6">
                  <c:v>0.4148</c:v>
                </c:pt>
                <c:pt idx="7">
                  <c:v>0.4852</c:v>
                </c:pt>
              </c:numCache>
            </c:numRef>
          </c:xVal>
          <c:yVal>
            <c:numRef>
              <c:f>Sheet1!$B$2:$B$9</c:f>
              <c:numCache>
                <c:formatCode>General</c:formatCode>
                <c:ptCount val="8"/>
                <c:pt idx="0">
                  <c:v>817.8586956521739</c:v>
                </c:pt>
                <c:pt idx="1">
                  <c:v>1169.9072164948454</c:v>
                </c:pt>
                <c:pt idx="2">
                  <c:v>7702.77</c:v>
                </c:pt>
                <c:pt idx="3">
                  <c:v>6931.8</c:v>
                </c:pt>
                <c:pt idx="4">
                  <c:v>11429.494949494949</c:v>
                </c:pt>
                <c:pt idx="5">
                  <c:v>177.34375</c:v>
                </c:pt>
                <c:pt idx="6">
                  <c:v>2091.7979797979797</c:v>
                </c:pt>
                <c:pt idx="7">
                  <c:v>2261.183673469388</c:v>
                </c:pt>
              </c:numCache>
            </c:numRef>
          </c:yVal>
          <c:bubbleSize>
            <c:numRef>
              <c:f>Sheet1!$C$2:$C$9</c:f>
              <c:numCache>
                <c:formatCode>General</c:formatCode>
                <c:ptCount val="8"/>
                <c:pt idx="0">
                  <c:v>33125.899600000004</c:v>
                </c:pt>
                <c:pt idx="1">
                  <c:v>62668.0704</c:v>
                </c:pt>
                <c:pt idx="2">
                  <c:v>438730.5022</c:v>
                </c:pt>
                <c:pt idx="3">
                  <c:v>421297.28959999996</c:v>
                </c:pt>
                <c:pt idx="4">
                  <c:v>713125.1897</c:v>
                </c:pt>
                <c:pt idx="5">
                  <c:v>4028.3973999999994</c:v>
                </c:pt>
                <c:pt idx="6">
                  <c:v>114869.08230000001</c:v>
                </c:pt>
                <c:pt idx="7">
                  <c:v>108131.18439999998</c:v>
                </c:pt>
              </c:numCache>
            </c:numRef>
          </c:bubbleSize>
          <c:bubble3D val="0"/>
          <c:extLst>
            <c:ext xmlns:c15="http://schemas.microsoft.com/office/drawing/2012/chart" uri="{02D57815-91ED-43cb-92C2-25804820EDAC}">
              <c15:datalabelsRange>
                <c15:f>Sheet1!$E$2:$E$50</c15:f>
                <c15:dlblRangeCache>
                  <c:ptCount val="49"/>
                  <c:pt idx="0">
                    <c:v>Findus Merluzzo Altro Findus Fish Bar 245GR</c:v>
                  </c:pt>
                  <c:pt idx="1">
                    <c:v>Findus Merluzzo D Alaska Chips Findus Big Burger 227GR</c:v>
                  </c:pt>
                  <c:pt idx="2">
                    <c:v>Findus Merluzzo D Alaska Standard Findus Big Burger 227GR</c:v>
                  </c:pt>
                  <c:pt idx="3">
                    <c:v>Findus Merluzzo E Spinaci Filetto Findus Croccole 300GR</c:v>
                  </c:pt>
                  <c:pt idx="4">
                    <c:v>Findus Merluzzo Filetto Findus Croccole 300GR</c:v>
                  </c:pt>
                  <c:pt idx="5">
                    <c:v>Findus Merluzzo Filetto Findus Croccole 600GR</c:v>
                  </c:pt>
                  <c:pt idx="6">
                    <c:v>Findus Merluzzo Filetto Findus Fish &amp; Crock 250GR</c:v>
                  </c:pt>
                  <c:pt idx="7">
                    <c:v>Findus Merluzzo Filetto Findus Fish Bar 240GR</c:v>
                  </c:pt>
                  <c:pt idx="8">
                    <c:v>Findus Merluzzo Semi Filetto Findus Croccole 300GR</c:v>
                  </c:pt>
                  <c:pt idx="9">
                    <c:v>Findus Merluzzo Senza Glutine Filetto Findus Croccole 250GR</c:v>
                  </c:pt>
                  <c:pt idx="10">
                    <c:v>Findus Platessa Filetto Findus Platessa 250GR</c:v>
                  </c:pt>
                  <c:pt idx="11">
                    <c:v>Findus Salmone Altro Findus Fish Bar 220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3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F0809420-73AE-4262-A18D-B8FB863E7C8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F704B92D-5767-47C2-B3A9-2D18466EA92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8128AC4C-C811-4F12-809D-F75A9C940C3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F07EE634-E5C7-4AF5-8FA5-753B8F856F3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A310E79B-C666-461A-BCAA-BE5F284F32F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FD885853-7947-4EB6-A563-9222F3065FD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B957F028-AB69-4082-BDCE-C2E6BD95CA0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5-BFDA-4C69-8E79-A083B7EFBA29}"/>
                </c:ext>
              </c:extLst>
            </c:dLbl>
            <c:dLbl>
              <c:idx val="1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BFDA-4C69-8E79-A083B7EFBA29}"/>
                </c:ext>
              </c:extLst>
            </c:dLbl>
            <c:dLbl>
              <c:idx val="1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BFDA-4C69-8E79-A083B7EFBA29}"/>
                </c:ext>
              </c:extLst>
            </c:dLbl>
            <c:dLbl>
              <c:idx val="1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BFDA-4C69-8E79-A083B7EFBA29}"/>
                </c:ext>
              </c:extLst>
            </c:dLbl>
            <c:dLbl>
              <c:idx val="1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9-BFDA-4C69-8E79-A083B7EFBA29}"/>
                </c:ext>
              </c:extLst>
            </c:dLbl>
            <c:dLbl>
              <c:idx val="1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A-BFDA-4C69-8E79-A083B7EFBA29}"/>
                </c:ext>
              </c:extLst>
            </c:dLbl>
            <c:dLbl>
              <c:idx val="1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B-BFDA-4C69-8E79-A083B7EFBA29}"/>
                </c:ext>
              </c:extLst>
            </c:dLbl>
            <c:dLbl>
              <c:idx val="1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C-BFDA-4C69-8E79-A083B7EFBA29}"/>
                </c:ext>
              </c:extLst>
            </c:dLbl>
            <c:dLbl>
              <c:idx val="2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BFDA-4C69-8E79-A083B7EFBA29}"/>
                </c:ext>
              </c:extLst>
            </c:dLbl>
            <c:dLbl>
              <c:idx val="2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BFDA-4C69-8E79-A083B7EFBA29}"/>
                </c:ext>
              </c:extLst>
            </c:dLbl>
            <c:dLbl>
              <c:idx val="2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F-BFDA-4C69-8E79-A083B7EFBA29}"/>
                </c:ext>
              </c:extLst>
            </c:dLbl>
            <c:dLbl>
              <c:idx val="2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0-BFDA-4C69-8E79-A083B7EFBA29}"/>
                </c:ext>
              </c:extLst>
            </c:dLbl>
            <c:dLbl>
              <c:idx val="2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1-BFDA-4C69-8E79-A083B7EFBA29}"/>
                </c:ext>
              </c:extLst>
            </c:dLbl>
            <c:dLbl>
              <c:idx val="2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BFDA-4C69-8E79-A083B7EFBA29}"/>
                </c:ext>
              </c:extLst>
            </c:dLbl>
            <c:dLbl>
              <c:idx val="2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BFDA-4C69-8E79-A083B7EFBA29}"/>
                </c:ext>
              </c:extLst>
            </c:dLbl>
            <c:dLbl>
              <c:idx val="2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BFDA-4C69-8E79-A083B7EFBA29}"/>
                </c:ext>
              </c:extLst>
            </c:dLbl>
            <c:dLbl>
              <c:idx val="2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5-BFDA-4C69-8E79-A083B7EFBA29}"/>
                </c:ext>
              </c:extLst>
            </c:dLbl>
            <c:dLbl>
              <c:idx val="2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6-BFDA-4C69-8E79-A083B7EFBA29}"/>
                </c:ext>
              </c:extLst>
            </c:dLbl>
            <c:dLbl>
              <c:idx val="3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7-BFDA-4C69-8E79-A083B7EFBA29}"/>
                </c:ext>
              </c:extLst>
            </c:dLbl>
            <c:dLbl>
              <c:idx val="3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8-BFDA-4C69-8E79-A083B7EFBA29}"/>
                </c:ext>
              </c:extLst>
            </c:dLbl>
            <c:dLbl>
              <c:idx val="3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9-BFDA-4C69-8E79-A083B7EFBA29}"/>
                </c:ext>
              </c:extLst>
            </c:dLbl>
            <c:dLbl>
              <c:idx val="3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BFDA-4C69-8E79-A083B7EFBA29}"/>
                </c:ext>
              </c:extLst>
            </c:dLbl>
            <c:dLbl>
              <c:idx val="3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B-BFDA-4C69-8E79-A083B7EFBA29}"/>
                </c:ext>
              </c:extLst>
            </c:dLbl>
            <c:dLbl>
              <c:idx val="3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C-BFDA-4C69-8E79-A083B7EFBA29}"/>
                </c:ext>
              </c:extLst>
            </c:dLbl>
            <c:dLbl>
              <c:idx val="3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D-BFDA-4C69-8E79-A083B7EFBA29}"/>
                </c:ext>
              </c:extLst>
            </c:dLbl>
            <c:dLbl>
              <c:idx val="3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BFDA-4C69-8E79-A083B7EFBA29}"/>
                </c:ext>
              </c:extLst>
            </c:dLbl>
            <c:dLbl>
              <c:idx val="3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BFDA-4C69-8E79-A083B7EFBA29}"/>
                </c:ext>
              </c:extLst>
            </c:dLbl>
            <c:dLbl>
              <c:idx val="3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BFDA-4C69-8E79-A083B7EFBA29}"/>
                </c:ext>
              </c:extLst>
            </c:dLbl>
            <c:dLbl>
              <c:idx val="4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1-BFDA-4C69-8E79-A083B7EFBA29}"/>
                </c:ext>
              </c:extLst>
            </c:dLbl>
            <c:dLbl>
              <c:idx val="4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BFDA-4C69-8E79-A083B7EFBA29}"/>
                </c:ext>
              </c:extLst>
            </c:dLbl>
            <c:dLbl>
              <c:idx val="4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BFDA-4C69-8E79-A083B7EFBA29}"/>
                </c:ext>
              </c:extLst>
            </c:dLbl>
            <c:dLbl>
              <c:idx val="4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BFDA-4C69-8E79-A083B7EFBA29}"/>
                </c:ext>
              </c:extLst>
            </c:dLbl>
            <c:dLbl>
              <c:idx val="4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BFDA-4C69-8E79-A083B7EFBA29}"/>
                </c:ext>
              </c:extLst>
            </c:dLbl>
            <c:dLbl>
              <c:idx val="4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BFDA-4C69-8E79-A083B7EFBA29}"/>
                </c:ext>
              </c:extLst>
            </c:dLbl>
            <c:dLbl>
              <c:idx val="4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BFDA-4C69-8E79-A083B7EFBA29}"/>
                </c:ext>
              </c:extLst>
            </c:dLbl>
            <c:dLbl>
              <c:idx val="4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BFDA-4C69-8E79-A083B7EFBA29}"/>
                </c:ext>
              </c:extLst>
            </c:dLbl>
            <c:dLbl>
              <c:idx val="4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9</c:f>
              <c:numCache>
                <c:formatCode>General</c:formatCode>
                <c:ptCount val="8"/>
                <c:pt idx="0">
                  <c:v>0.3498</c:v>
                </c:pt>
                <c:pt idx="1">
                  <c:v>0.39</c:v>
                </c:pt>
                <c:pt idx="2">
                  <c:v>0.5202</c:v>
                </c:pt>
                <c:pt idx="3">
                  <c:v>0.385</c:v>
                </c:pt>
                <c:pt idx="4">
                  <c:v>0.2812</c:v>
                </c:pt>
                <c:pt idx="5">
                  <c:v>0.3975</c:v>
                </c:pt>
                <c:pt idx="6">
                  <c:v>0.3967</c:v>
                </c:pt>
                <c:pt idx="7">
                  <c:v>0.5083</c:v>
                </c:pt>
              </c:numCache>
            </c:numRef>
          </c:xVal>
          <c:yVal>
            <c:numRef>
              <c:f>Sheet1!$B$2:$B$9</c:f>
              <c:numCache>
                <c:formatCode>General</c:formatCode>
                <c:ptCount val="8"/>
                <c:pt idx="0">
                  <c:v>6595.729411764706</c:v>
                </c:pt>
                <c:pt idx="1">
                  <c:v>5199.807692307692</c:v>
                </c:pt>
                <c:pt idx="2">
                  <c:v>1752.774193548387</c:v>
                </c:pt>
                <c:pt idx="3">
                  <c:v>4358.739130434783</c:v>
                </c:pt>
                <c:pt idx="4">
                  <c:v>593.8813559322034</c:v>
                </c:pt>
                <c:pt idx="5">
                  <c:v>3563.9444444444443</c:v>
                </c:pt>
                <c:pt idx="6">
                  <c:v>3449.8529411764707</c:v>
                </c:pt>
                <c:pt idx="7">
                  <c:v>829.6315789473684</c:v>
                </c:pt>
              </c:numCache>
            </c:numRef>
          </c:yVal>
          <c:bubbleSize>
            <c:numRef>
              <c:f>Sheet1!$C$2:$C$9</c:f>
              <c:numCache>
                <c:formatCode>General</c:formatCode>
                <c:ptCount val="8"/>
                <c:pt idx="0">
                  <c:v>345514.6986</c:v>
                </c:pt>
                <c:pt idx="1">
                  <c:v>156333.39620000002</c:v>
                </c:pt>
                <c:pt idx="2">
                  <c:v>24710.5134</c:v>
                </c:pt>
                <c:pt idx="3">
                  <c:v>233765.80310000002</c:v>
                </c:pt>
                <c:pt idx="4">
                  <c:v>23873.965799999998</c:v>
                </c:pt>
                <c:pt idx="5">
                  <c:v>183192.46180000002</c:v>
                </c:pt>
                <c:pt idx="6">
                  <c:v>134155.1481</c:v>
                </c:pt>
                <c:pt idx="7">
                  <c:v>14691.8452</c:v>
                </c:pt>
              </c:numCache>
            </c:numRef>
          </c:bubbleSize>
          <c:bubble3D val="0"/>
          <c:extLst>
            <c:ext xmlns:c15="http://schemas.microsoft.com/office/drawing/2012/chart" uri="{02D57815-91ED-43cb-92C2-25804820EDAC}">
              <c15:datalabelsRange>
                <c15:f>Sheet1!$E$2:$E$50</c15:f>
                <c15:dlblRangeCache>
                  <c:ptCount val="49"/>
                  <c:pt idx="0">
                    <c:v>Findus Merluzzo Altro Findus Fish Bar 245GR</c:v>
                  </c:pt>
                  <c:pt idx="1">
                    <c:v>Findus Merluzzo D Alaska Chips Findus Big Burger 227GR</c:v>
                  </c:pt>
                  <c:pt idx="2">
                    <c:v>Findus Merluzzo D Alaska Standard Findus Big Burger 227GR</c:v>
                  </c:pt>
                  <c:pt idx="3">
                    <c:v>Findus Merluzzo E Spinaci Filetto Findus Croccole 300GR</c:v>
                  </c:pt>
                  <c:pt idx="4">
                    <c:v>Findus Merluzzo Filetto Findus Croccole 300GR</c:v>
                  </c:pt>
                  <c:pt idx="5">
                    <c:v>Findus Merluzzo Filetto Findus Croccole 600GR</c:v>
                  </c:pt>
                  <c:pt idx="6">
                    <c:v>Findus Merluzzo Filetto Findus Fish &amp; Crock 250GR</c:v>
                  </c:pt>
                  <c:pt idx="7">
                    <c:v>Findus Merluzzo Filetto Findus Fish Bar 240GR</c:v>
                  </c:pt>
                  <c:pt idx="8">
                    <c:v>Findus Merluzzo Semi Filetto Findus Croccole 300GR</c:v>
                  </c:pt>
                  <c:pt idx="9">
                    <c:v>Findus Merluzzo Senza Glutine Filetto Findus Croccole 250GR</c:v>
                  </c:pt>
                  <c:pt idx="10">
                    <c:v>Findus Platessa Filetto Findus Platessa 250GR</c:v>
                  </c:pt>
                  <c:pt idx="11">
                    <c:v>Findus Salmone Altro Findus Fish Bar 220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3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73968A2B-B0E7-495B-9C63-3B0C39A4776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9111F0ED-5C96-4518-8B61-369B5BE0241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08511DFA-80BD-4EE7-AD03-F13921541D9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7110A7E0-3621-491E-BC78-970CC4A5924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E84AA47A-9CA9-4CB8-8D4A-FBF65813FCE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94809352-D6A7-4938-B772-4DA40B9DD29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FDCBB0B2-36B9-4F8D-8E47-BB3C81B8B5E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5-BFDA-4C69-8E79-A083B7EFBA29}"/>
                </c:ext>
              </c:extLst>
            </c:dLbl>
            <c:dLbl>
              <c:idx val="1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BFDA-4C69-8E79-A083B7EFBA29}"/>
                </c:ext>
              </c:extLst>
            </c:dLbl>
            <c:dLbl>
              <c:idx val="1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BFDA-4C69-8E79-A083B7EFBA29}"/>
                </c:ext>
              </c:extLst>
            </c:dLbl>
            <c:dLbl>
              <c:idx val="1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BFDA-4C69-8E79-A083B7EFBA29}"/>
                </c:ext>
              </c:extLst>
            </c:dLbl>
            <c:dLbl>
              <c:idx val="1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9-BFDA-4C69-8E79-A083B7EFBA29}"/>
                </c:ext>
              </c:extLst>
            </c:dLbl>
            <c:dLbl>
              <c:idx val="1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A-BFDA-4C69-8E79-A083B7EFBA29}"/>
                </c:ext>
              </c:extLst>
            </c:dLbl>
            <c:dLbl>
              <c:idx val="1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B-BFDA-4C69-8E79-A083B7EFBA29}"/>
                </c:ext>
              </c:extLst>
            </c:dLbl>
            <c:dLbl>
              <c:idx val="1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C-BFDA-4C69-8E79-A083B7EFBA29}"/>
                </c:ext>
              </c:extLst>
            </c:dLbl>
            <c:dLbl>
              <c:idx val="2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BFDA-4C69-8E79-A083B7EFBA29}"/>
                </c:ext>
              </c:extLst>
            </c:dLbl>
            <c:dLbl>
              <c:idx val="2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BFDA-4C69-8E79-A083B7EFBA29}"/>
                </c:ext>
              </c:extLst>
            </c:dLbl>
            <c:dLbl>
              <c:idx val="2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F-BFDA-4C69-8E79-A083B7EFBA29}"/>
                </c:ext>
              </c:extLst>
            </c:dLbl>
            <c:dLbl>
              <c:idx val="2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0-BFDA-4C69-8E79-A083B7EFBA29}"/>
                </c:ext>
              </c:extLst>
            </c:dLbl>
            <c:dLbl>
              <c:idx val="2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1-BFDA-4C69-8E79-A083B7EFBA29}"/>
                </c:ext>
              </c:extLst>
            </c:dLbl>
            <c:dLbl>
              <c:idx val="2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BFDA-4C69-8E79-A083B7EFBA29}"/>
                </c:ext>
              </c:extLst>
            </c:dLbl>
            <c:dLbl>
              <c:idx val="2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BFDA-4C69-8E79-A083B7EFBA29}"/>
                </c:ext>
              </c:extLst>
            </c:dLbl>
            <c:dLbl>
              <c:idx val="2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BFDA-4C69-8E79-A083B7EFBA29}"/>
                </c:ext>
              </c:extLst>
            </c:dLbl>
            <c:dLbl>
              <c:idx val="2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5-BFDA-4C69-8E79-A083B7EFBA29}"/>
                </c:ext>
              </c:extLst>
            </c:dLbl>
            <c:dLbl>
              <c:idx val="2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6-BFDA-4C69-8E79-A083B7EFBA29}"/>
                </c:ext>
              </c:extLst>
            </c:dLbl>
            <c:dLbl>
              <c:idx val="3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7-BFDA-4C69-8E79-A083B7EFBA29}"/>
                </c:ext>
              </c:extLst>
            </c:dLbl>
            <c:dLbl>
              <c:idx val="3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8-BFDA-4C69-8E79-A083B7EFBA29}"/>
                </c:ext>
              </c:extLst>
            </c:dLbl>
            <c:dLbl>
              <c:idx val="3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9-BFDA-4C69-8E79-A083B7EFBA29}"/>
                </c:ext>
              </c:extLst>
            </c:dLbl>
            <c:dLbl>
              <c:idx val="3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BFDA-4C69-8E79-A083B7EFBA29}"/>
                </c:ext>
              </c:extLst>
            </c:dLbl>
            <c:dLbl>
              <c:idx val="3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B-BFDA-4C69-8E79-A083B7EFBA29}"/>
                </c:ext>
              </c:extLst>
            </c:dLbl>
            <c:dLbl>
              <c:idx val="3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C-BFDA-4C69-8E79-A083B7EFBA29}"/>
                </c:ext>
              </c:extLst>
            </c:dLbl>
            <c:dLbl>
              <c:idx val="3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D-BFDA-4C69-8E79-A083B7EFBA29}"/>
                </c:ext>
              </c:extLst>
            </c:dLbl>
            <c:dLbl>
              <c:idx val="3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BFDA-4C69-8E79-A083B7EFBA29}"/>
                </c:ext>
              </c:extLst>
            </c:dLbl>
            <c:dLbl>
              <c:idx val="3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BFDA-4C69-8E79-A083B7EFBA29}"/>
                </c:ext>
              </c:extLst>
            </c:dLbl>
            <c:dLbl>
              <c:idx val="3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BFDA-4C69-8E79-A083B7EFBA29}"/>
                </c:ext>
              </c:extLst>
            </c:dLbl>
            <c:dLbl>
              <c:idx val="4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1-BFDA-4C69-8E79-A083B7EFBA29}"/>
                </c:ext>
              </c:extLst>
            </c:dLbl>
            <c:dLbl>
              <c:idx val="4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BFDA-4C69-8E79-A083B7EFBA29}"/>
                </c:ext>
              </c:extLst>
            </c:dLbl>
            <c:dLbl>
              <c:idx val="4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BFDA-4C69-8E79-A083B7EFBA29}"/>
                </c:ext>
              </c:extLst>
            </c:dLbl>
            <c:dLbl>
              <c:idx val="4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BFDA-4C69-8E79-A083B7EFBA29}"/>
                </c:ext>
              </c:extLst>
            </c:dLbl>
            <c:dLbl>
              <c:idx val="4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BFDA-4C69-8E79-A083B7EFBA29}"/>
                </c:ext>
              </c:extLst>
            </c:dLbl>
            <c:dLbl>
              <c:idx val="4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BFDA-4C69-8E79-A083B7EFBA29}"/>
                </c:ext>
              </c:extLst>
            </c:dLbl>
            <c:dLbl>
              <c:idx val="4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BFDA-4C69-8E79-A083B7EFBA29}"/>
                </c:ext>
              </c:extLst>
            </c:dLbl>
            <c:dLbl>
              <c:idx val="4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BFDA-4C69-8E79-A083B7EFBA29}"/>
                </c:ext>
              </c:extLst>
            </c:dLbl>
            <c:dLbl>
              <c:idx val="4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8</c:f>
              <c:numCache>
                <c:formatCode>General</c:formatCode>
                <c:ptCount val="7"/>
                <c:pt idx="0">
                  <c:v>0.5693</c:v>
                </c:pt>
                <c:pt idx="1">
                  <c:v>0.4811</c:v>
                </c:pt>
                <c:pt idx="2">
                  <c:v>0.4052</c:v>
                </c:pt>
                <c:pt idx="3">
                  <c:v>0.3969</c:v>
                </c:pt>
                <c:pt idx="4">
                  <c:v>0.3743</c:v>
                </c:pt>
                <c:pt idx="5">
                  <c:v>0.462</c:v>
                </c:pt>
                <c:pt idx="6">
                  <c:v>0.5255</c:v>
                </c:pt>
              </c:numCache>
            </c:numRef>
          </c:xVal>
          <c:yVal>
            <c:numRef>
              <c:f>Sheet1!$B$2:$B$8</c:f>
              <c:numCache>
                <c:formatCode>General</c:formatCode>
                <c:ptCount val="7"/>
                <c:pt idx="0">
                  <c:v>985.5151515151515</c:v>
                </c:pt>
                <c:pt idx="1">
                  <c:v>1845.32</c:v>
                </c:pt>
                <c:pt idx="2">
                  <c:v>8872.061224489797</c:v>
                </c:pt>
                <c:pt idx="3">
                  <c:v>7117.838235294118</c:v>
                </c:pt>
                <c:pt idx="4">
                  <c:v>8935.823529411764</c:v>
                </c:pt>
                <c:pt idx="5">
                  <c:v>2128.3658536585367</c:v>
                </c:pt>
                <c:pt idx="6">
                  <c:v>1563.2619047619048</c:v>
                </c:pt>
              </c:numCache>
            </c:numRef>
          </c:yVal>
          <c:bubbleSize>
            <c:numRef>
              <c:f>Sheet1!$C$2:$C$8</c:f>
              <c:numCache>
                <c:formatCode>General</c:formatCode>
                <c:ptCount val="7"/>
                <c:pt idx="0">
                  <c:v>13276.983199999999</c:v>
                </c:pt>
                <c:pt idx="1">
                  <c:v>45377.7415</c:v>
                </c:pt>
                <c:pt idx="2">
                  <c:v>490201.80620000005</c:v>
                </c:pt>
                <c:pt idx="3">
                  <c:v>276688.60000000003</c:v>
                </c:pt>
                <c:pt idx="4">
                  <c:v>360405.01259999996</c:v>
                </c:pt>
                <c:pt idx="5">
                  <c:v>88865.2362</c:v>
                </c:pt>
                <c:pt idx="6">
                  <c:v>29532.624399999997</c:v>
                </c:pt>
              </c:numCache>
            </c:numRef>
          </c:bubbleSize>
          <c:bubble3D val="0"/>
          <c:extLst>
            <c:ext xmlns:c15="http://schemas.microsoft.com/office/drawing/2012/chart" uri="{02D57815-91ED-43cb-92C2-25804820EDAC}">
              <c15:datalabelsRange>
                <c15:f>Sheet1!$E$2:$E$50</c15:f>
                <c15:dlblRangeCache>
                  <c:ptCount val="49"/>
                  <c:pt idx="0">
                    <c:v>Findus Merluzzo Altro Findus Fish Bar 245GR</c:v>
                  </c:pt>
                  <c:pt idx="1">
                    <c:v>Findus Merluzzo D Alaska Chips Findus Big Burger 227GR</c:v>
                  </c:pt>
                  <c:pt idx="2">
                    <c:v>Findus Merluzzo D Alaska Standard Findus Big Burger 227GR</c:v>
                  </c:pt>
                  <c:pt idx="3">
                    <c:v>Findus Merluzzo E Spinaci Filetto Findus Croccole 300GR</c:v>
                  </c:pt>
                  <c:pt idx="4">
                    <c:v>Findus Merluzzo Filetto Findus Croccole 300GR</c:v>
                  </c:pt>
                  <c:pt idx="5">
                    <c:v>Findus Merluzzo Filetto Findus Croccole 600GR</c:v>
                  </c:pt>
                  <c:pt idx="6">
                    <c:v>Findus Merluzzo Filetto Findus Fish &amp; Crock 250GR</c:v>
                  </c:pt>
                  <c:pt idx="7">
                    <c:v>Findus Merluzzo Filetto Findus Fish Bar 240GR</c:v>
                  </c:pt>
                  <c:pt idx="8">
                    <c:v>Findus Merluzzo Semi Filetto Findus Croccole 300GR</c:v>
                  </c:pt>
                  <c:pt idx="9">
                    <c:v>Findus Merluzzo Senza Glutine Filetto Findus Croccole 250GR</c:v>
                  </c:pt>
                  <c:pt idx="10">
                    <c:v>Findus Platessa Filetto Findus Platessa 250GR</c:v>
                  </c:pt>
                  <c:pt idx="11">
                    <c:v>Findus Salmone Altro Findus Fish Bar 220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3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1C7F5A7D-701D-4B61-9611-96A074E874A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5AD9188C-F6C8-400C-B14D-B8DCA669B66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F9FDEE7B-1F5C-4192-9E54-5E4EADA69B4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CF4200FA-D19F-4A65-89B9-6820753BFC7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22AE2790-0E04-4343-81E0-0C9FEBC5C34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8E60DE75-90D6-46E7-BEF9-1CBF5A3AC57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9B49F2F0-B8BE-4437-8214-6C36948EA03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5-BFDA-4C69-8E79-A083B7EFBA29}"/>
                </c:ext>
              </c:extLst>
            </c:dLbl>
            <c:dLbl>
              <c:idx val="1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BFDA-4C69-8E79-A083B7EFBA29}"/>
                </c:ext>
              </c:extLst>
            </c:dLbl>
            <c:dLbl>
              <c:idx val="1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BFDA-4C69-8E79-A083B7EFBA29}"/>
                </c:ext>
              </c:extLst>
            </c:dLbl>
            <c:dLbl>
              <c:idx val="1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BFDA-4C69-8E79-A083B7EFBA29}"/>
                </c:ext>
              </c:extLst>
            </c:dLbl>
            <c:dLbl>
              <c:idx val="1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9-BFDA-4C69-8E79-A083B7EFBA29}"/>
                </c:ext>
              </c:extLst>
            </c:dLbl>
            <c:dLbl>
              <c:idx val="1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A-BFDA-4C69-8E79-A083B7EFBA29}"/>
                </c:ext>
              </c:extLst>
            </c:dLbl>
            <c:dLbl>
              <c:idx val="1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B-BFDA-4C69-8E79-A083B7EFBA29}"/>
                </c:ext>
              </c:extLst>
            </c:dLbl>
            <c:dLbl>
              <c:idx val="1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C-BFDA-4C69-8E79-A083B7EFBA29}"/>
                </c:ext>
              </c:extLst>
            </c:dLbl>
            <c:dLbl>
              <c:idx val="2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BFDA-4C69-8E79-A083B7EFBA29}"/>
                </c:ext>
              </c:extLst>
            </c:dLbl>
            <c:dLbl>
              <c:idx val="2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BFDA-4C69-8E79-A083B7EFBA29}"/>
                </c:ext>
              </c:extLst>
            </c:dLbl>
            <c:dLbl>
              <c:idx val="2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F-BFDA-4C69-8E79-A083B7EFBA29}"/>
                </c:ext>
              </c:extLst>
            </c:dLbl>
            <c:dLbl>
              <c:idx val="2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0-BFDA-4C69-8E79-A083B7EFBA29}"/>
                </c:ext>
              </c:extLst>
            </c:dLbl>
            <c:dLbl>
              <c:idx val="2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1-BFDA-4C69-8E79-A083B7EFBA29}"/>
                </c:ext>
              </c:extLst>
            </c:dLbl>
            <c:dLbl>
              <c:idx val="2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BFDA-4C69-8E79-A083B7EFBA29}"/>
                </c:ext>
              </c:extLst>
            </c:dLbl>
            <c:dLbl>
              <c:idx val="2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BFDA-4C69-8E79-A083B7EFBA29}"/>
                </c:ext>
              </c:extLst>
            </c:dLbl>
            <c:dLbl>
              <c:idx val="2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BFDA-4C69-8E79-A083B7EFBA29}"/>
                </c:ext>
              </c:extLst>
            </c:dLbl>
            <c:dLbl>
              <c:idx val="2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5-BFDA-4C69-8E79-A083B7EFBA29}"/>
                </c:ext>
              </c:extLst>
            </c:dLbl>
            <c:dLbl>
              <c:idx val="2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6-BFDA-4C69-8E79-A083B7EFBA29}"/>
                </c:ext>
              </c:extLst>
            </c:dLbl>
            <c:dLbl>
              <c:idx val="3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7-BFDA-4C69-8E79-A083B7EFBA29}"/>
                </c:ext>
              </c:extLst>
            </c:dLbl>
            <c:dLbl>
              <c:idx val="3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8-BFDA-4C69-8E79-A083B7EFBA29}"/>
                </c:ext>
              </c:extLst>
            </c:dLbl>
            <c:dLbl>
              <c:idx val="3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9-BFDA-4C69-8E79-A083B7EFBA29}"/>
                </c:ext>
              </c:extLst>
            </c:dLbl>
            <c:dLbl>
              <c:idx val="3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BFDA-4C69-8E79-A083B7EFBA29}"/>
                </c:ext>
              </c:extLst>
            </c:dLbl>
            <c:dLbl>
              <c:idx val="3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B-BFDA-4C69-8E79-A083B7EFBA29}"/>
                </c:ext>
              </c:extLst>
            </c:dLbl>
            <c:dLbl>
              <c:idx val="3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C-BFDA-4C69-8E79-A083B7EFBA29}"/>
                </c:ext>
              </c:extLst>
            </c:dLbl>
            <c:dLbl>
              <c:idx val="3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D-BFDA-4C69-8E79-A083B7EFBA29}"/>
                </c:ext>
              </c:extLst>
            </c:dLbl>
            <c:dLbl>
              <c:idx val="3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BFDA-4C69-8E79-A083B7EFBA29}"/>
                </c:ext>
              </c:extLst>
            </c:dLbl>
            <c:dLbl>
              <c:idx val="3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BFDA-4C69-8E79-A083B7EFBA29}"/>
                </c:ext>
              </c:extLst>
            </c:dLbl>
            <c:dLbl>
              <c:idx val="3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BFDA-4C69-8E79-A083B7EFBA29}"/>
                </c:ext>
              </c:extLst>
            </c:dLbl>
            <c:dLbl>
              <c:idx val="4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1-BFDA-4C69-8E79-A083B7EFBA29}"/>
                </c:ext>
              </c:extLst>
            </c:dLbl>
            <c:dLbl>
              <c:idx val="4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BFDA-4C69-8E79-A083B7EFBA29}"/>
                </c:ext>
              </c:extLst>
            </c:dLbl>
            <c:dLbl>
              <c:idx val="4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BFDA-4C69-8E79-A083B7EFBA29}"/>
                </c:ext>
              </c:extLst>
            </c:dLbl>
            <c:dLbl>
              <c:idx val="4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BFDA-4C69-8E79-A083B7EFBA29}"/>
                </c:ext>
              </c:extLst>
            </c:dLbl>
            <c:dLbl>
              <c:idx val="4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BFDA-4C69-8E79-A083B7EFBA29}"/>
                </c:ext>
              </c:extLst>
            </c:dLbl>
            <c:dLbl>
              <c:idx val="4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BFDA-4C69-8E79-A083B7EFBA29}"/>
                </c:ext>
              </c:extLst>
            </c:dLbl>
            <c:dLbl>
              <c:idx val="4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BFDA-4C69-8E79-A083B7EFBA29}"/>
                </c:ext>
              </c:extLst>
            </c:dLbl>
            <c:dLbl>
              <c:idx val="4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BFDA-4C69-8E79-A083B7EFBA29}"/>
                </c:ext>
              </c:extLst>
            </c:dLbl>
            <c:dLbl>
              <c:idx val="4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4</c:f>
              <c:numCache>
                <c:formatCode>General</c:formatCode>
                <c:ptCount val="3"/>
                <c:pt idx="0">
                  <c:v>0.4269</c:v>
                </c:pt>
                <c:pt idx="1">
                  <c:v>0.4034</c:v>
                </c:pt>
                <c:pt idx="2">
                  <c:v>0.3897</c:v>
                </c:pt>
              </c:numCache>
            </c:numRef>
          </c:xVal>
          <c:yVal>
            <c:numRef>
              <c:f>Sheet1!$B$2:$B$4</c:f>
              <c:numCache>
                <c:formatCode>General</c:formatCode>
                <c:ptCount val="3"/>
                <c:pt idx="0">
                  <c:v>9290.78811369509</c:v>
                </c:pt>
                <c:pt idx="1">
                  <c:v>7421.524105754277</c:v>
                </c:pt>
                <c:pt idx="2">
                  <c:v>5613.860667634253</c:v>
                </c:pt>
              </c:numCache>
            </c:numRef>
          </c:yVal>
          <c:bubbleSize>
            <c:numRef>
              <c:f>Sheet1!$C$2:$C$4</c:f>
              <c:numCache>
                <c:formatCode>General</c:formatCode>
                <c:ptCount val="3"/>
                <c:pt idx="0">
                  <c:v>390625.92009999993</c:v>
                </c:pt>
                <c:pt idx="1">
                  <c:v>269870.29780000006</c:v>
                </c:pt>
                <c:pt idx="2">
                  <c:v>223758.21680000002</c:v>
                </c:pt>
              </c:numCache>
            </c:numRef>
          </c:bubbleSize>
          <c:bubble3D val="0"/>
          <c:extLst>
            <c:ext xmlns:c15="http://schemas.microsoft.com/office/drawing/2012/chart" uri="{02D57815-91ED-43cb-92C2-25804820EDAC}">
              <c15:datalabelsRange>
                <c15:f>Sheet1!$E$2:$E$50</c15:f>
                <c15:dlblRangeCache>
                  <c:ptCount val="49"/>
                  <c:pt idx="0">
                    <c:v>Findus Merluzzo Altro Findus Fish Bar 245GR</c:v>
                  </c:pt>
                  <c:pt idx="1">
                    <c:v>Findus Merluzzo D Alaska Chips Findus Big Burger 227GR</c:v>
                  </c:pt>
                  <c:pt idx="2">
                    <c:v>Findus Merluzzo D Alaska Standard Findus Big Burger 227GR</c:v>
                  </c:pt>
                  <c:pt idx="3">
                    <c:v>Findus Merluzzo E Spinaci Filetto Findus Croccole 300GR</c:v>
                  </c:pt>
                  <c:pt idx="4">
                    <c:v>Findus Merluzzo Filetto Findus Croccole 300GR</c:v>
                  </c:pt>
                  <c:pt idx="5">
                    <c:v>Findus Merluzzo Filetto Findus Croccole 600GR</c:v>
                  </c:pt>
                  <c:pt idx="6">
                    <c:v>Findus Merluzzo Filetto Findus Fish &amp; Crock 250GR</c:v>
                  </c:pt>
                  <c:pt idx="7">
                    <c:v>Findus Merluzzo Filetto Findus Fish Bar 240GR</c:v>
                  </c:pt>
                  <c:pt idx="8">
                    <c:v>Findus Merluzzo Semi Filetto Findus Croccole 300GR</c:v>
                  </c:pt>
                  <c:pt idx="9">
                    <c:v>Findus Merluzzo Senza Glutine Filetto Findus Croccole 250GR</c:v>
                  </c:pt>
                  <c:pt idx="10">
                    <c:v>Findus Platessa Filetto Findus Platessa 250GR</c:v>
                  </c:pt>
                  <c:pt idx="11">
                    <c:v>Findus Salmone Altro Findus Fish Bar 220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3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DBD682F1-ED4D-4331-8629-4E3F2B25D52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0C6F202B-7A92-49A2-9F5D-8872345BF37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32DF4DFD-FC3F-4B1B-9901-E39B2113514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6FC9A1D7-4CAC-4CD9-93B0-0D41A06CFB3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CAD8888C-3430-4A78-B977-58D8E97B944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CC600345-8449-45AC-AE57-CC4F1712893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61231D2F-D38D-484C-BD0C-C7BEB4E0E7C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5-BFDA-4C69-8E79-A083B7EFBA29}"/>
                </c:ext>
              </c:extLst>
            </c:dLbl>
            <c:dLbl>
              <c:idx val="1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BFDA-4C69-8E79-A083B7EFBA29}"/>
                </c:ext>
              </c:extLst>
            </c:dLbl>
            <c:dLbl>
              <c:idx val="1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BFDA-4C69-8E79-A083B7EFBA29}"/>
                </c:ext>
              </c:extLst>
            </c:dLbl>
            <c:dLbl>
              <c:idx val="1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BFDA-4C69-8E79-A083B7EFBA29}"/>
                </c:ext>
              </c:extLst>
            </c:dLbl>
            <c:dLbl>
              <c:idx val="1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9-BFDA-4C69-8E79-A083B7EFBA29}"/>
                </c:ext>
              </c:extLst>
            </c:dLbl>
            <c:dLbl>
              <c:idx val="1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A-BFDA-4C69-8E79-A083B7EFBA29}"/>
                </c:ext>
              </c:extLst>
            </c:dLbl>
            <c:dLbl>
              <c:idx val="1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B-BFDA-4C69-8E79-A083B7EFBA29}"/>
                </c:ext>
              </c:extLst>
            </c:dLbl>
            <c:dLbl>
              <c:idx val="1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C-BFDA-4C69-8E79-A083B7EFBA29}"/>
                </c:ext>
              </c:extLst>
            </c:dLbl>
            <c:dLbl>
              <c:idx val="2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BFDA-4C69-8E79-A083B7EFBA29}"/>
                </c:ext>
              </c:extLst>
            </c:dLbl>
            <c:dLbl>
              <c:idx val="2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BFDA-4C69-8E79-A083B7EFBA29}"/>
                </c:ext>
              </c:extLst>
            </c:dLbl>
            <c:dLbl>
              <c:idx val="2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F-BFDA-4C69-8E79-A083B7EFBA29}"/>
                </c:ext>
              </c:extLst>
            </c:dLbl>
            <c:dLbl>
              <c:idx val="2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0-BFDA-4C69-8E79-A083B7EFBA29}"/>
                </c:ext>
              </c:extLst>
            </c:dLbl>
            <c:dLbl>
              <c:idx val="2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1-BFDA-4C69-8E79-A083B7EFBA29}"/>
                </c:ext>
              </c:extLst>
            </c:dLbl>
            <c:dLbl>
              <c:idx val="2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BFDA-4C69-8E79-A083B7EFBA29}"/>
                </c:ext>
              </c:extLst>
            </c:dLbl>
            <c:dLbl>
              <c:idx val="2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BFDA-4C69-8E79-A083B7EFBA29}"/>
                </c:ext>
              </c:extLst>
            </c:dLbl>
            <c:dLbl>
              <c:idx val="2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BFDA-4C69-8E79-A083B7EFBA29}"/>
                </c:ext>
              </c:extLst>
            </c:dLbl>
            <c:dLbl>
              <c:idx val="2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5-BFDA-4C69-8E79-A083B7EFBA29}"/>
                </c:ext>
              </c:extLst>
            </c:dLbl>
            <c:dLbl>
              <c:idx val="2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6-BFDA-4C69-8E79-A083B7EFBA29}"/>
                </c:ext>
              </c:extLst>
            </c:dLbl>
            <c:dLbl>
              <c:idx val="3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7-BFDA-4C69-8E79-A083B7EFBA29}"/>
                </c:ext>
              </c:extLst>
            </c:dLbl>
            <c:dLbl>
              <c:idx val="3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8-BFDA-4C69-8E79-A083B7EFBA29}"/>
                </c:ext>
              </c:extLst>
            </c:dLbl>
            <c:dLbl>
              <c:idx val="3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9-BFDA-4C69-8E79-A083B7EFBA29}"/>
                </c:ext>
              </c:extLst>
            </c:dLbl>
            <c:dLbl>
              <c:idx val="3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BFDA-4C69-8E79-A083B7EFBA29}"/>
                </c:ext>
              </c:extLst>
            </c:dLbl>
            <c:dLbl>
              <c:idx val="3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B-BFDA-4C69-8E79-A083B7EFBA29}"/>
                </c:ext>
              </c:extLst>
            </c:dLbl>
            <c:dLbl>
              <c:idx val="3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C-BFDA-4C69-8E79-A083B7EFBA29}"/>
                </c:ext>
              </c:extLst>
            </c:dLbl>
            <c:dLbl>
              <c:idx val="3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D-BFDA-4C69-8E79-A083B7EFBA29}"/>
                </c:ext>
              </c:extLst>
            </c:dLbl>
            <c:dLbl>
              <c:idx val="3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BFDA-4C69-8E79-A083B7EFBA29}"/>
                </c:ext>
              </c:extLst>
            </c:dLbl>
            <c:dLbl>
              <c:idx val="3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BFDA-4C69-8E79-A083B7EFBA29}"/>
                </c:ext>
              </c:extLst>
            </c:dLbl>
            <c:dLbl>
              <c:idx val="3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BFDA-4C69-8E79-A083B7EFBA29}"/>
                </c:ext>
              </c:extLst>
            </c:dLbl>
            <c:dLbl>
              <c:idx val="4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1-BFDA-4C69-8E79-A083B7EFBA29}"/>
                </c:ext>
              </c:extLst>
            </c:dLbl>
            <c:dLbl>
              <c:idx val="4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BFDA-4C69-8E79-A083B7EFBA29}"/>
                </c:ext>
              </c:extLst>
            </c:dLbl>
            <c:dLbl>
              <c:idx val="4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BFDA-4C69-8E79-A083B7EFBA29}"/>
                </c:ext>
              </c:extLst>
            </c:dLbl>
            <c:dLbl>
              <c:idx val="4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BFDA-4C69-8E79-A083B7EFBA29}"/>
                </c:ext>
              </c:extLst>
            </c:dLbl>
            <c:dLbl>
              <c:idx val="4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BFDA-4C69-8E79-A083B7EFBA29}"/>
                </c:ext>
              </c:extLst>
            </c:dLbl>
            <c:dLbl>
              <c:idx val="4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BFDA-4C69-8E79-A083B7EFBA29}"/>
                </c:ext>
              </c:extLst>
            </c:dLbl>
            <c:dLbl>
              <c:idx val="4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BFDA-4C69-8E79-A083B7EFBA29}"/>
                </c:ext>
              </c:extLst>
            </c:dLbl>
            <c:dLbl>
              <c:idx val="4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BFDA-4C69-8E79-A083B7EFBA29}"/>
                </c:ext>
              </c:extLst>
            </c:dLbl>
            <c:dLbl>
              <c:idx val="4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18</c:f>
              <c:numCache>
                <c:formatCode>General</c:formatCode>
                <c:ptCount val="17"/>
                <c:pt idx="0">
                  <c:v>0.3528</c:v>
                </c:pt>
                <c:pt idx="1">
                  <c:v>0.3064</c:v>
                </c:pt>
                <c:pt idx="2">
                  <c:v>0.3456</c:v>
                </c:pt>
                <c:pt idx="3">
                  <c:v>0.3426</c:v>
                </c:pt>
                <c:pt idx="4">
                  <c:v>0.3496</c:v>
                </c:pt>
                <c:pt idx="5">
                  <c:v>0.3794</c:v>
                </c:pt>
                <c:pt idx="6">
                  <c:v>0.5608</c:v>
                </c:pt>
                <c:pt idx="7">
                  <c:v>0.4813</c:v>
                </c:pt>
                <c:pt idx="8">
                  <c:v>0.3136</c:v>
                </c:pt>
                <c:pt idx="9">
                  <c:v>0.3567</c:v>
                </c:pt>
                <c:pt idx="10">
                  <c:v>0.3442</c:v>
                </c:pt>
                <c:pt idx="11">
                  <c:v>0.2502</c:v>
                </c:pt>
                <c:pt idx="12">
                  <c:v>0.3895</c:v>
                </c:pt>
                <c:pt idx="13">
                  <c:v>0.5133</c:v>
                </c:pt>
                <c:pt idx="14">
                  <c:v>0.4359</c:v>
                </c:pt>
                <c:pt idx="15">
                  <c:v>0.5245</c:v>
                </c:pt>
                <c:pt idx="16">
                  <c:v>0.4213</c:v>
                </c:pt>
              </c:numCache>
            </c:numRef>
          </c:xVal>
          <c:yVal>
            <c:numRef>
              <c:f>Sheet1!$B$2:$B$18</c:f>
              <c:numCache>
                <c:formatCode>General</c:formatCode>
                <c:ptCount val="17"/>
                <c:pt idx="0">
                  <c:v>36210.3825136612</c:v>
                </c:pt>
                <c:pt idx="1">
                  <c:v>912.4431818181818</c:v>
                </c:pt>
                <c:pt idx="2">
                  <c:v>35111.05371900827</c:v>
                </c:pt>
                <c:pt idx="3">
                  <c:v>8691.462799495586</c:v>
                </c:pt>
                <c:pt idx="4">
                  <c:v>6379.6974063400585</c:v>
                </c:pt>
                <c:pt idx="5">
                  <c:v>956.9080234833659</c:v>
                </c:pt>
                <c:pt idx="6">
                  <c:v>1782.2718808193667</c:v>
                </c:pt>
                <c:pt idx="7">
                  <c:v>1204.4591029023748</c:v>
                </c:pt>
                <c:pt idx="8">
                  <c:v>3167.51677852349</c:v>
                </c:pt>
                <c:pt idx="9">
                  <c:v>11865.90742996346</c:v>
                </c:pt>
                <c:pt idx="10">
                  <c:v>25830.86903304774</c:v>
                </c:pt>
                <c:pt idx="11">
                  <c:v>4761.811320754717</c:v>
                </c:pt>
                <c:pt idx="12">
                  <c:v>7665.387596899224</c:v>
                </c:pt>
                <c:pt idx="13">
                  <c:v>2258.3985765124553</c:v>
                </c:pt>
                <c:pt idx="14">
                  <c:v>1840.8</c:v>
                </c:pt>
                <c:pt idx="15">
                  <c:v>502.5925925925926</c:v>
                </c:pt>
                <c:pt idx="16">
                  <c:v>2165.547263681592</c:v>
                </c:pt>
              </c:numCache>
            </c:numRef>
          </c:yVal>
          <c:bubbleSize>
            <c:numRef>
              <c:f>Sheet1!$C$2:$C$18</c:f>
              <c:numCache>
                <c:formatCode>General</c:formatCode>
                <c:ptCount val="17"/>
                <c:pt idx="0">
                  <c:v>2032641.614</c:v>
                </c:pt>
                <c:pt idx="1">
                  <c:v>31672.401400000002</c:v>
                </c:pt>
                <c:pt idx="2">
                  <c:v>2108282.3343999996</c:v>
                </c:pt>
                <c:pt idx="3">
                  <c:v>429447.70180000004</c:v>
                </c:pt>
                <c:pt idx="4">
                  <c:v>272937.85020000004</c:v>
                </c:pt>
                <c:pt idx="5">
                  <c:v>28764.763499999994</c:v>
                </c:pt>
                <c:pt idx="6">
                  <c:v>39845.55759999999</c:v>
                </c:pt>
                <c:pt idx="7">
                  <c:v>22443.9804</c:v>
                </c:pt>
                <c:pt idx="8">
                  <c:v>92124.07410000001</c:v>
                </c:pt>
                <c:pt idx="9">
                  <c:v>594060.8762999999</c:v>
                </c:pt>
                <c:pt idx="10">
                  <c:v>1311822.8504</c:v>
                </c:pt>
                <c:pt idx="11">
                  <c:v>89686.7917</c:v>
                </c:pt>
                <c:pt idx="12">
                  <c:v>343315.12559999997</c:v>
                </c:pt>
                <c:pt idx="13">
                  <c:v>29273.478900000002</c:v>
                </c:pt>
                <c:pt idx="14">
                  <c:v>7381.949</c:v>
                </c:pt>
                <c:pt idx="15">
                  <c:v>7339.8537</c:v>
                </c:pt>
                <c:pt idx="16">
                  <c:v>47748.37920000001</c:v>
                </c:pt>
              </c:numCache>
            </c:numRef>
          </c:bubbleSize>
          <c:bubble3D val="0"/>
          <c:extLst>
            <c:ext xmlns:c15="http://schemas.microsoft.com/office/drawing/2012/chart" uri="{02D57815-91ED-43cb-92C2-25804820EDAC}">
              <c15:datalabelsRange>
                <c15:f>Sheet1!$E$2:$E$50</c15:f>
                <c15:dlblRangeCache>
                  <c:ptCount val="49"/>
                  <c:pt idx="0">
                    <c:v>Findus Merluzzo Altro Findus Fish Bar 245GR</c:v>
                  </c:pt>
                  <c:pt idx="1">
                    <c:v>Findus Merluzzo D Alaska Chips Findus Big Burger 227GR</c:v>
                  </c:pt>
                  <c:pt idx="2">
                    <c:v>Findus Merluzzo D Alaska Standard Findus Big Burger 227GR</c:v>
                  </c:pt>
                  <c:pt idx="3">
                    <c:v>Findus Merluzzo E Spinaci Filetto Findus Croccole 300GR</c:v>
                  </c:pt>
                  <c:pt idx="4">
                    <c:v>Findus Merluzzo Filetto Findus Croccole 300GR</c:v>
                  </c:pt>
                  <c:pt idx="5">
                    <c:v>Findus Merluzzo Filetto Findus Croccole 600GR</c:v>
                  </c:pt>
                  <c:pt idx="6">
                    <c:v>Findus Merluzzo Filetto Findus Fish &amp; Crock 250GR</c:v>
                  </c:pt>
                  <c:pt idx="7">
                    <c:v>Findus Merluzzo Filetto Findus Fish Bar 240GR</c:v>
                  </c:pt>
                  <c:pt idx="8">
                    <c:v>Findus Merluzzo Semi Filetto Findus Croccole 300GR</c:v>
                  </c:pt>
                  <c:pt idx="9">
                    <c:v>Findus Merluzzo Senza Glutine Filetto Findus Croccole 250GR</c:v>
                  </c:pt>
                  <c:pt idx="10">
                    <c:v>Findus Platessa Filetto Findus Platessa 250GR</c:v>
                  </c:pt>
                  <c:pt idx="11">
                    <c:v>Findus Salmone Altro Findus Fish Bar 220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3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E57DEAC9-D7F8-4957-8D5D-7DF93DB9785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3D2018E0-28B5-451B-B46B-9DA516FC60E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77AA92B5-2440-471C-BF90-24F99C06256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38FD5B5D-3D29-46D1-A75F-7802FF275F3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822801C0-9BB2-4783-9E1B-63C6DF23057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764B25AB-3B14-4F41-987B-89D28D71471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45AF7D69-98ED-434B-A958-AEBBA5E2D42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5-BFDA-4C69-8E79-A083B7EFBA29}"/>
                </c:ext>
              </c:extLst>
            </c:dLbl>
            <c:dLbl>
              <c:idx val="1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BFDA-4C69-8E79-A083B7EFBA29}"/>
                </c:ext>
              </c:extLst>
            </c:dLbl>
            <c:dLbl>
              <c:idx val="1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BFDA-4C69-8E79-A083B7EFBA29}"/>
                </c:ext>
              </c:extLst>
            </c:dLbl>
            <c:dLbl>
              <c:idx val="1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BFDA-4C69-8E79-A083B7EFBA29}"/>
                </c:ext>
              </c:extLst>
            </c:dLbl>
            <c:dLbl>
              <c:idx val="1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9-BFDA-4C69-8E79-A083B7EFBA29}"/>
                </c:ext>
              </c:extLst>
            </c:dLbl>
            <c:dLbl>
              <c:idx val="1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A-BFDA-4C69-8E79-A083B7EFBA29}"/>
                </c:ext>
              </c:extLst>
            </c:dLbl>
            <c:dLbl>
              <c:idx val="1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B-BFDA-4C69-8E79-A083B7EFBA29}"/>
                </c:ext>
              </c:extLst>
            </c:dLbl>
            <c:dLbl>
              <c:idx val="1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C-BFDA-4C69-8E79-A083B7EFBA29}"/>
                </c:ext>
              </c:extLst>
            </c:dLbl>
            <c:dLbl>
              <c:idx val="2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BFDA-4C69-8E79-A083B7EFBA29}"/>
                </c:ext>
              </c:extLst>
            </c:dLbl>
            <c:dLbl>
              <c:idx val="2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BFDA-4C69-8E79-A083B7EFBA29}"/>
                </c:ext>
              </c:extLst>
            </c:dLbl>
            <c:dLbl>
              <c:idx val="2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F-BFDA-4C69-8E79-A083B7EFBA29}"/>
                </c:ext>
              </c:extLst>
            </c:dLbl>
            <c:dLbl>
              <c:idx val="2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0-BFDA-4C69-8E79-A083B7EFBA29}"/>
                </c:ext>
              </c:extLst>
            </c:dLbl>
            <c:dLbl>
              <c:idx val="2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1-BFDA-4C69-8E79-A083B7EFBA29}"/>
                </c:ext>
              </c:extLst>
            </c:dLbl>
            <c:dLbl>
              <c:idx val="2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BFDA-4C69-8E79-A083B7EFBA29}"/>
                </c:ext>
              </c:extLst>
            </c:dLbl>
            <c:dLbl>
              <c:idx val="2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BFDA-4C69-8E79-A083B7EFBA29}"/>
                </c:ext>
              </c:extLst>
            </c:dLbl>
            <c:dLbl>
              <c:idx val="2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BFDA-4C69-8E79-A083B7EFBA29}"/>
                </c:ext>
              </c:extLst>
            </c:dLbl>
            <c:dLbl>
              <c:idx val="2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5-BFDA-4C69-8E79-A083B7EFBA29}"/>
                </c:ext>
              </c:extLst>
            </c:dLbl>
            <c:dLbl>
              <c:idx val="2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6-BFDA-4C69-8E79-A083B7EFBA29}"/>
                </c:ext>
              </c:extLst>
            </c:dLbl>
            <c:dLbl>
              <c:idx val="3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7-BFDA-4C69-8E79-A083B7EFBA29}"/>
                </c:ext>
              </c:extLst>
            </c:dLbl>
            <c:dLbl>
              <c:idx val="3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8-BFDA-4C69-8E79-A083B7EFBA29}"/>
                </c:ext>
              </c:extLst>
            </c:dLbl>
            <c:dLbl>
              <c:idx val="3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9-BFDA-4C69-8E79-A083B7EFBA29}"/>
                </c:ext>
              </c:extLst>
            </c:dLbl>
            <c:dLbl>
              <c:idx val="3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BFDA-4C69-8E79-A083B7EFBA29}"/>
                </c:ext>
              </c:extLst>
            </c:dLbl>
            <c:dLbl>
              <c:idx val="3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B-BFDA-4C69-8E79-A083B7EFBA29}"/>
                </c:ext>
              </c:extLst>
            </c:dLbl>
            <c:dLbl>
              <c:idx val="3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C-BFDA-4C69-8E79-A083B7EFBA29}"/>
                </c:ext>
              </c:extLst>
            </c:dLbl>
            <c:dLbl>
              <c:idx val="3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D-BFDA-4C69-8E79-A083B7EFBA29}"/>
                </c:ext>
              </c:extLst>
            </c:dLbl>
            <c:dLbl>
              <c:idx val="3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BFDA-4C69-8E79-A083B7EFBA29}"/>
                </c:ext>
              </c:extLst>
            </c:dLbl>
            <c:dLbl>
              <c:idx val="3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BFDA-4C69-8E79-A083B7EFBA29}"/>
                </c:ext>
              </c:extLst>
            </c:dLbl>
            <c:dLbl>
              <c:idx val="3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BFDA-4C69-8E79-A083B7EFBA29}"/>
                </c:ext>
              </c:extLst>
            </c:dLbl>
            <c:dLbl>
              <c:idx val="4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1-BFDA-4C69-8E79-A083B7EFBA29}"/>
                </c:ext>
              </c:extLst>
            </c:dLbl>
            <c:dLbl>
              <c:idx val="4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BFDA-4C69-8E79-A083B7EFBA29}"/>
                </c:ext>
              </c:extLst>
            </c:dLbl>
            <c:dLbl>
              <c:idx val="4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BFDA-4C69-8E79-A083B7EFBA29}"/>
                </c:ext>
              </c:extLst>
            </c:dLbl>
            <c:dLbl>
              <c:idx val="4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BFDA-4C69-8E79-A083B7EFBA29}"/>
                </c:ext>
              </c:extLst>
            </c:dLbl>
            <c:dLbl>
              <c:idx val="4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BFDA-4C69-8E79-A083B7EFBA29}"/>
                </c:ext>
              </c:extLst>
            </c:dLbl>
            <c:dLbl>
              <c:idx val="4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BFDA-4C69-8E79-A083B7EFBA29}"/>
                </c:ext>
              </c:extLst>
            </c:dLbl>
            <c:dLbl>
              <c:idx val="4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BFDA-4C69-8E79-A083B7EFBA29}"/>
                </c:ext>
              </c:extLst>
            </c:dLbl>
            <c:dLbl>
              <c:idx val="4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BFDA-4C69-8E79-A083B7EFBA29}"/>
                </c:ext>
              </c:extLst>
            </c:dLbl>
            <c:dLbl>
              <c:idx val="4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4</c:f>
              <c:numCache>
                <c:formatCode>General</c:formatCode>
                <c:ptCount val="3"/>
                <c:pt idx="0">
                  <c:v>0.4593</c:v>
                </c:pt>
                <c:pt idx="1">
                  <c:v>0.4991</c:v>
                </c:pt>
                <c:pt idx="2">
                  <c:v>0.4193</c:v>
                </c:pt>
              </c:numCache>
            </c:numRef>
          </c:xVal>
          <c:yVal>
            <c:numRef>
              <c:f>Sheet1!$B$2:$B$4</c:f>
              <c:numCache>
                <c:formatCode>General</c:formatCode>
                <c:ptCount val="3"/>
                <c:pt idx="0">
                  <c:v>6139.832735961768</c:v>
                </c:pt>
                <c:pt idx="1">
                  <c:v>481.37096774193543</c:v>
                </c:pt>
                <c:pt idx="2">
                  <c:v>3027.5083798882683</c:v>
                </c:pt>
              </c:numCache>
            </c:numRef>
          </c:yVal>
          <c:bubbleSize>
            <c:numRef>
              <c:f>Sheet1!$C$2:$C$4</c:f>
              <c:numCache>
                <c:formatCode>General</c:formatCode>
                <c:ptCount val="3"/>
                <c:pt idx="0">
                  <c:v>263362.13670000003</c:v>
                </c:pt>
                <c:pt idx="1">
                  <c:v>8501.64</c:v>
                </c:pt>
                <c:pt idx="2">
                  <c:v>149151.07840000003</c:v>
                </c:pt>
              </c:numCache>
            </c:numRef>
          </c:bubbleSize>
          <c:bubble3D val="0"/>
          <c:extLst>
            <c:ext xmlns:c15="http://schemas.microsoft.com/office/drawing/2012/chart" uri="{02D57815-91ED-43cb-92C2-25804820EDAC}">
              <c15:datalabelsRange>
                <c15:f>Sheet1!$E$2:$E$50</c15:f>
                <c15:dlblRangeCache>
                  <c:ptCount val="49"/>
                  <c:pt idx="0">
                    <c:v>Findus Merluzzo Altro Findus Fish Bar 245GR</c:v>
                  </c:pt>
                  <c:pt idx="1">
                    <c:v>Findus Merluzzo D Alaska Chips Findus Big Burger 227GR</c:v>
                  </c:pt>
                  <c:pt idx="2">
                    <c:v>Findus Merluzzo D Alaska Standard Findus Big Burger 227GR</c:v>
                  </c:pt>
                  <c:pt idx="3">
                    <c:v>Findus Merluzzo E Spinaci Filetto Findus Croccole 300GR</c:v>
                  </c:pt>
                  <c:pt idx="4">
                    <c:v>Findus Merluzzo Filetto Findus Croccole 300GR</c:v>
                  </c:pt>
                  <c:pt idx="5">
                    <c:v>Findus Merluzzo Filetto Findus Croccole 600GR</c:v>
                  </c:pt>
                  <c:pt idx="6">
                    <c:v>Findus Merluzzo Filetto Findus Fish &amp; Crock 250GR</c:v>
                  </c:pt>
                  <c:pt idx="7">
                    <c:v>Findus Merluzzo Filetto Findus Fish Bar 240GR</c:v>
                  </c:pt>
                  <c:pt idx="8">
                    <c:v>Findus Merluzzo Semi Filetto Findus Croccole 300GR</c:v>
                  </c:pt>
                  <c:pt idx="9">
                    <c:v>Findus Merluzzo Senza Glutine Filetto Findus Croccole 250GR</c:v>
                  </c:pt>
                  <c:pt idx="10">
                    <c:v>Findus Platessa Filetto Findus Platessa 250GR</c:v>
                  </c:pt>
                  <c:pt idx="11">
                    <c:v>Findus Salmone Altro Findus Fish Bar 220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3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1BFDC010-D959-4DE8-83DB-83650488D85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DA5FB286-695D-429F-B00D-A2C1687F4F0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57D71767-6172-4883-9426-41CAB855693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5020AE95-6EDF-44EA-ACC9-06395744218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D050ECBF-5ACF-4374-8247-1305B5F197A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605A3EF4-ABCB-4EB2-BD97-C540918C74F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F48931FE-666E-44FD-9928-0BB3515D095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5-BFDA-4C69-8E79-A083B7EFBA29}"/>
                </c:ext>
              </c:extLst>
            </c:dLbl>
            <c:dLbl>
              <c:idx val="1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BFDA-4C69-8E79-A083B7EFBA29}"/>
                </c:ext>
              </c:extLst>
            </c:dLbl>
            <c:dLbl>
              <c:idx val="1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BFDA-4C69-8E79-A083B7EFBA29}"/>
                </c:ext>
              </c:extLst>
            </c:dLbl>
            <c:dLbl>
              <c:idx val="1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BFDA-4C69-8E79-A083B7EFBA29}"/>
                </c:ext>
              </c:extLst>
            </c:dLbl>
            <c:dLbl>
              <c:idx val="1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9-BFDA-4C69-8E79-A083B7EFBA29}"/>
                </c:ext>
              </c:extLst>
            </c:dLbl>
            <c:dLbl>
              <c:idx val="1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A-BFDA-4C69-8E79-A083B7EFBA29}"/>
                </c:ext>
              </c:extLst>
            </c:dLbl>
            <c:dLbl>
              <c:idx val="1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B-BFDA-4C69-8E79-A083B7EFBA29}"/>
                </c:ext>
              </c:extLst>
            </c:dLbl>
            <c:dLbl>
              <c:idx val="1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C-BFDA-4C69-8E79-A083B7EFBA29}"/>
                </c:ext>
              </c:extLst>
            </c:dLbl>
            <c:dLbl>
              <c:idx val="2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BFDA-4C69-8E79-A083B7EFBA29}"/>
                </c:ext>
              </c:extLst>
            </c:dLbl>
            <c:dLbl>
              <c:idx val="2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BFDA-4C69-8E79-A083B7EFBA29}"/>
                </c:ext>
              </c:extLst>
            </c:dLbl>
            <c:dLbl>
              <c:idx val="2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F-BFDA-4C69-8E79-A083B7EFBA29}"/>
                </c:ext>
              </c:extLst>
            </c:dLbl>
            <c:dLbl>
              <c:idx val="2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0-BFDA-4C69-8E79-A083B7EFBA29}"/>
                </c:ext>
              </c:extLst>
            </c:dLbl>
            <c:dLbl>
              <c:idx val="2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1-BFDA-4C69-8E79-A083B7EFBA29}"/>
                </c:ext>
              </c:extLst>
            </c:dLbl>
            <c:dLbl>
              <c:idx val="2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BFDA-4C69-8E79-A083B7EFBA29}"/>
                </c:ext>
              </c:extLst>
            </c:dLbl>
            <c:dLbl>
              <c:idx val="2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BFDA-4C69-8E79-A083B7EFBA29}"/>
                </c:ext>
              </c:extLst>
            </c:dLbl>
            <c:dLbl>
              <c:idx val="2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BFDA-4C69-8E79-A083B7EFBA29}"/>
                </c:ext>
              </c:extLst>
            </c:dLbl>
            <c:dLbl>
              <c:idx val="2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5-BFDA-4C69-8E79-A083B7EFBA29}"/>
                </c:ext>
              </c:extLst>
            </c:dLbl>
            <c:dLbl>
              <c:idx val="2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6-BFDA-4C69-8E79-A083B7EFBA29}"/>
                </c:ext>
              </c:extLst>
            </c:dLbl>
            <c:dLbl>
              <c:idx val="3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7-BFDA-4C69-8E79-A083B7EFBA29}"/>
                </c:ext>
              </c:extLst>
            </c:dLbl>
            <c:dLbl>
              <c:idx val="3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8-BFDA-4C69-8E79-A083B7EFBA29}"/>
                </c:ext>
              </c:extLst>
            </c:dLbl>
            <c:dLbl>
              <c:idx val="3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9-BFDA-4C69-8E79-A083B7EFBA29}"/>
                </c:ext>
              </c:extLst>
            </c:dLbl>
            <c:dLbl>
              <c:idx val="3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BFDA-4C69-8E79-A083B7EFBA29}"/>
                </c:ext>
              </c:extLst>
            </c:dLbl>
            <c:dLbl>
              <c:idx val="3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B-BFDA-4C69-8E79-A083B7EFBA29}"/>
                </c:ext>
              </c:extLst>
            </c:dLbl>
            <c:dLbl>
              <c:idx val="3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C-BFDA-4C69-8E79-A083B7EFBA29}"/>
                </c:ext>
              </c:extLst>
            </c:dLbl>
            <c:dLbl>
              <c:idx val="3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D-BFDA-4C69-8E79-A083B7EFBA29}"/>
                </c:ext>
              </c:extLst>
            </c:dLbl>
            <c:dLbl>
              <c:idx val="3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BFDA-4C69-8E79-A083B7EFBA29}"/>
                </c:ext>
              </c:extLst>
            </c:dLbl>
            <c:dLbl>
              <c:idx val="3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BFDA-4C69-8E79-A083B7EFBA29}"/>
                </c:ext>
              </c:extLst>
            </c:dLbl>
            <c:dLbl>
              <c:idx val="3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BFDA-4C69-8E79-A083B7EFBA29}"/>
                </c:ext>
              </c:extLst>
            </c:dLbl>
            <c:dLbl>
              <c:idx val="4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1-BFDA-4C69-8E79-A083B7EFBA29}"/>
                </c:ext>
              </c:extLst>
            </c:dLbl>
            <c:dLbl>
              <c:idx val="4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BFDA-4C69-8E79-A083B7EFBA29}"/>
                </c:ext>
              </c:extLst>
            </c:dLbl>
            <c:dLbl>
              <c:idx val="4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BFDA-4C69-8E79-A083B7EFBA29}"/>
                </c:ext>
              </c:extLst>
            </c:dLbl>
            <c:dLbl>
              <c:idx val="4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BFDA-4C69-8E79-A083B7EFBA29}"/>
                </c:ext>
              </c:extLst>
            </c:dLbl>
            <c:dLbl>
              <c:idx val="4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BFDA-4C69-8E79-A083B7EFBA29}"/>
                </c:ext>
              </c:extLst>
            </c:dLbl>
            <c:dLbl>
              <c:idx val="4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BFDA-4C69-8E79-A083B7EFBA29}"/>
                </c:ext>
              </c:extLst>
            </c:dLbl>
            <c:dLbl>
              <c:idx val="4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BFDA-4C69-8E79-A083B7EFBA29}"/>
                </c:ext>
              </c:extLst>
            </c:dLbl>
            <c:dLbl>
              <c:idx val="4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BFDA-4C69-8E79-A083B7EFBA29}"/>
                </c:ext>
              </c:extLst>
            </c:dLbl>
            <c:dLbl>
              <c:idx val="4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13</c:f>
              <c:numCache>
                <c:formatCode>General</c:formatCode>
                <c:ptCount val="12"/>
                <c:pt idx="0">
                  <c:v>0.3548</c:v>
                </c:pt>
                <c:pt idx="1">
                  <c:v>0.3578</c:v>
                </c:pt>
                <c:pt idx="2">
                  <c:v>0.4275</c:v>
                </c:pt>
                <c:pt idx="3">
                  <c:v>0.4031</c:v>
                </c:pt>
                <c:pt idx="4">
                  <c:v>0.5215</c:v>
                </c:pt>
                <c:pt idx="5">
                  <c:v>0.4011</c:v>
                </c:pt>
                <c:pt idx="6">
                  <c:v>0.4043</c:v>
                </c:pt>
                <c:pt idx="7">
                  <c:v>0.3731</c:v>
                </c:pt>
                <c:pt idx="8">
                  <c:v>0.4073</c:v>
                </c:pt>
                <c:pt idx="9">
                  <c:v>0.4856</c:v>
                </c:pt>
                <c:pt idx="10">
                  <c:v>0.4414</c:v>
                </c:pt>
                <c:pt idx="11">
                  <c:v>0.3881</c:v>
                </c:pt>
              </c:numCache>
            </c:numRef>
          </c:xVal>
          <c:yVal>
            <c:numRef>
              <c:f>Sheet1!$B$2:$B$13</c:f>
              <c:numCache>
                <c:formatCode>General</c:formatCode>
                <c:ptCount val="12"/>
                <c:pt idx="0">
                  <c:v>27527.410805300715</c:v>
                </c:pt>
                <c:pt idx="1">
                  <c:v>24558.517034068136</c:v>
                </c:pt>
                <c:pt idx="2">
                  <c:v>8635.179856115108</c:v>
                </c:pt>
                <c:pt idx="3">
                  <c:v>10309.234693877552</c:v>
                </c:pt>
                <c:pt idx="4">
                  <c:v>648.2532751091703</c:v>
                </c:pt>
                <c:pt idx="5">
                  <c:v>2730.892307692308</c:v>
                </c:pt>
                <c:pt idx="6">
                  <c:v>11438.093716719915</c:v>
                </c:pt>
                <c:pt idx="7">
                  <c:v>27838.23469387755</c:v>
                </c:pt>
                <c:pt idx="8">
                  <c:v>8505.593023255815</c:v>
                </c:pt>
                <c:pt idx="9">
                  <c:v>12471.153039832287</c:v>
                </c:pt>
                <c:pt idx="10">
                  <c:v>5809.356435643564</c:v>
                </c:pt>
                <c:pt idx="11">
                  <c:v>7229.13829787234</c:v>
                </c:pt>
              </c:numCache>
            </c:numRef>
          </c:yVal>
          <c:bubbleSize>
            <c:numRef>
              <c:f>Sheet1!$C$2:$C$13</c:f>
              <c:numCache>
                <c:formatCode>General</c:formatCode>
                <c:ptCount val="12"/>
                <c:pt idx="0">
                  <c:v>1651385.2755000002</c:v>
                </c:pt>
                <c:pt idx="1">
                  <c:v>1491960.5067000005</c:v>
                </c:pt>
                <c:pt idx="2">
                  <c:v>455950.0355</c:v>
                </c:pt>
                <c:pt idx="3">
                  <c:v>571593.6846999999</c:v>
                </c:pt>
                <c:pt idx="4">
                  <c:v>19383.52</c:v>
                </c:pt>
                <c:pt idx="5">
                  <c:v>50382.1857</c:v>
                </c:pt>
                <c:pt idx="6">
                  <c:v>606479.7723999999</c:v>
                </c:pt>
                <c:pt idx="7">
                  <c:v>1621213.0609000002</c:v>
                </c:pt>
                <c:pt idx="8">
                  <c:v>410939.0</c:v>
                </c:pt>
                <c:pt idx="9">
                  <c:v>580146.0286</c:v>
                </c:pt>
                <c:pt idx="10">
                  <c:v>248552.02370000002</c:v>
                </c:pt>
                <c:pt idx="11">
                  <c:v>394111.0859</c:v>
                </c:pt>
              </c:numCache>
            </c:numRef>
          </c:bubbleSize>
          <c:bubble3D val="0"/>
          <c:extLst>
            <c:ext xmlns:c15="http://schemas.microsoft.com/office/drawing/2012/chart" uri="{02D57815-91ED-43cb-92C2-25804820EDAC}">
              <c15:datalabelsRange>
                <c15:f>Sheet1!$E$2:$E$50</c15:f>
                <c15:dlblRangeCache>
                  <c:ptCount val="49"/>
                  <c:pt idx="0">
                    <c:v>Findus Merluzzo Altro Findus Fish Bar 245GR</c:v>
                  </c:pt>
                  <c:pt idx="1">
                    <c:v>Findus Merluzzo D Alaska Chips Findus Big Burger 227GR</c:v>
                  </c:pt>
                  <c:pt idx="2">
                    <c:v>Findus Merluzzo D Alaska Standard Findus Big Burger 227GR</c:v>
                  </c:pt>
                  <c:pt idx="3">
                    <c:v>Findus Merluzzo E Spinaci Filetto Findus Croccole 300GR</c:v>
                  </c:pt>
                  <c:pt idx="4">
                    <c:v>Findus Merluzzo Filetto Findus Croccole 300GR</c:v>
                  </c:pt>
                  <c:pt idx="5">
                    <c:v>Findus Merluzzo Filetto Findus Croccole 600GR</c:v>
                  </c:pt>
                  <c:pt idx="6">
                    <c:v>Findus Merluzzo Filetto Findus Fish &amp; Crock 250GR</c:v>
                  </c:pt>
                  <c:pt idx="7">
                    <c:v>Findus Merluzzo Filetto Findus Fish Bar 240GR</c:v>
                  </c:pt>
                  <c:pt idx="8">
                    <c:v>Findus Merluzzo Semi Filetto Findus Croccole 300GR</c:v>
                  </c:pt>
                  <c:pt idx="9">
                    <c:v>Findus Merluzzo Senza Glutine Filetto Findus Croccole 250GR</c:v>
                  </c:pt>
                  <c:pt idx="10">
                    <c:v>Findus Platessa Filetto Findus Platessa 250GR</c:v>
                  </c:pt>
                  <c:pt idx="11">
                    <c:v>Findus Salmone Altro Findus Fish Bar 220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3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0C893341-639C-45A9-9433-1B7E7646D62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6779B0F7-A8C2-4132-9918-093ED98D52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712C427A-3584-4589-9507-68DA7E9C8AD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F920C18E-A811-4F27-B8A7-6CADD55B1AA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7F89F663-988A-4045-BF35-9314BED4B29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D04DB470-8724-4799-BF14-31DF900FC1F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386BD065-15C8-4DBD-B4A0-FD867715CC0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5-BFDA-4C69-8E79-A083B7EFBA29}"/>
                </c:ext>
              </c:extLst>
            </c:dLbl>
            <c:dLbl>
              <c:idx val="1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BFDA-4C69-8E79-A083B7EFBA29}"/>
                </c:ext>
              </c:extLst>
            </c:dLbl>
            <c:dLbl>
              <c:idx val="1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BFDA-4C69-8E79-A083B7EFBA29}"/>
                </c:ext>
              </c:extLst>
            </c:dLbl>
            <c:dLbl>
              <c:idx val="1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BFDA-4C69-8E79-A083B7EFBA29}"/>
                </c:ext>
              </c:extLst>
            </c:dLbl>
            <c:dLbl>
              <c:idx val="1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9-BFDA-4C69-8E79-A083B7EFBA29}"/>
                </c:ext>
              </c:extLst>
            </c:dLbl>
            <c:dLbl>
              <c:idx val="1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A-BFDA-4C69-8E79-A083B7EFBA29}"/>
                </c:ext>
              </c:extLst>
            </c:dLbl>
            <c:dLbl>
              <c:idx val="1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B-BFDA-4C69-8E79-A083B7EFBA29}"/>
                </c:ext>
              </c:extLst>
            </c:dLbl>
            <c:dLbl>
              <c:idx val="1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C-BFDA-4C69-8E79-A083B7EFBA29}"/>
                </c:ext>
              </c:extLst>
            </c:dLbl>
            <c:dLbl>
              <c:idx val="2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BFDA-4C69-8E79-A083B7EFBA29}"/>
                </c:ext>
              </c:extLst>
            </c:dLbl>
            <c:dLbl>
              <c:idx val="2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BFDA-4C69-8E79-A083B7EFBA29}"/>
                </c:ext>
              </c:extLst>
            </c:dLbl>
            <c:dLbl>
              <c:idx val="2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F-BFDA-4C69-8E79-A083B7EFBA29}"/>
                </c:ext>
              </c:extLst>
            </c:dLbl>
            <c:dLbl>
              <c:idx val="2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0-BFDA-4C69-8E79-A083B7EFBA29}"/>
                </c:ext>
              </c:extLst>
            </c:dLbl>
            <c:dLbl>
              <c:idx val="2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1-BFDA-4C69-8E79-A083B7EFBA29}"/>
                </c:ext>
              </c:extLst>
            </c:dLbl>
            <c:dLbl>
              <c:idx val="2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BFDA-4C69-8E79-A083B7EFBA29}"/>
                </c:ext>
              </c:extLst>
            </c:dLbl>
            <c:dLbl>
              <c:idx val="2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BFDA-4C69-8E79-A083B7EFBA29}"/>
                </c:ext>
              </c:extLst>
            </c:dLbl>
            <c:dLbl>
              <c:idx val="2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BFDA-4C69-8E79-A083B7EFBA29}"/>
                </c:ext>
              </c:extLst>
            </c:dLbl>
            <c:dLbl>
              <c:idx val="2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5-BFDA-4C69-8E79-A083B7EFBA29}"/>
                </c:ext>
              </c:extLst>
            </c:dLbl>
            <c:dLbl>
              <c:idx val="2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6-BFDA-4C69-8E79-A083B7EFBA29}"/>
                </c:ext>
              </c:extLst>
            </c:dLbl>
            <c:dLbl>
              <c:idx val="3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7-BFDA-4C69-8E79-A083B7EFBA29}"/>
                </c:ext>
              </c:extLst>
            </c:dLbl>
            <c:dLbl>
              <c:idx val="3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8-BFDA-4C69-8E79-A083B7EFBA29}"/>
                </c:ext>
              </c:extLst>
            </c:dLbl>
            <c:dLbl>
              <c:idx val="3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9-BFDA-4C69-8E79-A083B7EFBA29}"/>
                </c:ext>
              </c:extLst>
            </c:dLbl>
            <c:dLbl>
              <c:idx val="3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BFDA-4C69-8E79-A083B7EFBA29}"/>
                </c:ext>
              </c:extLst>
            </c:dLbl>
            <c:dLbl>
              <c:idx val="3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B-BFDA-4C69-8E79-A083B7EFBA29}"/>
                </c:ext>
              </c:extLst>
            </c:dLbl>
            <c:dLbl>
              <c:idx val="3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C-BFDA-4C69-8E79-A083B7EFBA29}"/>
                </c:ext>
              </c:extLst>
            </c:dLbl>
            <c:dLbl>
              <c:idx val="3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D-BFDA-4C69-8E79-A083B7EFBA29}"/>
                </c:ext>
              </c:extLst>
            </c:dLbl>
            <c:dLbl>
              <c:idx val="3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BFDA-4C69-8E79-A083B7EFBA29}"/>
                </c:ext>
              </c:extLst>
            </c:dLbl>
            <c:dLbl>
              <c:idx val="3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BFDA-4C69-8E79-A083B7EFBA29}"/>
                </c:ext>
              </c:extLst>
            </c:dLbl>
            <c:dLbl>
              <c:idx val="3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BFDA-4C69-8E79-A083B7EFBA29}"/>
                </c:ext>
              </c:extLst>
            </c:dLbl>
            <c:dLbl>
              <c:idx val="4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1-BFDA-4C69-8E79-A083B7EFBA29}"/>
                </c:ext>
              </c:extLst>
            </c:dLbl>
            <c:dLbl>
              <c:idx val="4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BFDA-4C69-8E79-A083B7EFBA29}"/>
                </c:ext>
              </c:extLst>
            </c:dLbl>
            <c:dLbl>
              <c:idx val="4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BFDA-4C69-8E79-A083B7EFBA29}"/>
                </c:ext>
              </c:extLst>
            </c:dLbl>
            <c:dLbl>
              <c:idx val="4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BFDA-4C69-8E79-A083B7EFBA29}"/>
                </c:ext>
              </c:extLst>
            </c:dLbl>
            <c:dLbl>
              <c:idx val="4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BFDA-4C69-8E79-A083B7EFBA29}"/>
                </c:ext>
              </c:extLst>
            </c:dLbl>
            <c:dLbl>
              <c:idx val="4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BFDA-4C69-8E79-A083B7EFBA29}"/>
                </c:ext>
              </c:extLst>
            </c:dLbl>
            <c:dLbl>
              <c:idx val="4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BFDA-4C69-8E79-A083B7EFBA29}"/>
                </c:ext>
              </c:extLst>
            </c:dLbl>
            <c:dLbl>
              <c:idx val="4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BFDA-4C69-8E79-A083B7EFBA29}"/>
                </c:ext>
              </c:extLst>
            </c:dLbl>
            <c:dLbl>
              <c:idx val="4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4</c:f>
              <c:numCache>
                <c:formatCode>General</c:formatCode>
                <c:ptCount val="3"/>
                <c:pt idx="0">
                  <c:v>0.3731</c:v>
                </c:pt>
                <c:pt idx="1">
                  <c:v>0.4025</c:v>
                </c:pt>
                <c:pt idx="2">
                  <c:v>0.3734</c:v>
                </c:pt>
              </c:numCache>
            </c:numRef>
          </c:xVal>
          <c:yVal>
            <c:numRef>
              <c:f>Sheet1!$B$2:$B$4</c:f>
              <c:numCache>
                <c:formatCode>General</c:formatCode>
                <c:ptCount val="3"/>
                <c:pt idx="0">
                  <c:v>2226.4591836734694</c:v>
                </c:pt>
                <c:pt idx="1">
                  <c:v>3431.15625</c:v>
                </c:pt>
                <c:pt idx="2">
                  <c:v>1402.6404494382023</c:v>
                </c:pt>
              </c:numCache>
            </c:numRef>
          </c:yVal>
          <c:bubbleSize>
            <c:numRef>
              <c:f>Sheet1!$C$2:$C$4</c:f>
              <c:numCache>
                <c:formatCode>General</c:formatCode>
                <c:ptCount val="3"/>
                <c:pt idx="0">
                  <c:v>129655.06629999999</c:v>
                </c:pt>
                <c:pt idx="1">
                  <c:v>186540.4972</c:v>
                </c:pt>
                <c:pt idx="2">
                  <c:v>74144.0196</c:v>
                </c:pt>
              </c:numCache>
            </c:numRef>
          </c:bubbleSize>
          <c:bubble3D val="0"/>
          <c:extLst>
            <c:ext xmlns:c15="http://schemas.microsoft.com/office/drawing/2012/chart" uri="{02D57815-91ED-43cb-92C2-25804820EDAC}">
              <c15:datalabelsRange>
                <c15:f>Sheet1!$E$2:$E$50</c15:f>
                <c15:dlblRangeCache>
                  <c:ptCount val="49"/>
                  <c:pt idx="0">
                    <c:v>Findus Merluzzo Altro Findus Fish Bar 245GR</c:v>
                  </c:pt>
                  <c:pt idx="1">
                    <c:v>Findus Merluzzo D Alaska Chips Findus Big Burger 227GR</c:v>
                  </c:pt>
                  <c:pt idx="2">
                    <c:v>Findus Merluzzo D Alaska Standard Findus Big Burger 227GR</c:v>
                  </c:pt>
                  <c:pt idx="3">
                    <c:v>Findus Merluzzo E Spinaci Filetto Findus Croccole 300GR</c:v>
                  </c:pt>
                  <c:pt idx="4">
                    <c:v>Findus Merluzzo Filetto Findus Croccole 300GR</c:v>
                  </c:pt>
                  <c:pt idx="5">
                    <c:v>Findus Merluzzo Filetto Findus Croccole 600GR</c:v>
                  </c:pt>
                  <c:pt idx="6">
                    <c:v>Findus Merluzzo Filetto Findus Fish &amp; Crock 250GR</c:v>
                  </c:pt>
                  <c:pt idx="7">
                    <c:v>Findus Merluzzo Filetto Findus Fish Bar 240GR</c:v>
                  </c:pt>
                  <c:pt idx="8">
                    <c:v>Findus Merluzzo Semi Filetto Findus Croccole 300GR</c:v>
                  </c:pt>
                  <c:pt idx="9">
                    <c:v>Findus Merluzzo Senza Glutine Filetto Findus Croccole 250GR</c:v>
                  </c:pt>
                  <c:pt idx="10">
                    <c:v>Findus Platessa Filetto Findus Platessa 250GR</c:v>
                  </c:pt>
                  <c:pt idx="11">
                    <c:v>Findus Salmone Altro Findus Fish Bar 220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3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F1E87BA3-3496-46E3-973F-672C8B6E8A2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D2A2FAEA-8D0F-4C81-BDC6-49B8E167329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19AC82FE-A2C4-41A1-A920-5E56E61C0C6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B3CAAAAB-A042-4C6F-B27D-D50C6E89A57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4AAD4F00-03BD-414D-A066-77B77E5D224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EC614098-3777-4525-9917-FE99D01816D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94E001A2-7F90-4A44-99E1-064895E04ED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5-BFDA-4C69-8E79-A083B7EFBA29}"/>
                </c:ext>
              </c:extLst>
            </c:dLbl>
            <c:dLbl>
              <c:idx val="1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BFDA-4C69-8E79-A083B7EFBA29}"/>
                </c:ext>
              </c:extLst>
            </c:dLbl>
            <c:dLbl>
              <c:idx val="1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BFDA-4C69-8E79-A083B7EFBA29}"/>
                </c:ext>
              </c:extLst>
            </c:dLbl>
            <c:dLbl>
              <c:idx val="1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BFDA-4C69-8E79-A083B7EFBA29}"/>
                </c:ext>
              </c:extLst>
            </c:dLbl>
            <c:dLbl>
              <c:idx val="1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9-BFDA-4C69-8E79-A083B7EFBA29}"/>
                </c:ext>
              </c:extLst>
            </c:dLbl>
            <c:dLbl>
              <c:idx val="1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A-BFDA-4C69-8E79-A083B7EFBA29}"/>
                </c:ext>
              </c:extLst>
            </c:dLbl>
            <c:dLbl>
              <c:idx val="1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B-BFDA-4C69-8E79-A083B7EFBA29}"/>
                </c:ext>
              </c:extLst>
            </c:dLbl>
            <c:dLbl>
              <c:idx val="1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C-BFDA-4C69-8E79-A083B7EFBA29}"/>
                </c:ext>
              </c:extLst>
            </c:dLbl>
            <c:dLbl>
              <c:idx val="2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BFDA-4C69-8E79-A083B7EFBA29}"/>
                </c:ext>
              </c:extLst>
            </c:dLbl>
            <c:dLbl>
              <c:idx val="2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BFDA-4C69-8E79-A083B7EFBA29}"/>
                </c:ext>
              </c:extLst>
            </c:dLbl>
            <c:dLbl>
              <c:idx val="2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F-BFDA-4C69-8E79-A083B7EFBA29}"/>
                </c:ext>
              </c:extLst>
            </c:dLbl>
            <c:dLbl>
              <c:idx val="2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0-BFDA-4C69-8E79-A083B7EFBA29}"/>
                </c:ext>
              </c:extLst>
            </c:dLbl>
            <c:dLbl>
              <c:idx val="2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1-BFDA-4C69-8E79-A083B7EFBA29}"/>
                </c:ext>
              </c:extLst>
            </c:dLbl>
            <c:dLbl>
              <c:idx val="2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BFDA-4C69-8E79-A083B7EFBA29}"/>
                </c:ext>
              </c:extLst>
            </c:dLbl>
            <c:dLbl>
              <c:idx val="2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BFDA-4C69-8E79-A083B7EFBA29}"/>
                </c:ext>
              </c:extLst>
            </c:dLbl>
            <c:dLbl>
              <c:idx val="2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BFDA-4C69-8E79-A083B7EFBA29}"/>
                </c:ext>
              </c:extLst>
            </c:dLbl>
            <c:dLbl>
              <c:idx val="2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5-BFDA-4C69-8E79-A083B7EFBA29}"/>
                </c:ext>
              </c:extLst>
            </c:dLbl>
            <c:dLbl>
              <c:idx val="2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6-BFDA-4C69-8E79-A083B7EFBA29}"/>
                </c:ext>
              </c:extLst>
            </c:dLbl>
            <c:dLbl>
              <c:idx val="3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7-BFDA-4C69-8E79-A083B7EFBA29}"/>
                </c:ext>
              </c:extLst>
            </c:dLbl>
            <c:dLbl>
              <c:idx val="3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8-BFDA-4C69-8E79-A083B7EFBA29}"/>
                </c:ext>
              </c:extLst>
            </c:dLbl>
            <c:dLbl>
              <c:idx val="3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9-BFDA-4C69-8E79-A083B7EFBA29}"/>
                </c:ext>
              </c:extLst>
            </c:dLbl>
            <c:dLbl>
              <c:idx val="3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BFDA-4C69-8E79-A083B7EFBA29}"/>
                </c:ext>
              </c:extLst>
            </c:dLbl>
            <c:dLbl>
              <c:idx val="3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B-BFDA-4C69-8E79-A083B7EFBA29}"/>
                </c:ext>
              </c:extLst>
            </c:dLbl>
            <c:dLbl>
              <c:idx val="3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C-BFDA-4C69-8E79-A083B7EFBA29}"/>
                </c:ext>
              </c:extLst>
            </c:dLbl>
            <c:dLbl>
              <c:idx val="3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D-BFDA-4C69-8E79-A083B7EFBA29}"/>
                </c:ext>
              </c:extLst>
            </c:dLbl>
            <c:dLbl>
              <c:idx val="3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BFDA-4C69-8E79-A083B7EFBA29}"/>
                </c:ext>
              </c:extLst>
            </c:dLbl>
            <c:dLbl>
              <c:idx val="3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BFDA-4C69-8E79-A083B7EFBA29}"/>
                </c:ext>
              </c:extLst>
            </c:dLbl>
            <c:dLbl>
              <c:idx val="3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BFDA-4C69-8E79-A083B7EFBA29}"/>
                </c:ext>
              </c:extLst>
            </c:dLbl>
            <c:dLbl>
              <c:idx val="4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1-BFDA-4C69-8E79-A083B7EFBA29}"/>
                </c:ext>
              </c:extLst>
            </c:dLbl>
            <c:dLbl>
              <c:idx val="4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BFDA-4C69-8E79-A083B7EFBA29}"/>
                </c:ext>
              </c:extLst>
            </c:dLbl>
            <c:dLbl>
              <c:idx val="4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BFDA-4C69-8E79-A083B7EFBA29}"/>
                </c:ext>
              </c:extLst>
            </c:dLbl>
            <c:dLbl>
              <c:idx val="4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BFDA-4C69-8E79-A083B7EFBA29}"/>
                </c:ext>
              </c:extLst>
            </c:dLbl>
            <c:dLbl>
              <c:idx val="4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BFDA-4C69-8E79-A083B7EFBA29}"/>
                </c:ext>
              </c:extLst>
            </c:dLbl>
            <c:dLbl>
              <c:idx val="4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BFDA-4C69-8E79-A083B7EFBA29}"/>
                </c:ext>
              </c:extLst>
            </c:dLbl>
            <c:dLbl>
              <c:idx val="4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BFDA-4C69-8E79-A083B7EFBA29}"/>
                </c:ext>
              </c:extLst>
            </c:dLbl>
            <c:dLbl>
              <c:idx val="4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BFDA-4C69-8E79-A083B7EFBA29}"/>
                </c:ext>
              </c:extLst>
            </c:dLbl>
            <c:dLbl>
              <c:idx val="4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18</c:f>
              <c:numCache>
                <c:formatCode>General</c:formatCode>
                <c:ptCount val="17"/>
                <c:pt idx="0">
                  <c:v>0.3355</c:v>
                </c:pt>
                <c:pt idx="1">
                  <c:v>0.2841</c:v>
                </c:pt>
                <c:pt idx="2">
                  <c:v>0.2871</c:v>
                </c:pt>
                <c:pt idx="3">
                  <c:v>0.3286</c:v>
                </c:pt>
                <c:pt idx="4">
                  <c:v>0.3484</c:v>
                </c:pt>
                <c:pt idx="5">
                  <c:v>0.3732</c:v>
                </c:pt>
                <c:pt idx="6">
                  <c:v>0.5699</c:v>
                </c:pt>
                <c:pt idx="7">
                  <c:v>0.4256</c:v>
                </c:pt>
                <c:pt idx="8">
                  <c:v>0.2924</c:v>
                </c:pt>
                <c:pt idx="9">
                  <c:v>0.349</c:v>
                </c:pt>
                <c:pt idx="10">
                  <c:v>0.3378</c:v>
                </c:pt>
                <c:pt idx="11">
                  <c:v>0.2502</c:v>
                </c:pt>
                <c:pt idx="12">
                  <c:v>0.3784</c:v>
                </c:pt>
                <c:pt idx="13">
                  <c:v>0.5159</c:v>
                </c:pt>
                <c:pt idx="14">
                  <c:v>0.4364</c:v>
                </c:pt>
                <c:pt idx="15">
                  <c:v>0.5246</c:v>
                </c:pt>
                <c:pt idx="16">
                  <c:v>0.4213</c:v>
                </c:pt>
              </c:numCache>
            </c:numRef>
          </c:xVal>
          <c:yVal>
            <c:numRef>
              <c:f>Sheet1!$B$2:$B$18</c:f>
              <c:numCache>
                <c:formatCode>General</c:formatCode>
                <c:ptCount val="17"/>
                <c:pt idx="0">
                  <c:v>14268.91</c:v>
                </c:pt>
                <c:pt idx="1">
                  <c:v>333.52941176470586</c:v>
                </c:pt>
                <c:pt idx="2">
                  <c:v>9722.94</c:v>
                </c:pt>
                <c:pt idx="3">
                  <c:v>3345.6288659793813</c:v>
                </c:pt>
                <c:pt idx="4">
                  <c:v>3773.0</c:v>
                </c:pt>
                <c:pt idx="5">
                  <c:v>480.09090909090907</c:v>
                </c:pt>
                <c:pt idx="6">
                  <c:v>871.6865671641791</c:v>
                </c:pt>
                <c:pt idx="7">
                  <c:v>524.9183673469388</c:v>
                </c:pt>
                <c:pt idx="8">
                  <c:v>1281.0212765957447</c:v>
                </c:pt>
                <c:pt idx="9">
                  <c:v>4276.89</c:v>
                </c:pt>
                <c:pt idx="10">
                  <c:v>11512.05</c:v>
                </c:pt>
                <c:pt idx="11">
                  <c:v>2175.4827586206898</c:v>
                </c:pt>
                <c:pt idx="12">
                  <c:v>2658.080808080808</c:v>
                </c:pt>
                <c:pt idx="13">
                  <c:v>1025.2881355932204</c:v>
                </c:pt>
                <c:pt idx="14">
                  <c:v>964.3571428571428</c:v>
                </c:pt>
                <c:pt idx="15">
                  <c:v>229.1267605633803</c:v>
                </c:pt>
                <c:pt idx="16">
                  <c:v>989.2613636363636</c:v>
                </c:pt>
              </c:numCache>
            </c:numRef>
          </c:yVal>
          <c:bubbleSize>
            <c:numRef>
              <c:f>Sheet1!$C$2:$C$18</c:f>
              <c:numCache>
                <c:formatCode>General</c:formatCode>
                <c:ptCount val="17"/>
                <c:pt idx="0">
                  <c:v>898746.52</c:v>
                </c:pt>
                <c:pt idx="1">
                  <c:v>19237.013</c:v>
                </c:pt>
                <c:pt idx="2">
                  <c:v>657023.8293999999</c:v>
                </c:pt>
                <c:pt idx="3">
                  <c:v>206540.63040000002</c:v>
                </c:pt>
                <c:pt idx="4">
                  <c:v>228380.87689999997</c:v>
                </c:pt>
                <c:pt idx="5">
                  <c:v>18823.971899999997</c:v>
                </c:pt>
                <c:pt idx="6">
                  <c:v>23810.2759</c:v>
                </c:pt>
                <c:pt idx="7">
                  <c:v>14005.127400000003</c:v>
                </c:pt>
                <c:pt idx="8">
                  <c:v>80761.50040000002</c:v>
                </c:pt>
                <c:pt idx="9">
                  <c:v>263890.7431</c:v>
                </c:pt>
                <c:pt idx="10">
                  <c:v>722599.8118000001</c:v>
                </c:pt>
                <c:pt idx="11">
                  <c:v>89676.90090000001</c:v>
                </c:pt>
                <c:pt idx="12">
                  <c:v>155042.7336</c:v>
                </c:pt>
                <c:pt idx="13">
                  <c:v>27759.832300000002</c:v>
                </c:pt>
                <c:pt idx="14">
                  <c:v>7213.105999999999</c:v>
                </c:pt>
                <c:pt idx="15">
                  <c:v>7330.667399999999</c:v>
                </c:pt>
                <c:pt idx="16">
                  <c:v>47748.37920000001</c:v>
                </c:pt>
              </c:numCache>
            </c:numRef>
          </c:bubbleSize>
          <c:bubble3D val="0"/>
          <c:extLst>
            <c:ext xmlns:c15="http://schemas.microsoft.com/office/drawing/2012/chart" uri="{02D57815-91ED-43cb-92C2-25804820EDAC}">
              <c15:datalabelsRange>
                <c15:f>Sheet1!$E$2:$E$50</c15:f>
                <c15:dlblRangeCache>
                  <c:ptCount val="49"/>
                  <c:pt idx="0">
                    <c:v>Findus Merluzzo Altro Findus Fish Bar 245GR</c:v>
                  </c:pt>
                  <c:pt idx="1">
                    <c:v>Findus Merluzzo D Alaska Chips Findus Big Burger 227GR</c:v>
                  </c:pt>
                  <c:pt idx="2">
                    <c:v>Findus Merluzzo D Alaska Standard Findus Big Burger 227GR</c:v>
                  </c:pt>
                  <c:pt idx="3">
                    <c:v>Findus Merluzzo E Spinaci Filetto Findus Croccole 300GR</c:v>
                  </c:pt>
                  <c:pt idx="4">
                    <c:v>Findus Merluzzo Filetto Findus Croccole 300GR</c:v>
                  </c:pt>
                  <c:pt idx="5">
                    <c:v>Findus Merluzzo Filetto Findus Croccole 600GR</c:v>
                  </c:pt>
                  <c:pt idx="6">
                    <c:v>Findus Merluzzo Filetto Findus Fish &amp; Crock 250GR</c:v>
                  </c:pt>
                  <c:pt idx="7">
                    <c:v>Findus Merluzzo Filetto Findus Fish Bar 240GR</c:v>
                  </c:pt>
                  <c:pt idx="8">
                    <c:v>Findus Merluzzo Semi Filetto Findus Croccole 300GR</c:v>
                  </c:pt>
                  <c:pt idx="9">
                    <c:v>Findus Merluzzo Senza Glutine Filetto Findus Croccole 250GR</c:v>
                  </c:pt>
                  <c:pt idx="10">
                    <c:v>Findus Platessa Filetto Findus Platessa 250GR</c:v>
                  </c:pt>
                  <c:pt idx="11">
                    <c:v>Findus Salmone Altro Findus Fish Bar 220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3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0D4D55D6-B3D8-497F-B2F6-4A6E0CEE34E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ABFAFF54-95D1-4727-A650-8653F8CAE57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A461E016-B83E-4475-A1D4-C7867952151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8A131F06-C9B7-4B7D-8AA6-5E42655845D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B06E2F0A-3322-4CD8-ABEA-BC9B0169EA5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162D407A-EF76-4FF6-A3A3-182FD34A830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7FE89359-33E3-4FA3-8C30-C1AE3D1F656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5-BFDA-4C69-8E79-A083B7EFBA29}"/>
                </c:ext>
              </c:extLst>
            </c:dLbl>
            <c:dLbl>
              <c:idx val="1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BFDA-4C69-8E79-A083B7EFBA29}"/>
                </c:ext>
              </c:extLst>
            </c:dLbl>
            <c:dLbl>
              <c:idx val="1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BFDA-4C69-8E79-A083B7EFBA29}"/>
                </c:ext>
              </c:extLst>
            </c:dLbl>
            <c:dLbl>
              <c:idx val="1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BFDA-4C69-8E79-A083B7EFBA29}"/>
                </c:ext>
              </c:extLst>
            </c:dLbl>
            <c:dLbl>
              <c:idx val="1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9-BFDA-4C69-8E79-A083B7EFBA29}"/>
                </c:ext>
              </c:extLst>
            </c:dLbl>
            <c:dLbl>
              <c:idx val="1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A-BFDA-4C69-8E79-A083B7EFBA29}"/>
                </c:ext>
              </c:extLst>
            </c:dLbl>
            <c:dLbl>
              <c:idx val="1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B-BFDA-4C69-8E79-A083B7EFBA29}"/>
                </c:ext>
              </c:extLst>
            </c:dLbl>
            <c:dLbl>
              <c:idx val="1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C-BFDA-4C69-8E79-A083B7EFBA29}"/>
                </c:ext>
              </c:extLst>
            </c:dLbl>
            <c:dLbl>
              <c:idx val="2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BFDA-4C69-8E79-A083B7EFBA29}"/>
                </c:ext>
              </c:extLst>
            </c:dLbl>
            <c:dLbl>
              <c:idx val="2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BFDA-4C69-8E79-A083B7EFBA29}"/>
                </c:ext>
              </c:extLst>
            </c:dLbl>
            <c:dLbl>
              <c:idx val="2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F-BFDA-4C69-8E79-A083B7EFBA29}"/>
                </c:ext>
              </c:extLst>
            </c:dLbl>
            <c:dLbl>
              <c:idx val="2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0-BFDA-4C69-8E79-A083B7EFBA29}"/>
                </c:ext>
              </c:extLst>
            </c:dLbl>
            <c:dLbl>
              <c:idx val="2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1-BFDA-4C69-8E79-A083B7EFBA29}"/>
                </c:ext>
              </c:extLst>
            </c:dLbl>
            <c:dLbl>
              <c:idx val="2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BFDA-4C69-8E79-A083B7EFBA29}"/>
                </c:ext>
              </c:extLst>
            </c:dLbl>
            <c:dLbl>
              <c:idx val="2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BFDA-4C69-8E79-A083B7EFBA29}"/>
                </c:ext>
              </c:extLst>
            </c:dLbl>
            <c:dLbl>
              <c:idx val="2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BFDA-4C69-8E79-A083B7EFBA29}"/>
                </c:ext>
              </c:extLst>
            </c:dLbl>
            <c:dLbl>
              <c:idx val="2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5-BFDA-4C69-8E79-A083B7EFBA29}"/>
                </c:ext>
              </c:extLst>
            </c:dLbl>
            <c:dLbl>
              <c:idx val="2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6-BFDA-4C69-8E79-A083B7EFBA29}"/>
                </c:ext>
              </c:extLst>
            </c:dLbl>
            <c:dLbl>
              <c:idx val="3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7-BFDA-4C69-8E79-A083B7EFBA29}"/>
                </c:ext>
              </c:extLst>
            </c:dLbl>
            <c:dLbl>
              <c:idx val="3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8-BFDA-4C69-8E79-A083B7EFBA29}"/>
                </c:ext>
              </c:extLst>
            </c:dLbl>
            <c:dLbl>
              <c:idx val="3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9-BFDA-4C69-8E79-A083B7EFBA29}"/>
                </c:ext>
              </c:extLst>
            </c:dLbl>
            <c:dLbl>
              <c:idx val="3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BFDA-4C69-8E79-A083B7EFBA29}"/>
                </c:ext>
              </c:extLst>
            </c:dLbl>
            <c:dLbl>
              <c:idx val="3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B-BFDA-4C69-8E79-A083B7EFBA29}"/>
                </c:ext>
              </c:extLst>
            </c:dLbl>
            <c:dLbl>
              <c:idx val="3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C-BFDA-4C69-8E79-A083B7EFBA29}"/>
                </c:ext>
              </c:extLst>
            </c:dLbl>
            <c:dLbl>
              <c:idx val="3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D-BFDA-4C69-8E79-A083B7EFBA29}"/>
                </c:ext>
              </c:extLst>
            </c:dLbl>
            <c:dLbl>
              <c:idx val="3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BFDA-4C69-8E79-A083B7EFBA29}"/>
                </c:ext>
              </c:extLst>
            </c:dLbl>
            <c:dLbl>
              <c:idx val="3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BFDA-4C69-8E79-A083B7EFBA29}"/>
                </c:ext>
              </c:extLst>
            </c:dLbl>
            <c:dLbl>
              <c:idx val="3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BFDA-4C69-8E79-A083B7EFBA29}"/>
                </c:ext>
              </c:extLst>
            </c:dLbl>
            <c:dLbl>
              <c:idx val="4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1-BFDA-4C69-8E79-A083B7EFBA29}"/>
                </c:ext>
              </c:extLst>
            </c:dLbl>
            <c:dLbl>
              <c:idx val="4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BFDA-4C69-8E79-A083B7EFBA29}"/>
                </c:ext>
              </c:extLst>
            </c:dLbl>
            <c:dLbl>
              <c:idx val="4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BFDA-4C69-8E79-A083B7EFBA29}"/>
                </c:ext>
              </c:extLst>
            </c:dLbl>
            <c:dLbl>
              <c:idx val="4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BFDA-4C69-8E79-A083B7EFBA29}"/>
                </c:ext>
              </c:extLst>
            </c:dLbl>
            <c:dLbl>
              <c:idx val="4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BFDA-4C69-8E79-A083B7EFBA29}"/>
                </c:ext>
              </c:extLst>
            </c:dLbl>
            <c:dLbl>
              <c:idx val="4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BFDA-4C69-8E79-A083B7EFBA29}"/>
                </c:ext>
              </c:extLst>
            </c:dLbl>
            <c:dLbl>
              <c:idx val="4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BFDA-4C69-8E79-A083B7EFBA29}"/>
                </c:ext>
              </c:extLst>
            </c:dLbl>
            <c:dLbl>
              <c:idx val="4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BFDA-4C69-8E79-A083B7EFBA29}"/>
                </c:ext>
              </c:extLst>
            </c:dLbl>
            <c:dLbl>
              <c:idx val="4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4</c:f>
              <c:numCache>
                <c:formatCode>General</c:formatCode>
                <c:ptCount val="3"/>
                <c:pt idx="0">
                  <c:v>0.4039</c:v>
                </c:pt>
                <c:pt idx="1">
                  <c:v>0.4052</c:v>
                </c:pt>
                <c:pt idx="2">
                  <c:v>0.3765</c:v>
                </c:pt>
              </c:numCache>
            </c:numRef>
          </c:xVal>
          <c:yVal>
            <c:numRef>
              <c:f>Sheet1!$B$2:$B$4</c:f>
              <c:numCache>
                <c:formatCode>General</c:formatCode>
                <c:ptCount val="3"/>
                <c:pt idx="0">
                  <c:v>2355.7580645161293</c:v>
                </c:pt>
                <c:pt idx="1">
                  <c:v>2737.277777777778</c:v>
                </c:pt>
                <c:pt idx="2">
                  <c:v>2356.285714285714</c:v>
                </c:pt>
              </c:numCache>
            </c:numRef>
          </c:yVal>
          <c:bubbleSize>
            <c:numRef>
              <c:f>Sheet1!$C$2:$C$4</c:f>
              <c:numCache>
                <c:formatCode>General</c:formatCode>
                <c:ptCount val="3"/>
                <c:pt idx="0">
                  <c:v>82530.89319999999</c:v>
                </c:pt>
                <c:pt idx="1">
                  <c:v>83329.80059999999</c:v>
                </c:pt>
                <c:pt idx="2">
                  <c:v>87735.412</c:v>
                </c:pt>
              </c:numCache>
            </c:numRef>
          </c:bubbleSize>
          <c:bubble3D val="0"/>
          <c:extLst>
            <c:ext xmlns:c15="http://schemas.microsoft.com/office/drawing/2012/chart" uri="{02D57815-91ED-43cb-92C2-25804820EDAC}">
              <c15:datalabelsRange>
                <c15:f>Sheet1!$E$2:$E$50</c15:f>
                <c15:dlblRangeCache>
                  <c:ptCount val="49"/>
                  <c:pt idx="0">
                    <c:v>Findus Merluzzo Altro Findus Fish Bar 245GR</c:v>
                  </c:pt>
                  <c:pt idx="1">
                    <c:v>Findus Merluzzo D Alaska Chips Findus Big Burger 227GR</c:v>
                  </c:pt>
                  <c:pt idx="2">
                    <c:v>Findus Merluzzo D Alaska Standard Findus Big Burger 227GR</c:v>
                  </c:pt>
                  <c:pt idx="3">
                    <c:v>Findus Merluzzo E Spinaci Filetto Findus Croccole 300GR</c:v>
                  </c:pt>
                  <c:pt idx="4">
                    <c:v>Findus Merluzzo Filetto Findus Croccole 300GR</c:v>
                  </c:pt>
                  <c:pt idx="5">
                    <c:v>Findus Merluzzo Filetto Findus Croccole 600GR</c:v>
                  </c:pt>
                  <c:pt idx="6">
                    <c:v>Findus Merluzzo Filetto Findus Fish &amp; Crock 250GR</c:v>
                  </c:pt>
                  <c:pt idx="7">
                    <c:v>Findus Merluzzo Filetto Findus Fish Bar 240GR</c:v>
                  </c:pt>
                  <c:pt idx="8">
                    <c:v>Findus Merluzzo Semi Filetto Findus Croccole 300GR</c:v>
                  </c:pt>
                  <c:pt idx="9">
                    <c:v>Findus Merluzzo Senza Glutine Filetto Findus Croccole 250GR</c:v>
                  </c:pt>
                  <c:pt idx="10">
                    <c:v>Findus Platessa Filetto Findus Platessa 250GR</c:v>
                  </c:pt>
                  <c:pt idx="11">
                    <c:v>Findus Salmone Altro Findus Fish Bar 220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La Vache Qui Rit</c:v>
                </c:pt>
                <c:pt idx="1">
                  <c:v>Mini Babybel</c:v>
                </c:pt>
                <c:pt idx="2">
                  <c:v>Kiri</c:v>
                </c:pt>
                <c:pt idx="3">
                  <c:v>Ficello</c:v>
                </c:pt>
                <c:pt idx="4">
                  <c:v>Private Label</c:v>
                </c:pt>
                <c:pt idx="5">
                  <c:v>P'Tit Louis</c:v>
                </c:pt>
                <c:pt idx="6">
                  <c:v>Others</c:v>
                </c:pt>
              </c:strCache>
            </c:strRef>
          </c:cat>
          <c:val>
            <c:numRef>
              <c:f>Sheet1!$B$2:$B$8</c:f>
              <c:numCache>
                <c:formatCode>General</c:formatCode>
                <c:ptCount val="7"/>
                <c:pt idx="0">
                  <c:v>0.3284166672682154</c:v>
                </c:pt>
                <c:pt idx="1">
                  <c:v>0.25975223873303843</c:v>
                </c:pt>
                <c:pt idx="2">
                  <c:v>0.2267890568474663</c:v>
                </c:pt>
                <c:pt idx="3">
                  <c:v>0.11260069231781542</c:v>
                </c:pt>
                <c:pt idx="4">
                  <c:v>0.053124481164213366</c:v>
                </c:pt>
                <c:pt idx="5">
                  <c:v>0.019209417810025727</c:v>
                </c:pt>
                <c:pt idx="6">
                  <c:v>0.00010744585922537923</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La Vache Qui Rit</c:v>
                </c:pt>
                <c:pt idx="1">
                  <c:v>Mini Babybel</c:v>
                </c:pt>
                <c:pt idx="2">
                  <c:v>Kiri</c:v>
                </c:pt>
                <c:pt idx="3">
                  <c:v>Ficello</c:v>
                </c:pt>
                <c:pt idx="4">
                  <c:v>Private Label</c:v>
                </c:pt>
                <c:pt idx="5">
                  <c:v>P'Tit Louis</c:v>
                </c:pt>
                <c:pt idx="6">
                  <c:v>Others</c:v>
                </c:pt>
              </c:strCache>
            </c:strRef>
          </c:cat>
          <c:val>
            <c:numRef>
              <c:f>Sheet1!$C$2:$C$8</c:f>
              <c:numCache>
                <c:formatCode>General</c:formatCode>
                <c:ptCount val="7"/>
                <c:pt idx="0">
                  <c:v>0.2624378109452737</c:v>
                </c:pt>
                <c:pt idx="1">
                  <c:v>0.20273631840796025</c:v>
                </c:pt>
                <c:pt idx="2">
                  <c:v>0.2176616915422886</c:v>
                </c:pt>
                <c:pt idx="3">
                  <c:v>0.11567164179104479</c:v>
                </c:pt>
                <c:pt idx="4">
                  <c:v>0.11318407960199006</c:v>
                </c:pt>
                <c:pt idx="5">
                  <c:v>0.08830845771144279</c:v>
                </c:pt>
                <c:pt idx="6">
                  <c:v>0.0</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La Vache Qui Rit</c:v>
                </c:pt>
                <c:pt idx="1">
                  <c:v>Mini Babybel</c:v>
                </c:pt>
                <c:pt idx="2">
                  <c:v>Kiri</c:v>
                </c:pt>
                <c:pt idx="3">
                  <c:v>Ficello</c:v>
                </c:pt>
                <c:pt idx="4">
                  <c:v>Private Label</c:v>
                </c:pt>
                <c:pt idx="5">
                  <c:v>P'Tit Louis</c:v>
                </c:pt>
                <c:pt idx="6">
                  <c:v>Others</c:v>
                </c:pt>
              </c:strCache>
            </c:strRef>
          </c:cat>
          <c:val>
            <c:numRef>
              <c:f>Sheet1!$D$2:$D$8</c:f>
              <c:numCache>
                <c:formatCode>General</c:formatCode>
                <c:ptCount val="7"/>
                <c:pt idx="0">
                  <c:v>79.91001587350704</c:v>
                </c:pt>
                <c:pt idx="1">
                  <c:v>78.04988299497332</c:v>
                </c:pt>
                <c:pt idx="2">
                  <c:v>95.97539430162338</c:v>
                </c:pt>
                <c:pt idx="3">
                  <c:v>102.72729182211565</c:v>
                </c:pt>
                <c:pt idx="4">
                  <c:v>213.05446589139598</c:v>
                </c:pt>
                <c:pt idx="5">
                  <c:v>459.7143889772291</c:v>
                </c:pt>
                <c:pt idx="6">
                  <c:v>1.0</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4374F118-9C7A-4C7E-8294-401C1D4B204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D34B0DEA-249A-45E1-A24D-37C16DAA290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82ECCBB5-3C18-4A3B-B7DE-1295451A1C0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9B5B2D98-9FBB-46E4-989D-7833C493421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E448AF3A-FD6B-46A0-8CD0-B9D0154B794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093708E3-BC2A-476C-85FF-B4ED98516AE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78565D2B-A722-4B1E-9F47-9136A752D21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5-BFDA-4C69-8E79-A083B7EFBA29}"/>
                </c:ext>
              </c:extLst>
            </c:dLbl>
            <c:dLbl>
              <c:idx val="1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BFDA-4C69-8E79-A083B7EFBA29}"/>
                </c:ext>
              </c:extLst>
            </c:dLbl>
            <c:dLbl>
              <c:idx val="1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BFDA-4C69-8E79-A083B7EFBA29}"/>
                </c:ext>
              </c:extLst>
            </c:dLbl>
            <c:dLbl>
              <c:idx val="1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BFDA-4C69-8E79-A083B7EFBA29}"/>
                </c:ext>
              </c:extLst>
            </c:dLbl>
            <c:dLbl>
              <c:idx val="1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9-BFDA-4C69-8E79-A083B7EFBA29}"/>
                </c:ext>
              </c:extLst>
            </c:dLbl>
            <c:dLbl>
              <c:idx val="1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A-BFDA-4C69-8E79-A083B7EFBA29}"/>
                </c:ext>
              </c:extLst>
            </c:dLbl>
            <c:dLbl>
              <c:idx val="1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B-BFDA-4C69-8E79-A083B7EFBA29}"/>
                </c:ext>
              </c:extLst>
            </c:dLbl>
            <c:dLbl>
              <c:idx val="1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C-BFDA-4C69-8E79-A083B7EFBA29}"/>
                </c:ext>
              </c:extLst>
            </c:dLbl>
            <c:dLbl>
              <c:idx val="2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BFDA-4C69-8E79-A083B7EFBA29}"/>
                </c:ext>
              </c:extLst>
            </c:dLbl>
            <c:dLbl>
              <c:idx val="2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BFDA-4C69-8E79-A083B7EFBA29}"/>
                </c:ext>
              </c:extLst>
            </c:dLbl>
            <c:dLbl>
              <c:idx val="2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F-BFDA-4C69-8E79-A083B7EFBA29}"/>
                </c:ext>
              </c:extLst>
            </c:dLbl>
            <c:dLbl>
              <c:idx val="2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0-BFDA-4C69-8E79-A083B7EFBA29}"/>
                </c:ext>
              </c:extLst>
            </c:dLbl>
            <c:dLbl>
              <c:idx val="2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1-BFDA-4C69-8E79-A083B7EFBA29}"/>
                </c:ext>
              </c:extLst>
            </c:dLbl>
            <c:dLbl>
              <c:idx val="2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BFDA-4C69-8E79-A083B7EFBA29}"/>
                </c:ext>
              </c:extLst>
            </c:dLbl>
            <c:dLbl>
              <c:idx val="2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BFDA-4C69-8E79-A083B7EFBA29}"/>
                </c:ext>
              </c:extLst>
            </c:dLbl>
            <c:dLbl>
              <c:idx val="2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BFDA-4C69-8E79-A083B7EFBA29}"/>
                </c:ext>
              </c:extLst>
            </c:dLbl>
            <c:dLbl>
              <c:idx val="2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5-BFDA-4C69-8E79-A083B7EFBA29}"/>
                </c:ext>
              </c:extLst>
            </c:dLbl>
            <c:dLbl>
              <c:idx val="2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6-BFDA-4C69-8E79-A083B7EFBA29}"/>
                </c:ext>
              </c:extLst>
            </c:dLbl>
            <c:dLbl>
              <c:idx val="3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7-BFDA-4C69-8E79-A083B7EFBA29}"/>
                </c:ext>
              </c:extLst>
            </c:dLbl>
            <c:dLbl>
              <c:idx val="3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8-BFDA-4C69-8E79-A083B7EFBA29}"/>
                </c:ext>
              </c:extLst>
            </c:dLbl>
            <c:dLbl>
              <c:idx val="3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9-BFDA-4C69-8E79-A083B7EFBA29}"/>
                </c:ext>
              </c:extLst>
            </c:dLbl>
            <c:dLbl>
              <c:idx val="3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BFDA-4C69-8E79-A083B7EFBA29}"/>
                </c:ext>
              </c:extLst>
            </c:dLbl>
            <c:dLbl>
              <c:idx val="3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B-BFDA-4C69-8E79-A083B7EFBA29}"/>
                </c:ext>
              </c:extLst>
            </c:dLbl>
            <c:dLbl>
              <c:idx val="3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C-BFDA-4C69-8E79-A083B7EFBA29}"/>
                </c:ext>
              </c:extLst>
            </c:dLbl>
            <c:dLbl>
              <c:idx val="3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D-BFDA-4C69-8E79-A083B7EFBA29}"/>
                </c:ext>
              </c:extLst>
            </c:dLbl>
            <c:dLbl>
              <c:idx val="3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BFDA-4C69-8E79-A083B7EFBA29}"/>
                </c:ext>
              </c:extLst>
            </c:dLbl>
            <c:dLbl>
              <c:idx val="3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BFDA-4C69-8E79-A083B7EFBA29}"/>
                </c:ext>
              </c:extLst>
            </c:dLbl>
            <c:dLbl>
              <c:idx val="3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BFDA-4C69-8E79-A083B7EFBA29}"/>
                </c:ext>
              </c:extLst>
            </c:dLbl>
            <c:dLbl>
              <c:idx val="4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1-BFDA-4C69-8E79-A083B7EFBA29}"/>
                </c:ext>
              </c:extLst>
            </c:dLbl>
            <c:dLbl>
              <c:idx val="4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BFDA-4C69-8E79-A083B7EFBA29}"/>
                </c:ext>
              </c:extLst>
            </c:dLbl>
            <c:dLbl>
              <c:idx val="4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BFDA-4C69-8E79-A083B7EFBA29}"/>
                </c:ext>
              </c:extLst>
            </c:dLbl>
            <c:dLbl>
              <c:idx val="4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BFDA-4C69-8E79-A083B7EFBA29}"/>
                </c:ext>
              </c:extLst>
            </c:dLbl>
            <c:dLbl>
              <c:idx val="4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BFDA-4C69-8E79-A083B7EFBA29}"/>
                </c:ext>
              </c:extLst>
            </c:dLbl>
            <c:dLbl>
              <c:idx val="4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BFDA-4C69-8E79-A083B7EFBA29}"/>
                </c:ext>
              </c:extLst>
            </c:dLbl>
            <c:dLbl>
              <c:idx val="4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BFDA-4C69-8E79-A083B7EFBA29}"/>
                </c:ext>
              </c:extLst>
            </c:dLbl>
            <c:dLbl>
              <c:idx val="4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BFDA-4C69-8E79-A083B7EFBA29}"/>
                </c:ext>
              </c:extLst>
            </c:dLbl>
            <c:dLbl>
              <c:idx val="4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13</c:f>
              <c:numCache>
                <c:formatCode>General</c:formatCode>
                <c:ptCount val="12"/>
                <c:pt idx="0">
                  <c:v>0.3509</c:v>
                </c:pt>
                <c:pt idx="1">
                  <c:v>0.3383</c:v>
                </c:pt>
                <c:pt idx="2">
                  <c:v>0.2986</c:v>
                </c:pt>
                <c:pt idx="3">
                  <c:v>0.3345</c:v>
                </c:pt>
                <c:pt idx="4">
                  <c:v>0.356</c:v>
                </c:pt>
                <c:pt idx="5">
                  <c:v>0.3901</c:v>
                </c:pt>
                <c:pt idx="6">
                  <c:v>0.5465</c:v>
                </c:pt>
                <c:pt idx="7">
                  <c:v>0.5532</c:v>
                </c:pt>
                <c:pt idx="8">
                  <c:v>0.357</c:v>
                </c:pt>
                <c:pt idx="9">
                  <c:v>0.3518</c:v>
                </c:pt>
                <c:pt idx="10">
                  <c:v>0.3984</c:v>
                </c:pt>
                <c:pt idx="11">
                  <c:v>0.4621</c:v>
                </c:pt>
              </c:numCache>
            </c:numRef>
          </c:xVal>
          <c:yVal>
            <c:numRef>
              <c:f>Sheet1!$B$2:$B$13</c:f>
              <c:numCache>
                <c:formatCode>General</c:formatCode>
                <c:ptCount val="12"/>
                <c:pt idx="0">
                  <c:v>12114.479591836734</c:v>
                </c:pt>
                <c:pt idx="1">
                  <c:v>535.8648648648649</c:v>
                </c:pt>
                <c:pt idx="2">
                  <c:v>11147.282828282829</c:v>
                </c:pt>
                <c:pt idx="3">
                  <c:v>3558.674157303371</c:v>
                </c:pt>
                <c:pt idx="4">
                  <c:v>1122.0923076923077</c:v>
                </c:pt>
                <c:pt idx="5">
                  <c:v>247.92156862745097</c:v>
                </c:pt>
                <c:pt idx="6">
                  <c:v>611.5573770491803</c:v>
                </c:pt>
                <c:pt idx="7">
                  <c:v>486.0487804878049</c:v>
                </c:pt>
                <c:pt idx="8">
                  <c:v>5526.197802197802</c:v>
                </c:pt>
                <c:pt idx="9">
                  <c:v>10084.61052631579</c:v>
                </c:pt>
                <c:pt idx="10">
                  <c:v>3883.3764705882354</c:v>
                </c:pt>
                <c:pt idx="11">
                  <c:v>989.6666666666666</c:v>
                </c:pt>
              </c:numCache>
            </c:numRef>
          </c:yVal>
          <c:bubbleSize>
            <c:numRef>
              <c:f>Sheet1!$C$2:$C$13</c:f>
              <c:numCache>
                <c:formatCode>General</c:formatCode>
                <c:ptCount val="12"/>
                <c:pt idx="0">
                  <c:v>730494.22</c:v>
                </c:pt>
                <c:pt idx="1">
                  <c:v>12435.3884</c:v>
                </c:pt>
                <c:pt idx="2">
                  <c:v>733678.5325999999</c:v>
                </c:pt>
                <c:pt idx="3">
                  <c:v>199793.7276</c:v>
                </c:pt>
                <c:pt idx="4">
                  <c:v>44525.3437</c:v>
                </c:pt>
                <c:pt idx="5">
                  <c:v>7309.838999999999</c:v>
                </c:pt>
                <c:pt idx="6">
                  <c:v>16035.281699999998</c:v>
                </c:pt>
                <c:pt idx="7">
                  <c:v>8438.853000000001</c:v>
                </c:pt>
                <c:pt idx="8">
                  <c:v>306494.22589999996</c:v>
                </c:pt>
                <c:pt idx="9">
                  <c:v>588623.4519</c:v>
                </c:pt>
                <c:pt idx="10">
                  <c:v>188241.61899999998</c:v>
                </c:pt>
                <c:pt idx="11">
                  <c:v>1513.6466000000003</c:v>
                </c:pt>
              </c:numCache>
            </c:numRef>
          </c:bubbleSize>
          <c:bubble3D val="0"/>
          <c:extLst>
            <c:ext xmlns:c15="http://schemas.microsoft.com/office/drawing/2012/chart" uri="{02D57815-91ED-43cb-92C2-25804820EDAC}">
              <c15:datalabelsRange>
                <c15:f>Sheet1!$E$2:$E$50</c15:f>
                <c15:dlblRangeCache>
                  <c:ptCount val="49"/>
                  <c:pt idx="0">
                    <c:v>Findus Merluzzo Altro Findus Fish Bar 245GR</c:v>
                  </c:pt>
                  <c:pt idx="1">
                    <c:v>Findus Merluzzo D Alaska Chips Findus Big Burger 227GR</c:v>
                  </c:pt>
                  <c:pt idx="2">
                    <c:v>Findus Merluzzo D Alaska Standard Findus Big Burger 227GR</c:v>
                  </c:pt>
                  <c:pt idx="3">
                    <c:v>Findus Merluzzo E Spinaci Filetto Findus Croccole 300GR</c:v>
                  </c:pt>
                  <c:pt idx="4">
                    <c:v>Findus Merluzzo Filetto Findus Croccole 300GR</c:v>
                  </c:pt>
                  <c:pt idx="5">
                    <c:v>Findus Merluzzo Filetto Findus Croccole 600GR</c:v>
                  </c:pt>
                  <c:pt idx="6">
                    <c:v>Findus Merluzzo Filetto Findus Fish &amp; Crock 250GR</c:v>
                  </c:pt>
                  <c:pt idx="7">
                    <c:v>Findus Merluzzo Filetto Findus Fish Bar 240GR</c:v>
                  </c:pt>
                  <c:pt idx="8">
                    <c:v>Findus Merluzzo Semi Filetto Findus Croccole 300GR</c:v>
                  </c:pt>
                  <c:pt idx="9">
                    <c:v>Findus Merluzzo Senza Glutine Filetto Findus Croccole 250GR</c:v>
                  </c:pt>
                  <c:pt idx="10">
                    <c:v>Findus Platessa Filetto Findus Platessa 250GR</c:v>
                  </c:pt>
                  <c:pt idx="11">
                    <c:v>Findus Salmone Altro Findus Fish Bar 220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3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441EBBCC-E0B9-4B6A-9DC3-1A95F25F3B1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5D1590A1-2D00-4FC8-A198-F9E9F2D1A7C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95977E96-A88F-4972-A886-4649CE01AC4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B4DCD5E6-3DA0-4EA7-B9F8-EFF39DD73AD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189657AA-FCB3-42B2-9B2E-88649E73700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A22B64E9-10EF-47F4-8800-9631B78D302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DEF9E193-92BF-4302-9F91-6A4B8FC0E23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5-BFDA-4C69-8E79-A083B7EFBA29}"/>
                </c:ext>
              </c:extLst>
            </c:dLbl>
            <c:dLbl>
              <c:idx val="1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BFDA-4C69-8E79-A083B7EFBA29}"/>
                </c:ext>
              </c:extLst>
            </c:dLbl>
            <c:dLbl>
              <c:idx val="1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BFDA-4C69-8E79-A083B7EFBA29}"/>
                </c:ext>
              </c:extLst>
            </c:dLbl>
            <c:dLbl>
              <c:idx val="1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BFDA-4C69-8E79-A083B7EFBA29}"/>
                </c:ext>
              </c:extLst>
            </c:dLbl>
            <c:dLbl>
              <c:idx val="1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9-BFDA-4C69-8E79-A083B7EFBA29}"/>
                </c:ext>
              </c:extLst>
            </c:dLbl>
            <c:dLbl>
              <c:idx val="1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A-BFDA-4C69-8E79-A083B7EFBA29}"/>
                </c:ext>
              </c:extLst>
            </c:dLbl>
            <c:dLbl>
              <c:idx val="1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B-BFDA-4C69-8E79-A083B7EFBA29}"/>
                </c:ext>
              </c:extLst>
            </c:dLbl>
            <c:dLbl>
              <c:idx val="1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C-BFDA-4C69-8E79-A083B7EFBA29}"/>
                </c:ext>
              </c:extLst>
            </c:dLbl>
            <c:dLbl>
              <c:idx val="2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BFDA-4C69-8E79-A083B7EFBA29}"/>
                </c:ext>
              </c:extLst>
            </c:dLbl>
            <c:dLbl>
              <c:idx val="2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BFDA-4C69-8E79-A083B7EFBA29}"/>
                </c:ext>
              </c:extLst>
            </c:dLbl>
            <c:dLbl>
              <c:idx val="2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F-BFDA-4C69-8E79-A083B7EFBA29}"/>
                </c:ext>
              </c:extLst>
            </c:dLbl>
            <c:dLbl>
              <c:idx val="2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0-BFDA-4C69-8E79-A083B7EFBA29}"/>
                </c:ext>
              </c:extLst>
            </c:dLbl>
            <c:dLbl>
              <c:idx val="2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1-BFDA-4C69-8E79-A083B7EFBA29}"/>
                </c:ext>
              </c:extLst>
            </c:dLbl>
            <c:dLbl>
              <c:idx val="2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BFDA-4C69-8E79-A083B7EFBA29}"/>
                </c:ext>
              </c:extLst>
            </c:dLbl>
            <c:dLbl>
              <c:idx val="2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BFDA-4C69-8E79-A083B7EFBA29}"/>
                </c:ext>
              </c:extLst>
            </c:dLbl>
            <c:dLbl>
              <c:idx val="2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BFDA-4C69-8E79-A083B7EFBA29}"/>
                </c:ext>
              </c:extLst>
            </c:dLbl>
            <c:dLbl>
              <c:idx val="2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5-BFDA-4C69-8E79-A083B7EFBA29}"/>
                </c:ext>
              </c:extLst>
            </c:dLbl>
            <c:dLbl>
              <c:idx val="2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6-BFDA-4C69-8E79-A083B7EFBA29}"/>
                </c:ext>
              </c:extLst>
            </c:dLbl>
            <c:dLbl>
              <c:idx val="3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7-BFDA-4C69-8E79-A083B7EFBA29}"/>
                </c:ext>
              </c:extLst>
            </c:dLbl>
            <c:dLbl>
              <c:idx val="3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8-BFDA-4C69-8E79-A083B7EFBA29}"/>
                </c:ext>
              </c:extLst>
            </c:dLbl>
            <c:dLbl>
              <c:idx val="3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9-BFDA-4C69-8E79-A083B7EFBA29}"/>
                </c:ext>
              </c:extLst>
            </c:dLbl>
            <c:dLbl>
              <c:idx val="3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BFDA-4C69-8E79-A083B7EFBA29}"/>
                </c:ext>
              </c:extLst>
            </c:dLbl>
            <c:dLbl>
              <c:idx val="3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B-BFDA-4C69-8E79-A083B7EFBA29}"/>
                </c:ext>
              </c:extLst>
            </c:dLbl>
            <c:dLbl>
              <c:idx val="3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C-BFDA-4C69-8E79-A083B7EFBA29}"/>
                </c:ext>
              </c:extLst>
            </c:dLbl>
            <c:dLbl>
              <c:idx val="3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D-BFDA-4C69-8E79-A083B7EFBA29}"/>
                </c:ext>
              </c:extLst>
            </c:dLbl>
            <c:dLbl>
              <c:idx val="3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BFDA-4C69-8E79-A083B7EFBA29}"/>
                </c:ext>
              </c:extLst>
            </c:dLbl>
            <c:dLbl>
              <c:idx val="3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BFDA-4C69-8E79-A083B7EFBA29}"/>
                </c:ext>
              </c:extLst>
            </c:dLbl>
            <c:dLbl>
              <c:idx val="3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BFDA-4C69-8E79-A083B7EFBA29}"/>
                </c:ext>
              </c:extLst>
            </c:dLbl>
            <c:dLbl>
              <c:idx val="4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1-BFDA-4C69-8E79-A083B7EFBA29}"/>
                </c:ext>
              </c:extLst>
            </c:dLbl>
            <c:dLbl>
              <c:idx val="4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BFDA-4C69-8E79-A083B7EFBA29}"/>
                </c:ext>
              </c:extLst>
            </c:dLbl>
            <c:dLbl>
              <c:idx val="4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BFDA-4C69-8E79-A083B7EFBA29}"/>
                </c:ext>
              </c:extLst>
            </c:dLbl>
            <c:dLbl>
              <c:idx val="4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BFDA-4C69-8E79-A083B7EFBA29}"/>
                </c:ext>
              </c:extLst>
            </c:dLbl>
            <c:dLbl>
              <c:idx val="4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BFDA-4C69-8E79-A083B7EFBA29}"/>
                </c:ext>
              </c:extLst>
            </c:dLbl>
            <c:dLbl>
              <c:idx val="4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BFDA-4C69-8E79-A083B7EFBA29}"/>
                </c:ext>
              </c:extLst>
            </c:dLbl>
            <c:dLbl>
              <c:idx val="4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BFDA-4C69-8E79-A083B7EFBA29}"/>
                </c:ext>
              </c:extLst>
            </c:dLbl>
            <c:dLbl>
              <c:idx val="4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BFDA-4C69-8E79-A083B7EFBA29}"/>
                </c:ext>
              </c:extLst>
            </c:dLbl>
            <c:dLbl>
              <c:idx val="4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3</c:f>
              <c:numCache>
                <c:formatCode>General</c:formatCode>
                <c:ptCount val="2"/>
                <c:pt idx="0">
                  <c:v>0.4695</c:v>
                </c:pt>
                <c:pt idx="1">
                  <c:v>0.4249</c:v>
                </c:pt>
              </c:numCache>
            </c:numRef>
          </c:xVal>
          <c:yVal>
            <c:numRef>
              <c:f>Sheet1!$B$2:$B$3</c:f>
              <c:numCache>
                <c:formatCode>General</c:formatCode>
                <c:ptCount val="2"/>
                <c:pt idx="0">
                  <c:v>6336.732142857142</c:v>
                </c:pt>
                <c:pt idx="1">
                  <c:v>4204.222222222223</c:v>
                </c:pt>
              </c:numCache>
            </c:numRef>
          </c:yVal>
          <c:bubbleSize>
            <c:numRef>
              <c:f>Sheet1!$C$2:$C$3</c:f>
              <c:numCache>
                <c:formatCode>General</c:formatCode>
                <c:ptCount val="2"/>
                <c:pt idx="0">
                  <c:v>178439.9606</c:v>
                </c:pt>
                <c:pt idx="1">
                  <c:v>61878.7852</c:v>
                </c:pt>
              </c:numCache>
            </c:numRef>
          </c:bubbleSize>
          <c:bubble3D val="0"/>
          <c:extLst>
            <c:ext xmlns:c15="http://schemas.microsoft.com/office/drawing/2012/chart" uri="{02D57815-91ED-43cb-92C2-25804820EDAC}">
              <c15:datalabelsRange>
                <c15:f>Sheet1!$E$2:$E$50</c15:f>
                <c15:dlblRangeCache>
                  <c:ptCount val="49"/>
                  <c:pt idx="0">
                    <c:v>Findus Merluzzo Altro Findus Fish Bar 245GR</c:v>
                  </c:pt>
                  <c:pt idx="1">
                    <c:v>Findus Merluzzo D Alaska Chips Findus Big Burger 227GR</c:v>
                  </c:pt>
                  <c:pt idx="2">
                    <c:v>Findus Merluzzo D Alaska Standard Findus Big Burger 227GR</c:v>
                  </c:pt>
                  <c:pt idx="3">
                    <c:v>Findus Merluzzo E Spinaci Filetto Findus Croccole 300GR</c:v>
                  </c:pt>
                  <c:pt idx="4">
                    <c:v>Findus Merluzzo Filetto Findus Croccole 300GR</c:v>
                  </c:pt>
                  <c:pt idx="5">
                    <c:v>Findus Merluzzo Filetto Findus Croccole 600GR</c:v>
                  </c:pt>
                  <c:pt idx="6">
                    <c:v>Findus Merluzzo Filetto Findus Fish &amp; Crock 250GR</c:v>
                  </c:pt>
                  <c:pt idx="7">
                    <c:v>Findus Merluzzo Filetto Findus Fish Bar 240GR</c:v>
                  </c:pt>
                  <c:pt idx="8">
                    <c:v>Findus Merluzzo Semi Filetto Findus Croccole 300GR</c:v>
                  </c:pt>
                  <c:pt idx="9">
                    <c:v>Findus Merluzzo Senza Glutine Filetto Findus Croccole 250GR</c:v>
                  </c:pt>
                  <c:pt idx="10">
                    <c:v>Findus Platessa Filetto Findus Platessa 250GR</c:v>
                  </c:pt>
                  <c:pt idx="11">
                    <c:v>Findus Salmone Altro Findus Fish Bar 220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3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37D8877B-D95A-4E65-9A31-A4320D83D87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F827E8E2-51AA-4E12-A364-BB1D078180E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6B8E42AC-7E4D-42C5-90CD-ADB3614BAFC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DBA6707B-5675-4C8C-9ED4-2C3E43D4FDF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1B9FAD22-EDCF-48E2-8EF5-E7B9752A7E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397C6AFB-9DB9-4DBD-ADA9-34E4D167C68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CA459081-8583-45E2-85B5-60410E7A255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5-BFDA-4C69-8E79-A083B7EFBA29}"/>
                </c:ext>
              </c:extLst>
            </c:dLbl>
            <c:dLbl>
              <c:idx val="1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BFDA-4C69-8E79-A083B7EFBA29}"/>
                </c:ext>
              </c:extLst>
            </c:dLbl>
            <c:dLbl>
              <c:idx val="1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BFDA-4C69-8E79-A083B7EFBA29}"/>
                </c:ext>
              </c:extLst>
            </c:dLbl>
            <c:dLbl>
              <c:idx val="1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BFDA-4C69-8E79-A083B7EFBA29}"/>
                </c:ext>
              </c:extLst>
            </c:dLbl>
            <c:dLbl>
              <c:idx val="1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9-BFDA-4C69-8E79-A083B7EFBA29}"/>
                </c:ext>
              </c:extLst>
            </c:dLbl>
            <c:dLbl>
              <c:idx val="1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A-BFDA-4C69-8E79-A083B7EFBA29}"/>
                </c:ext>
              </c:extLst>
            </c:dLbl>
            <c:dLbl>
              <c:idx val="1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B-BFDA-4C69-8E79-A083B7EFBA29}"/>
                </c:ext>
              </c:extLst>
            </c:dLbl>
            <c:dLbl>
              <c:idx val="1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C-BFDA-4C69-8E79-A083B7EFBA29}"/>
                </c:ext>
              </c:extLst>
            </c:dLbl>
            <c:dLbl>
              <c:idx val="2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BFDA-4C69-8E79-A083B7EFBA29}"/>
                </c:ext>
              </c:extLst>
            </c:dLbl>
            <c:dLbl>
              <c:idx val="2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BFDA-4C69-8E79-A083B7EFBA29}"/>
                </c:ext>
              </c:extLst>
            </c:dLbl>
            <c:dLbl>
              <c:idx val="2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F-BFDA-4C69-8E79-A083B7EFBA29}"/>
                </c:ext>
              </c:extLst>
            </c:dLbl>
            <c:dLbl>
              <c:idx val="2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0-BFDA-4C69-8E79-A083B7EFBA29}"/>
                </c:ext>
              </c:extLst>
            </c:dLbl>
            <c:dLbl>
              <c:idx val="2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1-BFDA-4C69-8E79-A083B7EFBA29}"/>
                </c:ext>
              </c:extLst>
            </c:dLbl>
            <c:dLbl>
              <c:idx val="2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BFDA-4C69-8E79-A083B7EFBA29}"/>
                </c:ext>
              </c:extLst>
            </c:dLbl>
            <c:dLbl>
              <c:idx val="2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BFDA-4C69-8E79-A083B7EFBA29}"/>
                </c:ext>
              </c:extLst>
            </c:dLbl>
            <c:dLbl>
              <c:idx val="2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BFDA-4C69-8E79-A083B7EFBA29}"/>
                </c:ext>
              </c:extLst>
            </c:dLbl>
            <c:dLbl>
              <c:idx val="2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5-BFDA-4C69-8E79-A083B7EFBA29}"/>
                </c:ext>
              </c:extLst>
            </c:dLbl>
            <c:dLbl>
              <c:idx val="2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6-BFDA-4C69-8E79-A083B7EFBA29}"/>
                </c:ext>
              </c:extLst>
            </c:dLbl>
            <c:dLbl>
              <c:idx val="3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7-BFDA-4C69-8E79-A083B7EFBA29}"/>
                </c:ext>
              </c:extLst>
            </c:dLbl>
            <c:dLbl>
              <c:idx val="3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8-BFDA-4C69-8E79-A083B7EFBA29}"/>
                </c:ext>
              </c:extLst>
            </c:dLbl>
            <c:dLbl>
              <c:idx val="3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9-BFDA-4C69-8E79-A083B7EFBA29}"/>
                </c:ext>
              </c:extLst>
            </c:dLbl>
            <c:dLbl>
              <c:idx val="3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BFDA-4C69-8E79-A083B7EFBA29}"/>
                </c:ext>
              </c:extLst>
            </c:dLbl>
            <c:dLbl>
              <c:idx val="3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B-BFDA-4C69-8E79-A083B7EFBA29}"/>
                </c:ext>
              </c:extLst>
            </c:dLbl>
            <c:dLbl>
              <c:idx val="3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C-BFDA-4C69-8E79-A083B7EFBA29}"/>
                </c:ext>
              </c:extLst>
            </c:dLbl>
            <c:dLbl>
              <c:idx val="3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D-BFDA-4C69-8E79-A083B7EFBA29}"/>
                </c:ext>
              </c:extLst>
            </c:dLbl>
            <c:dLbl>
              <c:idx val="3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BFDA-4C69-8E79-A083B7EFBA29}"/>
                </c:ext>
              </c:extLst>
            </c:dLbl>
            <c:dLbl>
              <c:idx val="3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BFDA-4C69-8E79-A083B7EFBA29}"/>
                </c:ext>
              </c:extLst>
            </c:dLbl>
            <c:dLbl>
              <c:idx val="3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BFDA-4C69-8E79-A083B7EFBA29}"/>
                </c:ext>
              </c:extLst>
            </c:dLbl>
            <c:dLbl>
              <c:idx val="4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1-BFDA-4C69-8E79-A083B7EFBA29}"/>
                </c:ext>
              </c:extLst>
            </c:dLbl>
            <c:dLbl>
              <c:idx val="4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BFDA-4C69-8E79-A083B7EFBA29}"/>
                </c:ext>
              </c:extLst>
            </c:dLbl>
            <c:dLbl>
              <c:idx val="4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BFDA-4C69-8E79-A083B7EFBA29}"/>
                </c:ext>
              </c:extLst>
            </c:dLbl>
            <c:dLbl>
              <c:idx val="4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BFDA-4C69-8E79-A083B7EFBA29}"/>
                </c:ext>
              </c:extLst>
            </c:dLbl>
            <c:dLbl>
              <c:idx val="4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BFDA-4C69-8E79-A083B7EFBA29}"/>
                </c:ext>
              </c:extLst>
            </c:dLbl>
            <c:dLbl>
              <c:idx val="4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BFDA-4C69-8E79-A083B7EFBA29}"/>
                </c:ext>
              </c:extLst>
            </c:dLbl>
            <c:dLbl>
              <c:idx val="4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BFDA-4C69-8E79-A083B7EFBA29}"/>
                </c:ext>
              </c:extLst>
            </c:dLbl>
            <c:dLbl>
              <c:idx val="4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BFDA-4C69-8E79-A083B7EFBA29}"/>
                </c:ext>
              </c:extLst>
            </c:dLbl>
            <c:dLbl>
              <c:idx val="4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7</c:f>
              <c:numCache>
                <c:formatCode>General</c:formatCode>
                <c:ptCount val="6"/>
                <c:pt idx="0">
                  <c:v>0.3913</c:v>
                </c:pt>
                <c:pt idx="1">
                  <c:v>0.4277</c:v>
                </c:pt>
                <c:pt idx="2">
                  <c:v>0.4918</c:v>
                </c:pt>
                <c:pt idx="3">
                  <c:v>0.3924</c:v>
                </c:pt>
                <c:pt idx="4">
                  <c:v>0.4352</c:v>
                </c:pt>
                <c:pt idx="5">
                  <c:v>0.4273</c:v>
                </c:pt>
              </c:numCache>
            </c:numRef>
          </c:xVal>
          <c:yVal>
            <c:numRef>
              <c:f>Sheet1!$B$2:$B$7</c:f>
              <c:numCache>
                <c:formatCode>General</c:formatCode>
                <c:ptCount val="6"/>
                <c:pt idx="0">
                  <c:v>13191.32075471698</c:v>
                </c:pt>
                <c:pt idx="1">
                  <c:v>15938.253012048193</c:v>
                </c:pt>
                <c:pt idx="2">
                  <c:v>5998.125</c:v>
                </c:pt>
                <c:pt idx="3">
                  <c:v>456.8</c:v>
                </c:pt>
                <c:pt idx="4">
                  <c:v>1914.8181818181818</c:v>
                </c:pt>
                <c:pt idx="5">
                  <c:v>3634.8333333333335</c:v>
                </c:pt>
              </c:numCache>
            </c:numRef>
          </c:yVal>
          <c:bubbleSize>
            <c:numRef>
              <c:f>Sheet1!$C$2:$C$7</c:f>
              <c:numCache>
                <c:formatCode>General</c:formatCode>
                <c:ptCount val="6"/>
                <c:pt idx="0">
                  <c:v>403400.8740000001</c:v>
                </c:pt>
                <c:pt idx="1">
                  <c:v>717579.9723999999</c:v>
                </c:pt>
                <c:pt idx="2">
                  <c:v>23113.3438</c:v>
                </c:pt>
                <c:pt idx="3">
                  <c:v>2630.9526</c:v>
                </c:pt>
                <c:pt idx="4">
                  <c:v>11275.9124</c:v>
                </c:pt>
                <c:pt idx="5">
                  <c:v>23675.9073</c:v>
                </c:pt>
              </c:numCache>
            </c:numRef>
          </c:bubbleSize>
          <c:bubble3D val="0"/>
          <c:extLst>
            <c:ext xmlns:c15="http://schemas.microsoft.com/office/drawing/2012/chart" uri="{02D57815-91ED-43cb-92C2-25804820EDAC}">
              <c15:datalabelsRange>
                <c15:f>Sheet1!$E$2:$E$50</c15:f>
                <c15:dlblRangeCache>
                  <c:ptCount val="49"/>
                  <c:pt idx="0">
                    <c:v>Findus Merluzzo Altro Findus Fish Bar 245GR</c:v>
                  </c:pt>
                  <c:pt idx="1">
                    <c:v>Findus Merluzzo D Alaska Chips Findus Big Burger 227GR</c:v>
                  </c:pt>
                  <c:pt idx="2">
                    <c:v>Findus Merluzzo D Alaska Standard Findus Big Burger 227GR</c:v>
                  </c:pt>
                  <c:pt idx="3">
                    <c:v>Findus Merluzzo E Spinaci Filetto Findus Croccole 300GR</c:v>
                  </c:pt>
                  <c:pt idx="4">
                    <c:v>Findus Merluzzo Filetto Findus Croccole 300GR</c:v>
                  </c:pt>
                  <c:pt idx="5">
                    <c:v>Findus Merluzzo Filetto Findus Croccole 600GR</c:v>
                  </c:pt>
                  <c:pt idx="6">
                    <c:v>Findus Merluzzo Filetto Findus Fish &amp; Crock 250GR</c:v>
                  </c:pt>
                  <c:pt idx="7">
                    <c:v>Findus Merluzzo Filetto Findus Fish Bar 240GR</c:v>
                  </c:pt>
                  <c:pt idx="8">
                    <c:v>Findus Merluzzo Semi Filetto Findus Croccole 300GR</c:v>
                  </c:pt>
                  <c:pt idx="9">
                    <c:v>Findus Merluzzo Senza Glutine Filetto Findus Croccole 250GR</c:v>
                  </c:pt>
                  <c:pt idx="10">
                    <c:v>Findus Platessa Filetto Findus Platessa 250GR</c:v>
                  </c:pt>
                  <c:pt idx="11">
                    <c:v>Findus Salmone Altro Findus Fish Bar 220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3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2EED6C1A-AA75-4ACE-B989-94704E17889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8F3FF4D5-F5CA-42F6-92DA-9744F239929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0544A6D8-D4B6-4135-886B-D97DBC6CDE6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BDB502F1-8967-45FC-A3E9-3A30E8FA561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2C588682-C7D3-4EC4-AEB7-3744032BC57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D877640E-F5A1-4796-8A6B-D7250A5E6FB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2BC14F2F-738A-4B2B-BB88-9B1691F2128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5-BFDA-4C69-8E79-A083B7EFBA29}"/>
                </c:ext>
              </c:extLst>
            </c:dLbl>
            <c:dLbl>
              <c:idx val="1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BFDA-4C69-8E79-A083B7EFBA29}"/>
                </c:ext>
              </c:extLst>
            </c:dLbl>
            <c:dLbl>
              <c:idx val="1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BFDA-4C69-8E79-A083B7EFBA29}"/>
                </c:ext>
              </c:extLst>
            </c:dLbl>
            <c:dLbl>
              <c:idx val="1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BFDA-4C69-8E79-A083B7EFBA29}"/>
                </c:ext>
              </c:extLst>
            </c:dLbl>
            <c:dLbl>
              <c:idx val="1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9-BFDA-4C69-8E79-A083B7EFBA29}"/>
                </c:ext>
              </c:extLst>
            </c:dLbl>
            <c:dLbl>
              <c:idx val="1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A-BFDA-4C69-8E79-A083B7EFBA29}"/>
                </c:ext>
              </c:extLst>
            </c:dLbl>
            <c:dLbl>
              <c:idx val="1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B-BFDA-4C69-8E79-A083B7EFBA29}"/>
                </c:ext>
              </c:extLst>
            </c:dLbl>
            <c:dLbl>
              <c:idx val="1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C-BFDA-4C69-8E79-A083B7EFBA29}"/>
                </c:ext>
              </c:extLst>
            </c:dLbl>
            <c:dLbl>
              <c:idx val="2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BFDA-4C69-8E79-A083B7EFBA29}"/>
                </c:ext>
              </c:extLst>
            </c:dLbl>
            <c:dLbl>
              <c:idx val="2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BFDA-4C69-8E79-A083B7EFBA29}"/>
                </c:ext>
              </c:extLst>
            </c:dLbl>
            <c:dLbl>
              <c:idx val="2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F-BFDA-4C69-8E79-A083B7EFBA29}"/>
                </c:ext>
              </c:extLst>
            </c:dLbl>
            <c:dLbl>
              <c:idx val="2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0-BFDA-4C69-8E79-A083B7EFBA29}"/>
                </c:ext>
              </c:extLst>
            </c:dLbl>
            <c:dLbl>
              <c:idx val="2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1-BFDA-4C69-8E79-A083B7EFBA29}"/>
                </c:ext>
              </c:extLst>
            </c:dLbl>
            <c:dLbl>
              <c:idx val="2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BFDA-4C69-8E79-A083B7EFBA29}"/>
                </c:ext>
              </c:extLst>
            </c:dLbl>
            <c:dLbl>
              <c:idx val="2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BFDA-4C69-8E79-A083B7EFBA29}"/>
                </c:ext>
              </c:extLst>
            </c:dLbl>
            <c:dLbl>
              <c:idx val="2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BFDA-4C69-8E79-A083B7EFBA29}"/>
                </c:ext>
              </c:extLst>
            </c:dLbl>
            <c:dLbl>
              <c:idx val="2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5-BFDA-4C69-8E79-A083B7EFBA29}"/>
                </c:ext>
              </c:extLst>
            </c:dLbl>
            <c:dLbl>
              <c:idx val="2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6-BFDA-4C69-8E79-A083B7EFBA29}"/>
                </c:ext>
              </c:extLst>
            </c:dLbl>
            <c:dLbl>
              <c:idx val="3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7-BFDA-4C69-8E79-A083B7EFBA29}"/>
                </c:ext>
              </c:extLst>
            </c:dLbl>
            <c:dLbl>
              <c:idx val="3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8-BFDA-4C69-8E79-A083B7EFBA29}"/>
                </c:ext>
              </c:extLst>
            </c:dLbl>
            <c:dLbl>
              <c:idx val="3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9-BFDA-4C69-8E79-A083B7EFBA29}"/>
                </c:ext>
              </c:extLst>
            </c:dLbl>
            <c:dLbl>
              <c:idx val="3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BFDA-4C69-8E79-A083B7EFBA29}"/>
                </c:ext>
              </c:extLst>
            </c:dLbl>
            <c:dLbl>
              <c:idx val="3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B-BFDA-4C69-8E79-A083B7EFBA29}"/>
                </c:ext>
              </c:extLst>
            </c:dLbl>
            <c:dLbl>
              <c:idx val="3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C-BFDA-4C69-8E79-A083B7EFBA29}"/>
                </c:ext>
              </c:extLst>
            </c:dLbl>
            <c:dLbl>
              <c:idx val="3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D-BFDA-4C69-8E79-A083B7EFBA29}"/>
                </c:ext>
              </c:extLst>
            </c:dLbl>
            <c:dLbl>
              <c:idx val="3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BFDA-4C69-8E79-A083B7EFBA29}"/>
                </c:ext>
              </c:extLst>
            </c:dLbl>
            <c:dLbl>
              <c:idx val="3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BFDA-4C69-8E79-A083B7EFBA29}"/>
                </c:ext>
              </c:extLst>
            </c:dLbl>
            <c:dLbl>
              <c:idx val="3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BFDA-4C69-8E79-A083B7EFBA29}"/>
                </c:ext>
              </c:extLst>
            </c:dLbl>
            <c:dLbl>
              <c:idx val="4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1-BFDA-4C69-8E79-A083B7EFBA29}"/>
                </c:ext>
              </c:extLst>
            </c:dLbl>
            <c:dLbl>
              <c:idx val="4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BFDA-4C69-8E79-A083B7EFBA29}"/>
                </c:ext>
              </c:extLst>
            </c:dLbl>
            <c:dLbl>
              <c:idx val="4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BFDA-4C69-8E79-A083B7EFBA29}"/>
                </c:ext>
              </c:extLst>
            </c:dLbl>
            <c:dLbl>
              <c:idx val="4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BFDA-4C69-8E79-A083B7EFBA29}"/>
                </c:ext>
              </c:extLst>
            </c:dLbl>
            <c:dLbl>
              <c:idx val="4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BFDA-4C69-8E79-A083B7EFBA29}"/>
                </c:ext>
              </c:extLst>
            </c:dLbl>
            <c:dLbl>
              <c:idx val="4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BFDA-4C69-8E79-A083B7EFBA29}"/>
                </c:ext>
              </c:extLst>
            </c:dLbl>
            <c:dLbl>
              <c:idx val="4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BFDA-4C69-8E79-A083B7EFBA29}"/>
                </c:ext>
              </c:extLst>
            </c:dLbl>
            <c:dLbl>
              <c:idx val="4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BFDA-4C69-8E79-A083B7EFBA29}"/>
                </c:ext>
              </c:extLst>
            </c:dLbl>
            <c:dLbl>
              <c:idx val="4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4</c:f>
              <c:numCache>
                <c:formatCode>General</c:formatCode>
                <c:ptCount val="3"/>
                <c:pt idx="0">
                  <c:v>0.4579</c:v>
                </c:pt>
                <c:pt idx="1">
                  <c:v>0.502</c:v>
                </c:pt>
                <c:pt idx="2">
                  <c:v>0.4019</c:v>
                </c:pt>
              </c:numCache>
            </c:numRef>
          </c:xVal>
          <c:yVal>
            <c:numRef>
              <c:f>Sheet1!$B$2:$B$4</c:f>
              <c:numCache>
                <c:formatCode>General</c:formatCode>
                <c:ptCount val="3"/>
                <c:pt idx="0">
                  <c:v>4455.919540229885</c:v>
                </c:pt>
                <c:pt idx="1">
                  <c:v>372.55263157894734</c:v>
                </c:pt>
                <c:pt idx="2">
                  <c:v>2162.531914893617</c:v>
                </c:pt>
              </c:numCache>
            </c:numRef>
          </c:yVal>
          <c:bubbleSize>
            <c:numRef>
              <c:f>Sheet1!$C$2:$C$4</c:f>
              <c:numCache>
                <c:formatCode>General</c:formatCode>
                <c:ptCount val="3"/>
                <c:pt idx="0">
                  <c:v>199191.6838</c:v>
                </c:pt>
                <c:pt idx="1">
                  <c:v>6682.76</c:v>
                </c:pt>
                <c:pt idx="2">
                  <c:v>115246.484</c:v>
                </c:pt>
              </c:numCache>
            </c:numRef>
          </c:bubbleSize>
          <c:bubble3D val="0"/>
          <c:extLst>
            <c:ext xmlns:c15="http://schemas.microsoft.com/office/drawing/2012/chart" uri="{02D57815-91ED-43cb-92C2-25804820EDAC}">
              <c15:datalabelsRange>
                <c15:f>Sheet1!$E$2:$E$50</c15:f>
                <c15:dlblRangeCache>
                  <c:ptCount val="49"/>
                  <c:pt idx="0">
                    <c:v>Findus Merluzzo Altro Findus Fish Bar 245GR</c:v>
                  </c:pt>
                  <c:pt idx="1">
                    <c:v>Findus Merluzzo D Alaska Chips Findus Big Burger 227GR</c:v>
                  </c:pt>
                  <c:pt idx="2">
                    <c:v>Findus Merluzzo D Alaska Standard Findus Big Burger 227GR</c:v>
                  </c:pt>
                  <c:pt idx="3">
                    <c:v>Findus Merluzzo E Spinaci Filetto Findus Croccole 300GR</c:v>
                  </c:pt>
                  <c:pt idx="4">
                    <c:v>Findus Merluzzo Filetto Findus Croccole 300GR</c:v>
                  </c:pt>
                  <c:pt idx="5">
                    <c:v>Findus Merluzzo Filetto Findus Croccole 600GR</c:v>
                  </c:pt>
                  <c:pt idx="6">
                    <c:v>Findus Merluzzo Filetto Findus Fish &amp; Crock 250GR</c:v>
                  </c:pt>
                  <c:pt idx="7">
                    <c:v>Findus Merluzzo Filetto Findus Fish Bar 240GR</c:v>
                  </c:pt>
                  <c:pt idx="8">
                    <c:v>Findus Merluzzo Semi Filetto Findus Croccole 300GR</c:v>
                  </c:pt>
                  <c:pt idx="9">
                    <c:v>Findus Merluzzo Senza Glutine Filetto Findus Croccole 250GR</c:v>
                  </c:pt>
                  <c:pt idx="10">
                    <c:v>Findus Platessa Filetto Findus Platessa 250GR</c:v>
                  </c:pt>
                  <c:pt idx="11">
                    <c:v>Findus Salmone Altro Findus Fish Bar 220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3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955E5B68-A1B2-467A-A3AF-816B39934D5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F2F1FA88-527D-4216-B6CD-C7F8FD7C3AF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32EDC10B-2738-415B-BD1E-22930EEB01B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B9AFB88F-2CF9-45D1-8ED5-8C643D3737B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26FAF2F5-67D2-4D4A-9E4F-9FA89530C78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0A8A629B-A2E6-48C7-9001-2BB37632D96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970251B8-E7F9-4828-AF7A-6ECE7F797A4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5-BFDA-4C69-8E79-A083B7EFBA29}"/>
                </c:ext>
              </c:extLst>
            </c:dLbl>
            <c:dLbl>
              <c:idx val="1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BFDA-4C69-8E79-A083B7EFBA29}"/>
                </c:ext>
              </c:extLst>
            </c:dLbl>
            <c:dLbl>
              <c:idx val="1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BFDA-4C69-8E79-A083B7EFBA29}"/>
                </c:ext>
              </c:extLst>
            </c:dLbl>
            <c:dLbl>
              <c:idx val="1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BFDA-4C69-8E79-A083B7EFBA29}"/>
                </c:ext>
              </c:extLst>
            </c:dLbl>
            <c:dLbl>
              <c:idx val="1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9-BFDA-4C69-8E79-A083B7EFBA29}"/>
                </c:ext>
              </c:extLst>
            </c:dLbl>
            <c:dLbl>
              <c:idx val="1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A-BFDA-4C69-8E79-A083B7EFBA29}"/>
                </c:ext>
              </c:extLst>
            </c:dLbl>
            <c:dLbl>
              <c:idx val="1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B-BFDA-4C69-8E79-A083B7EFBA29}"/>
                </c:ext>
              </c:extLst>
            </c:dLbl>
            <c:dLbl>
              <c:idx val="1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C-BFDA-4C69-8E79-A083B7EFBA29}"/>
                </c:ext>
              </c:extLst>
            </c:dLbl>
            <c:dLbl>
              <c:idx val="2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BFDA-4C69-8E79-A083B7EFBA29}"/>
                </c:ext>
              </c:extLst>
            </c:dLbl>
            <c:dLbl>
              <c:idx val="2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BFDA-4C69-8E79-A083B7EFBA29}"/>
                </c:ext>
              </c:extLst>
            </c:dLbl>
            <c:dLbl>
              <c:idx val="2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F-BFDA-4C69-8E79-A083B7EFBA29}"/>
                </c:ext>
              </c:extLst>
            </c:dLbl>
            <c:dLbl>
              <c:idx val="2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0-BFDA-4C69-8E79-A083B7EFBA29}"/>
                </c:ext>
              </c:extLst>
            </c:dLbl>
            <c:dLbl>
              <c:idx val="2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1-BFDA-4C69-8E79-A083B7EFBA29}"/>
                </c:ext>
              </c:extLst>
            </c:dLbl>
            <c:dLbl>
              <c:idx val="2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BFDA-4C69-8E79-A083B7EFBA29}"/>
                </c:ext>
              </c:extLst>
            </c:dLbl>
            <c:dLbl>
              <c:idx val="2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BFDA-4C69-8E79-A083B7EFBA29}"/>
                </c:ext>
              </c:extLst>
            </c:dLbl>
            <c:dLbl>
              <c:idx val="2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BFDA-4C69-8E79-A083B7EFBA29}"/>
                </c:ext>
              </c:extLst>
            </c:dLbl>
            <c:dLbl>
              <c:idx val="2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5-BFDA-4C69-8E79-A083B7EFBA29}"/>
                </c:ext>
              </c:extLst>
            </c:dLbl>
            <c:dLbl>
              <c:idx val="2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6-BFDA-4C69-8E79-A083B7EFBA29}"/>
                </c:ext>
              </c:extLst>
            </c:dLbl>
            <c:dLbl>
              <c:idx val="3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7-BFDA-4C69-8E79-A083B7EFBA29}"/>
                </c:ext>
              </c:extLst>
            </c:dLbl>
            <c:dLbl>
              <c:idx val="3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8-BFDA-4C69-8E79-A083B7EFBA29}"/>
                </c:ext>
              </c:extLst>
            </c:dLbl>
            <c:dLbl>
              <c:idx val="3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9-BFDA-4C69-8E79-A083B7EFBA29}"/>
                </c:ext>
              </c:extLst>
            </c:dLbl>
            <c:dLbl>
              <c:idx val="3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BFDA-4C69-8E79-A083B7EFBA29}"/>
                </c:ext>
              </c:extLst>
            </c:dLbl>
            <c:dLbl>
              <c:idx val="3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B-BFDA-4C69-8E79-A083B7EFBA29}"/>
                </c:ext>
              </c:extLst>
            </c:dLbl>
            <c:dLbl>
              <c:idx val="3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C-BFDA-4C69-8E79-A083B7EFBA29}"/>
                </c:ext>
              </c:extLst>
            </c:dLbl>
            <c:dLbl>
              <c:idx val="3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D-BFDA-4C69-8E79-A083B7EFBA29}"/>
                </c:ext>
              </c:extLst>
            </c:dLbl>
            <c:dLbl>
              <c:idx val="3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BFDA-4C69-8E79-A083B7EFBA29}"/>
                </c:ext>
              </c:extLst>
            </c:dLbl>
            <c:dLbl>
              <c:idx val="3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BFDA-4C69-8E79-A083B7EFBA29}"/>
                </c:ext>
              </c:extLst>
            </c:dLbl>
            <c:dLbl>
              <c:idx val="3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BFDA-4C69-8E79-A083B7EFBA29}"/>
                </c:ext>
              </c:extLst>
            </c:dLbl>
            <c:dLbl>
              <c:idx val="4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1-BFDA-4C69-8E79-A083B7EFBA29}"/>
                </c:ext>
              </c:extLst>
            </c:dLbl>
            <c:dLbl>
              <c:idx val="4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BFDA-4C69-8E79-A083B7EFBA29}"/>
                </c:ext>
              </c:extLst>
            </c:dLbl>
            <c:dLbl>
              <c:idx val="4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BFDA-4C69-8E79-A083B7EFBA29}"/>
                </c:ext>
              </c:extLst>
            </c:dLbl>
            <c:dLbl>
              <c:idx val="4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BFDA-4C69-8E79-A083B7EFBA29}"/>
                </c:ext>
              </c:extLst>
            </c:dLbl>
            <c:dLbl>
              <c:idx val="4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BFDA-4C69-8E79-A083B7EFBA29}"/>
                </c:ext>
              </c:extLst>
            </c:dLbl>
            <c:dLbl>
              <c:idx val="4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BFDA-4C69-8E79-A083B7EFBA29}"/>
                </c:ext>
              </c:extLst>
            </c:dLbl>
            <c:dLbl>
              <c:idx val="4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BFDA-4C69-8E79-A083B7EFBA29}"/>
                </c:ext>
              </c:extLst>
            </c:dLbl>
            <c:dLbl>
              <c:idx val="4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BFDA-4C69-8E79-A083B7EFBA29}"/>
                </c:ext>
              </c:extLst>
            </c:dLbl>
            <c:dLbl>
              <c:idx val="4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13</c:f>
              <c:numCache>
                <c:formatCode>General</c:formatCode>
                <c:ptCount val="12"/>
                <c:pt idx="0">
                  <c:v>0.3507</c:v>
                </c:pt>
                <c:pt idx="1">
                  <c:v>0.3505</c:v>
                </c:pt>
                <c:pt idx="2">
                  <c:v>0.4196</c:v>
                </c:pt>
                <c:pt idx="3">
                  <c:v>0.3942</c:v>
                </c:pt>
                <c:pt idx="4">
                  <c:v>0.5027</c:v>
                </c:pt>
                <c:pt idx="5">
                  <c:v>0.3991</c:v>
                </c:pt>
                <c:pt idx="6">
                  <c:v>0.401</c:v>
                </c:pt>
                <c:pt idx="7">
                  <c:v>0.3693</c:v>
                </c:pt>
                <c:pt idx="8">
                  <c:v>0.4066</c:v>
                </c:pt>
                <c:pt idx="9">
                  <c:v>0.4816</c:v>
                </c:pt>
                <c:pt idx="10">
                  <c:v>0.4413</c:v>
                </c:pt>
                <c:pt idx="11">
                  <c:v>0.3822</c:v>
                </c:pt>
              </c:numCache>
            </c:numRef>
          </c:xVal>
          <c:yVal>
            <c:numRef>
              <c:f>Sheet1!$B$2:$B$13</c:f>
              <c:numCache>
                <c:formatCode>General</c:formatCode>
                <c:ptCount val="12"/>
                <c:pt idx="0">
                  <c:v>20176.727272727272</c:v>
                </c:pt>
                <c:pt idx="1">
                  <c:v>17911.57</c:v>
                </c:pt>
                <c:pt idx="2">
                  <c:v>6243.686868686868</c:v>
                </c:pt>
                <c:pt idx="3">
                  <c:v>7410.282828282829</c:v>
                </c:pt>
                <c:pt idx="4">
                  <c:v>464.8142857142857</c:v>
                </c:pt>
                <c:pt idx="5">
                  <c:v>2016.586206896552</c:v>
                </c:pt>
                <c:pt idx="6">
                  <c:v>8247.145833333334</c:v>
                </c:pt>
                <c:pt idx="7">
                  <c:v>20997.565656565657</c:v>
                </c:pt>
                <c:pt idx="8">
                  <c:v>6186.218390804598</c:v>
                </c:pt>
                <c:pt idx="9">
                  <c:v>8871.60824742268</c:v>
                </c:pt>
                <c:pt idx="10">
                  <c:v>4356.843373493976</c:v>
                </c:pt>
                <c:pt idx="11">
                  <c:v>5263.666666666667</c:v>
                </c:pt>
              </c:numCache>
            </c:numRef>
          </c:yVal>
          <c:bubbleSize>
            <c:numRef>
              <c:f>Sheet1!$C$2:$C$13</c:f>
              <c:numCache>
                <c:formatCode>General</c:formatCode>
                <c:ptCount val="12"/>
                <c:pt idx="0">
                  <c:v>1229378.2704</c:v>
                </c:pt>
                <c:pt idx="1">
                  <c:v>1102724.8402</c:v>
                </c:pt>
                <c:pt idx="2">
                  <c:v>340046.8445</c:v>
                </c:pt>
                <c:pt idx="3">
                  <c:v>421246.15119999996</c:v>
                </c:pt>
                <c:pt idx="4">
                  <c:v>14702.586299999999</c:v>
                </c:pt>
                <c:pt idx="5">
                  <c:v>33307.8298</c:v>
                </c:pt>
                <c:pt idx="6">
                  <c:v>449521.4904999999</c:v>
                </c:pt>
                <c:pt idx="7">
                  <c:v>1242709.427</c:v>
                </c:pt>
                <c:pt idx="8">
                  <c:v>302695.39999999997</c:v>
                </c:pt>
                <c:pt idx="9">
                  <c:v>422865.65939999995</c:v>
                </c:pt>
                <c:pt idx="10">
                  <c:v>191507.8531</c:v>
                </c:pt>
                <c:pt idx="11">
                  <c:v>295907.8751</c:v>
                </c:pt>
              </c:numCache>
            </c:numRef>
          </c:bubbleSize>
          <c:bubble3D val="0"/>
          <c:extLst>
            <c:ext xmlns:c15="http://schemas.microsoft.com/office/drawing/2012/chart" uri="{02D57815-91ED-43cb-92C2-25804820EDAC}">
              <c15:datalabelsRange>
                <c15:f>Sheet1!$E$2:$E$50</c15:f>
                <c15:dlblRangeCache>
                  <c:ptCount val="49"/>
                  <c:pt idx="0">
                    <c:v>Findus Merluzzo Altro Findus Fish Bar 245GR</c:v>
                  </c:pt>
                  <c:pt idx="1">
                    <c:v>Findus Merluzzo D Alaska Chips Findus Big Burger 227GR</c:v>
                  </c:pt>
                  <c:pt idx="2">
                    <c:v>Findus Merluzzo D Alaska Standard Findus Big Burger 227GR</c:v>
                  </c:pt>
                  <c:pt idx="3">
                    <c:v>Findus Merluzzo E Spinaci Filetto Findus Croccole 300GR</c:v>
                  </c:pt>
                  <c:pt idx="4">
                    <c:v>Findus Merluzzo Filetto Findus Croccole 300GR</c:v>
                  </c:pt>
                  <c:pt idx="5">
                    <c:v>Findus Merluzzo Filetto Findus Croccole 600GR</c:v>
                  </c:pt>
                  <c:pt idx="6">
                    <c:v>Findus Merluzzo Filetto Findus Fish &amp; Crock 250GR</c:v>
                  </c:pt>
                  <c:pt idx="7">
                    <c:v>Findus Merluzzo Filetto Findus Fish Bar 240GR</c:v>
                  </c:pt>
                  <c:pt idx="8">
                    <c:v>Findus Merluzzo Semi Filetto Findus Croccole 300GR</c:v>
                  </c:pt>
                  <c:pt idx="9">
                    <c:v>Findus Merluzzo Senza Glutine Filetto Findus Croccole 250GR</c:v>
                  </c:pt>
                  <c:pt idx="10">
                    <c:v>Findus Platessa Filetto Findus Platessa 250GR</c:v>
                  </c:pt>
                  <c:pt idx="11">
                    <c:v>Findus Salmone Altro Findus Fish Bar 220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3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54854CD8-0A3F-479A-8057-5A5F11A888B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17523019-21ED-46A6-B557-75CD05C4CAD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AB9DF23B-CC12-4D57-B093-641074118DF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4078FF86-BAA8-41BF-9E96-5D55A89B9A5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C3117C8A-6580-4407-BFA0-D12D8A7D6F8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E8D5B7DC-627E-4B33-8F12-A47BCA960E7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308982FA-C942-419D-AE8B-8AF396756A6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5-BFDA-4C69-8E79-A083B7EFBA29}"/>
                </c:ext>
              </c:extLst>
            </c:dLbl>
            <c:dLbl>
              <c:idx val="1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BFDA-4C69-8E79-A083B7EFBA29}"/>
                </c:ext>
              </c:extLst>
            </c:dLbl>
            <c:dLbl>
              <c:idx val="1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BFDA-4C69-8E79-A083B7EFBA29}"/>
                </c:ext>
              </c:extLst>
            </c:dLbl>
            <c:dLbl>
              <c:idx val="1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BFDA-4C69-8E79-A083B7EFBA29}"/>
                </c:ext>
              </c:extLst>
            </c:dLbl>
            <c:dLbl>
              <c:idx val="1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9-BFDA-4C69-8E79-A083B7EFBA29}"/>
                </c:ext>
              </c:extLst>
            </c:dLbl>
            <c:dLbl>
              <c:idx val="1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A-BFDA-4C69-8E79-A083B7EFBA29}"/>
                </c:ext>
              </c:extLst>
            </c:dLbl>
            <c:dLbl>
              <c:idx val="1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B-BFDA-4C69-8E79-A083B7EFBA29}"/>
                </c:ext>
              </c:extLst>
            </c:dLbl>
            <c:dLbl>
              <c:idx val="1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C-BFDA-4C69-8E79-A083B7EFBA29}"/>
                </c:ext>
              </c:extLst>
            </c:dLbl>
            <c:dLbl>
              <c:idx val="2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BFDA-4C69-8E79-A083B7EFBA29}"/>
                </c:ext>
              </c:extLst>
            </c:dLbl>
            <c:dLbl>
              <c:idx val="2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BFDA-4C69-8E79-A083B7EFBA29}"/>
                </c:ext>
              </c:extLst>
            </c:dLbl>
            <c:dLbl>
              <c:idx val="2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F-BFDA-4C69-8E79-A083B7EFBA29}"/>
                </c:ext>
              </c:extLst>
            </c:dLbl>
            <c:dLbl>
              <c:idx val="2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0-BFDA-4C69-8E79-A083B7EFBA29}"/>
                </c:ext>
              </c:extLst>
            </c:dLbl>
            <c:dLbl>
              <c:idx val="2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1-BFDA-4C69-8E79-A083B7EFBA29}"/>
                </c:ext>
              </c:extLst>
            </c:dLbl>
            <c:dLbl>
              <c:idx val="2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BFDA-4C69-8E79-A083B7EFBA29}"/>
                </c:ext>
              </c:extLst>
            </c:dLbl>
            <c:dLbl>
              <c:idx val="2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BFDA-4C69-8E79-A083B7EFBA29}"/>
                </c:ext>
              </c:extLst>
            </c:dLbl>
            <c:dLbl>
              <c:idx val="2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BFDA-4C69-8E79-A083B7EFBA29}"/>
                </c:ext>
              </c:extLst>
            </c:dLbl>
            <c:dLbl>
              <c:idx val="2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5-BFDA-4C69-8E79-A083B7EFBA29}"/>
                </c:ext>
              </c:extLst>
            </c:dLbl>
            <c:dLbl>
              <c:idx val="2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6-BFDA-4C69-8E79-A083B7EFBA29}"/>
                </c:ext>
              </c:extLst>
            </c:dLbl>
            <c:dLbl>
              <c:idx val="3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7-BFDA-4C69-8E79-A083B7EFBA29}"/>
                </c:ext>
              </c:extLst>
            </c:dLbl>
            <c:dLbl>
              <c:idx val="3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8-BFDA-4C69-8E79-A083B7EFBA29}"/>
                </c:ext>
              </c:extLst>
            </c:dLbl>
            <c:dLbl>
              <c:idx val="3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9-BFDA-4C69-8E79-A083B7EFBA29}"/>
                </c:ext>
              </c:extLst>
            </c:dLbl>
            <c:dLbl>
              <c:idx val="3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BFDA-4C69-8E79-A083B7EFBA29}"/>
                </c:ext>
              </c:extLst>
            </c:dLbl>
            <c:dLbl>
              <c:idx val="3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B-BFDA-4C69-8E79-A083B7EFBA29}"/>
                </c:ext>
              </c:extLst>
            </c:dLbl>
            <c:dLbl>
              <c:idx val="3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C-BFDA-4C69-8E79-A083B7EFBA29}"/>
                </c:ext>
              </c:extLst>
            </c:dLbl>
            <c:dLbl>
              <c:idx val="3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D-BFDA-4C69-8E79-A083B7EFBA29}"/>
                </c:ext>
              </c:extLst>
            </c:dLbl>
            <c:dLbl>
              <c:idx val="3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BFDA-4C69-8E79-A083B7EFBA29}"/>
                </c:ext>
              </c:extLst>
            </c:dLbl>
            <c:dLbl>
              <c:idx val="3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BFDA-4C69-8E79-A083B7EFBA29}"/>
                </c:ext>
              </c:extLst>
            </c:dLbl>
            <c:dLbl>
              <c:idx val="3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BFDA-4C69-8E79-A083B7EFBA29}"/>
                </c:ext>
              </c:extLst>
            </c:dLbl>
            <c:dLbl>
              <c:idx val="4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1-BFDA-4C69-8E79-A083B7EFBA29}"/>
                </c:ext>
              </c:extLst>
            </c:dLbl>
            <c:dLbl>
              <c:idx val="4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BFDA-4C69-8E79-A083B7EFBA29}"/>
                </c:ext>
              </c:extLst>
            </c:dLbl>
            <c:dLbl>
              <c:idx val="4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BFDA-4C69-8E79-A083B7EFBA29}"/>
                </c:ext>
              </c:extLst>
            </c:dLbl>
            <c:dLbl>
              <c:idx val="4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BFDA-4C69-8E79-A083B7EFBA29}"/>
                </c:ext>
              </c:extLst>
            </c:dLbl>
            <c:dLbl>
              <c:idx val="4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BFDA-4C69-8E79-A083B7EFBA29}"/>
                </c:ext>
              </c:extLst>
            </c:dLbl>
            <c:dLbl>
              <c:idx val="4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BFDA-4C69-8E79-A083B7EFBA29}"/>
                </c:ext>
              </c:extLst>
            </c:dLbl>
            <c:dLbl>
              <c:idx val="4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BFDA-4C69-8E79-A083B7EFBA29}"/>
                </c:ext>
              </c:extLst>
            </c:dLbl>
            <c:dLbl>
              <c:idx val="4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BFDA-4C69-8E79-A083B7EFBA29}"/>
                </c:ext>
              </c:extLst>
            </c:dLbl>
            <c:dLbl>
              <c:idx val="4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4</c:f>
              <c:numCache>
                <c:formatCode>General</c:formatCode>
                <c:ptCount val="3"/>
                <c:pt idx="0">
                  <c:v>0.4399</c:v>
                </c:pt>
                <c:pt idx="1">
                  <c:v>0.4881</c:v>
                </c:pt>
                <c:pt idx="2">
                  <c:v>0.4628</c:v>
                </c:pt>
              </c:numCache>
            </c:numRef>
          </c:xVal>
          <c:yVal>
            <c:numRef>
              <c:f>Sheet1!$B$2:$B$4</c:f>
              <c:numCache>
                <c:formatCode>General</c:formatCode>
                <c:ptCount val="3"/>
                <c:pt idx="0">
                  <c:v>772.4949494949495</c:v>
                </c:pt>
                <c:pt idx="1">
                  <c:v>58.203125</c:v>
                </c:pt>
                <c:pt idx="2">
                  <c:v>474.734693877551</c:v>
                </c:pt>
              </c:numCache>
            </c:numRef>
          </c:yVal>
          <c:bubbleSize>
            <c:numRef>
              <c:f>Sheet1!$C$2:$C$4</c:f>
              <c:numCache>
                <c:formatCode>General</c:formatCode>
                <c:ptCount val="3"/>
                <c:pt idx="0">
                  <c:v>40602.4251</c:v>
                </c:pt>
                <c:pt idx="1">
                  <c:v>1807.5120000000002</c:v>
                </c:pt>
                <c:pt idx="2">
                  <c:v>23688.715</c:v>
                </c:pt>
              </c:numCache>
            </c:numRef>
          </c:bubbleSize>
          <c:bubble3D val="0"/>
          <c:extLst>
            <c:ext xmlns:c15="http://schemas.microsoft.com/office/drawing/2012/chart" uri="{02D57815-91ED-43cb-92C2-25804820EDAC}">
              <c15:datalabelsRange>
                <c15:f>Sheet1!$E$2:$E$50</c15:f>
                <c15:dlblRangeCache>
                  <c:ptCount val="49"/>
                  <c:pt idx="0">
                    <c:v>Findus Merluzzo Altro Findus Fish Bar 245GR</c:v>
                  </c:pt>
                  <c:pt idx="1">
                    <c:v>Findus Merluzzo D Alaska Chips Findus Big Burger 227GR</c:v>
                  </c:pt>
                  <c:pt idx="2">
                    <c:v>Findus Merluzzo D Alaska Standard Findus Big Burger 227GR</c:v>
                  </c:pt>
                  <c:pt idx="3">
                    <c:v>Findus Merluzzo E Spinaci Filetto Findus Croccole 300GR</c:v>
                  </c:pt>
                  <c:pt idx="4">
                    <c:v>Findus Merluzzo Filetto Findus Croccole 300GR</c:v>
                  </c:pt>
                  <c:pt idx="5">
                    <c:v>Findus Merluzzo Filetto Findus Croccole 600GR</c:v>
                  </c:pt>
                  <c:pt idx="6">
                    <c:v>Findus Merluzzo Filetto Findus Fish &amp; Crock 250GR</c:v>
                  </c:pt>
                  <c:pt idx="7">
                    <c:v>Findus Merluzzo Filetto Findus Fish Bar 240GR</c:v>
                  </c:pt>
                  <c:pt idx="8">
                    <c:v>Findus Merluzzo Semi Filetto Findus Croccole 300GR</c:v>
                  </c:pt>
                  <c:pt idx="9">
                    <c:v>Findus Merluzzo Senza Glutine Filetto Findus Croccole 250GR</c:v>
                  </c:pt>
                  <c:pt idx="10">
                    <c:v>Findus Platessa Filetto Findus Platessa 250GR</c:v>
                  </c:pt>
                  <c:pt idx="11">
                    <c:v>Findus Salmone Altro Findus Fish Bar 220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3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72C9F560-E687-4210-97D4-81B1E8E4E98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EDEB5FDE-1B4D-4418-813E-487C5EB9BE2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1552543E-A19A-452F-BA4D-BA8ED8F72F6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B3146FA5-8A3A-49F5-A560-5C3B15B32F8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1E1566ED-65F7-4C9F-8256-4C2BD3EAB92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24C5F677-53E7-43DF-9A94-3F424D98A7B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6F17911B-D04F-4EFD-8945-3D99B77ED58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5-BFDA-4C69-8E79-A083B7EFBA29}"/>
                </c:ext>
              </c:extLst>
            </c:dLbl>
            <c:dLbl>
              <c:idx val="1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BFDA-4C69-8E79-A083B7EFBA29}"/>
                </c:ext>
              </c:extLst>
            </c:dLbl>
            <c:dLbl>
              <c:idx val="1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BFDA-4C69-8E79-A083B7EFBA29}"/>
                </c:ext>
              </c:extLst>
            </c:dLbl>
            <c:dLbl>
              <c:idx val="1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BFDA-4C69-8E79-A083B7EFBA29}"/>
                </c:ext>
              </c:extLst>
            </c:dLbl>
            <c:dLbl>
              <c:idx val="1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9-BFDA-4C69-8E79-A083B7EFBA29}"/>
                </c:ext>
              </c:extLst>
            </c:dLbl>
            <c:dLbl>
              <c:idx val="1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A-BFDA-4C69-8E79-A083B7EFBA29}"/>
                </c:ext>
              </c:extLst>
            </c:dLbl>
            <c:dLbl>
              <c:idx val="1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B-BFDA-4C69-8E79-A083B7EFBA29}"/>
                </c:ext>
              </c:extLst>
            </c:dLbl>
            <c:dLbl>
              <c:idx val="1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C-BFDA-4C69-8E79-A083B7EFBA29}"/>
                </c:ext>
              </c:extLst>
            </c:dLbl>
            <c:dLbl>
              <c:idx val="2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BFDA-4C69-8E79-A083B7EFBA29}"/>
                </c:ext>
              </c:extLst>
            </c:dLbl>
            <c:dLbl>
              <c:idx val="2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BFDA-4C69-8E79-A083B7EFBA29}"/>
                </c:ext>
              </c:extLst>
            </c:dLbl>
            <c:dLbl>
              <c:idx val="2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F-BFDA-4C69-8E79-A083B7EFBA29}"/>
                </c:ext>
              </c:extLst>
            </c:dLbl>
            <c:dLbl>
              <c:idx val="2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0-BFDA-4C69-8E79-A083B7EFBA29}"/>
                </c:ext>
              </c:extLst>
            </c:dLbl>
            <c:dLbl>
              <c:idx val="2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1-BFDA-4C69-8E79-A083B7EFBA29}"/>
                </c:ext>
              </c:extLst>
            </c:dLbl>
            <c:dLbl>
              <c:idx val="2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BFDA-4C69-8E79-A083B7EFBA29}"/>
                </c:ext>
              </c:extLst>
            </c:dLbl>
            <c:dLbl>
              <c:idx val="2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BFDA-4C69-8E79-A083B7EFBA29}"/>
                </c:ext>
              </c:extLst>
            </c:dLbl>
            <c:dLbl>
              <c:idx val="2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BFDA-4C69-8E79-A083B7EFBA29}"/>
                </c:ext>
              </c:extLst>
            </c:dLbl>
            <c:dLbl>
              <c:idx val="2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5-BFDA-4C69-8E79-A083B7EFBA29}"/>
                </c:ext>
              </c:extLst>
            </c:dLbl>
            <c:dLbl>
              <c:idx val="2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6-BFDA-4C69-8E79-A083B7EFBA29}"/>
                </c:ext>
              </c:extLst>
            </c:dLbl>
            <c:dLbl>
              <c:idx val="3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7-BFDA-4C69-8E79-A083B7EFBA29}"/>
                </c:ext>
              </c:extLst>
            </c:dLbl>
            <c:dLbl>
              <c:idx val="3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8-BFDA-4C69-8E79-A083B7EFBA29}"/>
                </c:ext>
              </c:extLst>
            </c:dLbl>
            <c:dLbl>
              <c:idx val="3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9-BFDA-4C69-8E79-A083B7EFBA29}"/>
                </c:ext>
              </c:extLst>
            </c:dLbl>
            <c:dLbl>
              <c:idx val="3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BFDA-4C69-8E79-A083B7EFBA29}"/>
                </c:ext>
              </c:extLst>
            </c:dLbl>
            <c:dLbl>
              <c:idx val="3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B-BFDA-4C69-8E79-A083B7EFBA29}"/>
                </c:ext>
              </c:extLst>
            </c:dLbl>
            <c:dLbl>
              <c:idx val="3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C-BFDA-4C69-8E79-A083B7EFBA29}"/>
                </c:ext>
              </c:extLst>
            </c:dLbl>
            <c:dLbl>
              <c:idx val="3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D-BFDA-4C69-8E79-A083B7EFBA29}"/>
                </c:ext>
              </c:extLst>
            </c:dLbl>
            <c:dLbl>
              <c:idx val="3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BFDA-4C69-8E79-A083B7EFBA29}"/>
                </c:ext>
              </c:extLst>
            </c:dLbl>
            <c:dLbl>
              <c:idx val="3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BFDA-4C69-8E79-A083B7EFBA29}"/>
                </c:ext>
              </c:extLst>
            </c:dLbl>
            <c:dLbl>
              <c:idx val="3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BFDA-4C69-8E79-A083B7EFBA29}"/>
                </c:ext>
              </c:extLst>
            </c:dLbl>
            <c:dLbl>
              <c:idx val="4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1-BFDA-4C69-8E79-A083B7EFBA29}"/>
                </c:ext>
              </c:extLst>
            </c:dLbl>
            <c:dLbl>
              <c:idx val="4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BFDA-4C69-8E79-A083B7EFBA29}"/>
                </c:ext>
              </c:extLst>
            </c:dLbl>
            <c:dLbl>
              <c:idx val="4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BFDA-4C69-8E79-A083B7EFBA29}"/>
                </c:ext>
              </c:extLst>
            </c:dLbl>
            <c:dLbl>
              <c:idx val="4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BFDA-4C69-8E79-A083B7EFBA29}"/>
                </c:ext>
              </c:extLst>
            </c:dLbl>
            <c:dLbl>
              <c:idx val="4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BFDA-4C69-8E79-A083B7EFBA29}"/>
                </c:ext>
              </c:extLst>
            </c:dLbl>
            <c:dLbl>
              <c:idx val="4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BFDA-4C69-8E79-A083B7EFBA29}"/>
                </c:ext>
              </c:extLst>
            </c:dLbl>
            <c:dLbl>
              <c:idx val="4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BFDA-4C69-8E79-A083B7EFBA29}"/>
                </c:ext>
              </c:extLst>
            </c:dLbl>
            <c:dLbl>
              <c:idx val="4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BFDA-4C69-8E79-A083B7EFBA29}"/>
                </c:ext>
              </c:extLst>
            </c:dLbl>
            <c:dLbl>
              <c:idx val="4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13</c:f>
              <c:numCache>
                <c:formatCode>General</c:formatCode>
                <c:ptCount val="12"/>
                <c:pt idx="0">
                  <c:v>0.3453</c:v>
                </c:pt>
                <c:pt idx="1">
                  <c:v>0.3533</c:v>
                </c:pt>
                <c:pt idx="2">
                  <c:v>0.4141</c:v>
                </c:pt>
                <c:pt idx="3">
                  <c:v>0.3876</c:v>
                </c:pt>
                <c:pt idx="4">
                  <c:v>0.5716</c:v>
                </c:pt>
                <c:pt idx="5">
                  <c:v>0.379</c:v>
                </c:pt>
                <c:pt idx="6">
                  <c:v>0.3842</c:v>
                </c:pt>
                <c:pt idx="7">
                  <c:v>0.3714</c:v>
                </c:pt>
                <c:pt idx="8">
                  <c:v>0.4071</c:v>
                </c:pt>
                <c:pt idx="9">
                  <c:v>0.466</c:v>
                </c:pt>
                <c:pt idx="10">
                  <c:v>0.4228</c:v>
                </c:pt>
                <c:pt idx="11">
                  <c:v>0.3719</c:v>
                </c:pt>
              </c:numCache>
            </c:numRef>
          </c:xVal>
          <c:yVal>
            <c:numRef>
              <c:f>Sheet1!$B$2:$B$13</c:f>
              <c:numCache>
                <c:formatCode>General</c:formatCode>
                <c:ptCount val="12"/>
                <c:pt idx="0">
                  <c:v>3513.05</c:v>
                </c:pt>
                <c:pt idx="1">
                  <c:v>3000.58</c:v>
                </c:pt>
                <c:pt idx="2">
                  <c:v>982.89</c:v>
                </c:pt>
                <c:pt idx="3">
                  <c:v>1156.58</c:v>
                </c:pt>
                <c:pt idx="4">
                  <c:v>85.19565217391305</c:v>
                </c:pt>
                <c:pt idx="5">
                  <c:v>306.57142857142856</c:v>
                </c:pt>
                <c:pt idx="6">
                  <c:v>1363.8080808080808</c:v>
                </c:pt>
                <c:pt idx="7">
                  <c:v>4098.92</c:v>
                </c:pt>
                <c:pt idx="8">
                  <c:v>1431.0707070707072</c:v>
                </c:pt>
                <c:pt idx="9">
                  <c:v>1389.5656565656566</c:v>
                </c:pt>
                <c:pt idx="10">
                  <c:v>744.8673469387755</c:v>
                </c:pt>
                <c:pt idx="11">
                  <c:v>888.8282828282828</c:v>
                </c:pt>
              </c:numCache>
            </c:numRef>
          </c:yVal>
          <c:bubbleSize>
            <c:numRef>
              <c:f>Sheet1!$C$2:$C$13</c:f>
              <c:numCache>
                <c:formatCode>General</c:formatCode>
                <c:ptCount val="12"/>
                <c:pt idx="0">
                  <c:v>217995.5344</c:v>
                </c:pt>
                <c:pt idx="1">
                  <c:v>183944.61229999998</c:v>
                </c:pt>
                <c:pt idx="2">
                  <c:v>54583.746999999996</c:v>
                </c:pt>
                <c:pt idx="3">
                  <c:v>67138.9672</c:v>
                </c:pt>
                <c:pt idx="4">
                  <c:v>3133.9797</c:v>
                </c:pt>
                <c:pt idx="5">
                  <c:v>12632.8769</c:v>
                </c:pt>
                <c:pt idx="6">
                  <c:v>78814.35209999999</c:v>
                </c:pt>
                <c:pt idx="7">
                  <c:v>244236.8179</c:v>
                </c:pt>
                <c:pt idx="8">
                  <c:v>79625.80200000001</c:v>
                </c:pt>
                <c:pt idx="9">
                  <c:v>69631.62839999999</c:v>
                </c:pt>
                <c:pt idx="10">
                  <c:v>39937.712700000004</c:v>
                </c:pt>
                <c:pt idx="11">
                  <c:v>52391.7181</c:v>
                </c:pt>
              </c:numCache>
            </c:numRef>
          </c:bubbleSize>
          <c:bubble3D val="0"/>
          <c:extLst>
            <c:ext xmlns:c15="http://schemas.microsoft.com/office/drawing/2012/chart" uri="{02D57815-91ED-43cb-92C2-25804820EDAC}">
              <c15:datalabelsRange>
                <c15:f>Sheet1!$E$2:$E$50</c15:f>
                <c15:dlblRangeCache>
                  <c:ptCount val="49"/>
                  <c:pt idx="0">
                    <c:v>Findus Merluzzo Altro Findus Fish Bar 245GR</c:v>
                  </c:pt>
                  <c:pt idx="1">
                    <c:v>Findus Merluzzo D Alaska Chips Findus Big Burger 227GR</c:v>
                  </c:pt>
                  <c:pt idx="2">
                    <c:v>Findus Merluzzo D Alaska Standard Findus Big Burger 227GR</c:v>
                  </c:pt>
                  <c:pt idx="3">
                    <c:v>Findus Merluzzo E Spinaci Filetto Findus Croccole 300GR</c:v>
                  </c:pt>
                  <c:pt idx="4">
                    <c:v>Findus Merluzzo Filetto Findus Croccole 300GR</c:v>
                  </c:pt>
                  <c:pt idx="5">
                    <c:v>Findus Merluzzo Filetto Findus Croccole 600GR</c:v>
                  </c:pt>
                  <c:pt idx="6">
                    <c:v>Findus Merluzzo Filetto Findus Fish &amp; Crock 250GR</c:v>
                  </c:pt>
                  <c:pt idx="7">
                    <c:v>Findus Merluzzo Filetto Findus Fish Bar 240GR</c:v>
                  </c:pt>
                  <c:pt idx="8">
                    <c:v>Findus Merluzzo Semi Filetto Findus Croccole 300GR</c:v>
                  </c:pt>
                  <c:pt idx="9">
                    <c:v>Findus Merluzzo Senza Glutine Filetto Findus Croccole 250GR</c:v>
                  </c:pt>
                  <c:pt idx="10">
                    <c:v>Findus Platessa Filetto Findus Platessa 250GR</c:v>
                  </c:pt>
                  <c:pt idx="11">
                    <c:v>Findus Salmone Altro Findus Fish Bar 220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3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D0C9D1BB-C883-4892-9A69-563A3BF2B8A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E7A1D6EB-B70D-4D99-94B4-A1C5E7DD818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2087E875-893B-4489-8C0C-5FAB1720DFF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C61F1BF4-33A9-498C-8FFD-44E6B27EE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7C182178-C138-4C2E-B6C8-6FAA26ADB1A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C0C44A0E-3D6E-41F2-B715-E1B11DA8206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3290D690-C8BC-48AB-89BA-2D53DC61F80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5-BFDA-4C69-8E79-A083B7EFBA29}"/>
                </c:ext>
              </c:extLst>
            </c:dLbl>
            <c:dLbl>
              <c:idx val="1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BFDA-4C69-8E79-A083B7EFBA29}"/>
                </c:ext>
              </c:extLst>
            </c:dLbl>
            <c:dLbl>
              <c:idx val="1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BFDA-4C69-8E79-A083B7EFBA29}"/>
                </c:ext>
              </c:extLst>
            </c:dLbl>
            <c:dLbl>
              <c:idx val="1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BFDA-4C69-8E79-A083B7EFBA29}"/>
                </c:ext>
              </c:extLst>
            </c:dLbl>
            <c:dLbl>
              <c:idx val="1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9-BFDA-4C69-8E79-A083B7EFBA29}"/>
                </c:ext>
              </c:extLst>
            </c:dLbl>
            <c:dLbl>
              <c:idx val="1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A-BFDA-4C69-8E79-A083B7EFBA29}"/>
                </c:ext>
              </c:extLst>
            </c:dLbl>
            <c:dLbl>
              <c:idx val="1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B-BFDA-4C69-8E79-A083B7EFBA29}"/>
                </c:ext>
              </c:extLst>
            </c:dLbl>
            <c:dLbl>
              <c:idx val="1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C-BFDA-4C69-8E79-A083B7EFBA29}"/>
                </c:ext>
              </c:extLst>
            </c:dLbl>
            <c:dLbl>
              <c:idx val="2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BFDA-4C69-8E79-A083B7EFBA29}"/>
                </c:ext>
              </c:extLst>
            </c:dLbl>
            <c:dLbl>
              <c:idx val="2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BFDA-4C69-8E79-A083B7EFBA29}"/>
                </c:ext>
              </c:extLst>
            </c:dLbl>
            <c:dLbl>
              <c:idx val="2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F-BFDA-4C69-8E79-A083B7EFBA29}"/>
                </c:ext>
              </c:extLst>
            </c:dLbl>
            <c:dLbl>
              <c:idx val="2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0-BFDA-4C69-8E79-A083B7EFBA29}"/>
                </c:ext>
              </c:extLst>
            </c:dLbl>
            <c:dLbl>
              <c:idx val="2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1-BFDA-4C69-8E79-A083B7EFBA29}"/>
                </c:ext>
              </c:extLst>
            </c:dLbl>
            <c:dLbl>
              <c:idx val="2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BFDA-4C69-8E79-A083B7EFBA29}"/>
                </c:ext>
              </c:extLst>
            </c:dLbl>
            <c:dLbl>
              <c:idx val="2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BFDA-4C69-8E79-A083B7EFBA29}"/>
                </c:ext>
              </c:extLst>
            </c:dLbl>
            <c:dLbl>
              <c:idx val="2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BFDA-4C69-8E79-A083B7EFBA29}"/>
                </c:ext>
              </c:extLst>
            </c:dLbl>
            <c:dLbl>
              <c:idx val="2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5-BFDA-4C69-8E79-A083B7EFBA29}"/>
                </c:ext>
              </c:extLst>
            </c:dLbl>
            <c:dLbl>
              <c:idx val="2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6-BFDA-4C69-8E79-A083B7EFBA29}"/>
                </c:ext>
              </c:extLst>
            </c:dLbl>
            <c:dLbl>
              <c:idx val="3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7-BFDA-4C69-8E79-A083B7EFBA29}"/>
                </c:ext>
              </c:extLst>
            </c:dLbl>
            <c:dLbl>
              <c:idx val="3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8-BFDA-4C69-8E79-A083B7EFBA29}"/>
                </c:ext>
              </c:extLst>
            </c:dLbl>
            <c:dLbl>
              <c:idx val="3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9-BFDA-4C69-8E79-A083B7EFBA29}"/>
                </c:ext>
              </c:extLst>
            </c:dLbl>
            <c:dLbl>
              <c:idx val="3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BFDA-4C69-8E79-A083B7EFBA29}"/>
                </c:ext>
              </c:extLst>
            </c:dLbl>
            <c:dLbl>
              <c:idx val="3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B-BFDA-4C69-8E79-A083B7EFBA29}"/>
                </c:ext>
              </c:extLst>
            </c:dLbl>
            <c:dLbl>
              <c:idx val="3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C-BFDA-4C69-8E79-A083B7EFBA29}"/>
                </c:ext>
              </c:extLst>
            </c:dLbl>
            <c:dLbl>
              <c:idx val="3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D-BFDA-4C69-8E79-A083B7EFBA29}"/>
                </c:ext>
              </c:extLst>
            </c:dLbl>
            <c:dLbl>
              <c:idx val="3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BFDA-4C69-8E79-A083B7EFBA29}"/>
                </c:ext>
              </c:extLst>
            </c:dLbl>
            <c:dLbl>
              <c:idx val="3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BFDA-4C69-8E79-A083B7EFBA29}"/>
                </c:ext>
              </c:extLst>
            </c:dLbl>
            <c:dLbl>
              <c:idx val="3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BFDA-4C69-8E79-A083B7EFBA29}"/>
                </c:ext>
              </c:extLst>
            </c:dLbl>
            <c:dLbl>
              <c:idx val="4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1-BFDA-4C69-8E79-A083B7EFBA29}"/>
                </c:ext>
              </c:extLst>
            </c:dLbl>
            <c:dLbl>
              <c:idx val="4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BFDA-4C69-8E79-A083B7EFBA29}"/>
                </c:ext>
              </c:extLst>
            </c:dLbl>
            <c:dLbl>
              <c:idx val="4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BFDA-4C69-8E79-A083B7EFBA29}"/>
                </c:ext>
              </c:extLst>
            </c:dLbl>
            <c:dLbl>
              <c:idx val="4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BFDA-4C69-8E79-A083B7EFBA29}"/>
                </c:ext>
              </c:extLst>
            </c:dLbl>
            <c:dLbl>
              <c:idx val="4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BFDA-4C69-8E79-A083B7EFBA29}"/>
                </c:ext>
              </c:extLst>
            </c:dLbl>
            <c:dLbl>
              <c:idx val="4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BFDA-4C69-8E79-A083B7EFBA29}"/>
                </c:ext>
              </c:extLst>
            </c:dLbl>
            <c:dLbl>
              <c:idx val="4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BFDA-4C69-8E79-A083B7EFBA29}"/>
                </c:ext>
              </c:extLst>
            </c:dLbl>
            <c:dLbl>
              <c:idx val="4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BFDA-4C69-8E79-A083B7EFBA29}"/>
                </c:ext>
              </c:extLst>
            </c:dLbl>
            <c:dLbl>
              <c:idx val="4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3</c:f>
              <c:numCache>
                <c:formatCode>General</c:formatCode>
                <c:ptCount val="2"/>
                <c:pt idx="0">
                  <c:v>0.5003</c:v>
                </c:pt>
                <c:pt idx="1">
                  <c:v>0.4907</c:v>
                </c:pt>
              </c:numCache>
            </c:numRef>
          </c:xVal>
          <c:yVal>
            <c:numRef>
              <c:f>Sheet1!$B$2:$B$3</c:f>
              <c:numCache>
                <c:formatCode>General</c:formatCode>
                <c:ptCount val="2"/>
                <c:pt idx="0">
                  <c:v>1130.9545454545455</c:v>
                </c:pt>
                <c:pt idx="1">
                  <c:v>423.2</c:v>
                </c:pt>
              </c:numCache>
            </c:numRef>
          </c:yVal>
          <c:bubbleSize>
            <c:numRef>
              <c:f>Sheet1!$C$2:$C$3</c:f>
              <c:numCache>
                <c:formatCode>General</c:formatCode>
                <c:ptCount val="2"/>
                <c:pt idx="0">
                  <c:v>23568.027800000003</c:v>
                </c:pt>
                <c:pt idx="1">
                  <c:v>10215.879399999998</c:v>
                </c:pt>
              </c:numCache>
            </c:numRef>
          </c:bubbleSize>
          <c:bubble3D val="0"/>
          <c:extLst>
            <c:ext xmlns:c15="http://schemas.microsoft.com/office/drawing/2012/chart" uri="{02D57815-91ED-43cb-92C2-25804820EDAC}">
              <c15:datalabelsRange>
                <c15:f>Sheet1!$E$2:$E$50</c15:f>
                <c15:dlblRangeCache>
                  <c:ptCount val="49"/>
                  <c:pt idx="0">
                    <c:v>Findus Merluzzo Altro Findus Fish Bar 245GR</c:v>
                  </c:pt>
                  <c:pt idx="1">
                    <c:v>Findus Merluzzo D Alaska Chips Findus Big Burger 227GR</c:v>
                  </c:pt>
                  <c:pt idx="2">
                    <c:v>Findus Merluzzo D Alaska Standard Findus Big Burger 227GR</c:v>
                  </c:pt>
                  <c:pt idx="3">
                    <c:v>Findus Merluzzo E Spinaci Filetto Findus Croccole 300GR</c:v>
                  </c:pt>
                  <c:pt idx="4">
                    <c:v>Findus Merluzzo Filetto Findus Croccole 300GR</c:v>
                  </c:pt>
                  <c:pt idx="5">
                    <c:v>Findus Merluzzo Filetto Findus Croccole 600GR</c:v>
                  </c:pt>
                  <c:pt idx="6">
                    <c:v>Findus Merluzzo Filetto Findus Fish &amp; Crock 250GR</c:v>
                  </c:pt>
                  <c:pt idx="7">
                    <c:v>Findus Merluzzo Filetto Findus Fish Bar 240GR</c:v>
                  </c:pt>
                  <c:pt idx="8">
                    <c:v>Findus Merluzzo Semi Filetto Findus Croccole 300GR</c:v>
                  </c:pt>
                  <c:pt idx="9">
                    <c:v>Findus Merluzzo Senza Glutine Filetto Findus Croccole 250GR</c:v>
                  </c:pt>
                  <c:pt idx="10">
                    <c:v>Findus Platessa Filetto Findus Platessa 250GR</c:v>
                  </c:pt>
                  <c:pt idx="11">
                    <c:v>Findus Salmone Altro Findus Fish Bar 220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3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502D9CFF-8E47-4802-874E-38366172909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448137FC-4017-4486-900A-CCABF997E35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E72C34C9-ADE0-48E2-B28E-6C4F1218602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9C98168D-552E-4F94-853B-FCF0211229C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1817EC4C-386C-46D0-A224-7B15F0F26A8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B7F82618-F019-49BE-A8C6-A6558C7CC0B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6DF6DA26-8EEE-4AF1-A79A-69AE9F24B68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5-BFDA-4C69-8E79-A083B7EFBA29}"/>
                </c:ext>
              </c:extLst>
            </c:dLbl>
            <c:dLbl>
              <c:idx val="1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BFDA-4C69-8E79-A083B7EFBA29}"/>
                </c:ext>
              </c:extLst>
            </c:dLbl>
            <c:dLbl>
              <c:idx val="1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BFDA-4C69-8E79-A083B7EFBA29}"/>
                </c:ext>
              </c:extLst>
            </c:dLbl>
            <c:dLbl>
              <c:idx val="1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BFDA-4C69-8E79-A083B7EFBA29}"/>
                </c:ext>
              </c:extLst>
            </c:dLbl>
            <c:dLbl>
              <c:idx val="1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9-BFDA-4C69-8E79-A083B7EFBA29}"/>
                </c:ext>
              </c:extLst>
            </c:dLbl>
            <c:dLbl>
              <c:idx val="1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A-BFDA-4C69-8E79-A083B7EFBA29}"/>
                </c:ext>
              </c:extLst>
            </c:dLbl>
            <c:dLbl>
              <c:idx val="1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B-BFDA-4C69-8E79-A083B7EFBA29}"/>
                </c:ext>
              </c:extLst>
            </c:dLbl>
            <c:dLbl>
              <c:idx val="1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C-BFDA-4C69-8E79-A083B7EFBA29}"/>
                </c:ext>
              </c:extLst>
            </c:dLbl>
            <c:dLbl>
              <c:idx val="2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BFDA-4C69-8E79-A083B7EFBA29}"/>
                </c:ext>
              </c:extLst>
            </c:dLbl>
            <c:dLbl>
              <c:idx val="2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BFDA-4C69-8E79-A083B7EFBA29}"/>
                </c:ext>
              </c:extLst>
            </c:dLbl>
            <c:dLbl>
              <c:idx val="2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F-BFDA-4C69-8E79-A083B7EFBA29}"/>
                </c:ext>
              </c:extLst>
            </c:dLbl>
            <c:dLbl>
              <c:idx val="2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0-BFDA-4C69-8E79-A083B7EFBA29}"/>
                </c:ext>
              </c:extLst>
            </c:dLbl>
            <c:dLbl>
              <c:idx val="2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1-BFDA-4C69-8E79-A083B7EFBA29}"/>
                </c:ext>
              </c:extLst>
            </c:dLbl>
            <c:dLbl>
              <c:idx val="2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BFDA-4C69-8E79-A083B7EFBA29}"/>
                </c:ext>
              </c:extLst>
            </c:dLbl>
            <c:dLbl>
              <c:idx val="2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BFDA-4C69-8E79-A083B7EFBA29}"/>
                </c:ext>
              </c:extLst>
            </c:dLbl>
            <c:dLbl>
              <c:idx val="2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BFDA-4C69-8E79-A083B7EFBA29}"/>
                </c:ext>
              </c:extLst>
            </c:dLbl>
            <c:dLbl>
              <c:idx val="2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5-BFDA-4C69-8E79-A083B7EFBA29}"/>
                </c:ext>
              </c:extLst>
            </c:dLbl>
            <c:dLbl>
              <c:idx val="2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6-BFDA-4C69-8E79-A083B7EFBA29}"/>
                </c:ext>
              </c:extLst>
            </c:dLbl>
            <c:dLbl>
              <c:idx val="3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7-BFDA-4C69-8E79-A083B7EFBA29}"/>
                </c:ext>
              </c:extLst>
            </c:dLbl>
            <c:dLbl>
              <c:idx val="3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8-BFDA-4C69-8E79-A083B7EFBA29}"/>
                </c:ext>
              </c:extLst>
            </c:dLbl>
            <c:dLbl>
              <c:idx val="3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9-BFDA-4C69-8E79-A083B7EFBA29}"/>
                </c:ext>
              </c:extLst>
            </c:dLbl>
            <c:dLbl>
              <c:idx val="3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BFDA-4C69-8E79-A083B7EFBA29}"/>
                </c:ext>
              </c:extLst>
            </c:dLbl>
            <c:dLbl>
              <c:idx val="3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B-BFDA-4C69-8E79-A083B7EFBA29}"/>
                </c:ext>
              </c:extLst>
            </c:dLbl>
            <c:dLbl>
              <c:idx val="3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C-BFDA-4C69-8E79-A083B7EFBA29}"/>
                </c:ext>
              </c:extLst>
            </c:dLbl>
            <c:dLbl>
              <c:idx val="3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D-BFDA-4C69-8E79-A083B7EFBA29}"/>
                </c:ext>
              </c:extLst>
            </c:dLbl>
            <c:dLbl>
              <c:idx val="3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BFDA-4C69-8E79-A083B7EFBA29}"/>
                </c:ext>
              </c:extLst>
            </c:dLbl>
            <c:dLbl>
              <c:idx val="3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BFDA-4C69-8E79-A083B7EFBA29}"/>
                </c:ext>
              </c:extLst>
            </c:dLbl>
            <c:dLbl>
              <c:idx val="3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BFDA-4C69-8E79-A083B7EFBA29}"/>
                </c:ext>
              </c:extLst>
            </c:dLbl>
            <c:dLbl>
              <c:idx val="4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1-BFDA-4C69-8E79-A083B7EFBA29}"/>
                </c:ext>
              </c:extLst>
            </c:dLbl>
            <c:dLbl>
              <c:idx val="4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BFDA-4C69-8E79-A083B7EFBA29}"/>
                </c:ext>
              </c:extLst>
            </c:dLbl>
            <c:dLbl>
              <c:idx val="4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BFDA-4C69-8E79-A083B7EFBA29}"/>
                </c:ext>
              </c:extLst>
            </c:dLbl>
            <c:dLbl>
              <c:idx val="4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BFDA-4C69-8E79-A083B7EFBA29}"/>
                </c:ext>
              </c:extLst>
            </c:dLbl>
            <c:dLbl>
              <c:idx val="4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BFDA-4C69-8E79-A083B7EFBA29}"/>
                </c:ext>
              </c:extLst>
            </c:dLbl>
            <c:dLbl>
              <c:idx val="4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BFDA-4C69-8E79-A083B7EFBA29}"/>
                </c:ext>
              </c:extLst>
            </c:dLbl>
            <c:dLbl>
              <c:idx val="4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BFDA-4C69-8E79-A083B7EFBA29}"/>
                </c:ext>
              </c:extLst>
            </c:dLbl>
            <c:dLbl>
              <c:idx val="4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BFDA-4C69-8E79-A083B7EFBA29}"/>
                </c:ext>
              </c:extLst>
            </c:dLbl>
            <c:dLbl>
              <c:idx val="4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13</c:f>
              <c:numCache>
                <c:formatCode>General</c:formatCode>
                <c:ptCount val="12"/>
                <c:pt idx="0">
                  <c:v>0.3878</c:v>
                </c:pt>
                <c:pt idx="1">
                  <c:v>0.3979</c:v>
                </c:pt>
                <c:pt idx="2">
                  <c:v>0.4774</c:v>
                </c:pt>
                <c:pt idx="3">
                  <c:v>0.4548</c:v>
                </c:pt>
                <c:pt idx="4">
                  <c:v>0.574</c:v>
                </c:pt>
                <c:pt idx="5">
                  <c:v>0.4683</c:v>
                </c:pt>
                <c:pt idx="6">
                  <c:v>0.4403</c:v>
                </c:pt>
                <c:pt idx="7">
                  <c:v>0.4085</c:v>
                </c:pt>
                <c:pt idx="8">
                  <c:v>0.4149</c:v>
                </c:pt>
                <c:pt idx="9">
                  <c:v>0.5175</c:v>
                </c:pt>
                <c:pt idx="10">
                  <c:v>0.4811</c:v>
                </c:pt>
                <c:pt idx="11">
                  <c:v>0.4395</c:v>
                </c:pt>
              </c:numCache>
            </c:numRef>
          </c:xVal>
          <c:yVal>
            <c:numRef>
              <c:f>Sheet1!$B$2:$B$13</c:f>
              <c:numCache>
                <c:formatCode>General</c:formatCode>
                <c:ptCount val="12"/>
                <c:pt idx="0">
                  <c:v>3907.088888888889</c:v>
                </c:pt>
                <c:pt idx="1">
                  <c:v>3670.6632653061224</c:v>
                </c:pt>
                <c:pt idx="2">
                  <c:v>1491.433734939759</c:v>
                </c:pt>
                <c:pt idx="3">
                  <c:v>1809.314606741573</c:v>
                </c:pt>
                <c:pt idx="4">
                  <c:v>126.06060606060606</c:v>
                </c:pt>
                <c:pt idx="5">
                  <c:v>734.4166666666666</c:v>
                </c:pt>
                <c:pt idx="6">
                  <c:v>1990.4594594594594</c:v>
                </c:pt>
                <c:pt idx="7">
                  <c:v>2690.9662921348313</c:v>
                </c:pt>
                <c:pt idx="8">
                  <c:v>806.3125</c:v>
                </c:pt>
                <c:pt idx="9">
                  <c:v>2365.864197530864</c:v>
                </c:pt>
                <c:pt idx="10">
                  <c:v>756.1086956521739</c:v>
                </c:pt>
                <c:pt idx="11">
                  <c:v>1149.7733333333333</c:v>
                </c:pt>
              </c:numCache>
            </c:numRef>
          </c:yVal>
          <c:bubbleSize>
            <c:numRef>
              <c:f>Sheet1!$C$2:$C$13</c:f>
              <c:numCache>
                <c:formatCode>General</c:formatCode>
                <c:ptCount val="12"/>
                <c:pt idx="0">
                  <c:v>204011.4707</c:v>
                </c:pt>
                <c:pt idx="1">
                  <c:v>205291.0542</c:v>
                </c:pt>
                <c:pt idx="2">
                  <c:v>61319.443999999996</c:v>
                </c:pt>
                <c:pt idx="3">
                  <c:v>83208.5663</c:v>
                </c:pt>
                <c:pt idx="4">
                  <c:v>1546.954</c:v>
                </c:pt>
                <c:pt idx="5">
                  <c:v>4441.479</c:v>
                </c:pt>
                <c:pt idx="6">
                  <c:v>78143.92979999998</c:v>
                </c:pt>
                <c:pt idx="7">
                  <c:v>134266.816</c:v>
                </c:pt>
                <c:pt idx="8">
                  <c:v>28617.798000000003</c:v>
                </c:pt>
                <c:pt idx="9">
                  <c:v>87648.74079999999</c:v>
                </c:pt>
                <c:pt idx="10">
                  <c:v>17106.4579</c:v>
                </c:pt>
                <c:pt idx="11">
                  <c:v>45811.4927</c:v>
                </c:pt>
              </c:numCache>
            </c:numRef>
          </c:bubbleSize>
          <c:bubble3D val="0"/>
          <c:extLst>
            <c:ext xmlns:c15="http://schemas.microsoft.com/office/drawing/2012/chart" uri="{02D57815-91ED-43cb-92C2-25804820EDAC}">
              <c15:datalabelsRange>
                <c15:f>Sheet1!$E$2:$E$50</c15:f>
                <c15:dlblRangeCache>
                  <c:ptCount val="49"/>
                  <c:pt idx="0">
                    <c:v>Findus Merluzzo Altro Findus Fish Bar 245GR</c:v>
                  </c:pt>
                  <c:pt idx="1">
                    <c:v>Findus Merluzzo D Alaska Chips Findus Big Burger 227GR</c:v>
                  </c:pt>
                  <c:pt idx="2">
                    <c:v>Findus Merluzzo D Alaska Standard Findus Big Burger 227GR</c:v>
                  </c:pt>
                  <c:pt idx="3">
                    <c:v>Findus Merluzzo E Spinaci Filetto Findus Croccole 300GR</c:v>
                  </c:pt>
                  <c:pt idx="4">
                    <c:v>Findus Merluzzo Filetto Findus Croccole 300GR</c:v>
                  </c:pt>
                  <c:pt idx="5">
                    <c:v>Findus Merluzzo Filetto Findus Croccole 600GR</c:v>
                  </c:pt>
                  <c:pt idx="6">
                    <c:v>Findus Merluzzo Filetto Findus Fish &amp; Crock 250GR</c:v>
                  </c:pt>
                  <c:pt idx="7">
                    <c:v>Findus Merluzzo Filetto Findus Fish Bar 240GR</c:v>
                  </c:pt>
                  <c:pt idx="8">
                    <c:v>Findus Merluzzo Semi Filetto Findus Croccole 300GR</c:v>
                  </c:pt>
                  <c:pt idx="9">
                    <c:v>Findus Merluzzo Senza Glutine Filetto Findus Croccole 250GR</c:v>
                  </c:pt>
                  <c:pt idx="10">
                    <c:v>Findus Platessa Filetto Findus Platessa 250GR</c:v>
                  </c:pt>
                  <c:pt idx="11">
                    <c:v>Findus Salmone Altro Findus Fish Bar 220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3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F78F2F61-53AA-404B-AA56-F64880F60E2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A353409C-8B65-4CA9-859F-2D41F54BF56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0FC3DEB0-0CA0-4C38-BF17-46ED2112C0C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39AB7AC8-E141-4142-9B8A-EE32D6221AD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50285FA0-55A8-43D6-8093-D138A099D15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14239584-0D78-427C-82F5-BA365E7E09D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AB2247F1-4A5B-450C-9302-94973C5010C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5-BFDA-4C69-8E79-A083B7EFBA29}"/>
                </c:ext>
              </c:extLst>
            </c:dLbl>
            <c:dLbl>
              <c:idx val="1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BFDA-4C69-8E79-A083B7EFBA29}"/>
                </c:ext>
              </c:extLst>
            </c:dLbl>
            <c:dLbl>
              <c:idx val="1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BFDA-4C69-8E79-A083B7EFBA29}"/>
                </c:ext>
              </c:extLst>
            </c:dLbl>
            <c:dLbl>
              <c:idx val="1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BFDA-4C69-8E79-A083B7EFBA29}"/>
                </c:ext>
              </c:extLst>
            </c:dLbl>
            <c:dLbl>
              <c:idx val="1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9-BFDA-4C69-8E79-A083B7EFBA29}"/>
                </c:ext>
              </c:extLst>
            </c:dLbl>
            <c:dLbl>
              <c:idx val="1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A-BFDA-4C69-8E79-A083B7EFBA29}"/>
                </c:ext>
              </c:extLst>
            </c:dLbl>
            <c:dLbl>
              <c:idx val="1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B-BFDA-4C69-8E79-A083B7EFBA29}"/>
                </c:ext>
              </c:extLst>
            </c:dLbl>
            <c:dLbl>
              <c:idx val="1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C-BFDA-4C69-8E79-A083B7EFBA29}"/>
                </c:ext>
              </c:extLst>
            </c:dLbl>
            <c:dLbl>
              <c:idx val="2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BFDA-4C69-8E79-A083B7EFBA29}"/>
                </c:ext>
              </c:extLst>
            </c:dLbl>
            <c:dLbl>
              <c:idx val="2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BFDA-4C69-8E79-A083B7EFBA29}"/>
                </c:ext>
              </c:extLst>
            </c:dLbl>
            <c:dLbl>
              <c:idx val="2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F-BFDA-4C69-8E79-A083B7EFBA29}"/>
                </c:ext>
              </c:extLst>
            </c:dLbl>
            <c:dLbl>
              <c:idx val="2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0-BFDA-4C69-8E79-A083B7EFBA29}"/>
                </c:ext>
              </c:extLst>
            </c:dLbl>
            <c:dLbl>
              <c:idx val="2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1-BFDA-4C69-8E79-A083B7EFBA29}"/>
                </c:ext>
              </c:extLst>
            </c:dLbl>
            <c:dLbl>
              <c:idx val="2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BFDA-4C69-8E79-A083B7EFBA29}"/>
                </c:ext>
              </c:extLst>
            </c:dLbl>
            <c:dLbl>
              <c:idx val="2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BFDA-4C69-8E79-A083B7EFBA29}"/>
                </c:ext>
              </c:extLst>
            </c:dLbl>
            <c:dLbl>
              <c:idx val="2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BFDA-4C69-8E79-A083B7EFBA29}"/>
                </c:ext>
              </c:extLst>
            </c:dLbl>
            <c:dLbl>
              <c:idx val="2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5-BFDA-4C69-8E79-A083B7EFBA29}"/>
                </c:ext>
              </c:extLst>
            </c:dLbl>
            <c:dLbl>
              <c:idx val="2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6-BFDA-4C69-8E79-A083B7EFBA29}"/>
                </c:ext>
              </c:extLst>
            </c:dLbl>
            <c:dLbl>
              <c:idx val="3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7-BFDA-4C69-8E79-A083B7EFBA29}"/>
                </c:ext>
              </c:extLst>
            </c:dLbl>
            <c:dLbl>
              <c:idx val="3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8-BFDA-4C69-8E79-A083B7EFBA29}"/>
                </c:ext>
              </c:extLst>
            </c:dLbl>
            <c:dLbl>
              <c:idx val="3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9-BFDA-4C69-8E79-A083B7EFBA29}"/>
                </c:ext>
              </c:extLst>
            </c:dLbl>
            <c:dLbl>
              <c:idx val="3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BFDA-4C69-8E79-A083B7EFBA29}"/>
                </c:ext>
              </c:extLst>
            </c:dLbl>
            <c:dLbl>
              <c:idx val="3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B-BFDA-4C69-8E79-A083B7EFBA29}"/>
                </c:ext>
              </c:extLst>
            </c:dLbl>
            <c:dLbl>
              <c:idx val="3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C-BFDA-4C69-8E79-A083B7EFBA29}"/>
                </c:ext>
              </c:extLst>
            </c:dLbl>
            <c:dLbl>
              <c:idx val="3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D-BFDA-4C69-8E79-A083B7EFBA29}"/>
                </c:ext>
              </c:extLst>
            </c:dLbl>
            <c:dLbl>
              <c:idx val="3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BFDA-4C69-8E79-A083B7EFBA29}"/>
                </c:ext>
              </c:extLst>
            </c:dLbl>
            <c:dLbl>
              <c:idx val="3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BFDA-4C69-8E79-A083B7EFBA29}"/>
                </c:ext>
              </c:extLst>
            </c:dLbl>
            <c:dLbl>
              <c:idx val="3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BFDA-4C69-8E79-A083B7EFBA29}"/>
                </c:ext>
              </c:extLst>
            </c:dLbl>
            <c:dLbl>
              <c:idx val="4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1-BFDA-4C69-8E79-A083B7EFBA29}"/>
                </c:ext>
              </c:extLst>
            </c:dLbl>
            <c:dLbl>
              <c:idx val="4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BFDA-4C69-8E79-A083B7EFBA29}"/>
                </c:ext>
              </c:extLst>
            </c:dLbl>
            <c:dLbl>
              <c:idx val="4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BFDA-4C69-8E79-A083B7EFBA29}"/>
                </c:ext>
              </c:extLst>
            </c:dLbl>
            <c:dLbl>
              <c:idx val="4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BFDA-4C69-8E79-A083B7EFBA29}"/>
                </c:ext>
              </c:extLst>
            </c:dLbl>
            <c:dLbl>
              <c:idx val="4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BFDA-4C69-8E79-A083B7EFBA29}"/>
                </c:ext>
              </c:extLst>
            </c:dLbl>
            <c:dLbl>
              <c:idx val="4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BFDA-4C69-8E79-A083B7EFBA29}"/>
                </c:ext>
              </c:extLst>
            </c:dLbl>
            <c:dLbl>
              <c:idx val="4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BFDA-4C69-8E79-A083B7EFBA29}"/>
                </c:ext>
              </c:extLst>
            </c:dLbl>
            <c:dLbl>
              <c:idx val="4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BFDA-4C69-8E79-A083B7EFBA29}"/>
                </c:ext>
              </c:extLst>
            </c:dLbl>
            <c:dLbl>
              <c:idx val="4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7</c:f>
              <c:numCache>
                <c:formatCode>General</c:formatCode>
                <c:ptCount val="6"/>
                <c:pt idx="0">
                  <c:v>0.3974</c:v>
                </c:pt>
                <c:pt idx="1">
                  <c:v>0.4973</c:v>
                </c:pt>
                <c:pt idx="2">
                  <c:v>0.5497</c:v>
                </c:pt>
                <c:pt idx="3">
                  <c:v>0.4326</c:v>
                </c:pt>
                <c:pt idx="4">
                  <c:v>0.4189</c:v>
                </c:pt>
                <c:pt idx="5">
                  <c:v>0.394</c:v>
                </c:pt>
              </c:numCache>
            </c:numRef>
          </c:xVal>
          <c:yVal>
            <c:numRef>
              <c:f>Sheet1!$B$2:$B$7</c:f>
              <c:numCache>
                <c:formatCode>General</c:formatCode>
                <c:ptCount val="6"/>
                <c:pt idx="0">
                  <c:v>20726.22661122661</c:v>
                </c:pt>
                <c:pt idx="1">
                  <c:v>4221.722846441947</c:v>
                </c:pt>
                <c:pt idx="2">
                  <c:v>1752.3170731707319</c:v>
                </c:pt>
                <c:pt idx="3">
                  <c:v>5431.676866585068</c:v>
                </c:pt>
                <c:pt idx="4">
                  <c:v>2424.059405940594</c:v>
                </c:pt>
                <c:pt idx="5">
                  <c:v>1723.9541547277938</c:v>
                </c:pt>
              </c:numCache>
            </c:numRef>
          </c:yVal>
          <c:bubbleSize>
            <c:numRef>
              <c:f>Sheet1!$C$2:$C$7</c:f>
              <c:numCache>
                <c:formatCode>General</c:formatCode>
                <c:ptCount val="6"/>
                <c:pt idx="0">
                  <c:v>1138834.3723</c:v>
                </c:pt>
                <c:pt idx="1">
                  <c:v>161142.32499999995</c:v>
                </c:pt>
                <c:pt idx="2">
                  <c:v>55191.65740000001</c:v>
                </c:pt>
                <c:pt idx="3">
                  <c:v>238681.35979999995</c:v>
                </c:pt>
                <c:pt idx="4">
                  <c:v>94390.67159999999</c:v>
                </c:pt>
                <c:pt idx="5">
                  <c:v>69122.323</c:v>
                </c:pt>
              </c:numCache>
            </c:numRef>
          </c:bubbleSize>
          <c:bubble3D val="0"/>
          <c:extLst>
            <c:ext xmlns:c15="http://schemas.microsoft.com/office/drawing/2012/chart" uri="{02D57815-91ED-43cb-92C2-25804820EDAC}">
              <c15:datalabelsRange>
                <c15:f>Sheet1!$E$2:$E$50</c15:f>
                <c15:dlblRangeCache>
                  <c:ptCount val="49"/>
                  <c:pt idx="0">
                    <c:v>Findus Merluzzo Altro Findus Fish Bar 245GR</c:v>
                  </c:pt>
                  <c:pt idx="1">
                    <c:v>Findus Merluzzo D Alaska Chips Findus Big Burger 227GR</c:v>
                  </c:pt>
                  <c:pt idx="2">
                    <c:v>Findus Merluzzo D Alaska Standard Findus Big Burger 227GR</c:v>
                  </c:pt>
                  <c:pt idx="3">
                    <c:v>Findus Merluzzo E Spinaci Filetto Findus Croccole 300GR</c:v>
                  </c:pt>
                  <c:pt idx="4">
                    <c:v>Findus Merluzzo Filetto Findus Croccole 300GR</c:v>
                  </c:pt>
                  <c:pt idx="5">
                    <c:v>Findus Merluzzo Filetto Findus Croccole 600GR</c:v>
                  </c:pt>
                  <c:pt idx="6">
                    <c:v>Findus Merluzzo Filetto Findus Fish &amp; Crock 250GR</c:v>
                  </c:pt>
                  <c:pt idx="7">
                    <c:v>Findus Merluzzo Filetto Findus Fish Bar 240GR</c:v>
                  </c:pt>
                  <c:pt idx="8">
                    <c:v>Findus Merluzzo Semi Filetto Findus Croccole 300GR</c:v>
                  </c:pt>
                  <c:pt idx="9">
                    <c:v>Findus Merluzzo Senza Glutine Filetto Findus Croccole 250GR</c:v>
                  </c:pt>
                  <c:pt idx="10">
                    <c:v>Findus Platessa Filetto Findus Platessa 250GR</c:v>
                  </c:pt>
                  <c:pt idx="11">
                    <c:v>Findus Salmone Altro Findus Fish Bar 220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La Vache Qui Rit</c:v>
                </c:pt>
                <c:pt idx="1">
                  <c:v>Mini Babybel</c:v>
                </c:pt>
                <c:pt idx="2">
                  <c:v>Kiri</c:v>
                </c:pt>
                <c:pt idx="3">
                  <c:v>Private Label</c:v>
                </c:pt>
                <c:pt idx="4">
                  <c:v>Ficello</c:v>
                </c:pt>
                <c:pt idx="5">
                  <c:v>P'Tit Louis</c:v>
                </c:pt>
                <c:pt idx="6">
                  <c:v>Others</c:v>
                </c:pt>
              </c:strCache>
            </c:strRef>
          </c:cat>
          <c:val>
            <c:numRef>
              <c:f>Sheet1!$B$2:$B$8</c:f>
              <c:numCache>
                <c:formatCode>General</c:formatCode>
                <c:ptCount val="7"/>
                <c:pt idx="0">
                  <c:v>0.29931537598776903</c:v>
                </c:pt>
                <c:pt idx="1">
                  <c:v>0.25401889603584105</c:v>
                </c:pt>
                <c:pt idx="2">
                  <c:v>0.2153717282991666</c:v>
                </c:pt>
                <c:pt idx="3">
                  <c:v>0.13750191574979714</c:v>
                </c:pt>
                <c:pt idx="4">
                  <c:v>0.07373582197801652</c:v>
                </c:pt>
                <c:pt idx="5">
                  <c:v>0.02005434422030492</c:v>
                </c:pt>
                <c:pt idx="6">
                  <c:v>1.917729104718372e-06</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La Vache Qui Rit</c:v>
                </c:pt>
                <c:pt idx="1">
                  <c:v>Mini Babybel</c:v>
                </c:pt>
                <c:pt idx="2">
                  <c:v>Kiri</c:v>
                </c:pt>
                <c:pt idx="3">
                  <c:v>Private Label</c:v>
                </c:pt>
                <c:pt idx="4">
                  <c:v>Ficello</c:v>
                </c:pt>
                <c:pt idx="5">
                  <c:v>P'Tit Louis</c:v>
                </c:pt>
                <c:pt idx="6">
                  <c:v>Others</c:v>
                </c:pt>
              </c:strCache>
            </c:strRef>
          </c:cat>
          <c:val>
            <c:numRef>
              <c:f>Sheet1!$C$2:$C$8</c:f>
              <c:numCache>
                <c:formatCode>General</c:formatCode>
                <c:ptCount val="7"/>
                <c:pt idx="0">
                  <c:v>0.2518994739918176</c:v>
                </c:pt>
                <c:pt idx="1">
                  <c:v>0.24751607247223847</c:v>
                </c:pt>
                <c:pt idx="2">
                  <c:v>0.2659263588544711</c:v>
                </c:pt>
                <c:pt idx="3">
                  <c:v>0.11426066627703096</c:v>
                </c:pt>
                <c:pt idx="4">
                  <c:v>0.08299240210403273</c:v>
                </c:pt>
                <c:pt idx="5">
                  <c:v>0.03740502630040912</c:v>
                </c:pt>
                <c:pt idx="6">
                  <c:v>0.0</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La Vache Qui Rit</c:v>
                </c:pt>
                <c:pt idx="1">
                  <c:v>Mini Babybel</c:v>
                </c:pt>
                <c:pt idx="2">
                  <c:v>Kiri</c:v>
                </c:pt>
                <c:pt idx="3">
                  <c:v>Private Label</c:v>
                </c:pt>
                <c:pt idx="4">
                  <c:v>Ficello</c:v>
                </c:pt>
                <c:pt idx="5">
                  <c:v>P'Tit Louis</c:v>
                </c:pt>
                <c:pt idx="6">
                  <c:v>Others</c:v>
                </c:pt>
              </c:strCache>
            </c:strRef>
          </c:cat>
          <c:val>
            <c:numRef>
              <c:f>Sheet1!$D$2:$D$8</c:f>
              <c:numCache>
                <c:formatCode>General</c:formatCode>
                <c:ptCount val="7"/>
                <c:pt idx="0">
                  <c:v>84.15854787296695</c:v>
                </c:pt>
                <c:pt idx="1">
                  <c:v>97.44002368914907</c:v>
                </c:pt>
                <c:pt idx="2">
                  <c:v>123.47319722720546</c:v>
                </c:pt>
                <c:pt idx="3">
                  <c:v>83.09750860849336</c:v>
                </c:pt>
                <c:pt idx="4">
                  <c:v>112.55370846584711</c:v>
                </c:pt>
                <c:pt idx="5">
                  <c:v>186.51832186333337</c:v>
                </c:pt>
                <c:pt idx="6">
                  <c:v>1.0</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4BE64B05-41F8-46CB-8709-7AA8AE656ED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E31872D8-A886-473A-AD26-4D1CC99065D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40510EDD-75B7-4A99-9ABF-95A40DC16D3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75D648B5-081F-400E-A35F-F8994A4BF48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B7C420F9-C24E-4A28-8BDE-B929137CDBA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B0732772-1D5B-4BBD-8505-159F6237A0F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E670BB50-8F8F-4C0E-910D-E922E87478E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5-BFDA-4C69-8E79-A083B7EFBA29}"/>
                </c:ext>
              </c:extLst>
            </c:dLbl>
            <c:dLbl>
              <c:idx val="1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BFDA-4C69-8E79-A083B7EFBA29}"/>
                </c:ext>
              </c:extLst>
            </c:dLbl>
            <c:dLbl>
              <c:idx val="1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BFDA-4C69-8E79-A083B7EFBA29}"/>
                </c:ext>
              </c:extLst>
            </c:dLbl>
            <c:dLbl>
              <c:idx val="1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BFDA-4C69-8E79-A083B7EFBA29}"/>
                </c:ext>
              </c:extLst>
            </c:dLbl>
            <c:dLbl>
              <c:idx val="1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9-BFDA-4C69-8E79-A083B7EFBA29}"/>
                </c:ext>
              </c:extLst>
            </c:dLbl>
            <c:dLbl>
              <c:idx val="1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A-BFDA-4C69-8E79-A083B7EFBA29}"/>
                </c:ext>
              </c:extLst>
            </c:dLbl>
            <c:dLbl>
              <c:idx val="1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B-BFDA-4C69-8E79-A083B7EFBA29}"/>
                </c:ext>
              </c:extLst>
            </c:dLbl>
            <c:dLbl>
              <c:idx val="1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C-BFDA-4C69-8E79-A083B7EFBA29}"/>
                </c:ext>
              </c:extLst>
            </c:dLbl>
            <c:dLbl>
              <c:idx val="2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BFDA-4C69-8E79-A083B7EFBA29}"/>
                </c:ext>
              </c:extLst>
            </c:dLbl>
            <c:dLbl>
              <c:idx val="2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BFDA-4C69-8E79-A083B7EFBA29}"/>
                </c:ext>
              </c:extLst>
            </c:dLbl>
            <c:dLbl>
              <c:idx val="2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F-BFDA-4C69-8E79-A083B7EFBA29}"/>
                </c:ext>
              </c:extLst>
            </c:dLbl>
            <c:dLbl>
              <c:idx val="2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0-BFDA-4C69-8E79-A083B7EFBA29}"/>
                </c:ext>
              </c:extLst>
            </c:dLbl>
            <c:dLbl>
              <c:idx val="2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1-BFDA-4C69-8E79-A083B7EFBA29}"/>
                </c:ext>
              </c:extLst>
            </c:dLbl>
            <c:dLbl>
              <c:idx val="2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BFDA-4C69-8E79-A083B7EFBA29}"/>
                </c:ext>
              </c:extLst>
            </c:dLbl>
            <c:dLbl>
              <c:idx val="2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BFDA-4C69-8E79-A083B7EFBA29}"/>
                </c:ext>
              </c:extLst>
            </c:dLbl>
            <c:dLbl>
              <c:idx val="2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BFDA-4C69-8E79-A083B7EFBA29}"/>
                </c:ext>
              </c:extLst>
            </c:dLbl>
            <c:dLbl>
              <c:idx val="2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5-BFDA-4C69-8E79-A083B7EFBA29}"/>
                </c:ext>
              </c:extLst>
            </c:dLbl>
            <c:dLbl>
              <c:idx val="2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6-BFDA-4C69-8E79-A083B7EFBA29}"/>
                </c:ext>
              </c:extLst>
            </c:dLbl>
            <c:dLbl>
              <c:idx val="3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7-BFDA-4C69-8E79-A083B7EFBA29}"/>
                </c:ext>
              </c:extLst>
            </c:dLbl>
            <c:dLbl>
              <c:idx val="3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8-BFDA-4C69-8E79-A083B7EFBA29}"/>
                </c:ext>
              </c:extLst>
            </c:dLbl>
            <c:dLbl>
              <c:idx val="3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9-BFDA-4C69-8E79-A083B7EFBA29}"/>
                </c:ext>
              </c:extLst>
            </c:dLbl>
            <c:dLbl>
              <c:idx val="3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BFDA-4C69-8E79-A083B7EFBA29}"/>
                </c:ext>
              </c:extLst>
            </c:dLbl>
            <c:dLbl>
              <c:idx val="3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B-BFDA-4C69-8E79-A083B7EFBA29}"/>
                </c:ext>
              </c:extLst>
            </c:dLbl>
            <c:dLbl>
              <c:idx val="3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C-BFDA-4C69-8E79-A083B7EFBA29}"/>
                </c:ext>
              </c:extLst>
            </c:dLbl>
            <c:dLbl>
              <c:idx val="3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D-BFDA-4C69-8E79-A083B7EFBA29}"/>
                </c:ext>
              </c:extLst>
            </c:dLbl>
            <c:dLbl>
              <c:idx val="3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BFDA-4C69-8E79-A083B7EFBA29}"/>
                </c:ext>
              </c:extLst>
            </c:dLbl>
            <c:dLbl>
              <c:idx val="3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BFDA-4C69-8E79-A083B7EFBA29}"/>
                </c:ext>
              </c:extLst>
            </c:dLbl>
            <c:dLbl>
              <c:idx val="3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BFDA-4C69-8E79-A083B7EFBA29}"/>
                </c:ext>
              </c:extLst>
            </c:dLbl>
            <c:dLbl>
              <c:idx val="4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1-BFDA-4C69-8E79-A083B7EFBA29}"/>
                </c:ext>
              </c:extLst>
            </c:dLbl>
            <c:dLbl>
              <c:idx val="4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BFDA-4C69-8E79-A083B7EFBA29}"/>
                </c:ext>
              </c:extLst>
            </c:dLbl>
            <c:dLbl>
              <c:idx val="4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BFDA-4C69-8E79-A083B7EFBA29}"/>
                </c:ext>
              </c:extLst>
            </c:dLbl>
            <c:dLbl>
              <c:idx val="4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BFDA-4C69-8E79-A083B7EFBA29}"/>
                </c:ext>
              </c:extLst>
            </c:dLbl>
            <c:dLbl>
              <c:idx val="4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BFDA-4C69-8E79-A083B7EFBA29}"/>
                </c:ext>
              </c:extLst>
            </c:dLbl>
            <c:dLbl>
              <c:idx val="4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BFDA-4C69-8E79-A083B7EFBA29}"/>
                </c:ext>
              </c:extLst>
            </c:dLbl>
            <c:dLbl>
              <c:idx val="4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BFDA-4C69-8E79-A083B7EFBA29}"/>
                </c:ext>
              </c:extLst>
            </c:dLbl>
            <c:dLbl>
              <c:idx val="4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BFDA-4C69-8E79-A083B7EFBA29}"/>
                </c:ext>
              </c:extLst>
            </c:dLbl>
            <c:dLbl>
              <c:idx val="4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7</c:f>
              <c:numCache>
                <c:formatCode>General</c:formatCode>
                <c:ptCount val="6"/>
                <c:pt idx="0">
                  <c:v>0.4369</c:v>
                </c:pt>
                <c:pt idx="1">
                  <c:v>0.3868</c:v>
                </c:pt>
                <c:pt idx="2">
                  <c:v>0.3638</c:v>
                </c:pt>
                <c:pt idx="3">
                  <c:v>0.4263</c:v>
                </c:pt>
                <c:pt idx="4">
                  <c:v>0.4791</c:v>
                </c:pt>
                <c:pt idx="5">
                  <c:v>0.4301</c:v>
                </c:pt>
              </c:numCache>
            </c:numRef>
          </c:xVal>
          <c:yVal>
            <c:numRef>
              <c:f>Sheet1!$B$2:$B$7</c:f>
              <c:numCache>
                <c:formatCode>General</c:formatCode>
                <c:ptCount val="6"/>
                <c:pt idx="0">
                  <c:v>11293.564049586777</c:v>
                </c:pt>
                <c:pt idx="1">
                  <c:v>2199.242603550296</c:v>
                </c:pt>
                <c:pt idx="2">
                  <c:v>1098.206724782067</c:v>
                </c:pt>
                <c:pt idx="3">
                  <c:v>3335.868772782503</c:v>
                </c:pt>
                <c:pt idx="4">
                  <c:v>1614.0757575757575</c:v>
                </c:pt>
                <c:pt idx="5">
                  <c:v>1111.304347826087</c:v>
                </c:pt>
              </c:numCache>
            </c:numRef>
          </c:yVal>
          <c:bubbleSize>
            <c:numRef>
              <c:f>Sheet1!$C$2:$C$7</c:f>
              <c:numCache>
                <c:formatCode>General</c:formatCode>
                <c:ptCount val="6"/>
                <c:pt idx="0">
                  <c:v>583488.7946</c:v>
                </c:pt>
                <c:pt idx="1">
                  <c:v>108019.20160000001</c:v>
                </c:pt>
                <c:pt idx="2">
                  <c:v>53176.0122</c:v>
                </c:pt>
                <c:pt idx="3">
                  <c:v>149306.44979999997</c:v>
                </c:pt>
                <c:pt idx="4">
                  <c:v>52600.97309999999</c:v>
                </c:pt>
                <c:pt idx="5">
                  <c:v>24854.501100000005</c:v>
                </c:pt>
              </c:numCache>
            </c:numRef>
          </c:bubbleSize>
          <c:bubble3D val="0"/>
          <c:extLst>
            <c:ext xmlns:c15="http://schemas.microsoft.com/office/drawing/2012/chart" uri="{02D57815-91ED-43cb-92C2-25804820EDAC}">
              <c15:datalabelsRange>
                <c15:f>Sheet1!$E$2:$E$50</c15:f>
                <c15:dlblRangeCache>
                  <c:ptCount val="49"/>
                  <c:pt idx="0">
                    <c:v>Findus Merluzzo Altro Findus Fish Bar 245GR</c:v>
                  </c:pt>
                  <c:pt idx="1">
                    <c:v>Findus Merluzzo D Alaska Chips Findus Big Burger 227GR</c:v>
                  </c:pt>
                  <c:pt idx="2">
                    <c:v>Findus Merluzzo D Alaska Standard Findus Big Burger 227GR</c:v>
                  </c:pt>
                  <c:pt idx="3">
                    <c:v>Findus Merluzzo E Spinaci Filetto Findus Croccole 300GR</c:v>
                  </c:pt>
                  <c:pt idx="4">
                    <c:v>Findus Merluzzo Filetto Findus Croccole 300GR</c:v>
                  </c:pt>
                  <c:pt idx="5">
                    <c:v>Findus Merluzzo Filetto Findus Croccole 600GR</c:v>
                  </c:pt>
                  <c:pt idx="6">
                    <c:v>Findus Merluzzo Filetto Findus Fish &amp; Crock 250GR</c:v>
                  </c:pt>
                  <c:pt idx="7">
                    <c:v>Findus Merluzzo Filetto Findus Fish Bar 240GR</c:v>
                  </c:pt>
                  <c:pt idx="8">
                    <c:v>Findus Merluzzo Semi Filetto Findus Croccole 300GR</c:v>
                  </c:pt>
                  <c:pt idx="9">
                    <c:v>Findus Merluzzo Senza Glutine Filetto Findus Croccole 250GR</c:v>
                  </c:pt>
                  <c:pt idx="10">
                    <c:v>Findus Platessa Filetto Findus Platessa 250GR</c:v>
                  </c:pt>
                  <c:pt idx="11">
                    <c:v>Findus Salmone Altro Findus Fish Bar 220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3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244C721E-3E6E-47EE-AD41-9C8D012726E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8C71E8ED-5EB6-4D20-AFF6-F315669F198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525FDCF2-8D8C-4CC1-A4C5-826935FAF7C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68C9086D-6FE7-446F-ABCB-7067DC05274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376C06FC-CAE9-4994-A8AD-66EA0B4299C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5829776D-C718-4FF6-B311-AB11642BBE0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FA3DC84C-7021-4EAF-9336-B6BF1FF403E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5-BFDA-4C69-8E79-A083B7EFBA29}"/>
                </c:ext>
              </c:extLst>
            </c:dLbl>
            <c:dLbl>
              <c:idx val="1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BFDA-4C69-8E79-A083B7EFBA29}"/>
                </c:ext>
              </c:extLst>
            </c:dLbl>
            <c:dLbl>
              <c:idx val="1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BFDA-4C69-8E79-A083B7EFBA29}"/>
                </c:ext>
              </c:extLst>
            </c:dLbl>
            <c:dLbl>
              <c:idx val="1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BFDA-4C69-8E79-A083B7EFBA29}"/>
                </c:ext>
              </c:extLst>
            </c:dLbl>
            <c:dLbl>
              <c:idx val="1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9-BFDA-4C69-8E79-A083B7EFBA29}"/>
                </c:ext>
              </c:extLst>
            </c:dLbl>
            <c:dLbl>
              <c:idx val="1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A-BFDA-4C69-8E79-A083B7EFBA29}"/>
                </c:ext>
              </c:extLst>
            </c:dLbl>
            <c:dLbl>
              <c:idx val="1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B-BFDA-4C69-8E79-A083B7EFBA29}"/>
                </c:ext>
              </c:extLst>
            </c:dLbl>
            <c:dLbl>
              <c:idx val="1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C-BFDA-4C69-8E79-A083B7EFBA29}"/>
                </c:ext>
              </c:extLst>
            </c:dLbl>
            <c:dLbl>
              <c:idx val="2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BFDA-4C69-8E79-A083B7EFBA29}"/>
                </c:ext>
              </c:extLst>
            </c:dLbl>
            <c:dLbl>
              <c:idx val="2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BFDA-4C69-8E79-A083B7EFBA29}"/>
                </c:ext>
              </c:extLst>
            </c:dLbl>
            <c:dLbl>
              <c:idx val="2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F-BFDA-4C69-8E79-A083B7EFBA29}"/>
                </c:ext>
              </c:extLst>
            </c:dLbl>
            <c:dLbl>
              <c:idx val="2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0-BFDA-4C69-8E79-A083B7EFBA29}"/>
                </c:ext>
              </c:extLst>
            </c:dLbl>
            <c:dLbl>
              <c:idx val="2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1-BFDA-4C69-8E79-A083B7EFBA29}"/>
                </c:ext>
              </c:extLst>
            </c:dLbl>
            <c:dLbl>
              <c:idx val="2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BFDA-4C69-8E79-A083B7EFBA29}"/>
                </c:ext>
              </c:extLst>
            </c:dLbl>
            <c:dLbl>
              <c:idx val="2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BFDA-4C69-8E79-A083B7EFBA29}"/>
                </c:ext>
              </c:extLst>
            </c:dLbl>
            <c:dLbl>
              <c:idx val="2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BFDA-4C69-8E79-A083B7EFBA29}"/>
                </c:ext>
              </c:extLst>
            </c:dLbl>
            <c:dLbl>
              <c:idx val="2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5-BFDA-4C69-8E79-A083B7EFBA29}"/>
                </c:ext>
              </c:extLst>
            </c:dLbl>
            <c:dLbl>
              <c:idx val="2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6-BFDA-4C69-8E79-A083B7EFBA29}"/>
                </c:ext>
              </c:extLst>
            </c:dLbl>
            <c:dLbl>
              <c:idx val="3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7-BFDA-4C69-8E79-A083B7EFBA29}"/>
                </c:ext>
              </c:extLst>
            </c:dLbl>
            <c:dLbl>
              <c:idx val="3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8-BFDA-4C69-8E79-A083B7EFBA29}"/>
                </c:ext>
              </c:extLst>
            </c:dLbl>
            <c:dLbl>
              <c:idx val="3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9-BFDA-4C69-8E79-A083B7EFBA29}"/>
                </c:ext>
              </c:extLst>
            </c:dLbl>
            <c:dLbl>
              <c:idx val="3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BFDA-4C69-8E79-A083B7EFBA29}"/>
                </c:ext>
              </c:extLst>
            </c:dLbl>
            <c:dLbl>
              <c:idx val="3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B-BFDA-4C69-8E79-A083B7EFBA29}"/>
                </c:ext>
              </c:extLst>
            </c:dLbl>
            <c:dLbl>
              <c:idx val="3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C-BFDA-4C69-8E79-A083B7EFBA29}"/>
                </c:ext>
              </c:extLst>
            </c:dLbl>
            <c:dLbl>
              <c:idx val="3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D-BFDA-4C69-8E79-A083B7EFBA29}"/>
                </c:ext>
              </c:extLst>
            </c:dLbl>
            <c:dLbl>
              <c:idx val="3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BFDA-4C69-8E79-A083B7EFBA29}"/>
                </c:ext>
              </c:extLst>
            </c:dLbl>
            <c:dLbl>
              <c:idx val="3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BFDA-4C69-8E79-A083B7EFBA29}"/>
                </c:ext>
              </c:extLst>
            </c:dLbl>
            <c:dLbl>
              <c:idx val="3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BFDA-4C69-8E79-A083B7EFBA29}"/>
                </c:ext>
              </c:extLst>
            </c:dLbl>
            <c:dLbl>
              <c:idx val="4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1-BFDA-4C69-8E79-A083B7EFBA29}"/>
                </c:ext>
              </c:extLst>
            </c:dLbl>
            <c:dLbl>
              <c:idx val="4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BFDA-4C69-8E79-A083B7EFBA29}"/>
                </c:ext>
              </c:extLst>
            </c:dLbl>
            <c:dLbl>
              <c:idx val="4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BFDA-4C69-8E79-A083B7EFBA29}"/>
                </c:ext>
              </c:extLst>
            </c:dLbl>
            <c:dLbl>
              <c:idx val="4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BFDA-4C69-8E79-A083B7EFBA29}"/>
                </c:ext>
              </c:extLst>
            </c:dLbl>
            <c:dLbl>
              <c:idx val="4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BFDA-4C69-8E79-A083B7EFBA29}"/>
                </c:ext>
              </c:extLst>
            </c:dLbl>
            <c:dLbl>
              <c:idx val="4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BFDA-4C69-8E79-A083B7EFBA29}"/>
                </c:ext>
              </c:extLst>
            </c:dLbl>
            <c:dLbl>
              <c:idx val="4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BFDA-4C69-8E79-A083B7EFBA29}"/>
                </c:ext>
              </c:extLst>
            </c:dLbl>
            <c:dLbl>
              <c:idx val="4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BFDA-4C69-8E79-A083B7EFBA29}"/>
                </c:ext>
              </c:extLst>
            </c:dLbl>
            <c:dLbl>
              <c:idx val="4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7</c:f>
              <c:numCache>
                <c:formatCode>General</c:formatCode>
                <c:ptCount val="6"/>
                <c:pt idx="0">
                  <c:v>0.3521</c:v>
                </c:pt>
                <c:pt idx="1">
                  <c:v>0.5164</c:v>
                </c:pt>
                <c:pt idx="2">
                  <c:v>0.5655</c:v>
                </c:pt>
                <c:pt idx="3">
                  <c:v>0.4574</c:v>
                </c:pt>
                <c:pt idx="4">
                  <c:v>0.414</c:v>
                </c:pt>
                <c:pt idx="5">
                  <c:v>0.373</c:v>
                </c:pt>
              </c:numCache>
            </c:numRef>
          </c:xVal>
          <c:yVal>
            <c:numRef>
              <c:f>Sheet1!$B$2:$B$7</c:f>
              <c:numCache>
                <c:formatCode>General</c:formatCode>
                <c:ptCount val="6"/>
                <c:pt idx="0">
                  <c:v>6542.91</c:v>
                </c:pt>
                <c:pt idx="1">
                  <c:v>1562.84</c:v>
                </c:pt>
                <c:pt idx="2">
                  <c:v>708.2708333333334</c:v>
                </c:pt>
                <c:pt idx="3">
                  <c:v>2741.89</c:v>
                </c:pt>
                <c:pt idx="4">
                  <c:v>844.6315789473684</c:v>
                </c:pt>
                <c:pt idx="5">
                  <c:v>593.8510638297872</c:v>
                </c:pt>
              </c:numCache>
            </c:numRef>
          </c:yVal>
          <c:bubbleSize>
            <c:numRef>
              <c:f>Sheet1!$C$2:$C$7</c:f>
              <c:numCache>
                <c:formatCode>General</c:formatCode>
                <c:ptCount val="6"/>
                <c:pt idx="0">
                  <c:v>401788.2896</c:v>
                </c:pt>
                <c:pt idx="1">
                  <c:v>71635.07</c:v>
                </c:pt>
                <c:pt idx="2">
                  <c:v>28003.5766</c:v>
                </c:pt>
                <c:pt idx="3">
                  <c:v>141010.1934</c:v>
                </c:pt>
                <c:pt idx="4">
                  <c:v>44570.80829999999</c:v>
                </c:pt>
                <c:pt idx="5">
                  <c:v>33173.866</c:v>
                </c:pt>
              </c:numCache>
            </c:numRef>
          </c:bubbleSize>
          <c:bubble3D val="0"/>
          <c:extLst>
            <c:ext xmlns:c15="http://schemas.microsoft.com/office/drawing/2012/chart" uri="{02D57815-91ED-43cb-92C2-25804820EDAC}">
              <c15:datalabelsRange>
                <c15:f>Sheet1!$E$2:$E$50</c15:f>
                <c15:dlblRangeCache>
                  <c:ptCount val="49"/>
                  <c:pt idx="0">
                    <c:v>Findus Merluzzo Altro Findus Fish Bar 245GR</c:v>
                  </c:pt>
                  <c:pt idx="1">
                    <c:v>Findus Merluzzo D Alaska Chips Findus Big Burger 227GR</c:v>
                  </c:pt>
                  <c:pt idx="2">
                    <c:v>Findus Merluzzo D Alaska Standard Findus Big Burger 227GR</c:v>
                  </c:pt>
                  <c:pt idx="3">
                    <c:v>Findus Merluzzo E Spinaci Filetto Findus Croccole 300GR</c:v>
                  </c:pt>
                  <c:pt idx="4">
                    <c:v>Findus Merluzzo Filetto Findus Croccole 300GR</c:v>
                  </c:pt>
                  <c:pt idx="5">
                    <c:v>Findus Merluzzo Filetto Findus Croccole 600GR</c:v>
                  </c:pt>
                  <c:pt idx="6">
                    <c:v>Findus Merluzzo Filetto Findus Fish &amp; Crock 250GR</c:v>
                  </c:pt>
                  <c:pt idx="7">
                    <c:v>Findus Merluzzo Filetto Findus Fish Bar 240GR</c:v>
                  </c:pt>
                  <c:pt idx="8">
                    <c:v>Findus Merluzzo Semi Filetto Findus Croccole 300GR</c:v>
                  </c:pt>
                  <c:pt idx="9">
                    <c:v>Findus Merluzzo Senza Glutine Filetto Findus Croccole 250GR</c:v>
                  </c:pt>
                  <c:pt idx="10">
                    <c:v>Findus Platessa Filetto Findus Platessa 250GR</c:v>
                  </c:pt>
                  <c:pt idx="11">
                    <c:v>Findus Salmone Altro Findus Fish Bar 220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3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908E9B53-CB50-4071-B6C4-26B5FC2D652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1D8A2CF3-019C-4720-8183-879BA0ED06D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05354075-98CE-48C1-A904-A0E5E004651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F5778F26-5E88-4A8B-BC69-D0636749AB7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1CE3ABAD-8BDE-4F3F-8C65-EB3DB37CA22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A9A847FE-E384-46EF-A61B-ABF0270BEEB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0378EC3C-CBFA-40BE-87EF-934AD8E42BC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5-BFDA-4C69-8E79-A083B7EFBA29}"/>
                </c:ext>
              </c:extLst>
            </c:dLbl>
            <c:dLbl>
              <c:idx val="1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BFDA-4C69-8E79-A083B7EFBA29}"/>
                </c:ext>
              </c:extLst>
            </c:dLbl>
            <c:dLbl>
              <c:idx val="1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BFDA-4C69-8E79-A083B7EFBA29}"/>
                </c:ext>
              </c:extLst>
            </c:dLbl>
            <c:dLbl>
              <c:idx val="1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BFDA-4C69-8E79-A083B7EFBA29}"/>
                </c:ext>
              </c:extLst>
            </c:dLbl>
            <c:dLbl>
              <c:idx val="1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9-BFDA-4C69-8E79-A083B7EFBA29}"/>
                </c:ext>
              </c:extLst>
            </c:dLbl>
            <c:dLbl>
              <c:idx val="1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A-BFDA-4C69-8E79-A083B7EFBA29}"/>
                </c:ext>
              </c:extLst>
            </c:dLbl>
            <c:dLbl>
              <c:idx val="1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B-BFDA-4C69-8E79-A083B7EFBA29}"/>
                </c:ext>
              </c:extLst>
            </c:dLbl>
            <c:dLbl>
              <c:idx val="1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C-BFDA-4C69-8E79-A083B7EFBA29}"/>
                </c:ext>
              </c:extLst>
            </c:dLbl>
            <c:dLbl>
              <c:idx val="2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BFDA-4C69-8E79-A083B7EFBA29}"/>
                </c:ext>
              </c:extLst>
            </c:dLbl>
            <c:dLbl>
              <c:idx val="2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BFDA-4C69-8E79-A083B7EFBA29}"/>
                </c:ext>
              </c:extLst>
            </c:dLbl>
            <c:dLbl>
              <c:idx val="2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F-BFDA-4C69-8E79-A083B7EFBA29}"/>
                </c:ext>
              </c:extLst>
            </c:dLbl>
            <c:dLbl>
              <c:idx val="2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0-BFDA-4C69-8E79-A083B7EFBA29}"/>
                </c:ext>
              </c:extLst>
            </c:dLbl>
            <c:dLbl>
              <c:idx val="2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1-BFDA-4C69-8E79-A083B7EFBA29}"/>
                </c:ext>
              </c:extLst>
            </c:dLbl>
            <c:dLbl>
              <c:idx val="2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BFDA-4C69-8E79-A083B7EFBA29}"/>
                </c:ext>
              </c:extLst>
            </c:dLbl>
            <c:dLbl>
              <c:idx val="2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BFDA-4C69-8E79-A083B7EFBA29}"/>
                </c:ext>
              </c:extLst>
            </c:dLbl>
            <c:dLbl>
              <c:idx val="2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BFDA-4C69-8E79-A083B7EFBA29}"/>
                </c:ext>
              </c:extLst>
            </c:dLbl>
            <c:dLbl>
              <c:idx val="2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5-BFDA-4C69-8E79-A083B7EFBA29}"/>
                </c:ext>
              </c:extLst>
            </c:dLbl>
            <c:dLbl>
              <c:idx val="2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6-BFDA-4C69-8E79-A083B7EFBA29}"/>
                </c:ext>
              </c:extLst>
            </c:dLbl>
            <c:dLbl>
              <c:idx val="3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7-BFDA-4C69-8E79-A083B7EFBA29}"/>
                </c:ext>
              </c:extLst>
            </c:dLbl>
            <c:dLbl>
              <c:idx val="3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8-BFDA-4C69-8E79-A083B7EFBA29}"/>
                </c:ext>
              </c:extLst>
            </c:dLbl>
            <c:dLbl>
              <c:idx val="3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9-BFDA-4C69-8E79-A083B7EFBA29}"/>
                </c:ext>
              </c:extLst>
            </c:dLbl>
            <c:dLbl>
              <c:idx val="3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BFDA-4C69-8E79-A083B7EFBA29}"/>
                </c:ext>
              </c:extLst>
            </c:dLbl>
            <c:dLbl>
              <c:idx val="3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B-BFDA-4C69-8E79-A083B7EFBA29}"/>
                </c:ext>
              </c:extLst>
            </c:dLbl>
            <c:dLbl>
              <c:idx val="3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C-BFDA-4C69-8E79-A083B7EFBA29}"/>
                </c:ext>
              </c:extLst>
            </c:dLbl>
            <c:dLbl>
              <c:idx val="3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D-BFDA-4C69-8E79-A083B7EFBA29}"/>
                </c:ext>
              </c:extLst>
            </c:dLbl>
            <c:dLbl>
              <c:idx val="3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BFDA-4C69-8E79-A083B7EFBA29}"/>
                </c:ext>
              </c:extLst>
            </c:dLbl>
            <c:dLbl>
              <c:idx val="3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BFDA-4C69-8E79-A083B7EFBA29}"/>
                </c:ext>
              </c:extLst>
            </c:dLbl>
            <c:dLbl>
              <c:idx val="3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BFDA-4C69-8E79-A083B7EFBA29}"/>
                </c:ext>
              </c:extLst>
            </c:dLbl>
            <c:dLbl>
              <c:idx val="4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1-BFDA-4C69-8E79-A083B7EFBA29}"/>
                </c:ext>
              </c:extLst>
            </c:dLbl>
            <c:dLbl>
              <c:idx val="4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BFDA-4C69-8E79-A083B7EFBA29}"/>
                </c:ext>
              </c:extLst>
            </c:dLbl>
            <c:dLbl>
              <c:idx val="4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BFDA-4C69-8E79-A083B7EFBA29}"/>
                </c:ext>
              </c:extLst>
            </c:dLbl>
            <c:dLbl>
              <c:idx val="4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BFDA-4C69-8E79-A083B7EFBA29}"/>
                </c:ext>
              </c:extLst>
            </c:dLbl>
            <c:dLbl>
              <c:idx val="4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BFDA-4C69-8E79-A083B7EFBA29}"/>
                </c:ext>
              </c:extLst>
            </c:dLbl>
            <c:dLbl>
              <c:idx val="4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BFDA-4C69-8E79-A083B7EFBA29}"/>
                </c:ext>
              </c:extLst>
            </c:dLbl>
            <c:dLbl>
              <c:idx val="4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BFDA-4C69-8E79-A083B7EFBA29}"/>
                </c:ext>
              </c:extLst>
            </c:dLbl>
            <c:dLbl>
              <c:idx val="4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BFDA-4C69-8E79-A083B7EFBA29}"/>
                </c:ext>
              </c:extLst>
            </c:dLbl>
            <c:dLbl>
              <c:idx val="4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7</c:f>
              <c:numCache>
                <c:formatCode>General</c:formatCode>
                <c:ptCount val="6"/>
                <c:pt idx="0">
                  <c:v>0.3441</c:v>
                </c:pt>
                <c:pt idx="1">
                  <c:v>0.4808</c:v>
                </c:pt>
                <c:pt idx="2">
                  <c:v>0.5323</c:v>
                </c:pt>
                <c:pt idx="3">
                  <c:v>0.3923</c:v>
                </c:pt>
                <c:pt idx="4">
                  <c:v>0.4232</c:v>
                </c:pt>
                <c:pt idx="5">
                  <c:v>0.4121</c:v>
                </c:pt>
              </c:numCache>
            </c:numRef>
          </c:xVal>
          <c:yVal>
            <c:numRef>
              <c:f>Sheet1!$B$2:$B$7</c:f>
              <c:numCache>
                <c:formatCode>General</c:formatCode>
                <c:ptCount val="6"/>
                <c:pt idx="0">
                  <c:v>7616.333333333333</c:v>
                </c:pt>
                <c:pt idx="1">
                  <c:v>1998.6373626373627</c:v>
                </c:pt>
                <c:pt idx="2">
                  <c:v>776.2911392405064</c:v>
                </c:pt>
                <c:pt idx="3">
                  <c:v>1784.8315789473684</c:v>
                </c:pt>
                <c:pt idx="4">
                  <c:v>1265.2916666666667</c:v>
                </c:pt>
                <c:pt idx="5">
                  <c:v>908.5915492957746</c:v>
                </c:pt>
              </c:numCache>
            </c:numRef>
          </c:yVal>
          <c:bubbleSize>
            <c:numRef>
              <c:f>Sheet1!$C$2:$C$7</c:f>
              <c:numCache>
                <c:formatCode>General</c:formatCode>
                <c:ptCount val="6"/>
                <c:pt idx="0">
                  <c:v>468795.9846999999</c:v>
                </c:pt>
                <c:pt idx="1">
                  <c:v>89507.25500000002</c:v>
                </c:pt>
                <c:pt idx="2">
                  <c:v>27188.0808</c:v>
                </c:pt>
                <c:pt idx="3">
                  <c:v>97662.7545</c:v>
                </c:pt>
                <c:pt idx="4">
                  <c:v>49804.415400000005</c:v>
                </c:pt>
                <c:pt idx="5">
                  <c:v>35948.457</c:v>
                </c:pt>
              </c:numCache>
            </c:numRef>
          </c:bubbleSize>
          <c:bubble3D val="0"/>
          <c:extLst>
            <c:ext xmlns:c15="http://schemas.microsoft.com/office/drawing/2012/chart" uri="{02D57815-91ED-43cb-92C2-25804820EDAC}">
              <c15:datalabelsRange>
                <c15:f>Sheet1!$E$2:$E$50</c15:f>
                <c15:dlblRangeCache>
                  <c:ptCount val="49"/>
                  <c:pt idx="0">
                    <c:v>Findus Merluzzo Altro Findus Fish Bar 245GR</c:v>
                  </c:pt>
                  <c:pt idx="1">
                    <c:v>Findus Merluzzo D Alaska Chips Findus Big Burger 227GR</c:v>
                  </c:pt>
                  <c:pt idx="2">
                    <c:v>Findus Merluzzo D Alaska Standard Findus Big Burger 227GR</c:v>
                  </c:pt>
                  <c:pt idx="3">
                    <c:v>Findus Merluzzo E Spinaci Filetto Findus Croccole 300GR</c:v>
                  </c:pt>
                  <c:pt idx="4">
                    <c:v>Findus Merluzzo Filetto Findus Croccole 300GR</c:v>
                  </c:pt>
                  <c:pt idx="5">
                    <c:v>Findus Merluzzo Filetto Findus Croccole 600GR</c:v>
                  </c:pt>
                  <c:pt idx="6">
                    <c:v>Findus Merluzzo Filetto Findus Fish &amp; Crock 250GR</c:v>
                  </c:pt>
                  <c:pt idx="7">
                    <c:v>Findus Merluzzo Filetto Findus Fish Bar 240GR</c:v>
                  </c:pt>
                  <c:pt idx="8">
                    <c:v>Findus Merluzzo Semi Filetto Findus Croccole 300GR</c:v>
                  </c:pt>
                  <c:pt idx="9">
                    <c:v>Findus Merluzzo Senza Glutine Filetto Findus Croccole 250GR</c:v>
                  </c:pt>
                  <c:pt idx="10">
                    <c:v>Findus Platessa Filetto Findus Platessa 250GR</c:v>
                  </c:pt>
                  <c:pt idx="11">
                    <c:v>Findus Salmone Altro Findus Fish Bar 220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3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093A85D1-2F63-43D8-8941-40567CF6ED0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FDB7A23D-7DC6-4F50-BCD4-592F1020921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428C6C22-434B-43A0-8315-FDB29EC5A28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C4FAC491-060E-46E9-8DB0-ABBD0307601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7A5C3ECD-AC65-47C1-8130-6DB592E547A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0EA526CB-83B6-4F7D-A19D-EEFB8756121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D6260FC8-CDFD-43C0-B088-894C4F7B6F9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5-BFDA-4C69-8E79-A083B7EFBA29}"/>
                </c:ext>
              </c:extLst>
            </c:dLbl>
            <c:dLbl>
              <c:idx val="1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BFDA-4C69-8E79-A083B7EFBA29}"/>
                </c:ext>
              </c:extLst>
            </c:dLbl>
            <c:dLbl>
              <c:idx val="1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BFDA-4C69-8E79-A083B7EFBA29}"/>
                </c:ext>
              </c:extLst>
            </c:dLbl>
            <c:dLbl>
              <c:idx val="1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BFDA-4C69-8E79-A083B7EFBA29}"/>
                </c:ext>
              </c:extLst>
            </c:dLbl>
            <c:dLbl>
              <c:idx val="1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9-BFDA-4C69-8E79-A083B7EFBA29}"/>
                </c:ext>
              </c:extLst>
            </c:dLbl>
            <c:dLbl>
              <c:idx val="1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A-BFDA-4C69-8E79-A083B7EFBA29}"/>
                </c:ext>
              </c:extLst>
            </c:dLbl>
            <c:dLbl>
              <c:idx val="1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B-BFDA-4C69-8E79-A083B7EFBA29}"/>
                </c:ext>
              </c:extLst>
            </c:dLbl>
            <c:dLbl>
              <c:idx val="1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C-BFDA-4C69-8E79-A083B7EFBA29}"/>
                </c:ext>
              </c:extLst>
            </c:dLbl>
            <c:dLbl>
              <c:idx val="2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BFDA-4C69-8E79-A083B7EFBA29}"/>
                </c:ext>
              </c:extLst>
            </c:dLbl>
            <c:dLbl>
              <c:idx val="2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BFDA-4C69-8E79-A083B7EFBA29}"/>
                </c:ext>
              </c:extLst>
            </c:dLbl>
            <c:dLbl>
              <c:idx val="2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F-BFDA-4C69-8E79-A083B7EFBA29}"/>
                </c:ext>
              </c:extLst>
            </c:dLbl>
            <c:dLbl>
              <c:idx val="2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0-BFDA-4C69-8E79-A083B7EFBA29}"/>
                </c:ext>
              </c:extLst>
            </c:dLbl>
            <c:dLbl>
              <c:idx val="2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1-BFDA-4C69-8E79-A083B7EFBA29}"/>
                </c:ext>
              </c:extLst>
            </c:dLbl>
            <c:dLbl>
              <c:idx val="2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BFDA-4C69-8E79-A083B7EFBA29}"/>
                </c:ext>
              </c:extLst>
            </c:dLbl>
            <c:dLbl>
              <c:idx val="2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BFDA-4C69-8E79-A083B7EFBA29}"/>
                </c:ext>
              </c:extLst>
            </c:dLbl>
            <c:dLbl>
              <c:idx val="2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BFDA-4C69-8E79-A083B7EFBA29}"/>
                </c:ext>
              </c:extLst>
            </c:dLbl>
            <c:dLbl>
              <c:idx val="2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5-BFDA-4C69-8E79-A083B7EFBA29}"/>
                </c:ext>
              </c:extLst>
            </c:dLbl>
            <c:dLbl>
              <c:idx val="2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6-BFDA-4C69-8E79-A083B7EFBA29}"/>
                </c:ext>
              </c:extLst>
            </c:dLbl>
            <c:dLbl>
              <c:idx val="3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7-BFDA-4C69-8E79-A083B7EFBA29}"/>
                </c:ext>
              </c:extLst>
            </c:dLbl>
            <c:dLbl>
              <c:idx val="3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8-BFDA-4C69-8E79-A083B7EFBA29}"/>
                </c:ext>
              </c:extLst>
            </c:dLbl>
            <c:dLbl>
              <c:idx val="3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9-BFDA-4C69-8E79-A083B7EFBA29}"/>
                </c:ext>
              </c:extLst>
            </c:dLbl>
            <c:dLbl>
              <c:idx val="3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BFDA-4C69-8E79-A083B7EFBA29}"/>
                </c:ext>
              </c:extLst>
            </c:dLbl>
            <c:dLbl>
              <c:idx val="3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B-BFDA-4C69-8E79-A083B7EFBA29}"/>
                </c:ext>
              </c:extLst>
            </c:dLbl>
            <c:dLbl>
              <c:idx val="3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C-BFDA-4C69-8E79-A083B7EFBA29}"/>
                </c:ext>
              </c:extLst>
            </c:dLbl>
            <c:dLbl>
              <c:idx val="3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D-BFDA-4C69-8E79-A083B7EFBA29}"/>
                </c:ext>
              </c:extLst>
            </c:dLbl>
            <c:dLbl>
              <c:idx val="3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BFDA-4C69-8E79-A083B7EFBA29}"/>
                </c:ext>
              </c:extLst>
            </c:dLbl>
            <c:dLbl>
              <c:idx val="3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BFDA-4C69-8E79-A083B7EFBA29}"/>
                </c:ext>
              </c:extLst>
            </c:dLbl>
            <c:dLbl>
              <c:idx val="3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BFDA-4C69-8E79-A083B7EFBA29}"/>
                </c:ext>
              </c:extLst>
            </c:dLbl>
            <c:dLbl>
              <c:idx val="4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1-BFDA-4C69-8E79-A083B7EFBA29}"/>
                </c:ext>
              </c:extLst>
            </c:dLbl>
            <c:dLbl>
              <c:idx val="4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BFDA-4C69-8E79-A083B7EFBA29}"/>
                </c:ext>
              </c:extLst>
            </c:dLbl>
            <c:dLbl>
              <c:idx val="4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BFDA-4C69-8E79-A083B7EFBA29}"/>
                </c:ext>
              </c:extLst>
            </c:dLbl>
            <c:dLbl>
              <c:idx val="4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BFDA-4C69-8E79-A083B7EFBA29}"/>
                </c:ext>
              </c:extLst>
            </c:dLbl>
            <c:dLbl>
              <c:idx val="4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BFDA-4C69-8E79-A083B7EFBA29}"/>
                </c:ext>
              </c:extLst>
            </c:dLbl>
            <c:dLbl>
              <c:idx val="4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BFDA-4C69-8E79-A083B7EFBA29}"/>
                </c:ext>
              </c:extLst>
            </c:dLbl>
            <c:dLbl>
              <c:idx val="4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BFDA-4C69-8E79-A083B7EFBA29}"/>
                </c:ext>
              </c:extLst>
            </c:dLbl>
            <c:dLbl>
              <c:idx val="4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BFDA-4C69-8E79-A083B7EFBA29}"/>
                </c:ext>
              </c:extLst>
            </c:dLbl>
            <c:dLbl>
              <c:idx val="4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2</c:f>
              <c:numCache>
                <c:formatCode>General</c:formatCode>
                <c:ptCount val="1"/>
                <c:pt idx="0">
                  <c:v>0.5167</c:v>
                </c:pt>
              </c:numCache>
            </c:numRef>
          </c:xVal>
          <c:yVal>
            <c:numRef>
              <c:f>Sheet1!$B$2:$B$2</c:f>
              <c:numCache>
                <c:formatCode>General</c:formatCode>
                <c:ptCount val="1"/>
                <c:pt idx="0">
                  <c:v>7412.088607594937</c:v>
                </c:pt>
              </c:numCache>
            </c:numRef>
          </c:yVal>
          <c:bubbleSize>
            <c:numRef>
              <c:f>Sheet1!$C$2:$C$2</c:f>
              <c:numCache>
                <c:formatCode>General</c:formatCode>
                <c:ptCount val="1"/>
                <c:pt idx="0">
                  <c:v>268250.098</c:v>
                </c:pt>
              </c:numCache>
            </c:numRef>
          </c:bubbleSize>
          <c:bubble3D val="0"/>
          <c:extLst>
            <c:ext xmlns:c15="http://schemas.microsoft.com/office/drawing/2012/chart" uri="{02D57815-91ED-43cb-92C2-25804820EDAC}">
              <c15:datalabelsRange>
                <c15:f>Sheet1!$E$2:$E$50</c15:f>
                <c15:dlblRangeCache>
                  <c:ptCount val="49"/>
                  <c:pt idx="0">
                    <c:v>Findus Merluzzo Altro Findus Fish Bar 245GR</c:v>
                  </c:pt>
                  <c:pt idx="1">
                    <c:v>Findus Merluzzo D Alaska Chips Findus Big Burger 227GR</c:v>
                  </c:pt>
                  <c:pt idx="2">
                    <c:v>Findus Merluzzo D Alaska Standard Findus Big Burger 227GR</c:v>
                  </c:pt>
                  <c:pt idx="3">
                    <c:v>Findus Merluzzo E Spinaci Filetto Findus Croccole 300GR</c:v>
                  </c:pt>
                  <c:pt idx="4">
                    <c:v>Findus Merluzzo Filetto Findus Croccole 300GR</c:v>
                  </c:pt>
                  <c:pt idx="5">
                    <c:v>Findus Merluzzo Filetto Findus Croccole 600GR</c:v>
                  </c:pt>
                  <c:pt idx="6">
                    <c:v>Findus Merluzzo Filetto Findus Fish &amp; Crock 250GR</c:v>
                  </c:pt>
                  <c:pt idx="7">
                    <c:v>Findus Merluzzo Filetto Findus Fish Bar 240GR</c:v>
                  </c:pt>
                  <c:pt idx="8">
                    <c:v>Findus Merluzzo Semi Filetto Findus Croccole 300GR</c:v>
                  </c:pt>
                  <c:pt idx="9">
                    <c:v>Findus Merluzzo Senza Glutine Filetto Findus Croccole 250GR</c:v>
                  </c:pt>
                  <c:pt idx="10">
                    <c:v>Findus Platessa Filetto Findus Platessa 250GR</c:v>
                  </c:pt>
                  <c:pt idx="11">
                    <c:v>Findus Salmone Altro Findus Fish Bar 220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3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5BEAC074-6930-4810-9837-1D488BF01DF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5FFD4E9E-A856-4F68-935A-601105FB49D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BDBDCA1B-392A-4F02-9BFE-1B6DA354CCC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D158E83F-8D7F-4F6D-84CC-237399F6B7D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5F394C61-B645-4DEA-945A-C062BA9F684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BF248CFB-743A-48D9-9869-B22D40D9C53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4D1B12DD-EFB9-4DD8-8B76-09751D89DE5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5-BFDA-4C69-8E79-A083B7EFBA29}"/>
                </c:ext>
              </c:extLst>
            </c:dLbl>
            <c:dLbl>
              <c:idx val="1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BFDA-4C69-8E79-A083B7EFBA29}"/>
                </c:ext>
              </c:extLst>
            </c:dLbl>
            <c:dLbl>
              <c:idx val="1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BFDA-4C69-8E79-A083B7EFBA29}"/>
                </c:ext>
              </c:extLst>
            </c:dLbl>
            <c:dLbl>
              <c:idx val="1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BFDA-4C69-8E79-A083B7EFBA29}"/>
                </c:ext>
              </c:extLst>
            </c:dLbl>
            <c:dLbl>
              <c:idx val="1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9-BFDA-4C69-8E79-A083B7EFBA29}"/>
                </c:ext>
              </c:extLst>
            </c:dLbl>
            <c:dLbl>
              <c:idx val="1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A-BFDA-4C69-8E79-A083B7EFBA29}"/>
                </c:ext>
              </c:extLst>
            </c:dLbl>
            <c:dLbl>
              <c:idx val="1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B-BFDA-4C69-8E79-A083B7EFBA29}"/>
                </c:ext>
              </c:extLst>
            </c:dLbl>
            <c:dLbl>
              <c:idx val="1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C-BFDA-4C69-8E79-A083B7EFBA29}"/>
                </c:ext>
              </c:extLst>
            </c:dLbl>
            <c:dLbl>
              <c:idx val="2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BFDA-4C69-8E79-A083B7EFBA29}"/>
                </c:ext>
              </c:extLst>
            </c:dLbl>
            <c:dLbl>
              <c:idx val="2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BFDA-4C69-8E79-A083B7EFBA29}"/>
                </c:ext>
              </c:extLst>
            </c:dLbl>
            <c:dLbl>
              <c:idx val="2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F-BFDA-4C69-8E79-A083B7EFBA29}"/>
                </c:ext>
              </c:extLst>
            </c:dLbl>
            <c:dLbl>
              <c:idx val="2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0-BFDA-4C69-8E79-A083B7EFBA29}"/>
                </c:ext>
              </c:extLst>
            </c:dLbl>
            <c:dLbl>
              <c:idx val="2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1-BFDA-4C69-8E79-A083B7EFBA29}"/>
                </c:ext>
              </c:extLst>
            </c:dLbl>
            <c:dLbl>
              <c:idx val="2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BFDA-4C69-8E79-A083B7EFBA29}"/>
                </c:ext>
              </c:extLst>
            </c:dLbl>
            <c:dLbl>
              <c:idx val="2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BFDA-4C69-8E79-A083B7EFBA29}"/>
                </c:ext>
              </c:extLst>
            </c:dLbl>
            <c:dLbl>
              <c:idx val="2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BFDA-4C69-8E79-A083B7EFBA29}"/>
                </c:ext>
              </c:extLst>
            </c:dLbl>
            <c:dLbl>
              <c:idx val="2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5-BFDA-4C69-8E79-A083B7EFBA29}"/>
                </c:ext>
              </c:extLst>
            </c:dLbl>
            <c:dLbl>
              <c:idx val="2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6-BFDA-4C69-8E79-A083B7EFBA29}"/>
                </c:ext>
              </c:extLst>
            </c:dLbl>
            <c:dLbl>
              <c:idx val="3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7-BFDA-4C69-8E79-A083B7EFBA29}"/>
                </c:ext>
              </c:extLst>
            </c:dLbl>
            <c:dLbl>
              <c:idx val="3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8-BFDA-4C69-8E79-A083B7EFBA29}"/>
                </c:ext>
              </c:extLst>
            </c:dLbl>
            <c:dLbl>
              <c:idx val="3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9-BFDA-4C69-8E79-A083B7EFBA29}"/>
                </c:ext>
              </c:extLst>
            </c:dLbl>
            <c:dLbl>
              <c:idx val="3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BFDA-4C69-8E79-A083B7EFBA29}"/>
                </c:ext>
              </c:extLst>
            </c:dLbl>
            <c:dLbl>
              <c:idx val="3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B-BFDA-4C69-8E79-A083B7EFBA29}"/>
                </c:ext>
              </c:extLst>
            </c:dLbl>
            <c:dLbl>
              <c:idx val="3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C-BFDA-4C69-8E79-A083B7EFBA29}"/>
                </c:ext>
              </c:extLst>
            </c:dLbl>
            <c:dLbl>
              <c:idx val="3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D-BFDA-4C69-8E79-A083B7EFBA29}"/>
                </c:ext>
              </c:extLst>
            </c:dLbl>
            <c:dLbl>
              <c:idx val="3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BFDA-4C69-8E79-A083B7EFBA29}"/>
                </c:ext>
              </c:extLst>
            </c:dLbl>
            <c:dLbl>
              <c:idx val="3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BFDA-4C69-8E79-A083B7EFBA29}"/>
                </c:ext>
              </c:extLst>
            </c:dLbl>
            <c:dLbl>
              <c:idx val="3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BFDA-4C69-8E79-A083B7EFBA29}"/>
                </c:ext>
              </c:extLst>
            </c:dLbl>
            <c:dLbl>
              <c:idx val="4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1-BFDA-4C69-8E79-A083B7EFBA29}"/>
                </c:ext>
              </c:extLst>
            </c:dLbl>
            <c:dLbl>
              <c:idx val="4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BFDA-4C69-8E79-A083B7EFBA29}"/>
                </c:ext>
              </c:extLst>
            </c:dLbl>
            <c:dLbl>
              <c:idx val="4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BFDA-4C69-8E79-A083B7EFBA29}"/>
                </c:ext>
              </c:extLst>
            </c:dLbl>
            <c:dLbl>
              <c:idx val="4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BFDA-4C69-8E79-A083B7EFBA29}"/>
                </c:ext>
              </c:extLst>
            </c:dLbl>
            <c:dLbl>
              <c:idx val="4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BFDA-4C69-8E79-A083B7EFBA29}"/>
                </c:ext>
              </c:extLst>
            </c:dLbl>
            <c:dLbl>
              <c:idx val="4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BFDA-4C69-8E79-A083B7EFBA29}"/>
                </c:ext>
              </c:extLst>
            </c:dLbl>
            <c:dLbl>
              <c:idx val="4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BFDA-4C69-8E79-A083B7EFBA29}"/>
                </c:ext>
              </c:extLst>
            </c:dLbl>
            <c:dLbl>
              <c:idx val="4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BFDA-4C69-8E79-A083B7EFBA29}"/>
                </c:ext>
              </c:extLst>
            </c:dLbl>
            <c:dLbl>
              <c:idx val="4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7</c:f>
              <c:numCache>
                <c:formatCode>General</c:formatCode>
                <c:ptCount val="6"/>
                <c:pt idx="0">
                  <c:v>0.4342</c:v>
                </c:pt>
                <c:pt idx="1">
                  <c:v>0.3867</c:v>
                </c:pt>
                <c:pt idx="2">
                  <c:v>0.3648</c:v>
                </c:pt>
                <c:pt idx="3">
                  <c:v>0.4264</c:v>
                </c:pt>
                <c:pt idx="4">
                  <c:v>0.4791</c:v>
                </c:pt>
                <c:pt idx="5">
                  <c:v>0.4293</c:v>
                </c:pt>
              </c:numCache>
            </c:numRef>
          </c:xVal>
          <c:yVal>
            <c:numRef>
              <c:f>Sheet1!$B$2:$B$7</c:f>
              <c:numCache>
                <c:formatCode>General</c:formatCode>
                <c:ptCount val="6"/>
                <c:pt idx="0">
                  <c:v>8367.65306122449</c:v>
                </c:pt>
                <c:pt idx="1">
                  <c:v>1613.590909090909</c:v>
                </c:pt>
                <c:pt idx="2">
                  <c:v>833.7349397590361</c:v>
                </c:pt>
                <c:pt idx="3">
                  <c:v>2456.7441860465115</c:v>
                </c:pt>
                <c:pt idx="4">
                  <c:v>1204.2388059701493</c:v>
                </c:pt>
                <c:pt idx="5">
                  <c:v>880.45</c:v>
                </c:pt>
              </c:numCache>
            </c:numRef>
          </c:yVal>
          <c:bubbleSize>
            <c:numRef>
              <c:f>Sheet1!$C$2:$C$7</c:f>
              <c:numCache>
                <c:formatCode>General</c:formatCode>
                <c:ptCount val="6"/>
                <c:pt idx="0">
                  <c:v>439809.19409999996</c:v>
                </c:pt>
                <c:pt idx="1">
                  <c:v>82541.7076</c:v>
                </c:pt>
                <c:pt idx="2">
                  <c:v>41666.6322</c:v>
                </c:pt>
                <c:pt idx="3">
                  <c:v>114864.4392</c:v>
                </c:pt>
                <c:pt idx="4">
                  <c:v>39835.8197</c:v>
                </c:pt>
                <c:pt idx="5">
                  <c:v>19049.4876</c:v>
                </c:pt>
              </c:numCache>
            </c:numRef>
          </c:bubbleSize>
          <c:bubble3D val="0"/>
          <c:extLst>
            <c:ext xmlns:c15="http://schemas.microsoft.com/office/drawing/2012/chart" uri="{02D57815-91ED-43cb-92C2-25804820EDAC}">
              <c15:datalabelsRange>
                <c15:f>Sheet1!$E$2:$E$50</c15:f>
                <c15:dlblRangeCache>
                  <c:ptCount val="49"/>
                  <c:pt idx="0">
                    <c:v>Findus Merluzzo Altro Findus Fish Bar 245GR</c:v>
                  </c:pt>
                  <c:pt idx="1">
                    <c:v>Findus Merluzzo D Alaska Chips Findus Big Burger 227GR</c:v>
                  </c:pt>
                  <c:pt idx="2">
                    <c:v>Findus Merluzzo D Alaska Standard Findus Big Burger 227GR</c:v>
                  </c:pt>
                  <c:pt idx="3">
                    <c:v>Findus Merluzzo E Spinaci Filetto Findus Croccole 300GR</c:v>
                  </c:pt>
                  <c:pt idx="4">
                    <c:v>Findus Merluzzo Filetto Findus Croccole 300GR</c:v>
                  </c:pt>
                  <c:pt idx="5">
                    <c:v>Findus Merluzzo Filetto Findus Croccole 600GR</c:v>
                  </c:pt>
                  <c:pt idx="6">
                    <c:v>Findus Merluzzo Filetto Findus Fish &amp; Crock 250GR</c:v>
                  </c:pt>
                  <c:pt idx="7">
                    <c:v>Findus Merluzzo Filetto Findus Fish Bar 240GR</c:v>
                  </c:pt>
                  <c:pt idx="8">
                    <c:v>Findus Merluzzo Semi Filetto Findus Croccole 300GR</c:v>
                  </c:pt>
                  <c:pt idx="9">
                    <c:v>Findus Merluzzo Senza Glutine Filetto Findus Croccole 250GR</c:v>
                  </c:pt>
                  <c:pt idx="10">
                    <c:v>Findus Platessa Filetto Findus Platessa 250GR</c:v>
                  </c:pt>
                  <c:pt idx="11">
                    <c:v>Findus Salmone Altro Findus Fish Bar 220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3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A9B8FD94-7AFB-4198-A226-A8847D43C9E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3013F66C-EB14-4A0D-8BDB-F9CB1989FCF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FD0151F6-C260-41E0-A5BF-A0E023DE5A0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FD8C1389-C125-45FB-ACE8-5BF35087ADB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C9FDB32D-5B73-4E77-A73B-EFC35F5E691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C7638AE1-97A3-4C4A-A626-D6445B37C60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6DB1F147-8521-42A6-846E-40DD56BA8ED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5-BFDA-4C69-8E79-A083B7EFBA29}"/>
                </c:ext>
              </c:extLst>
            </c:dLbl>
            <c:dLbl>
              <c:idx val="1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BFDA-4C69-8E79-A083B7EFBA29}"/>
                </c:ext>
              </c:extLst>
            </c:dLbl>
            <c:dLbl>
              <c:idx val="1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BFDA-4C69-8E79-A083B7EFBA29}"/>
                </c:ext>
              </c:extLst>
            </c:dLbl>
            <c:dLbl>
              <c:idx val="1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BFDA-4C69-8E79-A083B7EFBA29}"/>
                </c:ext>
              </c:extLst>
            </c:dLbl>
            <c:dLbl>
              <c:idx val="1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9-BFDA-4C69-8E79-A083B7EFBA29}"/>
                </c:ext>
              </c:extLst>
            </c:dLbl>
            <c:dLbl>
              <c:idx val="1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A-BFDA-4C69-8E79-A083B7EFBA29}"/>
                </c:ext>
              </c:extLst>
            </c:dLbl>
            <c:dLbl>
              <c:idx val="1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B-BFDA-4C69-8E79-A083B7EFBA29}"/>
                </c:ext>
              </c:extLst>
            </c:dLbl>
            <c:dLbl>
              <c:idx val="1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C-BFDA-4C69-8E79-A083B7EFBA29}"/>
                </c:ext>
              </c:extLst>
            </c:dLbl>
            <c:dLbl>
              <c:idx val="2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BFDA-4C69-8E79-A083B7EFBA29}"/>
                </c:ext>
              </c:extLst>
            </c:dLbl>
            <c:dLbl>
              <c:idx val="2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BFDA-4C69-8E79-A083B7EFBA29}"/>
                </c:ext>
              </c:extLst>
            </c:dLbl>
            <c:dLbl>
              <c:idx val="2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F-BFDA-4C69-8E79-A083B7EFBA29}"/>
                </c:ext>
              </c:extLst>
            </c:dLbl>
            <c:dLbl>
              <c:idx val="2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0-BFDA-4C69-8E79-A083B7EFBA29}"/>
                </c:ext>
              </c:extLst>
            </c:dLbl>
            <c:dLbl>
              <c:idx val="2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1-BFDA-4C69-8E79-A083B7EFBA29}"/>
                </c:ext>
              </c:extLst>
            </c:dLbl>
            <c:dLbl>
              <c:idx val="2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BFDA-4C69-8E79-A083B7EFBA29}"/>
                </c:ext>
              </c:extLst>
            </c:dLbl>
            <c:dLbl>
              <c:idx val="2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BFDA-4C69-8E79-A083B7EFBA29}"/>
                </c:ext>
              </c:extLst>
            </c:dLbl>
            <c:dLbl>
              <c:idx val="2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BFDA-4C69-8E79-A083B7EFBA29}"/>
                </c:ext>
              </c:extLst>
            </c:dLbl>
            <c:dLbl>
              <c:idx val="2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5-BFDA-4C69-8E79-A083B7EFBA29}"/>
                </c:ext>
              </c:extLst>
            </c:dLbl>
            <c:dLbl>
              <c:idx val="2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6-BFDA-4C69-8E79-A083B7EFBA29}"/>
                </c:ext>
              </c:extLst>
            </c:dLbl>
            <c:dLbl>
              <c:idx val="3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7-BFDA-4C69-8E79-A083B7EFBA29}"/>
                </c:ext>
              </c:extLst>
            </c:dLbl>
            <c:dLbl>
              <c:idx val="3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8-BFDA-4C69-8E79-A083B7EFBA29}"/>
                </c:ext>
              </c:extLst>
            </c:dLbl>
            <c:dLbl>
              <c:idx val="3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9-BFDA-4C69-8E79-A083B7EFBA29}"/>
                </c:ext>
              </c:extLst>
            </c:dLbl>
            <c:dLbl>
              <c:idx val="3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BFDA-4C69-8E79-A083B7EFBA29}"/>
                </c:ext>
              </c:extLst>
            </c:dLbl>
            <c:dLbl>
              <c:idx val="3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B-BFDA-4C69-8E79-A083B7EFBA29}"/>
                </c:ext>
              </c:extLst>
            </c:dLbl>
            <c:dLbl>
              <c:idx val="3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C-BFDA-4C69-8E79-A083B7EFBA29}"/>
                </c:ext>
              </c:extLst>
            </c:dLbl>
            <c:dLbl>
              <c:idx val="3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D-BFDA-4C69-8E79-A083B7EFBA29}"/>
                </c:ext>
              </c:extLst>
            </c:dLbl>
            <c:dLbl>
              <c:idx val="3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BFDA-4C69-8E79-A083B7EFBA29}"/>
                </c:ext>
              </c:extLst>
            </c:dLbl>
            <c:dLbl>
              <c:idx val="3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BFDA-4C69-8E79-A083B7EFBA29}"/>
                </c:ext>
              </c:extLst>
            </c:dLbl>
            <c:dLbl>
              <c:idx val="3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BFDA-4C69-8E79-A083B7EFBA29}"/>
                </c:ext>
              </c:extLst>
            </c:dLbl>
            <c:dLbl>
              <c:idx val="4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1-BFDA-4C69-8E79-A083B7EFBA29}"/>
                </c:ext>
              </c:extLst>
            </c:dLbl>
            <c:dLbl>
              <c:idx val="4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BFDA-4C69-8E79-A083B7EFBA29}"/>
                </c:ext>
              </c:extLst>
            </c:dLbl>
            <c:dLbl>
              <c:idx val="4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BFDA-4C69-8E79-A083B7EFBA29}"/>
                </c:ext>
              </c:extLst>
            </c:dLbl>
            <c:dLbl>
              <c:idx val="4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BFDA-4C69-8E79-A083B7EFBA29}"/>
                </c:ext>
              </c:extLst>
            </c:dLbl>
            <c:dLbl>
              <c:idx val="4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BFDA-4C69-8E79-A083B7EFBA29}"/>
                </c:ext>
              </c:extLst>
            </c:dLbl>
            <c:dLbl>
              <c:idx val="4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BFDA-4C69-8E79-A083B7EFBA29}"/>
                </c:ext>
              </c:extLst>
            </c:dLbl>
            <c:dLbl>
              <c:idx val="4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BFDA-4C69-8E79-A083B7EFBA29}"/>
                </c:ext>
              </c:extLst>
            </c:dLbl>
            <c:dLbl>
              <c:idx val="4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BFDA-4C69-8E79-A083B7EFBA29}"/>
                </c:ext>
              </c:extLst>
            </c:dLbl>
            <c:dLbl>
              <c:idx val="4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7</c:f>
              <c:numCache>
                <c:formatCode>General</c:formatCode>
                <c:ptCount val="6"/>
                <c:pt idx="0">
                  <c:v>0.4242</c:v>
                </c:pt>
                <c:pt idx="1">
                  <c:v>0.3709</c:v>
                </c:pt>
                <c:pt idx="2">
                  <c:v>0.3496</c:v>
                </c:pt>
                <c:pt idx="3">
                  <c:v>0.412</c:v>
                </c:pt>
                <c:pt idx="4">
                  <c:v>0.4653</c:v>
                </c:pt>
                <c:pt idx="5">
                  <c:v>0.4187</c:v>
                </c:pt>
              </c:numCache>
            </c:numRef>
          </c:xVal>
          <c:yVal>
            <c:numRef>
              <c:f>Sheet1!$B$2:$B$7</c:f>
              <c:numCache>
                <c:formatCode>General</c:formatCode>
                <c:ptCount val="6"/>
                <c:pt idx="0">
                  <c:v>1429.39</c:v>
                </c:pt>
                <c:pt idx="1">
                  <c:v>310.11340206185565</c:v>
                </c:pt>
                <c:pt idx="2">
                  <c:v>137.64646464646464</c:v>
                </c:pt>
                <c:pt idx="3">
                  <c:v>472.06315789473683</c:v>
                </c:pt>
                <c:pt idx="4">
                  <c:v>197.19354838709677</c:v>
                </c:pt>
                <c:pt idx="5">
                  <c:v>106.42465753424658</c:v>
                </c:pt>
              </c:numCache>
            </c:numRef>
          </c:yVal>
          <c:bubbleSize>
            <c:numRef>
              <c:f>Sheet1!$C$2:$C$7</c:f>
              <c:numCache>
                <c:formatCode>General</c:formatCode>
                <c:ptCount val="6"/>
                <c:pt idx="0">
                  <c:v>78015.81190000002</c:v>
                </c:pt>
                <c:pt idx="1">
                  <c:v>17938.264600000002</c:v>
                </c:pt>
                <c:pt idx="2">
                  <c:v>8400.509100000001</c:v>
                </c:pt>
                <c:pt idx="3">
                  <c:v>24993.7191</c:v>
                </c:pt>
                <c:pt idx="4">
                  <c:v>9294.5678</c:v>
                </c:pt>
                <c:pt idx="5">
                  <c:v>4280.9481000000005</c:v>
                </c:pt>
              </c:numCache>
            </c:numRef>
          </c:bubbleSize>
          <c:bubble3D val="0"/>
          <c:extLst>
            <c:ext xmlns:c15="http://schemas.microsoft.com/office/drawing/2012/chart" uri="{02D57815-91ED-43cb-92C2-25804820EDAC}">
              <c15:datalabelsRange>
                <c15:f>Sheet1!$E$2:$E$50</c15:f>
                <c15:dlblRangeCache>
                  <c:ptCount val="49"/>
                  <c:pt idx="0">
                    <c:v>Findus Merluzzo Altro Findus Fish Bar 245GR</c:v>
                  </c:pt>
                  <c:pt idx="1">
                    <c:v>Findus Merluzzo D Alaska Chips Findus Big Burger 227GR</c:v>
                  </c:pt>
                  <c:pt idx="2">
                    <c:v>Findus Merluzzo D Alaska Standard Findus Big Burger 227GR</c:v>
                  </c:pt>
                  <c:pt idx="3">
                    <c:v>Findus Merluzzo E Spinaci Filetto Findus Croccole 300GR</c:v>
                  </c:pt>
                  <c:pt idx="4">
                    <c:v>Findus Merluzzo Filetto Findus Croccole 300GR</c:v>
                  </c:pt>
                  <c:pt idx="5">
                    <c:v>Findus Merluzzo Filetto Findus Croccole 600GR</c:v>
                  </c:pt>
                  <c:pt idx="6">
                    <c:v>Findus Merluzzo Filetto Findus Fish &amp; Crock 250GR</c:v>
                  </c:pt>
                  <c:pt idx="7">
                    <c:v>Findus Merluzzo Filetto Findus Fish Bar 240GR</c:v>
                  </c:pt>
                  <c:pt idx="8">
                    <c:v>Findus Merluzzo Semi Filetto Findus Croccole 300GR</c:v>
                  </c:pt>
                  <c:pt idx="9">
                    <c:v>Findus Merluzzo Senza Glutine Filetto Findus Croccole 250GR</c:v>
                  </c:pt>
                  <c:pt idx="10">
                    <c:v>Findus Platessa Filetto Findus Platessa 250GR</c:v>
                  </c:pt>
                  <c:pt idx="11">
                    <c:v>Findus Salmone Altro Findus Fish Bar 220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3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EDB0D4D4-5B2A-4D0A-B983-E1A0470514E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91A10F2A-9ACB-4061-AE51-EAB2D6DEB3D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1818ED8C-E865-4CFC-AF39-4A88EB3C2FF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947495FC-73F0-4A63-9FF7-5C8C8843132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2C9BC667-770E-49AD-8084-35661D75E8D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12C8D713-AF5F-4038-A001-E5D95555A4C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194D0F71-0DF1-41B7-904C-0BC2F2E526A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5-BFDA-4C69-8E79-A083B7EFBA29}"/>
                </c:ext>
              </c:extLst>
            </c:dLbl>
            <c:dLbl>
              <c:idx val="1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BFDA-4C69-8E79-A083B7EFBA29}"/>
                </c:ext>
              </c:extLst>
            </c:dLbl>
            <c:dLbl>
              <c:idx val="1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BFDA-4C69-8E79-A083B7EFBA29}"/>
                </c:ext>
              </c:extLst>
            </c:dLbl>
            <c:dLbl>
              <c:idx val="1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BFDA-4C69-8E79-A083B7EFBA29}"/>
                </c:ext>
              </c:extLst>
            </c:dLbl>
            <c:dLbl>
              <c:idx val="1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9-BFDA-4C69-8E79-A083B7EFBA29}"/>
                </c:ext>
              </c:extLst>
            </c:dLbl>
            <c:dLbl>
              <c:idx val="1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A-BFDA-4C69-8E79-A083B7EFBA29}"/>
                </c:ext>
              </c:extLst>
            </c:dLbl>
            <c:dLbl>
              <c:idx val="1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B-BFDA-4C69-8E79-A083B7EFBA29}"/>
                </c:ext>
              </c:extLst>
            </c:dLbl>
            <c:dLbl>
              <c:idx val="1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C-BFDA-4C69-8E79-A083B7EFBA29}"/>
                </c:ext>
              </c:extLst>
            </c:dLbl>
            <c:dLbl>
              <c:idx val="2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BFDA-4C69-8E79-A083B7EFBA29}"/>
                </c:ext>
              </c:extLst>
            </c:dLbl>
            <c:dLbl>
              <c:idx val="2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BFDA-4C69-8E79-A083B7EFBA29}"/>
                </c:ext>
              </c:extLst>
            </c:dLbl>
            <c:dLbl>
              <c:idx val="2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F-BFDA-4C69-8E79-A083B7EFBA29}"/>
                </c:ext>
              </c:extLst>
            </c:dLbl>
            <c:dLbl>
              <c:idx val="2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0-BFDA-4C69-8E79-A083B7EFBA29}"/>
                </c:ext>
              </c:extLst>
            </c:dLbl>
            <c:dLbl>
              <c:idx val="2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1-BFDA-4C69-8E79-A083B7EFBA29}"/>
                </c:ext>
              </c:extLst>
            </c:dLbl>
            <c:dLbl>
              <c:idx val="2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BFDA-4C69-8E79-A083B7EFBA29}"/>
                </c:ext>
              </c:extLst>
            </c:dLbl>
            <c:dLbl>
              <c:idx val="2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BFDA-4C69-8E79-A083B7EFBA29}"/>
                </c:ext>
              </c:extLst>
            </c:dLbl>
            <c:dLbl>
              <c:idx val="2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BFDA-4C69-8E79-A083B7EFBA29}"/>
                </c:ext>
              </c:extLst>
            </c:dLbl>
            <c:dLbl>
              <c:idx val="2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5-BFDA-4C69-8E79-A083B7EFBA29}"/>
                </c:ext>
              </c:extLst>
            </c:dLbl>
            <c:dLbl>
              <c:idx val="2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6-BFDA-4C69-8E79-A083B7EFBA29}"/>
                </c:ext>
              </c:extLst>
            </c:dLbl>
            <c:dLbl>
              <c:idx val="3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7-BFDA-4C69-8E79-A083B7EFBA29}"/>
                </c:ext>
              </c:extLst>
            </c:dLbl>
            <c:dLbl>
              <c:idx val="3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8-BFDA-4C69-8E79-A083B7EFBA29}"/>
                </c:ext>
              </c:extLst>
            </c:dLbl>
            <c:dLbl>
              <c:idx val="3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9-BFDA-4C69-8E79-A083B7EFBA29}"/>
                </c:ext>
              </c:extLst>
            </c:dLbl>
            <c:dLbl>
              <c:idx val="3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BFDA-4C69-8E79-A083B7EFBA29}"/>
                </c:ext>
              </c:extLst>
            </c:dLbl>
            <c:dLbl>
              <c:idx val="3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B-BFDA-4C69-8E79-A083B7EFBA29}"/>
                </c:ext>
              </c:extLst>
            </c:dLbl>
            <c:dLbl>
              <c:idx val="3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C-BFDA-4C69-8E79-A083B7EFBA29}"/>
                </c:ext>
              </c:extLst>
            </c:dLbl>
            <c:dLbl>
              <c:idx val="3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D-BFDA-4C69-8E79-A083B7EFBA29}"/>
                </c:ext>
              </c:extLst>
            </c:dLbl>
            <c:dLbl>
              <c:idx val="3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BFDA-4C69-8E79-A083B7EFBA29}"/>
                </c:ext>
              </c:extLst>
            </c:dLbl>
            <c:dLbl>
              <c:idx val="3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BFDA-4C69-8E79-A083B7EFBA29}"/>
                </c:ext>
              </c:extLst>
            </c:dLbl>
            <c:dLbl>
              <c:idx val="3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BFDA-4C69-8E79-A083B7EFBA29}"/>
                </c:ext>
              </c:extLst>
            </c:dLbl>
            <c:dLbl>
              <c:idx val="4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1-BFDA-4C69-8E79-A083B7EFBA29}"/>
                </c:ext>
              </c:extLst>
            </c:dLbl>
            <c:dLbl>
              <c:idx val="4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BFDA-4C69-8E79-A083B7EFBA29}"/>
                </c:ext>
              </c:extLst>
            </c:dLbl>
            <c:dLbl>
              <c:idx val="4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BFDA-4C69-8E79-A083B7EFBA29}"/>
                </c:ext>
              </c:extLst>
            </c:dLbl>
            <c:dLbl>
              <c:idx val="4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BFDA-4C69-8E79-A083B7EFBA29}"/>
                </c:ext>
              </c:extLst>
            </c:dLbl>
            <c:dLbl>
              <c:idx val="4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BFDA-4C69-8E79-A083B7EFBA29}"/>
                </c:ext>
              </c:extLst>
            </c:dLbl>
            <c:dLbl>
              <c:idx val="4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BFDA-4C69-8E79-A083B7EFBA29}"/>
                </c:ext>
              </c:extLst>
            </c:dLbl>
            <c:dLbl>
              <c:idx val="4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BFDA-4C69-8E79-A083B7EFBA29}"/>
                </c:ext>
              </c:extLst>
            </c:dLbl>
            <c:dLbl>
              <c:idx val="4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BFDA-4C69-8E79-A083B7EFBA29}"/>
                </c:ext>
              </c:extLst>
            </c:dLbl>
            <c:dLbl>
              <c:idx val="4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7</c:f>
              <c:numCache>
                <c:formatCode>General</c:formatCode>
                <c:ptCount val="6"/>
                <c:pt idx="0">
                  <c:v>0.4681</c:v>
                </c:pt>
                <c:pt idx="1">
                  <c:v>0.4219</c:v>
                </c:pt>
                <c:pt idx="2">
                  <c:v>0.388</c:v>
                </c:pt>
                <c:pt idx="3">
                  <c:v>0.4587</c:v>
                </c:pt>
                <c:pt idx="4">
                  <c:v>0.5122</c:v>
                </c:pt>
                <c:pt idx="5">
                  <c:v>0.4678</c:v>
                </c:pt>
              </c:numCache>
            </c:numRef>
          </c:xVal>
          <c:yVal>
            <c:numRef>
              <c:f>Sheet1!$B$2:$B$7</c:f>
              <c:numCache>
                <c:formatCode>General</c:formatCode>
                <c:ptCount val="6"/>
                <c:pt idx="0">
                  <c:v>1532.3294117647058</c:v>
                </c:pt>
                <c:pt idx="1">
                  <c:v>292.74468085106383</c:v>
                </c:pt>
                <c:pt idx="2">
                  <c:v>130.70731707317074</c:v>
                </c:pt>
                <c:pt idx="3">
                  <c:v>428.27906976744185</c:v>
                </c:pt>
                <c:pt idx="4">
                  <c:v>268.07142857142856</c:v>
                </c:pt>
                <c:pt idx="5">
                  <c:v>215.78571428571425</c:v>
                </c:pt>
              </c:numCache>
            </c:numRef>
          </c:yVal>
          <c:bubbleSize>
            <c:numRef>
              <c:f>Sheet1!$C$2:$C$7</c:f>
              <c:numCache>
                <c:formatCode>General</c:formatCode>
                <c:ptCount val="6"/>
                <c:pt idx="0">
                  <c:v>65663.78859999999</c:v>
                </c:pt>
                <c:pt idx="1">
                  <c:v>7539.2294</c:v>
                </c:pt>
                <c:pt idx="2">
                  <c:v>3108.8709</c:v>
                </c:pt>
                <c:pt idx="3">
                  <c:v>9448.2915</c:v>
                </c:pt>
                <c:pt idx="4">
                  <c:v>3470.5856</c:v>
                </c:pt>
                <c:pt idx="5">
                  <c:v>1524.0654000000002</c:v>
                </c:pt>
              </c:numCache>
            </c:numRef>
          </c:bubbleSize>
          <c:bubble3D val="0"/>
          <c:extLst>
            <c:ext xmlns:c15="http://schemas.microsoft.com/office/drawing/2012/chart" uri="{02D57815-91ED-43cb-92C2-25804820EDAC}">
              <c15:datalabelsRange>
                <c15:f>Sheet1!$E$2:$E$50</c15:f>
                <c15:dlblRangeCache>
                  <c:ptCount val="49"/>
                  <c:pt idx="0">
                    <c:v>Findus Merluzzo Altro Findus Fish Bar 245GR</c:v>
                  </c:pt>
                  <c:pt idx="1">
                    <c:v>Findus Merluzzo D Alaska Chips Findus Big Burger 227GR</c:v>
                  </c:pt>
                  <c:pt idx="2">
                    <c:v>Findus Merluzzo D Alaska Standard Findus Big Burger 227GR</c:v>
                  </c:pt>
                  <c:pt idx="3">
                    <c:v>Findus Merluzzo E Spinaci Filetto Findus Croccole 300GR</c:v>
                  </c:pt>
                  <c:pt idx="4">
                    <c:v>Findus Merluzzo Filetto Findus Croccole 300GR</c:v>
                  </c:pt>
                  <c:pt idx="5">
                    <c:v>Findus Merluzzo Filetto Findus Croccole 600GR</c:v>
                  </c:pt>
                  <c:pt idx="6">
                    <c:v>Findus Merluzzo Filetto Findus Fish &amp; Crock 250GR</c:v>
                  </c:pt>
                  <c:pt idx="7">
                    <c:v>Findus Merluzzo Filetto Findus Fish Bar 240GR</c:v>
                  </c:pt>
                  <c:pt idx="8">
                    <c:v>Findus Merluzzo Semi Filetto Findus Croccole 300GR</c:v>
                  </c:pt>
                  <c:pt idx="9">
                    <c:v>Findus Merluzzo Senza Glutine Filetto Findus Croccole 250GR</c:v>
                  </c:pt>
                  <c:pt idx="10">
                    <c:v>Findus Platessa Filetto Findus Platessa 250GR</c:v>
                  </c:pt>
                  <c:pt idx="11">
                    <c:v>Findus Salmone Altro Findus Fish Bar 220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3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A162E724-0572-45B7-B469-332AC7175B62}"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6B698E70-5F7C-470F-A758-663BAABF882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ED07E691-E20D-4EAE-BB98-BF56B6DEE9B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A0379E71-F636-4812-88E1-B154CED64847}"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012FDF2A-4BB7-423A-BC8F-20A555D685B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E4D88C91-10FA-47D1-9B6A-B3C83CDA1BA8}"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A0D749F8-F569-43B1-932B-8036727286AA}"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FF3EFFD2-CBCB-41E5-949C-B81B1D418217}"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7A55EEFD-4587-4A80-B794-035C3893B76C}"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5B3F64F9-488B-4A44-A56C-CDB15D7235FE}"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1</c:f>
              <c:numCache>
                <c:formatCode>General</c:formatCode>
                <c:ptCount val="10"/>
                <c:pt idx="0">
                  <c:v>0.834</c:v>
                </c:pt>
                <c:pt idx="1">
                  <c:v>0.778</c:v>
                </c:pt>
                <c:pt idx="2">
                  <c:v>0.774</c:v>
                </c:pt>
                <c:pt idx="3">
                  <c:v>0.643</c:v>
                </c:pt>
                <c:pt idx="4">
                  <c:v>0.502</c:v>
                </c:pt>
                <c:pt idx="5">
                  <c:v>0.99</c:v>
                </c:pt>
                <c:pt idx="6">
                  <c:v>0.689</c:v>
                </c:pt>
                <c:pt idx="7">
                  <c:v>0.716</c:v>
                </c:pt>
                <c:pt idx="8">
                  <c:v>0.949</c:v>
                </c:pt>
                <c:pt idx="9">
                  <c:v>0.732</c:v>
                </c:pt>
              </c:numCache>
            </c:numRef>
          </c:xVal>
          <c:yVal>
            <c:numRef>
              <c:f>Sheet1!$B$2:$B$11</c:f>
              <c:numCache>
                <c:formatCode>General</c:formatCode>
                <c:ptCount val="10"/>
                <c:pt idx="0">
                  <c:v>42862.6139088729</c:v>
                </c:pt>
                <c:pt idx="1">
                  <c:v>81394.7557840617</c:v>
                </c:pt>
                <c:pt idx="2">
                  <c:v>9290.78811369509</c:v>
                </c:pt>
                <c:pt idx="3">
                  <c:v>7421.524105754277</c:v>
                </c:pt>
                <c:pt idx="4">
                  <c:v>5967.609561752988</c:v>
                </c:pt>
                <c:pt idx="5">
                  <c:v>47708.9595959596</c:v>
                </c:pt>
                <c:pt idx="6">
                  <c:v>5613.860667634253</c:v>
                </c:pt>
                <c:pt idx="7">
                  <c:v>16379.706703910615</c:v>
                </c:pt>
                <c:pt idx="8">
                  <c:v>34465.81664910432</c:v>
                </c:pt>
                <c:pt idx="9">
                  <c:v>25172.049180327867</c:v>
                </c:pt>
              </c:numCache>
            </c:numRef>
          </c:yVal>
          <c:bubbleSize>
            <c:numRef>
              <c:f>Sheet1!$C$2:$C$11</c:f>
              <c:numCache>
                <c:formatCode>General</c:formatCode>
                <c:ptCount val="10"/>
                <c:pt idx="0">
                  <c:v>2351097.8074000003</c:v>
                </c:pt>
                <c:pt idx="1">
                  <c:v>3644081.5352000003</c:v>
                </c:pt>
                <c:pt idx="2">
                  <c:v>390625.92009999993</c:v>
                </c:pt>
                <c:pt idx="3">
                  <c:v>269870.29780000006</c:v>
                </c:pt>
                <c:pt idx="4">
                  <c:v>183500.86179999998</c:v>
                </c:pt>
                <c:pt idx="5">
                  <c:v>2879559.3756000004</c:v>
                </c:pt>
                <c:pt idx="6">
                  <c:v>223758.21680000002</c:v>
                </c:pt>
                <c:pt idx="7">
                  <c:v>819173.4306000001</c:v>
                </c:pt>
                <c:pt idx="8">
                  <c:v>1849651.3301000001</c:v>
                </c:pt>
                <c:pt idx="9">
                  <c:v>1147660.5851999999</c:v>
                </c:pt>
              </c:numCache>
            </c:numRef>
          </c:bubbleSize>
          <c:bubble3D val="0"/>
          <c:extLst>
            <c:ext xmlns:c15="http://schemas.microsoft.com/office/drawing/2012/chart" uri="{02D57815-91ED-43cb-92C2-25804820EDAC}">
              <c15:datalabelsRange>
                <c15:f>Sheet1!$E$2:$E$21</c15:f>
                <c15:dlblRangeCache>
                  <c:ptCount val="20"/>
                  <c:pt idx="0">
                    <c:v>MBY Original 12p</c:v>
                  </c:pt>
                  <c:pt idx="1">
                    <c:v>MBY Original 18p</c:v>
                  </c:pt>
                  <c:pt idx="2">
                    <c:v>MBY Original 6p</c:v>
                  </c:pt>
                  <c:pt idx="3">
                    <c:v>MBY Variety 12p</c:v>
                  </c:pt>
                  <c:pt idx="4">
                    <c:v>MBY Variety 18p</c:v>
                  </c:pt>
                  <c:pt idx="5">
                    <c:v>MBY Light 12p</c:v>
                  </c:pt>
                  <c:pt idx="6">
                    <c:v>MBY Light 6p</c:v>
                  </c:pt>
                  <c:pt idx="7">
                    <c:v>MBY Gouda 6p</c:v>
                  </c:pt>
                  <c:pt idx="8">
                    <c:v>MBY Swiss 6p</c:v>
                  </c:pt>
                  <c:pt idx="9">
                    <c:v>MBY Cheddar 6p</c:v>
                  </c:pt>
                  <c:pt idx="10">
                    <c:v>MBY Mini Roll</c:v>
                  </c:pt>
                  <c:pt idx="11">
                    <c:v>MBY 2Go</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3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7EA9202B-54F9-41F4-85B3-CCCD7D77A607}"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29ECB355-3E53-421F-806D-760086A25126}"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99F52EBC-F7B8-4C01-ADE7-2DD0B8EAD31D}"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CA318B8F-E5CD-469E-B532-37DB6EF0736E}"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FEDD2F68-B44E-4303-8287-95470CEEC5F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9FD5CE03-AC35-4F35-ADDF-E29CC6D309E8}"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6EC311BB-E831-4B19-84E6-B08A40CBF9D4}"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12363B2A-F6CC-4DA9-839B-2A1F858AF95D}"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F983DC2E-36A8-4E1C-A059-96902989F5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1C7CFFF2-C100-4E3B-938E-87EA153C49B4}"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7</c:f>
              <c:numCache>
                <c:formatCode>General</c:formatCode>
                <c:ptCount val="16"/>
                <c:pt idx="0">
                  <c:v>0.073</c:v>
                </c:pt>
                <c:pt idx="1">
                  <c:v>0.854</c:v>
                </c:pt>
                <c:pt idx="2">
                  <c:v>0.037</c:v>
                </c:pt>
                <c:pt idx="3">
                  <c:v>0.764</c:v>
                </c:pt>
                <c:pt idx="4">
                  <c:v>0.073</c:v>
                </c:pt>
                <c:pt idx="5">
                  <c:v>0.495</c:v>
                </c:pt>
                <c:pt idx="6">
                  <c:v>0.694</c:v>
                </c:pt>
                <c:pt idx="7">
                  <c:v>0.981</c:v>
                </c:pt>
                <c:pt idx="8">
                  <c:v>0.898</c:v>
                </c:pt>
                <c:pt idx="9">
                  <c:v>0.827</c:v>
                </c:pt>
                <c:pt idx="10">
                  <c:v>0.725</c:v>
                </c:pt>
                <c:pt idx="11">
                  <c:v>0.008</c:v>
                </c:pt>
                <c:pt idx="12">
                  <c:v>0.269</c:v>
                </c:pt>
                <c:pt idx="13">
                  <c:v>0.482</c:v>
                </c:pt>
                <c:pt idx="14">
                  <c:v>0.908</c:v>
                </c:pt>
                <c:pt idx="15">
                  <c:v>0.434</c:v>
                </c:pt>
              </c:numCache>
            </c:numRef>
          </c:xVal>
          <c:yVal>
            <c:numRef>
              <c:f>Sheet1!$B$2:$B$17</c:f>
              <c:numCache>
                <c:formatCode>General</c:formatCode>
                <c:ptCount val="16"/>
                <c:pt idx="0">
                  <c:v>3420.0</c:v>
                </c:pt>
                <c:pt idx="1">
                  <c:v>9790.585480093678</c:v>
                </c:pt>
                <c:pt idx="2">
                  <c:v>8120.540540540541</c:v>
                </c:pt>
                <c:pt idx="3">
                  <c:v>9643.92670157068</c:v>
                </c:pt>
                <c:pt idx="4">
                  <c:v>3727.8082191780823</c:v>
                </c:pt>
                <c:pt idx="5">
                  <c:v>7373.959595959596</c:v>
                </c:pt>
                <c:pt idx="6">
                  <c:v>22077.017291066284</c:v>
                </c:pt>
                <c:pt idx="7">
                  <c:v>64775.47400611621</c:v>
                </c:pt>
                <c:pt idx="8">
                  <c:v>72823.24053452116</c:v>
                </c:pt>
                <c:pt idx="9">
                  <c:v>143117.46070133013</c:v>
                </c:pt>
                <c:pt idx="10">
                  <c:v>19364.593103448275</c:v>
                </c:pt>
                <c:pt idx="11">
                  <c:v>29388.75</c:v>
                </c:pt>
                <c:pt idx="12">
                  <c:v>1497.620817843866</c:v>
                </c:pt>
                <c:pt idx="13">
                  <c:v>3280.850622406639</c:v>
                </c:pt>
                <c:pt idx="14">
                  <c:v>19583.832599118945</c:v>
                </c:pt>
                <c:pt idx="15">
                  <c:v>10205.714285714286</c:v>
                </c:pt>
              </c:numCache>
            </c:numRef>
          </c:yVal>
          <c:bubbleSize>
            <c:numRef>
              <c:f>Sheet1!$C$2:$C$17</c:f>
              <c:numCache>
                <c:formatCode>General</c:formatCode>
                <c:ptCount val="16"/>
                <c:pt idx="0">
                  <c:v>15255.881699999998</c:v>
                </c:pt>
                <c:pt idx="1">
                  <c:v>496893.394</c:v>
                </c:pt>
                <c:pt idx="2">
                  <c:v>16203.9444</c:v>
                </c:pt>
                <c:pt idx="3">
                  <c:v>440091.45629999996</c:v>
                </c:pt>
                <c:pt idx="4">
                  <c:v>15284.814499999999</c:v>
                </c:pt>
                <c:pt idx="5">
                  <c:v>217204.8676</c:v>
                </c:pt>
                <c:pt idx="6">
                  <c:v>849338.8158</c:v>
                </c:pt>
                <c:pt idx="7">
                  <c:v>3550892.7451999993</c:v>
                </c:pt>
                <c:pt idx="8">
                  <c:v>4097158.8504999992</c:v>
                </c:pt>
                <c:pt idx="9">
                  <c:v>7653909.827999999</c:v>
                </c:pt>
                <c:pt idx="10">
                  <c:v>992410.8776999998</c:v>
                </c:pt>
                <c:pt idx="11">
                  <c:v>9603.1772</c:v>
                </c:pt>
                <c:pt idx="12">
                  <c:v>20057.2962</c:v>
                </c:pt>
                <c:pt idx="13">
                  <c:v>77295.2128</c:v>
                </c:pt>
                <c:pt idx="14">
                  <c:v>1074141.922</c:v>
                </c:pt>
                <c:pt idx="15">
                  <c:v>277231.0708</c:v>
                </c:pt>
              </c:numCache>
            </c:numRef>
          </c:bubbleSize>
          <c:bubble3D val="0"/>
          <c:extLst>
            <c:ext xmlns:c15="http://schemas.microsoft.com/office/drawing/2012/chart" uri="{02D57815-91ED-43cb-92C2-25804820EDAC}">
              <c15:datalabelsRange>
                <c15:f>Sheet1!$E$2:$E$21</c15:f>
                <c15:dlblRangeCache>
                  <c:ptCount val="20"/>
                  <c:pt idx="0">
                    <c:v>MBY Original 12p</c:v>
                  </c:pt>
                  <c:pt idx="1">
                    <c:v>MBY Original 18p</c:v>
                  </c:pt>
                  <c:pt idx="2">
                    <c:v>MBY Original 6p</c:v>
                  </c:pt>
                  <c:pt idx="3">
                    <c:v>MBY Variety 12p</c:v>
                  </c:pt>
                  <c:pt idx="4">
                    <c:v>MBY Variety 18p</c:v>
                  </c:pt>
                  <c:pt idx="5">
                    <c:v>MBY Light 12p</c:v>
                  </c:pt>
                  <c:pt idx="6">
                    <c:v>MBY Light 6p</c:v>
                  </c:pt>
                  <c:pt idx="7">
                    <c:v>MBY Gouda 6p</c:v>
                  </c:pt>
                  <c:pt idx="8">
                    <c:v>MBY Swiss 6p</c:v>
                  </c:pt>
                  <c:pt idx="9">
                    <c:v>MBY Cheddar 6p</c:v>
                  </c:pt>
                  <c:pt idx="10">
                    <c:v>MBY Mini Roll</c:v>
                  </c:pt>
                  <c:pt idx="11">
                    <c:v>MBY 2Go</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3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6E86F4EB-B20F-47C3-B303-C93D6D7AC35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C960D1E7-3060-415F-A2FB-88840FE92B6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D114CD3F-4E54-4492-A8C3-572639087397}"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6040A9F4-3BE3-4487-AC3B-0222631D741D}"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36D70A22-1856-44E4-9B65-522105D7029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3168DF36-2A8F-4A46-8EFE-F534D4872C18}"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4066F934-F8AD-4821-8045-060344A51B3A}"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97337EA3-FD56-43BD-AF82-2E6DA25DE078}"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E9EF7EEC-1611-4BA1-91B5-9076814867AF}"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179C551E-A992-4BD0-A4FF-F892ED60FFE6}"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31</c:f>
              <c:numCache>
                <c:formatCode>General</c:formatCode>
                <c:ptCount val="30"/>
                <c:pt idx="0">
                  <c:v>0.915</c:v>
                </c:pt>
                <c:pt idx="1">
                  <c:v>0.528</c:v>
                </c:pt>
                <c:pt idx="2">
                  <c:v>0.773</c:v>
                </c:pt>
                <c:pt idx="3">
                  <c:v>0.968</c:v>
                </c:pt>
                <c:pt idx="4">
                  <c:v>0.793</c:v>
                </c:pt>
                <c:pt idx="5">
                  <c:v>0.694</c:v>
                </c:pt>
                <c:pt idx="6">
                  <c:v>0.511</c:v>
                </c:pt>
                <c:pt idx="7">
                  <c:v>0.537</c:v>
                </c:pt>
                <c:pt idx="8">
                  <c:v>0.379</c:v>
                </c:pt>
                <c:pt idx="9">
                  <c:v>0.905</c:v>
                </c:pt>
                <c:pt idx="10">
                  <c:v>0.788</c:v>
                </c:pt>
                <c:pt idx="11">
                  <c:v>0.409</c:v>
                </c:pt>
                <c:pt idx="12">
                  <c:v>0.447</c:v>
                </c:pt>
                <c:pt idx="13">
                  <c:v>0.821</c:v>
                </c:pt>
                <c:pt idx="14">
                  <c:v>0.817</c:v>
                </c:pt>
                <c:pt idx="15">
                  <c:v>0.265</c:v>
                </c:pt>
                <c:pt idx="16">
                  <c:v>0.774</c:v>
                </c:pt>
                <c:pt idx="17">
                  <c:v>0.281</c:v>
                </c:pt>
                <c:pt idx="18">
                  <c:v>0.075</c:v>
                </c:pt>
                <c:pt idx="19">
                  <c:v>0.324</c:v>
                </c:pt>
                <c:pt idx="20">
                  <c:v>0.402</c:v>
                </c:pt>
                <c:pt idx="21">
                  <c:v>0.442</c:v>
                </c:pt>
                <c:pt idx="22">
                  <c:v>0.962</c:v>
                </c:pt>
                <c:pt idx="23">
                  <c:v>0.801</c:v>
                </c:pt>
                <c:pt idx="24">
                  <c:v>0.738</c:v>
                </c:pt>
                <c:pt idx="25">
                  <c:v>0.817</c:v>
                </c:pt>
                <c:pt idx="26">
                  <c:v>0.707</c:v>
                </c:pt>
                <c:pt idx="27">
                  <c:v>0.698</c:v>
                </c:pt>
                <c:pt idx="28">
                  <c:v>0.455</c:v>
                </c:pt>
                <c:pt idx="29">
                  <c:v>0.352</c:v>
                </c:pt>
              </c:numCache>
            </c:numRef>
          </c:xVal>
          <c:yVal>
            <c:numRef>
              <c:f>Sheet1!$B$2:$B$31</c:f>
              <c:numCache>
                <c:formatCode>General</c:formatCode>
                <c:ptCount val="30"/>
                <c:pt idx="0">
                  <c:v>36210.3825136612</c:v>
                </c:pt>
                <c:pt idx="1">
                  <c:v>912.4431818181818</c:v>
                </c:pt>
                <c:pt idx="2">
                  <c:v>4929.184993531695</c:v>
                </c:pt>
                <c:pt idx="3">
                  <c:v>35111.05371900827</c:v>
                </c:pt>
                <c:pt idx="4">
                  <c:v>8691.462799495586</c:v>
                </c:pt>
                <c:pt idx="5">
                  <c:v>6379.6974063400585</c:v>
                </c:pt>
                <c:pt idx="6">
                  <c:v>956.9080234833659</c:v>
                </c:pt>
                <c:pt idx="7">
                  <c:v>1782.2718808193667</c:v>
                </c:pt>
                <c:pt idx="8">
                  <c:v>1204.4591029023748</c:v>
                </c:pt>
                <c:pt idx="9">
                  <c:v>28428.861878453037</c:v>
                </c:pt>
                <c:pt idx="10">
                  <c:v>12732.23350253807</c:v>
                </c:pt>
                <c:pt idx="11">
                  <c:v>1246.9437652811737</c:v>
                </c:pt>
                <c:pt idx="12">
                  <c:v>3167.51677852349</c:v>
                </c:pt>
                <c:pt idx="13">
                  <c:v>11865.90742996346</c:v>
                </c:pt>
                <c:pt idx="14">
                  <c:v>25830.86903304774</c:v>
                </c:pt>
                <c:pt idx="15">
                  <c:v>4761.811320754717</c:v>
                </c:pt>
                <c:pt idx="16">
                  <c:v>7665.387596899224</c:v>
                </c:pt>
                <c:pt idx="17">
                  <c:v>2258.3985765124553</c:v>
                </c:pt>
                <c:pt idx="18">
                  <c:v>1840.8</c:v>
                </c:pt>
                <c:pt idx="19">
                  <c:v>502.5925925925926</c:v>
                </c:pt>
                <c:pt idx="20">
                  <c:v>2165.547263681592</c:v>
                </c:pt>
                <c:pt idx="21">
                  <c:v>1513.710407239819</c:v>
                </c:pt>
                <c:pt idx="22">
                  <c:v>20726.22661122661</c:v>
                </c:pt>
                <c:pt idx="23">
                  <c:v>4221.722846441947</c:v>
                </c:pt>
                <c:pt idx="24">
                  <c:v>1752.3170731707319</c:v>
                </c:pt>
                <c:pt idx="25">
                  <c:v>5431.676866585068</c:v>
                </c:pt>
                <c:pt idx="26">
                  <c:v>2424.059405940594</c:v>
                </c:pt>
                <c:pt idx="27">
                  <c:v>1723.9541547277938</c:v>
                </c:pt>
                <c:pt idx="28">
                  <c:v>1054.3076923076924</c:v>
                </c:pt>
                <c:pt idx="29">
                  <c:v>1488.977272727273</c:v>
                </c:pt>
              </c:numCache>
            </c:numRef>
          </c:yVal>
          <c:bubbleSize>
            <c:numRef>
              <c:f>Sheet1!$C$2:$C$31</c:f>
              <c:numCache>
                <c:formatCode>General</c:formatCode>
                <c:ptCount val="30"/>
                <c:pt idx="0">
                  <c:v>2032641.614</c:v>
                </c:pt>
                <c:pt idx="1">
                  <c:v>31672.401400000002</c:v>
                </c:pt>
                <c:pt idx="2">
                  <c:v>214387.12039999999</c:v>
                </c:pt>
                <c:pt idx="3">
                  <c:v>2108282.3343999996</c:v>
                </c:pt>
                <c:pt idx="4">
                  <c:v>429447.70180000004</c:v>
                </c:pt>
                <c:pt idx="5">
                  <c:v>272937.85020000004</c:v>
                </c:pt>
                <c:pt idx="6">
                  <c:v>28764.763499999994</c:v>
                </c:pt>
                <c:pt idx="7">
                  <c:v>39845.55759999999</c:v>
                </c:pt>
                <c:pt idx="8">
                  <c:v>22443.9804</c:v>
                </c:pt>
                <c:pt idx="9">
                  <c:v>1551828.5882</c:v>
                </c:pt>
                <c:pt idx="10">
                  <c:v>614373.5508000001</c:v>
                </c:pt>
                <c:pt idx="11">
                  <c:v>22839.868000000006</c:v>
                </c:pt>
                <c:pt idx="12">
                  <c:v>92124.07410000001</c:v>
                </c:pt>
                <c:pt idx="13">
                  <c:v>594060.8762999999</c:v>
                </c:pt>
                <c:pt idx="14">
                  <c:v>1311822.8504</c:v>
                </c:pt>
                <c:pt idx="15">
                  <c:v>89686.7917</c:v>
                </c:pt>
                <c:pt idx="16">
                  <c:v>343315.12559999997</c:v>
                </c:pt>
                <c:pt idx="17">
                  <c:v>29273.478900000002</c:v>
                </c:pt>
                <c:pt idx="18">
                  <c:v>7381.949</c:v>
                </c:pt>
                <c:pt idx="19">
                  <c:v>7339.8537</c:v>
                </c:pt>
                <c:pt idx="20">
                  <c:v>47748.37920000001</c:v>
                </c:pt>
                <c:pt idx="21">
                  <c:v>33021.712499999994</c:v>
                </c:pt>
                <c:pt idx="22">
                  <c:v>1138834.3723</c:v>
                </c:pt>
                <c:pt idx="23">
                  <c:v>161142.32499999995</c:v>
                </c:pt>
                <c:pt idx="24">
                  <c:v>55191.65740000001</c:v>
                </c:pt>
                <c:pt idx="25">
                  <c:v>238681.35979999995</c:v>
                </c:pt>
                <c:pt idx="26">
                  <c:v>94390.67159999999</c:v>
                </c:pt>
                <c:pt idx="27">
                  <c:v>69122.323</c:v>
                </c:pt>
                <c:pt idx="28">
                  <c:v>30133.050000000003</c:v>
                </c:pt>
                <c:pt idx="29">
                  <c:v>27109.391400000004</c:v>
                </c:pt>
              </c:numCache>
            </c:numRef>
          </c:bubbleSize>
          <c:bubble3D val="0"/>
          <c:extLst>
            <c:ext xmlns:c15="http://schemas.microsoft.com/office/drawing/2012/chart" uri="{02D57815-91ED-43cb-92C2-25804820EDAC}">
              <c15:datalabelsRange>
                <c15:f>Sheet1!$E$2:$E$21</c15:f>
                <c15:dlblRangeCache>
                  <c:ptCount val="20"/>
                  <c:pt idx="0">
                    <c:v>MBY Original 12p</c:v>
                  </c:pt>
                  <c:pt idx="1">
                    <c:v>MBY Original 18p</c:v>
                  </c:pt>
                  <c:pt idx="2">
                    <c:v>MBY Original 6p</c:v>
                  </c:pt>
                  <c:pt idx="3">
                    <c:v>MBY Variety 12p</c:v>
                  </c:pt>
                  <c:pt idx="4">
                    <c:v>MBY Variety 18p</c:v>
                  </c:pt>
                  <c:pt idx="5">
                    <c:v>MBY Light 12p</c:v>
                  </c:pt>
                  <c:pt idx="6">
                    <c:v>MBY Light 6p</c:v>
                  </c:pt>
                  <c:pt idx="7">
                    <c:v>MBY Gouda 6p</c:v>
                  </c:pt>
                  <c:pt idx="8">
                    <c:v>MBY Swiss 6p</c:v>
                  </c:pt>
                  <c:pt idx="9">
                    <c:v>MBY Cheddar 6p</c:v>
                  </c:pt>
                  <c:pt idx="10">
                    <c:v>MBY Mini Roll</c:v>
                  </c:pt>
                  <c:pt idx="11">
                    <c:v>MBY 2Go</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La Vache Qui Rit</c:v>
                </c:pt>
                <c:pt idx="1">
                  <c:v>Mini Babybel</c:v>
                </c:pt>
                <c:pt idx="2">
                  <c:v>Kiri</c:v>
                </c:pt>
                <c:pt idx="3">
                  <c:v>Private Label</c:v>
                </c:pt>
                <c:pt idx="4">
                  <c:v>Ficello</c:v>
                </c:pt>
                <c:pt idx="5">
                  <c:v>P'Tit Louis</c:v>
                </c:pt>
              </c:strCache>
            </c:strRef>
          </c:cat>
          <c:val>
            <c:numRef>
              <c:f>Sheet1!$B$2:$B$7</c:f>
              <c:numCache>
                <c:formatCode>General</c:formatCode>
                <c:ptCount val="6"/>
                <c:pt idx="0">
                  <c:v>0.3053050104468108</c:v>
                </c:pt>
                <c:pt idx="1">
                  <c:v>0.2618210616509832</c:v>
                </c:pt>
                <c:pt idx="2">
                  <c:v>0.21320051122206815</c:v>
                </c:pt>
                <c:pt idx="3">
                  <c:v>0.11479035796928873</c:v>
                </c:pt>
                <c:pt idx="4">
                  <c:v>0.08394532367657918</c:v>
                </c:pt>
                <c:pt idx="5">
                  <c:v>0.02093773503426994</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La Vache Qui Rit</c:v>
                </c:pt>
                <c:pt idx="1">
                  <c:v>Mini Babybel</c:v>
                </c:pt>
                <c:pt idx="2">
                  <c:v>Kiri</c:v>
                </c:pt>
                <c:pt idx="3">
                  <c:v>Private Label</c:v>
                </c:pt>
                <c:pt idx="4">
                  <c:v>Ficello</c:v>
                </c:pt>
                <c:pt idx="5">
                  <c:v>P'Tit Louis</c:v>
                </c:pt>
              </c:strCache>
            </c:strRef>
          </c:cat>
          <c:val>
            <c:numRef>
              <c:f>Sheet1!$C$2:$C$7</c:f>
              <c:numCache>
                <c:formatCode>General</c:formatCode>
                <c:ptCount val="6"/>
                <c:pt idx="0">
                  <c:v>0.23865979381443306</c:v>
                </c:pt>
                <c:pt idx="1">
                  <c:v>0.2646907216494846</c:v>
                </c:pt>
                <c:pt idx="2">
                  <c:v>0.26340206185567017</c:v>
                </c:pt>
                <c:pt idx="3">
                  <c:v>0.10283505154639179</c:v>
                </c:pt>
                <c:pt idx="4">
                  <c:v>0.08479381443298971</c:v>
                </c:pt>
                <c:pt idx="5">
                  <c:v>0.04561855670103094</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La Vache Qui Rit</c:v>
                </c:pt>
                <c:pt idx="1">
                  <c:v>Mini Babybel</c:v>
                </c:pt>
                <c:pt idx="2">
                  <c:v>Kiri</c:v>
                </c:pt>
                <c:pt idx="3">
                  <c:v>Private Label</c:v>
                </c:pt>
                <c:pt idx="4">
                  <c:v>Ficello</c:v>
                </c:pt>
                <c:pt idx="5">
                  <c:v>P'Tit Louis</c:v>
                </c:pt>
              </c:strCache>
            </c:strRef>
          </c:cat>
          <c:val>
            <c:numRef>
              <c:f>Sheet1!$D$2:$D$7</c:f>
              <c:numCache>
                <c:formatCode>General</c:formatCode>
                <c:ptCount val="6"/>
                <c:pt idx="0">
                  <c:v>78.17093910943579</c:v>
                </c:pt>
                <c:pt idx="1">
                  <c:v>101.09603863814698</c:v>
                </c:pt>
                <c:pt idx="2">
                  <c:v>123.54663708161209</c:v>
                </c:pt>
                <c:pt idx="3">
                  <c:v>89.58509526898114</c:v>
                </c:pt>
                <c:pt idx="4">
                  <c:v>101.01076595961385</c:v>
                </c:pt>
                <c:pt idx="5">
                  <c:v>217.87722801136104</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53892D4E-E760-4EE9-9039-3EE69333D176}"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F5AADE30-A6F4-454C-A151-647D63C023C9}"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FE4B5C17-A9E6-4913-A0AC-AF4F7F3BC8BD}"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EEFA7948-D492-4B49-A0B1-B2AF5638580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92650AAB-7301-427C-9DC9-94009531A78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3F18D5E7-E49C-42BB-9B89-4BF6B56D872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AF1698FC-4804-4570-9EF3-B9D698A39BF7}"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ADCFE8B1-09E8-4645-AC00-4AE7F3F35C4D}"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10E0DE05-0462-47F5-9BEF-E9C765802D00}"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C3844D81-0246-47D4-A5AD-79052A4194C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2</c:f>
              <c:numCache>
                <c:formatCode>General</c:formatCode>
                <c:ptCount val="11"/>
                <c:pt idx="0">
                  <c:v>0.975</c:v>
                </c:pt>
                <c:pt idx="1">
                  <c:v>0.861</c:v>
                </c:pt>
                <c:pt idx="2">
                  <c:v>0.837</c:v>
                </c:pt>
                <c:pt idx="3">
                  <c:v>0.372</c:v>
                </c:pt>
                <c:pt idx="4">
                  <c:v>0.603</c:v>
                </c:pt>
                <c:pt idx="5">
                  <c:v>0.983</c:v>
                </c:pt>
                <c:pt idx="6">
                  <c:v>0.895</c:v>
                </c:pt>
                <c:pt idx="7">
                  <c:v>0.817</c:v>
                </c:pt>
                <c:pt idx="8">
                  <c:v>0.981</c:v>
                </c:pt>
                <c:pt idx="9">
                  <c:v>0.932</c:v>
                </c:pt>
                <c:pt idx="10">
                  <c:v>0.672</c:v>
                </c:pt>
              </c:numCache>
            </c:numRef>
          </c:xVal>
          <c:yVal>
            <c:numRef>
              <c:f>Sheet1!$B$2:$B$12</c:f>
              <c:numCache>
                <c:formatCode>General</c:formatCode>
                <c:ptCount val="11"/>
                <c:pt idx="0">
                  <c:v>45724.89230769231</c:v>
                </c:pt>
                <c:pt idx="1">
                  <c:v>43360.813008130084</c:v>
                </c:pt>
                <c:pt idx="2">
                  <c:v>6139.832735961768</c:v>
                </c:pt>
                <c:pt idx="3">
                  <c:v>481.37096774193543</c:v>
                </c:pt>
                <c:pt idx="4">
                  <c:v>7090.928689883914</c:v>
                </c:pt>
                <c:pt idx="5">
                  <c:v>25786.988809766022</c:v>
                </c:pt>
                <c:pt idx="6">
                  <c:v>3027.5083798882683</c:v>
                </c:pt>
                <c:pt idx="7">
                  <c:v>3357.02570379437</c:v>
                </c:pt>
                <c:pt idx="8">
                  <c:v>20585.647298674823</c:v>
                </c:pt>
                <c:pt idx="9">
                  <c:v>27675.493562231757</c:v>
                </c:pt>
                <c:pt idx="10">
                  <c:v>5504.077380952381</c:v>
                </c:pt>
              </c:numCache>
            </c:numRef>
          </c:yVal>
          <c:bubbleSize>
            <c:numRef>
              <c:f>Sheet1!$C$2:$C$12</c:f>
              <c:numCache>
                <c:formatCode>General</c:formatCode>
                <c:ptCount val="11"/>
                <c:pt idx="0">
                  <c:v>2855956.0229999996</c:v>
                </c:pt>
                <c:pt idx="1">
                  <c:v>2296187.0626000003</c:v>
                </c:pt>
                <c:pt idx="2">
                  <c:v>263362.13670000003</c:v>
                </c:pt>
                <c:pt idx="3">
                  <c:v>8501.64</c:v>
                </c:pt>
                <c:pt idx="4">
                  <c:v>211148.30579999997</c:v>
                </c:pt>
                <c:pt idx="5">
                  <c:v>1566649.6702999999</c:v>
                </c:pt>
                <c:pt idx="6">
                  <c:v>149151.07840000003</c:v>
                </c:pt>
                <c:pt idx="7">
                  <c:v>187196.62399999998</c:v>
                </c:pt>
                <c:pt idx="8">
                  <c:v>1207357.7841999999</c:v>
                </c:pt>
                <c:pt idx="9">
                  <c:v>1563091.1579999998</c:v>
                </c:pt>
                <c:pt idx="10">
                  <c:v>182424.33279999997</c:v>
                </c:pt>
              </c:numCache>
            </c:numRef>
          </c:bubbleSize>
          <c:bubble3D val="0"/>
          <c:extLst>
            <c:ext xmlns:c15="http://schemas.microsoft.com/office/drawing/2012/chart" uri="{02D57815-91ED-43cb-92C2-25804820EDAC}">
              <c15:datalabelsRange>
                <c15:f>Sheet1!$E$2:$E$21</c15:f>
                <c15:dlblRangeCache>
                  <c:ptCount val="20"/>
                  <c:pt idx="0">
                    <c:v>MBY Original 12p</c:v>
                  </c:pt>
                  <c:pt idx="1">
                    <c:v>MBY Original 18p</c:v>
                  </c:pt>
                  <c:pt idx="2">
                    <c:v>MBY Original 6p</c:v>
                  </c:pt>
                  <c:pt idx="3">
                    <c:v>MBY Variety 12p</c:v>
                  </c:pt>
                  <c:pt idx="4">
                    <c:v>MBY Variety 18p</c:v>
                  </c:pt>
                  <c:pt idx="5">
                    <c:v>MBY Light 12p</c:v>
                  </c:pt>
                  <c:pt idx="6">
                    <c:v>MBY Light 6p</c:v>
                  </c:pt>
                  <c:pt idx="7">
                    <c:v>MBY Gouda 6p</c:v>
                  </c:pt>
                  <c:pt idx="8">
                    <c:v>MBY Swiss 6p</c:v>
                  </c:pt>
                  <c:pt idx="9">
                    <c:v>MBY Cheddar 6p</c:v>
                  </c:pt>
                  <c:pt idx="10">
                    <c:v>MBY Mini Roll</c:v>
                  </c:pt>
                  <c:pt idx="11">
                    <c:v>MBY 2Go</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3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F654E360-E3A7-4909-8019-70AFA0FA3FAF}"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D387F61B-A6E1-472B-BC23-309E72D3754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79484053-9F0C-4F84-9AD6-3574E91E8A29}"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62607AB4-87AC-47D5-841D-63A4CBBC5FDB}"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8C48255F-2452-4ABC-B556-5B4FF8EE923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700E5056-4D7C-4FF6-A1F7-935B5DE6FB6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7DA4ED39-8BA7-4CDF-9BBE-D0A80CDBEDF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B513FE85-1FAA-4482-B51D-F893A0EE7D4C}"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8E4FF4AC-1A76-4806-8985-FC715AA89FDE}"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56ABCCB7-3F4B-49AB-8314-3E4C8BF85D7A}"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9</c:f>
              <c:numCache>
                <c:formatCode>General</c:formatCode>
                <c:ptCount val="8"/>
                <c:pt idx="0">
                  <c:v>0.679</c:v>
                </c:pt>
                <c:pt idx="1">
                  <c:v>0.841</c:v>
                </c:pt>
                <c:pt idx="2">
                  <c:v>0.998</c:v>
                </c:pt>
                <c:pt idx="3">
                  <c:v>0.941</c:v>
                </c:pt>
                <c:pt idx="4">
                  <c:v>0.947</c:v>
                </c:pt>
                <c:pt idx="5">
                  <c:v>0.231</c:v>
                </c:pt>
                <c:pt idx="6">
                  <c:v>0.955</c:v>
                </c:pt>
                <c:pt idx="7">
                  <c:v>0.848</c:v>
                </c:pt>
              </c:numCache>
            </c:numRef>
          </c:xVal>
          <c:yVal>
            <c:numRef>
              <c:f>Sheet1!$B$2:$B$9</c:f>
              <c:numCache>
                <c:formatCode>General</c:formatCode>
                <c:ptCount val="8"/>
                <c:pt idx="0">
                  <c:v>6740.530191458026</c:v>
                </c:pt>
                <c:pt idx="1">
                  <c:v>10304.161712247325</c:v>
                </c:pt>
                <c:pt idx="2">
                  <c:v>61730.22044088176</c:v>
                </c:pt>
                <c:pt idx="3">
                  <c:v>52226.90754516472</c:v>
                </c:pt>
                <c:pt idx="4">
                  <c:v>79341.23548046463</c:v>
                </c:pt>
                <c:pt idx="5">
                  <c:v>1325.1948051948052</c:v>
                </c:pt>
                <c:pt idx="6">
                  <c:v>14262.722513089006</c:v>
                </c:pt>
                <c:pt idx="7">
                  <c:v>14741.662735849057</c:v>
                </c:pt>
              </c:numCache>
            </c:numRef>
          </c:yVal>
          <c:bubbleSize>
            <c:numRef>
              <c:f>Sheet1!$C$2:$C$9</c:f>
              <c:numCache>
                <c:formatCode>General</c:formatCode>
                <c:ptCount val="8"/>
                <c:pt idx="0">
                  <c:v>199774.98380000005</c:v>
                </c:pt>
                <c:pt idx="1">
                  <c:v>465262.3417000001</c:v>
                </c:pt>
                <c:pt idx="2">
                  <c:v>3517429.0794000006</c:v>
                </c:pt>
                <c:pt idx="3">
                  <c:v>2967487.1029999997</c:v>
                </c:pt>
                <c:pt idx="4">
                  <c:v>4797651.408399999</c:v>
                </c:pt>
                <c:pt idx="5">
                  <c:v>21865.146199999996</c:v>
                </c:pt>
                <c:pt idx="6">
                  <c:v>744418.5861000001</c:v>
                </c:pt>
                <c:pt idx="7">
                  <c:v>604870.5601999997</c:v>
                </c:pt>
              </c:numCache>
            </c:numRef>
          </c:bubbleSize>
          <c:bubble3D val="0"/>
          <c:extLst>
            <c:ext xmlns:c15="http://schemas.microsoft.com/office/drawing/2012/chart" uri="{02D57815-91ED-43cb-92C2-25804820EDAC}">
              <c15:datalabelsRange>
                <c15:f>Sheet1!$E$2:$E$21</c15:f>
                <c15:dlblRangeCache>
                  <c:ptCount val="20"/>
                  <c:pt idx="0">
                    <c:v>MBY Original 12p</c:v>
                  </c:pt>
                  <c:pt idx="1">
                    <c:v>MBY Original 18p</c:v>
                  </c:pt>
                  <c:pt idx="2">
                    <c:v>MBY Original 6p</c:v>
                  </c:pt>
                  <c:pt idx="3">
                    <c:v>MBY Variety 12p</c:v>
                  </c:pt>
                  <c:pt idx="4">
                    <c:v>MBY Variety 18p</c:v>
                  </c:pt>
                  <c:pt idx="5">
                    <c:v>MBY Light 12p</c:v>
                  </c:pt>
                  <c:pt idx="6">
                    <c:v>MBY Light 6p</c:v>
                  </c:pt>
                  <c:pt idx="7">
                    <c:v>MBY Gouda 6p</c:v>
                  </c:pt>
                  <c:pt idx="8">
                    <c:v>MBY Swiss 6p</c:v>
                  </c:pt>
                  <c:pt idx="9">
                    <c:v>MBY Cheddar 6p</c:v>
                  </c:pt>
                  <c:pt idx="10">
                    <c:v>MBY Mini Roll</c:v>
                  </c:pt>
                  <c:pt idx="11">
                    <c:v>MBY 2Go</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3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0EAD19E9-B451-4DCD-A603-EC2295495194}"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61408C75-6D34-4DB9-8B09-D4315C2CECD8}"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7AB8058F-16A2-44CB-95FE-6831EF1A2E74}"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DDB1F05C-31E3-48B1-BC09-5E7B8202E347}"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DBF8BB04-91A5-47CF-934F-6C57BC22F35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2E5AFB49-BDAD-4974-B8C1-C4EA666049B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BE4BD4BE-B8A2-46E9-8E26-24A92C7C0642}"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BD248742-BE39-4AB4-B9D0-3B1AFEFED529}"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0F9A7E05-D600-4E08-97C0-99E7BA3D0A67}"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8DF26197-23DB-4E50-9E57-99197AED38CF}"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25</c:f>
              <c:numCache>
                <c:formatCode>General</c:formatCode>
                <c:ptCount val="24"/>
                <c:pt idx="0">
                  <c:v>0.981</c:v>
                </c:pt>
                <c:pt idx="1">
                  <c:v>0.873</c:v>
                </c:pt>
                <c:pt idx="2">
                  <c:v>0.998</c:v>
                </c:pt>
                <c:pt idx="3">
                  <c:v>0.973</c:v>
                </c:pt>
                <c:pt idx="4">
                  <c:v>0.98</c:v>
                </c:pt>
                <c:pt idx="5">
                  <c:v>0.687</c:v>
                </c:pt>
                <c:pt idx="6">
                  <c:v>0.966</c:v>
                </c:pt>
                <c:pt idx="7">
                  <c:v>0.873</c:v>
                </c:pt>
                <c:pt idx="8">
                  <c:v>0.911</c:v>
                </c:pt>
                <c:pt idx="9">
                  <c:v>0.75</c:v>
                </c:pt>
                <c:pt idx="10">
                  <c:v>0.325</c:v>
                </c:pt>
                <c:pt idx="11">
                  <c:v>0.939</c:v>
                </c:pt>
                <c:pt idx="12">
                  <c:v>0.98</c:v>
                </c:pt>
                <c:pt idx="13">
                  <c:v>0.86</c:v>
                </c:pt>
                <c:pt idx="14">
                  <c:v>0.954</c:v>
                </c:pt>
                <c:pt idx="15">
                  <c:v>0.808</c:v>
                </c:pt>
                <c:pt idx="16">
                  <c:v>0.94</c:v>
                </c:pt>
                <c:pt idx="17">
                  <c:v>0.968</c:v>
                </c:pt>
                <c:pt idx="18">
                  <c:v>0.845</c:v>
                </c:pt>
                <c:pt idx="19">
                  <c:v>0.803</c:v>
                </c:pt>
                <c:pt idx="20">
                  <c:v>0.823</c:v>
                </c:pt>
                <c:pt idx="21">
                  <c:v>0.66</c:v>
                </c:pt>
                <c:pt idx="22">
                  <c:v>0.414</c:v>
                </c:pt>
                <c:pt idx="23">
                  <c:v>0.661</c:v>
                </c:pt>
              </c:numCache>
            </c:numRef>
          </c:xVal>
          <c:yVal>
            <c:numRef>
              <c:f>Sheet1!$B$2:$B$25</c:f>
              <c:numCache>
                <c:formatCode>General</c:formatCode>
                <c:ptCount val="24"/>
                <c:pt idx="0">
                  <c:v>27527.410805300715</c:v>
                </c:pt>
                <c:pt idx="1">
                  <c:v>8120.263459335624</c:v>
                </c:pt>
                <c:pt idx="2">
                  <c:v>24558.517034068136</c:v>
                </c:pt>
                <c:pt idx="3">
                  <c:v>8635.179856115108</c:v>
                </c:pt>
                <c:pt idx="4">
                  <c:v>10309.234693877552</c:v>
                </c:pt>
                <c:pt idx="5">
                  <c:v>648.2532751091703</c:v>
                </c:pt>
                <c:pt idx="6">
                  <c:v>22494.254658385096</c:v>
                </c:pt>
                <c:pt idx="7">
                  <c:v>7525.876288659794</c:v>
                </c:pt>
                <c:pt idx="8">
                  <c:v>14703.468715697034</c:v>
                </c:pt>
                <c:pt idx="9">
                  <c:v>775.1466666666666</c:v>
                </c:pt>
                <c:pt idx="10">
                  <c:v>2730.892307692308</c:v>
                </c:pt>
                <c:pt idx="11">
                  <c:v>11438.093716719915</c:v>
                </c:pt>
                <c:pt idx="12">
                  <c:v>27838.23469387755</c:v>
                </c:pt>
                <c:pt idx="13">
                  <c:v>8505.593023255815</c:v>
                </c:pt>
                <c:pt idx="14">
                  <c:v>12471.153039832287</c:v>
                </c:pt>
                <c:pt idx="15">
                  <c:v>5809.356435643564</c:v>
                </c:pt>
                <c:pt idx="16">
                  <c:v>7229.13829787234</c:v>
                </c:pt>
                <c:pt idx="17">
                  <c:v>11293.564049586777</c:v>
                </c:pt>
                <c:pt idx="18">
                  <c:v>2199.242603550296</c:v>
                </c:pt>
                <c:pt idx="19">
                  <c:v>1098.206724782067</c:v>
                </c:pt>
                <c:pt idx="20">
                  <c:v>3335.868772782503</c:v>
                </c:pt>
                <c:pt idx="21">
                  <c:v>1614.0757575757575</c:v>
                </c:pt>
                <c:pt idx="22">
                  <c:v>1111.304347826087</c:v>
                </c:pt>
                <c:pt idx="23">
                  <c:v>730.5446293494704</c:v>
                </c:pt>
              </c:numCache>
            </c:numRef>
          </c:yVal>
          <c:bubbleSize>
            <c:numRef>
              <c:f>Sheet1!$C$2:$C$25</c:f>
              <c:numCache>
                <c:formatCode>General</c:formatCode>
                <c:ptCount val="24"/>
                <c:pt idx="0">
                  <c:v>1651385.2755000002</c:v>
                </c:pt>
                <c:pt idx="1">
                  <c:v>402947.6498000001</c:v>
                </c:pt>
                <c:pt idx="2">
                  <c:v>1491960.5067000005</c:v>
                </c:pt>
                <c:pt idx="3">
                  <c:v>455950.0355</c:v>
                </c:pt>
                <c:pt idx="4">
                  <c:v>571593.6846999999</c:v>
                </c:pt>
                <c:pt idx="5">
                  <c:v>19383.52</c:v>
                </c:pt>
                <c:pt idx="6">
                  <c:v>1231312.4589</c:v>
                </c:pt>
                <c:pt idx="7">
                  <c:v>370057.5055999999</c:v>
                </c:pt>
                <c:pt idx="8">
                  <c:v>736195.6952000001</c:v>
                </c:pt>
                <c:pt idx="9">
                  <c:v>41023.2397</c:v>
                </c:pt>
                <c:pt idx="10">
                  <c:v>50382.1857</c:v>
                </c:pt>
                <c:pt idx="11">
                  <c:v>606479.7723999999</c:v>
                </c:pt>
                <c:pt idx="12">
                  <c:v>1621213.0609000002</c:v>
                </c:pt>
                <c:pt idx="13">
                  <c:v>410939.0</c:v>
                </c:pt>
                <c:pt idx="14">
                  <c:v>580146.0286</c:v>
                </c:pt>
                <c:pt idx="15">
                  <c:v>248552.02370000002</c:v>
                </c:pt>
                <c:pt idx="16">
                  <c:v>394111.0859</c:v>
                </c:pt>
                <c:pt idx="17">
                  <c:v>583488.7946</c:v>
                </c:pt>
                <c:pt idx="18">
                  <c:v>108019.20160000001</c:v>
                </c:pt>
                <c:pt idx="19">
                  <c:v>53176.0122</c:v>
                </c:pt>
                <c:pt idx="20">
                  <c:v>149306.44979999997</c:v>
                </c:pt>
                <c:pt idx="21">
                  <c:v>52600.97309999999</c:v>
                </c:pt>
                <c:pt idx="22">
                  <c:v>24854.501100000005</c:v>
                </c:pt>
                <c:pt idx="23">
                  <c:v>34571.8464</c:v>
                </c:pt>
              </c:numCache>
            </c:numRef>
          </c:bubbleSize>
          <c:bubble3D val="0"/>
          <c:extLst>
            <c:ext xmlns:c15="http://schemas.microsoft.com/office/drawing/2012/chart" uri="{02D57815-91ED-43cb-92C2-25804820EDAC}">
              <c15:datalabelsRange>
                <c15:f>Sheet1!$E$2:$E$21</c15:f>
                <c15:dlblRangeCache>
                  <c:ptCount val="20"/>
                  <c:pt idx="0">
                    <c:v>MBY Original 12p</c:v>
                  </c:pt>
                  <c:pt idx="1">
                    <c:v>MBY Original 18p</c:v>
                  </c:pt>
                  <c:pt idx="2">
                    <c:v>MBY Original 6p</c:v>
                  </c:pt>
                  <c:pt idx="3">
                    <c:v>MBY Variety 12p</c:v>
                  </c:pt>
                  <c:pt idx="4">
                    <c:v>MBY Variety 18p</c:v>
                  </c:pt>
                  <c:pt idx="5">
                    <c:v>MBY Light 12p</c:v>
                  </c:pt>
                  <c:pt idx="6">
                    <c:v>MBY Light 6p</c:v>
                  </c:pt>
                  <c:pt idx="7">
                    <c:v>MBY Gouda 6p</c:v>
                  </c:pt>
                  <c:pt idx="8">
                    <c:v>MBY Swiss 6p</c:v>
                  </c:pt>
                  <c:pt idx="9">
                    <c:v>MBY Cheddar 6p</c:v>
                  </c:pt>
                  <c:pt idx="10">
                    <c:v>MBY Mini Roll</c:v>
                  </c:pt>
                  <c:pt idx="11">
                    <c:v>MBY 2Go</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3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C1245B3A-427C-4FE3-A1DA-D2DC7AAF4CFE}"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4AA73EF4-DBA0-4575-B323-7E6A259AA6D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6B6CF578-6606-416C-80A5-BE196B1ED009}"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847BE120-AE8E-4603-83C1-AEC594BF3926}"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1ECF7BBE-39FF-4F5B-8B68-B0BA5CD5F1C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7805641F-0C50-46C7-B6AF-4FD19F87509E}"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52E17CE2-E58A-4683-B3E1-0F0BE290D914}"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C9D69C68-6A41-43F4-8DDE-EEE716D20562}"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F12DB49E-A214-4EC2-BD23-C16C32C5A3AA}"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132624D1-55E6-4C5D-820D-ABF51C504F0F}"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1</c:f>
              <c:numCache>
                <c:formatCode>General</c:formatCode>
                <c:ptCount val="10"/>
                <c:pt idx="0">
                  <c:v>1.0</c:v>
                </c:pt>
                <c:pt idx="1">
                  <c:v>0.99</c:v>
                </c:pt>
                <c:pt idx="2">
                  <c:v>0.98</c:v>
                </c:pt>
                <c:pt idx="3">
                  <c:v>0.96</c:v>
                </c:pt>
                <c:pt idx="4">
                  <c:v>0.75</c:v>
                </c:pt>
                <c:pt idx="5">
                  <c:v>1.0</c:v>
                </c:pt>
                <c:pt idx="6">
                  <c:v>0.89</c:v>
                </c:pt>
                <c:pt idx="7">
                  <c:v>0.98</c:v>
                </c:pt>
                <c:pt idx="8">
                  <c:v>1.0</c:v>
                </c:pt>
                <c:pt idx="9">
                  <c:v>0.99</c:v>
                </c:pt>
              </c:numCache>
            </c:numRef>
          </c:xVal>
          <c:yVal>
            <c:numRef>
              <c:f>Sheet1!$B$2:$B$11</c:f>
              <c:numCache>
                <c:formatCode>General</c:formatCode>
                <c:ptCount val="10"/>
                <c:pt idx="0">
                  <c:v>19457.76</c:v>
                </c:pt>
                <c:pt idx="1">
                  <c:v>45589.41414141414</c:v>
                </c:pt>
                <c:pt idx="2">
                  <c:v>2226.4591836734694</c:v>
                </c:pt>
                <c:pt idx="3">
                  <c:v>3431.15625</c:v>
                </c:pt>
                <c:pt idx="4">
                  <c:v>1891.3733333333332</c:v>
                </c:pt>
                <c:pt idx="5">
                  <c:v>11794.45</c:v>
                </c:pt>
                <c:pt idx="6">
                  <c:v>1402.6404494382023</c:v>
                </c:pt>
                <c:pt idx="7">
                  <c:v>8238.34693877551</c:v>
                </c:pt>
                <c:pt idx="8">
                  <c:v>14911.01</c:v>
                </c:pt>
                <c:pt idx="9">
                  <c:v>11125.10101010101</c:v>
                </c:pt>
              </c:numCache>
            </c:numRef>
          </c:yVal>
          <c:bubbleSize>
            <c:numRef>
              <c:f>Sheet1!$C$2:$C$11</c:f>
              <c:numCache>
                <c:formatCode>General</c:formatCode>
                <c:ptCount val="10"/>
                <c:pt idx="0">
                  <c:v>1296098.2605999997</c:v>
                </c:pt>
                <c:pt idx="1">
                  <c:v>2645737.671800001</c:v>
                </c:pt>
                <c:pt idx="2">
                  <c:v>129655.06629999999</c:v>
                </c:pt>
                <c:pt idx="3">
                  <c:v>186540.4972</c:v>
                </c:pt>
                <c:pt idx="4">
                  <c:v>87470.35269999999</c:v>
                </c:pt>
                <c:pt idx="5">
                  <c:v>790966.1867999999</c:v>
                </c:pt>
                <c:pt idx="6">
                  <c:v>74144.0196</c:v>
                </c:pt>
                <c:pt idx="7">
                  <c:v>566708.1048</c:v>
                </c:pt>
                <c:pt idx="8">
                  <c:v>956991.22</c:v>
                </c:pt>
                <c:pt idx="9">
                  <c:v>695514.2348000001</c:v>
                </c:pt>
              </c:numCache>
            </c:numRef>
          </c:bubbleSize>
          <c:bubble3D val="0"/>
          <c:extLst>
            <c:ext xmlns:c15="http://schemas.microsoft.com/office/drawing/2012/chart" uri="{02D57815-91ED-43cb-92C2-25804820EDAC}">
              <c15:datalabelsRange>
                <c15:f>Sheet1!$E$2:$E$21</c15:f>
                <c15:dlblRangeCache>
                  <c:ptCount val="20"/>
                  <c:pt idx="0">
                    <c:v>MBY Original 12p</c:v>
                  </c:pt>
                  <c:pt idx="1">
                    <c:v>MBY Original 18p</c:v>
                  </c:pt>
                  <c:pt idx="2">
                    <c:v>MBY Original 6p</c:v>
                  </c:pt>
                  <c:pt idx="3">
                    <c:v>MBY Variety 12p</c:v>
                  </c:pt>
                  <c:pt idx="4">
                    <c:v>MBY Variety 18p</c:v>
                  </c:pt>
                  <c:pt idx="5">
                    <c:v>MBY Light 12p</c:v>
                  </c:pt>
                  <c:pt idx="6">
                    <c:v>MBY Light 6p</c:v>
                  </c:pt>
                  <c:pt idx="7">
                    <c:v>MBY Gouda 6p</c:v>
                  </c:pt>
                  <c:pt idx="8">
                    <c:v>MBY Swiss 6p</c:v>
                  </c:pt>
                  <c:pt idx="9">
                    <c:v>MBY Cheddar 6p</c:v>
                  </c:pt>
                  <c:pt idx="10">
                    <c:v>MBY Mini Roll</c:v>
                  </c:pt>
                  <c:pt idx="11">
                    <c:v>MBY 2Go</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3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59D55FF5-5C37-4E47-BAED-FA1ED7BBFA2B}"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C21ECEF6-799B-49B0-A363-CD0BBA2C1A02}"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8C27E459-4B77-438A-8AD2-0A75F0F3F784}"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317146E9-51F7-46CA-A7A4-82D5A2AC9C57}"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0AC8E5CD-82B3-4338-BAAD-BA758AED5DD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4443CECC-ED01-4BC3-8FA4-71A36D0A319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9630BF7B-ED18-4AE9-BDF4-381FC64BA9CC}"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1F04E931-FE5D-45AF-9BB0-9891944D539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52A71B22-322A-4D49-8E0D-756A772D7FCE}"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89FF6E4F-2FD9-4FE9-9836-7A4674394DE9}"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6</c:f>
              <c:numCache>
                <c:formatCode>General</c:formatCode>
                <c:ptCount val="15"/>
                <c:pt idx="0">
                  <c:v>0.16</c:v>
                </c:pt>
                <c:pt idx="1">
                  <c:v>1.0</c:v>
                </c:pt>
                <c:pt idx="2">
                  <c:v>0.08</c:v>
                </c:pt>
                <c:pt idx="3">
                  <c:v>1.0</c:v>
                </c:pt>
                <c:pt idx="4">
                  <c:v>0.16</c:v>
                </c:pt>
                <c:pt idx="5">
                  <c:v>0.86</c:v>
                </c:pt>
                <c:pt idx="6">
                  <c:v>0.94</c:v>
                </c:pt>
                <c:pt idx="7">
                  <c:v>1.0</c:v>
                </c:pt>
                <c:pt idx="8">
                  <c:v>1.0</c:v>
                </c:pt>
                <c:pt idx="9">
                  <c:v>0.99</c:v>
                </c:pt>
                <c:pt idx="10">
                  <c:v>0.94</c:v>
                </c:pt>
                <c:pt idx="11">
                  <c:v>0.59</c:v>
                </c:pt>
                <c:pt idx="12">
                  <c:v>0.82</c:v>
                </c:pt>
                <c:pt idx="13">
                  <c:v>1.0</c:v>
                </c:pt>
                <c:pt idx="14">
                  <c:v>0.95</c:v>
                </c:pt>
              </c:numCache>
            </c:numRef>
          </c:xVal>
          <c:yVal>
            <c:numRef>
              <c:f>Sheet1!$B$2:$B$16</c:f>
              <c:numCache>
                <c:formatCode>General</c:formatCode>
                <c:ptCount val="15"/>
                <c:pt idx="0">
                  <c:v>1560.375</c:v>
                </c:pt>
                <c:pt idx="1">
                  <c:v>4355.39</c:v>
                </c:pt>
                <c:pt idx="2">
                  <c:v>3755.75</c:v>
                </c:pt>
                <c:pt idx="3">
                  <c:v>4384.49</c:v>
                </c:pt>
                <c:pt idx="4">
                  <c:v>1699.3125</c:v>
                </c:pt>
                <c:pt idx="5">
                  <c:v>3117.8720930232557</c:v>
                </c:pt>
                <c:pt idx="6">
                  <c:v>8213.010638297872</c:v>
                </c:pt>
                <c:pt idx="7">
                  <c:v>16701.66</c:v>
                </c:pt>
                <c:pt idx="8">
                  <c:v>29213.62</c:v>
                </c:pt>
                <c:pt idx="9">
                  <c:v>82610.36363636363</c:v>
                </c:pt>
                <c:pt idx="10">
                  <c:v>9848.946808510638</c:v>
                </c:pt>
                <c:pt idx="11">
                  <c:v>682.8135593220339</c:v>
                </c:pt>
                <c:pt idx="12">
                  <c:v>999.7317073170732</c:v>
                </c:pt>
                <c:pt idx="13">
                  <c:v>7241.72</c:v>
                </c:pt>
                <c:pt idx="14">
                  <c:v>4657.1894736842105</c:v>
                </c:pt>
              </c:numCache>
            </c:numRef>
          </c:yVal>
          <c:bubbleSize>
            <c:numRef>
              <c:f>Sheet1!$C$2:$C$16</c:f>
              <c:numCache>
                <c:formatCode>General</c:formatCode>
                <c:ptCount val="15"/>
                <c:pt idx="0">
                  <c:v>15255.881699999998</c:v>
                </c:pt>
                <c:pt idx="1">
                  <c:v>263336.331</c:v>
                </c:pt>
                <c:pt idx="2">
                  <c:v>16203.9444</c:v>
                </c:pt>
                <c:pt idx="3">
                  <c:v>264664.55909999995</c:v>
                </c:pt>
                <c:pt idx="4">
                  <c:v>15268.289499999999</c:v>
                </c:pt>
                <c:pt idx="5">
                  <c:v>159781.21240000002</c:v>
                </c:pt>
                <c:pt idx="6">
                  <c:v>432475.68330000003</c:v>
                </c:pt>
                <c:pt idx="7">
                  <c:v>1004464.2163000001</c:v>
                </c:pt>
                <c:pt idx="8">
                  <c:v>1949339.2618000002</c:v>
                </c:pt>
                <c:pt idx="9">
                  <c:v>5376313.341299999</c:v>
                </c:pt>
                <c:pt idx="10">
                  <c:v>652910.7028</c:v>
                </c:pt>
                <c:pt idx="11">
                  <c:v>20057.2962</c:v>
                </c:pt>
                <c:pt idx="12">
                  <c:v>40975.85999999999</c:v>
                </c:pt>
                <c:pt idx="13">
                  <c:v>491716.5952</c:v>
                </c:pt>
                <c:pt idx="14">
                  <c:v>276915.12139999995</c:v>
                </c:pt>
              </c:numCache>
            </c:numRef>
          </c:bubbleSize>
          <c:bubble3D val="0"/>
          <c:extLst>
            <c:ext xmlns:c15="http://schemas.microsoft.com/office/drawing/2012/chart" uri="{02D57815-91ED-43cb-92C2-25804820EDAC}">
              <c15:datalabelsRange>
                <c15:f>Sheet1!$E$2:$E$21</c15:f>
                <c15:dlblRangeCache>
                  <c:ptCount val="20"/>
                  <c:pt idx="0">
                    <c:v>MBY Original 12p</c:v>
                  </c:pt>
                  <c:pt idx="1">
                    <c:v>MBY Original 18p</c:v>
                  </c:pt>
                  <c:pt idx="2">
                    <c:v>MBY Original 6p</c:v>
                  </c:pt>
                  <c:pt idx="3">
                    <c:v>MBY Variety 12p</c:v>
                  </c:pt>
                  <c:pt idx="4">
                    <c:v>MBY Variety 18p</c:v>
                  </c:pt>
                  <c:pt idx="5">
                    <c:v>MBY Light 12p</c:v>
                  </c:pt>
                  <c:pt idx="6">
                    <c:v>MBY Light 6p</c:v>
                  </c:pt>
                  <c:pt idx="7">
                    <c:v>MBY Gouda 6p</c:v>
                  </c:pt>
                  <c:pt idx="8">
                    <c:v>MBY Swiss 6p</c:v>
                  </c:pt>
                  <c:pt idx="9">
                    <c:v>MBY Cheddar 6p</c:v>
                  </c:pt>
                  <c:pt idx="10">
                    <c:v>MBY Mini Roll</c:v>
                  </c:pt>
                  <c:pt idx="11">
                    <c:v>MBY 2Go</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3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2C181DE5-F843-4731-BEA4-394E13217B3B}"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C8CE70EC-2EA5-4BF3-A1B1-DAAD6E31269C}"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A2FA930C-0FD2-4A95-A468-B083753E4059}"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2FB0FAFE-287B-4D0F-9E71-8ABD1F97C5F0}"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B6474E62-4A02-41E0-BAD3-1699D83C6B2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2EEBE7BF-83B8-45DC-AC37-924D2FF5B91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ADBFAB2A-8034-4C9B-9878-03A5DEC8119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4188BCFF-7A3E-4755-95FE-9464FDECD2FA}"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6C4B4561-BB23-4AA5-9178-1260CEC9D539}"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557804EE-E06A-4CEA-9CB9-D9162C03E7DF}"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31</c:f>
              <c:numCache>
                <c:formatCode>General</c:formatCode>
                <c:ptCount val="30"/>
                <c:pt idx="0">
                  <c:v>1.0</c:v>
                </c:pt>
                <c:pt idx="1">
                  <c:v>0.85</c:v>
                </c:pt>
                <c:pt idx="2">
                  <c:v>0.98</c:v>
                </c:pt>
                <c:pt idx="3">
                  <c:v>1.0</c:v>
                </c:pt>
                <c:pt idx="4">
                  <c:v>0.97</c:v>
                </c:pt>
                <c:pt idx="5">
                  <c:v>0.98</c:v>
                </c:pt>
                <c:pt idx="6">
                  <c:v>0.66</c:v>
                </c:pt>
                <c:pt idx="7">
                  <c:v>0.67</c:v>
                </c:pt>
                <c:pt idx="8">
                  <c:v>0.49</c:v>
                </c:pt>
                <c:pt idx="9">
                  <c:v>1.0</c:v>
                </c:pt>
                <c:pt idx="10">
                  <c:v>0.95</c:v>
                </c:pt>
                <c:pt idx="11">
                  <c:v>0.48</c:v>
                </c:pt>
                <c:pt idx="12">
                  <c:v>0.94</c:v>
                </c:pt>
                <c:pt idx="13">
                  <c:v>1.0</c:v>
                </c:pt>
                <c:pt idx="14">
                  <c:v>1.0</c:v>
                </c:pt>
                <c:pt idx="15">
                  <c:v>0.58</c:v>
                </c:pt>
                <c:pt idx="16">
                  <c:v>0.99</c:v>
                </c:pt>
                <c:pt idx="17">
                  <c:v>0.59</c:v>
                </c:pt>
                <c:pt idx="18">
                  <c:v>0.14</c:v>
                </c:pt>
                <c:pt idx="19">
                  <c:v>0.71</c:v>
                </c:pt>
                <c:pt idx="20">
                  <c:v>0.88</c:v>
                </c:pt>
                <c:pt idx="21">
                  <c:v>0.77</c:v>
                </c:pt>
                <c:pt idx="22">
                  <c:v>1.0</c:v>
                </c:pt>
                <c:pt idx="23">
                  <c:v>1.0</c:v>
                </c:pt>
                <c:pt idx="24">
                  <c:v>0.96</c:v>
                </c:pt>
                <c:pt idx="25">
                  <c:v>1.0</c:v>
                </c:pt>
                <c:pt idx="26">
                  <c:v>0.95</c:v>
                </c:pt>
                <c:pt idx="27">
                  <c:v>0.94</c:v>
                </c:pt>
                <c:pt idx="28">
                  <c:v>0.79</c:v>
                </c:pt>
                <c:pt idx="29">
                  <c:v>0.53</c:v>
                </c:pt>
              </c:numCache>
            </c:numRef>
          </c:xVal>
          <c:yVal>
            <c:numRef>
              <c:f>Sheet1!$B$2:$B$31</c:f>
              <c:numCache>
                <c:formatCode>General</c:formatCode>
                <c:ptCount val="30"/>
                <c:pt idx="0">
                  <c:v>14268.91</c:v>
                </c:pt>
                <c:pt idx="1">
                  <c:v>333.52941176470586</c:v>
                </c:pt>
                <c:pt idx="2">
                  <c:v>1964.9795918367347</c:v>
                </c:pt>
                <c:pt idx="3">
                  <c:v>9722.94</c:v>
                </c:pt>
                <c:pt idx="4">
                  <c:v>3345.6288659793813</c:v>
                </c:pt>
                <c:pt idx="5">
                  <c:v>3773.0</c:v>
                </c:pt>
                <c:pt idx="6">
                  <c:v>480.09090909090907</c:v>
                </c:pt>
                <c:pt idx="7">
                  <c:v>871.6865671641791</c:v>
                </c:pt>
                <c:pt idx="8">
                  <c:v>524.9183673469388</c:v>
                </c:pt>
                <c:pt idx="9">
                  <c:v>7852.5</c:v>
                </c:pt>
                <c:pt idx="10">
                  <c:v>4007.6315789473683</c:v>
                </c:pt>
                <c:pt idx="11">
                  <c:v>537.3958333333334</c:v>
                </c:pt>
                <c:pt idx="12">
                  <c:v>1281.0212765957447</c:v>
                </c:pt>
                <c:pt idx="13">
                  <c:v>4276.89</c:v>
                </c:pt>
                <c:pt idx="14">
                  <c:v>11512.05</c:v>
                </c:pt>
                <c:pt idx="15">
                  <c:v>2175.4827586206898</c:v>
                </c:pt>
                <c:pt idx="16">
                  <c:v>2658.080808080808</c:v>
                </c:pt>
                <c:pt idx="17">
                  <c:v>1025.2881355932204</c:v>
                </c:pt>
                <c:pt idx="18">
                  <c:v>964.3571428571428</c:v>
                </c:pt>
                <c:pt idx="19">
                  <c:v>229.1267605633803</c:v>
                </c:pt>
                <c:pt idx="20">
                  <c:v>989.2613636363636</c:v>
                </c:pt>
                <c:pt idx="21">
                  <c:v>529.6103896103896</c:v>
                </c:pt>
                <c:pt idx="22">
                  <c:v>6542.91</c:v>
                </c:pt>
                <c:pt idx="23">
                  <c:v>1562.84</c:v>
                </c:pt>
                <c:pt idx="24">
                  <c:v>708.2708333333334</c:v>
                </c:pt>
                <c:pt idx="25">
                  <c:v>2741.89</c:v>
                </c:pt>
                <c:pt idx="26">
                  <c:v>844.6315789473684</c:v>
                </c:pt>
                <c:pt idx="27">
                  <c:v>593.8510638297872</c:v>
                </c:pt>
                <c:pt idx="28">
                  <c:v>398.2278481012658</c:v>
                </c:pt>
                <c:pt idx="29">
                  <c:v>590.9056603773585</c:v>
                </c:pt>
              </c:numCache>
            </c:numRef>
          </c:yVal>
          <c:bubbleSize>
            <c:numRef>
              <c:f>Sheet1!$C$2:$C$31</c:f>
              <c:numCache>
                <c:formatCode>General</c:formatCode>
                <c:ptCount val="30"/>
                <c:pt idx="0">
                  <c:v>898746.52</c:v>
                </c:pt>
                <c:pt idx="1">
                  <c:v>19237.013</c:v>
                </c:pt>
                <c:pt idx="2">
                  <c:v>114232.42059999998</c:v>
                </c:pt>
                <c:pt idx="3">
                  <c:v>657023.8293999999</c:v>
                </c:pt>
                <c:pt idx="4">
                  <c:v>206540.63040000002</c:v>
                </c:pt>
                <c:pt idx="5">
                  <c:v>228380.87689999997</c:v>
                </c:pt>
                <c:pt idx="6">
                  <c:v>18823.971899999997</c:v>
                </c:pt>
                <c:pt idx="7">
                  <c:v>23810.2759</c:v>
                </c:pt>
                <c:pt idx="8">
                  <c:v>14005.127400000003</c:v>
                </c:pt>
                <c:pt idx="9">
                  <c:v>499287.04469999997</c:v>
                </c:pt>
                <c:pt idx="10">
                  <c:v>236239.36200000002</c:v>
                </c:pt>
                <c:pt idx="11">
                  <c:v>11748.244000000002</c:v>
                </c:pt>
                <c:pt idx="12">
                  <c:v>80761.50040000002</c:v>
                </c:pt>
                <c:pt idx="13">
                  <c:v>263890.7431</c:v>
                </c:pt>
                <c:pt idx="14">
                  <c:v>722599.8118000001</c:v>
                </c:pt>
                <c:pt idx="15">
                  <c:v>89676.90090000001</c:v>
                </c:pt>
                <c:pt idx="16">
                  <c:v>155042.7336</c:v>
                </c:pt>
                <c:pt idx="17">
                  <c:v>27759.832300000002</c:v>
                </c:pt>
                <c:pt idx="18">
                  <c:v>7213.105999999999</c:v>
                </c:pt>
                <c:pt idx="19">
                  <c:v>7330.667399999999</c:v>
                </c:pt>
                <c:pt idx="20">
                  <c:v>47748.37920000001</c:v>
                </c:pt>
                <c:pt idx="21">
                  <c:v>20175.0038</c:v>
                </c:pt>
                <c:pt idx="22">
                  <c:v>401788.2896</c:v>
                </c:pt>
                <c:pt idx="23">
                  <c:v>71635.07</c:v>
                </c:pt>
                <c:pt idx="24">
                  <c:v>28003.5766</c:v>
                </c:pt>
                <c:pt idx="25">
                  <c:v>141010.1934</c:v>
                </c:pt>
                <c:pt idx="26">
                  <c:v>44570.80829999999</c:v>
                </c:pt>
                <c:pt idx="27">
                  <c:v>33173.866</c:v>
                </c:pt>
                <c:pt idx="28">
                  <c:v>19726.275</c:v>
                </c:pt>
                <c:pt idx="29">
                  <c:v>16785.955200000004</c:v>
                </c:pt>
              </c:numCache>
            </c:numRef>
          </c:bubbleSize>
          <c:bubble3D val="0"/>
          <c:extLst>
            <c:ext xmlns:c15="http://schemas.microsoft.com/office/drawing/2012/chart" uri="{02D57815-91ED-43cb-92C2-25804820EDAC}">
              <c15:datalabelsRange>
                <c15:f>Sheet1!$E$2:$E$21</c15:f>
                <c15:dlblRangeCache>
                  <c:ptCount val="20"/>
                  <c:pt idx="0">
                    <c:v>MBY Original 12p</c:v>
                  </c:pt>
                  <c:pt idx="1">
                    <c:v>MBY Original 18p</c:v>
                  </c:pt>
                  <c:pt idx="2">
                    <c:v>MBY Original 6p</c:v>
                  </c:pt>
                  <c:pt idx="3">
                    <c:v>MBY Variety 12p</c:v>
                  </c:pt>
                  <c:pt idx="4">
                    <c:v>MBY Variety 18p</c:v>
                  </c:pt>
                  <c:pt idx="5">
                    <c:v>MBY Light 12p</c:v>
                  </c:pt>
                  <c:pt idx="6">
                    <c:v>MBY Light 6p</c:v>
                  </c:pt>
                  <c:pt idx="7">
                    <c:v>MBY Gouda 6p</c:v>
                  </c:pt>
                  <c:pt idx="8">
                    <c:v>MBY Swiss 6p</c:v>
                  </c:pt>
                  <c:pt idx="9">
                    <c:v>MBY Cheddar 6p</c:v>
                  </c:pt>
                  <c:pt idx="10">
                    <c:v>MBY Mini Roll</c:v>
                  </c:pt>
                  <c:pt idx="11">
                    <c:v>MBY 2Go</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3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3FEDE4EF-2A72-4B32-BFF2-ED4D1A708E0A}"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23D0F2F6-9D26-4306-AF8F-C3107A201932}"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959E520F-0CBA-47F4-A61E-88B606E8E018}"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65CD50C1-E7D4-4D0D-8F14-2D1300B37A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97CD7D53-EC23-4884-B835-4853D9757A6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961116DB-66B7-4D55-B7D1-169FC0AD5AC4}"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0CA5D5FC-8D98-4D03-B6A3-A0987F908274}"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ED351B3A-2B5E-4B1D-8CE7-4497551BAD0D}"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46504D4A-3926-463E-9A52-1736EAFE6BF8}"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D68A0ED6-232A-430A-83B9-55B72FC84A06}"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1</c:f>
              <c:numCache>
                <c:formatCode>General</c:formatCode>
                <c:ptCount val="10"/>
                <c:pt idx="0">
                  <c:v>0.97</c:v>
                </c:pt>
                <c:pt idx="1">
                  <c:v>0.86</c:v>
                </c:pt>
                <c:pt idx="2">
                  <c:v>0.62</c:v>
                </c:pt>
                <c:pt idx="3">
                  <c:v>0.54</c:v>
                </c:pt>
                <c:pt idx="4">
                  <c:v>0.42</c:v>
                </c:pt>
                <c:pt idx="5">
                  <c:v>0.99</c:v>
                </c:pt>
                <c:pt idx="6">
                  <c:v>0.63</c:v>
                </c:pt>
                <c:pt idx="7">
                  <c:v>0.71</c:v>
                </c:pt>
                <c:pt idx="8">
                  <c:v>0.99</c:v>
                </c:pt>
                <c:pt idx="9">
                  <c:v>0.73</c:v>
                </c:pt>
              </c:numCache>
            </c:numRef>
          </c:xVal>
          <c:yVal>
            <c:numRef>
              <c:f>Sheet1!$B$2:$B$11</c:f>
              <c:numCache>
                <c:formatCode>General</c:formatCode>
                <c:ptCount val="10"/>
                <c:pt idx="0">
                  <c:v>16372.639175257733</c:v>
                </c:pt>
                <c:pt idx="1">
                  <c:v>21137.0</c:v>
                </c:pt>
                <c:pt idx="2">
                  <c:v>2355.7580645161293</c:v>
                </c:pt>
                <c:pt idx="3">
                  <c:v>2737.277777777778</c:v>
                </c:pt>
                <c:pt idx="4">
                  <c:v>3755.2619047619046</c:v>
                </c:pt>
                <c:pt idx="5">
                  <c:v>11937.040404040405</c:v>
                </c:pt>
                <c:pt idx="6">
                  <c:v>2356.285714285714</c:v>
                </c:pt>
                <c:pt idx="7">
                  <c:v>5146.887323943662</c:v>
                </c:pt>
                <c:pt idx="8">
                  <c:v>9403.747474747475</c:v>
                </c:pt>
                <c:pt idx="9">
                  <c:v>9956.643835616438</c:v>
                </c:pt>
              </c:numCache>
            </c:numRef>
          </c:yVal>
          <c:bubbleSize>
            <c:numRef>
              <c:f>Sheet1!$C$2:$C$11</c:f>
              <c:numCache>
                <c:formatCode>General</c:formatCode>
                <c:ptCount val="10"/>
                <c:pt idx="0">
                  <c:v>1029743.1952999999</c:v>
                </c:pt>
                <c:pt idx="1">
                  <c:v>997758.3252</c:v>
                </c:pt>
                <c:pt idx="2">
                  <c:v>82530.89319999999</c:v>
                </c:pt>
                <c:pt idx="3">
                  <c:v>83329.80059999999</c:v>
                </c:pt>
                <c:pt idx="4">
                  <c:v>96030.5091</c:v>
                </c:pt>
                <c:pt idx="5">
                  <c:v>790489.4105</c:v>
                </c:pt>
                <c:pt idx="6">
                  <c:v>87735.412</c:v>
                </c:pt>
                <c:pt idx="7">
                  <c:v>252465.3258</c:v>
                </c:pt>
                <c:pt idx="8">
                  <c:v>509171.56849999994</c:v>
                </c:pt>
                <c:pt idx="9">
                  <c:v>443910.00560000003</c:v>
                </c:pt>
              </c:numCache>
            </c:numRef>
          </c:bubbleSize>
          <c:bubble3D val="0"/>
          <c:extLst>
            <c:ext xmlns:c15="http://schemas.microsoft.com/office/drawing/2012/chart" uri="{02D57815-91ED-43cb-92C2-25804820EDAC}">
              <c15:datalabelsRange>
                <c15:f>Sheet1!$E$2:$E$21</c15:f>
                <c15:dlblRangeCache>
                  <c:ptCount val="20"/>
                  <c:pt idx="0">
                    <c:v>MBY Original 12p</c:v>
                  </c:pt>
                  <c:pt idx="1">
                    <c:v>MBY Original 18p</c:v>
                  </c:pt>
                  <c:pt idx="2">
                    <c:v>MBY Original 6p</c:v>
                  </c:pt>
                  <c:pt idx="3">
                    <c:v>MBY Variety 12p</c:v>
                  </c:pt>
                  <c:pt idx="4">
                    <c:v>MBY Variety 18p</c:v>
                  </c:pt>
                  <c:pt idx="5">
                    <c:v>MBY Light 12p</c:v>
                  </c:pt>
                  <c:pt idx="6">
                    <c:v>MBY Light 6p</c:v>
                  </c:pt>
                  <c:pt idx="7">
                    <c:v>MBY Gouda 6p</c:v>
                  </c:pt>
                  <c:pt idx="8">
                    <c:v>MBY Swiss 6p</c:v>
                  </c:pt>
                  <c:pt idx="9">
                    <c:v>MBY Cheddar 6p</c:v>
                  </c:pt>
                  <c:pt idx="10">
                    <c:v>MBY Mini Roll</c:v>
                  </c:pt>
                  <c:pt idx="11">
                    <c:v>MBY 2Go</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3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FCBD1163-A23D-4352-AFB0-C5874318A312}"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C8FD2236-098E-47BA-8F19-414997FA128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A4CFED23-23B0-4744-AF3B-17492B41DE8F}"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594F8477-B098-44A5-8E54-1F1219BFCAD0}"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3CFE1CCD-FE8A-4945-A1D2-BE51CDABCF2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D9CF9EB0-0A1B-4007-9EC4-0106122C130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304EA335-3801-4132-9832-274EE5D6F756}"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B5E905E0-954C-4DDA-BB66-8713E87D1504}"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121C5041-7371-4477-9A09-B10A9148C6A0}"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0A79E37D-F5B8-4D15-B6E4-7BAACF8502F2}"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1</c:f>
              <c:numCache>
                <c:formatCode>General</c:formatCode>
                <c:ptCount val="10"/>
                <c:pt idx="0">
                  <c:v>0.97</c:v>
                </c:pt>
                <c:pt idx="1">
                  <c:v>0.79</c:v>
                </c:pt>
                <c:pt idx="2">
                  <c:v>0.27</c:v>
                </c:pt>
                <c:pt idx="3">
                  <c:v>0.66</c:v>
                </c:pt>
                <c:pt idx="4">
                  <c:v>0.99</c:v>
                </c:pt>
                <c:pt idx="5">
                  <c:v>0.96</c:v>
                </c:pt>
                <c:pt idx="6">
                  <c:v>0.99</c:v>
                </c:pt>
                <c:pt idx="7">
                  <c:v>0.78</c:v>
                </c:pt>
                <c:pt idx="8">
                  <c:v>0.25</c:v>
                </c:pt>
                <c:pt idx="9">
                  <c:v>0.97</c:v>
                </c:pt>
              </c:numCache>
            </c:numRef>
          </c:xVal>
          <c:yVal>
            <c:numRef>
              <c:f>Sheet1!$B$2:$B$11</c:f>
              <c:numCache>
                <c:formatCode>General</c:formatCode>
                <c:ptCount val="10"/>
                <c:pt idx="0">
                  <c:v>3677.639175257732</c:v>
                </c:pt>
                <c:pt idx="1">
                  <c:v>3513.025316455696</c:v>
                </c:pt>
                <c:pt idx="2">
                  <c:v>3586.0</c:v>
                </c:pt>
                <c:pt idx="3">
                  <c:v>9583.09090909091</c:v>
                </c:pt>
                <c:pt idx="4">
                  <c:v>19283.141414141413</c:v>
                </c:pt>
                <c:pt idx="5">
                  <c:v>23908.927083333332</c:v>
                </c:pt>
                <c:pt idx="6">
                  <c:v>36882.89898989899</c:v>
                </c:pt>
                <c:pt idx="7">
                  <c:v>6125.961538461538</c:v>
                </c:pt>
                <c:pt idx="8">
                  <c:v>1907.64</c:v>
                </c:pt>
                <c:pt idx="9">
                  <c:v>6300.711340206186</c:v>
                </c:pt>
              </c:numCache>
            </c:numRef>
          </c:yVal>
          <c:bubbleSize>
            <c:numRef>
              <c:f>Sheet1!$C$2:$C$11</c:f>
              <c:numCache>
                <c:formatCode>General</c:formatCode>
                <c:ptCount val="10"/>
                <c:pt idx="0">
                  <c:v>210202.21399999998</c:v>
                </c:pt>
                <c:pt idx="1">
                  <c:v>163905.20519999997</c:v>
                </c:pt>
                <c:pt idx="2">
                  <c:v>57399.4148</c:v>
                </c:pt>
                <c:pt idx="3">
                  <c:v>352968.0401</c:v>
                </c:pt>
                <c:pt idx="4">
                  <c:v>1116328.0320999997</c:v>
                </c:pt>
                <c:pt idx="5">
                  <c:v>1451796.8903</c:v>
                </c:pt>
                <c:pt idx="6">
                  <c:v>2274744.2531999997</c:v>
                </c:pt>
                <c:pt idx="7">
                  <c:v>339328.07600000006</c:v>
                </c:pt>
                <c:pt idx="8">
                  <c:v>23255.5641</c:v>
                </c:pt>
                <c:pt idx="9">
                  <c:v>357551.62440000003</c:v>
                </c:pt>
              </c:numCache>
            </c:numRef>
          </c:bubbleSize>
          <c:bubble3D val="0"/>
          <c:extLst>
            <c:ext xmlns:c15="http://schemas.microsoft.com/office/drawing/2012/chart" uri="{02D57815-91ED-43cb-92C2-25804820EDAC}">
              <c15:datalabelsRange>
                <c15:f>Sheet1!$E$2:$E$21</c15:f>
                <c15:dlblRangeCache>
                  <c:ptCount val="20"/>
                  <c:pt idx="0">
                    <c:v>MBY Original 12p</c:v>
                  </c:pt>
                  <c:pt idx="1">
                    <c:v>MBY Original 18p</c:v>
                  </c:pt>
                  <c:pt idx="2">
                    <c:v>MBY Original 6p</c:v>
                  </c:pt>
                  <c:pt idx="3">
                    <c:v>MBY Variety 12p</c:v>
                  </c:pt>
                  <c:pt idx="4">
                    <c:v>MBY Variety 18p</c:v>
                  </c:pt>
                  <c:pt idx="5">
                    <c:v>MBY Light 12p</c:v>
                  </c:pt>
                  <c:pt idx="6">
                    <c:v>MBY Light 6p</c:v>
                  </c:pt>
                  <c:pt idx="7">
                    <c:v>MBY Gouda 6p</c:v>
                  </c:pt>
                  <c:pt idx="8">
                    <c:v>MBY Swiss 6p</c:v>
                  </c:pt>
                  <c:pt idx="9">
                    <c:v>MBY Cheddar 6p</c:v>
                  </c:pt>
                  <c:pt idx="10">
                    <c:v>MBY Mini Roll</c:v>
                  </c:pt>
                  <c:pt idx="11">
                    <c:v>MBY 2Go</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3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755ECD10-D3D1-43C8-87A1-7A498988CCA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8D0E979C-42FB-4AD4-B599-4944E4EF0EEF}"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3A9437D7-DE75-4E57-8600-F37EA71A5337}"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714A8DF1-921A-42A7-9D40-4E1A43D10E60}"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040952BF-6BD9-4D50-9C37-6B08A3FFC9D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4A80AB93-455A-43CB-ADE8-A0DC6F5D22B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B246F6B6-4AAC-4423-9B35-BE3AC6FA353E}"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8C63D072-B0D6-474F-BB78-091AD31A2BB4}"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2C08942C-FBE8-47FB-8047-D468745D92F2}"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F638CE8C-5678-41F1-9E20-A1576C50ACA9}"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26</c:f>
              <c:numCache>
                <c:formatCode>General</c:formatCode>
                <c:ptCount val="25"/>
                <c:pt idx="0">
                  <c:v>0.98</c:v>
                </c:pt>
                <c:pt idx="1">
                  <c:v>0.37</c:v>
                </c:pt>
                <c:pt idx="2">
                  <c:v>0.72</c:v>
                </c:pt>
                <c:pt idx="3">
                  <c:v>0.99</c:v>
                </c:pt>
                <c:pt idx="4">
                  <c:v>0.89</c:v>
                </c:pt>
                <c:pt idx="5">
                  <c:v>0.65</c:v>
                </c:pt>
                <c:pt idx="6">
                  <c:v>0.51</c:v>
                </c:pt>
                <c:pt idx="7">
                  <c:v>0.61</c:v>
                </c:pt>
                <c:pt idx="8">
                  <c:v>0.41</c:v>
                </c:pt>
                <c:pt idx="9">
                  <c:v>0.94</c:v>
                </c:pt>
                <c:pt idx="10">
                  <c:v>0.86</c:v>
                </c:pt>
                <c:pt idx="11">
                  <c:v>0.5</c:v>
                </c:pt>
                <c:pt idx="12">
                  <c:v>0.91</c:v>
                </c:pt>
                <c:pt idx="13">
                  <c:v>0.95</c:v>
                </c:pt>
                <c:pt idx="14">
                  <c:v>0.85</c:v>
                </c:pt>
                <c:pt idx="15">
                  <c:v>0.03</c:v>
                </c:pt>
                <c:pt idx="16">
                  <c:v>0.24</c:v>
                </c:pt>
                <c:pt idx="17">
                  <c:v>0.99</c:v>
                </c:pt>
                <c:pt idx="18">
                  <c:v>0.91</c:v>
                </c:pt>
                <c:pt idx="19">
                  <c:v>0.79</c:v>
                </c:pt>
                <c:pt idx="20">
                  <c:v>0.95</c:v>
                </c:pt>
                <c:pt idx="21">
                  <c:v>0.72</c:v>
                </c:pt>
                <c:pt idx="22">
                  <c:v>0.71</c:v>
                </c:pt>
                <c:pt idx="23">
                  <c:v>0.25</c:v>
                </c:pt>
                <c:pt idx="24">
                  <c:v>0.29</c:v>
                </c:pt>
              </c:numCache>
            </c:numRef>
          </c:xVal>
          <c:yVal>
            <c:numRef>
              <c:f>Sheet1!$B$2:$B$26</c:f>
              <c:numCache>
                <c:formatCode>General</c:formatCode>
                <c:ptCount val="25"/>
                <c:pt idx="0">
                  <c:v>12114.479591836734</c:v>
                </c:pt>
                <c:pt idx="1">
                  <c:v>535.8648648648649</c:v>
                </c:pt>
                <c:pt idx="2">
                  <c:v>1510.361111111111</c:v>
                </c:pt>
                <c:pt idx="3">
                  <c:v>11147.282828282829</c:v>
                </c:pt>
                <c:pt idx="4">
                  <c:v>3558.674157303371</c:v>
                </c:pt>
                <c:pt idx="5">
                  <c:v>1122.0923076923077</c:v>
                </c:pt>
                <c:pt idx="6">
                  <c:v>247.92156862745097</c:v>
                </c:pt>
                <c:pt idx="7">
                  <c:v>611.5573770491803</c:v>
                </c:pt>
                <c:pt idx="8">
                  <c:v>486.0487804878049</c:v>
                </c:pt>
                <c:pt idx="9">
                  <c:v>9753.297872340425</c:v>
                </c:pt>
                <c:pt idx="10">
                  <c:v>6344.662790697675</c:v>
                </c:pt>
                <c:pt idx="11">
                  <c:v>504.1</c:v>
                </c:pt>
                <c:pt idx="12">
                  <c:v>5526.197802197802</c:v>
                </c:pt>
                <c:pt idx="13">
                  <c:v>10084.61052631579</c:v>
                </c:pt>
                <c:pt idx="14">
                  <c:v>3883.3764705882354</c:v>
                </c:pt>
                <c:pt idx="15">
                  <c:v>989.6666666666666</c:v>
                </c:pt>
                <c:pt idx="16">
                  <c:v>1088.5833333333333</c:v>
                </c:pt>
                <c:pt idx="17">
                  <c:v>7616.333333333333</c:v>
                </c:pt>
                <c:pt idx="18">
                  <c:v>1998.6373626373627</c:v>
                </c:pt>
                <c:pt idx="19">
                  <c:v>776.2911392405064</c:v>
                </c:pt>
                <c:pt idx="20">
                  <c:v>1784.8315789473684</c:v>
                </c:pt>
                <c:pt idx="21">
                  <c:v>1265.2916666666667</c:v>
                </c:pt>
                <c:pt idx="22">
                  <c:v>908.5915492957746</c:v>
                </c:pt>
                <c:pt idx="23">
                  <c:v>660.44</c:v>
                </c:pt>
                <c:pt idx="24">
                  <c:v>727.3793103448277</c:v>
                </c:pt>
              </c:numCache>
            </c:numRef>
          </c:yVal>
          <c:bubbleSize>
            <c:numRef>
              <c:f>Sheet1!$C$2:$C$26</c:f>
              <c:numCache>
                <c:formatCode>General</c:formatCode>
                <c:ptCount val="25"/>
                <c:pt idx="0">
                  <c:v>730494.22</c:v>
                </c:pt>
                <c:pt idx="1">
                  <c:v>12435.3884</c:v>
                </c:pt>
                <c:pt idx="2">
                  <c:v>61671.757699999995</c:v>
                </c:pt>
                <c:pt idx="3">
                  <c:v>733678.5325999999</c:v>
                </c:pt>
                <c:pt idx="4">
                  <c:v>199793.7276</c:v>
                </c:pt>
                <c:pt idx="5">
                  <c:v>44525.3437</c:v>
                </c:pt>
                <c:pt idx="6">
                  <c:v>7309.838999999999</c:v>
                </c:pt>
                <c:pt idx="7">
                  <c:v>16035.281699999998</c:v>
                </c:pt>
                <c:pt idx="8">
                  <c:v>8438.853000000001</c:v>
                </c:pt>
                <c:pt idx="9">
                  <c:v>579119.5173</c:v>
                </c:pt>
                <c:pt idx="10">
                  <c:v>340926.53160000005</c:v>
                </c:pt>
                <c:pt idx="11">
                  <c:v>11091.624</c:v>
                </c:pt>
                <c:pt idx="12">
                  <c:v>306494.22589999996</c:v>
                </c:pt>
                <c:pt idx="13">
                  <c:v>588623.4519</c:v>
                </c:pt>
                <c:pt idx="14">
                  <c:v>188241.61899999998</c:v>
                </c:pt>
                <c:pt idx="15">
                  <c:v>1513.6466000000003</c:v>
                </c:pt>
                <c:pt idx="16">
                  <c:v>12846.7087</c:v>
                </c:pt>
                <c:pt idx="17">
                  <c:v>468795.9846999999</c:v>
                </c:pt>
                <c:pt idx="18">
                  <c:v>89507.25500000002</c:v>
                </c:pt>
                <c:pt idx="19">
                  <c:v>27188.0808</c:v>
                </c:pt>
                <c:pt idx="20">
                  <c:v>97662.7545</c:v>
                </c:pt>
                <c:pt idx="21">
                  <c:v>49804.415400000005</c:v>
                </c:pt>
                <c:pt idx="22">
                  <c:v>35948.457</c:v>
                </c:pt>
                <c:pt idx="23">
                  <c:v>10406.775</c:v>
                </c:pt>
                <c:pt idx="24">
                  <c:v>10323.4362</c:v>
                </c:pt>
              </c:numCache>
            </c:numRef>
          </c:bubbleSize>
          <c:bubble3D val="0"/>
          <c:extLst>
            <c:ext xmlns:c15="http://schemas.microsoft.com/office/drawing/2012/chart" uri="{02D57815-91ED-43cb-92C2-25804820EDAC}">
              <c15:datalabelsRange>
                <c15:f>Sheet1!$E$2:$E$21</c15:f>
                <c15:dlblRangeCache>
                  <c:ptCount val="20"/>
                  <c:pt idx="0">
                    <c:v>MBY Original 12p</c:v>
                  </c:pt>
                  <c:pt idx="1">
                    <c:v>MBY Original 18p</c:v>
                  </c:pt>
                  <c:pt idx="2">
                    <c:v>MBY Original 6p</c:v>
                  </c:pt>
                  <c:pt idx="3">
                    <c:v>MBY Variety 12p</c:v>
                  </c:pt>
                  <c:pt idx="4">
                    <c:v>MBY Variety 18p</c:v>
                  </c:pt>
                  <c:pt idx="5">
                    <c:v>MBY Light 12p</c:v>
                  </c:pt>
                  <c:pt idx="6">
                    <c:v>MBY Light 6p</c:v>
                  </c:pt>
                  <c:pt idx="7">
                    <c:v>MBY Gouda 6p</c:v>
                  </c:pt>
                  <c:pt idx="8">
                    <c:v>MBY Swiss 6p</c:v>
                  </c:pt>
                  <c:pt idx="9">
                    <c:v>MBY Cheddar 6p</c:v>
                  </c:pt>
                  <c:pt idx="10">
                    <c:v>MBY Mini Roll</c:v>
                  </c:pt>
                  <c:pt idx="11">
                    <c:v>MBY 2Go</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3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EE2FC89F-7457-43F4-AE19-944B56372F07}"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62423621-E7A4-4DC0-9FD4-5621D042B78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E566493E-B9D7-460B-8D29-F92A1FE7645A}"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16DF4E20-33C6-401E-AF48-8CB056D7DF6E}"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A7367570-28FA-4C0C-9526-4FEC12A7716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E6EC650A-9406-47E6-B865-B461E8D07867}"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1C1E0D68-2F46-4E9D-A0F1-528CA3FF650C}"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2B144BB4-ED8C-4130-A7B3-2651509D9787}"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004ED84F-8A92-4F8D-B94C-A310E07394BC}"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FCA74294-5DCD-4092-AFF1-BDA0E9DD53A2}"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7</c:f>
              <c:numCache>
                <c:formatCode>General</c:formatCode>
                <c:ptCount val="6"/>
                <c:pt idx="0">
                  <c:v>0.06</c:v>
                </c:pt>
                <c:pt idx="1">
                  <c:v>0.56</c:v>
                </c:pt>
                <c:pt idx="2">
                  <c:v>0.96</c:v>
                </c:pt>
                <c:pt idx="3">
                  <c:v>0.27</c:v>
                </c:pt>
                <c:pt idx="4">
                  <c:v>0.71</c:v>
                </c:pt>
                <c:pt idx="5">
                  <c:v>0.02</c:v>
                </c:pt>
              </c:numCache>
            </c:numRef>
          </c:xVal>
          <c:yVal>
            <c:numRef>
              <c:f>Sheet1!$B$2:$B$7</c:f>
              <c:numCache>
                <c:formatCode>General</c:formatCode>
                <c:ptCount val="6"/>
                <c:pt idx="0">
                  <c:v>6803.333333333333</c:v>
                </c:pt>
                <c:pt idx="1">
                  <c:v>6336.732142857142</c:v>
                </c:pt>
                <c:pt idx="2">
                  <c:v>24603.90625</c:v>
                </c:pt>
                <c:pt idx="3">
                  <c:v>4204.222222222223</c:v>
                </c:pt>
                <c:pt idx="4">
                  <c:v>11954.0</c:v>
                </c:pt>
                <c:pt idx="5">
                  <c:v>7187.0</c:v>
                </c:pt>
              </c:numCache>
            </c:numRef>
          </c:yVal>
          <c:bubbleSize>
            <c:numRef>
              <c:f>Sheet1!$C$2:$C$7</c:f>
              <c:numCache>
                <c:formatCode>General</c:formatCode>
                <c:ptCount val="6"/>
                <c:pt idx="0">
                  <c:v>25256.3515</c:v>
                </c:pt>
                <c:pt idx="1">
                  <c:v>178439.9606</c:v>
                </c:pt>
                <c:pt idx="2">
                  <c:v>1298103.7783000001</c:v>
                </c:pt>
                <c:pt idx="3">
                  <c:v>61878.7852</c:v>
                </c:pt>
                <c:pt idx="4">
                  <c:v>383488.5416</c:v>
                </c:pt>
                <c:pt idx="5">
                  <c:v>8236.3448</c:v>
                </c:pt>
              </c:numCache>
            </c:numRef>
          </c:bubbleSize>
          <c:bubble3D val="0"/>
          <c:extLst>
            <c:ext xmlns:c15="http://schemas.microsoft.com/office/drawing/2012/chart" uri="{02D57815-91ED-43cb-92C2-25804820EDAC}">
              <c15:datalabelsRange>
                <c15:f>Sheet1!$E$2:$E$21</c15:f>
                <c15:dlblRangeCache>
                  <c:ptCount val="20"/>
                  <c:pt idx="0">
                    <c:v>MBY Original 12p</c:v>
                  </c:pt>
                  <c:pt idx="1">
                    <c:v>MBY Original 18p</c:v>
                  </c:pt>
                  <c:pt idx="2">
                    <c:v>MBY Original 6p</c:v>
                  </c:pt>
                  <c:pt idx="3">
                    <c:v>MBY Variety 12p</c:v>
                  </c:pt>
                  <c:pt idx="4">
                    <c:v>MBY Variety 18p</c:v>
                  </c:pt>
                  <c:pt idx="5">
                    <c:v>MBY Light 12p</c:v>
                  </c:pt>
                  <c:pt idx="6">
                    <c:v>MBY Light 6p</c:v>
                  </c:pt>
                  <c:pt idx="7">
                    <c:v>MBY Gouda 6p</c:v>
                  </c:pt>
                  <c:pt idx="8">
                    <c:v>MBY Swiss 6p</c:v>
                  </c:pt>
                  <c:pt idx="9">
                    <c:v>MBY Cheddar 6p</c:v>
                  </c:pt>
                  <c:pt idx="10">
                    <c:v>MBY Mini Roll</c:v>
                  </c:pt>
                  <c:pt idx="11">
                    <c:v>MBY 2Go</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President</c:v>
                </c:pt>
                <c:pt idx="2">
                  <c:v>Soignon</c:v>
                </c:pt>
                <c:pt idx="3">
                  <c:v>St Moret</c:v>
                </c:pt>
                <c:pt idx="4">
                  <c:v>Entremont</c:v>
                </c:pt>
                <c:pt idx="5">
                  <c:v>Caprice Des Dieux</c:v>
                </c:pt>
                <c:pt idx="6">
                  <c:v>La Vache Qui Rit</c:v>
                </c:pt>
                <c:pt idx="7">
                  <c:v>Boursin</c:v>
                </c:pt>
                <c:pt idx="8">
                  <c:v>Kiri</c:v>
                </c:pt>
                <c:pt idx="9">
                  <c:v>Others</c:v>
                </c:pt>
              </c:strCache>
            </c:strRef>
          </c:cat>
          <c:val>
            <c:numRef>
              <c:f>Sheet1!$B$2:$B$11</c:f>
              <c:numCache>
                <c:formatCode>General</c:formatCode>
                <c:ptCount val="10"/>
                <c:pt idx="0">
                  <c:v>0.3888305829544701</c:v>
                </c:pt>
                <c:pt idx="1">
                  <c:v>0.05372427326286393</c:v>
                </c:pt>
                <c:pt idx="2">
                  <c:v>0.02944779072832663</c:v>
                </c:pt>
                <c:pt idx="3">
                  <c:v>0.02637071115157169</c:v>
                </c:pt>
                <c:pt idx="4">
                  <c:v>0.024668384364981352</c:v>
                </c:pt>
                <c:pt idx="5">
                  <c:v>0.02412462748827458</c:v>
                </c:pt>
                <c:pt idx="6">
                  <c:v>0.02263869780405764</c:v>
                </c:pt>
                <c:pt idx="7">
                  <c:v>0.016497512202773488</c:v>
                </c:pt>
                <c:pt idx="8">
                  <c:v>0.015767331829105148</c:v>
                </c:pt>
                <c:pt idx="9">
                  <c:v>0.39793008821357545</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President</c:v>
                </c:pt>
                <c:pt idx="2">
                  <c:v>Soignon</c:v>
                </c:pt>
                <c:pt idx="3">
                  <c:v>St Moret</c:v>
                </c:pt>
                <c:pt idx="4">
                  <c:v>Entremont</c:v>
                </c:pt>
                <c:pt idx="5">
                  <c:v>Caprice Des Dieux</c:v>
                </c:pt>
                <c:pt idx="6">
                  <c:v>La Vache Qui Rit</c:v>
                </c:pt>
                <c:pt idx="7">
                  <c:v>Boursin</c:v>
                </c:pt>
                <c:pt idx="8">
                  <c:v>Kiri</c:v>
                </c:pt>
                <c:pt idx="9">
                  <c:v>Others</c:v>
                </c:pt>
              </c:strCache>
            </c:strRef>
          </c:cat>
          <c:val>
            <c:numRef>
              <c:f>Sheet1!$C$2:$C$11</c:f>
              <c:numCache>
                <c:formatCode>General</c:formatCode>
                <c:ptCount val="10"/>
                <c:pt idx="0">
                  <c:v>0.24289089029971922</c:v>
                </c:pt>
                <c:pt idx="1">
                  <c:v>0.046522958807027864</c:v>
                </c:pt>
                <c:pt idx="2">
                  <c:v>0.021201830798759768</c:v>
                </c:pt>
                <c:pt idx="3">
                  <c:v>0.01851469068359662</c:v>
                </c:pt>
                <c:pt idx="4">
                  <c:v>0.031197401446921576</c:v>
                </c:pt>
                <c:pt idx="5">
                  <c:v>0.012608888232688605</c:v>
                </c:pt>
                <c:pt idx="6">
                  <c:v>0.0137457552044884</c:v>
                </c:pt>
                <c:pt idx="7">
                  <c:v>0.0251734829469954</c:v>
                </c:pt>
                <c:pt idx="8">
                  <c:v>0.012372656134652287</c:v>
                </c:pt>
                <c:pt idx="9">
                  <c:v>0.575771445445151</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President</c:v>
                </c:pt>
                <c:pt idx="2">
                  <c:v>Soignon</c:v>
                </c:pt>
                <c:pt idx="3">
                  <c:v>St Moret</c:v>
                </c:pt>
                <c:pt idx="4">
                  <c:v>Entremont</c:v>
                </c:pt>
                <c:pt idx="5">
                  <c:v>Caprice Des Dieux</c:v>
                </c:pt>
                <c:pt idx="6">
                  <c:v>La Vache Qui Rit</c:v>
                </c:pt>
                <c:pt idx="7">
                  <c:v>Boursin</c:v>
                </c:pt>
                <c:pt idx="8">
                  <c:v>Kiri</c:v>
                </c:pt>
                <c:pt idx="9">
                  <c:v>Others</c:v>
                </c:pt>
              </c:strCache>
            </c:strRef>
          </c:cat>
          <c:val>
            <c:numRef>
              <c:f>Sheet1!$D$2:$D$11</c:f>
              <c:numCache>
                <c:formatCode>General</c:formatCode>
                <c:ptCount val="10"/>
                <c:pt idx="0">
                  <c:v>62.46702315804218</c:v>
                </c:pt>
                <c:pt idx="1">
                  <c:v>86.5957899130599</c:v>
                </c:pt>
                <c:pt idx="2">
                  <c:v>71.99803541922468</c:v>
                </c:pt>
                <c:pt idx="3">
                  <c:v>70.20929612849348</c:v>
                </c:pt>
                <c:pt idx="4">
                  <c:v>126.46714509284467</c:v>
                </c:pt>
                <c:pt idx="5">
                  <c:v>52.26562871827542</c:v>
                </c:pt>
                <c:pt idx="6">
                  <c:v>60.71795879542455</c:v>
                </c:pt>
                <c:pt idx="7">
                  <c:v>152.58957009750443</c:v>
                </c:pt>
                <c:pt idx="8">
                  <c:v>78.47019564726494</c:v>
                </c:pt>
                <c:pt idx="9">
                  <c:v>144.6916085259995</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La Vache Qui Rit</c:v>
                </c:pt>
                <c:pt idx="1">
                  <c:v>Mini Babybel</c:v>
                </c:pt>
                <c:pt idx="2">
                  <c:v>Kiri</c:v>
                </c:pt>
                <c:pt idx="3">
                  <c:v>Private Label</c:v>
                </c:pt>
                <c:pt idx="4">
                  <c:v>Ficello</c:v>
                </c:pt>
                <c:pt idx="5">
                  <c:v>P'Tit Louis</c:v>
                </c:pt>
              </c:strCache>
            </c:strRef>
          </c:cat>
          <c:val>
            <c:numRef>
              <c:f>Sheet1!$B$2:$B$7</c:f>
              <c:numCache>
                <c:formatCode>General</c:formatCode>
                <c:ptCount val="6"/>
                <c:pt idx="0">
                  <c:v>0.26418027688659357</c:v>
                </c:pt>
                <c:pt idx="1">
                  <c:v>0.2403108486901494</c:v>
                </c:pt>
                <c:pt idx="2">
                  <c:v>0.21670931518326939</c:v>
                </c:pt>
                <c:pt idx="3">
                  <c:v>0.17816246047020232</c:v>
                </c:pt>
                <c:pt idx="4">
                  <c:v>0.08219551906100811</c:v>
                </c:pt>
                <c:pt idx="5">
                  <c:v>0.01844157970877723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La Vache Qui Rit</c:v>
                </c:pt>
                <c:pt idx="1">
                  <c:v>Mini Babybel</c:v>
                </c:pt>
                <c:pt idx="2">
                  <c:v>Kiri</c:v>
                </c:pt>
                <c:pt idx="3">
                  <c:v>Private Label</c:v>
                </c:pt>
                <c:pt idx="4">
                  <c:v>Ficello</c:v>
                </c:pt>
                <c:pt idx="5">
                  <c:v>P'Tit Louis</c:v>
                </c:pt>
              </c:strCache>
            </c:strRef>
          </c:cat>
          <c:val>
            <c:numRef>
              <c:f>Sheet1!$C$2:$C$7</c:f>
              <c:numCache>
                <c:formatCode>General</c:formatCode>
                <c:ptCount val="6"/>
                <c:pt idx="0">
                  <c:v>0.2315741583257507</c:v>
                </c:pt>
                <c:pt idx="1">
                  <c:v>0.22429481346678806</c:v>
                </c:pt>
                <c:pt idx="2">
                  <c:v>0.25659690627843496</c:v>
                </c:pt>
                <c:pt idx="3">
                  <c:v>0.16014558689717928</c:v>
                </c:pt>
                <c:pt idx="4">
                  <c:v>0.09372156505914467</c:v>
                </c:pt>
                <c:pt idx="5">
                  <c:v>0.03366696997270246</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La Vache Qui Rit</c:v>
                </c:pt>
                <c:pt idx="1">
                  <c:v>Mini Babybel</c:v>
                </c:pt>
                <c:pt idx="2">
                  <c:v>Kiri</c:v>
                </c:pt>
                <c:pt idx="3">
                  <c:v>Private Label</c:v>
                </c:pt>
                <c:pt idx="4">
                  <c:v>Ficello</c:v>
                </c:pt>
                <c:pt idx="5">
                  <c:v>P'Tit Louis</c:v>
                </c:pt>
              </c:strCache>
            </c:strRef>
          </c:cat>
          <c:val>
            <c:numRef>
              <c:f>Sheet1!$D$2:$D$7</c:f>
              <c:numCache>
                <c:formatCode>General</c:formatCode>
                <c:ptCount val="6"/>
                <c:pt idx="0">
                  <c:v>87.65762571486746</c:v>
                </c:pt>
                <c:pt idx="1">
                  <c:v>93.335284149401</c:v>
                </c:pt>
                <c:pt idx="2">
                  <c:v>118.40603439747524</c:v>
                </c:pt>
                <c:pt idx="3">
                  <c:v>89.88739068517953</c:v>
                </c:pt>
                <c:pt idx="4">
                  <c:v>114.02271818440803</c:v>
                </c:pt>
                <c:pt idx="5">
                  <c:v>182.56011960124394</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F03659CF-48F0-475D-A4E6-7E9756820C3E}"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99C81442-F095-4439-8CDC-4E1D86FF3599}"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910ED14A-4B7E-4BF3-94EE-DDE86AB16AA2}"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869DD866-F008-4406-8C3F-0206978639EF}"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9227E1E9-3BA8-4F1E-B35B-B979CDF95CD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7F666BC4-5C13-4BDE-9A47-2B38A0A04E7E}"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B136F63E-3BFC-42BB-BB7F-99EE6760A177}"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2D71BD54-F1ED-4C3A-9F85-204302BFF6DF}"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BD407D99-5D95-4BFE-ACCF-6589F1C19DB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4A456950-D159-438D-8BAC-A0DCBEC49180}"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9</c:f>
              <c:numCache>
                <c:formatCode>General</c:formatCode>
                <c:ptCount val="8"/>
                <c:pt idx="0">
                  <c:v>0.18</c:v>
                </c:pt>
                <c:pt idx="1">
                  <c:v>0.05</c:v>
                </c:pt>
                <c:pt idx="2">
                  <c:v>0.09</c:v>
                </c:pt>
                <c:pt idx="3">
                  <c:v>0.91</c:v>
                </c:pt>
                <c:pt idx="4">
                  <c:v>0.47</c:v>
                </c:pt>
                <c:pt idx="5">
                  <c:v>0.05</c:v>
                </c:pt>
                <c:pt idx="6">
                  <c:v>0.08</c:v>
                </c:pt>
                <c:pt idx="7">
                  <c:v>0.51</c:v>
                </c:pt>
              </c:numCache>
            </c:numRef>
          </c:xVal>
          <c:yVal>
            <c:numRef>
              <c:f>Sheet1!$B$2:$B$9</c:f>
              <c:numCache>
                <c:formatCode>General</c:formatCode>
                <c:ptCount val="8"/>
                <c:pt idx="0">
                  <c:v>2435.8888888888887</c:v>
                </c:pt>
                <c:pt idx="1">
                  <c:v>4163.6</c:v>
                </c:pt>
                <c:pt idx="2">
                  <c:v>14182.0</c:v>
                </c:pt>
                <c:pt idx="3">
                  <c:v>30497.54945054945</c:v>
                </c:pt>
                <c:pt idx="4">
                  <c:v>28146.978723404256</c:v>
                </c:pt>
                <c:pt idx="5">
                  <c:v>4702.2</c:v>
                </c:pt>
                <c:pt idx="6">
                  <c:v>3558.5</c:v>
                </c:pt>
                <c:pt idx="7">
                  <c:v>8683.745098039215</c:v>
                </c:pt>
              </c:numCache>
            </c:numRef>
          </c:yVal>
          <c:bubbleSize>
            <c:numRef>
              <c:f>Sheet1!$C$2:$C$9</c:f>
              <c:numCache>
                <c:formatCode>General</c:formatCode>
                <c:ptCount val="8"/>
                <c:pt idx="0">
                  <c:v>23354.848999999995</c:v>
                </c:pt>
                <c:pt idx="1">
                  <c:v>11521.692000000001</c:v>
                </c:pt>
                <c:pt idx="2">
                  <c:v>63895.0924</c:v>
                </c:pt>
                <c:pt idx="3">
                  <c:v>1430100.4967999998</c:v>
                </c:pt>
                <c:pt idx="4">
                  <c:v>696022.6984</c:v>
                </c:pt>
                <c:pt idx="5">
                  <c:v>9603.1772</c:v>
                </c:pt>
                <c:pt idx="6">
                  <c:v>13063.7887</c:v>
                </c:pt>
                <c:pt idx="7">
                  <c:v>224873.70239999998</c:v>
                </c:pt>
              </c:numCache>
            </c:numRef>
          </c:bubbleSize>
          <c:bubble3D val="0"/>
          <c:extLst>
            <c:ext xmlns:c15="http://schemas.microsoft.com/office/drawing/2012/chart" uri="{02D57815-91ED-43cb-92C2-25804820EDAC}">
              <c15:datalabelsRange>
                <c15:f>Sheet1!$E$2:$E$21</c15:f>
                <c15:dlblRangeCache>
                  <c:ptCount val="20"/>
                  <c:pt idx="0">
                    <c:v>MBY Original 12p</c:v>
                  </c:pt>
                  <c:pt idx="1">
                    <c:v>MBY Original 18p</c:v>
                  </c:pt>
                  <c:pt idx="2">
                    <c:v>MBY Original 6p</c:v>
                  </c:pt>
                  <c:pt idx="3">
                    <c:v>MBY Variety 12p</c:v>
                  </c:pt>
                  <c:pt idx="4">
                    <c:v>MBY Variety 18p</c:v>
                  </c:pt>
                  <c:pt idx="5">
                    <c:v>MBY Light 12p</c:v>
                  </c:pt>
                  <c:pt idx="6">
                    <c:v>MBY Light 6p</c:v>
                  </c:pt>
                  <c:pt idx="7">
                    <c:v>MBY Gouda 6p</c:v>
                  </c:pt>
                  <c:pt idx="8">
                    <c:v>MBY Swiss 6p</c:v>
                  </c:pt>
                  <c:pt idx="9">
                    <c:v>MBY Cheddar 6p</c:v>
                  </c:pt>
                  <c:pt idx="10">
                    <c:v>MBY Mini Roll</c:v>
                  </c:pt>
                  <c:pt idx="11">
                    <c:v>MBY 2Go</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4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C069D7B0-5993-464B-829F-DD8A3F987EE6}"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F9037F86-2805-4883-BE44-063AAB7449F0}"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C4E369A0-DED6-4BEE-BDEE-2219C43E5FBE}"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7494E50A-8323-4C25-9B8D-45348AAC2A10}"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84FE21BF-67CA-4743-9A9B-D263DC593C4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F51818EB-94BD-48BE-BE66-1FF0CD88AC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74E55D52-24E4-466D-9E7C-19F3C4D11A2C}"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E3F3B718-2137-4FCE-BD09-6424FE22DC5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D921CC3E-AB2F-4927-943E-591B0C098E9B}"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D9C9AE20-82A5-4152-A99B-5FB2E839D8B9}"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1</c:f>
              <c:numCache>
                <c:formatCode>General</c:formatCode>
                <c:ptCount val="10"/>
                <c:pt idx="0">
                  <c:v>0.53</c:v>
                </c:pt>
                <c:pt idx="1">
                  <c:v>0.32</c:v>
                </c:pt>
                <c:pt idx="2">
                  <c:v>0.83</c:v>
                </c:pt>
                <c:pt idx="3">
                  <c:v>0.08</c:v>
                </c:pt>
                <c:pt idx="4">
                  <c:v>0.1</c:v>
                </c:pt>
                <c:pt idx="5">
                  <c:v>0.56</c:v>
                </c:pt>
                <c:pt idx="6">
                  <c:v>0.17</c:v>
                </c:pt>
                <c:pt idx="7">
                  <c:v>0.11</c:v>
                </c:pt>
                <c:pt idx="8">
                  <c:v>0.12</c:v>
                </c:pt>
                <c:pt idx="9">
                  <c:v>0.79</c:v>
                </c:pt>
              </c:numCache>
            </c:numRef>
          </c:xVal>
          <c:yVal>
            <c:numRef>
              <c:f>Sheet1!$B$2:$B$11</c:f>
              <c:numCache>
                <c:formatCode>General</c:formatCode>
                <c:ptCount val="10"/>
                <c:pt idx="0">
                  <c:v>13191.32075471698</c:v>
                </c:pt>
                <c:pt idx="1">
                  <c:v>2491.0</c:v>
                </c:pt>
                <c:pt idx="2">
                  <c:v>15938.253012048193</c:v>
                </c:pt>
                <c:pt idx="3">
                  <c:v>5998.125</c:v>
                </c:pt>
                <c:pt idx="4">
                  <c:v>456.8</c:v>
                </c:pt>
                <c:pt idx="5">
                  <c:v>15549.142857142855</c:v>
                </c:pt>
                <c:pt idx="6">
                  <c:v>4525.529411764706</c:v>
                </c:pt>
                <c:pt idx="7">
                  <c:v>1914.8181818181818</c:v>
                </c:pt>
                <c:pt idx="8">
                  <c:v>3634.8333333333335</c:v>
                </c:pt>
                <c:pt idx="9">
                  <c:v>7412.088607594937</c:v>
                </c:pt>
              </c:numCache>
            </c:numRef>
          </c:yVal>
          <c:bubbleSize>
            <c:numRef>
              <c:f>Sheet1!$C$2:$C$11</c:f>
              <c:numCache>
                <c:formatCode>General</c:formatCode>
                <c:ptCount val="10"/>
                <c:pt idx="0">
                  <c:v>403400.8740000001</c:v>
                </c:pt>
                <c:pt idx="1">
                  <c:v>38482.9421</c:v>
                </c:pt>
                <c:pt idx="2">
                  <c:v>717579.9723999999</c:v>
                </c:pt>
                <c:pt idx="3">
                  <c:v>23113.3438</c:v>
                </c:pt>
                <c:pt idx="4">
                  <c:v>2630.9526</c:v>
                </c:pt>
                <c:pt idx="5">
                  <c:v>473422.0262</c:v>
                </c:pt>
                <c:pt idx="6">
                  <c:v>37207.6572</c:v>
                </c:pt>
                <c:pt idx="7">
                  <c:v>11275.9124</c:v>
                </c:pt>
                <c:pt idx="8">
                  <c:v>23675.9073</c:v>
                </c:pt>
                <c:pt idx="9">
                  <c:v>268250.098</c:v>
                </c:pt>
              </c:numCache>
            </c:numRef>
          </c:bubbleSize>
          <c:bubble3D val="0"/>
          <c:extLst>
            <c:ext xmlns:c15="http://schemas.microsoft.com/office/drawing/2012/chart" uri="{02D57815-91ED-43cb-92C2-25804820EDAC}">
              <c15:datalabelsRange>
                <c15:f>Sheet1!$E$2:$E$21</c15:f>
                <c15:dlblRangeCache>
                  <c:ptCount val="20"/>
                  <c:pt idx="0">
                    <c:v>MBY Original 12p</c:v>
                  </c:pt>
                  <c:pt idx="1">
                    <c:v>MBY Original 18p</c:v>
                  </c:pt>
                  <c:pt idx="2">
                    <c:v>MBY Original 6p</c:v>
                  </c:pt>
                  <c:pt idx="3">
                    <c:v>MBY Variety 12p</c:v>
                  </c:pt>
                  <c:pt idx="4">
                    <c:v>MBY Variety 18p</c:v>
                  </c:pt>
                  <c:pt idx="5">
                    <c:v>MBY Light 12p</c:v>
                  </c:pt>
                  <c:pt idx="6">
                    <c:v>MBY Light 6p</c:v>
                  </c:pt>
                  <c:pt idx="7">
                    <c:v>MBY Gouda 6p</c:v>
                  </c:pt>
                  <c:pt idx="8">
                    <c:v>MBY Swiss 6p</c:v>
                  </c:pt>
                  <c:pt idx="9">
                    <c:v>MBY Cheddar 6p</c:v>
                  </c:pt>
                  <c:pt idx="10">
                    <c:v>MBY Mini Roll</c:v>
                  </c:pt>
                  <c:pt idx="11">
                    <c:v>MBY 2Go</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4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FA1B9D3F-736C-4588-BDE5-4EB0C9D2880F}"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A1347B19-F6B3-4026-99E8-788213ADD5DE}"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3707242B-E621-495D-A646-269C20780E6C}"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7529E4E6-9BB6-41AF-AEBF-8E65CF44B30E}"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54850EFB-5C00-4ED1-8F65-CE0BEA64F3D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26A0F7CA-CAC5-43DF-80EA-9145E051F307}"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29D399D6-8F2A-402E-9859-EE4D0F05106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59106BFC-F581-4789-A67B-95574321465D}"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80637356-DEDE-4E39-A98C-9C70BB57B694}"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A107A893-EF20-4F32-823E-32C21A12D99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2</c:f>
              <c:numCache>
                <c:formatCode>General</c:formatCode>
                <c:ptCount val="11"/>
                <c:pt idx="0">
                  <c:v>0.99</c:v>
                </c:pt>
                <c:pt idx="1">
                  <c:v>0.89</c:v>
                </c:pt>
                <c:pt idx="2">
                  <c:v>0.87</c:v>
                </c:pt>
                <c:pt idx="3">
                  <c:v>0.38</c:v>
                </c:pt>
                <c:pt idx="4">
                  <c:v>0.6</c:v>
                </c:pt>
                <c:pt idx="5">
                  <c:v>0.99</c:v>
                </c:pt>
                <c:pt idx="6">
                  <c:v>0.94</c:v>
                </c:pt>
                <c:pt idx="7">
                  <c:v>0.83</c:v>
                </c:pt>
                <c:pt idx="8">
                  <c:v>0.99</c:v>
                </c:pt>
                <c:pt idx="9">
                  <c:v>0.96</c:v>
                </c:pt>
                <c:pt idx="10">
                  <c:v>0.68</c:v>
                </c:pt>
              </c:numCache>
            </c:numRef>
          </c:xVal>
          <c:yVal>
            <c:numRef>
              <c:f>Sheet1!$B$2:$B$12</c:f>
              <c:numCache>
                <c:formatCode>General</c:formatCode>
                <c:ptCount val="11"/>
                <c:pt idx="0">
                  <c:v>33468.14141414141</c:v>
                </c:pt>
                <c:pt idx="1">
                  <c:v>32269.03370786517</c:v>
                </c:pt>
                <c:pt idx="2">
                  <c:v>4455.919540229885</c:v>
                </c:pt>
                <c:pt idx="3">
                  <c:v>372.55263157894734</c:v>
                </c:pt>
                <c:pt idx="4">
                  <c:v>5208.266666666666</c:v>
                </c:pt>
                <c:pt idx="5">
                  <c:v>18609.40404040404</c:v>
                </c:pt>
                <c:pt idx="6">
                  <c:v>2162.531914893617</c:v>
                </c:pt>
                <c:pt idx="7">
                  <c:v>2418.6506024096384</c:v>
                </c:pt>
                <c:pt idx="8">
                  <c:v>14583.535353535353</c:v>
                </c:pt>
                <c:pt idx="9">
                  <c:v>20546.0</c:v>
                </c:pt>
                <c:pt idx="10">
                  <c:v>4180.294117647059</c:v>
                </c:pt>
              </c:numCache>
            </c:numRef>
          </c:yVal>
          <c:bubbleSize>
            <c:numRef>
              <c:f>Sheet1!$C$2:$C$12</c:f>
              <c:numCache>
                <c:formatCode>General</c:formatCode>
                <c:ptCount val="11"/>
                <c:pt idx="0">
                  <c:v>2131265.6236</c:v>
                </c:pt>
                <c:pt idx="1">
                  <c:v>1770957.3417000002</c:v>
                </c:pt>
                <c:pt idx="2">
                  <c:v>199191.6838</c:v>
                </c:pt>
                <c:pt idx="3">
                  <c:v>6682.76</c:v>
                </c:pt>
                <c:pt idx="4">
                  <c:v>155071.3642</c:v>
                </c:pt>
                <c:pt idx="5">
                  <c:v>1147936.0168</c:v>
                </c:pt>
                <c:pt idx="6">
                  <c:v>115246.484</c:v>
                </c:pt>
                <c:pt idx="7">
                  <c:v>136986.13999999998</c:v>
                </c:pt>
                <c:pt idx="8">
                  <c:v>867137.4487</c:v>
                </c:pt>
                <c:pt idx="9">
                  <c:v>1195605.3462</c:v>
                </c:pt>
                <c:pt idx="10">
                  <c:v>140324.76739999998</c:v>
                </c:pt>
              </c:numCache>
            </c:numRef>
          </c:bubbleSize>
          <c:bubble3D val="0"/>
          <c:extLst>
            <c:ext xmlns:c15="http://schemas.microsoft.com/office/drawing/2012/chart" uri="{02D57815-91ED-43cb-92C2-25804820EDAC}">
              <c15:datalabelsRange>
                <c15:f>Sheet1!$E$2:$E$21</c15:f>
                <c15:dlblRangeCache>
                  <c:ptCount val="20"/>
                  <c:pt idx="0">
                    <c:v>MBY Original 12p</c:v>
                  </c:pt>
                  <c:pt idx="1">
                    <c:v>MBY Original 18p</c:v>
                  </c:pt>
                  <c:pt idx="2">
                    <c:v>MBY Original 6p</c:v>
                  </c:pt>
                  <c:pt idx="3">
                    <c:v>MBY Variety 12p</c:v>
                  </c:pt>
                  <c:pt idx="4">
                    <c:v>MBY Variety 18p</c:v>
                  </c:pt>
                  <c:pt idx="5">
                    <c:v>MBY Light 12p</c:v>
                  </c:pt>
                  <c:pt idx="6">
                    <c:v>MBY Light 6p</c:v>
                  </c:pt>
                  <c:pt idx="7">
                    <c:v>MBY Gouda 6p</c:v>
                  </c:pt>
                  <c:pt idx="8">
                    <c:v>MBY Swiss 6p</c:v>
                  </c:pt>
                  <c:pt idx="9">
                    <c:v>MBY Cheddar 6p</c:v>
                  </c:pt>
                  <c:pt idx="10">
                    <c:v>MBY Mini Roll</c:v>
                  </c:pt>
                  <c:pt idx="11">
                    <c:v>MBY 2Go</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4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6A76B287-1CE4-4A24-84B9-428CCBFE634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CB30BDAD-F709-4F0C-9E2D-FA97A37CA25F}"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293C72A9-BA11-400D-B1CA-3B5727A7AD38}"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7FB0163F-3AE8-4DF4-88AF-8BFC2D77C684}"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A08C4EB9-A741-484D-9FAE-5EE3D182B41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121B6159-E077-4895-A892-45F97C197F1B}"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EF5A3F43-0A04-441D-BCF0-92CD3624068B}"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EE40148D-4DC6-44AC-9F01-A91F29BF2497}"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6FBF5BB3-AFCF-4C46-936F-2F9A0597FE32}"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68CDC3FA-DB62-4048-9613-5FFAB981324D}"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9</c:f>
              <c:numCache>
                <c:formatCode>General</c:formatCode>
                <c:ptCount val="8"/>
                <c:pt idx="0">
                  <c:v>0.69</c:v>
                </c:pt>
                <c:pt idx="1">
                  <c:v>0.87</c:v>
                </c:pt>
                <c:pt idx="2">
                  <c:v>1.0</c:v>
                </c:pt>
                <c:pt idx="3">
                  <c:v>0.97</c:v>
                </c:pt>
                <c:pt idx="4">
                  <c:v>0.98</c:v>
                </c:pt>
                <c:pt idx="5">
                  <c:v>0.25</c:v>
                </c:pt>
                <c:pt idx="6">
                  <c:v>0.97</c:v>
                </c:pt>
                <c:pt idx="7">
                  <c:v>0.89</c:v>
                </c:pt>
              </c:numCache>
            </c:numRef>
          </c:xVal>
          <c:yVal>
            <c:numRef>
              <c:f>Sheet1!$B$2:$B$9</c:f>
              <c:numCache>
                <c:formatCode>General</c:formatCode>
                <c:ptCount val="8"/>
                <c:pt idx="0">
                  <c:v>5071.260869565217</c:v>
                </c:pt>
                <c:pt idx="1">
                  <c:v>7595.781609195402</c:v>
                </c:pt>
                <c:pt idx="2">
                  <c:v>45209.37</c:v>
                </c:pt>
                <c:pt idx="3">
                  <c:v>38529.47422680412</c:v>
                </c:pt>
                <c:pt idx="4">
                  <c:v>58923.051020408166</c:v>
                </c:pt>
                <c:pt idx="5">
                  <c:v>990.84</c:v>
                </c:pt>
                <c:pt idx="6">
                  <c:v>10108.0</c:v>
                </c:pt>
                <c:pt idx="7">
                  <c:v>10818.426966292134</c:v>
                </c:pt>
              </c:numCache>
            </c:numRef>
          </c:yVal>
          <c:bubbleSize>
            <c:numRef>
              <c:f>Sheet1!$C$2:$C$9</c:f>
              <c:numCache>
                <c:formatCode>General</c:formatCode>
                <c:ptCount val="8"/>
                <c:pt idx="0">
                  <c:v>153372.101</c:v>
                </c:pt>
                <c:pt idx="1">
                  <c:v>357216.5298</c:v>
                </c:pt>
                <c:pt idx="2">
                  <c:v>2588496.7709999997</c:v>
                </c:pt>
                <c:pt idx="3">
                  <c:v>2269501.2134</c:v>
                </c:pt>
                <c:pt idx="4">
                  <c:v>3724121.2061000005</c:v>
                </c:pt>
                <c:pt idx="5">
                  <c:v>17714.462399999997</c:v>
                </c:pt>
                <c:pt idx="6">
                  <c:v>540684.2676000001</c:v>
                </c:pt>
                <c:pt idx="7">
                  <c:v>467206.7514</c:v>
                </c:pt>
              </c:numCache>
            </c:numRef>
          </c:bubbleSize>
          <c:bubble3D val="0"/>
          <c:extLst>
            <c:ext xmlns:c15="http://schemas.microsoft.com/office/drawing/2012/chart" uri="{02D57815-91ED-43cb-92C2-25804820EDAC}">
              <c15:datalabelsRange>
                <c15:f>Sheet1!$E$2:$E$21</c15:f>
                <c15:dlblRangeCache>
                  <c:ptCount val="20"/>
                  <c:pt idx="0">
                    <c:v>MBY Original 12p</c:v>
                  </c:pt>
                  <c:pt idx="1">
                    <c:v>MBY Original 18p</c:v>
                  </c:pt>
                  <c:pt idx="2">
                    <c:v>MBY Original 6p</c:v>
                  </c:pt>
                  <c:pt idx="3">
                    <c:v>MBY Variety 12p</c:v>
                  </c:pt>
                  <c:pt idx="4">
                    <c:v>MBY Variety 18p</c:v>
                  </c:pt>
                  <c:pt idx="5">
                    <c:v>MBY Light 12p</c:v>
                  </c:pt>
                  <c:pt idx="6">
                    <c:v>MBY Light 6p</c:v>
                  </c:pt>
                  <c:pt idx="7">
                    <c:v>MBY Gouda 6p</c:v>
                  </c:pt>
                  <c:pt idx="8">
                    <c:v>MBY Swiss 6p</c:v>
                  </c:pt>
                  <c:pt idx="9">
                    <c:v>MBY Cheddar 6p</c:v>
                  </c:pt>
                  <c:pt idx="10">
                    <c:v>MBY Mini Roll</c:v>
                  </c:pt>
                  <c:pt idx="11">
                    <c:v>MBY 2Go</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4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E663BC70-35E5-4D44-80DF-15C2DC6DF09A}"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CEDABBC7-717A-49DF-9C84-9714C20AB112}"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1AE93F6C-4779-4E73-98FA-793E63007BD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6F0089BB-DD13-41BE-9150-3BA1B949E48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3775AC9B-41E6-4A78-ACEC-1FB855A586A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EEC7D5DC-E7B8-4A94-B28E-A4BD3AFF3DF0}"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F5087589-1930-4825-8923-AB67EFD3D944}"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B3306C70-BF67-4ADD-96C5-EB3B5302180F}"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A0EB2BA6-EA29-4EE7-9981-03CB2CA4B18A}"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BD8A17A2-ABD3-4C42-BC64-8FA68E3CC35E}"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25</c:f>
              <c:numCache>
                <c:formatCode>General</c:formatCode>
                <c:ptCount val="24"/>
                <c:pt idx="0">
                  <c:v>0.99</c:v>
                </c:pt>
                <c:pt idx="1">
                  <c:v>0.88</c:v>
                </c:pt>
                <c:pt idx="2">
                  <c:v>1.0</c:v>
                </c:pt>
                <c:pt idx="3">
                  <c:v>0.99</c:v>
                </c:pt>
                <c:pt idx="4">
                  <c:v>0.99</c:v>
                </c:pt>
                <c:pt idx="5">
                  <c:v>0.7</c:v>
                </c:pt>
                <c:pt idx="6">
                  <c:v>0.98</c:v>
                </c:pt>
                <c:pt idx="7">
                  <c:v>0.9</c:v>
                </c:pt>
                <c:pt idx="8">
                  <c:v>0.95</c:v>
                </c:pt>
                <c:pt idx="9">
                  <c:v>0.8</c:v>
                </c:pt>
                <c:pt idx="10">
                  <c:v>0.29</c:v>
                </c:pt>
                <c:pt idx="11">
                  <c:v>0.96</c:v>
                </c:pt>
                <c:pt idx="12">
                  <c:v>0.99</c:v>
                </c:pt>
                <c:pt idx="13">
                  <c:v>0.87</c:v>
                </c:pt>
                <c:pt idx="14">
                  <c:v>0.97</c:v>
                </c:pt>
                <c:pt idx="15">
                  <c:v>0.83</c:v>
                </c:pt>
                <c:pt idx="16">
                  <c:v>0.96</c:v>
                </c:pt>
                <c:pt idx="17">
                  <c:v>0.98</c:v>
                </c:pt>
                <c:pt idx="18">
                  <c:v>0.88</c:v>
                </c:pt>
                <c:pt idx="19">
                  <c:v>0.83</c:v>
                </c:pt>
                <c:pt idx="20">
                  <c:v>0.86</c:v>
                </c:pt>
                <c:pt idx="21">
                  <c:v>0.67</c:v>
                </c:pt>
                <c:pt idx="22">
                  <c:v>0.4</c:v>
                </c:pt>
                <c:pt idx="23">
                  <c:v>0.7</c:v>
                </c:pt>
              </c:numCache>
            </c:numRef>
          </c:xVal>
          <c:yVal>
            <c:numRef>
              <c:f>Sheet1!$B$2:$B$25</c:f>
              <c:numCache>
                <c:formatCode>General</c:formatCode>
                <c:ptCount val="24"/>
                <c:pt idx="0">
                  <c:v>20176.727272727272</c:v>
                </c:pt>
                <c:pt idx="1">
                  <c:v>5857.977272727273</c:v>
                </c:pt>
                <c:pt idx="2">
                  <c:v>17911.57</c:v>
                </c:pt>
                <c:pt idx="3">
                  <c:v>6243.686868686868</c:v>
                </c:pt>
                <c:pt idx="4">
                  <c:v>7410.282828282829</c:v>
                </c:pt>
                <c:pt idx="5">
                  <c:v>464.8142857142857</c:v>
                </c:pt>
                <c:pt idx="6">
                  <c:v>16275.387755102041</c:v>
                </c:pt>
                <c:pt idx="7">
                  <c:v>5635.011111111111</c:v>
                </c:pt>
                <c:pt idx="8">
                  <c:v>10927.284210526315</c:v>
                </c:pt>
                <c:pt idx="9">
                  <c:v>574.225</c:v>
                </c:pt>
                <c:pt idx="10">
                  <c:v>2016.586206896552</c:v>
                </c:pt>
                <c:pt idx="11">
                  <c:v>8247.145833333334</c:v>
                </c:pt>
                <c:pt idx="12">
                  <c:v>20997.565656565657</c:v>
                </c:pt>
                <c:pt idx="13">
                  <c:v>6186.218390804598</c:v>
                </c:pt>
                <c:pt idx="14">
                  <c:v>8871.60824742268</c:v>
                </c:pt>
                <c:pt idx="15">
                  <c:v>4356.843373493976</c:v>
                </c:pt>
                <c:pt idx="16">
                  <c:v>5263.666666666667</c:v>
                </c:pt>
                <c:pt idx="17">
                  <c:v>8367.65306122449</c:v>
                </c:pt>
                <c:pt idx="18">
                  <c:v>1613.590909090909</c:v>
                </c:pt>
                <c:pt idx="19">
                  <c:v>833.7349397590361</c:v>
                </c:pt>
                <c:pt idx="20">
                  <c:v>2456.7441860465115</c:v>
                </c:pt>
                <c:pt idx="21">
                  <c:v>1204.2388059701493</c:v>
                </c:pt>
                <c:pt idx="22">
                  <c:v>880.45</c:v>
                </c:pt>
                <c:pt idx="23">
                  <c:v>553.0857142857143</c:v>
                </c:pt>
              </c:numCache>
            </c:numRef>
          </c:yVal>
          <c:bubbleSize>
            <c:numRef>
              <c:f>Sheet1!$C$2:$C$25</c:f>
              <c:numCache>
                <c:formatCode>General</c:formatCode>
                <c:ptCount val="24"/>
                <c:pt idx="0">
                  <c:v>1229378.2704</c:v>
                </c:pt>
                <c:pt idx="1">
                  <c:v>294677.5556</c:v>
                </c:pt>
                <c:pt idx="2">
                  <c:v>1102724.8402</c:v>
                </c:pt>
                <c:pt idx="3">
                  <c:v>340046.8445</c:v>
                </c:pt>
                <c:pt idx="4">
                  <c:v>421246.15119999996</c:v>
                </c:pt>
                <c:pt idx="5">
                  <c:v>14702.586299999999</c:v>
                </c:pt>
                <c:pt idx="6">
                  <c:v>912804.1278000001</c:v>
                </c:pt>
                <c:pt idx="7">
                  <c:v>286561.2592</c:v>
                </c:pt>
                <c:pt idx="8">
                  <c:v>573696.2559</c:v>
                </c:pt>
                <c:pt idx="9">
                  <c:v>32418.2479</c:v>
                </c:pt>
                <c:pt idx="10">
                  <c:v>33307.8298</c:v>
                </c:pt>
                <c:pt idx="11">
                  <c:v>449521.4904999999</c:v>
                </c:pt>
                <c:pt idx="12">
                  <c:v>1242709.427</c:v>
                </c:pt>
                <c:pt idx="13">
                  <c:v>302695.39999999997</c:v>
                </c:pt>
                <c:pt idx="14">
                  <c:v>422865.65939999995</c:v>
                </c:pt>
                <c:pt idx="15">
                  <c:v>191507.8531</c:v>
                </c:pt>
                <c:pt idx="16">
                  <c:v>295907.8751</c:v>
                </c:pt>
                <c:pt idx="17">
                  <c:v>439809.19409999996</c:v>
                </c:pt>
                <c:pt idx="18">
                  <c:v>82541.7076</c:v>
                </c:pt>
                <c:pt idx="19">
                  <c:v>41666.6322</c:v>
                </c:pt>
                <c:pt idx="20">
                  <c:v>114864.4392</c:v>
                </c:pt>
                <c:pt idx="21">
                  <c:v>39835.8197</c:v>
                </c:pt>
                <c:pt idx="22">
                  <c:v>19049.4876</c:v>
                </c:pt>
                <c:pt idx="23">
                  <c:v>27723.0184</c:v>
                </c:pt>
              </c:numCache>
            </c:numRef>
          </c:bubbleSize>
          <c:bubble3D val="0"/>
          <c:extLst>
            <c:ext xmlns:c15="http://schemas.microsoft.com/office/drawing/2012/chart" uri="{02D57815-91ED-43cb-92C2-25804820EDAC}">
              <c15:datalabelsRange>
                <c15:f>Sheet1!$E$2:$E$21</c15:f>
                <c15:dlblRangeCache>
                  <c:ptCount val="20"/>
                  <c:pt idx="0">
                    <c:v>MBY Original 12p</c:v>
                  </c:pt>
                  <c:pt idx="1">
                    <c:v>MBY Original 18p</c:v>
                  </c:pt>
                  <c:pt idx="2">
                    <c:v>MBY Original 6p</c:v>
                  </c:pt>
                  <c:pt idx="3">
                    <c:v>MBY Variety 12p</c:v>
                  </c:pt>
                  <c:pt idx="4">
                    <c:v>MBY Variety 18p</c:v>
                  </c:pt>
                  <c:pt idx="5">
                    <c:v>MBY Light 12p</c:v>
                  </c:pt>
                  <c:pt idx="6">
                    <c:v>MBY Light 6p</c:v>
                  </c:pt>
                  <c:pt idx="7">
                    <c:v>MBY Gouda 6p</c:v>
                  </c:pt>
                  <c:pt idx="8">
                    <c:v>MBY Swiss 6p</c:v>
                  </c:pt>
                  <c:pt idx="9">
                    <c:v>MBY Cheddar 6p</c:v>
                  </c:pt>
                  <c:pt idx="10">
                    <c:v>MBY Mini Roll</c:v>
                  </c:pt>
                  <c:pt idx="11">
                    <c:v>MBY 2Go</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4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BD7CCDF6-5824-4F4A-ACC3-1F07293111D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50244BE3-D8CD-4FBB-814B-422BB59467AF}"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44C9EB6D-C45E-4FA0-BC4D-F976ECB065D4}"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BF7B782B-25AE-4A2D-87A7-2FEF77502484}"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947C67B8-259B-4397-BA65-4D0C75239F9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7076B1E3-EF89-4BF3-B112-48339F8AFA3C}"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B3B19683-D59E-4174-AB6F-72F5BC59764E}"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09BE0325-4E6C-4DEB-A53B-FBD398A6A120}"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8D83F0A5-5FE5-4A42-B692-C2A39DB6D95B}"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132886F1-8EC7-4E79-B201-E415D24F486E}"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2</c:f>
              <c:numCache>
                <c:formatCode>General</c:formatCode>
                <c:ptCount val="11"/>
                <c:pt idx="0">
                  <c:v>1.0</c:v>
                </c:pt>
                <c:pt idx="1">
                  <c:v>0.99</c:v>
                </c:pt>
                <c:pt idx="2">
                  <c:v>0.99</c:v>
                </c:pt>
                <c:pt idx="3">
                  <c:v>0.64</c:v>
                </c:pt>
                <c:pt idx="4">
                  <c:v>0.87</c:v>
                </c:pt>
                <c:pt idx="5">
                  <c:v>1.0</c:v>
                </c:pt>
                <c:pt idx="6">
                  <c:v>0.98</c:v>
                </c:pt>
                <c:pt idx="7">
                  <c:v>0.94</c:v>
                </c:pt>
                <c:pt idx="8">
                  <c:v>1.0</c:v>
                </c:pt>
                <c:pt idx="9">
                  <c:v>0.99</c:v>
                </c:pt>
                <c:pt idx="10">
                  <c:v>0.88</c:v>
                </c:pt>
              </c:numCache>
            </c:numRef>
          </c:xVal>
          <c:yVal>
            <c:numRef>
              <c:f>Sheet1!$B$2:$B$12</c:f>
              <c:numCache>
                <c:formatCode>General</c:formatCode>
                <c:ptCount val="11"/>
                <c:pt idx="0">
                  <c:v>5841.94</c:v>
                </c:pt>
                <c:pt idx="1">
                  <c:v>5970.020202020202</c:v>
                </c:pt>
                <c:pt idx="2">
                  <c:v>772.4949494949495</c:v>
                </c:pt>
                <c:pt idx="3">
                  <c:v>58.203125</c:v>
                </c:pt>
                <c:pt idx="4">
                  <c:v>698.2873563218391</c:v>
                </c:pt>
                <c:pt idx="5">
                  <c:v>2915.26</c:v>
                </c:pt>
                <c:pt idx="6">
                  <c:v>474.734693877551</c:v>
                </c:pt>
                <c:pt idx="7">
                  <c:v>409.3829787234043</c:v>
                </c:pt>
                <c:pt idx="8">
                  <c:v>2549.27</c:v>
                </c:pt>
                <c:pt idx="9">
                  <c:v>3761.1111111111113</c:v>
                </c:pt>
                <c:pt idx="10">
                  <c:v>614.6363636363636</c:v>
                </c:pt>
              </c:numCache>
            </c:numRef>
          </c:yVal>
          <c:bubbleSize>
            <c:numRef>
              <c:f>Sheet1!$C$2:$C$12</c:f>
              <c:numCache>
                <c:formatCode>General</c:formatCode>
                <c:ptCount val="11"/>
                <c:pt idx="0">
                  <c:v>379175.70080000005</c:v>
                </c:pt>
                <c:pt idx="1">
                  <c:v>368896.3247</c:v>
                </c:pt>
                <c:pt idx="2">
                  <c:v>40602.4251</c:v>
                </c:pt>
                <c:pt idx="3">
                  <c:v>1807.5120000000002</c:v>
                </c:pt>
                <c:pt idx="4">
                  <c:v>31366.428200000002</c:v>
                </c:pt>
                <c:pt idx="5">
                  <c:v>184947.85040000002</c:v>
                </c:pt>
                <c:pt idx="6">
                  <c:v>23688.715</c:v>
                </c:pt>
                <c:pt idx="7">
                  <c:v>26336.5182</c:v>
                </c:pt>
                <c:pt idx="8">
                  <c:v>157027.87370000003</c:v>
                </c:pt>
                <c:pt idx="9">
                  <c:v>233330.66369999998</c:v>
                </c:pt>
                <c:pt idx="10">
                  <c:v>27407.7202</c:v>
                </c:pt>
              </c:numCache>
            </c:numRef>
          </c:bubbleSize>
          <c:bubble3D val="0"/>
          <c:extLst>
            <c:ext xmlns:c15="http://schemas.microsoft.com/office/drawing/2012/chart" uri="{02D57815-91ED-43cb-92C2-25804820EDAC}">
              <c15:datalabelsRange>
                <c15:f>Sheet1!$E$2:$E$21</c15:f>
                <c15:dlblRangeCache>
                  <c:ptCount val="20"/>
                  <c:pt idx="0">
                    <c:v>MBY Original 12p</c:v>
                  </c:pt>
                  <c:pt idx="1">
                    <c:v>MBY Original 18p</c:v>
                  </c:pt>
                  <c:pt idx="2">
                    <c:v>MBY Original 6p</c:v>
                  </c:pt>
                  <c:pt idx="3">
                    <c:v>MBY Variety 12p</c:v>
                  </c:pt>
                  <c:pt idx="4">
                    <c:v>MBY Variety 18p</c:v>
                  </c:pt>
                  <c:pt idx="5">
                    <c:v>MBY Light 12p</c:v>
                  </c:pt>
                  <c:pt idx="6">
                    <c:v>MBY Light 6p</c:v>
                  </c:pt>
                  <c:pt idx="7">
                    <c:v>MBY Gouda 6p</c:v>
                  </c:pt>
                  <c:pt idx="8">
                    <c:v>MBY Swiss 6p</c:v>
                  </c:pt>
                  <c:pt idx="9">
                    <c:v>MBY Cheddar 6p</c:v>
                  </c:pt>
                  <c:pt idx="10">
                    <c:v>MBY Mini Roll</c:v>
                  </c:pt>
                  <c:pt idx="11">
                    <c:v>MBY 2Go</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4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CEAF0CC7-087D-4878-B862-CF4CA9389A0C}"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EEC2D628-C876-4FD8-B21A-8D7C54459DD6}"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FE64A638-733E-40D4-B101-BD00CB984CBF}"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5C654184-4B34-40A3-B6D2-49F80654CAAC}"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8C49F8BC-8487-4C91-9591-B90AD7303D3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92AC0550-556F-4020-A5BB-60BCF96F29E7}"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D2873F51-03B8-4135-8106-016BC06603A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53A4AD32-ECE3-4F2D-9119-D0549B328DFF}"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EAFC16D1-E923-4E0B-9D3F-F9E2EEC974AD}"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3183F5BD-9D34-47ED-8227-F9F41BA68B06}"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9</c:f>
              <c:numCache>
                <c:formatCode>General</c:formatCode>
                <c:ptCount val="8"/>
                <c:pt idx="0">
                  <c:v>0.92</c:v>
                </c:pt>
                <c:pt idx="1">
                  <c:v>0.97</c:v>
                </c:pt>
                <c:pt idx="2">
                  <c:v>1.0</c:v>
                </c:pt>
                <c:pt idx="3">
                  <c:v>1.0</c:v>
                </c:pt>
                <c:pt idx="4">
                  <c:v>0.99</c:v>
                </c:pt>
                <c:pt idx="5">
                  <c:v>0.32</c:v>
                </c:pt>
                <c:pt idx="6">
                  <c:v>0.99</c:v>
                </c:pt>
                <c:pt idx="7">
                  <c:v>0.98</c:v>
                </c:pt>
              </c:numCache>
            </c:numRef>
          </c:xVal>
          <c:yVal>
            <c:numRef>
              <c:f>Sheet1!$B$2:$B$9</c:f>
              <c:numCache>
                <c:formatCode>General</c:formatCode>
                <c:ptCount val="8"/>
                <c:pt idx="0">
                  <c:v>817.8586956521739</c:v>
                </c:pt>
                <c:pt idx="1">
                  <c:v>1169.9072164948454</c:v>
                </c:pt>
                <c:pt idx="2">
                  <c:v>7702.77</c:v>
                </c:pt>
                <c:pt idx="3">
                  <c:v>6931.8</c:v>
                </c:pt>
                <c:pt idx="4">
                  <c:v>11429.494949494949</c:v>
                </c:pt>
                <c:pt idx="5">
                  <c:v>177.34375</c:v>
                </c:pt>
                <c:pt idx="6">
                  <c:v>2091.7979797979797</c:v>
                </c:pt>
                <c:pt idx="7">
                  <c:v>2261.183673469388</c:v>
                </c:pt>
              </c:numCache>
            </c:numRef>
          </c:yVal>
          <c:bubbleSize>
            <c:numRef>
              <c:f>Sheet1!$C$2:$C$9</c:f>
              <c:numCache>
                <c:formatCode>General</c:formatCode>
                <c:ptCount val="8"/>
                <c:pt idx="0">
                  <c:v>33125.899600000004</c:v>
                </c:pt>
                <c:pt idx="1">
                  <c:v>62668.0704</c:v>
                </c:pt>
                <c:pt idx="2">
                  <c:v>438730.5022</c:v>
                </c:pt>
                <c:pt idx="3">
                  <c:v>421297.28959999996</c:v>
                </c:pt>
                <c:pt idx="4">
                  <c:v>713125.1897</c:v>
                </c:pt>
                <c:pt idx="5">
                  <c:v>4028.3973999999994</c:v>
                </c:pt>
                <c:pt idx="6">
                  <c:v>114869.08230000001</c:v>
                </c:pt>
                <c:pt idx="7">
                  <c:v>108131.18439999998</c:v>
                </c:pt>
              </c:numCache>
            </c:numRef>
          </c:bubbleSize>
          <c:bubble3D val="0"/>
          <c:extLst>
            <c:ext xmlns:c15="http://schemas.microsoft.com/office/drawing/2012/chart" uri="{02D57815-91ED-43cb-92C2-25804820EDAC}">
              <c15:datalabelsRange>
                <c15:f>Sheet1!$E$2:$E$21</c15:f>
                <c15:dlblRangeCache>
                  <c:ptCount val="20"/>
                  <c:pt idx="0">
                    <c:v>MBY Original 12p</c:v>
                  </c:pt>
                  <c:pt idx="1">
                    <c:v>MBY Original 18p</c:v>
                  </c:pt>
                  <c:pt idx="2">
                    <c:v>MBY Original 6p</c:v>
                  </c:pt>
                  <c:pt idx="3">
                    <c:v>MBY Variety 12p</c:v>
                  </c:pt>
                  <c:pt idx="4">
                    <c:v>MBY Variety 18p</c:v>
                  </c:pt>
                  <c:pt idx="5">
                    <c:v>MBY Light 12p</c:v>
                  </c:pt>
                  <c:pt idx="6">
                    <c:v>MBY Light 6p</c:v>
                  </c:pt>
                  <c:pt idx="7">
                    <c:v>MBY Gouda 6p</c:v>
                  </c:pt>
                  <c:pt idx="8">
                    <c:v>MBY Swiss 6p</c:v>
                  </c:pt>
                  <c:pt idx="9">
                    <c:v>MBY Cheddar 6p</c:v>
                  </c:pt>
                  <c:pt idx="10">
                    <c:v>MBY Mini Roll</c:v>
                  </c:pt>
                  <c:pt idx="11">
                    <c:v>MBY 2Go</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4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55852415-C5CA-41FC-9D41-5AD528FE374E}"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E3432AA7-9607-436D-91E1-8A387C2DCFBB}"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423B5A94-9DC2-4A4F-B42F-E9BD467E5389}"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F4B3BF42-21D0-4478-91EB-45F2ED65546D}"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3B428B10-43D7-4EEB-A953-3ADD0A7731A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85211FA6-155E-497D-8410-5C63B431D5F7}"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4CCA19CF-D80E-401E-BE1C-E1ECE004EFC0}"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FE74993D-92AF-4B2A-B6DB-FEB9ABDAB63C}"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CBB30771-E5E8-4463-B9BD-80E6C0304F4F}"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5848FB1B-29A1-486D-AF1A-BD37B8AF299D}"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25</c:f>
              <c:numCache>
                <c:formatCode>General</c:formatCode>
                <c:ptCount val="24"/>
                <c:pt idx="0">
                  <c:v>1.0</c:v>
                </c:pt>
                <c:pt idx="1">
                  <c:v>0.96</c:v>
                </c:pt>
                <c:pt idx="2">
                  <c:v>1.0</c:v>
                </c:pt>
                <c:pt idx="3">
                  <c:v>1.0</c:v>
                </c:pt>
                <c:pt idx="4">
                  <c:v>1.0</c:v>
                </c:pt>
                <c:pt idx="5">
                  <c:v>0.92</c:v>
                </c:pt>
                <c:pt idx="6">
                  <c:v>0.99</c:v>
                </c:pt>
                <c:pt idx="7">
                  <c:v>0.98</c:v>
                </c:pt>
                <c:pt idx="8">
                  <c:v>0.99</c:v>
                </c:pt>
                <c:pt idx="9">
                  <c:v>0.96</c:v>
                </c:pt>
                <c:pt idx="10">
                  <c:v>0.7</c:v>
                </c:pt>
                <c:pt idx="11">
                  <c:v>0.99</c:v>
                </c:pt>
                <c:pt idx="12">
                  <c:v>1.0</c:v>
                </c:pt>
                <c:pt idx="13">
                  <c:v>0.99</c:v>
                </c:pt>
                <c:pt idx="14">
                  <c:v>0.99</c:v>
                </c:pt>
                <c:pt idx="15">
                  <c:v>0.98</c:v>
                </c:pt>
                <c:pt idx="16">
                  <c:v>0.99</c:v>
                </c:pt>
                <c:pt idx="17">
                  <c:v>1.0</c:v>
                </c:pt>
                <c:pt idx="18">
                  <c:v>0.97</c:v>
                </c:pt>
                <c:pt idx="19">
                  <c:v>0.99</c:v>
                </c:pt>
                <c:pt idx="20">
                  <c:v>0.95</c:v>
                </c:pt>
                <c:pt idx="21">
                  <c:v>0.93</c:v>
                </c:pt>
                <c:pt idx="22">
                  <c:v>0.73</c:v>
                </c:pt>
                <c:pt idx="23">
                  <c:v>0.86</c:v>
                </c:pt>
              </c:numCache>
            </c:numRef>
          </c:xVal>
          <c:yVal>
            <c:numRef>
              <c:f>Sheet1!$B$2:$B$25</c:f>
              <c:numCache>
                <c:formatCode>General</c:formatCode>
                <c:ptCount val="24"/>
                <c:pt idx="0">
                  <c:v>3513.05</c:v>
                </c:pt>
                <c:pt idx="1">
                  <c:v>819.71875</c:v>
                </c:pt>
                <c:pt idx="2">
                  <c:v>3000.58</c:v>
                </c:pt>
                <c:pt idx="3">
                  <c:v>982.89</c:v>
                </c:pt>
                <c:pt idx="4">
                  <c:v>1156.58</c:v>
                </c:pt>
                <c:pt idx="5">
                  <c:v>85.19565217391305</c:v>
                </c:pt>
                <c:pt idx="6">
                  <c:v>3316.959595959596</c:v>
                </c:pt>
                <c:pt idx="7">
                  <c:v>1040.5408163265306</c:v>
                </c:pt>
                <c:pt idx="8">
                  <c:v>2060.5151515151515</c:v>
                </c:pt>
                <c:pt idx="9">
                  <c:v>100.04166666666667</c:v>
                </c:pt>
                <c:pt idx="10">
                  <c:v>306.57142857142856</c:v>
                </c:pt>
                <c:pt idx="11">
                  <c:v>1363.8080808080808</c:v>
                </c:pt>
                <c:pt idx="12">
                  <c:v>4098.92</c:v>
                </c:pt>
                <c:pt idx="13">
                  <c:v>1431.0707070707072</c:v>
                </c:pt>
                <c:pt idx="14">
                  <c:v>1389.5656565656566</c:v>
                </c:pt>
                <c:pt idx="15">
                  <c:v>744.8673469387755</c:v>
                </c:pt>
                <c:pt idx="16">
                  <c:v>888.8282828282828</c:v>
                </c:pt>
                <c:pt idx="17">
                  <c:v>1429.39</c:v>
                </c:pt>
                <c:pt idx="18">
                  <c:v>310.11340206185565</c:v>
                </c:pt>
                <c:pt idx="19">
                  <c:v>137.64646464646464</c:v>
                </c:pt>
                <c:pt idx="20">
                  <c:v>472.06315789473683</c:v>
                </c:pt>
                <c:pt idx="21">
                  <c:v>197.19354838709677</c:v>
                </c:pt>
                <c:pt idx="22">
                  <c:v>106.42465753424658</c:v>
                </c:pt>
                <c:pt idx="23">
                  <c:v>83.18604651162791</c:v>
                </c:pt>
              </c:numCache>
            </c:numRef>
          </c:yVal>
          <c:bubbleSize>
            <c:numRef>
              <c:f>Sheet1!$C$2:$C$25</c:f>
              <c:numCache>
                <c:formatCode>General</c:formatCode>
                <c:ptCount val="24"/>
                <c:pt idx="0">
                  <c:v>217995.5344</c:v>
                </c:pt>
                <c:pt idx="1">
                  <c:v>46634.509099999996</c:v>
                </c:pt>
                <c:pt idx="2">
                  <c:v>183944.61229999998</c:v>
                </c:pt>
                <c:pt idx="3">
                  <c:v>54583.746999999996</c:v>
                </c:pt>
                <c:pt idx="4">
                  <c:v>67138.9672</c:v>
                </c:pt>
                <c:pt idx="5">
                  <c:v>3133.9797</c:v>
                </c:pt>
                <c:pt idx="6">
                  <c:v>185965.56900000002</c:v>
                </c:pt>
                <c:pt idx="7">
                  <c:v>57608.7796</c:v>
                </c:pt>
                <c:pt idx="8">
                  <c:v>112255.39539999998</c:v>
                </c:pt>
                <c:pt idx="9">
                  <c:v>6780.0874</c:v>
                </c:pt>
                <c:pt idx="10">
                  <c:v>12632.8769</c:v>
                </c:pt>
                <c:pt idx="11">
                  <c:v>78814.35209999999</c:v>
                </c:pt>
                <c:pt idx="12">
                  <c:v>244236.8179</c:v>
                </c:pt>
                <c:pt idx="13">
                  <c:v>79625.80200000001</c:v>
                </c:pt>
                <c:pt idx="14">
                  <c:v>69631.62839999999</c:v>
                </c:pt>
                <c:pt idx="15">
                  <c:v>39937.712700000004</c:v>
                </c:pt>
                <c:pt idx="16">
                  <c:v>52391.7181</c:v>
                </c:pt>
                <c:pt idx="17">
                  <c:v>78015.81190000002</c:v>
                </c:pt>
                <c:pt idx="18">
                  <c:v>17938.264600000002</c:v>
                </c:pt>
                <c:pt idx="19">
                  <c:v>8400.509100000001</c:v>
                </c:pt>
                <c:pt idx="20">
                  <c:v>24993.7191</c:v>
                </c:pt>
                <c:pt idx="21">
                  <c:v>9294.5678</c:v>
                </c:pt>
                <c:pt idx="22">
                  <c:v>4280.9481000000005</c:v>
                </c:pt>
                <c:pt idx="23">
                  <c:v>5123.0648</c:v>
                </c:pt>
              </c:numCache>
            </c:numRef>
          </c:bubbleSize>
          <c:bubble3D val="0"/>
          <c:extLst>
            <c:ext xmlns:c15="http://schemas.microsoft.com/office/drawing/2012/chart" uri="{02D57815-91ED-43cb-92C2-25804820EDAC}">
              <c15:datalabelsRange>
                <c15:f>Sheet1!$E$2:$E$21</c15:f>
                <c15:dlblRangeCache>
                  <c:ptCount val="20"/>
                  <c:pt idx="0">
                    <c:v>MBY Original 12p</c:v>
                  </c:pt>
                  <c:pt idx="1">
                    <c:v>MBY Original 18p</c:v>
                  </c:pt>
                  <c:pt idx="2">
                    <c:v>MBY Original 6p</c:v>
                  </c:pt>
                  <c:pt idx="3">
                    <c:v>MBY Variety 12p</c:v>
                  </c:pt>
                  <c:pt idx="4">
                    <c:v>MBY Variety 18p</c:v>
                  </c:pt>
                  <c:pt idx="5">
                    <c:v>MBY Light 12p</c:v>
                  </c:pt>
                  <c:pt idx="6">
                    <c:v>MBY Light 6p</c:v>
                  </c:pt>
                  <c:pt idx="7">
                    <c:v>MBY Gouda 6p</c:v>
                  </c:pt>
                  <c:pt idx="8">
                    <c:v>MBY Swiss 6p</c:v>
                  </c:pt>
                  <c:pt idx="9">
                    <c:v>MBY Cheddar 6p</c:v>
                  </c:pt>
                  <c:pt idx="10">
                    <c:v>MBY Mini Roll</c:v>
                  </c:pt>
                  <c:pt idx="11">
                    <c:v>MBY 2Go</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4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A1009505-7946-494A-BD4B-A2A2E5E7A2E9}"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F8D93134-5590-49C3-ADE8-BAA8F58136A7}"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BE026440-0855-48AF-AF40-26F8DE47F9C2}"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00A8FAF4-DAC1-4DF5-A90C-ED003A076A1C}"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4CFF1BAC-9294-4041-B78D-7D9E8F70F7B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40AEF459-BE6D-43C4-8844-D6B778058256}"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C4946CD1-9CDB-421C-82C1-655BDC272680}"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ECD1061D-DAD5-45E5-90A6-E5898E23A55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F5461AD0-6666-4466-9BC4-FE94F2E19ACF}"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9EAC7679-370E-4303-BB2A-5AAF8EE6EFF8}"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1</c:f>
              <c:numCache>
                <c:formatCode>General</c:formatCode>
                <c:ptCount val="10"/>
                <c:pt idx="0">
                  <c:v>0.85</c:v>
                </c:pt>
                <c:pt idx="1">
                  <c:v>0.52</c:v>
                </c:pt>
                <c:pt idx="2">
                  <c:v>0.44</c:v>
                </c:pt>
                <c:pt idx="3">
                  <c:v>0.31</c:v>
                </c:pt>
                <c:pt idx="4">
                  <c:v>0.92</c:v>
                </c:pt>
                <c:pt idx="5">
                  <c:v>0.5</c:v>
                </c:pt>
                <c:pt idx="6">
                  <c:v>0.59</c:v>
                </c:pt>
                <c:pt idx="7">
                  <c:v>0.9</c:v>
                </c:pt>
                <c:pt idx="8">
                  <c:v>0.68</c:v>
                </c:pt>
                <c:pt idx="9">
                  <c:v>0.38</c:v>
                </c:pt>
              </c:numCache>
            </c:numRef>
          </c:xVal>
          <c:yVal>
            <c:numRef>
              <c:f>Sheet1!$B$2:$B$11</c:f>
              <c:numCache>
                <c:formatCode>General</c:formatCode>
                <c:ptCount val="10"/>
                <c:pt idx="0">
                  <c:v>6595.729411764706</c:v>
                </c:pt>
                <c:pt idx="1">
                  <c:v>5199.807692307692</c:v>
                </c:pt>
                <c:pt idx="2">
                  <c:v>1130.9545454545455</c:v>
                </c:pt>
                <c:pt idx="3">
                  <c:v>1752.774193548387</c:v>
                </c:pt>
                <c:pt idx="4">
                  <c:v>4358.739130434783</c:v>
                </c:pt>
                <c:pt idx="5">
                  <c:v>423.2</c:v>
                </c:pt>
                <c:pt idx="6">
                  <c:v>593.8813559322034</c:v>
                </c:pt>
                <c:pt idx="7">
                  <c:v>3563.9444444444443</c:v>
                </c:pt>
                <c:pt idx="8">
                  <c:v>3449.8529411764707</c:v>
                </c:pt>
                <c:pt idx="9">
                  <c:v>829.6315789473684</c:v>
                </c:pt>
              </c:numCache>
            </c:numRef>
          </c:yVal>
          <c:bubbleSize>
            <c:numRef>
              <c:f>Sheet1!$C$2:$C$11</c:f>
              <c:numCache>
                <c:formatCode>General</c:formatCode>
                <c:ptCount val="10"/>
                <c:pt idx="0">
                  <c:v>345514.6986</c:v>
                </c:pt>
                <c:pt idx="1">
                  <c:v>156333.39620000002</c:v>
                </c:pt>
                <c:pt idx="2">
                  <c:v>23568.027800000003</c:v>
                </c:pt>
                <c:pt idx="3">
                  <c:v>24710.5134</c:v>
                </c:pt>
                <c:pt idx="4">
                  <c:v>233765.80310000002</c:v>
                </c:pt>
                <c:pt idx="5">
                  <c:v>10215.879399999998</c:v>
                </c:pt>
                <c:pt idx="6">
                  <c:v>23873.965799999998</c:v>
                </c:pt>
                <c:pt idx="7">
                  <c:v>183192.46180000002</c:v>
                </c:pt>
                <c:pt idx="8">
                  <c:v>134155.1481</c:v>
                </c:pt>
                <c:pt idx="9">
                  <c:v>14691.8452</c:v>
                </c:pt>
              </c:numCache>
            </c:numRef>
          </c:bubbleSize>
          <c:bubble3D val="0"/>
          <c:extLst>
            <c:ext xmlns:c15="http://schemas.microsoft.com/office/drawing/2012/chart" uri="{02D57815-91ED-43cb-92C2-25804820EDAC}">
              <c15:datalabelsRange>
                <c15:f>Sheet1!$E$2:$E$21</c15:f>
                <c15:dlblRangeCache>
                  <c:ptCount val="20"/>
                  <c:pt idx="0">
                    <c:v>MBY Original 12p</c:v>
                  </c:pt>
                  <c:pt idx="1">
                    <c:v>MBY Original 18p</c:v>
                  </c:pt>
                  <c:pt idx="2">
                    <c:v>MBY Original 6p</c:v>
                  </c:pt>
                  <c:pt idx="3">
                    <c:v>MBY Variety 12p</c:v>
                  </c:pt>
                  <c:pt idx="4">
                    <c:v>MBY Variety 18p</c:v>
                  </c:pt>
                  <c:pt idx="5">
                    <c:v>MBY Light 12p</c:v>
                  </c:pt>
                  <c:pt idx="6">
                    <c:v>MBY Light 6p</c:v>
                  </c:pt>
                  <c:pt idx="7">
                    <c:v>MBY Gouda 6p</c:v>
                  </c:pt>
                  <c:pt idx="8">
                    <c:v>MBY Swiss 6p</c:v>
                  </c:pt>
                  <c:pt idx="9">
                    <c:v>MBY Cheddar 6p</c:v>
                  </c:pt>
                  <c:pt idx="10">
                    <c:v>MBY Mini Roll</c:v>
                  </c:pt>
                  <c:pt idx="11">
                    <c:v>MBY 2Go</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4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3339D931-142D-4FA6-AF12-14570F9DE2B7}"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D3B3B99F-0FD4-41CF-8346-C22D5EFAC5D2}"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DCBA3FC5-4687-47B9-9170-06D32B6FFB8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EA84AE85-DD6D-4E0D-AA49-5479D5FF4D0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B583F528-A795-4DA4-B806-96C604C2F3B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536E175F-FD9B-47DC-84DA-86C8A1FDC772}"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8180BA56-BA76-49F7-AE36-7450725EAB9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B23EBD4B-792B-46B7-91AD-3E1B39A10978}"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B2496D9C-BABA-43CB-B2D4-103F39C39C29}"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25F94357-6D69-472C-BAA9-0FA73A44848C}"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8</c:f>
              <c:numCache>
                <c:formatCode>General</c:formatCode>
                <c:ptCount val="7"/>
                <c:pt idx="0">
                  <c:v>0.33</c:v>
                </c:pt>
                <c:pt idx="1">
                  <c:v>0.5</c:v>
                </c:pt>
                <c:pt idx="2">
                  <c:v>0.98</c:v>
                </c:pt>
                <c:pt idx="3">
                  <c:v>0.68</c:v>
                </c:pt>
                <c:pt idx="4">
                  <c:v>0.68</c:v>
                </c:pt>
                <c:pt idx="5">
                  <c:v>0.82</c:v>
                </c:pt>
                <c:pt idx="6">
                  <c:v>0.42</c:v>
                </c:pt>
              </c:numCache>
            </c:numRef>
          </c:xVal>
          <c:yVal>
            <c:numRef>
              <c:f>Sheet1!$B$2:$B$8</c:f>
              <c:numCache>
                <c:formatCode>General</c:formatCode>
                <c:ptCount val="7"/>
                <c:pt idx="0">
                  <c:v>985.5151515151515</c:v>
                </c:pt>
                <c:pt idx="1">
                  <c:v>1845.32</c:v>
                </c:pt>
                <c:pt idx="2">
                  <c:v>8872.061224489797</c:v>
                </c:pt>
                <c:pt idx="3">
                  <c:v>7117.838235294118</c:v>
                </c:pt>
                <c:pt idx="4">
                  <c:v>8935.823529411764</c:v>
                </c:pt>
                <c:pt idx="5">
                  <c:v>2128.3658536585367</c:v>
                </c:pt>
                <c:pt idx="6">
                  <c:v>1563.2619047619048</c:v>
                </c:pt>
              </c:numCache>
            </c:numRef>
          </c:yVal>
          <c:bubbleSize>
            <c:numRef>
              <c:f>Sheet1!$C$2:$C$8</c:f>
              <c:numCache>
                <c:formatCode>General</c:formatCode>
                <c:ptCount val="7"/>
                <c:pt idx="0">
                  <c:v>13276.983199999999</c:v>
                </c:pt>
                <c:pt idx="1">
                  <c:v>45377.7415</c:v>
                </c:pt>
                <c:pt idx="2">
                  <c:v>490201.80620000005</c:v>
                </c:pt>
                <c:pt idx="3">
                  <c:v>276688.60000000003</c:v>
                </c:pt>
                <c:pt idx="4">
                  <c:v>360405.01259999996</c:v>
                </c:pt>
                <c:pt idx="5">
                  <c:v>88865.2362</c:v>
                </c:pt>
                <c:pt idx="6">
                  <c:v>29532.624399999997</c:v>
                </c:pt>
              </c:numCache>
            </c:numRef>
          </c:bubbleSize>
          <c:bubble3D val="0"/>
          <c:extLst>
            <c:ext xmlns:c15="http://schemas.microsoft.com/office/drawing/2012/chart" uri="{02D57815-91ED-43cb-92C2-25804820EDAC}">
              <c15:datalabelsRange>
                <c15:f>Sheet1!$E$2:$E$21</c15:f>
                <c15:dlblRangeCache>
                  <c:ptCount val="20"/>
                  <c:pt idx="0">
                    <c:v>MBY Original 12p</c:v>
                  </c:pt>
                  <c:pt idx="1">
                    <c:v>MBY Original 18p</c:v>
                  </c:pt>
                  <c:pt idx="2">
                    <c:v>MBY Original 6p</c:v>
                  </c:pt>
                  <c:pt idx="3">
                    <c:v>MBY Variety 12p</c:v>
                  </c:pt>
                  <c:pt idx="4">
                    <c:v>MBY Variety 18p</c:v>
                  </c:pt>
                  <c:pt idx="5">
                    <c:v>MBY Light 12p</c:v>
                  </c:pt>
                  <c:pt idx="6">
                    <c:v>MBY Light 6p</c:v>
                  </c:pt>
                  <c:pt idx="7">
                    <c:v>MBY Gouda 6p</c:v>
                  </c:pt>
                  <c:pt idx="8">
                    <c:v>MBY Swiss 6p</c:v>
                  </c:pt>
                  <c:pt idx="9">
                    <c:v>MBY Cheddar 6p</c:v>
                  </c:pt>
                  <c:pt idx="10">
                    <c:v>MBY Mini Roll</c:v>
                  </c:pt>
                  <c:pt idx="11">
                    <c:v>MBY 2Go</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St Moret</c:v>
                </c:pt>
                <c:pt idx="1">
                  <c:v>Private Label</c:v>
                </c:pt>
                <c:pt idx="2">
                  <c:v>Paysan Breton</c:v>
                </c:pt>
                <c:pt idx="3">
                  <c:v>Tartare</c:v>
                </c:pt>
                <c:pt idx="4">
                  <c:v>Boursin</c:v>
                </c:pt>
                <c:pt idx="5">
                  <c:v>Carre Frais</c:v>
                </c:pt>
                <c:pt idx="6">
                  <c:v>Philadelphia</c:v>
                </c:pt>
                <c:pt idx="7">
                  <c:v>Kiri</c:v>
                </c:pt>
                <c:pt idx="8">
                  <c:v>La Vache Qui Rit</c:v>
                </c:pt>
                <c:pt idx="9">
                  <c:v>Others</c:v>
                </c:pt>
              </c:strCache>
            </c:strRef>
          </c:cat>
          <c:val>
            <c:numRef>
              <c:f>Sheet1!$B$2:$B$11</c:f>
              <c:numCache>
                <c:formatCode>General</c:formatCode>
                <c:ptCount val="10"/>
                <c:pt idx="0">
                  <c:v>0.2766061510200017</c:v>
                </c:pt>
                <c:pt idx="1">
                  <c:v>0.15056168571074607</c:v>
                </c:pt>
                <c:pt idx="2">
                  <c:v>0.14375417471826138</c:v>
                </c:pt>
                <c:pt idx="3">
                  <c:v>0.11209664084929233</c:v>
                </c:pt>
                <c:pt idx="4">
                  <c:v>0.10908758680096771</c:v>
                </c:pt>
                <c:pt idx="5">
                  <c:v>0.07259207745864575</c:v>
                </c:pt>
                <c:pt idx="6">
                  <c:v>0.07255244067136461</c:v>
                </c:pt>
                <c:pt idx="7">
                  <c:v>0.014145454410613437</c:v>
                </c:pt>
                <c:pt idx="8">
                  <c:v>7.148203296867518e-07</c:v>
                </c:pt>
                <c:pt idx="9">
                  <c:v>0.04860307353977732</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St Moret</c:v>
                </c:pt>
                <c:pt idx="1">
                  <c:v>Private Label</c:v>
                </c:pt>
                <c:pt idx="2">
                  <c:v>Paysan Breton</c:v>
                </c:pt>
                <c:pt idx="3">
                  <c:v>Tartare</c:v>
                </c:pt>
                <c:pt idx="4">
                  <c:v>Boursin</c:v>
                </c:pt>
                <c:pt idx="5">
                  <c:v>Carre Frais</c:v>
                </c:pt>
                <c:pt idx="6">
                  <c:v>Philadelphia</c:v>
                </c:pt>
                <c:pt idx="7">
                  <c:v>Kiri</c:v>
                </c:pt>
                <c:pt idx="8">
                  <c:v>La Vache Qui Rit</c:v>
                </c:pt>
                <c:pt idx="9">
                  <c:v>Others</c:v>
                </c:pt>
              </c:strCache>
            </c:strRef>
          </c:cat>
          <c:val>
            <c:numRef>
              <c:f>Sheet1!$C$2:$C$11</c:f>
              <c:numCache>
                <c:formatCode>General</c:formatCode>
                <c:ptCount val="10"/>
                <c:pt idx="0">
                  <c:v>0.19302087215803207</c:v>
                </c:pt>
                <c:pt idx="1">
                  <c:v>0.10959435954776993</c:v>
                </c:pt>
                <c:pt idx="2">
                  <c:v>0.11372530749161389</c:v>
                </c:pt>
                <c:pt idx="3">
                  <c:v>0.11179960243508509</c:v>
                </c:pt>
                <c:pt idx="4">
                  <c:v>0.1480152814014163</c:v>
                </c:pt>
                <c:pt idx="5">
                  <c:v>0.038436451733134556</c:v>
                </c:pt>
                <c:pt idx="6">
                  <c:v>0.06364144614237793</c:v>
                </c:pt>
                <c:pt idx="7">
                  <c:v>0.032705926202012674</c:v>
                </c:pt>
                <c:pt idx="8">
                  <c:v>0.0</c:v>
                </c:pt>
                <c:pt idx="9">
                  <c:v>0.1890607528885576</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St Moret</c:v>
                </c:pt>
                <c:pt idx="1">
                  <c:v>Private Label</c:v>
                </c:pt>
                <c:pt idx="2">
                  <c:v>Paysan Breton</c:v>
                </c:pt>
                <c:pt idx="3">
                  <c:v>Tartare</c:v>
                </c:pt>
                <c:pt idx="4">
                  <c:v>Boursin</c:v>
                </c:pt>
                <c:pt idx="5">
                  <c:v>Carre Frais</c:v>
                </c:pt>
                <c:pt idx="6">
                  <c:v>Philadelphia</c:v>
                </c:pt>
                <c:pt idx="7">
                  <c:v>Kiri</c:v>
                </c:pt>
                <c:pt idx="8">
                  <c:v>La Vache Qui Rit</c:v>
                </c:pt>
                <c:pt idx="9">
                  <c:v>Others</c:v>
                </c:pt>
              </c:strCache>
            </c:strRef>
          </c:cat>
          <c:val>
            <c:numRef>
              <c:f>Sheet1!$D$2:$D$11</c:f>
              <c:numCache>
                <c:formatCode>General</c:formatCode>
                <c:ptCount val="10"/>
                <c:pt idx="0">
                  <c:v>69.78184376820836</c:v>
                </c:pt>
                <c:pt idx="1">
                  <c:v>72.79033774789082</c:v>
                </c:pt>
                <c:pt idx="2">
                  <c:v>79.1109598830782</c:v>
                </c:pt>
                <c:pt idx="3">
                  <c:v>99.73501577571214</c:v>
                </c:pt>
                <c:pt idx="4">
                  <c:v>135.6848068070961</c:v>
                </c:pt>
                <c:pt idx="5">
                  <c:v>52.948549041086515</c:v>
                </c:pt>
                <c:pt idx="6">
                  <c:v>87.717856978306</c:v>
                </c:pt>
                <c:pt idx="7">
                  <c:v>231.21156275809125</c:v>
                </c:pt>
                <c:pt idx="8">
                  <c:v>1.0</c:v>
                </c:pt>
                <c:pt idx="9">
                  <c:v>388.98929454292244</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E9EC2C8D-B3DD-4403-835F-5D596A304EA7}"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BF2DD1CA-9C34-4CFA-B496-C278680FD7C6}"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CB77954E-7B2E-4EDC-83E4-148D42B3D6CD}"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7DE4EA1E-5779-4A6F-830C-FE29702F344F}"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65E83CEF-9FF4-4177-A0ED-9CF22E399DD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70394DEA-BC53-434C-B758-45496CD4BBB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EAD092F9-7A00-41FC-80A7-5E30F05CBED0}"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FE06248F-3534-4479-81BB-23A7C621735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631BD411-11FC-42CD-A81E-E471DA051619}"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F18A8DE7-C439-4581-8E2A-7B0CEB1C1D7B}"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25</c:f>
              <c:numCache>
                <c:formatCode>General</c:formatCode>
                <c:ptCount val="24"/>
                <c:pt idx="0">
                  <c:v>0.9</c:v>
                </c:pt>
                <c:pt idx="1">
                  <c:v>0.73</c:v>
                </c:pt>
                <c:pt idx="2">
                  <c:v>0.98</c:v>
                </c:pt>
                <c:pt idx="3">
                  <c:v>0.83</c:v>
                </c:pt>
                <c:pt idx="4">
                  <c:v>0.89</c:v>
                </c:pt>
                <c:pt idx="5">
                  <c:v>0.33</c:v>
                </c:pt>
                <c:pt idx="6">
                  <c:v>0.85</c:v>
                </c:pt>
                <c:pt idx="7">
                  <c:v>0.57</c:v>
                </c:pt>
                <c:pt idx="8">
                  <c:v>0.56</c:v>
                </c:pt>
                <c:pt idx="9">
                  <c:v>0.18</c:v>
                </c:pt>
                <c:pt idx="10">
                  <c:v>0.12</c:v>
                </c:pt>
                <c:pt idx="11">
                  <c:v>0.74</c:v>
                </c:pt>
                <c:pt idx="12">
                  <c:v>0.89</c:v>
                </c:pt>
                <c:pt idx="13">
                  <c:v>0.64</c:v>
                </c:pt>
                <c:pt idx="14">
                  <c:v>0.81</c:v>
                </c:pt>
                <c:pt idx="15">
                  <c:v>0.46</c:v>
                </c:pt>
                <c:pt idx="16">
                  <c:v>0.75</c:v>
                </c:pt>
                <c:pt idx="17">
                  <c:v>0.85</c:v>
                </c:pt>
                <c:pt idx="18">
                  <c:v>0.47</c:v>
                </c:pt>
                <c:pt idx="19">
                  <c:v>0.41</c:v>
                </c:pt>
                <c:pt idx="20">
                  <c:v>0.43</c:v>
                </c:pt>
                <c:pt idx="21">
                  <c:v>0.28</c:v>
                </c:pt>
                <c:pt idx="22">
                  <c:v>0.14</c:v>
                </c:pt>
                <c:pt idx="23">
                  <c:v>0.17</c:v>
                </c:pt>
              </c:numCache>
            </c:numRef>
          </c:xVal>
          <c:yVal>
            <c:numRef>
              <c:f>Sheet1!$B$2:$B$25</c:f>
              <c:numCache>
                <c:formatCode>General</c:formatCode>
                <c:ptCount val="24"/>
                <c:pt idx="0">
                  <c:v>3907.088888888889</c:v>
                </c:pt>
                <c:pt idx="1">
                  <c:v>1571.2876712328766</c:v>
                </c:pt>
                <c:pt idx="2">
                  <c:v>3670.6632653061224</c:v>
                </c:pt>
                <c:pt idx="3">
                  <c:v>1491.433734939759</c:v>
                </c:pt>
                <c:pt idx="4">
                  <c:v>1809.314606741573</c:v>
                </c:pt>
                <c:pt idx="5">
                  <c:v>126.06060606060606</c:v>
                </c:pt>
                <c:pt idx="6">
                  <c:v>2936.211764705882</c:v>
                </c:pt>
                <c:pt idx="7">
                  <c:v>840.0877192982457</c:v>
                </c:pt>
                <c:pt idx="8">
                  <c:v>1739.3392857142856</c:v>
                </c:pt>
                <c:pt idx="9">
                  <c:v>144.11111111111111</c:v>
                </c:pt>
                <c:pt idx="10">
                  <c:v>734.4166666666666</c:v>
                </c:pt>
                <c:pt idx="11">
                  <c:v>1990.4594594594594</c:v>
                </c:pt>
                <c:pt idx="12">
                  <c:v>2690.9662921348313</c:v>
                </c:pt>
                <c:pt idx="13">
                  <c:v>806.3125</c:v>
                </c:pt>
                <c:pt idx="14">
                  <c:v>2365.864197530864</c:v>
                </c:pt>
                <c:pt idx="15">
                  <c:v>756.1086956521739</c:v>
                </c:pt>
                <c:pt idx="16">
                  <c:v>1149.7733333333333</c:v>
                </c:pt>
                <c:pt idx="17">
                  <c:v>1532.3294117647058</c:v>
                </c:pt>
                <c:pt idx="18">
                  <c:v>292.74468085106383</c:v>
                </c:pt>
                <c:pt idx="19">
                  <c:v>130.70731707317074</c:v>
                </c:pt>
                <c:pt idx="20">
                  <c:v>428.27906976744185</c:v>
                </c:pt>
                <c:pt idx="21">
                  <c:v>268.07142857142856</c:v>
                </c:pt>
                <c:pt idx="22">
                  <c:v>215.78571428571425</c:v>
                </c:pt>
                <c:pt idx="23">
                  <c:v>142.2941176470588</c:v>
                </c:pt>
              </c:numCache>
            </c:numRef>
          </c:yVal>
          <c:bubbleSize>
            <c:numRef>
              <c:f>Sheet1!$C$2:$C$25</c:f>
              <c:numCache>
                <c:formatCode>General</c:formatCode>
                <c:ptCount val="24"/>
                <c:pt idx="0">
                  <c:v>204011.4707</c:v>
                </c:pt>
                <c:pt idx="1">
                  <c:v>61635.58510000001</c:v>
                </c:pt>
                <c:pt idx="2">
                  <c:v>205291.0542</c:v>
                </c:pt>
                <c:pt idx="3">
                  <c:v>61319.443999999996</c:v>
                </c:pt>
                <c:pt idx="4">
                  <c:v>83208.5663</c:v>
                </c:pt>
                <c:pt idx="5">
                  <c:v>1546.954</c:v>
                </c:pt>
                <c:pt idx="6">
                  <c:v>132542.7621</c:v>
                </c:pt>
                <c:pt idx="7">
                  <c:v>25887.4668</c:v>
                </c:pt>
                <c:pt idx="8">
                  <c:v>50244.0439</c:v>
                </c:pt>
                <c:pt idx="9">
                  <c:v>1824.9044000000001</c:v>
                </c:pt>
                <c:pt idx="10">
                  <c:v>4441.479</c:v>
                </c:pt>
                <c:pt idx="11">
                  <c:v>78143.92979999998</c:v>
                </c:pt>
                <c:pt idx="12">
                  <c:v>134266.816</c:v>
                </c:pt>
                <c:pt idx="13">
                  <c:v>28617.798000000003</c:v>
                </c:pt>
                <c:pt idx="14">
                  <c:v>87648.74079999999</c:v>
                </c:pt>
                <c:pt idx="15">
                  <c:v>17106.4579</c:v>
                </c:pt>
                <c:pt idx="16">
                  <c:v>45811.4927</c:v>
                </c:pt>
                <c:pt idx="17">
                  <c:v>65663.78859999999</c:v>
                </c:pt>
                <c:pt idx="18">
                  <c:v>7539.2294</c:v>
                </c:pt>
                <c:pt idx="19">
                  <c:v>3108.8709</c:v>
                </c:pt>
                <c:pt idx="20">
                  <c:v>9448.2915</c:v>
                </c:pt>
                <c:pt idx="21">
                  <c:v>3470.5856</c:v>
                </c:pt>
                <c:pt idx="22">
                  <c:v>1524.0654000000002</c:v>
                </c:pt>
                <c:pt idx="23">
                  <c:v>1725.7632</c:v>
                </c:pt>
              </c:numCache>
            </c:numRef>
          </c:bubbleSize>
          <c:bubble3D val="0"/>
          <c:extLst>
            <c:ext xmlns:c15="http://schemas.microsoft.com/office/drawing/2012/chart" uri="{02D57815-91ED-43cb-92C2-25804820EDAC}">
              <c15:datalabelsRange>
                <c15:f>Sheet1!$E$2:$E$21</c15:f>
                <c15:dlblRangeCache>
                  <c:ptCount val="20"/>
                  <c:pt idx="0">
                    <c:v>MBY Original 12p</c:v>
                  </c:pt>
                  <c:pt idx="1">
                    <c:v>MBY Original 18p</c:v>
                  </c:pt>
                  <c:pt idx="2">
                    <c:v>MBY Original 6p</c:v>
                  </c:pt>
                  <c:pt idx="3">
                    <c:v>MBY Variety 12p</c:v>
                  </c:pt>
                  <c:pt idx="4">
                    <c:v>MBY Variety 18p</c:v>
                  </c:pt>
                  <c:pt idx="5">
                    <c:v>MBY Light 12p</c:v>
                  </c:pt>
                  <c:pt idx="6">
                    <c:v>MBY Light 6p</c:v>
                  </c:pt>
                  <c:pt idx="7">
                    <c:v>MBY Gouda 6p</c:v>
                  </c:pt>
                  <c:pt idx="8">
                    <c:v>MBY Swiss 6p</c:v>
                  </c:pt>
                  <c:pt idx="9">
                    <c:v>MBY Cheddar 6p</c:v>
                  </c:pt>
                  <c:pt idx="10">
                    <c:v>MBY Mini Roll</c:v>
                  </c:pt>
                  <c:pt idx="11">
                    <c:v>MBY 2Go</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4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044D526D-E8CB-464B-8251-D6BF96ECDF79}"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9AB102B2-A639-4453-8C99-B448853DC61C}"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75C54BE6-8706-4277-BB51-7B35C5823EC0}"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C2797DC5-962D-4633-A341-B5CC72BBBAA0}"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F4B19E8F-72A8-4761-9B65-E77C4C3B15B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A1125AED-0073-498B-A205-1D5BCFE99520}"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4E126DE4-2B78-4FF6-8E2A-FFC6A5C57DA4}"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30342ED2-71DD-4628-A5CD-89382E08AE47}"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9B43AB94-B2BF-4571-85EE-54EC32799BB4}"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93061718-BC49-482A-8F64-19C4F28F73DA}"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1</c:f>
              <c:numCache>
                <c:formatCode>General</c:formatCode>
                <c:ptCount val="10"/>
                <c:pt idx="0">
                  <c:v>0.834</c:v>
                </c:pt>
                <c:pt idx="1">
                  <c:v>0.778</c:v>
                </c:pt>
                <c:pt idx="2">
                  <c:v>0.774</c:v>
                </c:pt>
                <c:pt idx="3">
                  <c:v>0.643</c:v>
                </c:pt>
                <c:pt idx="4">
                  <c:v>0.502</c:v>
                </c:pt>
                <c:pt idx="5">
                  <c:v>0.99</c:v>
                </c:pt>
                <c:pt idx="6">
                  <c:v>0.689</c:v>
                </c:pt>
                <c:pt idx="7">
                  <c:v>0.716</c:v>
                </c:pt>
                <c:pt idx="8">
                  <c:v>0.949</c:v>
                </c:pt>
                <c:pt idx="9">
                  <c:v>0.732</c:v>
                </c:pt>
              </c:numCache>
            </c:numRef>
          </c:xVal>
          <c:yVal>
            <c:numRef>
              <c:f>Sheet1!$B$2:$B$11</c:f>
              <c:numCache>
                <c:formatCode>General</c:formatCode>
                <c:ptCount val="10"/>
                <c:pt idx="0">
                  <c:v>42862.6139088729</c:v>
                </c:pt>
                <c:pt idx="1">
                  <c:v>81394.7557840617</c:v>
                </c:pt>
                <c:pt idx="2">
                  <c:v>9290.78811369509</c:v>
                </c:pt>
                <c:pt idx="3">
                  <c:v>7421.524105754277</c:v>
                </c:pt>
                <c:pt idx="4">
                  <c:v>5967.609561752988</c:v>
                </c:pt>
                <c:pt idx="5">
                  <c:v>47708.9595959596</c:v>
                </c:pt>
                <c:pt idx="6">
                  <c:v>5613.860667634253</c:v>
                </c:pt>
                <c:pt idx="7">
                  <c:v>16379.706703910615</c:v>
                </c:pt>
                <c:pt idx="8">
                  <c:v>34465.81664910432</c:v>
                </c:pt>
                <c:pt idx="9">
                  <c:v>25172.049180327867</c:v>
                </c:pt>
              </c:numCache>
            </c:numRef>
          </c:yVal>
          <c:bubbleSize>
            <c:numRef>
              <c:f>Sheet1!$C$2:$C$11</c:f>
              <c:numCache>
                <c:formatCode>General</c:formatCode>
                <c:ptCount val="10"/>
                <c:pt idx="0">
                  <c:v>2351097.8074000003</c:v>
                </c:pt>
                <c:pt idx="1">
                  <c:v>3644081.5352000003</c:v>
                </c:pt>
                <c:pt idx="2">
                  <c:v>390625.92009999993</c:v>
                </c:pt>
                <c:pt idx="3">
                  <c:v>269870.29780000006</c:v>
                </c:pt>
                <c:pt idx="4">
                  <c:v>183500.86179999998</c:v>
                </c:pt>
                <c:pt idx="5">
                  <c:v>2879559.3756000004</c:v>
                </c:pt>
                <c:pt idx="6">
                  <c:v>223758.21680000002</c:v>
                </c:pt>
                <c:pt idx="7">
                  <c:v>819173.4306000001</c:v>
                </c:pt>
                <c:pt idx="8">
                  <c:v>1849651.3301000001</c:v>
                </c:pt>
                <c:pt idx="9">
                  <c:v>1147660.5851999999</c:v>
                </c:pt>
              </c:numCache>
            </c:numRef>
          </c:bubbleSize>
          <c:bubble3D val="0"/>
          <c:extLst>
            <c:ext xmlns:c15="http://schemas.microsoft.com/office/drawing/2012/chart" uri="{02D57815-91ED-43cb-92C2-25804820EDAC}">
              <c15:datalabelsRange>
                <c15:f>Sheet1!$E$2:$E$21</c15:f>
                <c15:dlblRangeCache>
                  <c:ptCount val="20"/>
                  <c:pt idx="0">
                    <c:v>MBY Original 12p</c:v>
                  </c:pt>
                  <c:pt idx="1">
                    <c:v>MBY Original 18p</c:v>
                  </c:pt>
                  <c:pt idx="2">
                    <c:v>MBY Original 6p</c:v>
                  </c:pt>
                  <c:pt idx="3">
                    <c:v>MBY Variety 12p</c:v>
                  </c:pt>
                  <c:pt idx="4">
                    <c:v>MBY Variety 18p</c:v>
                  </c:pt>
                  <c:pt idx="5">
                    <c:v>MBY Light 12p</c:v>
                  </c:pt>
                  <c:pt idx="6">
                    <c:v>MBY Light 6p</c:v>
                  </c:pt>
                  <c:pt idx="7">
                    <c:v>MBY Gouda 6p</c:v>
                  </c:pt>
                  <c:pt idx="8">
                    <c:v>MBY Swiss 6p</c:v>
                  </c:pt>
                  <c:pt idx="9">
                    <c:v>MBY Cheddar 6p</c:v>
                  </c:pt>
                  <c:pt idx="10">
                    <c:v>MBY Mini Roll</c:v>
                  </c:pt>
                  <c:pt idx="11">
                    <c:v>MBY 2Go</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4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7897550E-89F3-4472-9930-4EC26C1ACEEC}"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D2CDEA63-76B3-4EE0-AB1C-34157B26CDC2}"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3EB5F367-DA99-4DF3-BD84-DBFCFEF7FDF4}"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602D3AA3-673F-4B3C-99E4-D76CC5B1AD6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7293FC9B-8FB4-498E-B108-871F4BBD3D7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E88246EA-A124-4991-A3A4-D54680A093A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0F90B782-E8C7-46E2-A947-B8D18BB8783A}"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719FE280-820F-4547-9494-AE04DD748ACD}"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4D95FE37-CC40-428C-806B-10238A7BA174}"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9F4949F9-FAE8-4268-8C6D-154C385AEC6E}"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2</c:f>
              <c:numCache>
                <c:formatCode>General</c:formatCode>
                <c:ptCount val="11"/>
                <c:pt idx="0">
                  <c:v>0.037</c:v>
                </c:pt>
                <c:pt idx="1">
                  <c:v>0.495</c:v>
                </c:pt>
                <c:pt idx="2">
                  <c:v>0.694</c:v>
                </c:pt>
                <c:pt idx="3">
                  <c:v>0.981</c:v>
                </c:pt>
                <c:pt idx="4">
                  <c:v>0.898</c:v>
                </c:pt>
                <c:pt idx="5">
                  <c:v>0.827</c:v>
                </c:pt>
                <c:pt idx="6">
                  <c:v>0.725</c:v>
                </c:pt>
                <c:pt idx="7">
                  <c:v>0.008</c:v>
                </c:pt>
                <c:pt idx="8">
                  <c:v>0.482</c:v>
                </c:pt>
                <c:pt idx="9">
                  <c:v>0.908</c:v>
                </c:pt>
                <c:pt idx="10">
                  <c:v>0.434</c:v>
                </c:pt>
              </c:numCache>
            </c:numRef>
          </c:xVal>
          <c:yVal>
            <c:numRef>
              <c:f>Sheet1!$B$2:$B$12</c:f>
              <c:numCache>
                <c:formatCode>General</c:formatCode>
                <c:ptCount val="11"/>
                <c:pt idx="0">
                  <c:v>8120.540540540541</c:v>
                </c:pt>
                <c:pt idx="1">
                  <c:v>7373.959595959596</c:v>
                </c:pt>
                <c:pt idx="2">
                  <c:v>22077.017291066284</c:v>
                </c:pt>
                <c:pt idx="3">
                  <c:v>64775.47400611621</c:v>
                </c:pt>
                <c:pt idx="4">
                  <c:v>72823.24053452116</c:v>
                </c:pt>
                <c:pt idx="5">
                  <c:v>143117.46070133013</c:v>
                </c:pt>
                <c:pt idx="6">
                  <c:v>19364.593103448275</c:v>
                </c:pt>
                <c:pt idx="7">
                  <c:v>29388.75</c:v>
                </c:pt>
                <c:pt idx="8">
                  <c:v>3280.850622406639</c:v>
                </c:pt>
                <c:pt idx="9">
                  <c:v>19583.832599118945</c:v>
                </c:pt>
                <c:pt idx="10">
                  <c:v>10205.714285714286</c:v>
                </c:pt>
              </c:numCache>
            </c:numRef>
          </c:yVal>
          <c:bubbleSize>
            <c:numRef>
              <c:f>Sheet1!$C$2:$C$12</c:f>
              <c:numCache>
                <c:formatCode>General</c:formatCode>
                <c:ptCount val="11"/>
                <c:pt idx="0">
                  <c:v>16203.9444</c:v>
                </c:pt>
                <c:pt idx="1">
                  <c:v>217204.8676</c:v>
                </c:pt>
                <c:pt idx="2">
                  <c:v>849338.8158</c:v>
                </c:pt>
                <c:pt idx="3">
                  <c:v>3550892.7451999993</c:v>
                </c:pt>
                <c:pt idx="4">
                  <c:v>4097158.8504999992</c:v>
                </c:pt>
                <c:pt idx="5">
                  <c:v>7653909.827999999</c:v>
                </c:pt>
                <c:pt idx="6">
                  <c:v>992410.8776999998</c:v>
                </c:pt>
                <c:pt idx="7">
                  <c:v>9603.1772</c:v>
                </c:pt>
                <c:pt idx="8">
                  <c:v>77295.2128</c:v>
                </c:pt>
                <c:pt idx="9">
                  <c:v>1074141.922</c:v>
                </c:pt>
                <c:pt idx="10">
                  <c:v>277231.0708</c:v>
                </c:pt>
              </c:numCache>
            </c:numRef>
          </c:bubbleSize>
          <c:bubble3D val="0"/>
          <c:extLst>
            <c:ext xmlns:c15="http://schemas.microsoft.com/office/drawing/2012/chart" uri="{02D57815-91ED-43cb-92C2-25804820EDAC}">
              <c15:datalabelsRange>
                <c15:f>Sheet1!$E$2:$E$21</c15:f>
                <c15:dlblRangeCache>
                  <c:ptCount val="20"/>
                  <c:pt idx="0">
                    <c:v>MBY Original 12p</c:v>
                  </c:pt>
                  <c:pt idx="1">
                    <c:v>MBY Original 18p</c:v>
                  </c:pt>
                  <c:pt idx="2">
                    <c:v>MBY Original 6p</c:v>
                  </c:pt>
                  <c:pt idx="3">
                    <c:v>MBY Variety 12p</c:v>
                  </c:pt>
                  <c:pt idx="4">
                    <c:v>MBY Variety 18p</c:v>
                  </c:pt>
                  <c:pt idx="5">
                    <c:v>MBY Light 12p</c:v>
                  </c:pt>
                  <c:pt idx="6">
                    <c:v>MBY Light 6p</c:v>
                  </c:pt>
                  <c:pt idx="7">
                    <c:v>MBY Gouda 6p</c:v>
                  </c:pt>
                  <c:pt idx="8">
                    <c:v>MBY Swiss 6p</c:v>
                  </c:pt>
                  <c:pt idx="9">
                    <c:v>MBY Cheddar 6p</c:v>
                  </c:pt>
                  <c:pt idx="10">
                    <c:v>MBY Mini Roll</c:v>
                  </c:pt>
                  <c:pt idx="11">
                    <c:v>MBY 2Go</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4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A1B52A65-C95F-4D5E-B82B-DC80742DC156}"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C8A1C0F8-E11C-4D19-B67D-DF76E7ADB65F}"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CAA51E95-DA76-4EE2-8B51-5C7ED9A016F8}"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91A6C26E-68E6-4F9A-9D50-CD46BBB8A658}"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4A62D595-090C-46F8-B560-F63550AEE1B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41A781EC-A894-42BA-BF60-CC144923748E}"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B33091BF-F8A6-4412-82F8-CC76E34E39AB}"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2E221E7D-D3B2-414B-9959-39FD8E32DF87}"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DB600DBD-4D37-4276-9F54-3161441C33AD}"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9C2FDD29-83FD-4867-B3B5-BA1975AEB3FD}"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24</c:f>
              <c:numCache>
                <c:formatCode>General</c:formatCode>
                <c:ptCount val="23"/>
                <c:pt idx="0">
                  <c:v>0.915</c:v>
                </c:pt>
                <c:pt idx="1">
                  <c:v>0.528</c:v>
                </c:pt>
                <c:pt idx="2">
                  <c:v>0.968</c:v>
                </c:pt>
                <c:pt idx="3">
                  <c:v>0.793</c:v>
                </c:pt>
                <c:pt idx="4">
                  <c:v>0.694</c:v>
                </c:pt>
                <c:pt idx="5">
                  <c:v>0.511</c:v>
                </c:pt>
                <c:pt idx="6">
                  <c:v>0.537</c:v>
                </c:pt>
                <c:pt idx="7">
                  <c:v>0.379</c:v>
                </c:pt>
                <c:pt idx="8">
                  <c:v>0.447</c:v>
                </c:pt>
                <c:pt idx="9">
                  <c:v>0.821</c:v>
                </c:pt>
                <c:pt idx="10">
                  <c:v>0.817</c:v>
                </c:pt>
                <c:pt idx="11">
                  <c:v>0.265</c:v>
                </c:pt>
                <c:pt idx="12">
                  <c:v>0.774</c:v>
                </c:pt>
                <c:pt idx="13">
                  <c:v>0.281</c:v>
                </c:pt>
                <c:pt idx="14">
                  <c:v>0.075</c:v>
                </c:pt>
                <c:pt idx="15">
                  <c:v>0.324</c:v>
                </c:pt>
                <c:pt idx="16">
                  <c:v>0.402</c:v>
                </c:pt>
                <c:pt idx="17">
                  <c:v>0.962</c:v>
                </c:pt>
                <c:pt idx="18">
                  <c:v>0.801</c:v>
                </c:pt>
                <c:pt idx="19">
                  <c:v>0.738</c:v>
                </c:pt>
                <c:pt idx="20">
                  <c:v>0.817</c:v>
                </c:pt>
                <c:pt idx="21">
                  <c:v>0.707</c:v>
                </c:pt>
                <c:pt idx="22">
                  <c:v>0.698</c:v>
                </c:pt>
              </c:numCache>
            </c:numRef>
          </c:xVal>
          <c:yVal>
            <c:numRef>
              <c:f>Sheet1!$B$2:$B$24</c:f>
              <c:numCache>
                <c:formatCode>General</c:formatCode>
                <c:ptCount val="23"/>
                <c:pt idx="0">
                  <c:v>36210.3825136612</c:v>
                </c:pt>
                <c:pt idx="1">
                  <c:v>912.4431818181818</c:v>
                </c:pt>
                <c:pt idx="2">
                  <c:v>35111.05371900827</c:v>
                </c:pt>
                <c:pt idx="3">
                  <c:v>8691.462799495586</c:v>
                </c:pt>
                <c:pt idx="4">
                  <c:v>6379.6974063400585</c:v>
                </c:pt>
                <c:pt idx="5">
                  <c:v>956.9080234833659</c:v>
                </c:pt>
                <c:pt idx="6">
                  <c:v>1782.2718808193667</c:v>
                </c:pt>
                <c:pt idx="7">
                  <c:v>1204.4591029023748</c:v>
                </c:pt>
                <c:pt idx="8">
                  <c:v>3167.51677852349</c:v>
                </c:pt>
                <c:pt idx="9">
                  <c:v>11865.90742996346</c:v>
                </c:pt>
                <c:pt idx="10">
                  <c:v>25830.86903304774</c:v>
                </c:pt>
                <c:pt idx="11">
                  <c:v>4761.811320754717</c:v>
                </c:pt>
                <c:pt idx="12">
                  <c:v>7665.387596899224</c:v>
                </c:pt>
                <c:pt idx="13">
                  <c:v>2258.3985765124553</c:v>
                </c:pt>
                <c:pt idx="14">
                  <c:v>1840.8</c:v>
                </c:pt>
                <c:pt idx="15">
                  <c:v>502.5925925925926</c:v>
                </c:pt>
                <c:pt idx="16">
                  <c:v>2165.547263681592</c:v>
                </c:pt>
                <c:pt idx="17">
                  <c:v>20726.22661122661</c:v>
                </c:pt>
                <c:pt idx="18">
                  <c:v>4221.722846441947</c:v>
                </c:pt>
                <c:pt idx="19">
                  <c:v>1752.3170731707319</c:v>
                </c:pt>
                <c:pt idx="20">
                  <c:v>5431.676866585068</c:v>
                </c:pt>
                <c:pt idx="21">
                  <c:v>2424.059405940594</c:v>
                </c:pt>
                <c:pt idx="22">
                  <c:v>1723.9541547277938</c:v>
                </c:pt>
              </c:numCache>
            </c:numRef>
          </c:yVal>
          <c:bubbleSize>
            <c:numRef>
              <c:f>Sheet1!$C$2:$C$24</c:f>
              <c:numCache>
                <c:formatCode>General</c:formatCode>
                <c:ptCount val="23"/>
                <c:pt idx="0">
                  <c:v>2032641.614</c:v>
                </c:pt>
                <c:pt idx="1">
                  <c:v>31672.401400000002</c:v>
                </c:pt>
                <c:pt idx="2">
                  <c:v>2108282.3343999996</c:v>
                </c:pt>
                <c:pt idx="3">
                  <c:v>429447.70180000004</c:v>
                </c:pt>
                <c:pt idx="4">
                  <c:v>272937.85020000004</c:v>
                </c:pt>
                <c:pt idx="5">
                  <c:v>28764.763499999994</c:v>
                </c:pt>
                <c:pt idx="6">
                  <c:v>39845.55759999999</c:v>
                </c:pt>
                <c:pt idx="7">
                  <c:v>22443.9804</c:v>
                </c:pt>
                <c:pt idx="8">
                  <c:v>92124.07410000001</c:v>
                </c:pt>
                <c:pt idx="9">
                  <c:v>594060.8762999999</c:v>
                </c:pt>
                <c:pt idx="10">
                  <c:v>1311822.8504</c:v>
                </c:pt>
                <c:pt idx="11">
                  <c:v>89686.7917</c:v>
                </c:pt>
                <c:pt idx="12">
                  <c:v>343315.12559999997</c:v>
                </c:pt>
                <c:pt idx="13">
                  <c:v>29273.478900000002</c:v>
                </c:pt>
                <c:pt idx="14">
                  <c:v>7381.949</c:v>
                </c:pt>
                <c:pt idx="15">
                  <c:v>7339.8537</c:v>
                </c:pt>
                <c:pt idx="16">
                  <c:v>47748.37920000001</c:v>
                </c:pt>
                <c:pt idx="17">
                  <c:v>1138834.3723</c:v>
                </c:pt>
                <c:pt idx="18">
                  <c:v>161142.32499999995</c:v>
                </c:pt>
                <c:pt idx="19">
                  <c:v>55191.65740000001</c:v>
                </c:pt>
                <c:pt idx="20">
                  <c:v>238681.35979999995</c:v>
                </c:pt>
                <c:pt idx="21">
                  <c:v>94390.67159999999</c:v>
                </c:pt>
                <c:pt idx="22">
                  <c:v>69122.323</c:v>
                </c:pt>
              </c:numCache>
            </c:numRef>
          </c:bubbleSize>
          <c:bubble3D val="0"/>
          <c:extLst>
            <c:ext xmlns:c15="http://schemas.microsoft.com/office/drawing/2012/chart" uri="{02D57815-91ED-43cb-92C2-25804820EDAC}">
              <c15:datalabelsRange>
                <c15:f>Sheet1!$E$2:$E$21</c15:f>
                <c15:dlblRangeCache>
                  <c:ptCount val="20"/>
                  <c:pt idx="0">
                    <c:v>MBY Original 12p</c:v>
                  </c:pt>
                  <c:pt idx="1">
                    <c:v>MBY Original 18p</c:v>
                  </c:pt>
                  <c:pt idx="2">
                    <c:v>MBY Original 6p</c:v>
                  </c:pt>
                  <c:pt idx="3">
                    <c:v>MBY Variety 12p</c:v>
                  </c:pt>
                  <c:pt idx="4">
                    <c:v>MBY Variety 18p</c:v>
                  </c:pt>
                  <c:pt idx="5">
                    <c:v>MBY Light 12p</c:v>
                  </c:pt>
                  <c:pt idx="6">
                    <c:v>MBY Light 6p</c:v>
                  </c:pt>
                  <c:pt idx="7">
                    <c:v>MBY Gouda 6p</c:v>
                  </c:pt>
                  <c:pt idx="8">
                    <c:v>MBY Swiss 6p</c:v>
                  </c:pt>
                  <c:pt idx="9">
                    <c:v>MBY Cheddar 6p</c:v>
                  </c:pt>
                  <c:pt idx="10">
                    <c:v>MBY Mini Roll</c:v>
                  </c:pt>
                  <c:pt idx="11">
                    <c:v>MBY 2Go</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4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E9A84B19-5731-438B-9194-53F7A8AAF348}"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26EC0A84-64D0-45C4-B3F1-743F1A6A10C0}"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8AEBC78E-D365-48E2-B8FB-F817A231741B}"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B53D94AE-D97A-40AC-89EC-569A5E99E9CA}"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6C3A0BF8-B37F-47D7-B7E3-588C8FB8AC5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B50D3364-EC37-43B2-88FA-FBF13D2C515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D5209783-0873-4929-9479-CC567A374390}"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2B901B11-6131-4269-B76B-675DB1C85E26}"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CA7671F2-DF88-405F-866A-456D02DCC9F4}"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B4A50BB4-FA80-40E7-967E-7CC4CB79F8C0}"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2</c:f>
              <c:numCache>
                <c:formatCode>General</c:formatCode>
                <c:ptCount val="11"/>
                <c:pt idx="0">
                  <c:v>0.975</c:v>
                </c:pt>
                <c:pt idx="1">
                  <c:v>0.861</c:v>
                </c:pt>
                <c:pt idx="2">
                  <c:v>0.837</c:v>
                </c:pt>
                <c:pt idx="3">
                  <c:v>0.372</c:v>
                </c:pt>
                <c:pt idx="4">
                  <c:v>0.603</c:v>
                </c:pt>
                <c:pt idx="5">
                  <c:v>0.983</c:v>
                </c:pt>
                <c:pt idx="6">
                  <c:v>0.895</c:v>
                </c:pt>
                <c:pt idx="7">
                  <c:v>0.817</c:v>
                </c:pt>
                <c:pt idx="8">
                  <c:v>0.981</c:v>
                </c:pt>
                <c:pt idx="9">
                  <c:v>0.932</c:v>
                </c:pt>
                <c:pt idx="10">
                  <c:v>0.672</c:v>
                </c:pt>
              </c:numCache>
            </c:numRef>
          </c:xVal>
          <c:yVal>
            <c:numRef>
              <c:f>Sheet1!$B$2:$B$12</c:f>
              <c:numCache>
                <c:formatCode>General</c:formatCode>
                <c:ptCount val="11"/>
                <c:pt idx="0">
                  <c:v>45724.89230769231</c:v>
                </c:pt>
                <c:pt idx="1">
                  <c:v>43360.813008130084</c:v>
                </c:pt>
                <c:pt idx="2">
                  <c:v>6139.832735961768</c:v>
                </c:pt>
                <c:pt idx="3">
                  <c:v>481.37096774193543</c:v>
                </c:pt>
                <c:pt idx="4">
                  <c:v>7090.928689883914</c:v>
                </c:pt>
                <c:pt idx="5">
                  <c:v>25786.988809766022</c:v>
                </c:pt>
                <c:pt idx="6">
                  <c:v>3027.5083798882683</c:v>
                </c:pt>
                <c:pt idx="7">
                  <c:v>3357.02570379437</c:v>
                </c:pt>
                <c:pt idx="8">
                  <c:v>20585.647298674823</c:v>
                </c:pt>
                <c:pt idx="9">
                  <c:v>27675.493562231757</c:v>
                </c:pt>
                <c:pt idx="10">
                  <c:v>5504.077380952381</c:v>
                </c:pt>
              </c:numCache>
            </c:numRef>
          </c:yVal>
          <c:bubbleSize>
            <c:numRef>
              <c:f>Sheet1!$C$2:$C$12</c:f>
              <c:numCache>
                <c:formatCode>General</c:formatCode>
                <c:ptCount val="11"/>
                <c:pt idx="0">
                  <c:v>2855956.0229999996</c:v>
                </c:pt>
                <c:pt idx="1">
                  <c:v>2296187.0626000003</c:v>
                </c:pt>
                <c:pt idx="2">
                  <c:v>263362.13670000003</c:v>
                </c:pt>
                <c:pt idx="3">
                  <c:v>8501.64</c:v>
                </c:pt>
                <c:pt idx="4">
                  <c:v>211148.30579999997</c:v>
                </c:pt>
                <c:pt idx="5">
                  <c:v>1566649.6702999999</c:v>
                </c:pt>
                <c:pt idx="6">
                  <c:v>149151.07840000003</c:v>
                </c:pt>
                <c:pt idx="7">
                  <c:v>187196.62399999998</c:v>
                </c:pt>
                <c:pt idx="8">
                  <c:v>1207357.7841999999</c:v>
                </c:pt>
                <c:pt idx="9">
                  <c:v>1563091.1579999998</c:v>
                </c:pt>
                <c:pt idx="10">
                  <c:v>182424.33279999997</c:v>
                </c:pt>
              </c:numCache>
            </c:numRef>
          </c:bubbleSize>
          <c:bubble3D val="0"/>
          <c:extLst>
            <c:ext xmlns:c15="http://schemas.microsoft.com/office/drawing/2012/chart" uri="{02D57815-91ED-43cb-92C2-25804820EDAC}">
              <c15:datalabelsRange>
                <c15:f>Sheet1!$E$2:$E$21</c15:f>
                <c15:dlblRangeCache>
                  <c:ptCount val="20"/>
                  <c:pt idx="0">
                    <c:v>MBY Original 12p</c:v>
                  </c:pt>
                  <c:pt idx="1">
                    <c:v>MBY Original 18p</c:v>
                  </c:pt>
                  <c:pt idx="2">
                    <c:v>MBY Original 6p</c:v>
                  </c:pt>
                  <c:pt idx="3">
                    <c:v>MBY Variety 12p</c:v>
                  </c:pt>
                  <c:pt idx="4">
                    <c:v>MBY Variety 18p</c:v>
                  </c:pt>
                  <c:pt idx="5">
                    <c:v>MBY Light 12p</c:v>
                  </c:pt>
                  <c:pt idx="6">
                    <c:v>MBY Light 6p</c:v>
                  </c:pt>
                  <c:pt idx="7">
                    <c:v>MBY Gouda 6p</c:v>
                  </c:pt>
                  <c:pt idx="8">
                    <c:v>MBY Swiss 6p</c:v>
                  </c:pt>
                  <c:pt idx="9">
                    <c:v>MBY Cheddar 6p</c:v>
                  </c:pt>
                  <c:pt idx="10">
                    <c:v>MBY Mini Roll</c:v>
                  </c:pt>
                  <c:pt idx="11">
                    <c:v>MBY 2Go</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4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EEEE0294-9649-4271-985D-0B7D6C175576}"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AFB98E45-9225-41F6-B232-8EDD0BCFD0D7}"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B9CC0D9E-6FB4-48E9-9687-B9BE1691EC6B}"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32BAA3DA-2D35-430B-B00B-18E4F5930D2D}"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64AAF2EC-F1EE-4911-AEBF-9CA52B125AE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8EEE8A9B-C445-4881-8A8F-066746AE2BB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DE86A327-4560-4F3B-A492-B8DA38457082}"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F285876E-EE9A-4F28-B672-7F7D8C7908CF}"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8AFEDBE5-468B-4BDC-9519-96597253EAB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7DCA0437-6E4B-476A-A39E-12C18FC738E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9</c:f>
              <c:numCache>
                <c:formatCode>General</c:formatCode>
                <c:ptCount val="8"/>
                <c:pt idx="0">
                  <c:v>0.679</c:v>
                </c:pt>
                <c:pt idx="1">
                  <c:v>0.841</c:v>
                </c:pt>
                <c:pt idx="2">
                  <c:v>0.998</c:v>
                </c:pt>
                <c:pt idx="3">
                  <c:v>0.941</c:v>
                </c:pt>
                <c:pt idx="4">
                  <c:v>0.947</c:v>
                </c:pt>
                <c:pt idx="5">
                  <c:v>0.231</c:v>
                </c:pt>
                <c:pt idx="6">
                  <c:v>0.955</c:v>
                </c:pt>
                <c:pt idx="7">
                  <c:v>0.848</c:v>
                </c:pt>
              </c:numCache>
            </c:numRef>
          </c:xVal>
          <c:yVal>
            <c:numRef>
              <c:f>Sheet1!$B$2:$B$9</c:f>
              <c:numCache>
                <c:formatCode>General</c:formatCode>
                <c:ptCount val="8"/>
                <c:pt idx="0">
                  <c:v>6740.530191458026</c:v>
                </c:pt>
                <c:pt idx="1">
                  <c:v>10304.161712247325</c:v>
                </c:pt>
                <c:pt idx="2">
                  <c:v>61730.22044088176</c:v>
                </c:pt>
                <c:pt idx="3">
                  <c:v>52226.90754516472</c:v>
                </c:pt>
                <c:pt idx="4">
                  <c:v>79341.23548046463</c:v>
                </c:pt>
                <c:pt idx="5">
                  <c:v>1325.1948051948052</c:v>
                </c:pt>
                <c:pt idx="6">
                  <c:v>14262.722513089006</c:v>
                </c:pt>
                <c:pt idx="7">
                  <c:v>14741.662735849057</c:v>
                </c:pt>
              </c:numCache>
            </c:numRef>
          </c:yVal>
          <c:bubbleSize>
            <c:numRef>
              <c:f>Sheet1!$C$2:$C$9</c:f>
              <c:numCache>
                <c:formatCode>General</c:formatCode>
                <c:ptCount val="8"/>
                <c:pt idx="0">
                  <c:v>199774.98380000005</c:v>
                </c:pt>
                <c:pt idx="1">
                  <c:v>465262.3417000001</c:v>
                </c:pt>
                <c:pt idx="2">
                  <c:v>3517429.0794000006</c:v>
                </c:pt>
                <c:pt idx="3">
                  <c:v>2967487.1029999997</c:v>
                </c:pt>
                <c:pt idx="4">
                  <c:v>4797651.408399999</c:v>
                </c:pt>
                <c:pt idx="5">
                  <c:v>21865.146199999996</c:v>
                </c:pt>
                <c:pt idx="6">
                  <c:v>744418.5861000001</c:v>
                </c:pt>
                <c:pt idx="7">
                  <c:v>604870.5601999997</c:v>
                </c:pt>
              </c:numCache>
            </c:numRef>
          </c:bubbleSize>
          <c:bubble3D val="0"/>
          <c:extLst>
            <c:ext xmlns:c15="http://schemas.microsoft.com/office/drawing/2012/chart" uri="{02D57815-91ED-43cb-92C2-25804820EDAC}">
              <c15:datalabelsRange>
                <c15:f>Sheet1!$E$2:$E$21</c15:f>
                <c15:dlblRangeCache>
                  <c:ptCount val="20"/>
                  <c:pt idx="0">
                    <c:v>MBY Original 12p</c:v>
                  </c:pt>
                  <c:pt idx="1">
                    <c:v>MBY Original 18p</c:v>
                  </c:pt>
                  <c:pt idx="2">
                    <c:v>MBY Original 6p</c:v>
                  </c:pt>
                  <c:pt idx="3">
                    <c:v>MBY Variety 12p</c:v>
                  </c:pt>
                  <c:pt idx="4">
                    <c:v>MBY Variety 18p</c:v>
                  </c:pt>
                  <c:pt idx="5">
                    <c:v>MBY Light 12p</c:v>
                  </c:pt>
                  <c:pt idx="6">
                    <c:v>MBY Light 6p</c:v>
                  </c:pt>
                  <c:pt idx="7">
                    <c:v>MBY Gouda 6p</c:v>
                  </c:pt>
                  <c:pt idx="8">
                    <c:v>MBY Swiss 6p</c:v>
                  </c:pt>
                  <c:pt idx="9">
                    <c:v>MBY Cheddar 6p</c:v>
                  </c:pt>
                  <c:pt idx="10">
                    <c:v>MBY Mini Roll</c:v>
                  </c:pt>
                  <c:pt idx="11">
                    <c:v>MBY 2Go</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4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96D5AA92-140A-4430-9680-B9B8CC74E799}"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B333A497-505D-40EE-BE06-B9114F7971FE}"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586B972E-3FAF-4418-BC01-EEC26AB888C8}"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4A8E5C98-E6B5-4F62-BD0E-8641D311E8CD}"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DCED5A7E-EDC6-40DA-A09E-2833763934C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AC8C6F0D-DE67-4FC3-B38F-97000323961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5330FD2F-685D-4E55-89EF-13246CD74900}"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22161425-EDEB-4BF3-9D9B-6DFC3D1D1C6D}"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9074FDE9-64F2-4ACA-840B-032CDEA209CB}"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34D94461-8DD5-4C0C-9987-EBB287FA5A54}"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9</c:f>
              <c:numCache>
                <c:formatCode>General</c:formatCode>
                <c:ptCount val="18"/>
                <c:pt idx="0">
                  <c:v>0.981</c:v>
                </c:pt>
                <c:pt idx="1">
                  <c:v>0.998</c:v>
                </c:pt>
                <c:pt idx="2">
                  <c:v>0.973</c:v>
                </c:pt>
                <c:pt idx="3">
                  <c:v>0.98</c:v>
                </c:pt>
                <c:pt idx="4">
                  <c:v>0.687</c:v>
                </c:pt>
                <c:pt idx="5">
                  <c:v>0.325</c:v>
                </c:pt>
                <c:pt idx="6">
                  <c:v>0.939</c:v>
                </c:pt>
                <c:pt idx="7">
                  <c:v>0.98</c:v>
                </c:pt>
                <c:pt idx="8">
                  <c:v>0.86</c:v>
                </c:pt>
                <c:pt idx="9">
                  <c:v>0.954</c:v>
                </c:pt>
                <c:pt idx="10">
                  <c:v>0.808</c:v>
                </c:pt>
                <c:pt idx="11">
                  <c:v>0.94</c:v>
                </c:pt>
                <c:pt idx="12">
                  <c:v>0.968</c:v>
                </c:pt>
                <c:pt idx="13">
                  <c:v>0.845</c:v>
                </c:pt>
                <c:pt idx="14">
                  <c:v>0.803</c:v>
                </c:pt>
                <c:pt idx="15">
                  <c:v>0.823</c:v>
                </c:pt>
                <c:pt idx="16">
                  <c:v>0.66</c:v>
                </c:pt>
                <c:pt idx="17">
                  <c:v>0.414</c:v>
                </c:pt>
              </c:numCache>
            </c:numRef>
          </c:xVal>
          <c:yVal>
            <c:numRef>
              <c:f>Sheet1!$B$2:$B$19</c:f>
              <c:numCache>
                <c:formatCode>General</c:formatCode>
                <c:ptCount val="18"/>
                <c:pt idx="0">
                  <c:v>27527.410805300715</c:v>
                </c:pt>
                <c:pt idx="1">
                  <c:v>24558.517034068136</c:v>
                </c:pt>
                <c:pt idx="2">
                  <c:v>8635.179856115108</c:v>
                </c:pt>
                <c:pt idx="3">
                  <c:v>10309.234693877552</c:v>
                </c:pt>
                <c:pt idx="4">
                  <c:v>648.2532751091703</c:v>
                </c:pt>
                <c:pt idx="5">
                  <c:v>2730.892307692308</c:v>
                </c:pt>
                <c:pt idx="6">
                  <c:v>11438.093716719915</c:v>
                </c:pt>
                <c:pt idx="7">
                  <c:v>27838.23469387755</c:v>
                </c:pt>
                <c:pt idx="8">
                  <c:v>8505.593023255815</c:v>
                </c:pt>
                <c:pt idx="9">
                  <c:v>12471.153039832287</c:v>
                </c:pt>
                <c:pt idx="10">
                  <c:v>5809.356435643564</c:v>
                </c:pt>
                <c:pt idx="11">
                  <c:v>7229.13829787234</c:v>
                </c:pt>
                <c:pt idx="12">
                  <c:v>11293.564049586777</c:v>
                </c:pt>
                <c:pt idx="13">
                  <c:v>2199.242603550296</c:v>
                </c:pt>
                <c:pt idx="14">
                  <c:v>1098.206724782067</c:v>
                </c:pt>
                <c:pt idx="15">
                  <c:v>3335.868772782503</c:v>
                </c:pt>
                <c:pt idx="16">
                  <c:v>1614.0757575757575</c:v>
                </c:pt>
                <c:pt idx="17">
                  <c:v>1111.304347826087</c:v>
                </c:pt>
              </c:numCache>
            </c:numRef>
          </c:yVal>
          <c:bubbleSize>
            <c:numRef>
              <c:f>Sheet1!$C$2:$C$19</c:f>
              <c:numCache>
                <c:formatCode>General</c:formatCode>
                <c:ptCount val="18"/>
                <c:pt idx="0">
                  <c:v>1651385.2755000002</c:v>
                </c:pt>
                <c:pt idx="1">
                  <c:v>1491960.5067000005</c:v>
                </c:pt>
                <c:pt idx="2">
                  <c:v>455950.0355</c:v>
                </c:pt>
                <c:pt idx="3">
                  <c:v>571593.6846999999</c:v>
                </c:pt>
                <c:pt idx="4">
                  <c:v>19383.52</c:v>
                </c:pt>
                <c:pt idx="5">
                  <c:v>50382.1857</c:v>
                </c:pt>
                <c:pt idx="6">
                  <c:v>606479.7723999999</c:v>
                </c:pt>
                <c:pt idx="7">
                  <c:v>1621213.0609000002</c:v>
                </c:pt>
                <c:pt idx="8">
                  <c:v>410939.0</c:v>
                </c:pt>
                <c:pt idx="9">
                  <c:v>580146.0286</c:v>
                </c:pt>
                <c:pt idx="10">
                  <c:v>248552.02370000002</c:v>
                </c:pt>
                <c:pt idx="11">
                  <c:v>394111.0859</c:v>
                </c:pt>
                <c:pt idx="12">
                  <c:v>583488.7946</c:v>
                </c:pt>
                <c:pt idx="13">
                  <c:v>108019.20160000001</c:v>
                </c:pt>
                <c:pt idx="14">
                  <c:v>53176.0122</c:v>
                </c:pt>
                <c:pt idx="15">
                  <c:v>149306.44979999997</c:v>
                </c:pt>
                <c:pt idx="16">
                  <c:v>52600.97309999999</c:v>
                </c:pt>
                <c:pt idx="17">
                  <c:v>24854.501100000005</c:v>
                </c:pt>
              </c:numCache>
            </c:numRef>
          </c:bubbleSize>
          <c:bubble3D val="0"/>
          <c:extLst>
            <c:ext xmlns:c15="http://schemas.microsoft.com/office/drawing/2012/chart" uri="{02D57815-91ED-43cb-92C2-25804820EDAC}">
              <c15:datalabelsRange>
                <c15:f>Sheet1!$E$2:$E$21</c15:f>
                <c15:dlblRangeCache>
                  <c:ptCount val="20"/>
                  <c:pt idx="0">
                    <c:v>MBY Original 12p</c:v>
                  </c:pt>
                  <c:pt idx="1">
                    <c:v>MBY Original 18p</c:v>
                  </c:pt>
                  <c:pt idx="2">
                    <c:v>MBY Original 6p</c:v>
                  </c:pt>
                  <c:pt idx="3">
                    <c:v>MBY Variety 12p</c:v>
                  </c:pt>
                  <c:pt idx="4">
                    <c:v>MBY Variety 18p</c:v>
                  </c:pt>
                  <c:pt idx="5">
                    <c:v>MBY Light 12p</c:v>
                  </c:pt>
                  <c:pt idx="6">
                    <c:v>MBY Light 6p</c:v>
                  </c:pt>
                  <c:pt idx="7">
                    <c:v>MBY Gouda 6p</c:v>
                  </c:pt>
                  <c:pt idx="8">
                    <c:v>MBY Swiss 6p</c:v>
                  </c:pt>
                  <c:pt idx="9">
                    <c:v>MBY Cheddar 6p</c:v>
                  </c:pt>
                  <c:pt idx="10">
                    <c:v>MBY Mini Roll</c:v>
                  </c:pt>
                  <c:pt idx="11">
                    <c:v>MBY 2Go</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4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58F1EC81-066A-434D-B3D9-814438B8EB8A}"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BCFD399D-F8C0-47B7-A08C-7286C26F72F0}"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F057680A-F270-4EBE-A0AF-E2F2B85A3758}"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4EB93DAD-C75D-4BB8-8E99-C67484E8EBA6}"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43E33168-21E7-4713-A54D-3A47623776A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A57AA671-080A-4992-B020-04D96C3389D7}"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38C1A2D5-2F08-41CE-B0A5-0B4A3D9F76D0}"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AD4313C6-A2EB-403D-89E6-1E3773DDB94C}"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77828B49-DD68-4ECD-8671-B981F79717BF}"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D5E5F386-D971-471A-BB57-2A6CA544A847}"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1</c:f>
              <c:numCache>
                <c:formatCode>General</c:formatCode>
                <c:ptCount val="10"/>
                <c:pt idx="0">
                  <c:v>1.0</c:v>
                </c:pt>
                <c:pt idx="1">
                  <c:v>0.99</c:v>
                </c:pt>
                <c:pt idx="2">
                  <c:v>0.98</c:v>
                </c:pt>
                <c:pt idx="3">
                  <c:v>0.96</c:v>
                </c:pt>
                <c:pt idx="4">
                  <c:v>0.75</c:v>
                </c:pt>
                <c:pt idx="5">
                  <c:v>1.0</c:v>
                </c:pt>
                <c:pt idx="6">
                  <c:v>0.89</c:v>
                </c:pt>
                <c:pt idx="7">
                  <c:v>0.98</c:v>
                </c:pt>
                <c:pt idx="8">
                  <c:v>1.0</c:v>
                </c:pt>
                <c:pt idx="9">
                  <c:v>0.99</c:v>
                </c:pt>
              </c:numCache>
            </c:numRef>
          </c:xVal>
          <c:yVal>
            <c:numRef>
              <c:f>Sheet1!$B$2:$B$11</c:f>
              <c:numCache>
                <c:formatCode>General</c:formatCode>
                <c:ptCount val="10"/>
                <c:pt idx="0">
                  <c:v>19457.76</c:v>
                </c:pt>
                <c:pt idx="1">
                  <c:v>45589.41414141414</c:v>
                </c:pt>
                <c:pt idx="2">
                  <c:v>2226.4591836734694</c:v>
                </c:pt>
                <c:pt idx="3">
                  <c:v>3431.15625</c:v>
                </c:pt>
                <c:pt idx="4">
                  <c:v>1891.3733333333332</c:v>
                </c:pt>
                <c:pt idx="5">
                  <c:v>11794.45</c:v>
                </c:pt>
                <c:pt idx="6">
                  <c:v>1402.6404494382023</c:v>
                </c:pt>
                <c:pt idx="7">
                  <c:v>8238.34693877551</c:v>
                </c:pt>
                <c:pt idx="8">
                  <c:v>14911.01</c:v>
                </c:pt>
                <c:pt idx="9">
                  <c:v>11125.10101010101</c:v>
                </c:pt>
              </c:numCache>
            </c:numRef>
          </c:yVal>
          <c:bubbleSize>
            <c:numRef>
              <c:f>Sheet1!$C$2:$C$11</c:f>
              <c:numCache>
                <c:formatCode>General</c:formatCode>
                <c:ptCount val="10"/>
                <c:pt idx="0">
                  <c:v>1296098.2605999997</c:v>
                </c:pt>
                <c:pt idx="1">
                  <c:v>2645737.671800001</c:v>
                </c:pt>
                <c:pt idx="2">
                  <c:v>129655.06629999999</c:v>
                </c:pt>
                <c:pt idx="3">
                  <c:v>186540.4972</c:v>
                </c:pt>
                <c:pt idx="4">
                  <c:v>87470.35269999999</c:v>
                </c:pt>
                <c:pt idx="5">
                  <c:v>790966.1867999999</c:v>
                </c:pt>
                <c:pt idx="6">
                  <c:v>74144.0196</c:v>
                </c:pt>
                <c:pt idx="7">
                  <c:v>566708.1048</c:v>
                </c:pt>
                <c:pt idx="8">
                  <c:v>956991.22</c:v>
                </c:pt>
                <c:pt idx="9">
                  <c:v>695514.2348000001</c:v>
                </c:pt>
              </c:numCache>
            </c:numRef>
          </c:bubbleSize>
          <c:bubble3D val="0"/>
          <c:extLst>
            <c:ext xmlns:c15="http://schemas.microsoft.com/office/drawing/2012/chart" uri="{02D57815-91ED-43cb-92C2-25804820EDAC}">
              <c15:datalabelsRange>
                <c15:f>Sheet1!$E$2:$E$21</c15:f>
                <c15:dlblRangeCache>
                  <c:ptCount val="20"/>
                  <c:pt idx="0">
                    <c:v>MBY Original 12p</c:v>
                  </c:pt>
                  <c:pt idx="1">
                    <c:v>MBY Original 18p</c:v>
                  </c:pt>
                  <c:pt idx="2">
                    <c:v>MBY Original 6p</c:v>
                  </c:pt>
                  <c:pt idx="3">
                    <c:v>MBY Variety 12p</c:v>
                  </c:pt>
                  <c:pt idx="4">
                    <c:v>MBY Variety 18p</c:v>
                  </c:pt>
                  <c:pt idx="5">
                    <c:v>MBY Light 12p</c:v>
                  </c:pt>
                  <c:pt idx="6">
                    <c:v>MBY Light 6p</c:v>
                  </c:pt>
                  <c:pt idx="7">
                    <c:v>MBY Gouda 6p</c:v>
                  </c:pt>
                  <c:pt idx="8">
                    <c:v>MBY Swiss 6p</c:v>
                  </c:pt>
                  <c:pt idx="9">
                    <c:v>MBY Cheddar 6p</c:v>
                  </c:pt>
                  <c:pt idx="10">
                    <c:v>MBY Mini Roll</c:v>
                  </c:pt>
                  <c:pt idx="11">
                    <c:v>MBY 2Go</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4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E2FC9A53-3351-4A71-A445-9FA7817CA3C2}"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827D3058-2BBC-4B08-A247-A6D9062AA820}"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03C6555B-3A51-402F-8413-74D119D6CDE6}"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8EB2EF0A-4B5B-4072-9B73-E35E56E1B16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F8D57E94-8D98-40B1-A3E6-82DF049EB19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534D05CF-E122-4B12-9758-8799036BA6CC}"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E2A3CBD5-6FB8-4064-A01D-87256894EC37}"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D0701355-38A1-4D00-B2B8-4B74125D14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A48D3EBE-55F1-44FE-8F17-F619E8CE38C0}"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F2F53EE6-7DF3-4F29-89DE-601CB04DCE72}"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1</c:f>
              <c:numCache>
                <c:formatCode>General</c:formatCode>
                <c:ptCount val="10"/>
                <c:pt idx="0">
                  <c:v>0.08</c:v>
                </c:pt>
                <c:pt idx="1">
                  <c:v>0.86</c:v>
                </c:pt>
                <c:pt idx="2">
                  <c:v>0.94</c:v>
                </c:pt>
                <c:pt idx="3">
                  <c:v>1.0</c:v>
                </c:pt>
                <c:pt idx="4">
                  <c:v>1.0</c:v>
                </c:pt>
                <c:pt idx="5">
                  <c:v>0.99</c:v>
                </c:pt>
                <c:pt idx="6">
                  <c:v>0.94</c:v>
                </c:pt>
                <c:pt idx="7">
                  <c:v>0.82</c:v>
                </c:pt>
                <c:pt idx="8">
                  <c:v>1.0</c:v>
                </c:pt>
                <c:pt idx="9">
                  <c:v>0.95</c:v>
                </c:pt>
              </c:numCache>
            </c:numRef>
          </c:xVal>
          <c:yVal>
            <c:numRef>
              <c:f>Sheet1!$B$2:$B$11</c:f>
              <c:numCache>
                <c:formatCode>General</c:formatCode>
                <c:ptCount val="10"/>
                <c:pt idx="0">
                  <c:v>3755.75</c:v>
                </c:pt>
                <c:pt idx="1">
                  <c:v>3117.8720930232557</c:v>
                </c:pt>
                <c:pt idx="2">
                  <c:v>8213.010638297872</c:v>
                </c:pt>
                <c:pt idx="3">
                  <c:v>16701.66</c:v>
                </c:pt>
                <c:pt idx="4">
                  <c:v>29213.62</c:v>
                </c:pt>
                <c:pt idx="5">
                  <c:v>82610.36363636363</c:v>
                </c:pt>
                <c:pt idx="6">
                  <c:v>9848.946808510638</c:v>
                </c:pt>
                <c:pt idx="7">
                  <c:v>999.7317073170732</c:v>
                </c:pt>
                <c:pt idx="8">
                  <c:v>7241.72</c:v>
                </c:pt>
                <c:pt idx="9">
                  <c:v>4657.1894736842105</c:v>
                </c:pt>
              </c:numCache>
            </c:numRef>
          </c:yVal>
          <c:bubbleSize>
            <c:numRef>
              <c:f>Sheet1!$C$2:$C$11</c:f>
              <c:numCache>
                <c:formatCode>General</c:formatCode>
                <c:ptCount val="10"/>
                <c:pt idx="0">
                  <c:v>16203.9444</c:v>
                </c:pt>
                <c:pt idx="1">
                  <c:v>159781.21240000002</c:v>
                </c:pt>
                <c:pt idx="2">
                  <c:v>432475.68330000003</c:v>
                </c:pt>
                <c:pt idx="3">
                  <c:v>1004464.2163000001</c:v>
                </c:pt>
                <c:pt idx="4">
                  <c:v>1949339.2618000002</c:v>
                </c:pt>
                <c:pt idx="5">
                  <c:v>5376313.341299999</c:v>
                </c:pt>
                <c:pt idx="6">
                  <c:v>652910.7028</c:v>
                </c:pt>
                <c:pt idx="7">
                  <c:v>40975.85999999999</c:v>
                </c:pt>
                <c:pt idx="8">
                  <c:v>491716.5952</c:v>
                </c:pt>
                <c:pt idx="9">
                  <c:v>276915.12139999995</c:v>
                </c:pt>
              </c:numCache>
            </c:numRef>
          </c:bubbleSize>
          <c:bubble3D val="0"/>
          <c:extLst>
            <c:ext xmlns:c15="http://schemas.microsoft.com/office/drawing/2012/chart" uri="{02D57815-91ED-43cb-92C2-25804820EDAC}">
              <c15:datalabelsRange>
                <c15:f>Sheet1!$E$2:$E$21</c15:f>
                <c15:dlblRangeCache>
                  <c:ptCount val="20"/>
                  <c:pt idx="0">
                    <c:v>MBY Original 12p</c:v>
                  </c:pt>
                  <c:pt idx="1">
                    <c:v>MBY Original 18p</c:v>
                  </c:pt>
                  <c:pt idx="2">
                    <c:v>MBY Original 6p</c:v>
                  </c:pt>
                  <c:pt idx="3">
                    <c:v>MBY Variety 12p</c:v>
                  </c:pt>
                  <c:pt idx="4">
                    <c:v>MBY Variety 18p</c:v>
                  </c:pt>
                  <c:pt idx="5">
                    <c:v>MBY Light 12p</c:v>
                  </c:pt>
                  <c:pt idx="6">
                    <c:v>MBY Light 6p</c:v>
                  </c:pt>
                  <c:pt idx="7">
                    <c:v>MBY Gouda 6p</c:v>
                  </c:pt>
                  <c:pt idx="8">
                    <c:v>MBY Swiss 6p</c:v>
                  </c:pt>
                  <c:pt idx="9">
                    <c:v>MBY Cheddar 6p</c:v>
                  </c:pt>
                  <c:pt idx="10">
                    <c:v>MBY Mini Roll</c:v>
                  </c:pt>
                  <c:pt idx="11">
                    <c:v>MBY 2Go</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4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E7C3F57D-8D00-45D5-B2C9-4F6A48CF7447}"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BC52AE99-8969-450C-8DBD-67BF34BB03EC}"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8C25573B-671F-45B2-90DC-02E4015207DD}"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F6131A43-8832-427F-ADB4-092CB19CA604}"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F9651B40-AE04-40B0-8F13-C11375620A0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FAA7A91A-8C92-4112-87BB-84FFA5407676}"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2BAEE1F7-899D-4497-A003-46DC0A43D4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DDE7804D-2133-4587-A90E-71196E22CA6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AF34FD9B-E2F2-4BCB-8E12-CC526978C039}"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6CA229D9-4869-4BB4-97DE-ECBB173FC02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24</c:f>
              <c:numCache>
                <c:formatCode>General</c:formatCode>
                <c:ptCount val="23"/>
                <c:pt idx="0">
                  <c:v>1.0</c:v>
                </c:pt>
                <c:pt idx="1">
                  <c:v>0.85</c:v>
                </c:pt>
                <c:pt idx="2">
                  <c:v>1.0</c:v>
                </c:pt>
                <c:pt idx="3">
                  <c:v>0.97</c:v>
                </c:pt>
                <c:pt idx="4">
                  <c:v>0.98</c:v>
                </c:pt>
                <c:pt idx="5">
                  <c:v>0.66</c:v>
                </c:pt>
                <c:pt idx="6">
                  <c:v>0.67</c:v>
                </c:pt>
                <c:pt idx="7">
                  <c:v>0.49</c:v>
                </c:pt>
                <c:pt idx="8">
                  <c:v>0.94</c:v>
                </c:pt>
                <c:pt idx="9">
                  <c:v>1.0</c:v>
                </c:pt>
                <c:pt idx="10">
                  <c:v>1.0</c:v>
                </c:pt>
                <c:pt idx="11">
                  <c:v>0.58</c:v>
                </c:pt>
                <c:pt idx="12">
                  <c:v>0.99</c:v>
                </c:pt>
                <c:pt idx="13">
                  <c:v>0.59</c:v>
                </c:pt>
                <c:pt idx="14">
                  <c:v>0.14</c:v>
                </c:pt>
                <c:pt idx="15">
                  <c:v>0.71</c:v>
                </c:pt>
                <c:pt idx="16">
                  <c:v>0.88</c:v>
                </c:pt>
                <c:pt idx="17">
                  <c:v>1.0</c:v>
                </c:pt>
                <c:pt idx="18">
                  <c:v>1.0</c:v>
                </c:pt>
                <c:pt idx="19">
                  <c:v>0.96</c:v>
                </c:pt>
                <c:pt idx="20">
                  <c:v>1.0</c:v>
                </c:pt>
                <c:pt idx="21">
                  <c:v>0.95</c:v>
                </c:pt>
                <c:pt idx="22">
                  <c:v>0.94</c:v>
                </c:pt>
              </c:numCache>
            </c:numRef>
          </c:xVal>
          <c:yVal>
            <c:numRef>
              <c:f>Sheet1!$B$2:$B$24</c:f>
              <c:numCache>
                <c:formatCode>General</c:formatCode>
                <c:ptCount val="23"/>
                <c:pt idx="0">
                  <c:v>14268.91</c:v>
                </c:pt>
                <c:pt idx="1">
                  <c:v>333.52941176470586</c:v>
                </c:pt>
                <c:pt idx="2">
                  <c:v>9722.94</c:v>
                </c:pt>
                <c:pt idx="3">
                  <c:v>3345.6288659793813</c:v>
                </c:pt>
                <c:pt idx="4">
                  <c:v>3773.0</c:v>
                </c:pt>
                <c:pt idx="5">
                  <c:v>480.09090909090907</c:v>
                </c:pt>
                <c:pt idx="6">
                  <c:v>871.6865671641791</c:v>
                </c:pt>
                <c:pt idx="7">
                  <c:v>524.9183673469388</c:v>
                </c:pt>
                <c:pt idx="8">
                  <c:v>1281.0212765957447</c:v>
                </c:pt>
                <c:pt idx="9">
                  <c:v>4276.89</c:v>
                </c:pt>
                <c:pt idx="10">
                  <c:v>11512.05</c:v>
                </c:pt>
                <c:pt idx="11">
                  <c:v>2175.4827586206898</c:v>
                </c:pt>
                <c:pt idx="12">
                  <c:v>2658.080808080808</c:v>
                </c:pt>
                <c:pt idx="13">
                  <c:v>1025.2881355932204</c:v>
                </c:pt>
                <c:pt idx="14">
                  <c:v>964.3571428571428</c:v>
                </c:pt>
                <c:pt idx="15">
                  <c:v>229.1267605633803</c:v>
                </c:pt>
                <c:pt idx="16">
                  <c:v>989.2613636363636</c:v>
                </c:pt>
                <c:pt idx="17">
                  <c:v>6542.91</c:v>
                </c:pt>
                <c:pt idx="18">
                  <c:v>1562.84</c:v>
                </c:pt>
                <c:pt idx="19">
                  <c:v>708.2708333333334</c:v>
                </c:pt>
                <c:pt idx="20">
                  <c:v>2741.89</c:v>
                </c:pt>
                <c:pt idx="21">
                  <c:v>844.6315789473684</c:v>
                </c:pt>
                <c:pt idx="22">
                  <c:v>593.8510638297872</c:v>
                </c:pt>
              </c:numCache>
            </c:numRef>
          </c:yVal>
          <c:bubbleSize>
            <c:numRef>
              <c:f>Sheet1!$C$2:$C$24</c:f>
              <c:numCache>
                <c:formatCode>General</c:formatCode>
                <c:ptCount val="23"/>
                <c:pt idx="0">
                  <c:v>898746.52</c:v>
                </c:pt>
                <c:pt idx="1">
                  <c:v>19237.013</c:v>
                </c:pt>
                <c:pt idx="2">
                  <c:v>657023.8293999999</c:v>
                </c:pt>
                <c:pt idx="3">
                  <c:v>206540.63040000002</c:v>
                </c:pt>
                <c:pt idx="4">
                  <c:v>228380.87689999997</c:v>
                </c:pt>
                <c:pt idx="5">
                  <c:v>18823.971899999997</c:v>
                </c:pt>
                <c:pt idx="6">
                  <c:v>23810.2759</c:v>
                </c:pt>
                <c:pt idx="7">
                  <c:v>14005.127400000003</c:v>
                </c:pt>
                <c:pt idx="8">
                  <c:v>80761.50040000002</c:v>
                </c:pt>
                <c:pt idx="9">
                  <c:v>263890.7431</c:v>
                </c:pt>
                <c:pt idx="10">
                  <c:v>722599.8118000001</c:v>
                </c:pt>
                <c:pt idx="11">
                  <c:v>89676.90090000001</c:v>
                </c:pt>
                <c:pt idx="12">
                  <c:v>155042.7336</c:v>
                </c:pt>
                <c:pt idx="13">
                  <c:v>27759.832300000002</c:v>
                </c:pt>
                <c:pt idx="14">
                  <c:v>7213.105999999999</c:v>
                </c:pt>
                <c:pt idx="15">
                  <c:v>7330.667399999999</c:v>
                </c:pt>
                <c:pt idx="16">
                  <c:v>47748.37920000001</c:v>
                </c:pt>
                <c:pt idx="17">
                  <c:v>401788.2896</c:v>
                </c:pt>
                <c:pt idx="18">
                  <c:v>71635.07</c:v>
                </c:pt>
                <c:pt idx="19">
                  <c:v>28003.5766</c:v>
                </c:pt>
                <c:pt idx="20">
                  <c:v>141010.1934</c:v>
                </c:pt>
                <c:pt idx="21">
                  <c:v>44570.80829999999</c:v>
                </c:pt>
                <c:pt idx="22">
                  <c:v>33173.866</c:v>
                </c:pt>
              </c:numCache>
            </c:numRef>
          </c:bubbleSize>
          <c:bubble3D val="0"/>
          <c:extLst>
            <c:ext xmlns:c15="http://schemas.microsoft.com/office/drawing/2012/chart" uri="{02D57815-91ED-43cb-92C2-25804820EDAC}">
              <c15:datalabelsRange>
                <c15:f>Sheet1!$E$2:$E$21</c15:f>
                <c15:dlblRangeCache>
                  <c:ptCount val="20"/>
                  <c:pt idx="0">
                    <c:v>MBY Original 12p</c:v>
                  </c:pt>
                  <c:pt idx="1">
                    <c:v>MBY Original 18p</c:v>
                  </c:pt>
                  <c:pt idx="2">
                    <c:v>MBY Original 6p</c:v>
                  </c:pt>
                  <c:pt idx="3">
                    <c:v>MBY Variety 12p</c:v>
                  </c:pt>
                  <c:pt idx="4">
                    <c:v>MBY Variety 18p</c:v>
                  </c:pt>
                  <c:pt idx="5">
                    <c:v>MBY Light 12p</c:v>
                  </c:pt>
                  <c:pt idx="6">
                    <c:v>MBY Light 6p</c:v>
                  </c:pt>
                  <c:pt idx="7">
                    <c:v>MBY Gouda 6p</c:v>
                  </c:pt>
                  <c:pt idx="8">
                    <c:v>MBY Swiss 6p</c:v>
                  </c:pt>
                  <c:pt idx="9">
                    <c:v>MBY Cheddar 6p</c:v>
                  </c:pt>
                  <c:pt idx="10">
                    <c:v>MBY Mini Roll</c:v>
                  </c:pt>
                  <c:pt idx="11">
                    <c:v>MBY 2Go</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St Moret</c:v>
                </c:pt>
                <c:pt idx="1">
                  <c:v>Private Label</c:v>
                </c:pt>
                <c:pt idx="2">
                  <c:v>Boursin</c:v>
                </c:pt>
                <c:pt idx="3">
                  <c:v>Paysan Breton</c:v>
                </c:pt>
                <c:pt idx="4">
                  <c:v>Tartare</c:v>
                </c:pt>
                <c:pt idx="5">
                  <c:v>Carre Frais</c:v>
                </c:pt>
                <c:pt idx="6">
                  <c:v>Philadelphia</c:v>
                </c:pt>
                <c:pt idx="7">
                  <c:v>Kiri</c:v>
                </c:pt>
                <c:pt idx="8">
                  <c:v>Others</c:v>
                </c:pt>
              </c:strCache>
            </c:strRef>
          </c:cat>
          <c:val>
            <c:numRef>
              <c:f>Sheet1!$B$2:$B$10</c:f>
              <c:numCache>
                <c:formatCode>General</c:formatCode>
                <c:ptCount val="9"/>
                <c:pt idx="0">
                  <c:v>0.3184318105340781</c:v>
                </c:pt>
                <c:pt idx="1">
                  <c:v>0.1524232303485828</c:v>
                </c:pt>
                <c:pt idx="2">
                  <c:v>0.14743633829284852</c:v>
                </c:pt>
                <c:pt idx="3">
                  <c:v>0.12745933021757178</c:v>
                </c:pt>
                <c:pt idx="4">
                  <c:v>0.12447148518213395</c:v>
                </c:pt>
                <c:pt idx="5">
                  <c:v>0.061351831286174205</c:v>
                </c:pt>
                <c:pt idx="6">
                  <c:v>0.04156936621797469</c:v>
                </c:pt>
                <c:pt idx="7">
                  <c:v>0.008449595488850485</c:v>
                </c:pt>
                <c:pt idx="8">
                  <c:v>0.018407012431785483</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St Moret</c:v>
                </c:pt>
                <c:pt idx="1">
                  <c:v>Private Label</c:v>
                </c:pt>
                <c:pt idx="2">
                  <c:v>Boursin</c:v>
                </c:pt>
                <c:pt idx="3">
                  <c:v>Paysan Breton</c:v>
                </c:pt>
                <c:pt idx="4">
                  <c:v>Tartare</c:v>
                </c:pt>
                <c:pt idx="5">
                  <c:v>Carre Frais</c:v>
                </c:pt>
                <c:pt idx="6">
                  <c:v>Philadelphia</c:v>
                </c:pt>
                <c:pt idx="7">
                  <c:v>Kiri</c:v>
                </c:pt>
                <c:pt idx="8">
                  <c:v>Others</c:v>
                </c:pt>
              </c:strCache>
            </c:strRef>
          </c:cat>
          <c:val>
            <c:numRef>
              <c:f>Sheet1!$C$2:$C$10</c:f>
              <c:numCache>
                <c:formatCode>General</c:formatCode>
                <c:ptCount val="9"/>
                <c:pt idx="0">
                  <c:v>0.15758377932516163</c:v>
                </c:pt>
                <c:pt idx="1">
                  <c:v>0.12635476012353494</c:v>
                </c:pt>
                <c:pt idx="2">
                  <c:v>0.19999616351115462</c:v>
                </c:pt>
                <c:pt idx="3">
                  <c:v>0.117530835779095</c:v>
                </c:pt>
                <c:pt idx="4">
                  <c:v>0.1672133663271374</c:v>
                </c:pt>
                <c:pt idx="5">
                  <c:v>0.057086954019681196</c:v>
                </c:pt>
                <c:pt idx="6">
                  <c:v>0.04083942375937542</c:v>
                </c:pt>
                <c:pt idx="7">
                  <c:v>0.04035986265369934</c:v>
                </c:pt>
                <c:pt idx="8">
                  <c:v>0.09303485450116054</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St Moret</c:v>
                </c:pt>
                <c:pt idx="1">
                  <c:v>Private Label</c:v>
                </c:pt>
                <c:pt idx="2">
                  <c:v>Boursin</c:v>
                </c:pt>
                <c:pt idx="3">
                  <c:v>Paysan Breton</c:v>
                </c:pt>
                <c:pt idx="4">
                  <c:v>Tartare</c:v>
                </c:pt>
                <c:pt idx="5">
                  <c:v>Carre Frais</c:v>
                </c:pt>
                <c:pt idx="6">
                  <c:v>Philadelphia</c:v>
                </c:pt>
                <c:pt idx="7">
                  <c:v>Kiri</c:v>
                </c:pt>
                <c:pt idx="8">
                  <c:v>Others</c:v>
                </c:pt>
              </c:strCache>
            </c:strRef>
          </c:cat>
          <c:val>
            <c:numRef>
              <c:f>Sheet1!$D$2:$D$10</c:f>
              <c:numCache>
                <c:formatCode>General</c:formatCode>
                <c:ptCount val="9"/>
                <c:pt idx="0">
                  <c:v>49.48744883900261</c:v>
                </c:pt>
                <c:pt idx="1">
                  <c:v>82.89731154140296</c:v>
                </c:pt>
                <c:pt idx="2">
                  <c:v>135.64916616004666</c:v>
                </c:pt>
                <c:pt idx="3">
                  <c:v>92.21046084148651</c:v>
                </c:pt>
                <c:pt idx="4">
                  <c:v>134.33869298053366</c:v>
                </c:pt>
                <c:pt idx="5">
                  <c:v>93.0484923154134</c:v>
                </c:pt>
                <c:pt idx="6">
                  <c:v>98.24403755695549</c:v>
                </c:pt>
                <c:pt idx="7">
                  <c:v>477.65437655513193</c:v>
                </c:pt>
                <c:pt idx="8">
                  <c:v>505.43158400059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76A2E8CB-6948-489D-9873-E9A0981BE234}"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95516DD0-143F-449C-83FC-F725C3EC628F}"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899778A2-8401-4398-A4F0-4737EE7C93E8}"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2CB82E7A-E205-4F65-9C1D-326D509E3B7F}"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9A711D6B-7454-4D7F-A143-2D8E640D866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133B6E20-4386-47DE-B97A-053F0DA793FB}"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17F89522-133E-463B-8915-FA1729DF4E5A}"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E06A8DFD-C3C0-42F7-85E1-A33249A972BF}"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E5E8ED28-24EF-4DC5-9CBE-E37D9B5DD48D}"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854A0125-32F4-488F-BEE1-E6AB10D888A4}"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1</c:f>
              <c:numCache>
                <c:formatCode>General</c:formatCode>
                <c:ptCount val="10"/>
                <c:pt idx="0">
                  <c:v>0.97</c:v>
                </c:pt>
                <c:pt idx="1">
                  <c:v>0.86</c:v>
                </c:pt>
                <c:pt idx="2">
                  <c:v>0.62</c:v>
                </c:pt>
                <c:pt idx="3">
                  <c:v>0.54</c:v>
                </c:pt>
                <c:pt idx="4">
                  <c:v>0.42</c:v>
                </c:pt>
                <c:pt idx="5">
                  <c:v>0.99</c:v>
                </c:pt>
                <c:pt idx="6">
                  <c:v>0.63</c:v>
                </c:pt>
                <c:pt idx="7">
                  <c:v>0.71</c:v>
                </c:pt>
                <c:pt idx="8">
                  <c:v>0.99</c:v>
                </c:pt>
                <c:pt idx="9">
                  <c:v>0.73</c:v>
                </c:pt>
              </c:numCache>
            </c:numRef>
          </c:xVal>
          <c:yVal>
            <c:numRef>
              <c:f>Sheet1!$B$2:$B$11</c:f>
              <c:numCache>
                <c:formatCode>General</c:formatCode>
                <c:ptCount val="10"/>
                <c:pt idx="0">
                  <c:v>16372.639175257733</c:v>
                </c:pt>
                <c:pt idx="1">
                  <c:v>21137.0</c:v>
                </c:pt>
                <c:pt idx="2">
                  <c:v>2355.7580645161293</c:v>
                </c:pt>
                <c:pt idx="3">
                  <c:v>2737.277777777778</c:v>
                </c:pt>
                <c:pt idx="4">
                  <c:v>3755.2619047619046</c:v>
                </c:pt>
                <c:pt idx="5">
                  <c:v>11937.040404040405</c:v>
                </c:pt>
                <c:pt idx="6">
                  <c:v>2356.285714285714</c:v>
                </c:pt>
                <c:pt idx="7">
                  <c:v>5146.887323943662</c:v>
                </c:pt>
                <c:pt idx="8">
                  <c:v>9403.747474747475</c:v>
                </c:pt>
                <c:pt idx="9">
                  <c:v>9956.643835616438</c:v>
                </c:pt>
              </c:numCache>
            </c:numRef>
          </c:yVal>
          <c:bubbleSize>
            <c:numRef>
              <c:f>Sheet1!$C$2:$C$11</c:f>
              <c:numCache>
                <c:formatCode>General</c:formatCode>
                <c:ptCount val="10"/>
                <c:pt idx="0">
                  <c:v>1029743.1952999999</c:v>
                </c:pt>
                <c:pt idx="1">
                  <c:v>997758.3252</c:v>
                </c:pt>
                <c:pt idx="2">
                  <c:v>82530.89319999999</c:v>
                </c:pt>
                <c:pt idx="3">
                  <c:v>83329.80059999999</c:v>
                </c:pt>
                <c:pt idx="4">
                  <c:v>96030.5091</c:v>
                </c:pt>
                <c:pt idx="5">
                  <c:v>790489.4105</c:v>
                </c:pt>
                <c:pt idx="6">
                  <c:v>87735.412</c:v>
                </c:pt>
                <c:pt idx="7">
                  <c:v>252465.3258</c:v>
                </c:pt>
                <c:pt idx="8">
                  <c:v>509171.56849999994</c:v>
                </c:pt>
                <c:pt idx="9">
                  <c:v>443910.00560000003</c:v>
                </c:pt>
              </c:numCache>
            </c:numRef>
          </c:bubbleSize>
          <c:bubble3D val="0"/>
          <c:extLst>
            <c:ext xmlns:c15="http://schemas.microsoft.com/office/drawing/2012/chart" uri="{02D57815-91ED-43cb-92C2-25804820EDAC}">
              <c15:datalabelsRange>
                <c15:f>Sheet1!$E$2:$E$21</c15:f>
                <c15:dlblRangeCache>
                  <c:ptCount val="20"/>
                  <c:pt idx="0">
                    <c:v>MBY Original 12p</c:v>
                  </c:pt>
                  <c:pt idx="1">
                    <c:v>MBY Original 18p</c:v>
                  </c:pt>
                  <c:pt idx="2">
                    <c:v>MBY Original 6p</c:v>
                  </c:pt>
                  <c:pt idx="3">
                    <c:v>MBY Variety 12p</c:v>
                  </c:pt>
                  <c:pt idx="4">
                    <c:v>MBY Variety 18p</c:v>
                  </c:pt>
                  <c:pt idx="5">
                    <c:v>MBY Light 12p</c:v>
                  </c:pt>
                  <c:pt idx="6">
                    <c:v>MBY Light 6p</c:v>
                  </c:pt>
                  <c:pt idx="7">
                    <c:v>MBY Gouda 6p</c:v>
                  </c:pt>
                  <c:pt idx="8">
                    <c:v>MBY Swiss 6p</c:v>
                  </c:pt>
                  <c:pt idx="9">
                    <c:v>MBY Cheddar 6p</c:v>
                  </c:pt>
                  <c:pt idx="10">
                    <c:v>MBY Mini Roll</c:v>
                  </c:pt>
                  <c:pt idx="11">
                    <c:v>MBY 2Go</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4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03C12E6A-B4AB-4615-8BFB-9E8CD292042F}"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1F01A4E6-B20C-4405-93EA-8C757D5A2F8A}"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C4499C4B-FF46-4EA1-9636-5D15A330BDC8}"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13A4DD0F-8BC3-4135-BDDB-D14644BA373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1DC6B249-66B4-4BCA-982E-27910CE3DE2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C42E57FF-358A-4D04-A0C1-8AABD5A5EFBC}"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E1293134-8DBD-4856-909E-E4E3BEEA9857}"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D498D485-3B5C-483B-9A1B-EC7E9B64B7D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046C175A-4D05-4270-BC00-D1C0A07D0AC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198C8074-33D3-438D-8EF5-A97CDA4A7C19}"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9</c:f>
              <c:numCache>
                <c:formatCode>General</c:formatCode>
                <c:ptCount val="8"/>
                <c:pt idx="0">
                  <c:v>0.27</c:v>
                </c:pt>
                <c:pt idx="1">
                  <c:v>0.66</c:v>
                </c:pt>
                <c:pt idx="2">
                  <c:v>0.99</c:v>
                </c:pt>
                <c:pt idx="3">
                  <c:v>0.96</c:v>
                </c:pt>
                <c:pt idx="4">
                  <c:v>0.99</c:v>
                </c:pt>
                <c:pt idx="5">
                  <c:v>0.78</c:v>
                </c:pt>
                <c:pt idx="6">
                  <c:v>0.25</c:v>
                </c:pt>
                <c:pt idx="7">
                  <c:v>0.97</c:v>
                </c:pt>
              </c:numCache>
            </c:numRef>
          </c:xVal>
          <c:yVal>
            <c:numRef>
              <c:f>Sheet1!$B$2:$B$9</c:f>
              <c:numCache>
                <c:formatCode>General</c:formatCode>
                <c:ptCount val="8"/>
                <c:pt idx="0">
                  <c:v>3586.0</c:v>
                </c:pt>
                <c:pt idx="1">
                  <c:v>9583.09090909091</c:v>
                </c:pt>
                <c:pt idx="2">
                  <c:v>19283.141414141413</c:v>
                </c:pt>
                <c:pt idx="3">
                  <c:v>23908.927083333332</c:v>
                </c:pt>
                <c:pt idx="4">
                  <c:v>36882.89898989899</c:v>
                </c:pt>
                <c:pt idx="5">
                  <c:v>6125.961538461538</c:v>
                </c:pt>
                <c:pt idx="6">
                  <c:v>1907.64</c:v>
                </c:pt>
                <c:pt idx="7">
                  <c:v>6300.711340206186</c:v>
                </c:pt>
              </c:numCache>
            </c:numRef>
          </c:yVal>
          <c:bubbleSize>
            <c:numRef>
              <c:f>Sheet1!$C$2:$C$9</c:f>
              <c:numCache>
                <c:formatCode>General</c:formatCode>
                <c:ptCount val="8"/>
                <c:pt idx="0">
                  <c:v>57399.4148</c:v>
                </c:pt>
                <c:pt idx="1">
                  <c:v>352968.0401</c:v>
                </c:pt>
                <c:pt idx="2">
                  <c:v>1116328.0320999997</c:v>
                </c:pt>
                <c:pt idx="3">
                  <c:v>1451796.8903</c:v>
                </c:pt>
                <c:pt idx="4">
                  <c:v>2274744.2531999997</c:v>
                </c:pt>
                <c:pt idx="5">
                  <c:v>339328.07600000006</c:v>
                </c:pt>
                <c:pt idx="6">
                  <c:v>23255.5641</c:v>
                </c:pt>
                <c:pt idx="7">
                  <c:v>357551.62440000003</c:v>
                </c:pt>
              </c:numCache>
            </c:numRef>
          </c:bubbleSize>
          <c:bubble3D val="0"/>
          <c:extLst>
            <c:ext xmlns:c15="http://schemas.microsoft.com/office/drawing/2012/chart" uri="{02D57815-91ED-43cb-92C2-25804820EDAC}">
              <c15:datalabelsRange>
                <c15:f>Sheet1!$E$2:$E$21</c15:f>
                <c15:dlblRangeCache>
                  <c:ptCount val="20"/>
                  <c:pt idx="0">
                    <c:v>MBY Original 12p</c:v>
                  </c:pt>
                  <c:pt idx="1">
                    <c:v>MBY Original 18p</c:v>
                  </c:pt>
                  <c:pt idx="2">
                    <c:v>MBY Original 6p</c:v>
                  </c:pt>
                  <c:pt idx="3">
                    <c:v>MBY Variety 12p</c:v>
                  </c:pt>
                  <c:pt idx="4">
                    <c:v>MBY Variety 18p</c:v>
                  </c:pt>
                  <c:pt idx="5">
                    <c:v>MBY Light 12p</c:v>
                  </c:pt>
                  <c:pt idx="6">
                    <c:v>MBY Light 6p</c:v>
                  </c:pt>
                  <c:pt idx="7">
                    <c:v>MBY Gouda 6p</c:v>
                  </c:pt>
                  <c:pt idx="8">
                    <c:v>MBY Swiss 6p</c:v>
                  </c:pt>
                  <c:pt idx="9">
                    <c:v>MBY Cheddar 6p</c:v>
                  </c:pt>
                  <c:pt idx="10">
                    <c:v>MBY Mini Roll</c:v>
                  </c:pt>
                  <c:pt idx="11">
                    <c:v>MBY 2Go</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4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619C8820-551B-4539-A45B-F24B6656240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057B15EE-2007-4869-9F7D-2532DFB06CE2}"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D8CC1D1D-750B-4C71-8493-41C0668A3E2A}"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88655A8C-64EF-49FD-916B-ADF7CA36CAFD}"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E85A45F1-F2BA-418E-9883-20ADEBFB062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C2996566-4260-42E0-97DD-BDA9E4CD5F6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F528460D-7632-4564-92EC-26586665F78B}"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868188C0-F58B-4DA7-A997-C3EDB6724462}"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4114CF8B-62C2-444B-A109-7F173A51283C}"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A62F6465-34D9-4BA9-990A-1504D3A6E87C}"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9</c:f>
              <c:numCache>
                <c:formatCode>General</c:formatCode>
                <c:ptCount val="18"/>
                <c:pt idx="0">
                  <c:v>0.98</c:v>
                </c:pt>
                <c:pt idx="1">
                  <c:v>0.37</c:v>
                </c:pt>
                <c:pt idx="2">
                  <c:v>0.99</c:v>
                </c:pt>
                <c:pt idx="3">
                  <c:v>0.89</c:v>
                </c:pt>
                <c:pt idx="4">
                  <c:v>0.65</c:v>
                </c:pt>
                <c:pt idx="5">
                  <c:v>0.51</c:v>
                </c:pt>
                <c:pt idx="6">
                  <c:v>0.61</c:v>
                </c:pt>
                <c:pt idx="7">
                  <c:v>0.41</c:v>
                </c:pt>
                <c:pt idx="8">
                  <c:v>0.91</c:v>
                </c:pt>
                <c:pt idx="9">
                  <c:v>0.95</c:v>
                </c:pt>
                <c:pt idx="10">
                  <c:v>0.85</c:v>
                </c:pt>
                <c:pt idx="11">
                  <c:v>0.03</c:v>
                </c:pt>
                <c:pt idx="12">
                  <c:v>0.99</c:v>
                </c:pt>
                <c:pt idx="13">
                  <c:v>0.91</c:v>
                </c:pt>
                <c:pt idx="14">
                  <c:v>0.79</c:v>
                </c:pt>
                <c:pt idx="15">
                  <c:v>0.95</c:v>
                </c:pt>
                <c:pt idx="16">
                  <c:v>0.72</c:v>
                </c:pt>
                <c:pt idx="17">
                  <c:v>0.71</c:v>
                </c:pt>
              </c:numCache>
            </c:numRef>
          </c:xVal>
          <c:yVal>
            <c:numRef>
              <c:f>Sheet1!$B$2:$B$19</c:f>
              <c:numCache>
                <c:formatCode>General</c:formatCode>
                <c:ptCount val="18"/>
                <c:pt idx="0">
                  <c:v>12114.479591836734</c:v>
                </c:pt>
                <c:pt idx="1">
                  <c:v>535.8648648648649</c:v>
                </c:pt>
                <c:pt idx="2">
                  <c:v>11147.282828282829</c:v>
                </c:pt>
                <c:pt idx="3">
                  <c:v>3558.674157303371</c:v>
                </c:pt>
                <c:pt idx="4">
                  <c:v>1122.0923076923077</c:v>
                </c:pt>
                <c:pt idx="5">
                  <c:v>247.92156862745097</c:v>
                </c:pt>
                <c:pt idx="6">
                  <c:v>611.5573770491803</c:v>
                </c:pt>
                <c:pt idx="7">
                  <c:v>486.0487804878049</c:v>
                </c:pt>
                <c:pt idx="8">
                  <c:v>5526.197802197802</c:v>
                </c:pt>
                <c:pt idx="9">
                  <c:v>10084.61052631579</c:v>
                </c:pt>
                <c:pt idx="10">
                  <c:v>3883.3764705882354</c:v>
                </c:pt>
                <c:pt idx="11">
                  <c:v>989.6666666666666</c:v>
                </c:pt>
                <c:pt idx="12">
                  <c:v>7616.333333333333</c:v>
                </c:pt>
                <c:pt idx="13">
                  <c:v>1998.6373626373627</c:v>
                </c:pt>
                <c:pt idx="14">
                  <c:v>776.2911392405064</c:v>
                </c:pt>
                <c:pt idx="15">
                  <c:v>1784.8315789473684</c:v>
                </c:pt>
                <c:pt idx="16">
                  <c:v>1265.2916666666667</c:v>
                </c:pt>
                <c:pt idx="17">
                  <c:v>908.5915492957746</c:v>
                </c:pt>
              </c:numCache>
            </c:numRef>
          </c:yVal>
          <c:bubbleSize>
            <c:numRef>
              <c:f>Sheet1!$C$2:$C$19</c:f>
              <c:numCache>
                <c:formatCode>General</c:formatCode>
                <c:ptCount val="18"/>
                <c:pt idx="0">
                  <c:v>730494.22</c:v>
                </c:pt>
                <c:pt idx="1">
                  <c:v>12435.3884</c:v>
                </c:pt>
                <c:pt idx="2">
                  <c:v>733678.5325999999</c:v>
                </c:pt>
                <c:pt idx="3">
                  <c:v>199793.7276</c:v>
                </c:pt>
                <c:pt idx="4">
                  <c:v>44525.3437</c:v>
                </c:pt>
                <c:pt idx="5">
                  <c:v>7309.838999999999</c:v>
                </c:pt>
                <c:pt idx="6">
                  <c:v>16035.281699999998</c:v>
                </c:pt>
                <c:pt idx="7">
                  <c:v>8438.853000000001</c:v>
                </c:pt>
                <c:pt idx="8">
                  <c:v>306494.22589999996</c:v>
                </c:pt>
                <c:pt idx="9">
                  <c:v>588623.4519</c:v>
                </c:pt>
                <c:pt idx="10">
                  <c:v>188241.61899999998</c:v>
                </c:pt>
                <c:pt idx="11">
                  <c:v>1513.6466000000003</c:v>
                </c:pt>
                <c:pt idx="12">
                  <c:v>468795.9846999999</c:v>
                </c:pt>
                <c:pt idx="13">
                  <c:v>89507.25500000002</c:v>
                </c:pt>
                <c:pt idx="14">
                  <c:v>27188.0808</c:v>
                </c:pt>
                <c:pt idx="15">
                  <c:v>97662.7545</c:v>
                </c:pt>
                <c:pt idx="16">
                  <c:v>49804.415400000005</c:v>
                </c:pt>
                <c:pt idx="17">
                  <c:v>35948.457</c:v>
                </c:pt>
              </c:numCache>
            </c:numRef>
          </c:bubbleSize>
          <c:bubble3D val="0"/>
          <c:extLst>
            <c:ext xmlns:c15="http://schemas.microsoft.com/office/drawing/2012/chart" uri="{02D57815-91ED-43cb-92C2-25804820EDAC}">
              <c15:datalabelsRange>
                <c15:f>Sheet1!$E$2:$E$21</c15:f>
                <c15:dlblRangeCache>
                  <c:ptCount val="20"/>
                  <c:pt idx="0">
                    <c:v>MBY Original 12p</c:v>
                  </c:pt>
                  <c:pt idx="1">
                    <c:v>MBY Original 18p</c:v>
                  </c:pt>
                  <c:pt idx="2">
                    <c:v>MBY Original 6p</c:v>
                  </c:pt>
                  <c:pt idx="3">
                    <c:v>MBY Variety 12p</c:v>
                  </c:pt>
                  <c:pt idx="4">
                    <c:v>MBY Variety 18p</c:v>
                  </c:pt>
                  <c:pt idx="5">
                    <c:v>MBY Light 12p</c:v>
                  </c:pt>
                  <c:pt idx="6">
                    <c:v>MBY Light 6p</c:v>
                  </c:pt>
                  <c:pt idx="7">
                    <c:v>MBY Gouda 6p</c:v>
                  </c:pt>
                  <c:pt idx="8">
                    <c:v>MBY Swiss 6p</c:v>
                  </c:pt>
                  <c:pt idx="9">
                    <c:v>MBY Cheddar 6p</c:v>
                  </c:pt>
                  <c:pt idx="10">
                    <c:v>MBY Mini Roll</c:v>
                  </c:pt>
                  <c:pt idx="11">
                    <c:v>MBY 2Go</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4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3C6EAF10-90C3-4C65-864D-D1FD0B60D0F9}"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DDB8346B-59FF-4C75-8F5F-13AECF1753F0}"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97159A0B-B2AF-4DB0-9FFD-5CEBE0B4B534}"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5EB5499B-49DD-4A11-A085-7DE55153534A}"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316F8C07-2256-4E18-8175-12768BD5CD8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096912BD-0ACF-42E9-A781-FDB461728BFF}"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58EBA1A8-09D8-47F0-86D6-A186FF2F6BBF}"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981A6C4D-3C9B-4AA5-AD37-9CA49842ADE0}"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E261E25E-B5C7-4AB8-85E1-3A1BA4DCD92A}"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24731538-E738-4198-8508-6729029D49F9}"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7</c:f>
              <c:numCache>
                <c:formatCode>General</c:formatCode>
                <c:ptCount val="6"/>
                <c:pt idx="0">
                  <c:v>0.06</c:v>
                </c:pt>
                <c:pt idx="1">
                  <c:v>0.56</c:v>
                </c:pt>
                <c:pt idx="2">
                  <c:v>0.96</c:v>
                </c:pt>
                <c:pt idx="3">
                  <c:v>0.27</c:v>
                </c:pt>
                <c:pt idx="4">
                  <c:v>0.71</c:v>
                </c:pt>
                <c:pt idx="5">
                  <c:v>0.02</c:v>
                </c:pt>
              </c:numCache>
            </c:numRef>
          </c:xVal>
          <c:yVal>
            <c:numRef>
              <c:f>Sheet1!$B$2:$B$7</c:f>
              <c:numCache>
                <c:formatCode>General</c:formatCode>
                <c:ptCount val="6"/>
                <c:pt idx="0">
                  <c:v>6803.333333333333</c:v>
                </c:pt>
                <c:pt idx="1">
                  <c:v>6336.732142857142</c:v>
                </c:pt>
                <c:pt idx="2">
                  <c:v>24603.90625</c:v>
                </c:pt>
                <c:pt idx="3">
                  <c:v>4204.222222222223</c:v>
                </c:pt>
                <c:pt idx="4">
                  <c:v>11954.0</c:v>
                </c:pt>
                <c:pt idx="5">
                  <c:v>7187.0</c:v>
                </c:pt>
              </c:numCache>
            </c:numRef>
          </c:yVal>
          <c:bubbleSize>
            <c:numRef>
              <c:f>Sheet1!$C$2:$C$7</c:f>
              <c:numCache>
                <c:formatCode>General</c:formatCode>
                <c:ptCount val="6"/>
                <c:pt idx="0">
                  <c:v>25256.3515</c:v>
                </c:pt>
                <c:pt idx="1">
                  <c:v>178439.9606</c:v>
                </c:pt>
                <c:pt idx="2">
                  <c:v>1298103.7783000001</c:v>
                </c:pt>
                <c:pt idx="3">
                  <c:v>61878.7852</c:v>
                </c:pt>
                <c:pt idx="4">
                  <c:v>383488.5416</c:v>
                </c:pt>
                <c:pt idx="5">
                  <c:v>8236.3448</c:v>
                </c:pt>
              </c:numCache>
            </c:numRef>
          </c:bubbleSize>
          <c:bubble3D val="0"/>
          <c:extLst>
            <c:ext xmlns:c15="http://schemas.microsoft.com/office/drawing/2012/chart" uri="{02D57815-91ED-43cb-92C2-25804820EDAC}">
              <c15:datalabelsRange>
                <c15:f>Sheet1!$E$2:$E$21</c15:f>
                <c15:dlblRangeCache>
                  <c:ptCount val="20"/>
                  <c:pt idx="0">
                    <c:v>MBY Original 12p</c:v>
                  </c:pt>
                  <c:pt idx="1">
                    <c:v>MBY Original 18p</c:v>
                  </c:pt>
                  <c:pt idx="2">
                    <c:v>MBY Original 6p</c:v>
                  </c:pt>
                  <c:pt idx="3">
                    <c:v>MBY Variety 12p</c:v>
                  </c:pt>
                  <c:pt idx="4">
                    <c:v>MBY Variety 18p</c:v>
                  </c:pt>
                  <c:pt idx="5">
                    <c:v>MBY Light 12p</c:v>
                  </c:pt>
                  <c:pt idx="6">
                    <c:v>MBY Light 6p</c:v>
                  </c:pt>
                  <c:pt idx="7">
                    <c:v>MBY Gouda 6p</c:v>
                  </c:pt>
                  <c:pt idx="8">
                    <c:v>MBY Swiss 6p</c:v>
                  </c:pt>
                  <c:pt idx="9">
                    <c:v>MBY Cheddar 6p</c:v>
                  </c:pt>
                  <c:pt idx="10">
                    <c:v>MBY Mini Roll</c:v>
                  </c:pt>
                  <c:pt idx="11">
                    <c:v>MBY 2Go</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4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E3691A41-693B-4877-8BBF-FF14D715F6D9}"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1BB62834-5F0A-48A1-8ABA-F377639E858C}"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DB184320-5A7F-47C0-B55F-93274D8BE276}"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0DC90CEC-5067-4A63-83D6-489D7DE7FE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A2016CFB-1E48-44B7-AEA5-5389E448424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C5EC8024-ED91-480C-AA40-D473FF9C54FB}"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BFFA300A-DA04-4791-8AE3-137A5A4B0936}"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0ABDC560-8101-4116-8559-CBD3EBDC041B}"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53CA5120-9742-4E68-8380-51235D3622AC}"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C39EA19B-5233-45CB-AFDF-8D2A81B6974C}"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7</c:f>
              <c:numCache>
                <c:formatCode>General</c:formatCode>
                <c:ptCount val="6"/>
                <c:pt idx="0">
                  <c:v>0.09</c:v>
                </c:pt>
                <c:pt idx="1">
                  <c:v>0.91</c:v>
                </c:pt>
                <c:pt idx="2">
                  <c:v>0.47</c:v>
                </c:pt>
                <c:pt idx="3">
                  <c:v>0.05</c:v>
                </c:pt>
                <c:pt idx="4">
                  <c:v>0.08</c:v>
                </c:pt>
                <c:pt idx="5">
                  <c:v>0.51</c:v>
                </c:pt>
              </c:numCache>
            </c:numRef>
          </c:xVal>
          <c:yVal>
            <c:numRef>
              <c:f>Sheet1!$B$2:$B$7</c:f>
              <c:numCache>
                <c:formatCode>General</c:formatCode>
                <c:ptCount val="6"/>
                <c:pt idx="0">
                  <c:v>14182.0</c:v>
                </c:pt>
                <c:pt idx="1">
                  <c:v>30497.54945054945</c:v>
                </c:pt>
                <c:pt idx="2">
                  <c:v>28146.978723404256</c:v>
                </c:pt>
                <c:pt idx="3">
                  <c:v>4702.2</c:v>
                </c:pt>
                <c:pt idx="4">
                  <c:v>3558.5</c:v>
                </c:pt>
                <c:pt idx="5">
                  <c:v>8683.745098039215</c:v>
                </c:pt>
              </c:numCache>
            </c:numRef>
          </c:yVal>
          <c:bubbleSize>
            <c:numRef>
              <c:f>Sheet1!$C$2:$C$7</c:f>
              <c:numCache>
                <c:formatCode>General</c:formatCode>
                <c:ptCount val="6"/>
                <c:pt idx="0">
                  <c:v>63895.0924</c:v>
                </c:pt>
                <c:pt idx="1">
                  <c:v>1430100.4967999998</c:v>
                </c:pt>
                <c:pt idx="2">
                  <c:v>696022.6984</c:v>
                </c:pt>
                <c:pt idx="3">
                  <c:v>9603.1772</c:v>
                </c:pt>
                <c:pt idx="4">
                  <c:v>13063.7887</c:v>
                </c:pt>
                <c:pt idx="5">
                  <c:v>224873.70239999998</c:v>
                </c:pt>
              </c:numCache>
            </c:numRef>
          </c:bubbleSize>
          <c:bubble3D val="0"/>
          <c:extLst>
            <c:ext xmlns:c15="http://schemas.microsoft.com/office/drawing/2012/chart" uri="{02D57815-91ED-43cb-92C2-25804820EDAC}">
              <c15:datalabelsRange>
                <c15:f>Sheet1!$E$2:$E$21</c15:f>
                <c15:dlblRangeCache>
                  <c:ptCount val="20"/>
                  <c:pt idx="0">
                    <c:v>MBY Original 12p</c:v>
                  </c:pt>
                  <c:pt idx="1">
                    <c:v>MBY Original 18p</c:v>
                  </c:pt>
                  <c:pt idx="2">
                    <c:v>MBY Original 6p</c:v>
                  </c:pt>
                  <c:pt idx="3">
                    <c:v>MBY Variety 12p</c:v>
                  </c:pt>
                  <c:pt idx="4">
                    <c:v>MBY Variety 18p</c:v>
                  </c:pt>
                  <c:pt idx="5">
                    <c:v>MBY Light 12p</c:v>
                  </c:pt>
                  <c:pt idx="6">
                    <c:v>MBY Light 6p</c:v>
                  </c:pt>
                  <c:pt idx="7">
                    <c:v>MBY Gouda 6p</c:v>
                  </c:pt>
                  <c:pt idx="8">
                    <c:v>MBY Swiss 6p</c:v>
                  </c:pt>
                  <c:pt idx="9">
                    <c:v>MBY Cheddar 6p</c:v>
                  </c:pt>
                  <c:pt idx="10">
                    <c:v>MBY Mini Roll</c:v>
                  </c:pt>
                  <c:pt idx="11">
                    <c:v>MBY 2Go</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4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C21968F7-D9C9-48C3-8A61-2EED97074798}"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94D7ED83-DB98-43F4-8684-A2F2211FFECF}"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0EC3E4AF-CF86-4C37-8FCE-D0A051DFDB24}"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D54E5F61-C9B2-45C4-85A4-4E05260E89C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2C6E7113-5F24-4BE2-BE2F-734D534427A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9C5EB898-7CB8-40B3-8A52-F4C542A8ECD6}"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8F90C9DF-7EAF-49A0-B423-0EFC91DD9DF2}"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99B1B8B2-5CA9-4710-AA3A-6B43818AFD0F}"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CC03201B-7F51-4EAA-9828-78E8739B5CA4}"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5D35489F-DBA0-449F-A991-8C5A70C5FB6A}"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8</c:f>
              <c:numCache>
                <c:formatCode>General</c:formatCode>
                <c:ptCount val="7"/>
                <c:pt idx="0">
                  <c:v>0.53</c:v>
                </c:pt>
                <c:pt idx="1">
                  <c:v>0.83</c:v>
                </c:pt>
                <c:pt idx="2">
                  <c:v>0.08</c:v>
                </c:pt>
                <c:pt idx="3">
                  <c:v>0.1</c:v>
                </c:pt>
                <c:pt idx="4">
                  <c:v>0.11</c:v>
                </c:pt>
                <c:pt idx="5">
                  <c:v>0.12</c:v>
                </c:pt>
                <c:pt idx="6">
                  <c:v>0.79</c:v>
                </c:pt>
              </c:numCache>
            </c:numRef>
          </c:xVal>
          <c:yVal>
            <c:numRef>
              <c:f>Sheet1!$B$2:$B$8</c:f>
              <c:numCache>
                <c:formatCode>General</c:formatCode>
                <c:ptCount val="7"/>
                <c:pt idx="0">
                  <c:v>13191.32075471698</c:v>
                </c:pt>
                <c:pt idx="1">
                  <c:v>15938.253012048193</c:v>
                </c:pt>
                <c:pt idx="2">
                  <c:v>5998.125</c:v>
                </c:pt>
                <c:pt idx="3">
                  <c:v>456.8</c:v>
                </c:pt>
                <c:pt idx="4">
                  <c:v>1914.8181818181818</c:v>
                </c:pt>
                <c:pt idx="5">
                  <c:v>3634.8333333333335</c:v>
                </c:pt>
                <c:pt idx="6">
                  <c:v>7412.088607594937</c:v>
                </c:pt>
              </c:numCache>
            </c:numRef>
          </c:yVal>
          <c:bubbleSize>
            <c:numRef>
              <c:f>Sheet1!$C$2:$C$8</c:f>
              <c:numCache>
                <c:formatCode>General</c:formatCode>
                <c:ptCount val="7"/>
                <c:pt idx="0">
                  <c:v>403400.8740000001</c:v>
                </c:pt>
                <c:pt idx="1">
                  <c:v>717579.9723999999</c:v>
                </c:pt>
                <c:pt idx="2">
                  <c:v>23113.3438</c:v>
                </c:pt>
                <c:pt idx="3">
                  <c:v>2630.9526</c:v>
                </c:pt>
                <c:pt idx="4">
                  <c:v>11275.9124</c:v>
                </c:pt>
                <c:pt idx="5">
                  <c:v>23675.9073</c:v>
                </c:pt>
                <c:pt idx="6">
                  <c:v>268250.098</c:v>
                </c:pt>
              </c:numCache>
            </c:numRef>
          </c:bubbleSize>
          <c:bubble3D val="0"/>
          <c:extLst>
            <c:ext xmlns:c15="http://schemas.microsoft.com/office/drawing/2012/chart" uri="{02D57815-91ED-43cb-92C2-25804820EDAC}">
              <c15:datalabelsRange>
                <c15:f>Sheet1!$E$2:$E$21</c15:f>
                <c15:dlblRangeCache>
                  <c:ptCount val="20"/>
                  <c:pt idx="0">
                    <c:v>MBY Original 12p</c:v>
                  </c:pt>
                  <c:pt idx="1">
                    <c:v>MBY Original 18p</c:v>
                  </c:pt>
                  <c:pt idx="2">
                    <c:v>MBY Original 6p</c:v>
                  </c:pt>
                  <c:pt idx="3">
                    <c:v>MBY Variety 12p</c:v>
                  </c:pt>
                  <c:pt idx="4">
                    <c:v>MBY Variety 18p</c:v>
                  </c:pt>
                  <c:pt idx="5">
                    <c:v>MBY Light 12p</c:v>
                  </c:pt>
                  <c:pt idx="6">
                    <c:v>MBY Light 6p</c:v>
                  </c:pt>
                  <c:pt idx="7">
                    <c:v>MBY Gouda 6p</c:v>
                  </c:pt>
                  <c:pt idx="8">
                    <c:v>MBY Swiss 6p</c:v>
                  </c:pt>
                  <c:pt idx="9">
                    <c:v>MBY Cheddar 6p</c:v>
                  </c:pt>
                  <c:pt idx="10">
                    <c:v>MBY Mini Roll</c:v>
                  </c:pt>
                  <c:pt idx="11">
                    <c:v>MBY 2Go</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4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19556360-9727-4A18-B6B9-CB6F3AA7B0D7}"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C3ABEC3F-E2EA-47FA-8989-4DD38E42F56E}"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1C8D8B39-1070-43CF-9AD6-2779B7B79297}"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36EC55C3-385A-49BC-848F-7957C5D6F0B7}"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62C0EEE8-C594-4304-B6B0-63D32C62100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C5C59362-DC57-48E8-85E5-C25350EA0D18}"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B02CD063-45B8-4DFC-95D3-05DA3DB269FA}"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7F338CA8-CB43-4A7A-8874-8F76BBABCEC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32DE2234-5731-4F42-BB03-5490466DC1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8AE6466E-E281-4017-A345-EFA192E91414}"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2</c:f>
              <c:numCache>
                <c:formatCode>General</c:formatCode>
                <c:ptCount val="11"/>
                <c:pt idx="0">
                  <c:v>0.99</c:v>
                </c:pt>
                <c:pt idx="1">
                  <c:v>0.89</c:v>
                </c:pt>
                <c:pt idx="2">
                  <c:v>0.87</c:v>
                </c:pt>
                <c:pt idx="3">
                  <c:v>0.38</c:v>
                </c:pt>
                <c:pt idx="4">
                  <c:v>0.6</c:v>
                </c:pt>
                <c:pt idx="5">
                  <c:v>0.99</c:v>
                </c:pt>
                <c:pt idx="6">
                  <c:v>0.94</c:v>
                </c:pt>
                <c:pt idx="7">
                  <c:v>0.83</c:v>
                </c:pt>
                <c:pt idx="8">
                  <c:v>0.99</c:v>
                </c:pt>
                <c:pt idx="9">
                  <c:v>0.96</c:v>
                </c:pt>
                <c:pt idx="10">
                  <c:v>0.68</c:v>
                </c:pt>
              </c:numCache>
            </c:numRef>
          </c:xVal>
          <c:yVal>
            <c:numRef>
              <c:f>Sheet1!$B$2:$B$12</c:f>
              <c:numCache>
                <c:formatCode>General</c:formatCode>
                <c:ptCount val="11"/>
                <c:pt idx="0">
                  <c:v>33468.14141414141</c:v>
                </c:pt>
                <c:pt idx="1">
                  <c:v>32269.03370786517</c:v>
                </c:pt>
                <c:pt idx="2">
                  <c:v>4455.919540229885</c:v>
                </c:pt>
                <c:pt idx="3">
                  <c:v>372.55263157894734</c:v>
                </c:pt>
                <c:pt idx="4">
                  <c:v>5208.266666666666</c:v>
                </c:pt>
                <c:pt idx="5">
                  <c:v>18609.40404040404</c:v>
                </c:pt>
                <c:pt idx="6">
                  <c:v>2162.531914893617</c:v>
                </c:pt>
                <c:pt idx="7">
                  <c:v>2418.6506024096384</c:v>
                </c:pt>
                <c:pt idx="8">
                  <c:v>14583.535353535353</c:v>
                </c:pt>
                <c:pt idx="9">
                  <c:v>20546.0</c:v>
                </c:pt>
                <c:pt idx="10">
                  <c:v>4180.294117647059</c:v>
                </c:pt>
              </c:numCache>
            </c:numRef>
          </c:yVal>
          <c:bubbleSize>
            <c:numRef>
              <c:f>Sheet1!$C$2:$C$12</c:f>
              <c:numCache>
                <c:formatCode>General</c:formatCode>
                <c:ptCount val="11"/>
                <c:pt idx="0">
                  <c:v>2131265.6236</c:v>
                </c:pt>
                <c:pt idx="1">
                  <c:v>1770957.3417000002</c:v>
                </c:pt>
                <c:pt idx="2">
                  <c:v>199191.6838</c:v>
                </c:pt>
                <c:pt idx="3">
                  <c:v>6682.76</c:v>
                </c:pt>
                <c:pt idx="4">
                  <c:v>155071.3642</c:v>
                </c:pt>
                <c:pt idx="5">
                  <c:v>1147936.0168</c:v>
                </c:pt>
                <c:pt idx="6">
                  <c:v>115246.484</c:v>
                </c:pt>
                <c:pt idx="7">
                  <c:v>136986.13999999998</c:v>
                </c:pt>
                <c:pt idx="8">
                  <c:v>867137.4487</c:v>
                </c:pt>
                <c:pt idx="9">
                  <c:v>1195605.3462</c:v>
                </c:pt>
                <c:pt idx="10">
                  <c:v>140324.76739999998</c:v>
                </c:pt>
              </c:numCache>
            </c:numRef>
          </c:bubbleSize>
          <c:bubble3D val="0"/>
          <c:extLst>
            <c:ext xmlns:c15="http://schemas.microsoft.com/office/drawing/2012/chart" uri="{02D57815-91ED-43cb-92C2-25804820EDAC}">
              <c15:datalabelsRange>
                <c15:f>Sheet1!$E$2:$E$21</c15:f>
                <c15:dlblRangeCache>
                  <c:ptCount val="20"/>
                  <c:pt idx="0">
                    <c:v>MBY Original 12p</c:v>
                  </c:pt>
                  <c:pt idx="1">
                    <c:v>MBY Original 18p</c:v>
                  </c:pt>
                  <c:pt idx="2">
                    <c:v>MBY Original 6p</c:v>
                  </c:pt>
                  <c:pt idx="3">
                    <c:v>MBY Variety 12p</c:v>
                  </c:pt>
                  <c:pt idx="4">
                    <c:v>MBY Variety 18p</c:v>
                  </c:pt>
                  <c:pt idx="5">
                    <c:v>MBY Light 12p</c:v>
                  </c:pt>
                  <c:pt idx="6">
                    <c:v>MBY Light 6p</c:v>
                  </c:pt>
                  <c:pt idx="7">
                    <c:v>MBY Gouda 6p</c:v>
                  </c:pt>
                  <c:pt idx="8">
                    <c:v>MBY Swiss 6p</c:v>
                  </c:pt>
                  <c:pt idx="9">
                    <c:v>MBY Cheddar 6p</c:v>
                  </c:pt>
                  <c:pt idx="10">
                    <c:v>MBY Mini Roll</c:v>
                  </c:pt>
                  <c:pt idx="11">
                    <c:v>MBY 2Go</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4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B5BC5EE5-5AA7-46DE-BBDB-1B157B555BCE}"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29A971A5-41C7-4DD7-BEBC-FF193D658956}"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14C4612A-8CEB-43CD-92AA-FD235E94F19C}"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DA9EA19E-9656-464F-B5B2-35CCB31AC748}"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833464A0-0D59-433B-85B7-5EC18A3A508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8B8E49DC-BA85-482C-BA03-F31A274174D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5DF6E091-A0D7-4E23-A8EF-38DB49CDF6C9}"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866BA624-40DC-4913-A95F-C409113F05C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F3D7B989-0E44-4766-AC42-33E63B749959}"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23FE925D-7DEB-4635-B8A6-5989E4261218}"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9</c:f>
              <c:numCache>
                <c:formatCode>General</c:formatCode>
                <c:ptCount val="8"/>
                <c:pt idx="0">
                  <c:v>0.69</c:v>
                </c:pt>
                <c:pt idx="1">
                  <c:v>0.87</c:v>
                </c:pt>
                <c:pt idx="2">
                  <c:v>1.0</c:v>
                </c:pt>
                <c:pt idx="3">
                  <c:v>0.97</c:v>
                </c:pt>
                <c:pt idx="4">
                  <c:v>0.98</c:v>
                </c:pt>
                <c:pt idx="5">
                  <c:v>0.25</c:v>
                </c:pt>
                <c:pt idx="6">
                  <c:v>0.97</c:v>
                </c:pt>
                <c:pt idx="7">
                  <c:v>0.89</c:v>
                </c:pt>
              </c:numCache>
            </c:numRef>
          </c:xVal>
          <c:yVal>
            <c:numRef>
              <c:f>Sheet1!$B$2:$B$9</c:f>
              <c:numCache>
                <c:formatCode>General</c:formatCode>
                <c:ptCount val="8"/>
                <c:pt idx="0">
                  <c:v>5071.260869565217</c:v>
                </c:pt>
                <c:pt idx="1">
                  <c:v>7595.781609195402</c:v>
                </c:pt>
                <c:pt idx="2">
                  <c:v>45209.37</c:v>
                </c:pt>
                <c:pt idx="3">
                  <c:v>38529.47422680412</c:v>
                </c:pt>
                <c:pt idx="4">
                  <c:v>58923.051020408166</c:v>
                </c:pt>
                <c:pt idx="5">
                  <c:v>990.84</c:v>
                </c:pt>
                <c:pt idx="6">
                  <c:v>10108.0</c:v>
                </c:pt>
                <c:pt idx="7">
                  <c:v>10818.426966292134</c:v>
                </c:pt>
              </c:numCache>
            </c:numRef>
          </c:yVal>
          <c:bubbleSize>
            <c:numRef>
              <c:f>Sheet1!$C$2:$C$9</c:f>
              <c:numCache>
                <c:formatCode>General</c:formatCode>
                <c:ptCount val="8"/>
                <c:pt idx="0">
                  <c:v>153372.101</c:v>
                </c:pt>
                <c:pt idx="1">
                  <c:v>357216.5298</c:v>
                </c:pt>
                <c:pt idx="2">
                  <c:v>2588496.7709999997</c:v>
                </c:pt>
                <c:pt idx="3">
                  <c:v>2269501.2134</c:v>
                </c:pt>
                <c:pt idx="4">
                  <c:v>3724121.2061000005</c:v>
                </c:pt>
                <c:pt idx="5">
                  <c:v>17714.462399999997</c:v>
                </c:pt>
                <c:pt idx="6">
                  <c:v>540684.2676000001</c:v>
                </c:pt>
                <c:pt idx="7">
                  <c:v>467206.7514</c:v>
                </c:pt>
              </c:numCache>
            </c:numRef>
          </c:bubbleSize>
          <c:bubble3D val="0"/>
          <c:extLst>
            <c:ext xmlns:c15="http://schemas.microsoft.com/office/drawing/2012/chart" uri="{02D57815-91ED-43cb-92C2-25804820EDAC}">
              <c15:datalabelsRange>
                <c15:f>Sheet1!$E$2:$E$21</c15:f>
                <c15:dlblRangeCache>
                  <c:ptCount val="20"/>
                  <c:pt idx="0">
                    <c:v>MBY Original 12p</c:v>
                  </c:pt>
                  <c:pt idx="1">
                    <c:v>MBY Original 18p</c:v>
                  </c:pt>
                  <c:pt idx="2">
                    <c:v>MBY Original 6p</c:v>
                  </c:pt>
                  <c:pt idx="3">
                    <c:v>MBY Variety 12p</c:v>
                  </c:pt>
                  <c:pt idx="4">
                    <c:v>MBY Variety 18p</c:v>
                  </c:pt>
                  <c:pt idx="5">
                    <c:v>MBY Light 12p</c:v>
                  </c:pt>
                  <c:pt idx="6">
                    <c:v>MBY Light 6p</c:v>
                  </c:pt>
                  <c:pt idx="7">
                    <c:v>MBY Gouda 6p</c:v>
                  </c:pt>
                  <c:pt idx="8">
                    <c:v>MBY Swiss 6p</c:v>
                  </c:pt>
                  <c:pt idx="9">
                    <c:v>MBY Cheddar 6p</c:v>
                  </c:pt>
                  <c:pt idx="10">
                    <c:v>MBY Mini Roll</c:v>
                  </c:pt>
                  <c:pt idx="11">
                    <c:v>MBY 2Go</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4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C667C835-E14D-4C51-A808-797BCF8E512F}"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290369A9-42B8-4048-B696-A2A7B9088B68}"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F2C783A3-A324-4267-873C-6A5BD71B47C0}"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C7E3C0FE-8365-4238-B285-B801F8940E76}"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3C91E13A-A182-4D0C-8D56-FB68974AF06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E909BEE2-E6AD-40A9-B73D-D68816B947EE}"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494F7577-F276-4804-8E6B-00A7037B6C09}"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DC2B5444-D5D5-467F-A8FC-37ECF99094FA}"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FDD6993E-B14F-46AD-86D8-669318CA33E4}"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08A4895E-A2A1-49EF-BB4A-C00D03F533B0}"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9</c:f>
              <c:numCache>
                <c:formatCode>General</c:formatCode>
                <c:ptCount val="18"/>
                <c:pt idx="0">
                  <c:v>0.99</c:v>
                </c:pt>
                <c:pt idx="1">
                  <c:v>1.0</c:v>
                </c:pt>
                <c:pt idx="2">
                  <c:v>0.99</c:v>
                </c:pt>
                <c:pt idx="3">
                  <c:v>0.99</c:v>
                </c:pt>
                <c:pt idx="4">
                  <c:v>0.7</c:v>
                </c:pt>
                <c:pt idx="5">
                  <c:v>0.29</c:v>
                </c:pt>
                <c:pt idx="6">
                  <c:v>0.96</c:v>
                </c:pt>
                <c:pt idx="7">
                  <c:v>0.99</c:v>
                </c:pt>
                <c:pt idx="8">
                  <c:v>0.87</c:v>
                </c:pt>
                <c:pt idx="9">
                  <c:v>0.97</c:v>
                </c:pt>
                <c:pt idx="10">
                  <c:v>0.83</c:v>
                </c:pt>
                <c:pt idx="11">
                  <c:v>0.96</c:v>
                </c:pt>
                <c:pt idx="12">
                  <c:v>0.98</c:v>
                </c:pt>
                <c:pt idx="13">
                  <c:v>0.88</c:v>
                </c:pt>
                <c:pt idx="14">
                  <c:v>0.83</c:v>
                </c:pt>
                <c:pt idx="15">
                  <c:v>0.86</c:v>
                </c:pt>
                <c:pt idx="16">
                  <c:v>0.67</c:v>
                </c:pt>
                <c:pt idx="17">
                  <c:v>0.4</c:v>
                </c:pt>
              </c:numCache>
            </c:numRef>
          </c:xVal>
          <c:yVal>
            <c:numRef>
              <c:f>Sheet1!$B$2:$B$19</c:f>
              <c:numCache>
                <c:formatCode>General</c:formatCode>
                <c:ptCount val="18"/>
                <c:pt idx="0">
                  <c:v>20176.727272727272</c:v>
                </c:pt>
                <c:pt idx="1">
                  <c:v>17911.57</c:v>
                </c:pt>
                <c:pt idx="2">
                  <c:v>6243.686868686868</c:v>
                </c:pt>
                <c:pt idx="3">
                  <c:v>7410.282828282829</c:v>
                </c:pt>
                <c:pt idx="4">
                  <c:v>464.8142857142857</c:v>
                </c:pt>
                <c:pt idx="5">
                  <c:v>2016.586206896552</c:v>
                </c:pt>
                <c:pt idx="6">
                  <c:v>8247.145833333334</c:v>
                </c:pt>
                <c:pt idx="7">
                  <c:v>20997.565656565657</c:v>
                </c:pt>
                <c:pt idx="8">
                  <c:v>6186.218390804598</c:v>
                </c:pt>
                <c:pt idx="9">
                  <c:v>8871.60824742268</c:v>
                </c:pt>
                <c:pt idx="10">
                  <c:v>4356.843373493976</c:v>
                </c:pt>
                <c:pt idx="11">
                  <c:v>5263.666666666667</c:v>
                </c:pt>
                <c:pt idx="12">
                  <c:v>8367.65306122449</c:v>
                </c:pt>
                <c:pt idx="13">
                  <c:v>1613.590909090909</c:v>
                </c:pt>
                <c:pt idx="14">
                  <c:v>833.7349397590361</c:v>
                </c:pt>
                <c:pt idx="15">
                  <c:v>2456.7441860465115</c:v>
                </c:pt>
                <c:pt idx="16">
                  <c:v>1204.2388059701493</c:v>
                </c:pt>
                <c:pt idx="17">
                  <c:v>880.45</c:v>
                </c:pt>
              </c:numCache>
            </c:numRef>
          </c:yVal>
          <c:bubbleSize>
            <c:numRef>
              <c:f>Sheet1!$C$2:$C$19</c:f>
              <c:numCache>
                <c:formatCode>General</c:formatCode>
                <c:ptCount val="18"/>
                <c:pt idx="0">
                  <c:v>1229378.2704</c:v>
                </c:pt>
                <c:pt idx="1">
                  <c:v>1102724.8402</c:v>
                </c:pt>
                <c:pt idx="2">
                  <c:v>340046.8445</c:v>
                </c:pt>
                <c:pt idx="3">
                  <c:v>421246.15119999996</c:v>
                </c:pt>
                <c:pt idx="4">
                  <c:v>14702.586299999999</c:v>
                </c:pt>
                <c:pt idx="5">
                  <c:v>33307.8298</c:v>
                </c:pt>
                <c:pt idx="6">
                  <c:v>449521.4904999999</c:v>
                </c:pt>
                <c:pt idx="7">
                  <c:v>1242709.427</c:v>
                </c:pt>
                <c:pt idx="8">
                  <c:v>302695.39999999997</c:v>
                </c:pt>
                <c:pt idx="9">
                  <c:v>422865.65939999995</c:v>
                </c:pt>
                <c:pt idx="10">
                  <c:v>191507.8531</c:v>
                </c:pt>
                <c:pt idx="11">
                  <c:v>295907.8751</c:v>
                </c:pt>
                <c:pt idx="12">
                  <c:v>439809.19409999996</c:v>
                </c:pt>
                <c:pt idx="13">
                  <c:v>82541.7076</c:v>
                </c:pt>
                <c:pt idx="14">
                  <c:v>41666.6322</c:v>
                </c:pt>
                <c:pt idx="15">
                  <c:v>114864.4392</c:v>
                </c:pt>
                <c:pt idx="16">
                  <c:v>39835.8197</c:v>
                </c:pt>
                <c:pt idx="17">
                  <c:v>19049.4876</c:v>
                </c:pt>
              </c:numCache>
            </c:numRef>
          </c:bubbleSize>
          <c:bubble3D val="0"/>
          <c:extLst>
            <c:ext xmlns:c15="http://schemas.microsoft.com/office/drawing/2012/chart" uri="{02D57815-91ED-43cb-92C2-25804820EDAC}">
              <c15:datalabelsRange>
                <c15:f>Sheet1!$E$2:$E$21</c15:f>
                <c15:dlblRangeCache>
                  <c:ptCount val="20"/>
                  <c:pt idx="0">
                    <c:v>MBY Original 12p</c:v>
                  </c:pt>
                  <c:pt idx="1">
                    <c:v>MBY Original 18p</c:v>
                  </c:pt>
                  <c:pt idx="2">
                    <c:v>MBY Original 6p</c:v>
                  </c:pt>
                  <c:pt idx="3">
                    <c:v>MBY Variety 12p</c:v>
                  </c:pt>
                  <c:pt idx="4">
                    <c:v>MBY Variety 18p</c:v>
                  </c:pt>
                  <c:pt idx="5">
                    <c:v>MBY Light 12p</c:v>
                  </c:pt>
                  <c:pt idx="6">
                    <c:v>MBY Light 6p</c:v>
                  </c:pt>
                  <c:pt idx="7">
                    <c:v>MBY Gouda 6p</c:v>
                  </c:pt>
                  <c:pt idx="8">
                    <c:v>MBY Swiss 6p</c:v>
                  </c:pt>
                  <c:pt idx="9">
                    <c:v>MBY Cheddar 6p</c:v>
                  </c:pt>
                  <c:pt idx="10">
                    <c:v>MBY Mini Roll</c:v>
                  </c:pt>
                  <c:pt idx="11">
                    <c:v>MBY 2Go</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4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89E4F2BA-39A3-4E33-B0F3-6A0B8F54EA4A}"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2948DD5E-3FAA-4EA8-9779-DE4F377D8EB0}"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82FC95CA-95B2-4DA7-9167-2BFC3C30320C}"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4B7F2A31-E8BC-4B9C-914F-9042C3E9B6F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017706C7-7B22-45B8-A32D-1E774340092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CF813772-3083-4487-9EE8-AB4151E06849}"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E2ECEE4C-609E-4970-94FE-2201E668E44B}"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706423E9-6185-4C21-BE8B-E2EBE68B1FED}"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F39D4694-B96F-4682-B018-F2BD93243DF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0364D6A7-91D5-4C74-84A3-524E42B5C7CA}"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2</c:f>
              <c:numCache>
                <c:formatCode>General</c:formatCode>
                <c:ptCount val="11"/>
                <c:pt idx="0">
                  <c:v>1.0</c:v>
                </c:pt>
                <c:pt idx="1">
                  <c:v>0.99</c:v>
                </c:pt>
                <c:pt idx="2">
                  <c:v>0.99</c:v>
                </c:pt>
                <c:pt idx="3">
                  <c:v>0.64</c:v>
                </c:pt>
                <c:pt idx="4">
                  <c:v>0.87</c:v>
                </c:pt>
                <c:pt idx="5">
                  <c:v>1.0</c:v>
                </c:pt>
                <c:pt idx="6">
                  <c:v>0.98</c:v>
                </c:pt>
                <c:pt idx="7">
                  <c:v>0.94</c:v>
                </c:pt>
                <c:pt idx="8">
                  <c:v>1.0</c:v>
                </c:pt>
                <c:pt idx="9">
                  <c:v>0.99</c:v>
                </c:pt>
                <c:pt idx="10">
                  <c:v>0.88</c:v>
                </c:pt>
              </c:numCache>
            </c:numRef>
          </c:xVal>
          <c:yVal>
            <c:numRef>
              <c:f>Sheet1!$B$2:$B$12</c:f>
              <c:numCache>
                <c:formatCode>General</c:formatCode>
                <c:ptCount val="11"/>
                <c:pt idx="0">
                  <c:v>5841.94</c:v>
                </c:pt>
                <c:pt idx="1">
                  <c:v>5970.020202020202</c:v>
                </c:pt>
                <c:pt idx="2">
                  <c:v>772.4949494949495</c:v>
                </c:pt>
                <c:pt idx="3">
                  <c:v>58.203125</c:v>
                </c:pt>
                <c:pt idx="4">
                  <c:v>698.2873563218391</c:v>
                </c:pt>
                <c:pt idx="5">
                  <c:v>2915.26</c:v>
                </c:pt>
                <c:pt idx="6">
                  <c:v>474.734693877551</c:v>
                </c:pt>
                <c:pt idx="7">
                  <c:v>409.3829787234043</c:v>
                </c:pt>
                <c:pt idx="8">
                  <c:v>2549.27</c:v>
                </c:pt>
                <c:pt idx="9">
                  <c:v>3761.1111111111113</c:v>
                </c:pt>
                <c:pt idx="10">
                  <c:v>614.6363636363636</c:v>
                </c:pt>
              </c:numCache>
            </c:numRef>
          </c:yVal>
          <c:bubbleSize>
            <c:numRef>
              <c:f>Sheet1!$C$2:$C$12</c:f>
              <c:numCache>
                <c:formatCode>General</c:formatCode>
                <c:ptCount val="11"/>
                <c:pt idx="0">
                  <c:v>379175.70080000005</c:v>
                </c:pt>
                <c:pt idx="1">
                  <c:v>368896.3247</c:v>
                </c:pt>
                <c:pt idx="2">
                  <c:v>40602.4251</c:v>
                </c:pt>
                <c:pt idx="3">
                  <c:v>1807.5120000000002</c:v>
                </c:pt>
                <c:pt idx="4">
                  <c:v>31366.428200000002</c:v>
                </c:pt>
                <c:pt idx="5">
                  <c:v>184947.85040000002</c:v>
                </c:pt>
                <c:pt idx="6">
                  <c:v>23688.715</c:v>
                </c:pt>
                <c:pt idx="7">
                  <c:v>26336.5182</c:v>
                </c:pt>
                <c:pt idx="8">
                  <c:v>157027.87370000003</c:v>
                </c:pt>
                <c:pt idx="9">
                  <c:v>233330.66369999998</c:v>
                </c:pt>
                <c:pt idx="10">
                  <c:v>27407.7202</c:v>
                </c:pt>
              </c:numCache>
            </c:numRef>
          </c:bubbleSize>
          <c:bubble3D val="0"/>
          <c:extLst>
            <c:ext xmlns:c15="http://schemas.microsoft.com/office/drawing/2012/chart" uri="{02D57815-91ED-43cb-92C2-25804820EDAC}">
              <c15:datalabelsRange>
                <c15:f>Sheet1!$E$2:$E$21</c15:f>
                <c15:dlblRangeCache>
                  <c:ptCount val="20"/>
                  <c:pt idx="0">
                    <c:v>MBY Original 12p</c:v>
                  </c:pt>
                  <c:pt idx="1">
                    <c:v>MBY Original 18p</c:v>
                  </c:pt>
                  <c:pt idx="2">
                    <c:v>MBY Original 6p</c:v>
                  </c:pt>
                  <c:pt idx="3">
                    <c:v>MBY Variety 12p</c:v>
                  </c:pt>
                  <c:pt idx="4">
                    <c:v>MBY Variety 18p</c:v>
                  </c:pt>
                  <c:pt idx="5">
                    <c:v>MBY Light 12p</c:v>
                  </c:pt>
                  <c:pt idx="6">
                    <c:v>MBY Light 6p</c:v>
                  </c:pt>
                  <c:pt idx="7">
                    <c:v>MBY Gouda 6p</c:v>
                  </c:pt>
                  <c:pt idx="8">
                    <c:v>MBY Swiss 6p</c:v>
                  </c:pt>
                  <c:pt idx="9">
                    <c:v>MBY Cheddar 6p</c:v>
                  </c:pt>
                  <c:pt idx="10">
                    <c:v>MBY Mini Roll</c:v>
                  </c:pt>
                  <c:pt idx="11">
                    <c:v>MBY 2Go</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St Moret</c:v>
                </c:pt>
                <c:pt idx="1">
                  <c:v>Paysan Breton</c:v>
                </c:pt>
                <c:pt idx="2">
                  <c:v>Private Label</c:v>
                </c:pt>
                <c:pt idx="3">
                  <c:v>Tartare</c:v>
                </c:pt>
                <c:pt idx="4">
                  <c:v>Boursin</c:v>
                </c:pt>
                <c:pt idx="5">
                  <c:v>Carre Frais</c:v>
                </c:pt>
                <c:pt idx="6">
                  <c:v>Philadelphia</c:v>
                </c:pt>
                <c:pt idx="7">
                  <c:v>Kiri</c:v>
                </c:pt>
                <c:pt idx="8">
                  <c:v>Rondele</c:v>
                </c:pt>
                <c:pt idx="9">
                  <c:v>Others</c:v>
                </c:pt>
              </c:strCache>
            </c:strRef>
          </c:cat>
          <c:val>
            <c:numRef>
              <c:f>Sheet1!$B$2:$B$11</c:f>
              <c:numCache>
                <c:formatCode>General</c:formatCode>
                <c:ptCount val="10"/>
                <c:pt idx="0">
                  <c:v>0.27075427139184916</c:v>
                </c:pt>
                <c:pt idx="1">
                  <c:v>0.13612791406353675</c:v>
                </c:pt>
                <c:pt idx="2">
                  <c:v>0.13087169912234742</c:v>
                </c:pt>
                <c:pt idx="3">
                  <c:v>0.11763975222922306</c:v>
                </c:pt>
                <c:pt idx="4">
                  <c:v>0.11099385009924465</c:v>
                </c:pt>
                <c:pt idx="5">
                  <c:v>0.08217956645357605</c:v>
                </c:pt>
                <c:pt idx="6">
                  <c:v>0.06970555741769512</c:v>
                </c:pt>
                <c:pt idx="7">
                  <c:v>0.013561061572820884</c:v>
                </c:pt>
                <c:pt idx="8">
                  <c:v>0.012968094490742477</c:v>
                </c:pt>
                <c:pt idx="9">
                  <c:v>0.055198233158964466</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St Moret</c:v>
                </c:pt>
                <c:pt idx="1">
                  <c:v>Paysan Breton</c:v>
                </c:pt>
                <c:pt idx="2">
                  <c:v>Private Label</c:v>
                </c:pt>
                <c:pt idx="3">
                  <c:v>Tartare</c:v>
                </c:pt>
                <c:pt idx="4">
                  <c:v>Boursin</c:v>
                </c:pt>
                <c:pt idx="5">
                  <c:v>Carre Frais</c:v>
                </c:pt>
                <c:pt idx="6">
                  <c:v>Philadelphia</c:v>
                </c:pt>
                <c:pt idx="7">
                  <c:v>Kiri</c:v>
                </c:pt>
                <c:pt idx="8">
                  <c:v>Rondele</c:v>
                </c:pt>
                <c:pt idx="9">
                  <c:v>Others</c:v>
                </c:pt>
              </c:strCache>
            </c:strRef>
          </c:cat>
          <c:val>
            <c:numRef>
              <c:f>Sheet1!$C$2:$C$11</c:f>
              <c:numCache>
                <c:formatCode>General</c:formatCode>
                <c:ptCount val="10"/>
                <c:pt idx="0">
                  <c:v>0.18985233707116683</c:v>
                </c:pt>
                <c:pt idx="1">
                  <c:v>0.10691684245586765</c:v>
                </c:pt>
                <c:pt idx="2">
                  <c:v>0.10025535694459864</c:v>
                </c:pt>
                <c:pt idx="3">
                  <c:v>0.11479960031086932</c:v>
                </c:pt>
                <c:pt idx="4">
                  <c:v>0.149328300210947</c:v>
                </c:pt>
                <c:pt idx="5">
                  <c:v>0.03608304651937381</c:v>
                </c:pt>
                <c:pt idx="6">
                  <c:v>0.0572887753969135</c:v>
                </c:pt>
                <c:pt idx="7">
                  <c:v>0.031420006661485506</c:v>
                </c:pt>
                <c:pt idx="8">
                  <c:v>0.04540912623515043</c:v>
                </c:pt>
                <c:pt idx="9">
                  <c:v>0.16864660819362715</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St Moret</c:v>
                </c:pt>
                <c:pt idx="1">
                  <c:v>Paysan Breton</c:v>
                </c:pt>
                <c:pt idx="2">
                  <c:v>Private Label</c:v>
                </c:pt>
                <c:pt idx="3">
                  <c:v>Tartare</c:v>
                </c:pt>
                <c:pt idx="4">
                  <c:v>Boursin</c:v>
                </c:pt>
                <c:pt idx="5">
                  <c:v>Carre Frais</c:v>
                </c:pt>
                <c:pt idx="6">
                  <c:v>Philadelphia</c:v>
                </c:pt>
                <c:pt idx="7">
                  <c:v>Kiri</c:v>
                </c:pt>
                <c:pt idx="8">
                  <c:v>Rondele</c:v>
                </c:pt>
                <c:pt idx="9">
                  <c:v>Others</c:v>
                </c:pt>
              </c:strCache>
            </c:strRef>
          </c:cat>
          <c:val>
            <c:numRef>
              <c:f>Sheet1!$D$2:$D$11</c:f>
              <c:numCache>
                <c:formatCode>General</c:formatCode>
                <c:ptCount val="10"/>
                <c:pt idx="0">
                  <c:v>70.11979389843236</c:v>
                </c:pt>
                <c:pt idx="1">
                  <c:v>78.54145359633216</c:v>
                </c:pt>
                <c:pt idx="2">
                  <c:v>76.60583427657143</c:v>
                </c:pt>
                <c:pt idx="3">
                  <c:v>97.58572092805869</c:v>
                </c:pt>
                <c:pt idx="4">
                  <c:v>134.53745417194355</c:v>
                </c:pt>
                <c:pt idx="5">
                  <c:v>43.90756495382272</c:v>
                </c:pt>
                <c:pt idx="6">
                  <c:v>82.18681195478175</c:v>
                </c:pt>
                <c:pt idx="7">
                  <c:v>231.69282502527358</c:v>
                </c:pt>
                <c:pt idx="8">
                  <c:v>350.1603590841091</c:v>
                </c:pt>
                <c:pt idx="9">
                  <c:v>305.5289971110934</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B2375CCC-9EB9-45DF-A8FF-DC0193E79B59}"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3D9BB3AF-5D10-4B19-A20B-BC31138D38E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4F6FC85C-7E91-4F4E-A881-12BDED8CB83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0ADCE578-DD40-4881-AB2C-E733C262A1C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CC36DE7A-A7E3-424D-928F-C69746BC04A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0D74C52D-4C93-4FBA-80CC-906C4344E156}"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1A100ECB-F56F-4547-B0B5-5B141BBEEA08}"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9F01390D-FC4C-4670-8968-470FB8A8D1DE}"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03873614-EAD8-4C2A-B4CB-C59C52AF0CF2}"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645B9EB1-AB96-45BA-B84F-53F0DEA07B6C}"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9</c:f>
              <c:numCache>
                <c:formatCode>General</c:formatCode>
                <c:ptCount val="8"/>
                <c:pt idx="0">
                  <c:v>0.92</c:v>
                </c:pt>
                <c:pt idx="1">
                  <c:v>0.97</c:v>
                </c:pt>
                <c:pt idx="2">
                  <c:v>1.0</c:v>
                </c:pt>
                <c:pt idx="3">
                  <c:v>1.0</c:v>
                </c:pt>
                <c:pt idx="4">
                  <c:v>0.99</c:v>
                </c:pt>
                <c:pt idx="5">
                  <c:v>0.32</c:v>
                </c:pt>
                <c:pt idx="6">
                  <c:v>0.99</c:v>
                </c:pt>
                <c:pt idx="7">
                  <c:v>0.98</c:v>
                </c:pt>
              </c:numCache>
            </c:numRef>
          </c:xVal>
          <c:yVal>
            <c:numRef>
              <c:f>Sheet1!$B$2:$B$9</c:f>
              <c:numCache>
                <c:formatCode>General</c:formatCode>
                <c:ptCount val="8"/>
                <c:pt idx="0">
                  <c:v>817.8586956521739</c:v>
                </c:pt>
                <c:pt idx="1">
                  <c:v>1169.9072164948454</c:v>
                </c:pt>
                <c:pt idx="2">
                  <c:v>7702.77</c:v>
                </c:pt>
                <c:pt idx="3">
                  <c:v>6931.8</c:v>
                </c:pt>
                <c:pt idx="4">
                  <c:v>11429.494949494949</c:v>
                </c:pt>
                <c:pt idx="5">
                  <c:v>177.34375</c:v>
                </c:pt>
                <c:pt idx="6">
                  <c:v>2091.7979797979797</c:v>
                </c:pt>
                <c:pt idx="7">
                  <c:v>2261.183673469388</c:v>
                </c:pt>
              </c:numCache>
            </c:numRef>
          </c:yVal>
          <c:bubbleSize>
            <c:numRef>
              <c:f>Sheet1!$C$2:$C$9</c:f>
              <c:numCache>
                <c:formatCode>General</c:formatCode>
                <c:ptCount val="8"/>
                <c:pt idx="0">
                  <c:v>33125.899600000004</c:v>
                </c:pt>
                <c:pt idx="1">
                  <c:v>62668.0704</c:v>
                </c:pt>
                <c:pt idx="2">
                  <c:v>438730.5022</c:v>
                </c:pt>
                <c:pt idx="3">
                  <c:v>421297.28959999996</c:v>
                </c:pt>
                <c:pt idx="4">
                  <c:v>713125.1897</c:v>
                </c:pt>
                <c:pt idx="5">
                  <c:v>4028.3973999999994</c:v>
                </c:pt>
                <c:pt idx="6">
                  <c:v>114869.08230000001</c:v>
                </c:pt>
                <c:pt idx="7">
                  <c:v>108131.18439999998</c:v>
                </c:pt>
              </c:numCache>
            </c:numRef>
          </c:bubbleSize>
          <c:bubble3D val="0"/>
          <c:extLst>
            <c:ext xmlns:c15="http://schemas.microsoft.com/office/drawing/2012/chart" uri="{02D57815-91ED-43cb-92C2-25804820EDAC}">
              <c15:datalabelsRange>
                <c15:f>Sheet1!$E$2:$E$21</c15:f>
                <c15:dlblRangeCache>
                  <c:ptCount val="20"/>
                  <c:pt idx="0">
                    <c:v>MBY Original 12p</c:v>
                  </c:pt>
                  <c:pt idx="1">
                    <c:v>MBY Original 18p</c:v>
                  </c:pt>
                  <c:pt idx="2">
                    <c:v>MBY Original 6p</c:v>
                  </c:pt>
                  <c:pt idx="3">
                    <c:v>MBY Variety 12p</c:v>
                  </c:pt>
                  <c:pt idx="4">
                    <c:v>MBY Variety 18p</c:v>
                  </c:pt>
                  <c:pt idx="5">
                    <c:v>MBY Light 12p</c:v>
                  </c:pt>
                  <c:pt idx="6">
                    <c:v>MBY Light 6p</c:v>
                  </c:pt>
                  <c:pt idx="7">
                    <c:v>MBY Gouda 6p</c:v>
                  </c:pt>
                  <c:pt idx="8">
                    <c:v>MBY Swiss 6p</c:v>
                  </c:pt>
                  <c:pt idx="9">
                    <c:v>MBY Cheddar 6p</c:v>
                  </c:pt>
                  <c:pt idx="10">
                    <c:v>MBY Mini Roll</c:v>
                  </c:pt>
                  <c:pt idx="11">
                    <c:v>MBY 2Go</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4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4DF57A46-DC58-4859-AF76-6375E2879354}"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86B07D3E-C8D4-4222-80DF-91EB3AEC218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1B47D786-8CE4-464D-8815-6F4129CDF67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9128F6AB-DA43-41C7-9066-59B33767AC08}"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DED63EF4-37AB-4024-B18D-76C639C683A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BEAB071D-6A63-4D87-91C7-EA5AD310EA4E}"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638ABA81-D177-4C1F-9331-DC58D0A78AEC}"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F53C62EA-FD70-4F02-A1E5-1C039B97C5CA}"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24386E52-94E4-4B1C-9E83-D2F2D1235BE9}"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9BDE8F98-5DCF-46A4-9167-8735D957F8DB}"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9</c:f>
              <c:numCache>
                <c:formatCode>General</c:formatCode>
                <c:ptCount val="18"/>
                <c:pt idx="0">
                  <c:v>1.0</c:v>
                </c:pt>
                <c:pt idx="1">
                  <c:v>1.0</c:v>
                </c:pt>
                <c:pt idx="2">
                  <c:v>1.0</c:v>
                </c:pt>
                <c:pt idx="3">
                  <c:v>1.0</c:v>
                </c:pt>
                <c:pt idx="4">
                  <c:v>0.92</c:v>
                </c:pt>
                <c:pt idx="5">
                  <c:v>0.7</c:v>
                </c:pt>
                <c:pt idx="6">
                  <c:v>0.99</c:v>
                </c:pt>
                <c:pt idx="7">
                  <c:v>1.0</c:v>
                </c:pt>
                <c:pt idx="8">
                  <c:v>0.99</c:v>
                </c:pt>
                <c:pt idx="9">
                  <c:v>0.99</c:v>
                </c:pt>
                <c:pt idx="10">
                  <c:v>0.98</c:v>
                </c:pt>
                <c:pt idx="11">
                  <c:v>0.99</c:v>
                </c:pt>
                <c:pt idx="12">
                  <c:v>1.0</c:v>
                </c:pt>
                <c:pt idx="13">
                  <c:v>0.97</c:v>
                </c:pt>
                <c:pt idx="14">
                  <c:v>0.99</c:v>
                </c:pt>
                <c:pt idx="15">
                  <c:v>0.95</c:v>
                </c:pt>
                <c:pt idx="16">
                  <c:v>0.93</c:v>
                </c:pt>
                <c:pt idx="17">
                  <c:v>0.73</c:v>
                </c:pt>
              </c:numCache>
            </c:numRef>
          </c:xVal>
          <c:yVal>
            <c:numRef>
              <c:f>Sheet1!$B$2:$B$19</c:f>
              <c:numCache>
                <c:formatCode>General</c:formatCode>
                <c:ptCount val="18"/>
                <c:pt idx="0">
                  <c:v>3513.05</c:v>
                </c:pt>
                <c:pt idx="1">
                  <c:v>3000.58</c:v>
                </c:pt>
                <c:pt idx="2">
                  <c:v>982.89</c:v>
                </c:pt>
                <c:pt idx="3">
                  <c:v>1156.58</c:v>
                </c:pt>
                <c:pt idx="4">
                  <c:v>85.19565217391305</c:v>
                </c:pt>
                <c:pt idx="5">
                  <c:v>306.57142857142856</c:v>
                </c:pt>
                <c:pt idx="6">
                  <c:v>1363.8080808080808</c:v>
                </c:pt>
                <c:pt idx="7">
                  <c:v>4098.92</c:v>
                </c:pt>
                <c:pt idx="8">
                  <c:v>1431.0707070707072</c:v>
                </c:pt>
                <c:pt idx="9">
                  <c:v>1389.5656565656566</c:v>
                </c:pt>
                <c:pt idx="10">
                  <c:v>744.8673469387755</c:v>
                </c:pt>
                <c:pt idx="11">
                  <c:v>888.8282828282828</c:v>
                </c:pt>
                <c:pt idx="12">
                  <c:v>1429.39</c:v>
                </c:pt>
                <c:pt idx="13">
                  <c:v>310.11340206185565</c:v>
                </c:pt>
                <c:pt idx="14">
                  <c:v>137.64646464646464</c:v>
                </c:pt>
                <c:pt idx="15">
                  <c:v>472.06315789473683</c:v>
                </c:pt>
                <c:pt idx="16">
                  <c:v>197.19354838709677</c:v>
                </c:pt>
                <c:pt idx="17">
                  <c:v>106.42465753424658</c:v>
                </c:pt>
              </c:numCache>
            </c:numRef>
          </c:yVal>
          <c:bubbleSize>
            <c:numRef>
              <c:f>Sheet1!$C$2:$C$19</c:f>
              <c:numCache>
                <c:formatCode>General</c:formatCode>
                <c:ptCount val="18"/>
                <c:pt idx="0">
                  <c:v>217995.5344</c:v>
                </c:pt>
                <c:pt idx="1">
                  <c:v>183944.61229999998</c:v>
                </c:pt>
                <c:pt idx="2">
                  <c:v>54583.746999999996</c:v>
                </c:pt>
                <c:pt idx="3">
                  <c:v>67138.9672</c:v>
                </c:pt>
                <c:pt idx="4">
                  <c:v>3133.9797</c:v>
                </c:pt>
                <c:pt idx="5">
                  <c:v>12632.8769</c:v>
                </c:pt>
                <c:pt idx="6">
                  <c:v>78814.35209999999</c:v>
                </c:pt>
                <c:pt idx="7">
                  <c:v>244236.8179</c:v>
                </c:pt>
                <c:pt idx="8">
                  <c:v>79625.80200000001</c:v>
                </c:pt>
                <c:pt idx="9">
                  <c:v>69631.62839999999</c:v>
                </c:pt>
                <c:pt idx="10">
                  <c:v>39937.712700000004</c:v>
                </c:pt>
                <c:pt idx="11">
                  <c:v>52391.7181</c:v>
                </c:pt>
                <c:pt idx="12">
                  <c:v>78015.81190000002</c:v>
                </c:pt>
                <c:pt idx="13">
                  <c:v>17938.264600000002</c:v>
                </c:pt>
                <c:pt idx="14">
                  <c:v>8400.509100000001</c:v>
                </c:pt>
                <c:pt idx="15">
                  <c:v>24993.7191</c:v>
                </c:pt>
                <c:pt idx="16">
                  <c:v>9294.5678</c:v>
                </c:pt>
                <c:pt idx="17">
                  <c:v>4280.9481000000005</c:v>
                </c:pt>
              </c:numCache>
            </c:numRef>
          </c:bubbleSize>
          <c:bubble3D val="0"/>
          <c:extLst>
            <c:ext xmlns:c15="http://schemas.microsoft.com/office/drawing/2012/chart" uri="{02D57815-91ED-43cb-92C2-25804820EDAC}">
              <c15:datalabelsRange>
                <c15:f>Sheet1!$E$2:$E$21</c15:f>
                <c15:dlblRangeCache>
                  <c:ptCount val="20"/>
                  <c:pt idx="0">
                    <c:v>MBY Original 12p</c:v>
                  </c:pt>
                  <c:pt idx="1">
                    <c:v>MBY Original 18p</c:v>
                  </c:pt>
                  <c:pt idx="2">
                    <c:v>MBY Original 6p</c:v>
                  </c:pt>
                  <c:pt idx="3">
                    <c:v>MBY Variety 12p</c:v>
                  </c:pt>
                  <c:pt idx="4">
                    <c:v>MBY Variety 18p</c:v>
                  </c:pt>
                  <c:pt idx="5">
                    <c:v>MBY Light 12p</c:v>
                  </c:pt>
                  <c:pt idx="6">
                    <c:v>MBY Light 6p</c:v>
                  </c:pt>
                  <c:pt idx="7">
                    <c:v>MBY Gouda 6p</c:v>
                  </c:pt>
                  <c:pt idx="8">
                    <c:v>MBY Swiss 6p</c:v>
                  </c:pt>
                  <c:pt idx="9">
                    <c:v>MBY Cheddar 6p</c:v>
                  </c:pt>
                  <c:pt idx="10">
                    <c:v>MBY Mini Roll</c:v>
                  </c:pt>
                  <c:pt idx="11">
                    <c:v>MBY 2Go</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4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406163B5-1045-405D-8BCC-756B4850940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60E2E4DB-57AA-4B11-9286-200C44847BBD}"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15FB0ABA-3C88-4174-9795-040BAF77D409}"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76D9031A-2BFE-471C-A947-70E8BA020C2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CD742582-14A3-409A-ABC8-3E34D43A8AB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3273F203-5177-4B31-9F52-70B1535CA4AD}"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94714C11-3A19-428C-8AA7-3A9328D8794E}"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FC24A1B7-72E1-4201-BAAF-2DCF97038B0E}"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69913A85-AFE7-4501-A0B8-F26BC74092F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3B191A88-926F-474A-BE0F-9F9B2FF24B16}"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1</c:f>
              <c:numCache>
                <c:formatCode>General</c:formatCode>
                <c:ptCount val="10"/>
                <c:pt idx="0">
                  <c:v>0.85</c:v>
                </c:pt>
                <c:pt idx="1">
                  <c:v>0.52</c:v>
                </c:pt>
                <c:pt idx="2">
                  <c:v>0.44</c:v>
                </c:pt>
                <c:pt idx="3">
                  <c:v>0.31</c:v>
                </c:pt>
                <c:pt idx="4">
                  <c:v>0.92</c:v>
                </c:pt>
                <c:pt idx="5">
                  <c:v>0.5</c:v>
                </c:pt>
                <c:pt idx="6">
                  <c:v>0.59</c:v>
                </c:pt>
                <c:pt idx="7">
                  <c:v>0.9</c:v>
                </c:pt>
                <c:pt idx="8">
                  <c:v>0.68</c:v>
                </c:pt>
                <c:pt idx="9">
                  <c:v>0.38</c:v>
                </c:pt>
              </c:numCache>
            </c:numRef>
          </c:xVal>
          <c:yVal>
            <c:numRef>
              <c:f>Sheet1!$B$2:$B$11</c:f>
              <c:numCache>
                <c:formatCode>General</c:formatCode>
                <c:ptCount val="10"/>
                <c:pt idx="0">
                  <c:v>6595.729411764706</c:v>
                </c:pt>
                <c:pt idx="1">
                  <c:v>5199.807692307692</c:v>
                </c:pt>
                <c:pt idx="2">
                  <c:v>1130.9545454545455</c:v>
                </c:pt>
                <c:pt idx="3">
                  <c:v>1752.774193548387</c:v>
                </c:pt>
                <c:pt idx="4">
                  <c:v>4358.739130434783</c:v>
                </c:pt>
                <c:pt idx="5">
                  <c:v>423.2</c:v>
                </c:pt>
                <c:pt idx="6">
                  <c:v>593.8813559322034</c:v>
                </c:pt>
                <c:pt idx="7">
                  <c:v>3563.9444444444443</c:v>
                </c:pt>
                <c:pt idx="8">
                  <c:v>3449.8529411764707</c:v>
                </c:pt>
                <c:pt idx="9">
                  <c:v>829.6315789473684</c:v>
                </c:pt>
              </c:numCache>
            </c:numRef>
          </c:yVal>
          <c:bubbleSize>
            <c:numRef>
              <c:f>Sheet1!$C$2:$C$11</c:f>
              <c:numCache>
                <c:formatCode>General</c:formatCode>
                <c:ptCount val="10"/>
                <c:pt idx="0">
                  <c:v>345514.6986</c:v>
                </c:pt>
                <c:pt idx="1">
                  <c:v>156333.39620000002</c:v>
                </c:pt>
                <c:pt idx="2">
                  <c:v>23568.027800000003</c:v>
                </c:pt>
                <c:pt idx="3">
                  <c:v>24710.5134</c:v>
                </c:pt>
                <c:pt idx="4">
                  <c:v>233765.80310000002</c:v>
                </c:pt>
                <c:pt idx="5">
                  <c:v>10215.879399999998</c:v>
                </c:pt>
                <c:pt idx="6">
                  <c:v>23873.965799999998</c:v>
                </c:pt>
                <c:pt idx="7">
                  <c:v>183192.46180000002</c:v>
                </c:pt>
                <c:pt idx="8">
                  <c:v>134155.1481</c:v>
                </c:pt>
                <c:pt idx="9">
                  <c:v>14691.8452</c:v>
                </c:pt>
              </c:numCache>
            </c:numRef>
          </c:bubbleSize>
          <c:bubble3D val="0"/>
          <c:extLst>
            <c:ext xmlns:c15="http://schemas.microsoft.com/office/drawing/2012/chart" uri="{02D57815-91ED-43cb-92C2-25804820EDAC}">
              <c15:datalabelsRange>
                <c15:f>Sheet1!$E$2:$E$21</c15:f>
                <c15:dlblRangeCache>
                  <c:ptCount val="20"/>
                  <c:pt idx="0">
                    <c:v>MBY Original 12p</c:v>
                  </c:pt>
                  <c:pt idx="1">
                    <c:v>MBY Original 18p</c:v>
                  </c:pt>
                  <c:pt idx="2">
                    <c:v>MBY Original 6p</c:v>
                  </c:pt>
                  <c:pt idx="3">
                    <c:v>MBY Variety 12p</c:v>
                  </c:pt>
                  <c:pt idx="4">
                    <c:v>MBY Variety 18p</c:v>
                  </c:pt>
                  <c:pt idx="5">
                    <c:v>MBY Light 12p</c:v>
                  </c:pt>
                  <c:pt idx="6">
                    <c:v>MBY Light 6p</c:v>
                  </c:pt>
                  <c:pt idx="7">
                    <c:v>MBY Gouda 6p</c:v>
                  </c:pt>
                  <c:pt idx="8">
                    <c:v>MBY Swiss 6p</c:v>
                  </c:pt>
                  <c:pt idx="9">
                    <c:v>MBY Cheddar 6p</c:v>
                  </c:pt>
                  <c:pt idx="10">
                    <c:v>MBY Mini Roll</c:v>
                  </c:pt>
                  <c:pt idx="11">
                    <c:v>MBY 2Go</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4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A552DEC2-8349-49BE-A8AD-F7ECDD31D142}"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B8E9CF4E-CF49-40E7-BB73-2A2583237C30}"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4753C491-2C14-45E7-94EC-E63882F9349F}"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5D0BE1A8-95B8-4C60-AB16-93FB415AFC92}"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2DEC5CB4-D9D4-4F6B-99D6-21E1B91B7F7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064A51FA-036B-40AA-BCA2-40A1279E1CEF}"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B27C5507-6619-494F-8D7B-972BEE866AD0}"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75FC8A47-3CC8-4AA6-A7FE-0893CF68E02B}"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23AF9F9F-8262-4B78-8937-8FD6507CC53D}"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E1080440-60DD-4B22-82A5-DE3DC662D75C}"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8</c:f>
              <c:numCache>
                <c:formatCode>General</c:formatCode>
                <c:ptCount val="7"/>
                <c:pt idx="0">
                  <c:v>0.33</c:v>
                </c:pt>
                <c:pt idx="1">
                  <c:v>0.5</c:v>
                </c:pt>
                <c:pt idx="2">
                  <c:v>0.98</c:v>
                </c:pt>
                <c:pt idx="3">
                  <c:v>0.68</c:v>
                </c:pt>
                <c:pt idx="4">
                  <c:v>0.68</c:v>
                </c:pt>
                <c:pt idx="5">
                  <c:v>0.82</c:v>
                </c:pt>
                <c:pt idx="6">
                  <c:v>0.42</c:v>
                </c:pt>
              </c:numCache>
            </c:numRef>
          </c:xVal>
          <c:yVal>
            <c:numRef>
              <c:f>Sheet1!$B$2:$B$8</c:f>
              <c:numCache>
                <c:formatCode>General</c:formatCode>
                <c:ptCount val="7"/>
                <c:pt idx="0">
                  <c:v>985.5151515151515</c:v>
                </c:pt>
                <c:pt idx="1">
                  <c:v>1845.32</c:v>
                </c:pt>
                <c:pt idx="2">
                  <c:v>8872.061224489797</c:v>
                </c:pt>
                <c:pt idx="3">
                  <c:v>7117.838235294118</c:v>
                </c:pt>
                <c:pt idx="4">
                  <c:v>8935.823529411764</c:v>
                </c:pt>
                <c:pt idx="5">
                  <c:v>2128.3658536585367</c:v>
                </c:pt>
                <c:pt idx="6">
                  <c:v>1563.2619047619048</c:v>
                </c:pt>
              </c:numCache>
            </c:numRef>
          </c:yVal>
          <c:bubbleSize>
            <c:numRef>
              <c:f>Sheet1!$C$2:$C$8</c:f>
              <c:numCache>
                <c:formatCode>General</c:formatCode>
                <c:ptCount val="7"/>
                <c:pt idx="0">
                  <c:v>13276.983199999999</c:v>
                </c:pt>
                <c:pt idx="1">
                  <c:v>45377.7415</c:v>
                </c:pt>
                <c:pt idx="2">
                  <c:v>490201.80620000005</c:v>
                </c:pt>
                <c:pt idx="3">
                  <c:v>276688.60000000003</c:v>
                </c:pt>
                <c:pt idx="4">
                  <c:v>360405.01259999996</c:v>
                </c:pt>
                <c:pt idx="5">
                  <c:v>88865.2362</c:v>
                </c:pt>
                <c:pt idx="6">
                  <c:v>29532.624399999997</c:v>
                </c:pt>
              </c:numCache>
            </c:numRef>
          </c:bubbleSize>
          <c:bubble3D val="0"/>
          <c:extLst>
            <c:ext xmlns:c15="http://schemas.microsoft.com/office/drawing/2012/chart" uri="{02D57815-91ED-43cb-92C2-25804820EDAC}">
              <c15:datalabelsRange>
                <c15:f>Sheet1!$E$2:$E$21</c15:f>
                <c15:dlblRangeCache>
                  <c:ptCount val="20"/>
                  <c:pt idx="0">
                    <c:v>MBY Original 12p</c:v>
                  </c:pt>
                  <c:pt idx="1">
                    <c:v>MBY Original 18p</c:v>
                  </c:pt>
                  <c:pt idx="2">
                    <c:v>MBY Original 6p</c:v>
                  </c:pt>
                  <c:pt idx="3">
                    <c:v>MBY Variety 12p</c:v>
                  </c:pt>
                  <c:pt idx="4">
                    <c:v>MBY Variety 18p</c:v>
                  </c:pt>
                  <c:pt idx="5">
                    <c:v>MBY Light 12p</c:v>
                  </c:pt>
                  <c:pt idx="6">
                    <c:v>MBY Light 6p</c:v>
                  </c:pt>
                  <c:pt idx="7">
                    <c:v>MBY Gouda 6p</c:v>
                  </c:pt>
                  <c:pt idx="8">
                    <c:v>MBY Swiss 6p</c:v>
                  </c:pt>
                  <c:pt idx="9">
                    <c:v>MBY Cheddar 6p</c:v>
                  </c:pt>
                  <c:pt idx="10">
                    <c:v>MBY Mini Roll</c:v>
                  </c:pt>
                  <c:pt idx="11">
                    <c:v>MBY 2Go</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4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1ED892E3-4E3B-4B0E-A0B5-2EA488279A0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C2E5531B-8056-4FBA-A70E-CD49AECE460A}"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78BAD77F-33FE-4263-96EF-8F7C4A11C15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88A5B045-CEEC-47DA-8FF8-AAC967998CAA}"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11BC5C5E-E848-42C5-9AF3-D76B1096637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009520C8-E2BB-4A38-AC68-9F35BC4F6057}"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BE71E82F-39B0-4636-8A99-D060B38868D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8293C8AE-A6E1-4826-BABB-254E7A3784EC}"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7ED1BEA3-0BFF-48EC-839B-93272EEE3468}"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0BA279AE-79FF-484E-97E6-D6456F64B02A}"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9</c:f>
              <c:numCache>
                <c:formatCode>General</c:formatCode>
                <c:ptCount val="18"/>
                <c:pt idx="0">
                  <c:v>0.9</c:v>
                </c:pt>
                <c:pt idx="1">
                  <c:v>0.98</c:v>
                </c:pt>
                <c:pt idx="2">
                  <c:v>0.83</c:v>
                </c:pt>
                <c:pt idx="3">
                  <c:v>0.89</c:v>
                </c:pt>
                <c:pt idx="4">
                  <c:v>0.33</c:v>
                </c:pt>
                <c:pt idx="5">
                  <c:v>0.12</c:v>
                </c:pt>
                <c:pt idx="6">
                  <c:v>0.74</c:v>
                </c:pt>
                <c:pt idx="7">
                  <c:v>0.89</c:v>
                </c:pt>
                <c:pt idx="8">
                  <c:v>0.64</c:v>
                </c:pt>
                <c:pt idx="9">
                  <c:v>0.81</c:v>
                </c:pt>
                <c:pt idx="10">
                  <c:v>0.46</c:v>
                </c:pt>
                <c:pt idx="11">
                  <c:v>0.75</c:v>
                </c:pt>
                <c:pt idx="12">
                  <c:v>0.85</c:v>
                </c:pt>
                <c:pt idx="13">
                  <c:v>0.47</c:v>
                </c:pt>
                <c:pt idx="14">
                  <c:v>0.41</c:v>
                </c:pt>
                <c:pt idx="15">
                  <c:v>0.43</c:v>
                </c:pt>
                <c:pt idx="16">
                  <c:v>0.28</c:v>
                </c:pt>
                <c:pt idx="17">
                  <c:v>0.14</c:v>
                </c:pt>
              </c:numCache>
            </c:numRef>
          </c:xVal>
          <c:yVal>
            <c:numRef>
              <c:f>Sheet1!$B$2:$B$19</c:f>
              <c:numCache>
                <c:formatCode>General</c:formatCode>
                <c:ptCount val="18"/>
                <c:pt idx="0">
                  <c:v>3907.088888888889</c:v>
                </c:pt>
                <c:pt idx="1">
                  <c:v>3670.6632653061224</c:v>
                </c:pt>
                <c:pt idx="2">
                  <c:v>1491.433734939759</c:v>
                </c:pt>
                <c:pt idx="3">
                  <c:v>1809.314606741573</c:v>
                </c:pt>
                <c:pt idx="4">
                  <c:v>126.06060606060606</c:v>
                </c:pt>
                <c:pt idx="5">
                  <c:v>734.4166666666666</c:v>
                </c:pt>
                <c:pt idx="6">
                  <c:v>1990.4594594594594</c:v>
                </c:pt>
                <c:pt idx="7">
                  <c:v>2690.9662921348313</c:v>
                </c:pt>
                <c:pt idx="8">
                  <c:v>806.3125</c:v>
                </c:pt>
                <c:pt idx="9">
                  <c:v>2365.864197530864</c:v>
                </c:pt>
                <c:pt idx="10">
                  <c:v>756.1086956521739</c:v>
                </c:pt>
                <c:pt idx="11">
                  <c:v>1149.7733333333333</c:v>
                </c:pt>
                <c:pt idx="12">
                  <c:v>1532.3294117647058</c:v>
                </c:pt>
                <c:pt idx="13">
                  <c:v>292.74468085106383</c:v>
                </c:pt>
                <c:pt idx="14">
                  <c:v>130.70731707317074</c:v>
                </c:pt>
                <c:pt idx="15">
                  <c:v>428.27906976744185</c:v>
                </c:pt>
                <c:pt idx="16">
                  <c:v>268.07142857142856</c:v>
                </c:pt>
                <c:pt idx="17">
                  <c:v>215.78571428571425</c:v>
                </c:pt>
              </c:numCache>
            </c:numRef>
          </c:yVal>
          <c:bubbleSize>
            <c:numRef>
              <c:f>Sheet1!$C$2:$C$19</c:f>
              <c:numCache>
                <c:formatCode>General</c:formatCode>
                <c:ptCount val="18"/>
                <c:pt idx="0">
                  <c:v>204011.4707</c:v>
                </c:pt>
                <c:pt idx="1">
                  <c:v>205291.0542</c:v>
                </c:pt>
                <c:pt idx="2">
                  <c:v>61319.443999999996</c:v>
                </c:pt>
                <c:pt idx="3">
                  <c:v>83208.5663</c:v>
                </c:pt>
                <c:pt idx="4">
                  <c:v>1546.954</c:v>
                </c:pt>
                <c:pt idx="5">
                  <c:v>4441.479</c:v>
                </c:pt>
                <c:pt idx="6">
                  <c:v>78143.92979999998</c:v>
                </c:pt>
                <c:pt idx="7">
                  <c:v>134266.816</c:v>
                </c:pt>
                <c:pt idx="8">
                  <c:v>28617.798000000003</c:v>
                </c:pt>
                <c:pt idx="9">
                  <c:v>87648.74079999999</c:v>
                </c:pt>
                <c:pt idx="10">
                  <c:v>17106.4579</c:v>
                </c:pt>
                <c:pt idx="11">
                  <c:v>45811.4927</c:v>
                </c:pt>
                <c:pt idx="12">
                  <c:v>65663.78859999999</c:v>
                </c:pt>
                <c:pt idx="13">
                  <c:v>7539.2294</c:v>
                </c:pt>
                <c:pt idx="14">
                  <c:v>3108.8709</c:v>
                </c:pt>
                <c:pt idx="15">
                  <c:v>9448.2915</c:v>
                </c:pt>
                <c:pt idx="16">
                  <c:v>3470.5856</c:v>
                </c:pt>
                <c:pt idx="17">
                  <c:v>1524.0654000000002</c:v>
                </c:pt>
              </c:numCache>
            </c:numRef>
          </c:bubbleSize>
          <c:bubble3D val="0"/>
          <c:extLst>
            <c:ext xmlns:c15="http://schemas.microsoft.com/office/drawing/2012/chart" uri="{02D57815-91ED-43cb-92C2-25804820EDAC}">
              <c15:datalabelsRange>
                <c15:f>Sheet1!$E$2:$E$21</c15:f>
                <c15:dlblRangeCache>
                  <c:ptCount val="20"/>
                  <c:pt idx="0">
                    <c:v>MBY Original 12p</c:v>
                  </c:pt>
                  <c:pt idx="1">
                    <c:v>MBY Original 18p</c:v>
                  </c:pt>
                  <c:pt idx="2">
                    <c:v>MBY Original 6p</c:v>
                  </c:pt>
                  <c:pt idx="3">
                    <c:v>MBY Variety 12p</c:v>
                  </c:pt>
                  <c:pt idx="4">
                    <c:v>MBY Variety 18p</c:v>
                  </c:pt>
                  <c:pt idx="5">
                    <c:v>MBY Light 12p</c:v>
                  </c:pt>
                  <c:pt idx="6">
                    <c:v>MBY Light 6p</c:v>
                  </c:pt>
                  <c:pt idx="7">
                    <c:v>MBY Gouda 6p</c:v>
                  </c:pt>
                  <c:pt idx="8">
                    <c:v>MBY Swiss 6p</c:v>
                  </c:pt>
                  <c:pt idx="9">
                    <c:v>MBY Cheddar 6p</c:v>
                  </c:pt>
                  <c:pt idx="10">
                    <c:v>MBY Mini Roll</c:v>
                  </c:pt>
                  <c:pt idx="11">
                    <c:v>MBY 2Go</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4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CBAB416A-5FA9-4BAF-A622-A9A92929A13B}"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482FB8EA-2346-4054-A198-264A0918B370}"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41B35E14-1D94-4327-8464-BBD53B3E596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D520A73E-3442-42F0-8A8A-24570AFD07B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D134BF9D-E73D-4986-9498-E3BEF87BE19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49B4B30A-D71D-4857-BC6E-50495D98B9DE}"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FD047842-E6DA-461B-BAB3-FF500FD370B4}"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A1D7E458-688F-4E3F-AF53-5490E65FE4FB}"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36BA6422-9CAF-4F25-9BB9-F16739CE9BF6}"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8BB375EC-66F0-4076-90C3-D161B009EFF2}"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5</c:f>
              <c:numCache>
                <c:formatCode>General</c:formatCode>
                <c:ptCount val="4"/>
                <c:pt idx="0">
                  <c:v>0.905</c:v>
                </c:pt>
                <c:pt idx="1">
                  <c:v>0.788</c:v>
                </c:pt>
                <c:pt idx="2">
                  <c:v>0.409</c:v>
                </c:pt>
                <c:pt idx="3">
                  <c:v>0.352</c:v>
                </c:pt>
              </c:numCache>
            </c:numRef>
          </c:xVal>
          <c:yVal>
            <c:numRef>
              <c:f>Sheet1!$B$2:$B$5</c:f>
              <c:numCache>
                <c:formatCode>General</c:formatCode>
                <c:ptCount val="4"/>
                <c:pt idx="0">
                  <c:v>28428.861878453037</c:v>
                </c:pt>
                <c:pt idx="1">
                  <c:v>12732.23350253807</c:v>
                </c:pt>
                <c:pt idx="2">
                  <c:v>1246.9437652811737</c:v>
                </c:pt>
                <c:pt idx="3">
                  <c:v>1488.977272727273</c:v>
                </c:pt>
              </c:numCache>
            </c:numRef>
          </c:yVal>
          <c:bubbleSize>
            <c:numRef>
              <c:f>Sheet1!$C$2:$C$5</c:f>
              <c:numCache>
                <c:formatCode>General</c:formatCode>
                <c:ptCount val="4"/>
                <c:pt idx="0">
                  <c:v>1551828.5882</c:v>
                </c:pt>
                <c:pt idx="1">
                  <c:v>614373.5508000001</c:v>
                </c:pt>
                <c:pt idx="2">
                  <c:v>22839.868000000006</c:v>
                </c:pt>
                <c:pt idx="3">
                  <c:v>27109.391400000004</c:v>
                </c:pt>
              </c:numCache>
            </c:numRef>
          </c:bubbleSize>
          <c:bubble3D val="0"/>
          <c:extLst>
            <c:ext xmlns:c15="http://schemas.microsoft.com/office/drawing/2012/chart" uri="{02D57815-91ED-43cb-92C2-25804820EDAC}">
              <c15:datalabelsRange>
                <c15:f>Sheet1!$E$2:$E$21</c15:f>
                <c15:dlblRangeCache>
                  <c:ptCount val="20"/>
                  <c:pt idx="0">
                    <c:v>MBY Original 12p</c:v>
                  </c:pt>
                  <c:pt idx="1">
                    <c:v>MBY Original 18p</c:v>
                  </c:pt>
                  <c:pt idx="2">
                    <c:v>MBY Original 6p</c:v>
                  </c:pt>
                  <c:pt idx="3">
                    <c:v>MBY Variety 12p</c:v>
                  </c:pt>
                  <c:pt idx="4">
                    <c:v>MBY Variety 18p</c:v>
                  </c:pt>
                  <c:pt idx="5">
                    <c:v>MBY Light 12p</c:v>
                  </c:pt>
                  <c:pt idx="6">
                    <c:v>MBY Light 6p</c:v>
                  </c:pt>
                  <c:pt idx="7">
                    <c:v>MBY Gouda 6p</c:v>
                  </c:pt>
                  <c:pt idx="8">
                    <c:v>MBY Swiss 6p</c:v>
                  </c:pt>
                  <c:pt idx="9">
                    <c:v>MBY Cheddar 6p</c:v>
                  </c:pt>
                  <c:pt idx="10">
                    <c:v>MBY Mini Roll</c:v>
                  </c:pt>
                  <c:pt idx="11">
                    <c:v>MBY 2Go</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4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EA226CC4-A8CB-4A0B-97D1-383751A53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B4BD8024-38A9-4F43-A4B3-88EAB865ECE4}"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86536708-C81C-4E2F-82D1-8D0CB2E2F13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76D9EF87-30FA-43C3-ABFB-5E1DD4087626}"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003259AC-9000-4599-BD23-9E0D494A510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DB6E05BF-5672-46A3-9A30-F34DFC9995BB}"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0A01CA7A-1C7F-4152-9854-508291EE6646}"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A212B70E-8A22-4A35-B4E3-ADD37DA7736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D97CF914-B418-4F4F-99A4-82CA6A6D3062}"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F7CB5078-0D74-404D-8BF1-DF8033704AF9}"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6</c:f>
              <c:numCache>
                <c:formatCode>General</c:formatCode>
                <c:ptCount val="5"/>
                <c:pt idx="0">
                  <c:v>0.966</c:v>
                </c:pt>
                <c:pt idx="1">
                  <c:v>0.873</c:v>
                </c:pt>
                <c:pt idx="2">
                  <c:v>0.911</c:v>
                </c:pt>
                <c:pt idx="3">
                  <c:v>0.75</c:v>
                </c:pt>
                <c:pt idx="4">
                  <c:v>0.661</c:v>
                </c:pt>
              </c:numCache>
            </c:numRef>
          </c:xVal>
          <c:yVal>
            <c:numRef>
              <c:f>Sheet1!$B$2:$B$6</c:f>
              <c:numCache>
                <c:formatCode>General</c:formatCode>
                <c:ptCount val="5"/>
                <c:pt idx="0">
                  <c:v>22494.254658385096</c:v>
                </c:pt>
                <c:pt idx="1">
                  <c:v>7525.876288659794</c:v>
                </c:pt>
                <c:pt idx="2">
                  <c:v>14703.468715697034</c:v>
                </c:pt>
                <c:pt idx="3">
                  <c:v>775.1466666666666</c:v>
                </c:pt>
                <c:pt idx="4">
                  <c:v>730.5446293494704</c:v>
                </c:pt>
              </c:numCache>
            </c:numRef>
          </c:yVal>
          <c:bubbleSize>
            <c:numRef>
              <c:f>Sheet1!$C$2:$C$6</c:f>
              <c:numCache>
                <c:formatCode>General</c:formatCode>
                <c:ptCount val="5"/>
                <c:pt idx="0">
                  <c:v>1231312.4589</c:v>
                </c:pt>
                <c:pt idx="1">
                  <c:v>370057.5055999999</c:v>
                </c:pt>
                <c:pt idx="2">
                  <c:v>736195.6952000001</c:v>
                </c:pt>
                <c:pt idx="3">
                  <c:v>41023.2397</c:v>
                </c:pt>
                <c:pt idx="4">
                  <c:v>34571.8464</c:v>
                </c:pt>
              </c:numCache>
            </c:numRef>
          </c:bubbleSize>
          <c:bubble3D val="0"/>
          <c:extLst>
            <c:ext xmlns:c15="http://schemas.microsoft.com/office/drawing/2012/chart" uri="{02D57815-91ED-43cb-92C2-25804820EDAC}">
              <c15:datalabelsRange>
                <c15:f>Sheet1!$E$2:$E$21</c15:f>
                <c15:dlblRangeCache>
                  <c:ptCount val="20"/>
                  <c:pt idx="0">
                    <c:v>MBY Original 12p</c:v>
                  </c:pt>
                  <c:pt idx="1">
                    <c:v>MBY Original 18p</c:v>
                  </c:pt>
                  <c:pt idx="2">
                    <c:v>MBY Original 6p</c:v>
                  </c:pt>
                  <c:pt idx="3">
                    <c:v>MBY Variety 12p</c:v>
                  </c:pt>
                  <c:pt idx="4">
                    <c:v>MBY Variety 18p</c:v>
                  </c:pt>
                  <c:pt idx="5">
                    <c:v>MBY Light 12p</c:v>
                  </c:pt>
                  <c:pt idx="6">
                    <c:v>MBY Light 6p</c:v>
                  </c:pt>
                  <c:pt idx="7">
                    <c:v>MBY Gouda 6p</c:v>
                  </c:pt>
                  <c:pt idx="8">
                    <c:v>MBY Swiss 6p</c:v>
                  </c:pt>
                  <c:pt idx="9">
                    <c:v>MBY Cheddar 6p</c:v>
                  </c:pt>
                  <c:pt idx="10">
                    <c:v>MBY Mini Roll</c:v>
                  </c:pt>
                  <c:pt idx="11">
                    <c:v>MBY 2Go</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4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E49883E3-6BFF-42E4-A168-A9560271B7D7}"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C6E84EB2-FD84-4FA6-9798-3705AB69FEBB}"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6DE83F05-8B2F-4CA4-9AD0-50E188A6896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C59E12AF-9F7E-496A-B18A-2E5D198F19B6}"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554E43ED-BCA2-4180-857D-8794862043D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BF0F2F4F-C15C-4EB8-921B-09FD194AAA7F}"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CAAC01D5-7883-4282-9604-74E312041906}"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5FF2E796-F245-4B06-A354-5EDCF6776514}"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9EBDD664-C5C8-4585-B41C-DF0DCA252DF4}"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203D44E0-8250-4C8F-97E1-6BFAB40C5AFD}"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5</c:f>
              <c:numCache>
                <c:formatCode>General</c:formatCode>
                <c:ptCount val="4"/>
                <c:pt idx="0">
                  <c:v>1.0</c:v>
                </c:pt>
                <c:pt idx="1">
                  <c:v>0.95</c:v>
                </c:pt>
                <c:pt idx="2">
                  <c:v>0.48</c:v>
                </c:pt>
                <c:pt idx="3">
                  <c:v>0.53</c:v>
                </c:pt>
              </c:numCache>
            </c:numRef>
          </c:xVal>
          <c:yVal>
            <c:numRef>
              <c:f>Sheet1!$B$2:$B$5</c:f>
              <c:numCache>
                <c:formatCode>General</c:formatCode>
                <c:ptCount val="4"/>
                <c:pt idx="0">
                  <c:v>7852.5</c:v>
                </c:pt>
                <c:pt idx="1">
                  <c:v>4007.6315789473683</c:v>
                </c:pt>
                <c:pt idx="2">
                  <c:v>537.3958333333334</c:v>
                </c:pt>
                <c:pt idx="3">
                  <c:v>590.9056603773585</c:v>
                </c:pt>
              </c:numCache>
            </c:numRef>
          </c:yVal>
          <c:bubbleSize>
            <c:numRef>
              <c:f>Sheet1!$C$2:$C$5</c:f>
              <c:numCache>
                <c:formatCode>General</c:formatCode>
                <c:ptCount val="4"/>
                <c:pt idx="0">
                  <c:v>499287.04469999997</c:v>
                </c:pt>
                <c:pt idx="1">
                  <c:v>236239.36200000002</c:v>
                </c:pt>
                <c:pt idx="2">
                  <c:v>11748.244000000002</c:v>
                </c:pt>
                <c:pt idx="3">
                  <c:v>16785.955200000004</c:v>
                </c:pt>
              </c:numCache>
            </c:numRef>
          </c:bubbleSize>
          <c:bubble3D val="0"/>
          <c:extLst>
            <c:ext xmlns:c15="http://schemas.microsoft.com/office/drawing/2012/chart" uri="{02D57815-91ED-43cb-92C2-25804820EDAC}">
              <c15:datalabelsRange>
                <c15:f>Sheet1!$E$2:$E$21</c15:f>
                <c15:dlblRangeCache>
                  <c:ptCount val="20"/>
                  <c:pt idx="0">
                    <c:v>MBY Original 12p</c:v>
                  </c:pt>
                  <c:pt idx="1">
                    <c:v>MBY Original 18p</c:v>
                  </c:pt>
                  <c:pt idx="2">
                    <c:v>MBY Original 6p</c:v>
                  </c:pt>
                  <c:pt idx="3">
                    <c:v>MBY Variety 12p</c:v>
                  </c:pt>
                  <c:pt idx="4">
                    <c:v>MBY Variety 18p</c:v>
                  </c:pt>
                  <c:pt idx="5">
                    <c:v>MBY Light 12p</c:v>
                  </c:pt>
                  <c:pt idx="6">
                    <c:v>MBY Light 6p</c:v>
                  </c:pt>
                  <c:pt idx="7">
                    <c:v>MBY Gouda 6p</c:v>
                  </c:pt>
                  <c:pt idx="8">
                    <c:v>MBY Swiss 6p</c:v>
                  </c:pt>
                  <c:pt idx="9">
                    <c:v>MBY Cheddar 6p</c:v>
                  </c:pt>
                  <c:pt idx="10">
                    <c:v>MBY Mini Roll</c:v>
                  </c:pt>
                  <c:pt idx="11">
                    <c:v>MBY 2Go</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4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23524945-4082-4FC9-8F65-F684408B5FCC}"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E694E55C-05C0-46C5-A59B-C8017243FACA}"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C3EDF9CC-F4E6-4D9F-B16B-53E8BEA8F7C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204F056D-4BD7-4239-8E62-0D0C623150E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F57CAAA5-757B-4784-AE93-B9FEA86F4D3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5FF8AADC-9EF0-411E-BC4C-20EA391C41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8F5E26EE-CF6E-44F8-883F-85C09BA1A2DD}"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CFB95D1A-9C19-4E6B-ADD4-FE1FA308331A}"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A1966208-86E8-4B1C-9862-E4BC0DEC64D4}"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D7C57202-370C-4A2A-A5CA-E554F1DBC6F6}"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5</c:f>
              <c:numCache>
                <c:formatCode>General</c:formatCode>
                <c:ptCount val="4"/>
                <c:pt idx="0">
                  <c:v>0.94</c:v>
                </c:pt>
                <c:pt idx="1">
                  <c:v>0.86</c:v>
                </c:pt>
                <c:pt idx="2">
                  <c:v>0.5</c:v>
                </c:pt>
                <c:pt idx="3">
                  <c:v>0.29</c:v>
                </c:pt>
              </c:numCache>
            </c:numRef>
          </c:xVal>
          <c:yVal>
            <c:numRef>
              <c:f>Sheet1!$B$2:$B$5</c:f>
              <c:numCache>
                <c:formatCode>General</c:formatCode>
                <c:ptCount val="4"/>
                <c:pt idx="0">
                  <c:v>9753.297872340425</c:v>
                </c:pt>
                <c:pt idx="1">
                  <c:v>6344.662790697675</c:v>
                </c:pt>
                <c:pt idx="2">
                  <c:v>504.1</c:v>
                </c:pt>
                <c:pt idx="3">
                  <c:v>727.3793103448277</c:v>
                </c:pt>
              </c:numCache>
            </c:numRef>
          </c:yVal>
          <c:bubbleSize>
            <c:numRef>
              <c:f>Sheet1!$C$2:$C$5</c:f>
              <c:numCache>
                <c:formatCode>General</c:formatCode>
                <c:ptCount val="4"/>
                <c:pt idx="0">
                  <c:v>579119.5173</c:v>
                </c:pt>
                <c:pt idx="1">
                  <c:v>340926.53160000005</c:v>
                </c:pt>
                <c:pt idx="2">
                  <c:v>11091.624</c:v>
                </c:pt>
                <c:pt idx="3">
                  <c:v>10323.4362</c:v>
                </c:pt>
              </c:numCache>
            </c:numRef>
          </c:bubbleSize>
          <c:bubble3D val="0"/>
          <c:extLst>
            <c:ext xmlns:c15="http://schemas.microsoft.com/office/drawing/2012/chart" uri="{02D57815-91ED-43cb-92C2-25804820EDAC}">
              <c15:datalabelsRange>
                <c15:f>Sheet1!$E$2:$E$21</c15:f>
                <c15:dlblRangeCache>
                  <c:ptCount val="20"/>
                  <c:pt idx="0">
                    <c:v>MBY Original 12p</c:v>
                  </c:pt>
                  <c:pt idx="1">
                    <c:v>MBY Original 18p</c:v>
                  </c:pt>
                  <c:pt idx="2">
                    <c:v>MBY Original 6p</c:v>
                  </c:pt>
                  <c:pt idx="3">
                    <c:v>MBY Variety 12p</c:v>
                  </c:pt>
                  <c:pt idx="4">
                    <c:v>MBY Variety 18p</c:v>
                  </c:pt>
                  <c:pt idx="5">
                    <c:v>MBY Light 12p</c:v>
                  </c:pt>
                  <c:pt idx="6">
                    <c:v>MBY Light 6p</c:v>
                  </c:pt>
                  <c:pt idx="7">
                    <c:v>MBY Gouda 6p</c:v>
                  </c:pt>
                  <c:pt idx="8">
                    <c:v>MBY Swiss 6p</c:v>
                  </c:pt>
                  <c:pt idx="9">
                    <c:v>MBY Cheddar 6p</c:v>
                  </c:pt>
                  <c:pt idx="10">
                    <c:v>MBY Mini Roll</c:v>
                  </c:pt>
                  <c:pt idx="11">
                    <c:v>MBY 2Go</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4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8F44625F-85F2-4CDB-953C-4DE70185E9EF}"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DCF146D3-2B5E-4FFF-B885-486AD72BCBCE}"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C809D672-A21F-4418-B24C-E451578E1879}"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9B7E10E0-BB72-44C1-90B1-A724872223B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707790AA-5C44-4A2D-B16E-1C439FC591D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728A25E0-E2C2-4FA8-B62B-F1D0B9890A2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439D36B9-A4F7-4687-8D81-4C072423A7F9}"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252F3CF0-A17D-4724-A543-594B3EC071E9}"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AAB076D1-CCFA-40DA-B56A-F3D26442D040}"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9DEA268D-570F-4F98-8E79-AE9C479A63B7}"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3</c:f>
              <c:numCache>
                <c:formatCode>General</c:formatCode>
                <c:ptCount val="2"/>
                <c:pt idx="0">
                  <c:v>0.56</c:v>
                </c:pt>
                <c:pt idx="1">
                  <c:v>0.17</c:v>
                </c:pt>
              </c:numCache>
            </c:numRef>
          </c:xVal>
          <c:yVal>
            <c:numRef>
              <c:f>Sheet1!$B$2:$B$3</c:f>
              <c:numCache>
                <c:formatCode>General</c:formatCode>
                <c:ptCount val="2"/>
                <c:pt idx="0">
                  <c:v>15549.142857142855</c:v>
                </c:pt>
                <c:pt idx="1">
                  <c:v>4525.529411764706</c:v>
                </c:pt>
              </c:numCache>
            </c:numRef>
          </c:yVal>
          <c:bubbleSize>
            <c:numRef>
              <c:f>Sheet1!$C$2:$C$3</c:f>
              <c:numCache>
                <c:formatCode>General</c:formatCode>
                <c:ptCount val="2"/>
                <c:pt idx="0">
                  <c:v>473422.0262</c:v>
                </c:pt>
                <c:pt idx="1">
                  <c:v>37207.6572</c:v>
                </c:pt>
              </c:numCache>
            </c:numRef>
          </c:bubbleSize>
          <c:bubble3D val="0"/>
          <c:extLst>
            <c:ext xmlns:c15="http://schemas.microsoft.com/office/drawing/2012/chart" uri="{02D57815-91ED-43cb-92C2-25804820EDAC}">
              <c15:datalabelsRange>
                <c15:f>Sheet1!$E$2:$E$21</c15:f>
                <c15:dlblRangeCache>
                  <c:ptCount val="20"/>
                  <c:pt idx="0">
                    <c:v>MBY Original 12p</c:v>
                  </c:pt>
                  <c:pt idx="1">
                    <c:v>MBY Original 18p</c:v>
                  </c:pt>
                  <c:pt idx="2">
                    <c:v>MBY Original 6p</c:v>
                  </c:pt>
                  <c:pt idx="3">
                    <c:v>MBY Variety 12p</c:v>
                  </c:pt>
                  <c:pt idx="4">
                    <c:v>MBY Variety 18p</c:v>
                  </c:pt>
                  <c:pt idx="5">
                    <c:v>MBY Light 12p</c:v>
                  </c:pt>
                  <c:pt idx="6">
                    <c:v>MBY Light 6p</c:v>
                  </c:pt>
                  <c:pt idx="7">
                    <c:v>MBY Gouda 6p</c:v>
                  </c:pt>
                  <c:pt idx="8">
                    <c:v>MBY Swiss 6p</c:v>
                  </c:pt>
                  <c:pt idx="9">
                    <c:v>MBY Cheddar 6p</c:v>
                  </c:pt>
                  <c:pt idx="10">
                    <c:v>MBY Mini Roll</c:v>
                  </c:pt>
                  <c:pt idx="11">
                    <c:v>MBY 2Go</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St Moret</c:v>
                </c:pt>
                <c:pt idx="1">
                  <c:v>Paysan Breton</c:v>
                </c:pt>
                <c:pt idx="2">
                  <c:v>Private Label</c:v>
                </c:pt>
                <c:pt idx="3">
                  <c:v>Boursin</c:v>
                </c:pt>
                <c:pt idx="4">
                  <c:v>Tartare</c:v>
                </c:pt>
                <c:pt idx="5">
                  <c:v>Carre Frais</c:v>
                </c:pt>
                <c:pt idx="6">
                  <c:v>Philadelphia</c:v>
                </c:pt>
                <c:pt idx="7">
                  <c:v>Kiri</c:v>
                </c:pt>
                <c:pt idx="8">
                  <c:v>La Vache Qui Rit</c:v>
                </c:pt>
                <c:pt idx="9">
                  <c:v>Others</c:v>
                </c:pt>
              </c:strCache>
            </c:strRef>
          </c:cat>
          <c:val>
            <c:numRef>
              <c:f>Sheet1!$B$2:$B$11</c:f>
              <c:numCache>
                <c:formatCode>General</c:formatCode>
                <c:ptCount val="10"/>
                <c:pt idx="0">
                  <c:v>0.2884473818756389</c:v>
                </c:pt>
                <c:pt idx="1">
                  <c:v>0.14779203133673968</c:v>
                </c:pt>
                <c:pt idx="2">
                  <c:v>0.1385246970986459</c:v>
                </c:pt>
                <c:pt idx="3">
                  <c:v>0.11349279498105341</c:v>
                </c:pt>
                <c:pt idx="4">
                  <c:v>0.11299457419714112</c:v>
                </c:pt>
                <c:pt idx="5">
                  <c:v>0.07266954667353835</c:v>
                </c:pt>
                <c:pt idx="6">
                  <c:v>0.06929520605835279</c:v>
                </c:pt>
                <c:pt idx="7">
                  <c:v>0.01099765566707991</c:v>
                </c:pt>
                <c:pt idx="8">
                  <c:v>1.0194157171575895e-06</c:v>
                </c:pt>
                <c:pt idx="9">
                  <c:v>0.04578509269609276</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St Moret</c:v>
                </c:pt>
                <c:pt idx="1">
                  <c:v>Paysan Breton</c:v>
                </c:pt>
                <c:pt idx="2">
                  <c:v>Private Label</c:v>
                </c:pt>
                <c:pt idx="3">
                  <c:v>Boursin</c:v>
                </c:pt>
                <c:pt idx="4">
                  <c:v>Tartare</c:v>
                </c:pt>
                <c:pt idx="5">
                  <c:v>Carre Frais</c:v>
                </c:pt>
                <c:pt idx="6">
                  <c:v>Philadelphia</c:v>
                </c:pt>
                <c:pt idx="7">
                  <c:v>Kiri</c:v>
                </c:pt>
                <c:pt idx="8">
                  <c:v>La Vache Qui Rit</c:v>
                </c:pt>
                <c:pt idx="9">
                  <c:v>Others</c:v>
                </c:pt>
              </c:strCache>
            </c:strRef>
          </c:cat>
          <c:val>
            <c:numRef>
              <c:f>Sheet1!$C$2:$C$11</c:f>
              <c:numCache>
                <c:formatCode>General</c:formatCode>
                <c:ptCount val="10"/>
                <c:pt idx="0">
                  <c:v>0.19956537486417958</c:v>
                </c:pt>
                <c:pt idx="1">
                  <c:v>0.12205722564288299</c:v>
                </c:pt>
                <c:pt idx="2">
                  <c:v>0.11861644331763851</c:v>
                </c:pt>
                <c:pt idx="3">
                  <c:v>0.14813473379210426</c:v>
                </c:pt>
                <c:pt idx="4">
                  <c:v>0.10449112640347699</c:v>
                </c:pt>
                <c:pt idx="5">
                  <c:v>0.04020282506338282</c:v>
                </c:pt>
                <c:pt idx="6">
                  <c:v>0.07587830496197029</c:v>
                </c:pt>
                <c:pt idx="7">
                  <c:v>0.0324157913799348</c:v>
                </c:pt>
                <c:pt idx="8">
                  <c:v>0.0</c:v>
                </c:pt>
                <c:pt idx="9">
                  <c:v>0.1586381745744295</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St Moret</c:v>
                </c:pt>
                <c:pt idx="1">
                  <c:v>Paysan Breton</c:v>
                </c:pt>
                <c:pt idx="2">
                  <c:v>Private Label</c:v>
                </c:pt>
                <c:pt idx="3">
                  <c:v>Boursin</c:v>
                </c:pt>
                <c:pt idx="4">
                  <c:v>Tartare</c:v>
                </c:pt>
                <c:pt idx="5">
                  <c:v>Carre Frais</c:v>
                </c:pt>
                <c:pt idx="6">
                  <c:v>Philadelphia</c:v>
                </c:pt>
                <c:pt idx="7">
                  <c:v>Kiri</c:v>
                </c:pt>
                <c:pt idx="8">
                  <c:v>La Vache Qui Rit</c:v>
                </c:pt>
                <c:pt idx="9">
                  <c:v>Others</c:v>
                </c:pt>
              </c:strCache>
            </c:strRef>
          </c:cat>
          <c:val>
            <c:numRef>
              <c:f>Sheet1!$D$2:$D$11</c:f>
              <c:numCache>
                <c:formatCode>General</c:formatCode>
                <c:ptCount val="10"/>
                <c:pt idx="0">
                  <c:v>69.18605867264212</c:v>
                </c:pt>
                <c:pt idx="1">
                  <c:v>82.58714934689495</c:v>
                </c:pt>
                <c:pt idx="2">
                  <c:v>85.6283722700867</c:v>
                </c:pt>
                <c:pt idx="3">
                  <c:v>130.52346963244145</c:v>
                </c:pt>
                <c:pt idx="4">
                  <c:v>92.47446361554653</c:v>
                </c:pt>
                <c:pt idx="5">
                  <c:v>55.3227960042059</c:v>
                </c:pt>
                <c:pt idx="6">
                  <c:v>109.50007840091267</c:v>
                </c:pt>
                <c:pt idx="7">
                  <c:v>294.7518304011587</c:v>
                </c:pt>
                <c:pt idx="8">
                  <c:v>1.0</c:v>
                </c:pt>
                <c:pt idx="9">
                  <c:v>346.48433634812204</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51E6ECF2-30C6-4AAD-AFF7-1E8CDD62A9FD}"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1B4D2D6E-565F-4097-B408-92B47D3658A9}"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8C586CE9-0739-4A1E-AB73-0CB2054B4B10}"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A96801F3-A2CC-4410-8CFB-09A2EE8A4FA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2894971D-2534-4ADF-9C28-DA12B65F444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ADAB838C-B79F-4831-8594-51446FF658E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F6518EE0-DA8B-413C-BFCE-4C0B528888D4}"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AE21C9A9-C042-48DA-9A9B-F4097B7B5ADB}"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C951EC56-D1CC-441A-96F6-4714832A1B77}"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306FD3AE-4850-4178-AB1F-AC9CE740BA8B}"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6</c:f>
              <c:numCache>
                <c:formatCode>General</c:formatCode>
                <c:ptCount val="5"/>
                <c:pt idx="0">
                  <c:v>0.98</c:v>
                </c:pt>
                <c:pt idx="1">
                  <c:v>0.9</c:v>
                </c:pt>
                <c:pt idx="2">
                  <c:v>0.95</c:v>
                </c:pt>
                <c:pt idx="3">
                  <c:v>0.8</c:v>
                </c:pt>
                <c:pt idx="4">
                  <c:v>0.7</c:v>
                </c:pt>
              </c:numCache>
            </c:numRef>
          </c:xVal>
          <c:yVal>
            <c:numRef>
              <c:f>Sheet1!$B$2:$B$6</c:f>
              <c:numCache>
                <c:formatCode>General</c:formatCode>
                <c:ptCount val="5"/>
                <c:pt idx="0">
                  <c:v>16275.387755102041</c:v>
                </c:pt>
                <c:pt idx="1">
                  <c:v>5635.011111111111</c:v>
                </c:pt>
                <c:pt idx="2">
                  <c:v>10927.284210526315</c:v>
                </c:pt>
                <c:pt idx="3">
                  <c:v>574.225</c:v>
                </c:pt>
                <c:pt idx="4">
                  <c:v>553.0857142857143</c:v>
                </c:pt>
              </c:numCache>
            </c:numRef>
          </c:yVal>
          <c:bubbleSize>
            <c:numRef>
              <c:f>Sheet1!$C$2:$C$6</c:f>
              <c:numCache>
                <c:formatCode>General</c:formatCode>
                <c:ptCount val="5"/>
                <c:pt idx="0">
                  <c:v>912804.1278000001</c:v>
                </c:pt>
                <c:pt idx="1">
                  <c:v>286561.2592</c:v>
                </c:pt>
                <c:pt idx="2">
                  <c:v>573696.2559</c:v>
                </c:pt>
                <c:pt idx="3">
                  <c:v>32418.2479</c:v>
                </c:pt>
                <c:pt idx="4">
                  <c:v>27723.0184</c:v>
                </c:pt>
              </c:numCache>
            </c:numRef>
          </c:bubbleSize>
          <c:bubble3D val="0"/>
          <c:extLst>
            <c:ext xmlns:c15="http://schemas.microsoft.com/office/drawing/2012/chart" uri="{02D57815-91ED-43cb-92C2-25804820EDAC}">
              <c15:datalabelsRange>
                <c15:f>Sheet1!$E$2:$E$21</c15:f>
                <c15:dlblRangeCache>
                  <c:ptCount val="20"/>
                  <c:pt idx="0">
                    <c:v>MBY Original 12p</c:v>
                  </c:pt>
                  <c:pt idx="1">
                    <c:v>MBY Original 18p</c:v>
                  </c:pt>
                  <c:pt idx="2">
                    <c:v>MBY Original 6p</c:v>
                  </c:pt>
                  <c:pt idx="3">
                    <c:v>MBY Variety 12p</c:v>
                  </c:pt>
                  <c:pt idx="4">
                    <c:v>MBY Variety 18p</c:v>
                  </c:pt>
                  <c:pt idx="5">
                    <c:v>MBY Light 12p</c:v>
                  </c:pt>
                  <c:pt idx="6">
                    <c:v>MBY Light 6p</c:v>
                  </c:pt>
                  <c:pt idx="7">
                    <c:v>MBY Gouda 6p</c:v>
                  </c:pt>
                  <c:pt idx="8">
                    <c:v>MBY Swiss 6p</c:v>
                  </c:pt>
                  <c:pt idx="9">
                    <c:v>MBY Cheddar 6p</c:v>
                  </c:pt>
                  <c:pt idx="10">
                    <c:v>MBY Mini Roll</c:v>
                  </c:pt>
                  <c:pt idx="11">
                    <c:v>MBY 2Go</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4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FA51A972-493E-4025-A350-F4D01B14F2C6}"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499CB0E5-1DDF-48C0-BD4C-5C91E616E434}"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08D1501A-22C6-4592-B225-17A2968822B4}"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CCC7EFC6-9A61-4C88-882E-25AABD2D8AC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786B860F-3FBE-4853-A5C5-3EC41598C32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E8C862D8-B1F4-4ED1-BE99-F218810BC0CF}"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60267306-0599-4873-B9C2-FBB52AF2956A}"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7C53E3D6-CF2E-477D-BFB4-F2C5FB4A4FC2}"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8CE56AE8-160A-4FD2-A5EC-B7A78145F31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34B0162A-C19E-46A4-BB14-C36752B03C37}"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6</c:f>
              <c:numCache>
                <c:formatCode>General</c:formatCode>
                <c:ptCount val="5"/>
                <c:pt idx="0">
                  <c:v>0.99</c:v>
                </c:pt>
                <c:pt idx="1">
                  <c:v>0.98</c:v>
                </c:pt>
                <c:pt idx="2">
                  <c:v>0.99</c:v>
                </c:pt>
                <c:pt idx="3">
                  <c:v>0.96</c:v>
                </c:pt>
                <c:pt idx="4">
                  <c:v>0.86</c:v>
                </c:pt>
              </c:numCache>
            </c:numRef>
          </c:xVal>
          <c:yVal>
            <c:numRef>
              <c:f>Sheet1!$B$2:$B$6</c:f>
              <c:numCache>
                <c:formatCode>General</c:formatCode>
                <c:ptCount val="5"/>
                <c:pt idx="0">
                  <c:v>3316.959595959596</c:v>
                </c:pt>
                <c:pt idx="1">
                  <c:v>1040.5408163265306</c:v>
                </c:pt>
                <c:pt idx="2">
                  <c:v>2060.5151515151515</c:v>
                </c:pt>
                <c:pt idx="3">
                  <c:v>100.04166666666667</c:v>
                </c:pt>
                <c:pt idx="4">
                  <c:v>83.18604651162791</c:v>
                </c:pt>
              </c:numCache>
            </c:numRef>
          </c:yVal>
          <c:bubbleSize>
            <c:numRef>
              <c:f>Sheet1!$C$2:$C$6</c:f>
              <c:numCache>
                <c:formatCode>General</c:formatCode>
                <c:ptCount val="5"/>
                <c:pt idx="0">
                  <c:v>185965.56900000002</c:v>
                </c:pt>
                <c:pt idx="1">
                  <c:v>57608.7796</c:v>
                </c:pt>
                <c:pt idx="2">
                  <c:v>112255.39539999998</c:v>
                </c:pt>
                <c:pt idx="3">
                  <c:v>6780.0874</c:v>
                </c:pt>
                <c:pt idx="4">
                  <c:v>5123.0648</c:v>
                </c:pt>
              </c:numCache>
            </c:numRef>
          </c:bubbleSize>
          <c:bubble3D val="0"/>
          <c:extLst>
            <c:ext xmlns:c15="http://schemas.microsoft.com/office/drawing/2012/chart" uri="{02D57815-91ED-43cb-92C2-25804820EDAC}">
              <c15:datalabelsRange>
                <c15:f>Sheet1!$E$2:$E$21</c15:f>
                <c15:dlblRangeCache>
                  <c:ptCount val="20"/>
                  <c:pt idx="0">
                    <c:v>MBY Original 12p</c:v>
                  </c:pt>
                  <c:pt idx="1">
                    <c:v>MBY Original 18p</c:v>
                  </c:pt>
                  <c:pt idx="2">
                    <c:v>MBY Original 6p</c:v>
                  </c:pt>
                  <c:pt idx="3">
                    <c:v>MBY Variety 12p</c:v>
                  </c:pt>
                  <c:pt idx="4">
                    <c:v>MBY Variety 18p</c:v>
                  </c:pt>
                  <c:pt idx="5">
                    <c:v>MBY Light 12p</c:v>
                  </c:pt>
                  <c:pt idx="6">
                    <c:v>MBY Light 6p</c:v>
                  </c:pt>
                  <c:pt idx="7">
                    <c:v>MBY Gouda 6p</c:v>
                  </c:pt>
                  <c:pt idx="8">
                    <c:v>MBY Swiss 6p</c:v>
                  </c:pt>
                  <c:pt idx="9">
                    <c:v>MBY Cheddar 6p</c:v>
                  </c:pt>
                  <c:pt idx="10">
                    <c:v>MBY Mini Roll</c:v>
                  </c:pt>
                  <c:pt idx="11">
                    <c:v>MBY 2Go</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4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1CB6608F-C7CA-46FB-9275-48C0726E03C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2846ECAB-D10E-4AAA-8A89-3C97F75CCBC4}"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8FF9AA8F-E843-4098-B48C-80A69FCF41F0}"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FCB6906D-9D75-4AE0-8DDC-A7021A446A80}"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5598FBD3-BBA2-4F69-925B-A2FD4722419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E0FF9C32-51F4-4736-80E6-F4561BAD04A4}"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4CADDC4C-4B46-4D51-88B2-A3FF0FA737A9}"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2545DB3F-4CB4-4F6F-8807-4F963BB64670}"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F85BF862-4F90-4E7C-AF9C-C9FBEF01869E}"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56F7D86F-97DA-4EF1-BCED-F8CC527EFD60}"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6</c:f>
              <c:numCache>
                <c:formatCode>General</c:formatCode>
                <c:ptCount val="5"/>
                <c:pt idx="0">
                  <c:v>0.85</c:v>
                </c:pt>
                <c:pt idx="1">
                  <c:v>0.57</c:v>
                </c:pt>
                <c:pt idx="2">
                  <c:v>0.56</c:v>
                </c:pt>
                <c:pt idx="3">
                  <c:v>0.18</c:v>
                </c:pt>
                <c:pt idx="4">
                  <c:v>0.17</c:v>
                </c:pt>
              </c:numCache>
            </c:numRef>
          </c:xVal>
          <c:yVal>
            <c:numRef>
              <c:f>Sheet1!$B$2:$B$6</c:f>
              <c:numCache>
                <c:formatCode>General</c:formatCode>
                <c:ptCount val="5"/>
                <c:pt idx="0">
                  <c:v>2936.211764705882</c:v>
                </c:pt>
                <c:pt idx="1">
                  <c:v>840.0877192982457</c:v>
                </c:pt>
                <c:pt idx="2">
                  <c:v>1739.3392857142856</c:v>
                </c:pt>
                <c:pt idx="3">
                  <c:v>144.11111111111111</c:v>
                </c:pt>
                <c:pt idx="4">
                  <c:v>142.2941176470588</c:v>
                </c:pt>
              </c:numCache>
            </c:numRef>
          </c:yVal>
          <c:bubbleSize>
            <c:numRef>
              <c:f>Sheet1!$C$2:$C$6</c:f>
              <c:numCache>
                <c:formatCode>General</c:formatCode>
                <c:ptCount val="5"/>
                <c:pt idx="0">
                  <c:v>132542.7621</c:v>
                </c:pt>
                <c:pt idx="1">
                  <c:v>25887.4668</c:v>
                </c:pt>
                <c:pt idx="2">
                  <c:v>50244.0439</c:v>
                </c:pt>
                <c:pt idx="3">
                  <c:v>1824.9044000000001</c:v>
                </c:pt>
                <c:pt idx="4">
                  <c:v>1725.7632</c:v>
                </c:pt>
              </c:numCache>
            </c:numRef>
          </c:bubbleSize>
          <c:bubble3D val="0"/>
          <c:extLst>
            <c:ext xmlns:c15="http://schemas.microsoft.com/office/drawing/2012/chart" uri="{02D57815-91ED-43cb-92C2-25804820EDAC}">
              <c15:datalabelsRange>
                <c15:f>Sheet1!$E$2:$E$21</c15:f>
                <c15:dlblRangeCache>
                  <c:ptCount val="20"/>
                  <c:pt idx="0">
                    <c:v>MBY Original 12p</c:v>
                  </c:pt>
                  <c:pt idx="1">
                    <c:v>MBY Original 18p</c:v>
                  </c:pt>
                  <c:pt idx="2">
                    <c:v>MBY Original 6p</c:v>
                  </c:pt>
                  <c:pt idx="3">
                    <c:v>MBY Variety 12p</c:v>
                  </c:pt>
                  <c:pt idx="4">
                    <c:v>MBY Variety 18p</c:v>
                  </c:pt>
                  <c:pt idx="5">
                    <c:v>MBY Light 12p</c:v>
                  </c:pt>
                  <c:pt idx="6">
                    <c:v>MBY Light 6p</c:v>
                  </c:pt>
                  <c:pt idx="7">
                    <c:v>MBY Gouda 6p</c:v>
                  </c:pt>
                  <c:pt idx="8">
                    <c:v>MBY Swiss 6p</c:v>
                  </c:pt>
                  <c:pt idx="9">
                    <c:v>MBY Cheddar 6p</c:v>
                  </c:pt>
                  <c:pt idx="10">
                    <c:v>MBY Mini Roll</c:v>
                  </c:pt>
                  <c:pt idx="11">
                    <c:v>MBY 2Go</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4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39249BC0-725D-4C37-BE6E-629A6F2492B7}"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25003730-D48C-4118-93AA-D4FD29A1FDEF}"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19441BFC-9EAD-402D-984F-6917D17C9F1B}"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ECBBD55C-BD09-4EFA-AFDE-DDCC503A8DEF}"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96355EFA-58F8-46B3-8E86-F506EECB19E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D6F28FC6-EB63-4260-A5E0-359799DCFA28}"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DA3B6BA0-7A5F-41E2-B509-7C26D52F9DB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2B421F82-38DB-4BC0-ADD9-582776897CBA}"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CD662E5A-03BC-40F8-9AD3-C8E8840585AB}"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5C624992-5E80-4E8F-AF13-D8332001073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6</c:f>
              <c:numCache>
                <c:formatCode>General</c:formatCode>
                <c:ptCount val="5"/>
                <c:pt idx="0">
                  <c:v>0.073</c:v>
                </c:pt>
                <c:pt idx="1">
                  <c:v>0.854</c:v>
                </c:pt>
                <c:pt idx="2">
                  <c:v>0.764</c:v>
                </c:pt>
                <c:pt idx="3">
                  <c:v>0.073</c:v>
                </c:pt>
                <c:pt idx="4">
                  <c:v>0.269</c:v>
                </c:pt>
              </c:numCache>
            </c:numRef>
          </c:xVal>
          <c:yVal>
            <c:numRef>
              <c:f>Sheet1!$B$2:$B$6</c:f>
              <c:numCache>
                <c:formatCode>General</c:formatCode>
                <c:ptCount val="5"/>
                <c:pt idx="0">
                  <c:v>3420.0</c:v>
                </c:pt>
                <c:pt idx="1">
                  <c:v>9790.585480093678</c:v>
                </c:pt>
                <c:pt idx="2">
                  <c:v>9643.92670157068</c:v>
                </c:pt>
                <c:pt idx="3">
                  <c:v>3727.8082191780823</c:v>
                </c:pt>
                <c:pt idx="4">
                  <c:v>1497.620817843866</c:v>
                </c:pt>
              </c:numCache>
            </c:numRef>
          </c:yVal>
          <c:bubbleSize>
            <c:numRef>
              <c:f>Sheet1!$C$2:$C$6</c:f>
              <c:numCache>
                <c:formatCode>General</c:formatCode>
                <c:ptCount val="5"/>
                <c:pt idx="0">
                  <c:v>15255.881699999998</c:v>
                </c:pt>
                <c:pt idx="1">
                  <c:v>496893.394</c:v>
                </c:pt>
                <c:pt idx="2">
                  <c:v>440091.45629999996</c:v>
                </c:pt>
                <c:pt idx="3">
                  <c:v>15284.814499999999</c:v>
                </c:pt>
                <c:pt idx="4">
                  <c:v>20057.2962</c:v>
                </c:pt>
              </c:numCache>
            </c:numRef>
          </c:bubbleSize>
          <c:bubble3D val="0"/>
          <c:extLst>
            <c:ext xmlns:c15="http://schemas.microsoft.com/office/drawing/2012/chart" uri="{02D57815-91ED-43cb-92C2-25804820EDAC}">
              <c15:datalabelsRange>
                <c15:f>Sheet1!$E$2:$E$21</c15:f>
                <c15:dlblRangeCache>
                  <c:ptCount val="20"/>
                  <c:pt idx="0">
                    <c:v>MBY Original 12p</c:v>
                  </c:pt>
                  <c:pt idx="1">
                    <c:v>MBY Original 18p</c:v>
                  </c:pt>
                  <c:pt idx="2">
                    <c:v>MBY Original 6p</c:v>
                  </c:pt>
                  <c:pt idx="3">
                    <c:v>MBY Variety 12p</c:v>
                  </c:pt>
                  <c:pt idx="4">
                    <c:v>MBY Variety 18p</c:v>
                  </c:pt>
                  <c:pt idx="5">
                    <c:v>MBY Light 12p</c:v>
                  </c:pt>
                  <c:pt idx="6">
                    <c:v>MBY Light 6p</c:v>
                  </c:pt>
                  <c:pt idx="7">
                    <c:v>MBY Gouda 6p</c:v>
                  </c:pt>
                  <c:pt idx="8">
                    <c:v>MBY Swiss 6p</c:v>
                  </c:pt>
                  <c:pt idx="9">
                    <c:v>MBY Cheddar 6p</c:v>
                  </c:pt>
                  <c:pt idx="10">
                    <c:v>MBY Mini Roll</c:v>
                  </c:pt>
                  <c:pt idx="11">
                    <c:v>MBY 2Go</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4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171BC826-769D-40D0-91E0-FB47B6D83ED6}"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5C8E077C-70F1-4A63-8026-2ECFAA14CA1E}"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BF103507-D6D9-4E54-AE6E-8DE3A537EBFA}"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7150A493-222B-4137-90E1-380925E77D7E}"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1A42B028-2DEE-408C-9DCF-2D5D2EFEBA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47E5351D-9201-4B05-BC28-77B45E8540EA}"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167D98AB-BC58-4886-8A9F-68C3389ED70E}"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5029D577-4A58-4018-BC52-500D9FC2D1E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0391A4F2-B141-4A98-85C6-6AF62357DAA4}"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54F8B809-861E-4BF1-BF12-F4158DA418CE}"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2</c:f>
              <c:numCache>
                <c:formatCode>General</c:formatCode>
                <c:ptCount val="1"/>
                <c:pt idx="0">
                  <c:v>0.773</c:v>
                </c:pt>
              </c:numCache>
            </c:numRef>
          </c:xVal>
          <c:yVal>
            <c:numRef>
              <c:f>Sheet1!$B$2:$B$2</c:f>
              <c:numCache>
                <c:formatCode>General</c:formatCode>
                <c:ptCount val="1"/>
                <c:pt idx="0">
                  <c:v>4929.184993531695</c:v>
                </c:pt>
              </c:numCache>
            </c:numRef>
          </c:yVal>
          <c:bubbleSize>
            <c:numRef>
              <c:f>Sheet1!$C$2:$C$2</c:f>
              <c:numCache>
                <c:formatCode>General</c:formatCode>
                <c:ptCount val="1"/>
                <c:pt idx="0">
                  <c:v>214387.12039999999</c:v>
                </c:pt>
              </c:numCache>
            </c:numRef>
          </c:bubbleSize>
          <c:bubble3D val="0"/>
          <c:extLst>
            <c:ext xmlns:c15="http://schemas.microsoft.com/office/drawing/2012/chart" uri="{02D57815-91ED-43cb-92C2-25804820EDAC}">
              <c15:datalabelsRange>
                <c15:f>Sheet1!$E$2:$E$21</c15:f>
                <c15:dlblRangeCache>
                  <c:ptCount val="20"/>
                  <c:pt idx="0">
                    <c:v>MBY Original 12p</c:v>
                  </c:pt>
                  <c:pt idx="1">
                    <c:v>MBY Original 18p</c:v>
                  </c:pt>
                  <c:pt idx="2">
                    <c:v>MBY Original 6p</c:v>
                  </c:pt>
                  <c:pt idx="3">
                    <c:v>MBY Variety 12p</c:v>
                  </c:pt>
                  <c:pt idx="4">
                    <c:v>MBY Variety 18p</c:v>
                  </c:pt>
                  <c:pt idx="5">
                    <c:v>MBY Light 12p</c:v>
                  </c:pt>
                  <c:pt idx="6">
                    <c:v>MBY Light 6p</c:v>
                  </c:pt>
                  <c:pt idx="7">
                    <c:v>MBY Gouda 6p</c:v>
                  </c:pt>
                  <c:pt idx="8">
                    <c:v>MBY Swiss 6p</c:v>
                  </c:pt>
                  <c:pt idx="9">
                    <c:v>MBY Cheddar 6p</c:v>
                  </c:pt>
                  <c:pt idx="10">
                    <c:v>MBY Mini Roll</c:v>
                  </c:pt>
                  <c:pt idx="11">
                    <c:v>MBY 2Go</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4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29292EB0-7B93-43CA-AE92-DE5290A4A31A}"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F26DB56D-CAB2-4C85-85C0-8D5BCE4F173A}"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6D2A9C1F-4947-46C6-8302-18E2FFB4CB5B}"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92A0D86B-F81A-4510-AB86-EE088BB26C7C}"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3E8288F9-9DFB-4D4A-A384-503B36467AE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FD32F206-72E9-47FB-82B4-E683AB0C40AE}"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734DB618-E1BA-49E2-ACC5-3857694D8F2D}"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04473E61-53D6-420A-B441-6A6CBE23B94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0861D1D3-63C2-412D-9C40-3271FC96B75B}"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7590AD51-59BE-4CBB-AE7D-404C48AA9FED}"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2</c:f>
              <c:numCache>
                <c:formatCode>General</c:formatCode>
                <c:ptCount val="1"/>
                <c:pt idx="0">
                  <c:v>0.873</c:v>
                </c:pt>
              </c:numCache>
            </c:numRef>
          </c:xVal>
          <c:yVal>
            <c:numRef>
              <c:f>Sheet1!$B$2:$B$2</c:f>
              <c:numCache>
                <c:formatCode>General</c:formatCode>
                <c:ptCount val="1"/>
                <c:pt idx="0">
                  <c:v>8120.263459335624</c:v>
                </c:pt>
              </c:numCache>
            </c:numRef>
          </c:yVal>
          <c:bubbleSize>
            <c:numRef>
              <c:f>Sheet1!$C$2:$C$2</c:f>
              <c:numCache>
                <c:formatCode>General</c:formatCode>
                <c:ptCount val="1"/>
                <c:pt idx="0">
                  <c:v>402947.6498000001</c:v>
                </c:pt>
              </c:numCache>
            </c:numRef>
          </c:bubbleSize>
          <c:bubble3D val="0"/>
          <c:extLst>
            <c:ext xmlns:c15="http://schemas.microsoft.com/office/drawing/2012/chart" uri="{02D57815-91ED-43cb-92C2-25804820EDAC}">
              <c15:datalabelsRange>
                <c15:f>Sheet1!$E$2:$E$21</c15:f>
                <c15:dlblRangeCache>
                  <c:ptCount val="20"/>
                  <c:pt idx="0">
                    <c:v>MBY Original 12p</c:v>
                  </c:pt>
                  <c:pt idx="1">
                    <c:v>MBY Original 18p</c:v>
                  </c:pt>
                  <c:pt idx="2">
                    <c:v>MBY Original 6p</c:v>
                  </c:pt>
                  <c:pt idx="3">
                    <c:v>MBY Variety 12p</c:v>
                  </c:pt>
                  <c:pt idx="4">
                    <c:v>MBY Variety 18p</c:v>
                  </c:pt>
                  <c:pt idx="5">
                    <c:v>MBY Light 12p</c:v>
                  </c:pt>
                  <c:pt idx="6">
                    <c:v>MBY Light 6p</c:v>
                  </c:pt>
                  <c:pt idx="7">
                    <c:v>MBY Gouda 6p</c:v>
                  </c:pt>
                  <c:pt idx="8">
                    <c:v>MBY Swiss 6p</c:v>
                  </c:pt>
                  <c:pt idx="9">
                    <c:v>MBY Cheddar 6p</c:v>
                  </c:pt>
                  <c:pt idx="10">
                    <c:v>MBY Mini Roll</c:v>
                  </c:pt>
                  <c:pt idx="11">
                    <c:v>MBY 2Go</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4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4CE13322-C650-43C6-BE36-09E97DB621DD}"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A4C7E99E-3722-48E5-A433-F7B2D349FA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4444A991-242E-423E-89B1-A997C7B4F334}"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45E68E94-C1F1-4849-9C6D-4F7FC9600409}"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A25D3339-F397-4C73-A53F-D68E3CEB377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1BEA8382-113A-43CD-BE50-F8C92F028A89}"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8561C27F-E134-4215-B33F-75E84BA20156}"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C27E9B83-F2C4-4291-8949-70D41BB78D96}"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C4B616D5-040B-4ED7-A975-42335B3BDBC8}"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20F7F813-13A7-4F70-B79A-47AC80889264}"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6</c:f>
              <c:numCache>
                <c:formatCode>General</c:formatCode>
                <c:ptCount val="5"/>
                <c:pt idx="0">
                  <c:v>0.16</c:v>
                </c:pt>
                <c:pt idx="1">
                  <c:v>1.0</c:v>
                </c:pt>
                <c:pt idx="2">
                  <c:v>1.0</c:v>
                </c:pt>
                <c:pt idx="3">
                  <c:v>0.16</c:v>
                </c:pt>
                <c:pt idx="4">
                  <c:v>0.59</c:v>
                </c:pt>
              </c:numCache>
            </c:numRef>
          </c:xVal>
          <c:yVal>
            <c:numRef>
              <c:f>Sheet1!$B$2:$B$6</c:f>
              <c:numCache>
                <c:formatCode>General</c:formatCode>
                <c:ptCount val="5"/>
                <c:pt idx="0">
                  <c:v>1560.375</c:v>
                </c:pt>
                <c:pt idx="1">
                  <c:v>4355.39</c:v>
                </c:pt>
                <c:pt idx="2">
                  <c:v>4384.49</c:v>
                </c:pt>
                <c:pt idx="3">
                  <c:v>1699.3125</c:v>
                </c:pt>
                <c:pt idx="4">
                  <c:v>682.8135593220339</c:v>
                </c:pt>
              </c:numCache>
            </c:numRef>
          </c:yVal>
          <c:bubbleSize>
            <c:numRef>
              <c:f>Sheet1!$C$2:$C$6</c:f>
              <c:numCache>
                <c:formatCode>General</c:formatCode>
                <c:ptCount val="5"/>
                <c:pt idx="0">
                  <c:v>15255.881699999998</c:v>
                </c:pt>
                <c:pt idx="1">
                  <c:v>263336.331</c:v>
                </c:pt>
                <c:pt idx="2">
                  <c:v>264664.55909999995</c:v>
                </c:pt>
                <c:pt idx="3">
                  <c:v>15268.289499999999</c:v>
                </c:pt>
                <c:pt idx="4">
                  <c:v>20057.2962</c:v>
                </c:pt>
              </c:numCache>
            </c:numRef>
          </c:bubbleSize>
          <c:bubble3D val="0"/>
          <c:extLst>
            <c:ext xmlns:c15="http://schemas.microsoft.com/office/drawing/2012/chart" uri="{02D57815-91ED-43cb-92C2-25804820EDAC}">
              <c15:datalabelsRange>
                <c15:f>Sheet1!$E$2:$E$21</c15:f>
                <c15:dlblRangeCache>
                  <c:ptCount val="20"/>
                  <c:pt idx="0">
                    <c:v>MBY Original 12p</c:v>
                  </c:pt>
                  <c:pt idx="1">
                    <c:v>MBY Original 18p</c:v>
                  </c:pt>
                  <c:pt idx="2">
                    <c:v>MBY Original 6p</c:v>
                  </c:pt>
                  <c:pt idx="3">
                    <c:v>MBY Variety 12p</c:v>
                  </c:pt>
                  <c:pt idx="4">
                    <c:v>MBY Variety 18p</c:v>
                  </c:pt>
                  <c:pt idx="5">
                    <c:v>MBY Light 12p</c:v>
                  </c:pt>
                  <c:pt idx="6">
                    <c:v>MBY Light 6p</c:v>
                  </c:pt>
                  <c:pt idx="7">
                    <c:v>MBY Gouda 6p</c:v>
                  </c:pt>
                  <c:pt idx="8">
                    <c:v>MBY Swiss 6p</c:v>
                  </c:pt>
                  <c:pt idx="9">
                    <c:v>MBY Cheddar 6p</c:v>
                  </c:pt>
                  <c:pt idx="10">
                    <c:v>MBY Mini Roll</c:v>
                  </c:pt>
                  <c:pt idx="11">
                    <c:v>MBY 2Go</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4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7708A023-2C3E-4B76-8466-A1EC0818EFD7}"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CD527140-0324-4215-AAEC-4EC6556E1100}"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21ACD288-69AD-46DF-9958-A0F8C2C3B63D}"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C0ECA704-3631-4524-BAB8-BEC34214F79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4B19886E-2A95-468F-BD72-E1C758315EA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01D206D2-C6DA-46FA-90F0-E7392E8267AE}"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1A165254-4817-4B28-8516-29FFC0BACBA8}"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76CA93AC-91A5-43EB-A334-57FE0D7E38F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EEC72672-36DF-46D2-ABF4-F7A5894A5832}"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06C9F631-2437-4B46-8A89-B6B83B9FFF5F}"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2</c:f>
              <c:numCache>
                <c:formatCode>General</c:formatCode>
                <c:ptCount val="1"/>
                <c:pt idx="0">
                  <c:v>0.98</c:v>
                </c:pt>
              </c:numCache>
            </c:numRef>
          </c:xVal>
          <c:yVal>
            <c:numRef>
              <c:f>Sheet1!$B$2:$B$2</c:f>
              <c:numCache>
                <c:formatCode>General</c:formatCode>
                <c:ptCount val="1"/>
                <c:pt idx="0">
                  <c:v>1964.9795918367347</c:v>
                </c:pt>
              </c:numCache>
            </c:numRef>
          </c:yVal>
          <c:bubbleSize>
            <c:numRef>
              <c:f>Sheet1!$C$2:$C$2</c:f>
              <c:numCache>
                <c:formatCode>General</c:formatCode>
                <c:ptCount val="1"/>
                <c:pt idx="0">
                  <c:v>114232.42059999998</c:v>
                </c:pt>
              </c:numCache>
            </c:numRef>
          </c:bubbleSize>
          <c:bubble3D val="0"/>
          <c:extLst>
            <c:ext xmlns:c15="http://schemas.microsoft.com/office/drawing/2012/chart" uri="{02D57815-91ED-43cb-92C2-25804820EDAC}">
              <c15:datalabelsRange>
                <c15:f>Sheet1!$E$2:$E$21</c15:f>
                <c15:dlblRangeCache>
                  <c:ptCount val="20"/>
                  <c:pt idx="0">
                    <c:v>MBY Original 12p</c:v>
                  </c:pt>
                  <c:pt idx="1">
                    <c:v>MBY Original 18p</c:v>
                  </c:pt>
                  <c:pt idx="2">
                    <c:v>MBY Original 6p</c:v>
                  </c:pt>
                  <c:pt idx="3">
                    <c:v>MBY Variety 12p</c:v>
                  </c:pt>
                  <c:pt idx="4">
                    <c:v>MBY Variety 18p</c:v>
                  </c:pt>
                  <c:pt idx="5">
                    <c:v>MBY Light 12p</c:v>
                  </c:pt>
                  <c:pt idx="6">
                    <c:v>MBY Light 6p</c:v>
                  </c:pt>
                  <c:pt idx="7">
                    <c:v>MBY Gouda 6p</c:v>
                  </c:pt>
                  <c:pt idx="8">
                    <c:v>MBY Swiss 6p</c:v>
                  </c:pt>
                  <c:pt idx="9">
                    <c:v>MBY Cheddar 6p</c:v>
                  </c:pt>
                  <c:pt idx="10">
                    <c:v>MBY Mini Roll</c:v>
                  </c:pt>
                  <c:pt idx="11">
                    <c:v>MBY 2Go</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4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976603A5-0153-4914-A635-138C8064F456}"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F20CEF56-8782-4795-B6C1-2D308C7FF418}"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067E05C0-2563-43C5-B664-65DAC586AB6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3F438AA2-28C6-4E3A-B2F4-92786DEFB62F}"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2419B6B6-36CA-490C-A506-56B65EA6525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230FBCBF-1403-471D-B23A-90D6DCA2825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7ABB7E0C-30C3-47AF-9C51-711A5FAA97E4}"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1CEBAF33-6D3F-402C-A709-1FB4792E5290}"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D894165A-B520-43B3-9342-70F5A44C042C}"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C1F69B90-9A4A-4004-9D85-F84F654C456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3</c:f>
              <c:numCache>
                <c:formatCode>General</c:formatCode>
                <c:ptCount val="2"/>
                <c:pt idx="0">
                  <c:v>0.97</c:v>
                </c:pt>
                <c:pt idx="1">
                  <c:v>0.79</c:v>
                </c:pt>
              </c:numCache>
            </c:numRef>
          </c:xVal>
          <c:yVal>
            <c:numRef>
              <c:f>Sheet1!$B$2:$B$3</c:f>
              <c:numCache>
                <c:formatCode>General</c:formatCode>
                <c:ptCount val="2"/>
                <c:pt idx="0">
                  <c:v>3677.639175257732</c:v>
                </c:pt>
                <c:pt idx="1">
                  <c:v>3513.025316455696</c:v>
                </c:pt>
              </c:numCache>
            </c:numRef>
          </c:yVal>
          <c:bubbleSize>
            <c:numRef>
              <c:f>Sheet1!$C$2:$C$3</c:f>
              <c:numCache>
                <c:formatCode>General</c:formatCode>
                <c:ptCount val="2"/>
                <c:pt idx="0">
                  <c:v>210202.21399999998</c:v>
                </c:pt>
                <c:pt idx="1">
                  <c:v>163905.20519999997</c:v>
                </c:pt>
              </c:numCache>
            </c:numRef>
          </c:bubbleSize>
          <c:bubble3D val="0"/>
          <c:extLst>
            <c:ext xmlns:c15="http://schemas.microsoft.com/office/drawing/2012/chart" uri="{02D57815-91ED-43cb-92C2-25804820EDAC}">
              <c15:datalabelsRange>
                <c15:f>Sheet1!$E$2:$E$21</c15:f>
                <c15:dlblRangeCache>
                  <c:ptCount val="20"/>
                  <c:pt idx="0">
                    <c:v>MBY Original 12p</c:v>
                  </c:pt>
                  <c:pt idx="1">
                    <c:v>MBY Original 18p</c:v>
                  </c:pt>
                  <c:pt idx="2">
                    <c:v>MBY Original 6p</c:v>
                  </c:pt>
                  <c:pt idx="3">
                    <c:v>MBY Variety 12p</c:v>
                  </c:pt>
                  <c:pt idx="4">
                    <c:v>MBY Variety 18p</c:v>
                  </c:pt>
                  <c:pt idx="5">
                    <c:v>MBY Light 12p</c:v>
                  </c:pt>
                  <c:pt idx="6">
                    <c:v>MBY Light 6p</c:v>
                  </c:pt>
                  <c:pt idx="7">
                    <c:v>MBY Gouda 6p</c:v>
                  </c:pt>
                  <c:pt idx="8">
                    <c:v>MBY Swiss 6p</c:v>
                  </c:pt>
                  <c:pt idx="9">
                    <c:v>MBY Cheddar 6p</c:v>
                  </c:pt>
                  <c:pt idx="10">
                    <c:v>MBY Mini Roll</c:v>
                  </c:pt>
                  <c:pt idx="11">
                    <c:v>MBY 2Go</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4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C7F96D30-685A-4C6C-8EB5-7406E79E1308}"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D5E3F23D-51BA-4308-8354-13F3FDB41CC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C5FCF451-B9BD-4A9B-B576-D2284BA147F7}"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8BD74851-327F-4AB1-BD95-95A9C850A58F}"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7BD749DA-FCE7-4A4E-935A-EB0D2871A98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7909FB59-B626-4A33-ACF7-C7220756BFAB}"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77077459-BD47-4D3E-8886-14FFA44040D2}"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5015F612-7789-4A35-AE96-587D381F107A}"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0EF1AD32-75A4-4ABD-8D28-8327CE4FFCAB}"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7193E2BE-C839-4CB3-B357-739E1596A94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2</c:f>
              <c:numCache>
                <c:formatCode>General</c:formatCode>
                <c:ptCount val="1"/>
                <c:pt idx="0">
                  <c:v>0.72</c:v>
                </c:pt>
              </c:numCache>
            </c:numRef>
          </c:xVal>
          <c:yVal>
            <c:numRef>
              <c:f>Sheet1!$B$2:$B$2</c:f>
              <c:numCache>
                <c:formatCode>General</c:formatCode>
                <c:ptCount val="1"/>
                <c:pt idx="0">
                  <c:v>1510.361111111111</c:v>
                </c:pt>
              </c:numCache>
            </c:numRef>
          </c:yVal>
          <c:bubbleSize>
            <c:numRef>
              <c:f>Sheet1!$C$2:$C$2</c:f>
              <c:numCache>
                <c:formatCode>General</c:formatCode>
                <c:ptCount val="1"/>
                <c:pt idx="0">
                  <c:v>61671.757699999995</c:v>
                </c:pt>
              </c:numCache>
            </c:numRef>
          </c:bubbleSize>
          <c:bubble3D val="0"/>
          <c:extLst>
            <c:ext xmlns:c15="http://schemas.microsoft.com/office/drawing/2012/chart" uri="{02D57815-91ED-43cb-92C2-25804820EDAC}">
              <c15:datalabelsRange>
                <c15:f>Sheet1!$E$2:$E$21</c15:f>
                <c15:dlblRangeCache>
                  <c:ptCount val="20"/>
                  <c:pt idx="0">
                    <c:v>MBY Original 12p</c:v>
                  </c:pt>
                  <c:pt idx="1">
                    <c:v>MBY Original 18p</c:v>
                  </c:pt>
                  <c:pt idx="2">
                    <c:v>MBY Original 6p</c:v>
                  </c:pt>
                  <c:pt idx="3">
                    <c:v>MBY Variety 12p</c:v>
                  </c:pt>
                  <c:pt idx="4">
                    <c:v>MBY Variety 18p</c:v>
                  </c:pt>
                  <c:pt idx="5">
                    <c:v>MBY Light 12p</c:v>
                  </c:pt>
                  <c:pt idx="6">
                    <c:v>MBY Light 6p</c:v>
                  </c:pt>
                  <c:pt idx="7">
                    <c:v>MBY Gouda 6p</c:v>
                  </c:pt>
                  <c:pt idx="8">
                    <c:v>MBY Swiss 6p</c:v>
                  </c:pt>
                  <c:pt idx="9">
                    <c:v>MBY Cheddar 6p</c:v>
                  </c:pt>
                  <c:pt idx="10">
                    <c:v>MBY Mini Roll</c:v>
                  </c:pt>
                  <c:pt idx="11">
                    <c:v>MBY 2Go</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St Moret</c:v>
                </c:pt>
                <c:pt idx="1">
                  <c:v>Private Label</c:v>
                </c:pt>
                <c:pt idx="2">
                  <c:v>Paysan Breton</c:v>
                </c:pt>
                <c:pt idx="3">
                  <c:v>Tartare</c:v>
                </c:pt>
                <c:pt idx="4">
                  <c:v>Boursin</c:v>
                </c:pt>
                <c:pt idx="5">
                  <c:v>Philadelphia</c:v>
                </c:pt>
                <c:pt idx="6">
                  <c:v>Carre Frais</c:v>
                </c:pt>
                <c:pt idx="7">
                  <c:v>Kiri</c:v>
                </c:pt>
                <c:pt idx="8">
                  <c:v>La Vache Qui Rit</c:v>
                </c:pt>
                <c:pt idx="9">
                  <c:v>Others</c:v>
                </c:pt>
              </c:strCache>
            </c:strRef>
          </c:cat>
          <c:val>
            <c:numRef>
              <c:f>Sheet1!$B$2:$B$11</c:f>
              <c:numCache>
                <c:formatCode>General</c:formatCode>
                <c:ptCount val="10"/>
                <c:pt idx="0">
                  <c:v>0.2681909816214102</c:v>
                </c:pt>
                <c:pt idx="1">
                  <c:v>0.21660717262365337</c:v>
                </c:pt>
                <c:pt idx="2">
                  <c:v>0.15351086607812078</c:v>
                </c:pt>
                <c:pt idx="3">
                  <c:v>0.09803375255476769</c:v>
                </c:pt>
                <c:pt idx="4">
                  <c:v>0.09680069867927657</c:v>
                </c:pt>
                <c:pt idx="5">
                  <c:v>0.08486057120974316</c:v>
                </c:pt>
                <c:pt idx="6">
                  <c:v>0.05095249409634643</c:v>
                </c:pt>
                <c:pt idx="7">
                  <c:v>0.02118120284301541</c:v>
                </c:pt>
                <c:pt idx="8">
                  <c:v>1.7637020884674776e-06</c:v>
                </c:pt>
                <c:pt idx="9">
                  <c:v>0.009860496591577879</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St Moret</c:v>
                </c:pt>
                <c:pt idx="1">
                  <c:v>Private Label</c:v>
                </c:pt>
                <c:pt idx="2">
                  <c:v>Paysan Breton</c:v>
                </c:pt>
                <c:pt idx="3">
                  <c:v>Tartare</c:v>
                </c:pt>
                <c:pt idx="4">
                  <c:v>Boursin</c:v>
                </c:pt>
                <c:pt idx="5">
                  <c:v>Philadelphia</c:v>
                </c:pt>
                <c:pt idx="6">
                  <c:v>Carre Frais</c:v>
                </c:pt>
                <c:pt idx="7">
                  <c:v>Kiri</c:v>
                </c:pt>
                <c:pt idx="8">
                  <c:v>La Vache Qui Rit</c:v>
                </c:pt>
                <c:pt idx="9">
                  <c:v>Others</c:v>
                </c:pt>
              </c:strCache>
            </c:strRef>
          </c:cat>
          <c:val>
            <c:numRef>
              <c:f>Sheet1!$C$2:$C$11</c:f>
              <c:numCache>
                <c:formatCode>General</c:formatCode>
                <c:ptCount val="10"/>
                <c:pt idx="0">
                  <c:v>0.19004207573632542</c:v>
                </c:pt>
                <c:pt idx="1">
                  <c:v>0.19284712482468447</c:v>
                </c:pt>
                <c:pt idx="2">
                  <c:v>0.15778401122019636</c:v>
                </c:pt>
                <c:pt idx="3">
                  <c:v>0.12482468443197757</c:v>
                </c:pt>
                <c:pt idx="4">
                  <c:v>0.12412342215988782</c:v>
                </c:pt>
                <c:pt idx="5">
                  <c:v>0.0659186535764376</c:v>
                </c:pt>
                <c:pt idx="6">
                  <c:v>0.06381486676016832</c:v>
                </c:pt>
                <c:pt idx="7">
                  <c:v>0.05820476858345022</c:v>
                </c:pt>
                <c:pt idx="8">
                  <c:v>0.0</c:v>
                </c:pt>
                <c:pt idx="9">
                  <c:v>0.022440392706872377</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St Moret</c:v>
                </c:pt>
                <c:pt idx="1">
                  <c:v>Private Label</c:v>
                </c:pt>
                <c:pt idx="2">
                  <c:v>Paysan Breton</c:v>
                </c:pt>
                <c:pt idx="3">
                  <c:v>Tartare</c:v>
                </c:pt>
                <c:pt idx="4">
                  <c:v>Boursin</c:v>
                </c:pt>
                <c:pt idx="5">
                  <c:v>Philadelphia</c:v>
                </c:pt>
                <c:pt idx="6">
                  <c:v>Carre Frais</c:v>
                </c:pt>
                <c:pt idx="7">
                  <c:v>Kiri</c:v>
                </c:pt>
                <c:pt idx="8">
                  <c:v>La Vache Qui Rit</c:v>
                </c:pt>
                <c:pt idx="9">
                  <c:v>Others</c:v>
                </c:pt>
              </c:strCache>
            </c:strRef>
          </c:cat>
          <c:val>
            <c:numRef>
              <c:f>Sheet1!$D$2:$D$11</c:f>
              <c:numCache>
                <c:formatCode>General</c:formatCode>
                <c:ptCount val="10"/>
                <c:pt idx="0">
                  <c:v>70.86072566175879</c:v>
                </c:pt>
                <c:pt idx="1">
                  <c:v>89.03081208661033</c:v>
                </c:pt>
                <c:pt idx="2">
                  <c:v>102.78361086172299</c:v>
                </c:pt>
                <c:pt idx="3">
                  <c:v>127.32827335385618</c:v>
                </c:pt>
                <c:pt idx="4">
                  <c:v>128.22575028217292</c:v>
                </c:pt>
                <c:pt idx="5">
                  <c:v>77.67877665295427</c:v>
                </c:pt>
                <c:pt idx="6">
                  <c:v>125.24385291032138</c:v>
                </c:pt>
                <c:pt idx="7">
                  <c:v>274.7944439927947</c:v>
                </c:pt>
                <c:pt idx="8">
                  <c:v>1.0</c:v>
                </c:pt>
                <c:pt idx="9">
                  <c:v>227.57872789124366</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FDF55535-2D7A-44BC-A6AB-05E1B4FE5C19}"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55DE5102-9EF9-4D11-B788-1632C9DB35DC}"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D27C505F-9A22-4CFA-985C-67045A1E4A69}"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D52182A5-2AEF-43B5-A3E5-8216E6BA2222}"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AF7546F3-B507-4598-9575-75C1ED9E0D5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E97FF9DE-2FA8-49A0-A2F1-7559349158FF}"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0E910704-2962-489C-8A0D-4B0776C76007}"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1A6437E9-94B8-4C03-B576-D4ABA9CAD76D}"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FCFEFC97-FF39-4805-BCB1-B6072DA858BA}"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0FF71C25-1EA3-4031-837A-C55F1BB7DF4D}"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3</c:f>
              <c:numCache>
                <c:formatCode>General</c:formatCode>
                <c:ptCount val="2"/>
                <c:pt idx="0">
                  <c:v>0.18</c:v>
                </c:pt>
                <c:pt idx="1">
                  <c:v>0.05</c:v>
                </c:pt>
              </c:numCache>
            </c:numRef>
          </c:xVal>
          <c:yVal>
            <c:numRef>
              <c:f>Sheet1!$B$2:$B$3</c:f>
              <c:numCache>
                <c:formatCode>General</c:formatCode>
                <c:ptCount val="2"/>
                <c:pt idx="0">
                  <c:v>2435.8888888888887</c:v>
                </c:pt>
                <c:pt idx="1">
                  <c:v>4163.6</c:v>
                </c:pt>
              </c:numCache>
            </c:numRef>
          </c:yVal>
          <c:bubbleSize>
            <c:numRef>
              <c:f>Sheet1!$C$2:$C$3</c:f>
              <c:numCache>
                <c:formatCode>General</c:formatCode>
                <c:ptCount val="2"/>
                <c:pt idx="0">
                  <c:v>23354.848999999995</c:v>
                </c:pt>
                <c:pt idx="1">
                  <c:v>11521.692000000001</c:v>
                </c:pt>
              </c:numCache>
            </c:numRef>
          </c:bubbleSize>
          <c:bubble3D val="0"/>
          <c:extLst>
            <c:ext xmlns:c15="http://schemas.microsoft.com/office/drawing/2012/chart" uri="{02D57815-91ED-43cb-92C2-25804820EDAC}">
              <c15:datalabelsRange>
                <c15:f>Sheet1!$E$2:$E$21</c15:f>
                <c15:dlblRangeCache>
                  <c:ptCount val="20"/>
                  <c:pt idx="0">
                    <c:v>MBY Original 12p</c:v>
                  </c:pt>
                  <c:pt idx="1">
                    <c:v>MBY Original 18p</c:v>
                  </c:pt>
                  <c:pt idx="2">
                    <c:v>MBY Original 6p</c:v>
                  </c:pt>
                  <c:pt idx="3">
                    <c:v>MBY Variety 12p</c:v>
                  </c:pt>
                  <c:pt idx="4">
                    <c:v>MBY Variety 18p</c:v>
                  </c:pt>
                  <c:pt idx="5">
                    <c:v>MBY Light 12p</c:v>
                  </c:pt>
                  <c:pt idx="6">
                    <c:v>MBY Light 6p</c:v>
                  </c:pt>
                  <c:pt idx="7">
                    <c:v>MBY Gouda 6p</c:v>
                  </c:pt>
                  <c:pt idx="8">
                    <c:v>MBY Swiss 6p</c:v>
                  </c:pt>
                  <c:pt idx="9">
                    <c:v>MBY Cheddar 6p</c:v>
                  </c:pt>
                  <c:pt idx="10">
                    <c:v>MBY Mini Roll</c:v>
                  </c:pt>
                  <c:pt idx="11">
                    <c:v>MBY 2Go</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4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4D0590EF-FE09-4B48-8B0C-5E9CD676B31D}"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0AC127F2-D848-4599-8054-089E4AB3341B}"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D6BC5D5B-ACBA-40F8-BFD5-99DCD6DE035B}"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786BDFCC-94FD-4CDF-9E5A-EE7702A3F807}"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BAC0DE3F-735E-4BC9-B82C-F4BF3479EA1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62EDA95A-B05C-412A-8678-433225A0D83A}"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FEF93A11-9903-41B0-9EB0-1619F9AFC7ED}"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0C480FBC-720A-437E-99F0-99FCA6B28AB8}"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AA4D5F82-CAF5-4ED8-AAB3-78E8336BEAAB}"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9E5CB831-3EDD-4608-A7AC-E2F6A6719752}"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2</c:f>
              <c:numCache>
                <c:formatCode>General</c:formatCode>
                <c:ptCount val="1"/>
                <c:pt idx="0">
                  <c:v>0.32</c:v>
                </c:pt>
              </c:numCache>
            </c:numRef>
          </c:xVal>
          <c:yVal>
            <c:numRef>
              <c:f>Sheet1!$B$2:$B$2</c:f>
              <c:numCache>
                <c:formatCode>General</c:formatCode>
                <c:ptCount val="1"/>
                <c:pt idx="0">
                  <c:v>2491.0</c:v>
                </c:pt>
              </c:numCache>
            </c:numRef>
          </c:yVal>
          <c:bubbleSize>
            <c:numRef>
              <c:f>Sheet1!$C$2:$C$2</c:f>
              <c:numCache>
                <c:formatCode>General</c:formatCode>
                <c:ptCount val="1"/>
                <c:pt idx="0">
                  <c:v>38482.9421</c:v>
                </c:pt>
              </c:numCache>
            </c:numRef>
          </c:bubbleSize>
          <c:bubble3D val="0"/>
          <c:extLst>
            <c:ext xmlns:c15="http://schemas.microsoft.com/office/drawing/2012/chart" uri="{02D57815-91ED-43cb-92C2-25804820EDAC}">
              <c15:datalabelsRange>
                <c15:f>Sheet1!$E$2:$E$21</c15:f>
                <c15:dlblRangeCache>
                  <c:ptCount val="20"/>
                  <c:pt idx="0">
                    <c:v>MBY Original 12p</c:v>
                  </c:pt>
                  <c:pt idx="1">
                    <c:v>MBY Original 18p</c:v>
                  </c:pt>
                  <c:pt idx="2">
                    <c:v>MBY Original 6p</c:v>
                  </c:pt>
                  <c:pt idx="3">
                    <c:v>MBY Variety 12p</c:v>
                  </c:pt>
                  <c:pt idx="4">
                    <c:v>MBY Variety 18p</c:v>
                  </c:pt>
                  <c:pt idx="5">
                    <c:v>MBY Light 12p</c:v>
                  </c:pt>
                  <c:pt idx="6">
                    <c:v>MBY Light 6p</c:v>
                  </c:pt>
                  <c:pt idx="7">
                    <c:v>MBY Gouda 6p</c:v>
                  </c:pt>
                  <c:pt idx="8">
                    <c:v>MBY Swiss 6p</c:v>
                  </c:pt>
                  <c:pt idx="9">
                    <c:v>MBY Cheddar 6p</c:v>
                  </c:pt>
                  <c:pt idx="10">
                    <c:v>MBY Mini Roll</c:v>
                  </c:pt>
                  <c:pt idx="11">
                    <c:v>MBY 2Go</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4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E5914DE9-2230-4F44-B8F5-F89E7FD9870D}"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3DD86AF4-23F4-4F24-BB8C-C36F19C4C0FD}"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F7C0D7C8-DBE3-4E90-BC14-4DCAC91BBC24}"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98816572-FDEB-4ECA-8FA7-7F1AF3ABCC7F}"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D53ACBDB-A8C2-4B17-A6D0-7B2988503EB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E3AEDF56-9148-4087-AAE1-82885F7F996F}"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68AD42F8-A0D1-4B5E-ADC2-5D65CF73AC7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0E42642A-EE52-4381-A747-4617E8D54D70}"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263A5BA2-D6DE-4AC4-9CEE-4FAFF09C592A}"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B2040533-C964-4009-B41D-F133450701E9}"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2</c:f>
              <c:numCache>
                <c:formatCode>General</c:formatCode>
                <c:ptCount val="1"/>
                <c:pt idx="0">
                  <c:v>0.88</c:v>
                </c:pt>
              </c:numCache>
            </c:numRef>
          </c:xVal>
          <c:yVal>
            <c:numRef>
              <c:f>Sheet1!$B$2:$B$2</c:f>
              <c:numCache>
                <c:formatCode>General</c:formatCode>
                <c:ptCount val="1"/>
                <c:pt idx="0">
                  <c:v>5857.977272727273</c:v>
                </c:pt>
              </c:numCache>
            </c:numRef>
          </c:yVal>
          <c:bubbleSize>
            <c:numRef>
              <c:f>Sheet1!$C$2:$C$2</c:f>
              <c:numCache>
                <c:formatCode>General</c:formatCode>
                <c:ptCount val="1"/>
                <c:pt idx="0">
                  <c:v>294677.5556</c:v>
                </c:pt>
              </c:numCache>
            </c:numRef>
          </c:bubbleSize>
          <c:bubble3D val="0"/>
          <c:extLst>
            <c:ext xmlns:c15="http://schemas.microsoft.com/office/drawing/2012/chart" uri="{02D57815-91ED-43cb-92C2-25804820EDAC}">
              <c15:datalabelsRange>
                <c15:f>Sheet1!$E$2:$E$21</c15:f>
                <c15:dlblRangeCache>
                  <c:ptCount val="20"/>
                  <c:pt idx="0">
                    <c:v>MBY Original 12p</c:v>
                  </c:pt>
                  <c:pt idx="1">
                    <c:v>MBY Original 18p</c:v>
                  </c:pt>
                  <c:pt idx="2">
                    <c:v>MBY Original 6p</c:v>
                  </c:pt>
                  <c:pt idx="3">
                    <c:v>MBY Variety 12p</c:v>
                  </c:pt>
                  <c:pt idx="4">
                    <c:v>MBY Variety 18p</c:v>
                  </c:pt>
                  <c:pt idx="5">
                    <c:v>MBY Light 12p</c:v>
                  </c:pt>
                  <c:pt idx="6">
                    <c:v>MBY Light 6p</c:v>
                  </c:pt>
                  <c:pt idx="7">
                    <c:v>MBY Gouda 6p</c:v>
                  </c:pt>
                  <c:pt idx="8">
                    <c:v>MBY Swiss 6p</c:v>
                  </c:pt>
                  <c:pt idx="9">
                    <c:v>MBY Cheddar 6p</c:v>
                  </c:pt>
                  <c:pt idx="10">
                    <c:v>MBY Mini Roll</c:v>
                  </c:pt>
                  <c:pt idx="11">
                    <c:v>MBY 2Go</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4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4F20E705-2358-4702-A5C6-CDD21CBCADD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BB401EE4-A188-4A00-8021-128527304ED6}"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1B10BBB2-65ED-4E8A-B3D8-83A553E3114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3C772750-6F9D-46A7-B6E1-03ACE9741E8C}"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8B8CBB78-B2A1-47FE-ADCE-816DF811A32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7D0596D9-A837-4371-AE70-E488532182BC}"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A0D446D7-A509-435E-A33A-BE4FD5FEEF54}"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8A5F934F-3598-4B46-8B7C-891A6BB3128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38518628-2D28-4B74-8CC4-8EAC996F2058}"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0294AA76-204B-47B4-A3EF-5C9BC55B7F58}"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2</c:f>
              <c:numCache>
                <c:formatCode>General</c:formatCode>
                <c:ptCount val="1"/>
                <c:pt idx="0">
                  <c:v>0.96</c:v>
                </c:pt>
              </c:numCache>
            </c:numRef>
          </c:xVal>
          <c:yVal>
            <c:numRef>
              <c:f>Sheet1!$B$2:$B$2</c:f>
              <c:numCache>
                <c:formatCode>General</c:formatCode>
                <c:ptCount val="1"/>
                <c:pt idx="0">
                  <c:v>819.71875</c:v>
                </c:pt>
              </c:numCache>
            </c:numRef>
          </c:yVal>
          <c:bubbleSize>
            <c:numRef>
              <c:f>Sheet1!$C$2:$C$2</c:f>
              <c:numCache>
                <c:formatCode>General</c:formatCode>
                <c:ptCount val="1"/>
                <c:pt idx="0">
                  <c:v>46634.509099999996</c:v>
                </c:pt>
              </c:numCache>
            </c:numRef>
          </c:bubbleSize>
          <c:bubble3D val="0"/>
          <c:extLst>
            <c:ext xmlns:c15="http://schemas.microsoft.com/office/drawing/2012/chart" uri="{02D57815-91ED-43cb-92C2-25804820EDAC}">
              <c15:datalabelsRange>
                <c15:f>Sheet1!$E$2:$E$21</c15:f>
                <c15:dlblRangeCache>
                  <c:ptCount val="20"/>
                  <c:pt idx="0">
                    <c:v>MBY Original 12p</c:v>
                  </c:pt>
                  <c:pt idx="1">
                    <c:v>MBY Original 18p</c:v>
                  </c:pt>
                  <c:pt idx="2">
                    <c:v>MBY Original 6p</c:v>
                  </c:pt>
                  <c:pt idx="3">
                    <c:v>MBY Variety 12p</c:v>
                  </c:pt>
                  <c:pt idx="4">
                    <c:v>MBY Variety 18p</c:v>
                  </c:pt>
                  <c:pt idx="5">
                    <c:v>MBY Light 12p</c:v>
                  </c:pt>
                  <c:pt idx="6">
                    <c:v>MBY Light 6p</c:v>
                  </c:pt>
                  <c:pt idx="7">
                    <c:v>MBY Gouda 6p</c:v>
                  </c:pt>
                  <c:pt idx="8">
                    <c:v>MBY Swiss 6p</c:v>
                  </c:pt>
                  <c:pt idx="9">
                    <c:v>MBY Cheddar 6p</c:v>
                  </c:pt>
                  <c:pt idx="10">
                    <c:v>MBY Mini Roll</c:v>
                  </c:pt>
                  <c:pt idx="11">
                    <c:v>MBY 2Go</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4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2C87B4C1-0638-4DD6-A715-7753DFFCCF24}"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BBF32599-B2F4-409C-971E-4381102E79C2}"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6150D697-7B58-4439-A093-055943E9891C}"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C2F13C8C-300E-435F-B2C9-7CD20573EE97}"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2AEE8597-6F04-4B65-95DA-EA064247AF6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6C8E3C2F-C66C-4F37-A261-AFDE65D4DC44}"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8C61CA29-A30E-41DC-878B-B4D73FFE6D7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C55B043A-115F-41C7-92B0-EBC8600CB63E}"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9D745997-582C-473E-BDDF-B6117B9957FE}"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B9FF82BE-1FEE-4CD0-BA97-85D6B3B128B9}"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2</c:f>
              <c:numCache>
                <c:formatCode>General</c:formatCode>
                <c:ptCount val="1"/>
                <c:pt idx="0">
                  <c:v>0.73</c:v>
                </c:pt>
              </c:numCache>
            </c:numRef>
          </c:xVal>
          <c:yVal>
            <c:numRef>
              <c:f>Sheet1!$B$2:$B$2</c:f>
              <c:numCache>
                <c:formatCode>General</c:formatCode>
                <c:ptCount val="1"/>
                <c:pt idx="0">
                  <c:v>1571.2876712328766</c:v>
                </c:pt>
              </c:numCache>
            </c:numRef>
          </c:yVal>
          <c:bubbleSize>
            <c:numRef>
              <c:f>Sheet1!$C$2:$C$2</c:f>
              <c:numCache>
                <c:formatCode>General</c:formatCode>
                <c:ptCount val="1"/>
                <c:pt idx="0">
                  <c:v>61635.58510000001</c:v>
                </c:pt>
              </c:numCache>
            </c:numRef>
          </c:bubbleSize>
          <c:bubble3D val="0"/>
          <c:extLst>
            <c:ext xmlns:c15="http://schemas.microsoft.com/office/drawing/2012/chart" uri="{02D57815-91ED-43cb-92C2-25804820EDAC}">
              <c15:datalabelsRange>
                <c15:f>Sheet1!$E$2:$E$21</c15:f>
                <c15:dlblRangeCache>
                  <c:ptCount val="20"/>
                  <c:pt idx="0">
                    <c:v>MBY Original 12p</c:v>
                  </c:pt>
                  <c:pt idx="1">
                    <c:v>MBY Original 18p</c:v>
                  </c:pt>
                  <c:pt idx="2">
                    <c:v>MBY Original 6p</c:v>
                  </c:pt>
                  <c:pt idx="3">
                    <c:v>MBY Variety 12p</c:v>
                  </c:pt>
                  <c:pt idx="4">
                    <c:v>MBY Variety 18p</c:v>
                  </c:pt>
                  <c:pt idx="5">
                    <c:v>MBY Light 12p</c:v>
                  </c:pt>
                  <c:pt idx="6">
                    <c:v>MBY Light 6p</c:v>
                  </c:pt>
                  <c:pt idx="7">
                    <c:v>MBY Gouda 6p</c:v>
                  </c:pt>
                  <c:pt idx="8">
                    <c:v>MBY Swiss 6p</c:v>
                  </c:pt>
                  <c:pt idx="9">
                    <c:v>MBY Cheddar 6p</c:v>
                  </c:pt>
                  <c:pt idx="10">
                    <c:v>MBY Mini Roll</c:v>
                  </c:pt>
                  <c:pt idx="11">
                    <c:v>MBY 2Go</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4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35E51EC7-6F98-4A52-AF8F-FEFC1553B8FC}"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CB235855-4B5C-474E-8B68-B95A716DD33C}"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8FCD8516-2AB6-4678-AF37-0A8CFD373EA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2A67498C-1F0E-4705-BA0A-40C3FC3F4817}"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08A576CF-FCB4-4611-A104-B3326388030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EBCD1F6A-3290-47B5-9269-85E38218E52F}"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E8642D3E-2911-4592-B33A-974665BF30F4}"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A271D16F-59BD-413B-BE7A-BADDE0D3FE0F}"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D595769A-EB94-4168-910C-9D9CDEFBC128}"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93B44A54-EFF0-484A-A837-BBE511AA798D}"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8</c:f>
              <c:numCache>
                <c:formatCode>General</c:formatCode>
                <c:ptCount val="7"/>
                <c:pt idx="0">
                  <c:v>0.834</c:v>
                </c:pt>
                <c:pt idx="1">
                  <c:v>0.778</c:v>
                </c:pt>
                <c:pt idx="2">
                  <c:v>0.502</c:v>
                </c:pt>
                <c:pt idx="3">
                  <c:v>0.99</c:v>
                </c:pt>
                <c:pt idx="4">
                  <c:v>0.716</c:v>
                </c:pt>
                <c:pt idx="5">
                  <c:v>0.949</c:v>
                </c:pt>
                <c:pt idx="6">
                  <c:v>0.732</c:v>
                </c:pt>
              </c:numCache>
            </c:numRef>
          </c:xVal>
          <c:yVal>
            <c:numRef>
              <c:f>Sheet1!$B$2:$B$8</c:f>
              <c:numCache>
                <c:formatCode>General</c:formatCode>
                <c:ptCount val="7"/>
                <c:pt idx="0">
                  <c:v>42862.6139088729</c:v>
                </c:pt>
                <c:pt idx="1">
                  <c:v>81394.7557840617</c:v>
                </c:pt>
                <c:pt idx="2">
                  <c:v>5967.609561752988</c:v>
                </c:pt>
                <c:pt idx="3">
                  <c:v>47708.9595959596</c:v>
                </c:pt>
                <c:pt idx="4">
                  <c:v>16379.706703910615</c:v>
                </c:pt>
                <c:pt idx="5">
                  <c:v>34465.81664910432</c:v>
                </c:pt>
                <c:pt idx="6">
                  <c:v>25172.049180327867</c:v>
                </c:pt>
              </c:numCache>
            </c:numRef>
          </c:yVal>
          <c:bubbleSize>
            <c:numRef>
              <c:f>Sheet1!$C$2:$C$8</c:f>
              <c:numCache>
                <c:formatCode>General</c:formatCode>
                <c:ptCount val="7"/>
                <c:pt idx="0">
                  <c:v>2351097.8074000003</c:v>
                </c:pt>
                <c:pt idx="1">
                  <c:v>3644081.5352000003</c:v>
                </c:pt>
                <c:pt idx="2">
                  <c:v>183500.86179999998</c:v>
                </c:pt>
                <c:pt idx="3">
                  <c:v>2879559.3756000004</c:v>
                </c:pt>
                <c:pt idx="4">
                  <c:v>819173.4306000001</c:v>
                </c:pt>
                <c:pt idx="5">
                  <c:v>1849651.3301000001</c:v>
                </c:pt>
                <c:pt idx="6">
                  <c:v>1147660.5851999999</c:v>
                </c:pt>
              </c:numCache>
            </c:numRef>
          </c:bubbleSize>
          <c:bubble3D val="0"/>
          <c:extLst>
            <c:ext xmlns:c15="http://schemas.microsoft.com/office/drawing/2012/chart" uri="{02D57815-91ED-43cb-92C2-25804820EDAC}">
              <c15:datalabelsRange>
                <c15:f>Sheet1!$E$2:$E$21</c15:f>
                <c15:dlblRangeCache>
                  <c:ptCount val="20"/>
                  <c:pt idx="0">
                    <c:v>MBY Original 12p</c:v>
                  </c:pt>
                  <c:pt idx="1">
                    <c:v>MBY Original 18p</c:v>
                  </c:pt>
                  <c:pt idx="2">
                    <c:v>MBY Original 6p</c:v>
                  </c:pt>
                  <c:pt idx="3">
                    <c:v>MBY Variety 12p</c:v>
                  </c:pt>
                  <c:pt idx="4">
                    <c:v>MBY Variety 18p</c:v>
                  </c:pt>
                  <c:pt idx="5">
                    <c:v>MBY Light 12p</c:v>
                  </c:pt>
                  <c:pt idx="6">
                    <c:v>MBY Light 6p</c:v>
                  </c:pt>
                  <c:pt idx="7">
                    <c:v>MBY Gouda 6p</c:v>
                  </c:pt>
                  <c:pt idx="8">
                    <c:v>MBY Swiss 6p</c:v>
                  </c:pt>
                  <c:pt idx="9">
                    <c:v>MBY Cheddar 6p</c:v>
                  </c:pt>
                  <c:pt idx="10">
                    <c:v>MBY Mini Roll</c:v>
                  </c:pt>
                  <c:pt idx="11">
                    <c:v>MBY 2Go</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4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4186A898-7643-4AC2-97FA-1042CF932AA7}"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9C5E488F-5D79-4400-A668-7467D0B707A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BE46E7C9-7944-45E8-9362-7D4D94E64ACB}"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26A61C13-B072-48BB-B779-670CD510584A}"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61980C24-6393-459E-B1D4-E31559C2F21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917DE1E7-01C6-45EC-86CF-196D902EF3CD}"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CBE5DD66-BF31-4199-80E6-29ABB2D8048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BF63A751-BF17-4CDC-8C9E-B6611B456EEE}"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2264CDDA-BE1E-4FAF-9D73-8624EC3A4EED}"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FFE5B1A6-A88D-4D5B-9208-B0F960A49908}"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2</c:f>
              <c:numCache>
                <c:formatCode>General</c:formatCode>
                <c:ptCount val="11"/>
                <c:pt idx="0">
                  <c:v>0.037</c:v>
                </c:pt>
                <c:pt idx="1">
                  <c:v>0.495</c:v>
                </c:pt>
                <c:pt idx="2">
                  <c:v>0.694</c:v>
                </c:pt>
                <c:pt idx="3">
                  <c:v>0.981</c:v>
                </c:pt>
                <c:pt idx="4">
                  <c:v>0.898</c:v>
                </c:pt>
                <c:pt idx="5">
                  <c:v>0.827</c:v>
                </c:pt>
                <c:pt idx="6">
                  <c:v>0.725</c:v>
                </c:pt>
                <c:pt idx="7">
                  <c:v>0.008</c:v>
                </c:pt>
                <c:pt idx="8">
                  <c:v>0.482</c:v>
                </c:pt>
                <c:pt idx="9">
                  <c:v>0.908</c:v>
                </c:pt>
                <c:pt idx="10">
                  <c:v>0.434</c:v>
                </c:pt>
              </c:numCache>
            </c:numRef>
          </c:xVal>
          <c:yVal>
            <c:numRef>
              <c:f>Sheet1!$B$2:$B$12</c:f>
              <c:numCache>
                <c:formatCode>General</c:formatCode>
                <c:ptCount val="11"/>
                <c:pt idx="0">
                  <c:v>8120.540540540541</c:v>
                </c:pt>
                <c:pt idx="1">
                  <c:v>7373.959595959596</c:v>
                </c:pt>
                <c:pt idx="2">
                  <c:v>22077.017291066284</c:v>
                </c:pt>
                <c:pt idx="3">
                  <c:v>64775.47400611621</c:v>
                </c:pt>
                <c:pt idx="4">
                  <c:v>72823.24053452116</c:v>
                </c:pt>
                <c:pt idx="5">
                  <c:v>143117.46070133013</c:v>
                </c:pt>
                <c:pt idx="6">
                  <c:v>19364.593103448275</c:v>
                </c:pt>
                <c:pt idx="7">
                  <c:v>29388.75</c:v>
                </c:pt>
                <c:pt idx="8">
                  <c:v>3280.850622406639</c:v>
                </c:pt>
                <c:pt idx="9">
                  <c:v>19583.832599118945</c:v>
                </c:pt>
                <c:pt idx="10">
                  <c:v>10205.714285714286</c:v>
                </c:pt>
              </c:numCache>
            </c:numRef>
          </c:yVal>
          <c:bubbleSize>
            <c:numRef>
              <c:f>Sheet1!$C$2:$C$12</c:f>
              <c:numCache>
                <c:formatCode>General</c:formatCode>
                <c:ptCount val="11"/>
                <c:pt idx="0">
                  <c:v>16203.9444</c:v>
                </c:pt>
                <c:pt idx="1">
                  <c:v>217204.8676</c:v>
                </c:pt>
                <c:pt idx="2">
                  <c:v>849338.8158</c:v>
                </c:pt>
                <c:pt idx="3">
                  <c:v>3550892.7451999993</c:v>
                </c:pt>
                <c:pt idx="4">
                  <c:v>4097158.8504999992</c:v>
                </c:pt>
                <c:pt idx="5">
                  <c:v>7653909.827999999</c:v>
                </c:pt>
                <c:pt idx="6">
                  <c:v>992410.8776999998</c:v>
                </c:pt>
                <c:pt idx="7">
                  <c:v>9603.1772</c:v>
                </c:pt>
                <c:pt idx="8">
                  <c:v>77295.2128</c:v>
                </c:pt>
                <c:pt idx="9">
                  <c:v>1074141.922</c:v>
                </c:pt>
                <c:pt idx="10">
                  <c:v>277231.0708</c:v>
                </c:pt>
              </c:numCache>
            </c:numRef>
          </c:bubbleSize>
          <c:bubble3D val="0"/>
          <c:extLst>
            <c:ext xmlns:c15="http://schemas.microsoft.com/office/drawing/2012/chart" uri="{02D57815-91ED-43cb-92C2-25804820EDAC}">
              <c15:datalabelsRange>
                <c15:f>Sheet1!$E$2:$E$21</c15:f>
                <c15:dlblRangeCache>
                  <c:ptCount val="20"/>
                  <c:pt idx="0">
                    <c:v>MBY Original 12p</c:v>
                  </c:pt>
                  <c:pt idx="1">
                    <c:v>MBY Original 18p</c:v>
                  </c:pt>
                  <c:pt idx="2">
                    <c:v>MBY Original 6p</c:v>
                  </c:pt>
                  <c:pt idx="3">
                    <c:v>MBY Variety 12p</c:v>
                  </c:pt>
                  <c:pt idx="4">
                    <c:v>MBY Variety 18p</c:v>
                  </c:pt>
                  <c:pt idx="5">
                    <c:v>MBY Light 12p</c:v>
                  </c:pt>
                  <c:pt idx="6">
                    <c:v>MBY Light 6p</c:v>
                  </c:pt>
                  <c:pt idx="7">
                    <c:v>MBY Gouda 6p</c:v>
                  </c:pt>
                  <c:pt idx="8">
                    <c:v>MBY Swiss 6p</c:v>
                  </c:pt>
                  <c:pt idx="9">
                    <c:v>MBY Cheddar 6p</c:v>
                  </c:pt>
                  <c:pt idx="10">
                    <c:v>MBY Mini Roll</c:v>
                  </c:pt>
                  <c:pt idx="11">
                    <c:v>MBY 2Go</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4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074A005C-055F-4944-B070-4F797262D48B}"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71863C32-37E9-4AC0-B0DA-E5417CAF9F19}"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60E4A7A0-B75E-430E-BE21-F383FB426E1D}"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50741809-7BF7-44D6-BC23-3B22B542D9B6}"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2C836460-6AD6-40A7-82B1-F904238398B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54870327-7443-41D6-988A-D16B67EA26A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619199B3-DD9C-456F-A396-D7DB4DF7488E}"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5870468C-F8A5-4BD1-B310-AAE507DD019B}"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9C53D32A-C484-4853-BD56-2D300B2754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09271CF8-FEBB-478A-B3B4-D259D1E5BCFF}"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9</c:f>
              <c:numCache>
                <c:formatCode>General</c:formatCode>
                <c:ptCount val="8"/>
                <c:pt idx="0">
                  <c:v>0.975</c:v>
                </c:pt>
                <c:pt idx="1">
                  <c:v>0.861</c:v>
                </c:pt>
                <c:pt idx="2">
                  <c:v>0.603</c:v>
                </c:pt>
                <c:pt idx="3">
                  <c:v>0.983</c:v>
                </c:pt>
                <c:pt idx="4">
                  <c:v>0.817</c:v>
                </c:pt>
                <c:pt idx="5">
                  <c:v>0.981</c:v>
                </c:pt>
                <c:pt idx="6">
                  <c:v>0.932</c:v>
                </c:pt>
                <c:pt idx="7">
                  <c:v>0.672</c:v>
                </c:pt>
              </c:numCache>
            </c:numRef>
          </c:xVal>
          <c:yVal>
            <c:numRef>
              <c:f>Sheet1!$B$2:$B$9</c:f>
              <c:numCache>
                <c:formatCode>General</c:formatCode>
                <c:ptCount val="8"/>
                <c:pt idx="0">
                  <c:v>45724.89230769231</c:v>
                </c:pt>
                <c:pt idx="1">
                  <c:v>43360.813008130084</c:v>
                </c:pt>
                <c:pt idx="2">
                  <c:v>7090.928689883914</c:v>
                </c:pt>
                <c:pt idx="3">
                  <c:v>25786.988809766022</c:v>
                </c:pt>
                <c:pt idx="4">
                  <c:v>3357.02570379437</c:v>
                </c:pt>
                <c:pt idx="5">
                  <c:v>20585.647298674823</c:v>
                </c:pt>
                <c:pt idx="6">
                  <c:v>27675.493562231757</c:v>
                </c:pt>
                <c:pt idx="7">
                  <c:v>5504.077380952381</c:v>
                </c:pt>
              </c:numCache>
            </c:numRef>
          </c:yVal>
          <c:bubbleSize>
            <c:numRef>
              <c:f>Sheet1!$C$2:$C$9</c:f>
              <c:numCache>
                <c:formatCode>General</c:formatCode>
                <c:ptCount val="8"/>
                <c:pt idx="0">
                  <c:v>2855956.0229999996</c:v>
                </c:pt>
                <c:pt idx="1">
                  <c:v>2296187.0626000003</c:v>
                </c:pt>
                <c:pt idx="2">
                  <c:v>211148.30579999997</c:v>
                </c:pt>
                <c:pt idx="3">
                  <c:v>1566649.6702999999</c:v>
                </c:pt>
                <c:pt idx="4">
                  <c:v>187196.62399999998</c:v>
                </c:pt>
                <c:pt idx="5">
                  <c:v>1207357.7841999999</c:v>
                </c:pt>
                <c:pt idx="6">
                  <c:v>1563091.1579999998</c:v>
                </c:pt>
                <c:pt idx="7">
                  <c:v>182424.33279999997</c:v>
                </c:pt>
              </c:numCache>
            </c:numRef>
          </c:bubbleSize>
          <c:bubble3D val="0"/>
          <c:extLst>
            <c:ext xmlns:c15="http://schemas.microsoft.com/office/drawing/2012/chart" uri="{02D57815-91ED-43cb-92C2-25804820EDAC}">
              <c15:datalabelsRange>
                <c15:f>Sheet1!$E$2:$E$21</c15:f>
                <c15:dlblRangeCache>
                  <c:ptCount val="20"/>
                  <c:pt idx="0">
                    <c:v>MBY Original 12p</c:v>
                  </c:pt>
                  <c:pt idx="1">
                    <c:v>MBY Original 18p</c:v>
                  </c:pt>
                  <c:pt idx="2">
                    <c:v>MBY Original 6p</c:v>
                  </c:pt>
                  <c:pt idx="3">
                    <c:v>MBY Variety 12p</c:v>
                  </c:pt>
                  <c:pt idx="4">
                    <c:v>MBY Variety 18p</c:v>
                  </c:pt>
                  <c:pt idx="5">
                    <c:v>MBY Light 12p</c:v>
                  </c:pt>
                  <c:pt idx="6">
                    <c:v>MBY Light 6p</c:v>
                  </c:pt>
                  <c:pt idx="7">
                    <c:v>MBY Gouda 6p</c:v>
                  </c:pt>
                  <c:pt idx="8">
                    <c:v>MBY Swiss 6p</c:v>
                  </c:pt>
                  <c:pt idx="9">
                    <c:v>MBY Cheddar 6p</c:v>
                  </c:pt>
                  <c:pt idx="10">
                    <c:v>MBY Mini Roll</c:v>
                  </c:pt>
                  <c:pt idx="11">
                    <c:v>MBY 2Go</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4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9B01492D-DC87-4FE7-ADAE-4B8E64AB5830}"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D1E05094-C8F8-446D-A891-56121F96C5BE}"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287ACB38-358E-46A7-A96D-B5CF04D7AF22}"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3B039CD4-2FEA-48FB-BAD5-328F6E2DEF3E}"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C966B39D-E6E1-4B5D-80A7-0E0E7038FB7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0C05723A-F01D-4444-AB95-250D392DED49}"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36CEB00C-3BA4-4C0B-99B2-CE63873BA33F}"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6816F71B-7332-4292-9B20-B93C0CC9926A}"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87EE3E2D-F957-4B50-84B4-AAB6C641550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86141ADA-8945-4451-8674-95CCAF129AF8}"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9</c:f>
              <c:numCache>
                <c:formatCode>General</c:formatCode>
                <c:ptCount val="8"/>
                <c:pt idx="0">
                  <c:v>0.679</c:v>
                </c:pt>
                <c:pt idx="1">
                  <c:v>0.841</c:v>
                </c:pt>
                <c:pt idx="2">
                  <c:v>0.998</c:v>
                </c:pt>
                <c:pt idx="3">
                  <c:v>0.941</c:v>
                </c:pt>
                <c:pt idx="4">
                  <c:v>0.947</c:v>
                </c:pt>
                <c:pt idx="5">
                  <c:v>0.231</c:v>
                </c:pt>
                <c:pt idx="6">
                  <c:v>0.955</c:v>
                </c:pt>
                <c:pt idx="7">
                  <c:v>0.848</c:v>
                </c:pt>
              </c:numCache>
            </c:numRef>
          </c:xVal>
          <c:yVal>
            <c:numRef>
              <c:f>Sheet1!$B$2:$B$9</c:f>
              <c:numCache>
                <c:formatCode>General</c:formatCode>
                <c:ptCount val="8"/>
                <c:pt idx="0">
                  <c:v>6740.530191458026</c:v>
                </c:pt>
                <c:pt idx="1">
                  <c:v>10304.161712247325</c:v>
                </c:pt>
                <c:pt idx="2">
                  <c:v>61730.22044088176</c:v>
                </c:pt>
                <c:pt idx="3">
                  <c:v>52226.90754516472</c:v>
                </c:pt>
                <c:pt idx="4">
                  <c:v>79341.23548046463</c:v>
                </c:pt>
                <c:pt idx="5">
                  <c:v>1325.1948051948052</c:v>
                </c:pt>
                <c:pt idx="6">
                  <c:v>14262.722513089006</c:v>
                </c:pt>
                <c:pt idx="7">
                  <c:v>14741.662735849057</c:v>
                </c:pt>
              </c:numCache>
            </c:numRef>
          </c:yVal>
          <c:bubbleSize>
            <c:numRef>
              <c:f>Sheet1!$C$2:$C$9</c:f>
              <c:numCache>
                <c:formatCode>General</c:formatCode>
                <c:ptCount val="8"/>
                <c:pt idx="0">
                  <c:v>199774.98380000005</c:v>
                </c:pt>
                <c:pt idx="1">
                  <c:v>465262.3417000001</c:v>
                </c:pt>
                <c:pt idx="2">
                  <c:v>3517429.0794000006</c:v>
                </c:pt>
                <c:pt idx="3">
                  <c:v>2967487.1029999997</c:v>
                </c:pt>
                <c:pt idx="4">
                  <c:v>4797651.408399999</c:v>
                </c:pt>
                <c:pt idx="5">
                  <c:v>21865.146199999996</c:v>
                </c:pt>
                <c:pt idx="6">
                  <c:v>744418.5861000001</c:v>
                </c:pt>
                <c:pt idx="7">
                  <c:v>604870.5601999997</c:v>
                </c:pt>
              </c:numCache>
            </c:numRef>
          </c:bubbleSize>
          <c:bubble3D val="0"/>
          <c:extLst>
            <c:ext xmlns:c15="http://schemas.microsoft.com/office/drawing/2012/chart" uri="{02D57815-91ED-43cb-92C2-25804820EDAC}">
              <c15:datalabelsRange>
                <c15:f>Sheet1!$E$2:$E$21</c15:f>
                <c15:dlblRangeCache>
                  <c:ptCount val="20"/>
                  <c:pt idx="0">
                    <c:v>MBY Original 12p</c:v>
                  </c:pt>
                  <c:pt idx="1">
                    <c:v>MBY Original 18p</c:v>
                  </c:pt>
                  <c:pt idx="2">
                    <c:v>MBY Original 6p</c:v>
                  </c:pt>
                  <c:pt idx="3">
                    <c:v>MBY Variety 12p</c:v>
                  </c:pt>
                  <c:pt idx="4">
                    <c:v>MBY Variety 18p</c:v>
                  </c:pt>
                  <c:pt idx="5">
                    <c:v>MBY Light 12p</c:v>
                  </c:pt>
                  <c:pt idx="6">
                    <c:v>MBY Light 6p</c:v>
                  </c:pt>
                  <c:pt idx="7">
                    <c:v>MBY Gouda 6p</c:v>
                  </c:pt>
                  <c:pt idx="8">
                    <c:v>MBY Swiss 6p</c:v>
                  </c:pt>
                  <c:pt idx="9">
                    <c:v>MBY Cheddar 6p</c:v>
                  </c:pt>
                  <c:pt idx="10">
                    <c:v>MBY Mini Roll</c:v>
                  </c:pt>
                  <c:pt idx="11">
                    <c:v>MBY 2Go</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4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3804F5BD-14C9-4B94-9731-1FFDA65922DA}"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3094BFDC-52AD-4B77-89C5-ECCD3A65AACD}"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18F1F94A-8583-42CC-9307-104B94A30569}"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7857C17E-BD40-4532-B5DB-5B194BF69EA6}"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E944A523-AD32-499A-8884-116F7B8999C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EA37E6F3-2237-4734-995D-6EE77ADA388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57E2F576-D0F5-4486-AE68-C0B54F2136AC}"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1DFDAAD8-CBEF-450B-9D35-387B3870FBF9}"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52261A8E-A9BF-4A17-BCBE-2BB610A5DEDD}"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97C7D2A1-826F-4259-86E1-AC083067B308}"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8</c:f>
              <c:numCache>
                <c:formatCode>General</c:formatCode>
                <c:ptCount val="7"/>
                <c:pt idx="0">
                  <c:v>1.0</c:v>
                </c:pt>
                <c:pt idx="1">
                  <c:v>0.99</c:v>
                </c:pt>
                <c:pt idx="2">
                  <c:v>0.75</c:v>
                </c:pt>
                <c:pt idx="3">
                  <c:v>1.0</c:v>
                </c:pt>
                <c:pt idx="4">
                  <c:v>0.98</c:v>
                </c:pt>
                <c:pt idx="5">
                  <c:v>1.0</c:v>
                </c:pt>
                <c:pt idx="6">
                  <c:v>0.99</c:v>
                </c:pt>
              </c:numCache>
            </c:numRef>
          </c:xVal>
          <c:yVal>
            <c:numRef>
              <c:f>Sheet1!$B$2:$B$8</c:f>
              <c:numCache>
                <c:formatCode>General</c:formatCode>
                <c:ptCount val="7"/>
                <c:pt idx="0">
                  <c:v>19457.76</c:v>
                </c:pt>
                <c:pt idx="1">
                  <c:v>45589.41414141414</c:v>
                </c:pt>
                <c:pt idx="2">
                  <c:v>1891.3733333333332</c:v>
                </c:pt>
                <c:pt idx="3">
                  <c:v>11794.45</c:v>
                </c:pt>
                <c:pt idx="4">
                  <c:v>8238.34693877551</c:v>
                </c:pt>
                <c:pt idx="5">
                  <c:v>14911.01</c:v>
                </c:pt>
                <c:pt idx="6">
                  <c:v>11125.10101010101</c:v>
                </c:pt>
              </c:numCache>
            </c:numRef>
          </c:yVal>
          <c:bubbleSize>
            <c:numRef>
              <c:f>Sheet1!$C$2:$C$8</c:f>
              <c:numCache>
                <c:formatCode>General</c:formatCode>
                <c:ptCount val="7"/>
                <c:pt idx="0">
                  <c:v>1296098.2605999997</c:v>
                </c:pt>
                <c:pt idx="1">
                  <c:v>2645737.671800001</c:v>
                </c:pt>
                <c:pt idx="2">
                  <c:v>87470.35269999999</c:v>
                </c:pt>
                <c:pt idx="3">
                  <c:v>790966.1867999999</c:v>
                </c:pt>
                <c:pt idx="4">
                  <c:v>566708.1048</c:v>
                </c:pt>
                <c:pt idx="5">
                  <c:v>956991.22</c:v>
                </c:pt>
                <c:pt idx="6">
                  <c:v>695514.2348000001</c:v>
                </c:pt>
              </c:numCache>
            </c:numRef>
          </c:bubbleSize>
          <c:bubble3D val="0"/>
          <c:extLst>
            <c:ext xmlns:c15="http://schemas.microsoft.com/office/drawing/2012/chart" uri="{02D57815-91ED-43cb-92C2-25804820EDAC}">
              <c15:datalabelsRange>
                <c15:f>Sheet1!$E$2:$E$21</c15:f>
                <c15:dlblRangeCache>
                  <c:ptCount val="20"/>
                  <c:pt idx="0">
                    <c:v>MBY Original 12p</c:v>
                  </c:pt>
                  <c:pt idx="1">
                    <c:v>MBY Original 18p</c:v>
                  </c:pt>
                  <c:pt idx="2">
                    <c:v>MBY Original 6p</c:v>
                  </c:pt>
                  <c:pt idx="3">
                    <c:v>MBY Variety 12p</c:v>
                  </c:pt>
                  <c:pt idx="4">
                    <c:v>MBY Variety 18p</c:v>
                  </c:pt>
                  <c:pt idx="5">
                    <c:v>MBY Light 12p</c:v>
                  </c:pt>
                  <c:pt idx="6">
                    <c:v>MBY Light 6p</c:v>
                  </c:pt>
                  <c:pt idx="7">
                    <c:v>MBY Gouda 6p</c:v>
                  </c:pt>
                  <c:pt idx="8">
                    <c:v>MBY Swiss 6p</c:v>
                  </c:pt>
                  <c:pt idx="9">
                    <c:v>MBY Cheddar 6p</c:v>
                  </c:pt>
                  <c:pt idx="10">
                    <c:v>MBY Mini Roll</c:v>
                  </c:pt>
                  <c:pt idx="11">
                    <c:v>MBY 2Go</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St Moret</c:v>
                </c:pt>
                <c:pt idx="1">
                  <c:v>Private Label</c:v>
                </c:pt>
                <c:pt idx="2">
                  <c:v>Boursin</c:v>
                </c:pt>
                <c:pt idx="3">
                  <c:v>Paysan Breton</c:v>
                </c:pt>
                <c:pt idx="4">
                  <c:v>Tartare</c:v>
                </c:pt>
                <c:pt idx="5">
                  <c:v>Carre Frais</c:v>
                </c:pt>
                <c:pt idx="6">
                  <c:v>Philadelphia</c:v>
                </c:pt>
                <c:pt idx="7">
                  <c:v>Kiri</c:v>
                </c:pt>
                <c:pt idx="8">
                  <c:v>Others</c:v>
                </c:pt>
              </c:strCache>
            </c:strRef>
          </c:cat>
          <c:val>
            <c:numRef>
              <c:f>Sheet1!$B$2:$B$10</c:f>
              <c:numCache>
                <c:formatCode>General</c:formatCode>
                <c:ptCount val="9"/>
                <c:pt idx="0">
                  <c:v>0.3197634439997607</c:v>
                </c:pt>
                <c:pt idx="1">
                  <c:v>0.1504106228486973</c:v>
                </c:pt>
                <c:pt idx="2">
                  <c:v>0.14740462837614196</c:v>
                </c:pt>
                <c:pt idx="3">
                  <c:v>0.1283837484983108</c:v>
                </c:pt>
                <c:pt idx="4">
                  <c:v>0.12739239477028846</c:v>
                </c:pt>
                <c:pt idx="5">
                  <c:v>0.06057959515755992</c:v>
                </c:pt>
                <c:pt idx="6">
                  <c:v>0.03866899437496403</c:v>
                </c:pt>
                <c:pt idx="7">
                  <c:v>0.008603220331387346</c:v>
                </c:pt>
                <c:pt idx="8">
                  <c:v>0.018793351642889495</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St Moret</c:v>
                </c:pt>
                <c:pt idx="1">
                  <c:v>Private Label</c:v>
                </c:pt>
                <c:pt idx="2">
                  <c:v>Boursin</c:v>
                </c:pt>
                <c:pt idx="3">
                  <c:v>Paysan Breton</c:v>
                </c:pt>
                <c:pt idx="4">
                  <c:v>Tartare</c:v>
                </c:pt>
                <c:pt idx="5">
                  <c:v>Carre Frais</c:v>
                </c:pt>
                <c:pt idx="6">
                  <c:v>Philadelphia</c:v>
                </c:pt>
                <c:pt idx="7">
                  <c:v>Kiri</c:v>
                </c:pt>
                <c:pt idx="8">
                  <c:v>Others</c:v>
                </c:pt>
              </c:strCache>
            </c:strRef>
          </c:cat>
          <c:val>
            <c:numRef>
              <c:f>Sheet1!$C$2:$C$10</c:f>
              <c:numCache>
                <c:formatCode>General</c:formatCode>
                <c:ptCount val="9"/>
                <c:pt idx="0">
                  <c:v>0.15704519559437904</c:v>
                </c:pt>
                <c:pt idx="1">
                  <c:v>0.12609191036840106</c:v>
                </c:pt>
                <c:pt idx="2">
                  <c:v>0.20015191796429926</c:v>
                </c:pt>
                <c:pt idx="3">
                  <c:v>0.11925560197493357</c:v>
                </c:pt>
                <c:pt idx="4">
                  <c:v>0.17128750474743643</c:v>
                </c:pt>
                <c:pt idx="5">
                  <c:v>0.05715913406760349</c:v>
                </c:pt>
                <c:pt idx="6">
                  <c:v>0.039308773262438285</c:v>
                </c:pt>
                <c:pt idx="7">
                  <c:v>0.04158754272692746</c:v>
                </c:pt>
                <c:pt idx="8">
                  <c:v>0.08811241929358146</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St Moret</c:v>
                </c:pt>
                <c:pt idx="1">
                  <c:v>Private Label</c:v>
                </c:pt>
                <c:pt idx="2">
                  <c:v>Boursin</c:v>
                </c:pt>
                <c:pt idx="3">
                  <c:v>Paysan Breton</c:v>
                </c:pt>
                <c:pt idx="4">
                  <c:v>Tartare</c:v>
                </c:pt>
                <c:pt idx="5">
                  <c:v>Carre Frais</c:v>
                </c:pt>
                <c:pt idx="6">
                  <c:v>Philadelphia</c:v>
                </c:pt>
                <c:pt idx="7">
                  <c:v>Kiri</c:v>
                </c:pt>
                <c:pt idx="8">
                  <c:v>Others</c:v>
                </c:pt>
              </c:strCache>
            </c:strRef>
          </c:cat>
          <c:val>
            <c:numRef>
              <c:f>Sheet1!$D$2:$D$10</c:f>
              <c:numCache>
                <c:formatCode>General</c:formatCode>
                <c:ptCount val="9"/>
                <c:pt idx="0">
                  <c:v>49.112929742680834</c:v>
                </c:pt>
                <c:pt idx="1">
                  <c:v>83.83178526907692</c:v>
                </c:pt>
                <c:pt idx="2">
                  <c:v>135.78401178391672</c:v>
                </c:pt>
                <c:pt idx="3">
                  <c:v>92.88995170327392</c:v>
                </c:pt>
                <c:pt idx="4">
                  <c:v>134.45661733284692</c:v>
                </c:pt>
                <c:pt idx="5">
                  <c:v>94.35377360799417</c:v>
                </c:pt>
                <c:pt idx="6">
                  <c:v>101.65450097116691</c:v>
                </c:pt>
                <c:pt idx="7">
                  <c:v>483.39506748656174</c:v>
                </c:pt>
                <c:pt idx="8">
                  <c:v>468.8488832002406</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221ECF07-5B40-40E5-BAF1-DBFA5DBABF9C}"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CFAA4B7F-6D45-48D0-9564-5E79F27941CE}"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A6E7EB4B-666C-42D2-BB02-A7A736EB6ECB}"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5054F1AE-2575-4203-A513-C5BB96A59CB6}"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54499538-3236-4CCB-B433-C1A7971408B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3BAB8568-EE9C-4CDF-A5E1-2F970CC02617}"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5AAA33C3-B082-42E7-A78A-1A273089784C}"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CF6A0AB8-897E-460A-A274-0103DE991C34}"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3B2FE9C9-B1E2-4712-8653-3128235E698B}"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79E3FBC1-7F51-4606-8062-EE8602D1A440}"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1</c:f>
              <c:numCache>
                <c:formatCode>General</c:formatCode>
                <c:ptCount val="10"/>
                <c:pt idx="0">
                  <c:v>0.08</c:v>
                </c:pt>
                <c:pt idx="1">
                  <c:v>0.86</c:v>
                </c:pt>
                <c:pt idx="2">
                  <c:v>0.94</c:v>
                </c:pt>
                <c:pt idx="3">
                  <c:v>1.0</c:v>
                </c:pt>
                <c:pt idx="4">
                  <c:v>1.0</c:v>
                </c:pt>
                <c:pt idx="5">
                  <c:v>0.99</c:v>
                </c:pt>
                <c:pt idx="6">
                  <c:v>0.94</c:v>
                </c:pt>
                <c:pt idx="7">
                  <c:v>0.82</c:v>
                </c:pt>
                <c:pt idx="8">
                  <c:v>1.0</c:v>
                </c:pt>
                <c:pt idx="9">
                  <c:v>0.95</c:v>
                </c:pt>
              </c:numCache>
            </c:numRef>
          </c:xVal>
          <c:yVal>
            <c:numRef>
              <c:f>Sheet1!$B$2:$B$11</c:f>
              <c:numCache>
                <c:formatCode>General</c:formatCode>
                <c:ptCount val="10"/>
                <c:pt idx="0">
                  <c:v>3755.75</c:v>
                </c:pt>
                <c:pt idx="1">
                  <c:v>3117.8720930232557</c:v>
                </c:pt>
                <c:pt idx="2">
                  <c:v>8213.010638297872</c:v>
                </c:pt>
                <c:pt idx="3">
                  <c:v>16701.66</c:v>
                </c:pt>
                <c:pt idx="4">
                  <c:v>29213.62</c:v>
                </c:pt>
                <c:pt idx="5">
                  <c:v>82610.36363636363</c:v>
                </c:pt>
                <c:pt idx="6">
                  <c:v>9848.946808510638</c:v>
                </c:pt>
                <c:pt idx="7">
                  <c:v>999.7317073170732</c:v>
                </c:pt>
                <c:pt idx="8">
                  <c:v>7241.72</c:v>
                </c:pt>
                <c:pt idx="9">
                  <c:v>4657.1894736842105</c:v>
                </c:pt>
              </c:numCache>
            </c:numRef>
          </c:yVal>
          <c:bubbleSize>
            <c:numRef>
              <c:f>Sheet1!$C$2:$C$11</c:f>
              <c:numCache>
                <c:formatCode>General</c:formatCode>
                <c:ptCount val="10"/>
                <c:pt idx="0">
                  <c:v>16203.9444</c:v>
                </c:pt>
                <c:pt idx="1">
                  <c:v>159781.21240000002</c:v>
                </c:pt>
                <c:pt idx="2">
                  <c:v>432475.68330000003</c:v>
                </c:pt>
                <c:pt idx="3">
                  <c:v>1004464.2163000001</c:v>
                </c:pt>
                <c:pt idx="4">
                  <c:v>1949339.2618000002</c:v>
                </c:pt>
                <c:pt idx="5">
                  <c:v>5376313.341299999</c:v>
                </c:pt>
                <c:pt idx="6">
                  <c:v>652910.7028</c:v>
                </c:pt>
                <c:pt idx="7">
                  <c:v>40975.85999999999</c:v>
                </c:pt>
                <c:pt idx="8">
                  <c:v>491716.5952</c:v>
                </c:pt>
                <c:pt idx="9">
                  <c:v>276915.12139999995</c:v>
                </c:pt>
              </c:numCache>
            </c:numRef>
          </c:bubbleSize>
          <c:bubble3D val="0"/>
          <c:extLst>
            <c:ext xmlns:c15="http://schemas.microsoft.com/office/drawing/2012/chart" uri="{02D57815-91ED-43cb-92C2-25804820EDAC}">
              <c15:datalabelsRange>
                <c15:f>Sheet1!$E$2:$E$21</c15:f>
                <c15:dlblRangeCache>
                  <c:ptCount val="20"/>
                  <c:pt idx="0">
                    <c:v>MBY Original 12p</c:v>
                  </c:pt>
                  <c:pt idx="1">
                    <c:v>MBY Original 18p</c:v>
                  </c:pt>
                  <c:pt idx="2">
                    <c:v>MBY Original 6p</c:v>
                  </c:pt>
                  <c:pt idx="3">
                    <c:v>MBY Variety 12p</c:v>
                  </c:pt>
                  <c:pt idx="4">
                    <c:v>MBY Variety 18p</c:v>
                  </c:pt>
                  <c:pt idx="5">
                    <c:v>MBY Light 12p</c:v>
                  </c:pt>
                  <c:pt idx="6">
                    <c:v>MBY Light 6p</c:v>
                  </c:pt>
                  <c:pt idx="7">
                    <c:v>MBY Gouda 6p</c:v>
                  </c:pt>
                  <c:pt idx="8">
                    <c:v>MBY Swiss 6p</c:v>
                  </c:pt>
                  <c:pt idx="9">
                    <c:v>MBY Cheddar 6p</c:v>
                  </c:pt>
                  <c:pt idx="10">
                    <c:v>MBY Mini Roll</c:v>
                  </c:pt>
                  <c:pt idx="11">
                    <c:v>MBY 2Go</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4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88756882-7DDE-4A82-8148-503CAAF87C67}"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F1996C59-0DBF-47A2-ADE5-E3ED05CF0849}"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2BC1B5A4-6F7A-43AC-B471-AC271AE75E54}"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7278188B-015E-4F8C-9F38-53A7DA24CFA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8B993F55-56D9-43C8-8A48-5CE81601E20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6B0ADE8E-8513-48C4-BFF3-7BCADFE8019B}"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085602CB-5DD7-4DB7-8701-3B7681F0B19D}"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BDE26A1F-594B-4D73-A6E3-9585E8BA5B84}"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68A95FDA-F850-4D49-9D87-98F4DC5EA5F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AA40349E-84EF-4A83-B697-0A2BCA96A922}"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8</c:f>
              <c:numCache>
                <c:formatCode>General</c:formatCode>
                <c:ptCount val="7"/>
                <c:pt idx="0">
                  <c:v>0.97</c:v>
                </c:pt>
                <c:pt idx="1">
                  <c:v>0.86</c:v>
                </c:pt>
                <c:pt idx="2">
                  <c:v>0.42</c:v>
                </c:pt>
                <c:pt idx="3">
                  <c:v>0.99</c:v>
                </c:pt>
                <c:pt idx="4">
                  <c:v>0.71</c:v>
                </c:pt>
                <c:pt idx="5">
                  <c:v>0.99</c:v>
                </c:pt>
                <c:pt idx="6">
                  <c:v>0.73</c:v>
                </c:pt>
              </c:numCache>
            </c:numRef>
          </c:xVal>
          <c:yVal>
            <c:numRef>
              <c:f>Sheet1!$B$2:$B$8</c:f>
              <c:numCache>
                <c:formatCode>General</c:formatCode>
                <c:ptCount val="7"/>
                <c:pt idx="0">
                  <c:v>16372.639175257733</c:v>
                </c:pt>
                <c:pt idx="1">
                  <c:v>21137.0</c:v>
                </c:pt>
                <c:pt idx="2">
                  <c:v>3755.2619047619046</c:v>
                </c:pt>
                <c:pt idx="3">
                  <c:v>11937.040404040405</c:v>
                </c:pt>
                <c:pt idx="4">
                  <c:v>5146.887323943662</c:v>
                </c:pt>
                <c:pt idx="5">
                  <c:v>9403.747474747475</c:v>
                </c:pt>
                <c:pt idx="6">
                  <c:v>9956.643835616438</c:v>
                </c:pt>
              </c:numCache>
            </c:numRef>
          </c:yVal>
          <c:bubbleSize>
            <c:numRef>
              <c:f>Sheet1!$C$2:$C$8</c:f>
              <c:numCache>
                <c:formatCode>General</c:formatCode>
                <c:ptCount val="7"/>
                <c:pt idx="0">
                  <c:v>1029743.1952999999</c:v>
                </c:pt>
                <c:pt idx="1">
                  <c:v>997758.3252</c:v>
                </c:pt>
                <c:pt idx="2">
                  <c:v>96030.5091</c:v>
                </c:pt>
                <c:pt idx="3">
                  <c:v>790489.4105</c:v>
                </c:pt>
                <c:pt idx="4">
                  <c:v>252465.3258</c:v>
                </c:pt>
                <c:pt idx="5">
                  <c:v>509171.56849999994</c:v>
                </c:pt>
                <c:pt idx="6">
                  <c:v>443910.00560000003</c:v>
                </c:pt>
              </c:numCache>
            </c:numRef>
          </c:bubbleSize>
          <c:bubble3D val="0"/>
          <c:extLst>
            <c:ext xmlns:c15="http://schemas.microsoft.com/office/drawing/2012/chart" uri="{02D57815-91ED-43cb-92C2-25804820EDAC}">
              <c15:datalabelsRange>
                <c15:f>Sheet1!$E$2:$E$21</c15:f>
                <c15:dlblRangeCache>
                  <c:ptCount val="20"/>
                  <c:pt idx="0">
                    <c:v>MBY Original 12p</c:v>
                  </c:pt>
                  <c:pt idx="1">
                    <c:v>MBY Original 18p</c:v>
                  </c:pt>
                  <c:pt idx="2">
                    <c:v>MBY Original 6p</c:v>
                  </c:pt>
                  <c:pt idx="3">
                    <c:v>MBY Variety 12p</c:v>
                  </c:pt>
                  <c:pt idx="4">
                    <c:v>MBY Variety 18p</c:v>
                  </c:pt>
                  <c:pt idx="5">
                    <c:v>MBY Light 12p</c:v>
                  </c:pt>
                  <c:pt idx="6">
                    <c:v>MBY Light 6p</c:v>
                  </c:pt>
                  <c:pt idx="7">
                    <c:v>MBY Gouda 6p</c:v>
                  </c:pt>
                  <c:pt idx="8">
                    <c:v>MBY Swiss 6p</c:v>
                  </c:pt>
                  <c:pt idx="9">
                    <c:v>MBY Cheddar 6p</c:v>
                  </c:pt>
                  <c:pt idx="10">
                    <c:v>MBY Mini Roll</c:v>
                  </c:pt>
                  <c:pt idx="11">
                    <c:v>MBY 2Go</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4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AF63B392-F6D9-4644-ADDF-A38558D68B16}"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8CDF2925-7882-4E08-AC52-BB9A0BBFA7D9}"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FFB7493E-C324-4D58-89BF-CF9F7E58757D}"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5F2E35FF-5452-4153-B8E0-744943BFF648}"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C171C721-119B-4862-A7B3-02F812CC378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56C3BDEA-2265-4E29-A464-42550FFAA1BF}"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BC294396-896F-43ED-A7C5-7934F991E51C}"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35CFE44A-81AE-43AB-ADDF-BD4ED890A2B2}"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68C6CCDD-7C9B-41AC-B795-F262DE82447F}"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8F102B30-654E-422B-8C8A-B3EC2550ABDE}"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9</c:f>
              <c:numCache>
                <c:formatCode>General</c:formatCode>
                <c:ptCount val="8"/>
                <c:pt idx="0">
                  <c:v>0.27</c:v>
                </c:pt>
                <c:pt idx="1">
                  <c:v>0.66</c:v>
                </c:pt>
                <c:pt idx="2">
                  <c:v>0.99</c:v>
                </c:pt>
                <c:pt idx="3">
                  <c:v>0.96</c:v>
                </c:pt>
                <c:pt idx="4">
                  <c:v>0.99</c:v>
                </c:pt>
                <c:pt idx="5">
                  <c:v>0.78</c:v>
                </c:pt>
                <c:pt idx="6">
                  <c:v>0.25</c:v>
                </c:pt>
                <c:pt idx="7">
                  <c:v>0.97</c:v>
                </c:pt>
              </c:numCache>
            </c:numRef>
          </c:xVal>
          <c:yVal>
            <c:numRef>
              <c:f>Sheet1!$B$2:$B$9</c:f>
              <c:numCache>
                <c:formatCode>General</c:formatCode>
                <c:ptCount val="8"/>
                <c:pt idx="0">
                  <c:v>3586.0</c:v>
                </c:pt>
                <c:pt idx="1">
                  <c:v>9583.09090909091</c:v>
                </c:pt>
                <c:pt idx="2">
                  <c:v>19283.141414141413</c:v>
                </c:pt>
                <c:pt idx="3">
                  <c:v>23908.927083333332</c:v>
                </c:pt>
                <c:pt idx="4">
                  <c:v>36882.89898989899</c:v>
                </c:pt>
                <c:pt idx="5">
                  <c:v>6125.961538461538</c:v>
                </c:pt>
                <c:pt idx="6">
                  <c:v>1907.64</c:v>
                </c:pt>
                <c:pt idx="7">
                  <c:v>6300.711340206186</c:v>
                </c:pt>
              </c:numCache>
            </c:numRef>
          </c:yVal>
          <c:bubbleSize>
            <c:numRef>
              <c:f>Sheet1!$C$2:$C$9</c:f>
              <c:numCache>
                <c:formatCode>General</c:formatCode>
                <c:ptCount val="8"/>
                <c:pt idx="0">
                  <c:v>57399.4148</c:v>
                </c:pt>
                <c:pt idx="1">
                  <c:v>352968.0401</c:v>
                </c:pt>
                <c:pt idx="2">
                  <c:v>1116328.0320999997</c:v>
                </c:pt>
                <c:pt idx="3">
                  <c:v>1451796.8903</c:v>
                </c:pt>
                <c:pt idx="4">
                  <c:v>2274744.2531999997</c:v>
                </c:pt>
                <c:pt idx="5">
                  <c:v>339328.07600000006</c:v>
                </c:pt>
                <c:pt idx="6">
                  <c:v>23255.5641</c:v>
                </c:pt>
                <c:pt idx="7">
                  <c:v>357551.62440000003</c:v>
                </c:pt>
              </c:numCache>
            </c:numRef>
          </c:bubbleSize>
          <c:bubble3D val="0"/>
          <c:extLst>
            <c:ext xmlns:c15="http://schemas.microsoft.com/office/drawing/2012/chart" uri="{02D57815-91ED-43cb-92C2-25804820EDAC}">
              <c15:datalabelsRange>
                <c15:f>Sheet1!$E$2:$E$21</c15:f>
                <c15:dlblRangeCache>
                  <c:ptCount val="20"/>
                  <c:pt idx="0">
                    <c:v>MBY Original 12p</c:v>
                  </c:pt>
                  <c:pt idx="1">
                    <c:v>MBY Original 18p</c:v>
                  </c:pt>
                  <c:pt idx="2">
                    <c:v>MBY Original 6p</c:v>
                  </c:pt>
                  <c:pt idx="3">
                    <c:v>MBY Variety 12p</c:v>
                  </c:pt>
                  <c:pt idx="4">
                    <c:v>MBY Variety 18p</c:v>
                  </c:pt>
                  <c:pt idx="5">
                    <c:v>MBY Light 12p</c:v>
                  </c:pt>
                  <c:pt idx="6">
                    <c:v>MBY Light 6p</c:v>
                  </c:pt>
                  <c:pt idx="7">
                    <c:v>MBY Gouda 6p</c:v>
                  </c:pt>
                  <c:pt idx="8">
                    <c:v>MBY Swiss 6p</c:v>
                  </c:pt>
                  <c:pt idx="9">
                    <c:v>MBY Cheddar 6p</c:v>
                  </c:pt>
                  <c:pt idx="10">
                    <c:v>MBY Mini Roll</c:v>
                  </c:pt>
                  <c:pt idx="11">
                    <c:v>MBY 2Go</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4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6267EBF7-9C79-44CE-AC83-862AB30A465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3DF84DAD-2CF2-4067-9444-428D94720349}"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06913690-2E96-471B-9E01-CF30D134AF5F}"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70E30CE4-3D16-4A6D-947C-8A92DE41E819}"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6C8679B4-95A1-45AA-B942-E5739E9F72B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5F81A8A6-3A42-4618-8098-8064A8D30196}"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594935D1-3F85-417A-8FE5-54F3FAE5AFE4}"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E1D377D9-6A82-4C3A-B6A1-3F7CFB8CC4CC}"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1F74101E-AC01-47E4-8E0C-1C6F4E017D2A}"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693EBE66-D98D-46BB-B705-856C7FE61D4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5</c:f>
              <c:numCache>
                <c:formatCode>General</c:formatCode>
                <c:ptCount val="4"/>
                <c:pt idx="0">
                  <c:v>0.06</c:v>
                </c:pt>
                <c:pt idx="1">
                  <c:v>0.96</c:v>
                </c:pt>
                <c:pt idx="2">
                  <c:v>0.71</c:v>
                </c:pt>
                <c:pt idx="3">
                  <c:v>0.02</c:v>
                </c:pt>
              </c:numCache>
            </c:numRef>
          </c:xVal>
          <c:yVal>
            <c:numRef>
              <c:f>Sheet1!$B$2:$B$5</c:f>
              <c:numCache>
                <c:formatCode>General</c:formatCode>
                <c:ptCount val="4"/>
                <c:pt idx="0">
                  <c:v>6803.333333333333</c:v>
                </c:pt>
                <c:pt idx="1">
                  <c:v>24603.90625</c:v>
                </c:pt>
                <c:pt idx="2">
                  <c:v>11954.0</c:v>
                </c:pt>
                <c:pt idx="3">
                  <c:v>7187.0</c:v>
                </c:pt>
              </c:numCache>
            </c:numRef>
          </c:yVal>
          <c:bubbleSize>
            <c:numRef>
              <c:f>Sheet1!$C$2:$C$5</c:f>
              <c:numCache>
                <c:formatCode>General</c:formatCode>
                <c:ptCount val="4"/>
                <c:pt idx="0">
                  <c:v>25256.3515</c:v>
                </c:pt>
                <c:pt idx="1">
                  <c:v>1298103.7783000001</c:v>
                </c:pt>
                <c:pt idx="2">
                  <c:v>383488.5416</c:v>
                </c:pt>
                <c:pt idx="3">
                  <c:v>8236.3448</c:v>
                </c:pt>
              </c:numCache>
            </c:numRef>
          </c:bubbleSize>
          <c:bubble3D val="0"/>
          <c:extLst>
            <c:ext xmlns:c15="http://schemas.microsoft.com/office/drawing/2012/chart" uri="{02D57815-91ED-43cb-92C2-25804820EDAC}">
              <c15:datalabelsRange>
                <c15:f>Sheet1!$E$2:$E$21</c15:f>
                <c15:dlblRangeCache>
                  <c:ptCount val="20"/>
                  <c:pt idx="0">
                    <c:v>MBY Original 12p</c:v>
                  </c:pt>
                  <c:pt idx="1">
                    <c:v>MBY Original 18p</c:v>
                  </c:pt>
                  <c:pt idx="2">
                    <c:v>MBY Original 6p</c:v>
                  </c:pt>
                  <c:pt idx="3">
                    <c:v>MBY Variety 12p</c:v>
                  </c:pt>
                  <c:pt idx="4">
                    <c:v>MBY Variety 18p</c:v>
                  </c:pt>
                  <c:pt idx="5">
                    <c:v>MBY Light 12p</c:v>
                  </c:pt>
                  <c:pt idx="6">
                    <c:v>MBY Light 6p</c:v>
                  </c:pt>
                  <c:pt idx="7">
                    <c:v>MBY Gouda 6p</c:v>
                  </c:pt>
                  <c:pt idx="8">
                    <c:v>MBY Swiss 6p</c:v>
                  </c:pt>
                  <c:pt idx="9">
                    <c:v>MBY Cheddar 6p</c:v>
                  </c:pt>
                  <c:pt idx="10">
                    <c:v>MBY Mini Roll</c:v>
                  </c:pt>
                  <c:pt idx="11">
                    <c:v>MBY 2Go</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4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DB4DD306-0F43-4107-9616-117D0E5A263A}"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063FA1F5-62DD-41CF-836F-D26AF417B562}"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23876E82-D4F5-4A22-A70E-0458E6666A2F}"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11763B9E-0015-4000-934E-42F653EC594C}"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30B1217C-2E46-4E91-ACBC-7076F864DE3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87FBEE37-D82B-4C92-AF2E-CF971051EE6F}"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F6388CCC-7BF0-4CB4-8179-311DC81C7448}"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B272A642-607B-4986-91ED-53C4D712FA28}"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CBAEC98A-EB5F-40E0-AF62-299D4E5528F2}"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AF9DBD02-DEB8-4000-968E-76AD84E322FC}"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7</c:f>
              <c:numCache>
                <c:formatCode>General</c:formatCode>
                <c:ptCount val="6"/>
                <c:pt idx="0">
                  <c:v>0.09</c:v>
                </c:pt>
                <c:pt idx="1">
                  <c:v>0.91</c:v>
                </c:pt>
                <c:pt idx="2">
                  <c:v>0.47</c:v>
                </c:pt>
                <c:pt idx="3">
                  <c:v>0.05</c:v>
                </c:pt>
                <c:pt idx="4">
                  <c:v>0.08</c:v>
                </c:pt>
                <c:pt idx="5">
                  <c:v>0.51</c:v>
                </c:pt>
              </c:numCache>
            </c:numRef>
          </c:xVal>
          <c:yVal>
            <c:numRef>
              <c:f>Sheet1!$B$2:$B$7</c:f>
              <c:numCache>
                <c:formatCode>General</c:formatCode>
                <c:ptCount val="6"/>
                <c:pt idx="0">
                  <c:v>14182.0</c:v>
                </c:pt>
                <c:pt idx="1">
                  <c:v>30497.54945054945</c:v>
                </c:pt>
                <c:pt idx="2">
                  <c:v>28146.978723404256</c:v>
                </c:pt>
                <c:pt idx="3">
                  <c:v>4702.2</c:v>
                </c:pt>
                <c:pt idx="4">
                  <c:v>3558.5</c:v>
                </c:pt>
                <c:pt idx="5">
                  <c:v>8683.745098039215</c:v>
                </c:pt>
              </c:numCache>
            </c:numRef>
          </c:yVal>
          <c:bubbleSize>
            <c:numRef>
              <c:f>Sheet1!$C$2:$C$7</c:f>
              <c:numCache>
                <c:formatCode>General</c:formatCode>
                <c:ptCount val="6"/>
                <c:pt idx="0">
                  <c:v>63895.0924</c:v>
                </c:pt>
                <c:pt idx="1">
                  <c:v>1430100.4967999998</c:v>
                </c:pt>
                <c:pt idx="2">
                  <c:v>696022.6984</c:v>
                </c:pt>
                <c:pt idx="3">
                  <c:v>9603.1772</c:v>
                </c:pt>
                <c:pt idx="4">
                  <c:v>13063.7887</c:v>
                </c:pt>
                <c:pt idx="5">
                  <c:v>224873.70239999998</c:v>
                </c:pt>
              </c:numCache>
            </c:numRef>
          </c:bubbleSize>
          <c:bubble3D val="0"/>
          <c:extLst>
            <c:ext xmlns:c15="http://schemas.microsoft.com/office/drawing/2012/chart" uri="{02D57815-91ED-43cb-92C2-25804820EDAC}">
              <c15:datalabelsRange>
                <c15:f>Sheet1!$E$2:$E$21</c15:f>
                <c15:dlblRangeCache>
                  <c:ptCount val="20"/>
                  <c:pt idx="0">
                    <c:v>MBY Original 12p</c:v>
                  </c:pt>
                  <c:pt idx="1">
                    <c:v>MBY Original 18p</c:v>
                  </c:pt>
                  <c:pt idx="2">
                    <c:v>MBY Original 6p</c:v>
                  </c:pt>
                  <c:pt idx="3">
                    <c:v>MBY Variety 12p</c:v>
                  </c:pt>
                  <c:pt idx="4">
                    <c:v>MBY Variety 18p</c:v>
                  </c:pt>
                  <c:pt idx="5">
                    <c:v>MBY Light 12p</c:v>
                  </c:pt>
                  <c:pt idx="6">
                    <c:v>MBY Light 6p</c:v>
                  </c:pt>
                  <c:pt idx="7">
                    <c:v>MBY Gouda 6p</c:v>
                  </c:pt>
                  <c:pt idx="8">
                    <c:v>MBY Swiss 6p</c:v>
                  </c:pt>
                  <c:pt idx="9">
                    <c:v>MBY Cheddar 6p</c:v>
                  </c:pt>
                  <c:pt idx="10">
                    <c:v>MBY Mini Roll</c:v>
                  </c:pt>
                  <c:pt idx="11">
                    <c:v>MBY 2Go</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4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646F36EA-B002-40B4-9E74-255C089A11D4}"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D049758E-0AB2-4C04-932D-71669904A5A2}"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B3C515DE-5B96-4E09-9783-47A2927A6FB2}"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DBAE317B-482D-4D97-BD30-8A010CC29C17}"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3181A58D-043D-443A-A981-AAD82365E2F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21E1607E-11B3-429C-8336-BE7C501972FC}"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490B7009-E389-4097-BC16-8BB281342CE9}"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4647EE25-8C6C-4AF4-9674-A21BFF08F35E}"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1D794B0A-6801-4B0D-8DDC-9A00A3C376EB}"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BBBA4819-F028-4120-898E-354DAFAE1E10}"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9</c:f>
              <c:numCache>
                <c:formatCode>General</c:formatCode>
                <c:ptCount val="8"/>
                <c:pt idx="0">
                  <c:v>0.99</c:v>
                </c:pt>
                <c:pt idx="1">
                  <c:v>0.89</c:v>
                </c:pt>
                <c:pt idx="2">
                  <c:v>0.6</c:v>
                </c:pt>
                <c:pt idx="3">
                  <c:v>0.99</c:v>
                </c:pt>
                <c:pt idx="4">
                  <c:v>0.83</c:v>
                </c:pt>
                <c:pt idx="5">
                  <c:v>0.99</c:v>
                </c:pt>
                <c:pt idx="6">
                  <c:v>0.96</c:v>
                </c:pt>
                <c:pt idx="7">
                  <c:v>0.68</c:v>
                </c:pt>
              </c:numCache>
            </c:numRef>
          </c:xVal>
          <c:yVal>
            <c:numRef>
              <c:f>Sheet1!$B$2:$B$9</c:f>
              <c:numCache>
                <c:formatCode>General</c:formatCode>
                <c:ptCount val="8"/>
                <c:pt idx="0">
                  <c:v>33468.14141414141</c:v>
                </c:pt>
                <c:pt idx="1">
                  <c:v>32269.03370786517</c:v>
                </c:pt>
                <c:pt idx="2">
                  <c:v>5208.266666666666</c:v>
                </c:pt>
                <c:pt idx="3">
                  <c:v>18609.40404040404</c:v>
                </c:pt>
                <c:pt idx="4">
                  <c:v>2418.6506024096384</c:v>
                </c:pt>
                <c:pt idx="5">
                  <c:v>14583.535353535353</c:v>
                </c:pt>
                <c:pt idx="6">
                  <c:v>20546.0</c:v>
                </c:pt>
                <c:pt idx="7">
                  <c:v>4180.294117647059</c:v>
                </c:pt>
              </c:numCache>
            </c:numRef>
          </c:yVal>
          <c:bubbleSize>
            <c:numRef>
              <c:f>Sheet1!$C$2:$C$9</c:f>
              <c:numCache>
                <c:formatCode>General</c:formatCode>
                <c:ptCount val="8"/>
                <c:pt idx="0">
                  <c:v>2131265.6236</c:v>
                </c:pt>
                <c:pt idx="1">
                  <c:v>1770957.3417000002</c:v>
                </c:pt>
                <c:pt idx="2">
                  <c:v>155071.3642</c:v>
                </c:pt>
                <c:pt idx="3">
                  <c:v>1147936.0168</c:v>
                </c:pt>
                <c:pt idx="4">
                  <c:v>136986.13999999998</c:v>
                </c:pt>
                <c:pt idx="5">
                  <c:v>867137.4487</c:v>
                </c:pt>
                <c:pt idx="6">
                  <c:v>1195605.3462</c:v>
                </c:pt>
                <c:pt idx="7">
                  <c:v>140324.76739999998</c:v>
                </c:pt>
              </c:numCache>
            </c:numRef>
          </c:bubbleSize>
          <c:bubble3D val="0"/>
          <c:extLst>
            <c:ext xmlns:c15="http://schemas.microsoft.com/office/drawing/2012/chart" uri="{02D57815-91ED-43cb-92C2-25804820EDAC}">
              <c15:datalabelsRange>
                <c15:f>Sheet1!$E$2:$E$21</c15:f>
                <c15:dlblRangeCache>
                  <c:ptCount val="20"/>
                  <c:pt idx="0">
                    <c:v>MBY Original 12p</c:v>
                  </c:pt>
                  <c:pt idx="1">
                    <c:v>MBY Original 18p</c:v>
                  </c:pt>
                  <c:pt idx="2">
                    <c:v>MBY Original 6p</c:v>
                  </c:pt>
                  <c:pt idx="3">
                    <c:v>MBY Variety 12p</c:v>
                  </c:pt>
                  <c:pt idx="4">
                    <c:v>MBY Variety 18p</c:v>
                  </c:pt>
                  <c:pt idx="5">
                    <c:v>MBY Light 12p</c:v>
                  </c:pt>
                  <c:pt idx="6">
                    <c:v>MBY Light 6p</c:v>
                  </c:pt>
                  <c:pt idx="7">
                    <c:v>MBY Gouda 6p</c:v>
                  </c:pt>
                  <c:pt idx="8">
                    <c:v>MBY Swiss 6p</c:v>
                  </c:pt>
                  <c:pt idx="9">
                    <c:v>MBY Cheddar 6p</c:v>
                  </c:pt>
                  <c:pt idx="10">
                    <c:v>MBY Mini Roll</c:v>
                  </c:pt>
                  <c:pt idx="11">
                    <c:v>MBY 2Go</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4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A7352DAB-9AA3-4C19-8AAF-6A889F0A2308}"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4595FD56-A6BB-403A-907E-B50D440378E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97E126CD-2936-4CE5-9B41-F526FBE60EE6}"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1CCC4C09-87A5-46F8-97F8-A1CBBA898278}"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30A78FBA-B8CD-4E9E-8ED5-9851C385AB7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8786916F-2D9B-41A6-B342-F4B119BF1B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9C0CD887-F372-48DE-97CB-02C6FB673554}"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8718236A-F8B1-4A6F-B839-DBA8F2348BD6}"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55A15A15-B7C1-4F97-8515-D1C35A81222B}"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3463280B-1365-4E78-A130-F93E369D797F}"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9</c:f>
              <c:numCache>
                <c:formatCode>General</c:formatCode>
                <c:ptCount val="8"/>
                <c:pt idx="0">
                  <c:v>0.69</c:v>
                </c:pt>
                <c:pt idx="1">
                  <c:v>0.87</c:v>
                </c:pt>
                <c:pt idx="2">
                  <c:v>1.0</c:v>
                </c:pt>
                <c:pt idx="3">
                  <c:v>0.97</c:v>
                </c:pt>
                <c:pt idx="4">
                  <c:v>0.98</c:v>
                </c:pt>
                <c:pt idx="5">
                  <c:v>0.25</c:v>
                </c:pt>
                <c:pt idx="6">
                  <c:v>0.97</c:v>
                </c:pt>
                <c:pt idx="7">
                  <c:v>0.89</c:v>
                </c:pt>
              </c:numCache>
            </c:numRef>
          </c:xVal>
          <c:yVal>
            <c:numRef>
              <c:f>Sheet1!$B$2:$B$9</c:f>
              <c:numCache>
                <c:formatCode>General</c:formatCode>
                <c:ptCount val="8"/>
                <c:pt idx="0">
                  <c:v>5071.260869565217</c:v>
                </c:pt>
                <c:pt idx="1">
                  <c:v>7595.781609195402</c:v>
                </c:pt>
                <c:pt idx="2">
                  <c:v>45209.37</c:v>
                </c:pt>
                <c:pt idx="3">
                  <c:v>38529.47422680412</c:v>
                </c:pt>
                <c:pt idx="4">
                  <c:v>58923.051020408166</c:v>
                </c:pt>
                <c:pt idx="5">
                  <c:v>990.84</c:v>
                </c:pt>
                <c:pt idx="6">
                  <c:v>10108.0</c:v>
                </c:pt>
                <c:pt idx="7">
                  <c:v>10818.426966292134</c:v>
                </c:pt>
              </c:numCache>
            </c:numRef>
          </c:yVal>
          <c:bubbleSize>
            <c:numRef>
              <c:f>Sheet1!$C$2:$C$9</c:f>
              <c:numCache>
                <c:formatCode>General</c:formatCode>
                <c:ptCount val="8"/>
                <c:pt idx="0">
                  <c:v>153372.101</c:v>
                </c:pt>
                <c:pt idx="1">
                  <c:v>357216.5298</c:v>
                </c:pt>
                <c:pt idx="2">
                  <c:v>2588496.7709999997</c:v>
                </c:pt>
                <c:pt idx="3">
                  <c:v>2269501.2134</c:v>
                </c:pt>
                <c:pt idx="4">
                  <c:v>3724121.2061000005</c:v>
                </c:pt>
                <c:pt idx="5">
                  <c:v>17714.462399999997</c:v>
                </c:pt>
                <c:pt idx="6">
                  <c:v>540684.2676000001</c:v>
                </c:pt>
                <c:pt idx="7">
                  <c:v>467206.7514</c:v>
                </c:pt>
              </c:numCache>
            </c:numRef>
          </c:bubbleSize>
          <c:bubble3D val="0"/>
          <c:extLst>
            <c:ext xmlns:c15="http://schemas.microsoft.com/office/drawing/2012/chart" uri="{02D57815-91ED-43cb-92C2-25804820EDAC}">
              <c15:datalabelsRange>
                <c15:f>Sheet1!$E$2:$E$21</c15:f>
                <c15:dlblRangeCache>
                  <c:ptCount val="20"/>
                  <c:pt idx="0">
                    <c:v>MBY Original 12p</c:v>
                  </c:pt>
                  <c:pt idx="1">
                    <c:v>MBY Original 18p</c:v>
                  </c:pt>
                  <c:pt idx="2">
                    <c:v>MBY Original 6p</c:v>
                  </c:pt>
                  <c:pt idx="3">
                    <c:v>MBY Variety 12p</c:v>
                  </c:pt>
                  <c:pt idx="4">
                    <c:v>MBY Variety 18p</c:v>
                  </c:pt>
                  <c:pt idx="5">
                    <c:v>MBY Light 12p</c:v>
                  </c:pt>
                  <c:pt idx="6">
                    <c:v>MBY Light 6p</c:v>
                  </c:pt>
                  <c:pt idx="7">
                    <c:v>MBY Gouda 6p</c:v>
                  </c:pt>
                  <c:pt idx="8">
                    <c:v>MBY Swiss 6p</c:v>
                  </c:pt>
                  <c:pt idx="9">
                    <c:v>MBY Cheddar 6p</c:v>
                  </c:pt>
                  <c:pt idx="10">
                    <c:v>MBY Mini Roll</c:v>
                  </c:pt>
                  <c:pt idx="11">
                    <c:v>MBY 2Go</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4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01DBDF8E-0E5A-49F6-8755-3F52AA2F77CB}"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D1B395C0-DB56-41FC-B4EB-8025631071CD}"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EF311EB2-76B2-48E4-ADA6-5F1F8AF11590}"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A1A629FC-5771-454E-808E-91579B17168F}"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B7CA42C5-F349-4353-8AB6-84536C864FD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C6659B15-8C66-409F-B12F-859C7D1ED3DE}"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995F547E-71A8-444E-ADA1-B657945FBAA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D1BA62AB-4983-450D-9ADD-642603968E57}"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A0BC2FB2-22CE-4ACD-9AEF-FBB0FC83BB86}"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64CE5B57-FC34-4A85-93D8-38B7F1333698}"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9</c:f>
              <c:numCache>
                <c:formatCode>General</c:formatCode>
                <c:ptCount val="8"/>
                <c:pt idx="0">
                  <c:v>1.0</c:v>
                </c:pt>
                <c:pt idx="1">
                  <c:v>0.99</c:v>
                </c:pt>
                <c:pt idx="2">
                  <c:v>0.87</c:v>
                </c:pt>
                <c:pt idx="3">
                  <c:v>1.0</c:v>
                </c:pt>
                <c:pt idx="4">
                  <c:v>0.94</c:v>
                </c:pt>
                <c:pt idx="5">
                  <c:v>1.0</c:v>
                </c:pt>
                <c:pt idx="6">
                  <c:v>0.99</c:v>
                </c:pt>
                <c:pt idx="7">
                  <c:v>0.88</c:v>
                </c:pt>
              </c:numCache>
            </c:numRef>
          </c:xVal>
          <c:yVal>
            <c:numRef>
              <c:f>Sheet1!$B$2:$B$9</c:f>
              <c:numCache>
                <c:formatCode>General</c:formatCode>
                <c:ptCount val="8"/>
                <c:pt idx="0">
                  <c:v>5841.94</c:v>
                </c:pt>
                <c:pt idx="1">
                  <c:v>5970.020202020202</c:v>
                </c:pt>
                <c:pt idx="2">
                  <c:v>698.2873563218391</c:v>
                </c:pt>
                <c:pt idx="3">
                  <c:v>2915.26</c:v>
                </c:pt>
                <c:pt idx="4">
                  <c:v>409.3829787234043</c:v>
                </c:pt>
                <c:pt idx="5">
                  <c:v>2549.27</c:v>
                </c:pt>
                <c:pt idx="6">
                  <c:v>3761.1111111111113</c:v>
                </c:pt>
                <c:pt idx="7">
                  <c:v>614.6363636363636</c:v>
                </c:pt>
              </c:numCache>
            </c:numRef>
          </c:yVal>
          <c:bubbleSize>
            <c:numRef>
              <c:f>Sheet1!$C$2:$C$9</c:f>
              <c:numCache>
                <c:formatCode>General</c:formatCode>
                <c:ptCount val="8"/>
                <c:pt idx="0">
                  <c:v>379175.70080000005</c:v>
                </c:pt>
                <c:pt idx="1">
                  <c:v>368896.3247</c:v>
                </c:pt>
                <c:pt idx="2">
                  <c:v>31366.428200000002</c:v>
                </c:pt>
                <c:pt idx="3">
                  <c:v>184947.85040000002</c:v>
                </c:pt>
                <c:pt idx="4">
                  <c:v>26336.5182</c:v>
                </c:pt>
                <c:pt idx="5">
                  <c:v>157027.87370000003</c:v>
                </c:pt>
                <c:pt idx="6">
                  <c:v>233330.66369999998</c:v>
                </c:pt>
                <c:pt idx="7">
                  <c:v>27407.7202</c:v>
                </c:pt>
              </c:numCache>
            </c:numRef>
          </c:bubbleSize>
          <c:bubble3D val="0"/>
          <c:extLst>
            <c:ext xmlns:c15="http://schemas.microsoft.com/office/drawing/2012/chart" uri="{02D57815-91ED-43cb-92C2-25804820EDAC}">
              <c15:datalabelsRange>
                <c15:f>Sheet1!$E$2:$E$21</c15:f>
                <c15:dlblRangeCache>
                  <c:ptCount val="20"/>
                  <c:pt idx="0">
                    <c:v>MBY Original 12p</c:v>
                  </c:pt>
                  <c:pt idx="1">
                    <c:v>MBY Original 18p</c:v>
                  </c:pt>
                  <c:pt idx="2">
                    <c:v>MBY Original 6p</c:v>
                  </c:pt>
                  <c:pt idx="3">
                    <c:v>MBY Variety 12p</c:v>
                  </c:pt>
                  <c:pt idx="4">
                    <c:v>MBY Variety 18p</c:v>
                  </c:pt>
                  <c:pt idx="5">
                    <c:v>MBY Light 12p</c:v>
                  </c:pt>
                  <c:pt idx="6">
                    <c:v>MBY Light 6p</c:v>
                  </c:pt>
                  <c:pt idx="7">
                    <c:v>MBY Gouda 6p</c:v>
                  </c:pt>
                  <c:pt idx="8">
                    <c:v>MBY Swiss 6p</c:v>
                  </c:pt>
                  <c:pt idx="9">
                    <c:v>MBY Cheddar 6p</c:v>
                  </c:pt>
                  <c:pt idx="10">
                    <c:v>MBY Mini Roll</c:v>
                  </c:pt>
                  <c:pt idx="11">
                    <c:v>MBY 2Go</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4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146E3845-895D-4079-89AB-4695BCBA855B}"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0DC1FAB5-8B28-48FF-A6E1-E6A82EFC7B72}"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BEB670C3-B81F-45AA-BB2D-2FB1B3E0CEAB}"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79CAC2EF-E2D5-4F8E-8F90-C6D735387E6F}"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6A8FBECB-4793-4CA1-A83C-8645DF27867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099F69EE-64B4-4F2F-9DEE-A68C83A6028F}"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66BECFC4-6889-4572-9F8B-46A539B00800}"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50F9A39B-C6E1-4F2E-9F93-F2F549238CAB}"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DD366C2A-40BE-4BD9-9367-A20A2837583E}"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1F9273C4-8D2B-4944-9571-2009B5249F3F}"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9</c:f>
              <c:numCache>
                <c:formatCode>General</c:formatCode>
                <c:ptCount val="8"/>
                <c:pt idx="0">
                  <c:v>0.92</c:v>
                </c:pt>
                <c:pt idx="1">
                  <c:v>0.97</c:v>
                </c:pt>
                <c:pt idx="2">
                  <c:v>1.0</c:v>
                </c:pt>
                <c:pt idx="3">
                  <c:v>1.0</c:v>
                </c:pt>
                <c:pt idx="4">
                  <c:v>0.99</c:v>
                </c:pt>
                <c:pt idx="5">
                  <c:v>0.32</c:v>
                </c:pt>
                <c:pt idx="6">
                  <c:v>0.99</c:v>
                </c:pt>
                <c:pt idx="7">
                  <c:v>0.98</c:v>
                </c:pt>
              </c:numCache>
            </c:numRef>
          </c:xVal>
          <c:yVal>
            <c:numRef>
              <c:f>Sheet1!$B$2:$B$9</c:f>
              <c:numCache>
                <c:formatCode>General</c:formatCode>
                <c:ptCount val="8"/>
                <c:pt idx="0">
                  <c:v>817.8586956521739</c:v>
                </c:pt>
                <c:pt idx="1">
                  <c:v>1169.9072164948454</c:v>
                </c:pt>
                <c:pt idx="2">
                  <c:v>7702.77</c:v>
                </c:pt>
                <c:pt idx="3">
                  <c:v>6931.8</c:v>
                </c:pt>
                <c:pt idx="4">
                  <c:v>11429.494949494949</c:v>
                </c:pt>
                <c:pt idx="5">
                  <c:v>177.34375</c:v>
                </c:pt>
                <c:pt idx="6">
                  <c:v>2091.7979797979797</c:v>
                </c:pt>
                <c:pt idx="7">
                  <c:v>2261.183673469388</c:v>
                </c:pt>
              </c:numCache>
            </c:numRef>
          </c:yVal>
          <c:bubbleSize>
            <c:numRef>
              <c:f>Sheet1!$C$2:$C$9</c:f>
              <c:numCache>
                <c:formatCode>General</c:formatCode>
                <c:ptCount val="8"/>
                <c:pt idx="0">
                  <c:v>33125.899600000004</c:v>
                </c:pt>
                <c:pt idx="1">
                  <c:v>62668.0704</c:v>
                </c:pt>
                <c:pt idx="2">
                  <c:v>438730.5022</c:v>
                </c:pt>
                <c:pt idx="3">
                  <c:v>421297.28959999996</c:v>
                </c:pt>
                <c:pt idx="4">
                  <c:v>713125.1897</c:v>
                </c:pt>
                <c:pt idx="5">
                  <c:v>4028.3973999999994</c:v>
                </c:pt>
                <c:pt idx="6">
                  <c:v>114869.08230000001</c:v>
                </c:pt>
                <c:pt idx="7">
                  <c:v>108131.18439999998</c:v>
                </c:pt>
              </c:numCache>
            </c:numRef>
          </c:bubbleSize>
          <c:bubble3D val="0"/>
          <c:extLst>
            <c:ext xmlns:c15="http://schemas.microsoft.com/office/drawing/2012/chart" uri="{02D57815-91ED-43cb-92C2-25804820EDAC}">
              <c15:datalabelsRange>
                <c15:f>Sheet1!$E$2:$E$21</c15:f>
                <c15:dlblRangeCache>
                  <c:ptCount val="20"/>
                  <c:pt idx="0">
                    <c:v>MBY Original 12p</c:v>
                  </c:pt>
                  <c:pt idx="1">
                    <c:v>MBY Original 18p</c:v>
                  </c:pt>
                  <c:pt idx="2">
                    <c:v>MBY Original 6p</c:v>
                  </c:pt>
                  <c:pt idx="3">
                    <c:v>MBY Variety 12p</c:v>
                  </c:pt>
                  <c:pt idx="4">
                    <c:v>MBY Variety 18p</c:v>
                  </c:pt>
                  <c:pt idx="5">
                    <c:v>MBY Light 12p</c:v>
                  </c:pt>
                  <c:pt idx="6">
                    <c:v>MBY Light 6p</c:v>
                  </c:pt>
                  <c:pt idx="7">
                    <c:v>MBY Gouda 6p</c:v>
                  </c:pt>
                  <c:pt idx="8">
                    <c:v>MBY Swiss 6p</c:v>
                  </c:pt>
                  <c:pt idx="9">
                    <c:v>MBY Cheddar 6p</c:v>
                  </c:pt>
                  <c:pt idx="10">
                    <c:v>MBY Mini Roll</c:v>
                  </c:pt>
                  <c:pt idx="11">
                    <c:v>MBY 2Go</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4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E1E63F6C-66F5-420A-9ED7-B8227A593294}"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4496D6EF-0EFE-4647-8DC9-27BB58BCA5FB}"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0A30A3B3-B77C-406A-AFDA-3904CEADE3C0}"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9CC52138-FBB0-4A45-A739-E1C8BE47F04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F5F187A4-CC1A-41A7-AEBB-F38D4ADA558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C82B93D7-BF2C-4D0A-A07A-C7C442421C6A}"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5AA138A0-D089-4A22-84BA-C23FD143B3F7}"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EFC2D086-C90B-4F48-B4B9-3184BEC752E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00476C38-E8FD-4461-BAC8-6FFDF44EAA66}"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733F14A3-1355-4A24-8C84-E28ED9D0E452}"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9</c:f>
              <c:numCache>
                <c:formatCode>General</c:formatCode>
                <c:ptCount val="8"/>
                <c:pt idx="0">
                  <c:v>0.85</c:v>
                </c:pt>
                <c:pt idx="1">
                  <c:v>0.52</c:v>
                </c:pt>
                <c:pt idx="2">
                  <c:v>0.31</c:v>
                </c:pt>
                <c:pt idx="3">
                  <c:v>0.92</c:v>
                </c:pt>
                <c:pt idx="4">
                  <c:v>0.59</c:v>
                </c:pt>
                <c:pt idx="5">
                  <c:v>0.9</c:v>
                </c:pt>
                <c:pt idx="6">
                  <c:v>0.68</c:v>
                </c:pt>
                <c:pt idx="7">
                  <c:v>0.38</c:v>
                </c:pt>
              </c:numCache>
            </c:numRef>
          </c:xVal>
          <c:yVal>
            <c:numRef>
              <c:f>Sheet1!$B$2:$B$9</c:f>
              <c:numCache>
                <c:formatCode>General</c:formatCode>
                <c:ptCount val="8"/>
                <c:pt idx="0">
                  <c:v>6595.729411764706</c:v>
                </c:pt>
                <c:pt idx="1">
                  <c:v>5199.807692307692</c:v>
                </c:pt>
                <c:pt idx="2">
                  <c:v>1752.774193548387</c:v>
                </c:pt>
                <c:pt idx="3">
                  <c:v>4358.739130434783</c:v>
                </c:pt>
                <c:pt idx="4">
                  <c:v>593.8813559322034</c:v>
                </c:pt>
                <c:pt idx="5">
                  <c:v>3563.9444444444443</c:v>
                </c:pt>
                <c:pt idx="6">
                  <c:v>3449.8529411764707</c:v>
                </c:pt>
                <c:pt idx="7">
                  <c:v>829.6315789473684</c:v>
                </c:pt>
              </c:numCache>
            </c:numRef>
          </c:yVal>
          <c:bubbleSize>
            <c:numRef>
              <c:f>Sheet1!$C$2:$C$9</c:f>
              <c:numCache>
                <c:formatCode>General</c:formatCode>
                <c:ptCount val="8"/>
                <c:pt idx="0">
                  <c:v>345514.6986</c:v>
                </c:pt>
                <c:pt idx="1">
                  <c:v>156333.39620000002</c:v>
                </c:pt>
                <c:pt idx="2">
                  <c:v>24710.5134</c:v>
                </c:pt>
                <c:pt idx="3">
                  <c:v>233765.80310000002</c:v>
                </c:pt>
                <c:pt idx="4">
                  <c:v>23873.965799999998</c:v>
                </c:pt>
                <c:pt idx="5">
                  <c:v>183192.46180000002</c:v>
                </c:pt>
                <c:pt idx="6">
                  <c:v>134155.1481</c:v>
                </c:pt>
                <c:pt idx="7">
                  <c:v>14691.8452</c:v>
                </c:pt>
              </c:numCache>
            </c:numRef>
          </c:bubbleSize>
          <c:bubble3D val="0"/>
          <c:extLst>
            <c:ext xmlns:c15="http://schemas.microsoft.com/office/drawing/2012/chart" uri="{02D57815-91ED-43cb-92C2-25804820EDAC}">
              <c15:datalabelsRange>
                <c15:f>Sheet1!$E$2:$E$21</c15:f>
                <c15:dlblRangeCache>
                  <c:ptCount val="20"/>
                  <c:pt idx="0">
                    <c:v>MBY Original 12p</c:v>
                  </c:pt>
                  <c:pt idx="1">
                    <c:v>MBY Original 18p</c:v>
                  </c:pt>
                  <c:pt idx="2">
                    <c:v>MBY Original 6p</c:v>
                  </c:pt>
                  <c:pt idx="3">
                    <c:v>MBY Variety 12p</c:v>
                  </c:pt>
                  <c:pt idx="4">
                    <c:v>MBY Variety 18p</c:v>
                  </c:pt>
                  <c:pt idx="5">
                    <c:v>MBY Light 12p</c:v>
                  </c:pt>
                  <c:pt idx="6">
                    <c:v>MBY Light 6p</c:v>
                  </c:pt>
                  <c:pt idx="7">
                    <c:v>MBY Gouda 6p</c:v>
                  </c:pt>
                  <c:pt idx="8">
                    <c:v>MBY Swiss 6p</c:v>
                  </c:pt>
                  <c:pt idx="9">
                    <c:v>MBY Cheddar 6p</c:v>
                  </c:pt>
                  <c:pt idx="10">
                    <c:v>MBY Mini Roll</c:v>
                  </c:pt>
                  <c:pt idx="11">
                    <c:v>MBY 2Go</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St Moret</c:v>
                </c:pt>
                <c:pt idx="1">
                  <c:v>Boursin</c:v>
                </c:pt>
                <c:pt idx="2">
                  <c:v>Paysan Breton</c:v>
                </c:pt>
                <c:pt idx="3">
                  <c:v>Private Label</c:v>
                </c:pt>
                <c:pt idx="4">
                  <c:v>Tartare</c:v>
                </c:pt>
                <c:pt idx="5">
                  <c:v>Carre Frais</c:v>
                </c:pt>
                <c:pt idx="6">
                  <c:v>Philadelphia</c:v>
                </c:pt>
                <c:pt idx="7">
                  <c:v>Kiri</c:v>
                </c:pt>
                <c:pt idx="8">
                  <c:v>Others</c:v>
                </c:pt>
              </c:strCache>
            </c:strRef>
          </c:cat>
          <c:val>
            <c:numRef>
              <c:f>Sheet1!$B$2:$B$10</c:f>
              <c:numCache>
                <c:formatCode>General</c:formatCode>
                <c:ptCount val="9"/>
                <c:pt idx="0">
                  <c:v>0.3301459975105586</c:v>
                </c:pt>
                <c:pt idx="1">
                  <c:v>0.1477217618970867</c:v>
                </c:pt>
                <c:pt idx="2">
                  <c:v>0.1313109221785905</c:v>
                </c:pt>
                <c:pt idx="3">
                  <c:v>0.1284980215628471</c:v>
                </c:pt>
                <c:pt idx="4">
                  <c:v>0.1284966856040141</c:v>
                </c:pt>
                <c:pt idx="5">
                  <c:v>0.05753864673499913</c:v>
                </c:pt>
                <c:pt idx="6">
                  <c:v>0.04435155426629416</c:v>
                </c:pt>
                <c:pt idx="7">
                  <c:v>0.009958865827532587</c:v>
                </c:pt>
                <c:pt idx="8">
                  <c:v>0.02197754441807716</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St Moret</c:v>
                </c:pt>
                <c:pt idx="1">
                  <c:v>Boursin</c:v>
                </c:pt>
                <c:pt idx="2">
                  <c:v>Paysan Breton</c:v>
                </c:pt>
                <c:pt idx="3">
                  <c:v>Private Label</c:v>
                </c:pt>
                <c:pt idx="4">
                  <c:v>Tartare</c:v>
                </c:pt>
                <c:pt idx="5">
                  <c:v>Carre Frais</c:v>
                </c:pt>
                <c:pt idx="6">
                  <c:v>Philadelphia</c:v>
                </c:pt>
                <c:pt idx="7">
                  <c:v>Kiri</c:v>
                </c:pt>
                <c:pt idx="8">
                  <c:v>Others</c:v>
                </c:pt>
              </c:strCache>
            </c:strRef>
          </c:cat>
          <c:val>
            <c:numRef>
              <c:f>Sheet1!$C$2:$C$10</c:f>
              <c:numCache>
                <c:formatCode>General</c:formatCode>
                <c:ptCount val="9"/>
                <c:pt idx="0">
                  <c:v>0.15453671048412954</c:v>
                </c:pt>
                <c:pt idx="1">
                  <c:v>0.18531580634818853</c:v>
                </c:pt>
                <c:pt idx="2">
                  <c:v>0.11750561077268357</c:v>
                </c:pt>
                <c:pt idx="3">
                  <c:v>0.11109329913433792</c:v>
                </c:pt>
                <c:pt idx="4">
                  <c:v>0.15517794164796408</c:v>
                </c:pt>
                <c:pt idx="5">
                  <c:v>0.056268034626482846</c:v>
                </c:pt>
                <c:pt idx="6">
                  <c:v>0.04697018275088169</c:v>
                </c:pt>
                <c:pt idx="7">
                  <c:v>0.04184033344020519</c:v>
                </c:pt>
                <c:pt idx="8">
                  <c:v>0.13129208079512664</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St Moret</c:v>
                </c:pt>
                <c:pt idx="1">
                  <c:v>Boursin</c:v>
                </c:pt>
                <c:pt idx="2">
                  <c:v>Paysan Breton</c:v>
                </c:pt>
                <c:pt idx="3">
                  <c:v>Private Label</c:v>
                </c:pt>
                <c:pt idx="4">
                  <c:v>Tartare</c:v>
                </c:pt>
                <c:pt idx="5">
                  <c:v>Carre Frais</c:v>
                </c:pt>
                <c:pt idx="6">
                  <c:v>Philadelphia</c:v>
                </c:pt>
                <c:pt idx="7">
                  <c:v>Kiri</c:v>
                </c:pt>
                <c:pt idx="8">
                  <c:v>Others</c:v>
                </c:pt>
              </c:strCache>
            </c:strRef>
          </c:cat>
          <c:val>
            <c:numRef>
              <c:f>Sheet1!$D$2:$D$10</c:f>
              <c:numCache>
                <c:formatCode>General</c:formatCode>
                <c:ptCount val="9"/>
                <c:pt idx="0">
                  <c:v>46.808597302224506</c:v>
                </c:pt>
                <c:pt idx="1">
                  <c:v>125.44922560380269</c:v>
                </c:pt>
                <c:pt idx="2">
                  <c:v>89.48654751877311</c:v>
                </c:pt>
                <c:pt idx="3">
                  <c:v>86.4552603870273</c:v>
                </c:pt>
                <c:pt idx="4">
                  <c:v>120.76415894972821</c:v>
                </c:pt>
                <c:pt idx="5">
                  <c:v>97.79172403138323</c:v>
                </c:pt>
                <c:pt idx="6">
                  <c:v>105.90425415277409</c:v>
                </c:pt>
                <c:pt idx="7">
                  <c:v>420.1315106036685</c:v>
                </c:pt>
                <c:pt idx="8">
                  <c:v>597.3919483340237</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FEAA5385-EE7A-49CB-9053-F91D0341A48D}"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F17494AB-1111-45F4-8F69-3BA95372440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DF887FCB-A6BF-47C6-9894-04193EBC619F}"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F9AE0759-6978-40C3-93F2-F275AF94F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809438B6-E772-4C60-A5C6-E999AF8EA13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E24AAA0A-7F0A-428C-9DCD-F075B029F152}"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61E7AE82-B916-423C-B2DB-549654231B1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B005B936-58D9-4D47-ACD2-08EB44DA49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4DF82D67-46C9-4523-9E4B-39903CD9A518}"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EC6D0CAD-0179-4383-B312-110AFD54FAA8}"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8</c:f>
              <c:numCache>
                <c:formatCode>General</c:formatCode>
                <c:ptCount val="7"/>
                <c:pt idx="0">
                  <c:v>0.33</c:v>
                </c:pt>
                <c:pt idx="1">
                  <c:v>0.5</c:v>
                </c:pt>
                <c:pt idx="2">
                  <c:v>0.98</c:v>
                </c:pt>
                <c:pt idx="3">
                  <c:v>0.68</c:v>
                </c:pt>
                <c:pt idx="4">
                  <c:v>0.68</c:v>
                </c:pt>
                <c:pt idx="5">
                  <c:v>0.82</c:v>
                </c:pt>
                <c:pt idx="6">
                  <c:v>0.42</c:v>
                </c:pt>
              </c:numCache>
            </c:numRef>
          </c:xVal>
          <c:yVal>
            <c:numRef>
              <c:f>Sheet1!$B$2:$B$8</c:f>
              <c:numCache>
                <c:formatCode>General</c:formatCode>
                <c:ptCount val="7"/>
                <c:pt idx="0">
                  <c:v>985.5151515151515</c:v>
                </c:pt>
                <c:pt idx="1">
                  <c:v>1845.32</c:v>
                </c:pt>
                <c:pt idx="2">
                  <c:v>8872.061224489797</c:v>
                </c:pt>
                <c:pt idx="3">
                  <c:v>7117.838235294118</c:v>
                </c:pt>
                <c:pt idx="4">
                  <c:v>8935.823529411764</c:v>
                </c:pt>
                <c:pt idx="5">
                  <c:v>2128.3658536585367</c:v>
                </c:pt>
                <c:pt idx="6">
                  <c:v>1563.2619047619048</c:v>
                </c:pt>
              </c:numCache>
            </c:numRef>
          </c:yVal>
          <c:bubbleSize>
            <c:numRef>
              <c:f>Sheet1!$C$2:$C$8</c:f>
              <c:numCache>
                <c:formatCode>General</c:formatCode>
                <c:ptCount val="7"/>
                <c:pt idx="0">
                  <c:v>13276.983199999999</c:v>
                </c:pt>
                <c:pt idx="1">
                  <c:v>45377.7415</c:v>
                </c:pt>
                <c:pt idx="2">
                  <c:v>490201.80620000005</c:v>
                </c:pt>
                <c:pt idx="3">
                  <c:v>276688.60000000003</c:v>
                </c:pt>
                <c:pt idx="4">
                  <c:v>360405.01259999996</c:v>
                </c:pt>
                <c:pt idx="5">
                  <c:v>88865.2362</c:v>
                </c:pt>
                <c:pt idx="6">
                  <c:v>29532.624399999997</c:v>
                </c:pt>
              </c:numCache>
            </c:numRef>
          </c:bubbleSize>
          <c:bubble3D val="0"/>
          <c:extLst>
            <c:ext xmlns:c15="http://schemas.microsoft.com/office/drawing/2012/chart" uri="{02D57815-91ED-43cb-92C2-25804820EDAC}">
              <c15:datalabelsRange>
                <c15:f>Sheet1!$E$2:$E$21</c15:f>
                <c15:dlblRangeCache>
                  <c:ptCount val="20"/>
                  <c:pt idx="0">
                    <c:v>MBY Original 12p</c:v>
                  </c:pt>
                  <c:pt idx="1">
                    <c:v>MBY Original 18p</c:v>
                  </c:pt>
                  <c:pt idx="2">
                    <c:v>MBY Original 6p</c:v>
                  </c:pt>
                  <c:pt idx="3">
                    <c:v>MBY Variety 12p</c:v>
                  </c:pt>
                  <c:pt idx="4">
                    <c:v>MBY Variety 18p</c:v>
                  </c:pt>
                  <c:pt idx="5">
                    <c:v>MBY Light 12p</c:v>
                  </c:pt>
                  <c:pt idx="6">
                    <c:v>MBY Light 6p</c:v>
                  </c:pt>
                  <c:pt idx="7">
                    <c:v>MBY Gouda 6p</c:v>
                  </c:pt>
                  <c:pt idx="8">
                    <c:v>MBY Swiss 6p</c:v>
                  </c:pt>
                  <c:pt idx="9">
                    <c:v>MBY Cheddar 6p</c:v>
                  </c:pt>
                  <c:pt idx="10">
                    <c:v>MBY Mini Roll</c:v>
                  </c:pt>
                  <c:pt idx="11">
                    <c:v>MBY 2Go</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4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DB5CB893-81B4-4849-A374-C1129C06BF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74BA8CBC-471F-45E8-92A4-9D7AF57A9F9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70BBB265-6387-491D-93EE-E3534207F9B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4F7228E4-1595-4F85-A3CF-240ECA5EAA14}"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36DBC95C-77E8-40B6-999B-33F8960EC48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7923F602-A2AA-46BF-A5D4-C88438ADBD20}"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6CD77810-FC49-4C4C-9EC2-5D4E4FF3697E}"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735A271D-89B1-4AB9-93FA-B40EA33B6A9E}"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CC93E66F-B5CE-4A51-A664-A705EA3FDD8E}"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559CBB40-C625-42BD-8308-91BB95F447A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4</c:f>
              <c:numCache>
                <c:formatCode>General</c:formatCode>
                <c:ptCount val="3"/>
                <c:pt idx="0">
                  <c:v>0.774</c:v>
                </c:pt>
                <c:pt idx="1">
                  <c:v>0.643</c:v>
                </c:pt>
                <c:pt idx="2">
                  <c:v>0.689</c:v>
                </c:pt>
              </c:numCache>
            </c:numRef>
          </c:xVal>
          <c:yVal>
            <c:numRef>
              <c:f>Sheet1!$B$2:$B$4</c:f>
              <c:numCache>
                <c:formatCode>General</c:formatCode>
                <c:ptCount val="3"/>
                <c:pt idx="0">
                  <c:v>9290.78811369509</c:v>
                </c:pt>
                <c:pt idx="1">
                  <c:v>7421.524105754277</c:v>
                </c:pt>
                <c:pt idx="2">
                  <c:v>5613.860667634253</c:v>
                </c:pt>
              </c:numCache>
            </c:numRef>
          </c:yVal>
          <c:bubbleSize>
            <c:numRef>
              <c:f>Sheet1!$C$2:$C$4</c:f>
              <c:numCache>
                <c:formatCode>General</c:formatCode>
                <c:ptCount val="3"/>
                <c:pt idx="0">
                  <c:v>390625.92009999993</c:v>
                </c:pt>
                <c:pt idx="1">
                  <c:v>269870.29780000006</c:v>
                </c:pt>
                <c:pt idx="2">
                  <c:v>223758.21680000002</c:v>
                </c:pt>
              </c:numCache>
            </c:numRef>
          </c:bubbleSize>
          <c:bubble3D val="0"/>
          <c:extLst>
            <c:ext xmlns:c15="http://schemas.microsoft.com/office/drawing/2012/chart" uri="{02D57815-91ED-43cb-92C2-25804820EDAC}">
              <c15:datalabelsRange>
                <c15:f>Sheet1!$E$2:$E$21</c15:f>
                <c15:dlblRangeCache>
                  <c:ptCount val="20"/>
                  <c:pt idx="0">
                    <c:v>MBY Original 12p</c:v>
                  </c:pt>
                  <c:pt idx="1">
                    <c:v>MBY Original 18p</c:v>
                  </c:pt>
                  <c:pt idx="2">
                    <c:v>MBY Original 6p</c:v>
                  </c:pt>
                  <c:pt idx="3">
                    <c:v>MBY Variety 12p</c:v>
                  </c:pt>
                  <c:pt idx="4">
                    <c:v>MBY Variety 18p</c:v>
                  </c:pt>
                  <c:pt idx="5">
                    <c:v>MBY Light 12p</c:v>
                  </c:pt>
                  <c:pt idx="6">
                    <c:v>MBY Light 6p</c:v>
                  </c:pt>
                  <c:pt idx="7">
                    <c:v>MBY Gouda 6p</c:v>
                  </c:pt>
                  <c:pt idx="8">
                    <c:v>MBY Swiss 6p</c:v>
                  </c:pt>
                  <c:pt idx="9">
                    <c:v>MBY Cheddar 6p</c:v>
                  </c:pt>
                  <c:pt idx="10">
                    <c:v>MBY Mini Roll</c:v>
                  </c:pt>
                  <c:pt idx="11">
                    <c:v>MBY 2Go</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4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38C86537-B8AB-4503-A67D-9D67201D5559}"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67C0ED80-1B24-40DD-B4DF-2C8E78AD1E42}"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1D865124-C015-4D09-B520-1BCB7296BBA7}"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6C4FF8F6-113B-4BD1-880B-77898A41CA74}"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663D124F-C20E-43E5-BDD1-B10DFD463A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70C56C1C-908D-4610-AFD6-E3A3FADFEBB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F1985AF3-74BE-4AE3-AFCD-185F073B9036}"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AB4C7FF7-CDD9-496C-A7C9-AAC14B980FE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831EE3AA-4F60-4B74-A8A4-FAFFA769C082}"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CBDED5AF-A4A9-4C77-8373-9B5009D846D8}"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8</c:f>
              <c:numCache>
                <c:formatCode>General</c:formatCode>
                <c:ptCount val="17"/>
                <c:pt idx="0">
                  <c:v>0.915</c:v>
                </c:pt>
                <c:pt idx="1">
                  <c:v>0.528</c:v>
                </c:pt>
                <c:pt idx="2">
                  <c:v>0.968</c:v>
                </c:pt>
                <c:pt idx="3">
                  <c:v>0.793</c:v>
                </c:pt>
                <c:pt idx="4">
                  <c:v>0.694</c:v>
                </c:pt>
                <c:pt idx="5">
                  <c:v>0.511</c:v>
                </c:pt>
                <c:pt idx="6">
                  <c:v>0.537</c:v>
                </c:pt>
                <c:pt idx="7">
                  <c:v>0.379</c:v>
                </c:pt>
                <c:pt idx="8">
                  <c:v>0.447</c:v>
                </c:pt>
                <c:pt idx="9">
                  <c:v>0.821</c:v>
                </c:pt>
                <c:pt idx="10">
                  <c:v>0.817</c:v>
                </c:pt>
                <c:pt idx="11">
                  <c:v>0.265</c:v>
                </c:pt>
                <c:pt idx="12">
                  <c:v>0.774</c:v>
                </c:pt>
                <c:pt idx="13">
                  <c:v>0.281</c:v>
                </c:pt>
                <c:pt idx="14">
                  <c:v>0.075</c:v>
                </c:pt>
                <c:pt idx="15">
                  <c:v>0.324</c:v>
                </c:pt>
                <c:pt idx="16">
                  <c:v>0.402</c:v>
                </c:pt>
              </c:numCache>
            </c:numRef>
          </c:xVal>
          <c:yVal>
            <c:numRef>
              <c:f>Sheet1!$B$2:$B$18</c:f>
              <c:numCache>
                <c:formatCode>General</c:formatCode>
                <c:ptCount val="17"/>
                <c:pt idx="0">
                  <c:v>36210.3825136612</c:v>
                </c:pt>
                <c:pt idx="1">
                  <c:v>912.4431818181818</c:v>
                </c:pt>
                <c:pt idx="2">
                  <c:v>35111.05371900827</c:v>
                </c:pt>
                <c:pt idx="3">
                  <c:v>8691.462799495586</c:v>
                </c:pt>
                <c:pt idx="4">
                  <c:v>6379.6974063400585</c:v>
                </c:pt>
                <c:pt idx="5">
                  <c:v>956.9080234833659</c:v>
                </c:pt>
                <c:pt idx="6">
                  <c:v>1782.2718808193667</c:v>
                </c:pt>
                <c:pt idx="7">
                  <c:v>1204.4591029023748</c:v>
                </c:pt>
                <c:pt idx="8">
                  <c:v>3167.51677852349</c:v>
                </c:pt>
                <c:pt idx="9">
                  <c:v>11865.90742996346</c:v>
                </c:pt>
                <c:pt idx="10">
                  <c:v>25830.86903304774</c:v>
                </c:pt>
                <c:pt idx="11">
                  <c:v>4761.811320754717</c:v>
                </c:pt>
                <c:pt idx="12">
                  <c:v>7665.387596899224</c:v>
                </c:pt>
                <c:pt idx="13">
                  <c:v>2258.3985765124553</c:v>
                </c:pt>
                <c:pt idx="14">
                  <c:v>1840.8</c:v>
                </c:pt>
                <c:pt idx="15">
                  <c:v>502.5925925925926</c:v>
                </c:pt>
                <c:pt idx="16">
                  <c:v>2165.547263681592</c:v>
                </c:pt>
              </c:numCache>
            </c:numRef>
          </c:yVal>
          <c:bubbleSize>
            <c:numRef>
              <c:f>Sheet1!$C$2:$C$18</c:f>
              <c:numCache>
                <c:formatCode>General</c:formatCode>
                <c:ptCount val="17"/>
                <c:pt idx="0">
                  <c:v>2032641.614</c:v>
                </c:pt>
                <c:pt idx="1">
                  <c:v>31672.401400000002</c:v>
                </c:pt>
                <c:pt idx="2">
                  <c:v>2108282.3343999996</c:v>
                </c:pt>
                <c:pt idx="3">
                  <c:v>429447.70180000004</c:v>
                </c:pt>
                <c:pt idx="4">
                  <c:v>272937.85020000004</c:v>
                </c:pt>
                <c:pt idx="5">
                  <c:v>28764.763499999994</c:v>
                </c:pt>
                <c:pt idx="6">
                  <c:v>39845.55759999999</c:v>
                </c:pt>
                <c:pt idx="7">
                  <c:v>22443.9804</c:v>
                </c:pt>
                <c:pt idx="8">
                  <c:v>92124.07410000001</c:v>
                </c:pt>
                <c:pt idx="9">
                  <c:v>594060.8762999999</c:v>
                </c:pt>
                <c:pt idx="10">
                  <c:v>1311822.8504</c:v>
                </c:pt>
                <c:pt idx="11">
                  <c:v>89686.7917</c:v>
                </c:pt>
                <c:pt idx="12">
                  <c:v>343315.12559999997</c:v>
                </c:pt>
                <c:pt idx="13">
                  <c:v>29273.478900000002</c:v>
                </c:pt>
                <c:pt idx="14">
                  <c:v>7381.949</c:v>
                </c:pt>
                <c:pt idx="15">
                  <c:v>7339.8537</c:v>
                </c:pt>
                <c:pt idx="16">
                  <c:v>47748.37920000001</c:v>
                </c:pt>
              </c:numCache>
            </c:numRef>
          </c:bubbleSize>
          <c:bubble3D val="0"/>
          <c:extLst>
            <c:ext xmlns:c15="http://schemas.microsoft.com/office/drawing/2012/chart" uri="{02D57815-91ED-43cb-92C2-25804820EDAC}">
              <c15:datalabelsRange>
                <c15:f>Sheet1!$E$2:$E$21</c15:f>
                <c15:dlblRangeCache>
                  <c:ptCount val="20"/>
                  <c:pt idx="0">
                    <c:v>MBY Original 12p</c:v>
                  </c:pt>
                  <c:pt idx="1">
                    <c:v>MBY Original 18p</c:v>
                  </c:pt>
                  <c:pt idx="2">
                    <c:v>MBY Original 6p</c:v>
                  </c:pt>
                  <c:pt idx="3">
                    <c:v>MBY Variety 12p</c:v>
                  </c:pt>
                  <c:pt idx="4">
                    <c:v>MBY Variety 18p</c:v>
                  </c:pt>
                  <c:pt idx="5">
                    <c:v>MBY Light 12p</c:v>
                  </c:pt>
                  <c:pt idx="6">
                    <c:v>MBY Light 6p</c:v>
                  </c:pt>
                  <c:pt idx="7">
                    <c:v>MBY Gouda 6p</c:v>
                  </c:pt>
                  <c:pt idx="8">
                    <c:v>MBY Swiss 6p</c:v>
                  </c:pt>
                  <c:pt idx="9">
                    <c:v>MBY Cheddar 6p</c:v>
                  </c:pt>
                  <c:pt idx="10">
                    <c:v>MBY Mini Roll</c:v>
                  </c:pt>
                  <c:pt idx="11">
                    <c:v>MBY 2Go</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4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69A2F28F-A501-4147-AE59-C454082AD3F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45312AF8-5990-45E6-97E3-FA0E646DF79B}"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53DF09DE-3DA7-4A1F-BC7D-C912C87A0A9D}"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1CBF7836-0522-4A77-B207-9771E42EE8DD}"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2A4762EB-E4FD-4E36-8043-6ECCF30F16F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E08297C0-C506-48CC-BA29-D16A8CB77659}"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3E0277DD-8225-4FD8-9818-8C912C9D499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FAEE7210-099E-445C-9D6F-CC496CC5296F}"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8A51F501-2DB9-42F8-9E9F-924DB76CA200}"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0B2B6419-2054-4DD0-AA5F-68A1748BE11A}"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4</c:f>
              <c:numCache>
                <c:formatCode>General</c:formatCode>
                <c:ptCount val="3"/>
                <c:pt idx="0">
                  <c:v>0.837</c:v>
                </c:pt>
                <c:pt idx="1">
                  <c:v>0.372</c:v>
                </c:pt>
                <c:pt idx="2">
                  <c:v>0.895</c:v>
                </c:pt>
              </c:numCache>
            </c:numRef>
          </c:xVal>
          <c:yVal>
            <c:numRef>
              <c:f>Sheet1!$B$2:$B$4</c:f>
              <c:numCache>
                <c:formatCode>General</c:formatCode>
                <c:ptCount val="3"/>
                <c:pt idx="0">
                  <c:v>6139.832735961768</c:v>
                </c:pt>
                <c:pt idx="1">
                  <c:v>481.37096774193543</c:v>
                </c:pt>
                <c:pt idx="2">
                  <c:v>3027.5083798882683</c:v>
                </c:pt>
              </c:numCache>
            </c:numRef>
          </c:yVal>
          <c:bubbleSize>
            <c:numRef>
              <c:f>Sheet1!$C$2:$C$4</c:f>
              <c:numCache>
                <c:formatCode>General</c:formatCode>
                <c:ptCount val="3"/>
                <c:pt idx="0">
                  <c:v>263362.13670000003</c:v>
                </c:pt>
                <c:pt idx="1">
                  <c:v>8501.64</c:v>
                </c:pt>
                <c:pt idx="2">
                  <c:v>149151.07840000003</c:v>
                </c:pt>
              </c:numCache>
            </c:numRef>
          </c:bubbleSize>
          <c:bubble3D val="0"/>
          <c:extLst>
            <c:ext xmlns:c15="http://schemas.microsoft.com/office/drawing/2012/chart" uri="{02D57815-91ED-43cb-92C2-25804820EDAC}">
              <c15:datalabelsRange>
                <c15:f>Sheet1!$E$2:$E$21</c15:f>
                <c15:dlblRangeCache>
                  <c:ptCount val="20"/>
                  <c:pt idx="0">
                    <c:v>MBY Original 12p</c:v>
                  </c:pt>
                  <c:pt idx="1">
                    <c:v>MBY Original 18p</c:v>
                  </c:pt>
                  <c:pt idx="2">
                    <c:v>MBY Original 6p</c:v>
                  </c:pt>
                  <c:pt idx="3">
                    <c:v>MBY Variety 12p</c:v>
                  </c:pt>
                  <c:pt idx="4">
                    <c:v>MBY Variety 18p</c:v>
                  </c:pt>
                  <c:pt idx="5">
                    <c:v>MBY Light 12p</c:v>
                  </c:pt>
                  <c:pt idx="6">
                    <c:v>MBY Light 6p</c:v>
                  </c:pt>
                  <c:pt idx="7">
                    <c:v>MBY Gouda 6p</c:v>
                  </c:pt>
                  <c:pt idx="8">
                    <c:v>MBY Swiss 6p</c:v>
                  </c:pt>
                  <c:pt idx="9">
                    <c:v>MBY Cheddar 6p</c:v>
                  </c:pt>
                  <c:pt idx="10">
                    <c:v>MBY Mini Roll</c:v>
                  </c:pt>
                  <c:pt idx="11">
                    <c:v>MBY 2Go</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4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2DF3336E-9C43-4448-908C-A9036E93FA7C}"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748B9B23-B034-4252-975F-7A2E192D8880}"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0A02B98A-37E0-4A2F-846D-575E8EACE7EE}"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DB68633A-4A1D-4BAA-9AF5-50A9E041A7B6}"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549033D3-DFAB-4355-A113-6142A8F17C7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9ABAA325-6C13-48A3-B0CA-6A154D124ED9}"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FF5C3AF7-67C1-450A-B736-A24852BC4A49}"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9033C6F9-430D-405D-8285-5F46463391CD}"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4347BB22-53EC-4631-B129-B7C148425E0F}"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25B8185E-7BEB-42F3-BDEA-CB1A712DB196}"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3</c:f>
              <c:numCache>
                <c:formatCode>General</c:formatCode>
                <c:ptCount val="12"/>
                <c:pt idx="0">
                  <c:v>0.981</c:v>
                </c:pt>
                <c:pt idx="1">
                  <c:v>0.998</c:v>
                </c:pt>
                <c:pt idx="2">
                  <c:v>0.973</c:v>
                </c:pt>
                <c:pt idx="3">
                  <c:v>0.98</c:v>
                </c:pt>
                <c:pt idx="4">
                  <c:v>0.687</c:v>
                </c:pt>
                <c:pt idx="5">
                  <c:v>0.325</c:v>
                </c:pt>
                <c:pt idx="6">
                  <c:v>0.939</c:v>
                </c:pt>
                <c:pt idx="7">
                  <c:v>0.98</c:v>
                </c:pt>
                <c:pt idx="8">
                  <c:v>0.86</c:v>
                </c:pt>
                <c:pt idx="9">
                  <c:v>0.954</c:v>
                </c:pt>
                <c:pt idx="10">
                  <c:v>0.808</c:v>
                </c:pt>
                <c:pt idx="11">
                  <c:v>0.94</c:v>
                </c:pt>
              </c:numCache>
            </c:numRef>
          </c:xVal>
          <c:yVal>
            <c:numRef>
              <c:f>Sheet1!$B$2:$B$13</c:f>
              <c:numCache>
                <c:formatCode>General</c:formatCode>
                <c:ptCount val="12"/>
                <c:pt idx="0">
                  <c:v>27527.410805300715</c:v>
                </c:pt>
                <c:pt idx="1">
                  <c:v>24558.517034068136</c:v>
                </c:pt>
                <c:pt idx="2">
                  <c:v>8635.179856115108</c:v>
                </c:pt>
                <c:pt idx="3">
                  <c:v>10309.234693877552</c:v>
                </c:pt>
                <c:pt idx="4">
                  <c:v>648.2532751091703</c:v>
                </c:pt>
                <c:pt idx="5">
                  <c:v>2730.892307692308</c:v>
                </c:pt>
                <c:pt idx="6">
                  <c:v>11438.093716719915</c:v>
                </c:pt>
                <c:pt idx="7">
                  <c:v>27838.23469387755</c:v>
                </c:pt>
                <c:pt idx="8">
                  <c:v>8505.593023255815</c:v>
                </c:pt>
                <c:pt idx="9">
                  <c:v>12471.153039832287</c:v>
                </c:pt>
                <c:pt idx="10">
                  <c:v>5809.356435643564</c:v>
                </c:pt>
                <c:pt idx="11">
                  <c:v>7229.13829787234</c:v>
                </c:pt>
              </c:numCache>
            </c:numRef>
          </c:yVal>
          <c:bubbleSize>
            <c:numRef>
              <c:f>Sheet1!$C$2:$C$13</c:f>
              <c:numCache>
                <c:formatCode>General</c:formatCode>
                <c:ptCount val="12"/>
                <c:pt idx="0">
                  <c:v>1651385.2755000002</c:v>
                </c:pt>
                <c:pt idx="1">
                  <c:v>1491960.5067000005</c:v>
                </c:pt>
                <c:pt idx="2">
                  <c:v>455950.0355</c:v>
                </c:pt>
                <c:pt idx="3">
                  <c:v>571593.6846999999</c:v>
                </c:pt>
                <c:pt idx="4">
                  <c:v>19383.52</c:v>
                </c:pt>
                <c:pt idx="5">
                  <c:v>50382.1857</c:v>
                </c:pt>
                <c:pt idx="6">
                  <c:v>606479.7723999999</c:v>
                </c:pt>
                <c:pt idx="7">
                  <c:v>1621213.0609000002</c:v>
                </c:pt>
                <c:pt idx="8">
                  <c:v>410939.0</c:v>
                </c:pt>
                <c:pt idx="9">
                  <c:v>580146.0286</c:v>
                </c:pt>
                <c:pt idx="10">
                  <c:v>248552.02370000002</c:v>
                </c:pt>
                <c:pt idx="11">
                  <c:v>394111.0859</c:v>
                </c:pt>
              </c:numCache>
            </c:numRef>
          </c:bubbleSize>
          <c:bubble3D val="0"/>
          <c:extLst>
            <c:ext xmlns:c15="http://schemas.microsoft.com/office/drawing/2012/chart" uri="{02D57815-91ED-43cb-92C2-25804820EDAC}">
              <c15:datalabelsRange>
                <c15:f>Sheet1!$E$2:$E$21</c15:f>
                <c15:dlblRangeCache>
                  <c:ptCount val="20"/>
                  <c:pt idx="0">
                    <c:v>MBY Original 12p</c:v>
                  </c:pt>
                  <c:pt idx="1">
                    <c:v>MBY Original 18p</c:v>
                  </c:pt>
                  <c:pt idx="2">
                    <c:v>MBY Original 6p</c:v>
                  </c:pt>
                  <c:pt idx="3">
                    <c:v>MBY Variety 12p</c:v>
                  </c:pt>
                  <c:pt idx="4">
                    <c:v>MBY Variety 18p</c:v>
                  </c:pt>
                  <c:pt idx="5">
                    <c:v>MBY Light 12p</c:v>
                  </c:pt>
                  <c:pt idx="6">
                    <c:v>MBY Light 6p</c:v>
                  </c:pt>
                  <c:pt idx="7">
                    <c:v>MBY Gouda 6p</c:v>
                  </c:pt>
                  <c:pt idx="8">
                    <c:v>MBY Swiss 6p</c:v>
                  </c:pt>
                  <c:pt idx="9">
                    <c:v>MBY Cheddar 6p</c:v>
                  </c:pt>
                  <c:pt idx="10">
                    <c:v>MBY Mini Roll</c:v>
                  </c:pt>
                  <c:pt idx="11">
                    <c:v>MBY 2Go</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4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A15BC00A-9E0B-4C09-8AFC-B7AC901912F2}"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416F1F19-CCDF-432F-8308-F1FCCFEF56FB}"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9DBB223F-6ADC-436A-BA5D-F004D49D753B}"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19A67F17-E4D7-43FB-B7C3-64F9019319A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E0D80FA0-540C-460A-87EE-50F07F3D806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1DC14A99-19E5-4179-AB07-66C92D3B666D}"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ED5A9FE0-F1F0-47A0-A3D3-8BA77673D0A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DD87961C-9E8F-412F-869C-5AC1BAFCF6DF}"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0B330F70-76D1-4889-A531-CD78BDDAE5D0}"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3482146D-4FF8-46D8-9385-2132120B64CA}"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4</c:f>
              <c:numCache>
                <c:formatCode>General</c:formatCode>
                <c:ptCount val="3"/>
                <c:pt idx="0">
                  <c:v>0.98</c:v>
                </c:pt>
                <c:pt idx="1">
                  <c:v>0.96</c:v>
                </c:pt>
                <c:pt idx="2">
                  <c:v>0.89</c:v>
                </c:pt>
              </c:numCache>
            </c:numRef>
          </c:xVal>
          <c:yVal>
            <c:numRef>
              <c:f>Sheet1!$B$2:$B$4</c:f>
              <c:numCache>
                <c:formatCode>General</c:formatCode>
                <c:ptCount val="3"/>
                <c:pt idx="0">
                  <c:v>2226.4591836734694</c:v>
                </c:pt>
                <c:pt idx="1">
                  <c:v>3431.15625</c:v>
                </c:pt>
                <c:pt idx="2">
                  <c:v>1402.6404494382023</c:v>
                </c:pt>
              </c:numCache>
            </c:numRef>
          </c:yVal>
          <c:bubbleSize>
            <c:numRef>
              <c:f>Sheet1!$C$2:$C$4</c:f>
              <c:numCache>
                <c:formatCode>General</c:formatCode>
                <c:ptCount val="3"/>
                <c:pt idx="0">
                  <c:v>129655.06629999999</c:v>
                </c:pt>
                <c:pt idx="1">
                  <c:v>186540.4972</c:v>
                </c:pt>
                <c:pt idx="2">
                  <c:v>74144.0196</c:v>
                </c:pt>
              </c:numCache>
            </c:numRef>
          </c:bubbleSize>
          <c:bubble3D val="0"/>
          <c:extLst>
            <c:ext xmlns:c15="http://schemas.microsoft.com/office/drawing/2012/chart" uri="{02D57815-91ED-43cb-92C2-25804820EDAC}">
              <c15:datalabelsRange>
                <c15:f>Sheet1!$E$2:$E$21</c15:f>
                <c15:dlblRangeCache>
                  <c:ptCount val="20"/>
                  <c:pt idx="0">
                    <c:v>MBY Original 12p</c:v>
                  </c:pt>
                  <c:pt idx="1">
                    <c:v>MBY Original 18p</c:v>
                  </c:pt>
                  <c:pt idx="2">
                    <c:v>MBY Original 6p</c:v>
                  </c:pt>
                  <c:pt idx="3">
                    <c:v>MBY Variety 12p</c:v>
                  </c:pt>
                  <c:pt idx="4">
                    <c:v>MBY Variety 18p</c:v>
                  </c:pt>
                  <c:pt idx="5">
                    <c:v>MBY Light 12p</c:v>
                  </c:pt>
                  <c:pt idx="6">
                    <c:v>MBY Light 6p</c:v>
                  </c:pt>
                  <c:pt idx="7">
                    <c:v>MBY Gouda 6p</c:v>
                  </c:pt>
                  <c:pt idx="8">
                    <c:v>MBY Swiss 6p</c:v>
                  </c:pt>
                  <c:pt idx="9">
                    <c:v>MBY Cheddar 6p</c:v>
                  </c:pt>
                  <c:pt idx="10">
                    <c:v>MBY Mini Roll</c:v>
                  </c:pt>
                  <c:pt idx="11">
                    <c:v>MBY 2Go</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4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DFF1744B-84DA-4C66-BAD4-6EE13258A170}"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769707EF-5E7D-443B-91A2-761266F379D8}"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96470FE0-B2AE-41EF-9ABC-8659EC776139}"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854A38E0-2509-4BDA-9D05-75925A961926}"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65B99D83-7908-4D1D-A525-2CEB9EA3B77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6D3A8A8B-5DF9-4C0C-8F5B-C7B99658BA0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6EBE440E-5704-45EA-9361-DA1A51B2FF1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2D1D7508-90D2-462E-B892-E6BE5EDD08E2}"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150D9996-8B55-495E-A198-F9D850025F82}"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67253875-06AE-4E51-AD82-EEA79ABB1847}"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8</c:f>
              <c:numCache>
                <c:formatCode>General</c:formatCode>
                <c:ptCount val="17"/>
                <c:pt idx="0">
                  <c:v>1.0</c:v>
                </c:pt>
                <c:pt idx="1">
                  <c:v>0.85</c:v>
                </c:pt>
                <c:pt idx="2">
                  <c:v>1.0</c:v>
                </c:pt>
                <c:pt idx="3">
                  <c:v>0.97</c:v>
                </c:pt>
                <c:pt idx="4">
                  <c:v>0.98</c:v>
                </c:pt>
                <c:pt idx="5">
                  <c:v>0.66</c:v>
                </c:pt>
                <c:pt idx="6">
                  <c:v>0.67</c:v>
                </c:pt>
                <c:pt idx="7">
                  <c:v>0.49</c:v>
                </c:pt>
                <c:pt idx="8">
                  <c:v>0.94</c:v>
                </c:pt>
                <c:pt idx="9">
                  <c:v>1.0</c:v>
                </c:pt>
                <c:pt idx="10">
                  <c:v>1.0</c:v>
                </c:pt>
                <c:pt idx="11">
                  <c:v>0.58</c:v>
                </c:pt>
                <c:pt idx="12">
                  <c:v>0.99</c:v>
                </c:pt>
                <c:pt idx="13">
                  <c:v>0.59</c:v>
                </c:pt>
                <c:pt idx="14">
                  <c:v>0.14</c:v>
                </c:pt>
                <c:pt idx="15">
                  <c:v>0.71</c:v>
                </c:pt>
                <c:pt idx="16">
                  <c:v>0.88</c:v>
                </c:pt>
              </c:numCache>
            </c:numRef>
          </c:xVal>
          <c:yVal>
            <c:numRef>
              <c:f>Sheet1!$B$2:$B$18</c:f>
              <c:numCache>
                <c:formatCode>General</c:formatCode>
                <c:ptCount val="17"/>
                <c:pt idx="0">
                  <c:v>14268.91</c:v>
                </c:pt>
                <c:pt idx="1">
                  <c:v>333.52941176470586</c:v>
                </c:pt>
                <c:pt idx="2">
                  <c:v>9722.94</c:v>
                </c:pt>
                <c:pt idx="3">
                  <c:v>3345.6288659793813</c:v>
                </c:pt>
                <c:pt idx="4">
                  <c:v>3773.0</c:v>
                </c:pt>
                <c:pt idx="5">
                  <c:v>480.09090909090907</c:v>
                </c:pt>
                <c:pt idx="6">
                  <c:v>871.6865671641791</c:v>
                </c:pt>
                <c:pt idx="7">
                  <c:v>524.9183673469388</c:v>
                </c:pt>
                <c:pt idx="8">
                  <c:v>1281.0212765957447</c:v>
                </c:pt>
                <c:pt idx="9">
                  <c:v>4276.89</c:v>
                </c:pt>
                <c:pt idx="10">
                  <c:v>11512.05</c:v>
                </c:pt>
                <c:pt idx="11">
                  <c:v>2175.4827586206898</c:v>
                </c:pt>
                <c:pt idx="12">
                  <c:v>2658.080808080808</c:v>
                </c:pt>
                <c:pt idx="13">
                  <c:v>1025.2881355932204</c:v>
                </c:pt>
                <c:pt idx="14">
                  <c:v>964.3571428571428</c:v>
                </c:pt>
                <c:pt idx="15">
                  <c:v>229.1267605633803</c:v>
                </c:pt>
                <c:pt idx="16">
                  <c:v>989.2613636363636</c:v>
                </c:pt>
              </c:numCache>
            </c:numRef>
          </c:yVal>
          <c:bubbleSize>
            <c:numRef>
              <c:f>Sheet1!$C$2:$C$18</c:f>
              <c:numCache>
                <c:formatCode>General</c:formatCode>
                <c:ptCount val="17"/>
                <c:pt idx="0">
                  <c:v>898746.52</c:v>
                </c:pt>
                <c:pt idx="1">
                  <c:v>19237.013</c:v>
                </c:pt>
                <c:pt idx="2">
                  <c:v>657023.8293999999</c:v>
                </c:pt>
                <c:pt idx="3">
                  <c:v>206540.63040000002</c:v>
                </c:pt>
                <c:pt idx="4">
                  <c:v>228380.87689999997</c:v>
                </c:pt>
                <c:pt idx="5">
                  <c:v>18823.971899999997</c:v>
                </c:pt>
                <c:pt idx="6">
                  <c:v>23810.2759</c:v>
                </c:pt>
                <c:pt idx="7">
                  <c:v>14005.127400000003</c:v>
                </c:pt>
                <c:pt idx="8">
                  <c:v>80761.50040000002</c:v>
                </c:pt>
                <c:pt idx="9">
                  <c:v>263890.7431</c:v>
                </c:pt>
                <c:pt idx="10">
                  <c:v>722599.8118000001</c:v>
                </c:pt>
                <c:pt idx="11">
                  <c:v>89676.90090000001</c:v>
                </c:pt>
                <c:pt idx="12">
                  <c:v>155042.7336</c:v>
                </c:pt>
                <c:pt idx="13">
                  <c:v>27759.832300000002</c:v>
                </c:pt>
                <c:pt idx="14">
                  <c:v>7213.105999999999</c:v>
                </c:pt>
                <c:pt idx="15">
                  <c:v>7330.667399999999</c:v>
                </c:pt>
                <c:pt idx="16">
                  <c:v>47748.37920000001</c:v>
                </c:pt>
              </c:numCache>
            </c:numRef>
          </c:bubbleSize>
          <c:bubble3D val="0"/>
          <c:extLst>
            <c:ext xmlns:c15="http://schemas.microsoft.com/office/drawing/2012/chart" uri="{02D57815-91ED-43cb-92C2-25804820EDAC}">
              <c15:datalabelsRange>
                <c15:f>Sheet1!$E$2:$E$21</c15:f>
                <c15:dlblRangeCache>
                  <c:ptCount val="20"/>
                  <c:pt idx="0">
                    <c:v>MBY Original 12p</c:v>
                  </c:pt>
                  <c:pt idx="1">
                    <c:v>MBY Original 18p</c:v>
                  </c:pt>
                  <c:pt idx="2">
                    <c:v>MBY Original 6p</c:v>
                  </c:pt>
                  <c:pt idx="3">
                    <c:v>MBY Variety 12p</c:v>
                  </c:pt>
                  <c:pt idx="4">
                    <c:v>MBY Variety 18p</c:v>
                  </c:pt>
                  <c:pt idx="5">
                    <c:v>MBY Light 12p</c:v>
                  </c:pt>
                  <c:pt idx="6">
                    <c:v>MBY Light 6p</c:v>
                  </c:pt>
                  <c:pt idx="7">
                    <c:v>MBY Gouda 6p</c:v>
                  </c:pt>
                  <c:pt idx="8">
                    <c:v>MBY Swiss 6p</c:v>
                  </c:pt>
                  <c:pt idx="9">
                    <c:v>MBY Cheddar 6p</c:v>
                  </c:pt>
                  <c:pt idx="10">
                    <c:v>MBY Mini Roll</c:v>
                  </c:pt>
                  <c:pt idx="11">
                    <c:v>MBY 2Go</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4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FDB17B9E-0A8D-4A31-A21C-EC67E23FE99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1070F773-9E00-4CD5-876A-DA1AB4F72306}"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B4EAC575-A41A-4127-8337-D8CEBDDAA784}"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94FA716A-0524-42F3-AE24-6738D38568DC}"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4CB5CA76-F884-48D9-AF3A-BC5E655A0F0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09FE5C4F-238D-4781-BA1F-1A2198CE91D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7F6CC263-6EF4-436E-9CC6-49B285B3A7BD}"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8BC0E6E0-5133-47EE-9455-9DA49D7604EC}"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B9D51B5B-79B6-4CE4-A860-0A129E95F998}"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97EEFC39-8FA7-429F-B0A8-4E99C9A430D2}"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4</c:f>
              <c:numCache>
                <c:formatCode>General</c:formatCode>
                <c:ptCount val="3"/>
                <c:pt idx="0">
                  <c:v>0.62</c:v>
                </c:pt>
                <c:pt idx="1">
                  <c:v>0.54</c:v>
                </c:pt>
                <c:pt idx="2">
                  <c:v>0.63</c:v>
                </c:pt>
              </c:numCache>
            </c:numRef>
          </c:xVal>
          <c:yVal>
            <c:numRef>
              <c:f>Sheet1!$B$2:$B$4</c:f>
              <c:numCache>
                <c:formatCode>General</c:formatCode>
                <c:ptCount val="3"/>
                <c:pt idx="0">
                  <c:v>2355.7580645161293</c:v>
                </c:pt>
                <c:pt idx="1">
                  <c:v>2737.277777777778</c:v>
                </c:pt>
                <c:pt idx="2">
                  <c:v>2356.285714285714</c:v>
                </c:pt>
              </c:numCache>
            </c:numRef>
          </c:yVal>
          <c:bubbleSize>
            <c:numRef>
              <c:f>Sheet1!$C$2:$C$4</c:f>
              <c:numCache>
                <c:formatCode>General</c:formatCode>
                <c:ptCount val="3"/>
                <c:pt idx="0">
                  <c:v>82530.89319999999</c:v>
                </c:pt>
                <c:pt idx="1">
                  <c:v>83329.80059999999</c:v>
                </c:pt>
                <c:pt idx="2">
                  <c:v>87735.412</c:v>
                </c:pt>
              </c:numCache>
            </c:numRef>
          </c:bubbleSize>
          <c:bubble3D val="0"/>
          <c:extLst>
            <c:ext xmlns:c15="http://schemas.microsoft.com/office/drawing/2012/chart" uri="{02D57815-91ED-43cb-92C2-25804820EDAC}">
              <c15:datalabelsRange>
                <c15:f>Sheet1!$E$2:$E$21</c15:f>
                <c15:dlblRangeCache>
                  <c:ptCount val="20"/>
                  <c:pt idx="0">
                    <c:v>MBY Original 12p</c:v>
                  </c:pt>
                  <c:pt idx="1">
                    <c:v>MBY Original 18p</c:v>
                  </c:pt>
                  <c:pt idx="2">
                    <c:v>MBY Original 6p</c:v>
                  </c:pt>
                  <c:pt idx="3">
                    <c:v>MBY Variety 12p</c:v>
                  </c:pt>
                  <c:pt idx="4">
                    <c:v>MBY Variety 18p</c:v>
                  </c:pt>
                  <c:pt idx="5">
                    <c:v>MBY Light 12p</c:v>
                  </c:pt>
                  <c:pt idx="6">
                    <c:v>MBY Light 6p</c:v>
                  </c:pt>
                  <c:pt idx="7">
                    <c:v>MBY Gouda 6p</c:v>
                  </c:pt>
                  <c:pt idx="8">
                    <c:v>MBY Swiss 6p</c:v>
                  </c:pt>
                  <c:pt idx="9">
                    <c:v>MBY Cheddar 6p</c:v>
                  </c:pt>
                  <c:pt idx="10">
                    <c:v>MBY Mini Roll</c:v>
                  </c:pt>
                  <c:pt idx="11">
                    <c:v>MBY 2Go</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4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3D7F1C8E-B455-484C-A91F-34601116C1BB}"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8DA754C4-EA3F-4E2D-93EA-408178565B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DC1A84F1-A553-4638-A143-DBDF3E95F08E}"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B7228FF1-FCD5-4522-BAEB-689C241C54D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778F1FF4-DDFF-429E-8AC5-B6B4E6373B4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239DFB89-2869-48B2-9E2C-9812D625C8CD}"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97A12D31-3602-4771-B9AA-6B5F03EA9A5E}"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9A5EE6AA-AFBD-4FE1-ADA7-42C21CCE54DF}"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A982CEB8-F65B-464D-80BA-FA02FFF0DC1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DA170D2D-A8DE-4B65-B4E7-283220C8F879}"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3</c:f>
              <c:numCache>
                <c:formatCode>General</c:formatCode>
                <c:ptCount val="12"/>
                <c:pt idx="0">
                  <c:v>0.98</c:v>
                </c:pt>
                <c:pt idx="1">
                  <c:v>0.37</c:v>
                </c:pt>
                <c:pt idx="2">
                  <c:v>0.99</c:v>
                </c:pt>
                <c:pt idx="3">
                  <c:v>0.89</c:v>
                </c:pt>
                <c:pt idx="4">
                  <c:v>0.65</c:v>
                </c:pt>
                <c:pt idx="5">
                  <c:v>0.51</c:v>
                </c:pt>
                <c:pt idx="6">
                  <c:v>0.61</c:v>
                </c:pt>
                <c:pt idx="7">
                  <c:v>0.41</c:v>
                </c:pt>
                <c:pt idx="8">
                  <c:v>0.91</c:v>
                </c:pt>
                <c:pt idx="9">
                  <c:v>0.95</c:v>
                </c:pt>
                <c:pt idx="10">
                  <c:v>0.85</c:v>
                </c:pt>
                <c:pt idx="11">
                  <c:v>0.03</c:v>
                </c:pt>
              </c:numCache>
            </c:numRef>
          </c:xVal>
          <c:yVal>
            <c:numRef>
              <c:f>Sheet1!$B$2:$B$13</c:f>
              <c:numCache>
                <c:formatCode>General</c:formatCode>
                <c:ptCount val="12"/>
                <c:pt idx="0">
                  <c:v>12114.479591836734</c:v>
                </c:pt>
                <c:pt idx="1">
                  <c:v>535.8648648648649</c:v>
                </c:pt>
                <c:pt idx="2">
                  <c:v>11147.282828282829</c:v>
                </c:pt>
                <c:pt idx="3">
                  <c:v>3558.674157303371</c:v>
                </c:pt>
                <c:pt idx="4">
                  <c:v>1122.0923076923077</c:v>
                </c:pt>
                <c:pt idx="5">
                  <c:v>247.92156862745097</c:v>
                </c:pt>
                <c:pt idx="6">
                  <c:v>611.5573770491803</c:v>
                </c:pt>
                <c:pt idx="7">
                  <c:v>486.0487804878049</c:v>
                </c:pt>
                <c:pt idx="8">
                  <c:v>5526.197802197802</c:v>
                </c:pt>
                <c:pt idx="9">
                  <c:v>10084.61052631579</c:v>
                </c:pt>
                <c:pt idx="10">
                  <c:v>3883.3764705882354</c:v>
                </c:pt>
                <c:pt idx="11">
                  <c:v>989.6666666666666</c:v>
                </c:pt>
              </c:numCache>
            </c:numRef>
          </c:yVal>
          <c:bubbleSize>
            <c:numRef>
              <c:f>Sheet1!$C$2:$C$13</c:f>
              <c:numCache>
                <c:formatCode>General</c:formatCode>
                <c:ptCount val="12"/>
                <c:pt idx="0">
                  <c:v>730494.22</c:v>
                </c:pt>
                <c:pt idx="1">
                  <c:v>12435.3884</c:v>
                </c:pt>
                <c:pt idx="2">
                  <c:v>733678.5325999999</c:v>
                </c:pt>
                <c:pt idx="3">
                  <c:v>199793.7276</c:v>
                </c:pt>
                <c:pt idx="4">
                  <c:v>44525.3437</c:v>
                </c:pt>
                <c:pt idx="5">
                  <c:v>7309.838999999999</c:v>
                </c:pt>
                <c:pt idx="6">
                  <c:v>16035.281699999998</c:v>
                </c:pt>
                <c:pt idx="7">
                  <c:v>8438.853000000001</c:v>
                </c:pt>
                <c:pt idx="8">
                  <c:v>306494.22589999996</c:v>
                </c:pt>
                <c:pt idx="9">
                  <c:v>588623.4519</c:v>
                </c:pt>
                <c:pt idx="10">
                  <c:v>188241.61899999998</c:v>
                </c:pt>
                <c:pt idx="11">
                  <c:v>1513.6466000000003</c:v>
                </c:pt>
              </c:numCache>
            </c:numRef>
          </c:bubbleSize>
          <c:bubble3D val="0"/>
          <c:extLst>
            <c:ext xmlns:c15="http://schemas.microsoft.com/office/drawing/2012/chart" uri="{02D57815-91ED-43cb-92C2-25804820EDAC}">
              <c15:datalabelsRange>
                <c15:f>Sheet1!$E$2:$E$21</c15:f>
                <c15:dlblRangeCache>
                  <c:ptCount val="20"/>
                  <c:pt idx="0">
                    <c:v>MBY Original 12p</c:v>
                  </c:pt>
                  <c:pt idx="1">
                    <c:v>MBY Original 18p</c:v>
                  </c:pt>
                  <c:pt idx="2">
                    <c:v>MBY Original 6p</c:v>
                  </c:pt>
                  <c:pt idx="3">
                    <c:v>MBY Variety 12p</c:v>
                  </c:pt>
                  <c:pt idx="4">
                    <c:v>MBY Variety 18p</c:v>
                  </c:pt>
                  <c:pt idx="5">
                    <c:v>MBY Light 12p</c:v>
                  </c:pt>
                  <c:pt idx="6">
                    <c:v>MBY Light 6p</c:v>
                  </c:pt>
                  <c:pt idx="7">
                    <c:v>MBY Gouda 6p</c:v>
                  </c:pt>
                  <c:pt idx="8">
                    <c:v>MBY Swiss 6p</c:v>
                  </c:pt>
                  <c:pt idx="9">
                    <c:v>MBY Cheddar 6p</c:v>
                  </c:pt>
                  <c:pt idx="10">
                    <c:v>MBY Mini Roll</c:v>
                  </c:pt>
                  <c:pt idx="11">
                    <c:v>MBY 2Go</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4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0E9CEC0F-CD14-4F62-80A4-BA27C7A15D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369FF6D3-3FBA-42FB-B0B7-6C56894D5EA6}"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23ADE027-BF2D-41A5-822A-E9CA4B44C269}"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021882E8-63C9-4EBE-8444-52D68E77BC1C}"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D1D37768-F60F-4965-BEE4-F62AC5B385F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7B69AE87-D8D6-4F1D-BF2A-A6EEE3990E9A}"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2C981351-CA28-4A1F-B77B-355C4FB8D8FF}"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985CC451-7DAB-462C-A4F5-8D7DD33007B6}"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872C93F9-A2C7-46AF-B7C7-5D234F9EFE57}"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4FFE0691-B340-48CD-80E9-A136EC15007D}"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3</c:f>
              <c:numCache>
                <c:formatCode>General</c:formatCode>
                <c:ptCount val="2"/>
                <c:pt idx="0">
                  <c:v>0.56</c:v>
                </c:pt>
                <c:pt idx="1">
                  <c:v>0.27</c:v>
                </c:pt>
              </c:numCache>
            </c:numRef>
          </c:xVal>
          <c:yVal>
            <c:numRef>
              <c:f>Sheet1!$B$2:$B$3</c:f>
              <c:numCache>
                <c:formatCode>General</c:formatCode>
                <c:ptCount val="2"/>
                <c:pt idx="0">
                  <c:v>6336.732142857142</c:v>
                </c:pt>
                <c:pt idx="1">
                  <c:v>4204.222222222223</c:v>
                </c:pt>
              </c:numCache>
            </c:numRef>
          </c:yVal>
          <c:bubbleSize>
            <c:numRef>
              <c:f>Sheet1!$C$2:$C$3</c:f>
              <c:numCache>
                <c:formatCode>General</c:formatCode>
                <c:ptCount val="2"/>
                <c:pt idx="0">
                  <c:v>178439.9606</c:v>
                </c:pt>
                <c:pt idx="1">
                  <c:v>61878.7852</c:v>
                </c:pt>
              </c:numCache>
            </c:numRef>
          </c:bubbleSize>
          <c:bubble3D val="0"/>
          <c:extLst>
            <c:ext xmlns:c15="http://schemas.microsoft.com/office/drawing/2012/chart" uri="{02D57815-91ED-43cb-92C2-25804820EDAC}">
              <c15:datalabelsRange>
                <c15:f>Sheet1!$E$2:$E$21</c15:f>
                <c15:dlblRangeCache>
                  <c:ptCount val="20"/>
                  <c:pt idx="0">
                    <c:v>MBY Original 12p</c:v>
                  </c:pt>
                  <c:pt idx="1">
                    <c:v>MBY Original 18p</c:v>
                  </c:pt>
                  <c:pt idx="2">
                    <c:v>MBY Original 6p</c:v>
                  </c:pt>
                  <c:pt idx="3">
                    <c:v>MBY Variety 12p</c:v>
                  </c:pt>
                  <c:pt idx="4">
                    <c:v>MBY Variety 18p</c:v>
                  </c:pt>
                  <c:pt idx="5">
                    <c:v>MBY Light 12p</c:v>
                  </c:pt>
                  <c:pt idx="6">
                    <c:v>MBY Light 6p</c:v>
                  </c:pt>
                  <c:pt idx="7">
                    <c:v>MBY Gouda 6p</c:v>
                  </c:pt>
                  <c:pt idx="8">
                    <c:v>MBY Swiss 6p</c:v>
                  </c:pt>
                  <c:pt idx="9">
                    <c:v>MBY Cheddar 6p</c:v>
                  </c:pt>
                  <c:pt idx="10">
                    <c:v>MBY Mini Roll</c:v>
                  </c:pt>
                  <c:pt idx="11">
                    <c:v>MBY 2Go</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St Moret</c:v>
                </c:pt>
                <c:pt idx="1">
                  <c:v>Private Label</c:v>
                </c:pt>
                <c:pt idx="2">
                  <c:v>Boursin</c:v>
                </c:pt>
                <c:pt idx="3">
                  <c:v>Paysan Breton</c:v>
                </c:pt>
                <c:pt idx="4">
                  <c:v>Tartare</c:v>
                </c:pt>
                <c:pt idx="5">
                  <c:v>Carre Frais</c:v>
                </c:pt>
                <c:pt idx="6">
                  <c:v>Philadelphia</c:v>
                </c:pt>
                <c:pt idx="7">
                  <c:v>Kiri</c:v>
                </c:pt>
                <c:pt idx="8">
                  <c:v>Others</c:v>
                </c:pt>
              </c:strCache>
            </c:strRef>
          </c:cat>
          <c:val>
            <c:numRef>
              <c:f>Sheet1!$B$2:$B$10</c:f>
              <c:numCache>
                <c:formatCode>General</c:formatCode>
                <c:ptCount val="9"/>
                <c:pt idx="0">
                  <c:v>0.2981173145843989</c:v>
                </c:pt>
                <c:pt idx="1">
                  <c:v>0.18975119179049496</c:v>
                </c:pt>
                <c:pt idx="2">
                  <c:v>0.1473190227246801</c:v>
                </c:pt>
                <c:pt idx="3">
                  <c:v>0.11791567917474424</c:v>
                </c:pt>
                <c:pt idx="4">
                  <c:v>0.10299041721685419</c:v>
                </c:pt>
                <c:pt idx="5">
                  <c:v>0.06995874440993158</c:v>
                </c:pt>
                <c:pt idx="6">
                  <c:v>0.05567960493460144</c:v>
                </c:pt>
                <c:pt idx="7">
                  <c:v>0.005937882353650119</c:v>
                </c:pt>
                <c:pt idx="8">
                  <c:v>0.012330142810644516</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St Moret</c:v>
                </c:pt>
                <c:pt idx="1">
                  <c:v>Private Label</c:v>
                </c:pt>
                <c:pt idx="2">
                  <c:v>Boursin</c:v>
                </c:pt>
                <c:pt idx="3">
                  <c:v>Paysan Breton</c:v>
                </c:pt>
                <c:pt idx="4">
                  <c:v>Tartare</c:v>
                </c:pt>
                <c:pt idx="5">
                  <c:v>Carre Frais</c:v>
                </c:pt>
                <c:pt idx="6">
                  <c:v>Philadelphia</c:v>
                </c:pt>
                <c:pt idx="7">
                  <c:v>Kiri</c:v>
                </c:pt>
                <c:pt idx="8">
                  <c:v>Others</c:v>
                </c:pt>
              </c:strCache>
            </c:strRef>
          </c:cat>
          <c:val>
            <c:numRef>
              <c:f>Sheet1!$C$2:$C$10</c:f>
              <c:numCache>
                <c:formatCode>General</c:formatCode>
                <c:ptCount val="9"/>
                <c:pt idx="0">
                  <c:v>0.16875340228633645</c:v>
                </c:pt>
                <c:pt idx="1">
                  <c:v>0.15868263473053895</c:v>
                </c:pt>
                <c:pt idx="2">
                  <c:v>0.2272727272727273</c:v>
                </c:pt>
                <c:pt idx="3">
                  <c:v>0.10152422427871531</c:v>
                </c:pt>
                <c:pt idx="4">
                  <c:v>0.15269461077844315</c:v>
                </c:pt>
                <c:pt idx="5">
                  <c:v>0.05824714207947742</c:v>
                </c:pt>
                <c:pt idx="6">
                  <c:v>0.0432770821992379</c:v>
                </c:pt>
                <c:pt idx="7">
                  <c:v>0.025857376156777356</c:v>
                </c:pt>
                <c:pt idx="8">
                  <c:v>0.06369080021774634</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St Moret</c:v>
                </c:pt>
                <c:pt idx="1">
                  <c:v>Private Label</c:v>
                </c:pt>
                <c:pt idx="2">
                  <c:v>Boursin</c:v>
                </c:pt>
                <c:pt idx="3">
                  <c:v>Paysan Breton</c:v>
                </c:pt>
                <c:pt idx="4">
                  <c:v>Tartare</c:v>
                </c:pt>
                <c:pt idx="5">
                  <c:v>Carre Frais</c:v>
                </c:pt>
                <c:pt idx="6">
                  <c:v>Philadelphia</c:v>
                </c:pt>
                <c:pt idx="7">
                  <c:v>Kiri</c:v>
                </c:pt>
                <c:pt idx="8">
                  <c:v>Others</c:v>
                </c:pt>
              </c:strCache>
            </c:strRef>
          </c:cat>
          <c:val>
            <c:numRef>
              <c:f>Sheet1!$D$2:$D$10</c:f>
              <c:numCache>
                <c:formatCode>General</c:formatCode>
                <c:ptCount val="9"/>
                <c:pt idx="0">
                  <c:v>56.606374078470814</c:v>
                </c:pt>
                <c:pt idx="1">
                  <c:v>83.62668673287759</c:v>
                </c:pt>
                <c:pt idx="2">
                  <c:v>154.27249181354549</c:v>
                </c:pt>
                <c:pt idx="3">
                  <c:v>86.09900310904563</c:v>
                </c:pt>
                <c:pt idx="4">
                  <c:v>148.2609886480341</c:v>
                </c:pt>
                <c:pt idx="5">
                  <c:v>83.25927311984242</c:v>
                </c:pt>
                <c:pt idx="6">
                  <c:v>77.72519623669935</c:v>
                </c:pt>
                <c:pt idx="7">
                  <c:v>435.464608706543</c:v>
                </c:pt>
                <c:pt idx="8">
                  <c:v>516.5455193492371</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E728D95B-465E-464D-B885-AE63538C1140}"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B9A3B841-5232-4E5C-9693-50F92FCC053D}"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41230CC9-96FA-4238-8521-06437305DE6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D5EBA2B1-9C04-40E4-A4B3-E91D2EE0FD22}"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B1C9AE67-35E4-4DF8-8020-A5DFF447E53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B656CEAF-8C2E-4E6D-B9B7-62B97BE15607}"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DE595AE7-C23D-4E2A-A0FD-0F0E168EC8EF}"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32BEA5AA-7EFA-42E8-8EA7-D5BF77901DE4}"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2B163AC1-7FFB-4121-A7E4-E4CE10FDFCBB}"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83997DDC-580D-4B3B-8F41-10C6B6603EE6}"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7</c:f>
              <c:numCache>
                <c:formatCode>General</c:formatCode>
                <c:ptCount val="6"/>
                <c:pt idx="0">
                  <c:v>0.53</c:v>
                </c:pt>
                <c:pt idx="1">
                  <c:v>0.83</c:v>
                </c:pt>
                <c:pt idx="2">
                  <c:v>0.08</c:v>
                </c:pt>
                <c:pt idx="3">
                  <c:v>0.1</c:v>
                </c:pt>
                <c:pt idx="4">
                  <c:v>0.11</c:v>
                </c:pt>
                <c:pt idx="5">
                  <c:v>0.12</c:v>
                </c:pt>
              </c:numCache>
            </c:numRef>
          </c:xVal>
          <c:yVal>
            <c:numRef>
              <c:f>Sheet1!$B$2:$B$7</c:f>
              <c:numCache>
                <c:formatCode>General</c:formatCode>
                <c:ptCount val="6"/>
                <c:pt idx="0">
                  <c:v>13191.32075471698</c:v>
                </c:pt>
                <c:pt idx="1">
                  <c:v>15938.253012048193</c:v>
                </c:pt>
                <c:pt idx="2">
                  <c:v>5998.125</c:v>
                </c:pt>
                <c:pt idx="3">
                  <c:v>456.8</c:v>
                </c:pt>
                <c:pt idx="4">
                  <c:v>1914.8181818181818</c:v>
                </c:pt>
                <c:pt idx="5">
                  <c:v>3634.8333333333335</c:v>
                </c:pt>
              </c:numCache>
            </c:numRef>
          </c:yVal>
          <c:bubbleSize>
            <c:numRef>
              <c:f>Sheet1!$C$2:$C$7</c:f>
              <c:numCache>
                <c:formatCode>General</c:formatCode>
                <c:ptCount val="6"/>
                <c:pt idx="0">
                  <c:v>403400.8740000001</c:v>
                </c:pt>
                <c:pt idx="1">
                  <c:v>717579.9723999999</c:v>
                </c:pt>
                <c:pt idx="2">
                  <c:v>23113.3438</c:v>
                </c:pt>
                <c:pt idx="3">
                  <c:v>2630.9526</c:v>
                </c:pt>
                <c:pt idx="4">
                  <c:v>11275.9124</c:v>
                </c:pt>
                <c:pt idx="5">
                  <c:v>23675.9073</c:v>
                </c:pt>
              </c:numCache>
            </c:numRef>
          </c:bubbleSize>
          <c:bubble3D val="0"/>
          <c:extLst>
            <c:ext xmlns:c15="http://schemas.microsoft.com/office/drawing/2012/chart" uri="{02D57815-91ED-43cb-92C2-25804820EDAC}">
              <c15:datalabelsRange>
                <c15:f>Sheet1!$E$2:$E$21</c15:f>
                <c15:dlblRangeCache>
                  <c:ptCount val="20"/>
                  <c:pt idx="0">
                    <c:v>MBY Original 12p</c:v>
                  </c:pt>
                  <c:pt idx="1">
                    <c:v>MBY Original 18p</c:v>
                  </c:pt>
                  <c:pt idx="2">
                    <c:v>MBY Original 6p</c:v>
                  </c:pt>
                  <c:pt idx="3">
                    <c:v>MBY Variety 12p</c:v>
                  </c:pt>
                  <c:pt idx="4">
                    <c:v>MBY Variety 18p</c:v>
                  </c:pt>
                  <c:pt idx="5">
                    <c:v>MBY Light 12p</c:v>
                  </c:pt>
                  <c:pt idx="6">
                    <c:v>MBY Light 6p</c:v>
                  </c:pt>
                  <c:pt idx="7">
                    <c:v>MBY Gouda 6p</c:v>
                  </c:pt>
                  <c:pt idx="8">
                    <c:v>MBY Swiss 6p</c:v>
                  </c:pt>
                  <c:pt idx="9">
                    <c:v>MBY Cheddar 6p</c:v>
                  </c:pt>
                  <c:pt idx="10">
                    <c:v>MBY Mini Roll</c:v>
                  </c:pt>
                  <c:pt idx="11">
                    <c:v>MBY 2Go</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4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C9256FA3-D095-40D5-BA12-F4771F38A90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D25F8590-A6AA-4944-8675-FFDCE945A2AD}"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D2CFCD17-BF56-4584-B338-CB854233462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FEE36229-FB10-4A69-94CF-C3C5CE316CC0}"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E970A2AE-6A8A-4AF0-85C2-920F0D22C1F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81DC8E4B-C540-4EB1-A4EE-CA5DF399ACF9}"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FFBD20C5-A823-4EE1-AF85-5C1B6906858A}"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3722C8B1-AC15-4C65-82DA-24E11FE5EDD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2E370230-D515-4E88-8D20-C9FAD8652CC2}"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F778E526-EE8D-4724-AF44-B80FD96CD0AF}"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4</c:f>
              <c:numCache>
                <c:formatCode>General</c:formatCode>
                <c:ptCount val="3"/>
                <c:pt idx="0">
                  <c:v>0.87</c:v>
                </c:pt>
                <c:pt idx="1">
                  <c:v>0.38</c:v>
                </c:pt>
                <c:pt idx="2">
                  <c:v>0.94</c:v>
                </c:pt>
              </c:numCache>
            </c:numRef>
          </c:xVal>
          <c:yVal>
            <c:numRef>
              <c:f>Sheet1!$B$2:$B$4</c:f>
              <c:numCache>
                <c:formatCode>General</c:formatCode>
                <c:ptCount val="3"/>
                <c:pt idx="0">
                  <c:v>4455.919540229885</c:v>
                </c:pt>
                <c:pt idx="1">
                  <c:v>372.55263157894734</c:v>
                </c:pt>
                <c:pt idx="2">
                  <c:v>2162.531914893617</c:v>
                </c:pt>
              </c:numCache>
            </c:numRef>
          </c:yVal>
          <c:bubbleSize>
            <c:numRef>
              <c:f>Sheet1!$C$2:$C$4</c:f>
              <c:numCache>
                <c:formatCode>General</c:formatCode>
                <c:ptCount val="3"/>
                <c:pt idx="0">
                  <c:v>199191.6838</c:v>
                </c:pt>
                <c:pt idx="1">
                  <c:v>6682.76</c:v>
                </c:pt>
                <c:pt idx="2">
                  <c:v>115246.484</c:v>
                </c:pt>
              </c:numCache>
            </c:numRef>
          </c:bubbleSize>
          <c:bubble3D val="0"/>
          <c:extLst>
            <c:ext xmlns:c15="http://schemas.microsoft.com/office/drawing/2012/chart" uri="{02D57815-91ED-43cb-92C2-25804820EDAC}">
              <c15:datalabelsRange>
                <c15:f>Sheet1!$E$2:$E$21</c15:f>
                <c15:dlblRangeCache>
                  <c:ptCount val="20"/>
                  <c:pt idx="0">
                    <c:v>MBY Original 12p</c:v>
                  </c:pt>
                  <c:pt idx="1">
                    <c:v>MBY Original 18p</c:v>
                  </c:pt>
                  <c:pt idx="2">
                    <c:v>MBY Original 6p</c:v>
                  </c:pt>
                  <c:pt idx="3">
                    <c:v>MBY Variety 12p</c:v>
                  </c:pt>
                  <c:pt idx="4">
                    <c:v>MBY Variety 18p</c:v>
                  </c:pt>
                  <c:pt idx="5">
                    <c:v>MBY Light 12p</c:v>
                  </c:pt>
                  <c:pt idx="6">
                    <c:v>MBY Light 6p</c:v>
                  </c:pt>
                  <c:pt idx="7">
                    <c:v>MBY Gouda 6p</c:v>
                  </c:pt>
                  <c:pt idx="8">
                    <c:v>MBY Swiss 6p</c:v>
                  </c:pt>
                  <c:pt idx="9">
                    <c:v>MBY Cheddar 6p</c:v>
                  </c:pt>
                  <c:pt idx="10">
                    <c:v>MBY Mini Roll</c:v>
                  </c:pt>
                  <c:pt idx="11">
                    <c:v>MBY 2Go</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4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F9C077B7-43D9-4995-8479-DB769BA34C4E}"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735520C7-E543-428D-A425-8DB24A4B4822}"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50E69C67-1A62-4035-BEDD-124DABBC98DF}"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E2E6FC30-742E-4AF2-BE86-6438CCD9CB8E}"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1A7AB361-3FC9-4564-B29F-8B6E4ED5DEB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447D0053-D8E1-4BC4-AAA7-F6B88BCD125F}"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9D364ECF-32DF-425B-B5E5-0F3172200E78}"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A259E78E-D7F3-4D8F-AAD1-07F3CA003CD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B5D0F78E-C9DB-4262-BA79-FD7BE35AC8E9}"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733BACCB-83B9-4251-9F95-CCE440E6015A}"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3</c:f>
              <c:numCache>
                <c:formatCode>General</c:formatCode>
                <c:ptCount val="12"/>
                <c:pt idx="0">
                  <c:v>0.99</c:v>
                </c:pt>
                <c:pt idx="1">
                  <c:v>1.0</c:v>
                </c:pt>
                <c:pt idx="2">
                  <c:v>0.99</c:v>
                </c:pt>
                <c:pt idx="3">
                  <c:v>0.99</c:v>
                </c:pt>
                <c:pt idx="4">
                  <c:v>0.7</c:v>
                </c:pt>
                <c:pt idx="5">
                  <c:v>0.29</c:v>
                </c:pt>
                <c:pt idx="6">
                  <c:v>0.96</c:v>
                </c:pt>
                <c:pt idx="7">
                  <c:v>0.99</c:v>
                </c:pt>
                <c:pt idx="8">
                  <c:v>0.87</c:v>
                </c:pt>
                <c:pt idx="9">
                  <c:v>0.97</c:v>
                </c:pt>
                <c:pt idx="10">
                  <c:v>0.83</c:v>
                </c:pt>
                <c:pt idx="11">
                  <c:v>0.96</c:v>
                </c:pt>
              </c:numCache>
            </c:numRef>
          </c:xVal>
          <c:yVal>
            <c:numRef>
              <c:f>Sheet1!$B$2:$B$13</c:f>
              <c:numCache>
                <c:formatCode>General</c:formatCode>
                <c:ptCount val="12"/>
                <c:pt idx="0">
                  <c:v>20176.727272727272</c:v>
                </c:pt>
                <c:pt idx="1">
                  <c:v>17911.57</c:v>
                </c:pt>
                <c:pt idx="2">
                  <c:v>6243.686868686868</c:v>
                </c:pt>
                <c:pt idx="3">
                  <c:v>7410.282828282829</c:v>
                </c:pt>
                <c:pt idx="4">
                  <c:v>464.8142857142857</c:v>
                </c:pt>
                <c:pt idx="5">
                  <c:v>2016.586206896552</c:v>
                </c:pt>
                <c:pt idx="6">
                  <c:v>8247.145833333334</c:v>
                </c:pt>
                <c:pt idx="7">
                  <c:v>20997.565656565657</c:v>
                </c:pt>
                <c:pt idx="8">
                  <c:v>6186.218390804598</c:v>
                </c:pt>
                <c:pt idx="9">
                  <c:v>8871.60824742268</c:v>
                </c:pt>
                <c:pt idx="10">
                  <c:v>4356.843373493976</c:v>
                </c:pt>
                <c:pt idx="11">
                  <c:v>5263.666666666667</c:v>
                </c:pt>
              </c:numCache>
            </c:numRef>
          </c:yVal>
          <c:bubbleSize>
            <c:numRef>
              <c:f>Sheet1!$C$2:$C$13</c:f>
              <c:numCache>
                <c:formatCode>General</c:formatCode>
                <c:ptCount val="12"/>
                <c:pt idx="0">
                  <c:v>1229378.2704</c:v>
                </c:pt>
                <c:pt idx="1">
                  <c:v>1102724.8402</c:v>
                </c:pt>
                <c:pt idx="2">
                  <c:v>340046.8445</c:v>
                </c:pt>
                <c:pt idx="3">
                  <c:v>421246.15119999996</c:v>
                </c:pt>
                <c:pt idx="4">
                  <c:v>14702.586299999999</c:v>
                </c:pt>
                <c:pt idx="5">
                  <c:v>33307.8298</c:v>
                </c:pt>
                <c:pt idx="6">
                  <c:v>449521.4904999999</c:v>
                </c:pt>
                <c:pt idx="7">
                  <c:v>1242709.427</c:v>
                </c:pt>
                <c:pt idx="8">
                  <c:v>302695.39999999997</c:v>
                </c:pt>
                <c:pt idx="9">
                  <c:v>422865.65939999995</c:v>
                </c:pt>
                <c:pt idx="10">
                  <c:v>191507.8531</c:v>
                </c:pt>
                <c:pt idx="11">
                  <c:v>295907.8751</c:v>
                </c:pt>
              </c:numCache>
            </c:numRef>
          </c:bubbleSize>
          <c:bubble3D val="0"/>
          <c:extLst>
            <c:ext xmlns:c15="http://schemas.microsoft.com/office/drawing/2012/chart" uri="{02D57815-91ED-43cb-92C2-25804820EDAC}">
              <c15:datalabelsRange>
                <c15:f>Sheet1!$E$2:$E$21</c15:f>
                <c15:dlblRangeCache>
                  <c:ptCount val="20"/>
                  <c:pt idx="0">
                    <c:v>MBY Original 12p</c:v>
                  </c:pt>
                  <c:pt idx="1">
                    <c:v>MBY Original 18p</c:v>
                  </c:pt>
                  <c:pt idx="2">
                    <c:v>MBY Original 6p</c:v>
                  </c:pt>
                  <c:pt idx="3">
                    <c:v>MBY Variety 12p</c:v>
                  </c:pt>
                  <c:pt idx="4">
                    <c:v>MBY Variety 18p</c:v>
                  </c:pt>
                  <c:pt idx="5">
                    <c:v>MBY Light 12p</c:v>
                  </c:pt>
                  <c:pt idx="6">
                    <c:v>MBY Light 6p</c:v>
                  </c:pt>
                  <c:pt idx="7">
                    <c:v>MBY Gouda 6p</c:v>
                  </c:pt>
                  <c:pt idx="8">
                    <c:v>MBY Swiss 6p</c:v>
                  </c:pt>
                  <c:pt idx="9">
                    <c:v>MBY Cheddar 6p</c:v>
                  </c:pt>
                  <c:pt idx="10">
                    <c:v>MBY Mini Roll</c:v>
                  </c:pt>
                  <c:pt idx="11">
                    <c:v>MBY 2Go</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4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38EFF371-6643-4275-8C6E-93D3D48117FD}"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58EFD45D-164C-4323-95DE-81A38E00B5BC}"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4D4EE57D-F1BC-4078-BA02-515D8DE3354E}"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53783EA1-2721-4900-82C1-1538402025A9}"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334C515F-0F79-42FD-8FEA-89352D507EE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C5111B39-FACB-4469-A6E0-44067BD93A56}"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72D1A4AF-B924-4FE5-A733-65C456C5F7BD}"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3D55D6DB-F764-490F-89FC-BF229E314D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6475B872-3FE9-43DB-873A-CD2E8D9B3E79}"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786D499F-C359-4CF8-9786-A45818499D8D}"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4</c:f>
              <c:numCache>
                <c:formatCode>General</c:formatCode>
                <c:ptCount val="3"/>
                <c:pt idx="0">
                  <c:v>0.99</c:v>
                </c:pt>
                <c:pt idx="1">
                  <c:v>0.64</c:v>
                </c:pt>
                <c:pt idx="2">
                  <c:v>0.98</c:v>
                </c:pt>
              </c:numCache>
            </c:numRef>
          </c:xVal>
          <c:yVal>
            <c:numRef>
              <c:f>Sheet1!$B$2:$B$4</c:f>
              <c:numCache>
                <c:formatCode>General</c:formatCode>
                <c:ptCount val="3"/>
                <c:pt idx="0">
                  <c:v>772.4949494949495</c:v>
                </c:pt>
                <c:pt idx="1">
                  <c:v>58.203125</c:v>
                </c:pt>
                <c:pt idx="2">
                  <c:v>474.734693877551</c:v>
                </c:pt>
              </c:numCache>
            </c:numRef>
          </c:yVal>
          <c:bubbleSize>
            <c:numRef>
              <c:f>Sheet1!$C$2:$C$4</c:f>
              <c:numCache>
                <c:formatCode>General</c:formatCode>
                <c:ptCount val="3"/>
                <c:pt idx="0">
                  <c:v>40602.4251</c:v>
                </c:pt>
                <c:pt idx="1">
                  <c:v>1807.5120000000002</c:v>
                </c:pt>
                <c:pt idx="2">
                  <c:v>23688.715</c:v>
                </c:pt>
              </c:numCache>
            </c:numRef>
          </c:bubbleSize>
          <c:bubble3D val="0"/>
          <c:extLst>
            <c:ext xmlns:c15="http://schemas.microsoft.com/office/drawing/2012/chart" uri="{02D57815-91ED-43cb-92C2-25804820EDAC}">
              <c15:datalabelsRange>
                <c15:f>Sheet1!$E$2:$E$21</c15:f>
                <c15:dlblRangeCache>
                  <c:ptCount val="20"/>
                  <c:pt idx="0">
                    <c:v>MBY Original 12p</c:v>
                  </c:pt>
                  <c:pt idx="1">
                    <c:v>MBY Original 18p</c:v>
                  </c:pt>
                  <c:pt idx="2">
                    <c:v>MBY Original 6p</c:v>
                  </c:pt>
                  <c:pt idx="3">
                    <c:v>MBY Variety 12p</c:v>
                  </c:pt>
                  <c:pt idx="4">
                    <c:v>MBY Variety 18p</c:v>
                  </c:pt>
                  <c:pt idx="5">
                    <c:v>MBY Light 12p</c:v>
                  </c:pt>
                  <c:pt idx="6">
                    <c:v>MBY Light 6p</c:v>
                  </c:pt>
                  <c:pt idx="7">
                    <c:v>MBY Gouda 6p</c:v>
                  </c:pt>
                  <c:pt idx="8">
                    <c:v>MBY Swiss 6p</c:v>
                  </c:pt>
                  <c:pt idx="9">
                    <c:v>MBY Cheddar 6p</c:v>
                  </c:pt>
                  <c:pt idx="10">
                    <c:v>MBY Mini Roll</c:v>
                  </c:pt>
                  <c:pt idx="11">
                    <c:v>MBY 2Go</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4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3E253D07-FAD8-420F-9FE6-FE43D0F9EB4A}"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7188C560-943C-4E7A-8A34-4D9EB2CC4E5E}"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30C14A89-F266-45BF-A8A1-415AFEDFA620}"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786A1ACA-9E04-4745-8DAF-2CB493D1540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A64308C1-5C65-4510-AF05-0DA2D8C3389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9515B252-BB1F-4E24-BAD9-9541EB00A1C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765BE66E-F48B-410F-8519-3C45EAD708B9}"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74A09713-5ECF-4AED-B120-2DE097447970}"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46DEEACA-1C20-4313-B42D-7CC5751D01CC}"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C6924D71-268B-46B5-909C-E69EA3A91B7E}"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3</c:f>
              <c:numCache>
                <c:formatCode>General</c:formatCode>
                <c:ptCount val="12"/>
                <c:pt idx="0">
                  <c:v>1.0</c:v>
                </c:pt>
                <c:pt idx="1">
                  <c:v>1.0</c:v>
                </c:pt>
                <c:pt idx="2">
                  <c:v>1.0</c:v>
                </c:pt>
                <c:pt idx="3">
                  <c:v>1.0</c:v>
                </c:pt>
                <c:pt idx="4">
                  <c:v>0.92</c:v>
                </c:pt>
                <c:pt idx="5">
                  <c:v>0.7</c:v>
                </c:pt>
                <c:pt idx="6">
                  <c:v>0.99</c:v>
                </c:pt>
                <c:pt idx="7">
                  <c:v>1.0</c:v>
                </c:pt>
                <c:pt idx="8">
                  <c:v>0.99</c:v>
                </c:pt>
                <c:pt idx="9">
                  <c:v>0.99</c:v>
                </c:pt>
                <c:pt idx="10">
                  <c:v>0.98</c:v>
                </c:pt>
                <c:pt idx="11">
                  <c:v>0.99</c:v>
                </c:pt>
              </c:numCache>
            </c:numRef>
          </c:xVal>
          <c:yVal>
            <c:numRef>
              <c:f>Sheet1!$B$2:$B$13</c:f>
              <c:numCache>
                <c:formatCode>General</c:formatCode>
                <c:ptCount val="12"/>
                <c:pt idx="0">
                  <c:v>3513.05</c:v>
                </c:pt>
                <c:pt idx="1">
                  <c:v>3000.58</c:v>
                </c:pt>
                <c:pt idx="2">
                  <c:v>982.89</c:v>
                </c:pt>
                <c:pt idx="3">
                  <c:v>1156.58</c:v>
                </c:pt>
                <c:pt idx="4">
                  <c:v>85.19565217391305</c:v>
                </c:pt>
                <c:pt idx="5">
                  <c:v>306.57142857142856</c:v>
                </c:pt>
                <c:pt idx="6">
                  <c:v>1363.8080808080808</c:v>
                </c:pt>
                <c:pt idx="7">
                  <c:v>4098.92</c:v>
                </c:pt>
                <c:pt idx="8">
                  <c:v>1431.0707070707072</c:v>
                </c:pt>
                <c:pt idx="9">
                  <c:v>1389.5656565656566</c:v>
                </c:pt>
                <c:pt idx="10">
                  <c:v>744.8673469387755</c:v>
                </c:pt>
                <c:pt idx="11">
                  <c:v>888.8282828282828</c:v>
                </c:pt>
              </c:numCache>
            </c:numRef>
          </c:yVal>
          <c:bubbleSize>
            <c:numRef>
              <c:f>Sheet1!$C$2:$C$13</c:f>
              <c:numCache>
                <c:formatCode>General</c:formatCode>
                <c:ptCount val="12"/>
                <c:pt idx="0">
                  <c:v>217995.5344</c:v>
                </c:pt>
                <c:pt idx="1">
                  <c:v>183944.61229999998</c:v>
                </c:pt>
                <c:pt idx="2">
                  <c:v>54583.746999999996</c:v>
                </c:pt>
                <c:pt idx="3">
                  <c:v>67138.9672</c:v>
                </c:pt>
                <c:pt idx="4">
                  <c:v>3133.9797</c:v>
                </c:pt>
                <c:pt idx="5">
                  <c:v>12632.8769</c:v>
                </c:pt>
                <c:pt idx="6">
                  <c:v>78814.35209999999</c:v>
                </c:pt>
                <c:pt idx="7">
                  <c:v>244236.8179</c:v>
                </c:pt>
                <c:pt idx="8">
                  <c:v>79625.80200000001</c:v>
                </c:pt>
                <c:pt idx="9">
                  <c:v>69631.62839999999</c:v>
                </c:pt>
                <c:pt idx="10">
                  <c:v>39937.712700000004</c:v>
                </c:pt>
                <c:pt idx="11">
                  <c:v>52391.7181</c:v>
                </c:pt>
              </c:numCache>
            </c:numRef>
          </c:bubbleSize>
          <c:bubble3D val="0"/>
          <c:extLst>
            <c:ext xmlns:c15="http://schemas.microsoft.com/office/drawing/2012/chart" uri="{02D57815-91ED-43cb-92C2-25804820EDAC}">
              <c15:datalabelsRange>
                <c15:f>Sheet1!$E$2:$E$21</c15:f>
                <c15:dlblRangeCache>
                  <c:ptCount val="20"/>
                  <c:pt idx="0">
                    <c:v>MBY Original 12p</c:v>
                  </c:pt>
                  <c:pt idx="1">
                    <c:v>MBY Original 18p</c:v>
                  </c:pt>
                  <c:pt idx="2">
                    <c:v>MBY Original 6p</c:v>
                  </c:pt>
                  <c:pt idx="3">
                    <c:v>MBY Variety 12p</c:v>
                  </c:pt>
                  <c:pt idx="4">
                    <c:v>MBY Variety 18p</c:v>
                  </c:pt>
                  <c:pt idx="5">
                    <c:v>MBY Light 12p</c:v>
                  </c:pt>
                  <c:pt idx="6">
                    <c:v>MBY Light 6p</c:v>
                  </c:pt>
                  <c:pt idx="7">
                    <c:v>MBY Gouda 6p</c:v>
                  </c:pt>
                  <c:pt idx="8">
                    <c:v>MBY Swiss 6p</c:v>
                  </c:pt>
                  <c:pt idx="9">
                    <c:v>MBY Cheddar 6p</c:v>
                  </c:pt>
                  <c:pt idx="10">
                    <c:v>MBY Mini Roll</c:v>
                  </c:pt>
                  <c:pt idx="11">
                    <c:v>MBY 2Go</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4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F646E7C5-74C9-49BA-80F1-63167401403A}"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152B3B88-293C-44BB-B87E-246FAE7AC13A}"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A5271699-6DF9-4217-AEAF-DBF04FC03648}"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F6EDDD73-0791-4DD7-A7AE-8B167933F5D4}"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0A3F0FF3-5EE3-4422-ACDB-B735CC2C9BE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FF0363A2-CC98-4710-9F79-E1F869638764}"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FEA91FF6-B142-460F-9769-D9F9F61C505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CAA0974A-704F-4941-BA55-A1ECD94CA8D2}"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69D2313D-5E3D-488C-9BBD-882E2C19A5D6}"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4E2ABC4B-1DE8-40C3-AFDA-0D76075EDA66}"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3</c:f>
              <c:numCache>
                <c:formatCode>General</c:formatCode>
                <c:ptCount val="2"/>
                <c:pt idx="0">
                  <c:v>0.44</c:v>
                </c:pt>
                <c:pt idx="1">
                  <c:v>0.5</c:v>
                </c:pt>
              </c:numCache>
            </c:numRef>
          </c:xVal>
          <c:yVal>
            <c:numRef>
              <c:f>Sheet1!$B$2:$B$3</c:f>
              <c:numCache>
                <c:formatCode>General</c:formatCode>
                <c:ptCount val="2"/>
                <c:pt idx="0">
                  <c:v>1130.9545454545455</c:v>
                </c:pt>
                <c:pt idx="1">
                  <c:v>423.2</c:v>
                </c:pt>
              </c:numCache>
            </c:numRef>
          </c:yVal>
          <c:bubbleSize>
            <c:numRef>
              <c:f>Sheet1!$C$2:$C$3</c:f>
              <c:numCache>
                <c:formatCode>General</c:formatCode>
                <c:ptCount val="2"/>
                <c:pt idx="0">
                  <c:v>23568.027800000003</c:v>
                </c:pt>
                <c:pt idx="1">
                  <c:v>10215.879399999998</c:v>
                </c:pt>
              </c:numCache>
            </c:numRef>
          </c:bubbleSize>
          <c:bubble3D val="0"/>
          <c:extLst>
            <c:ext xmlns:c15="http://schemas.microsoft.com/office/drawing/2012/chart" uri="{02D57815-91ED-43cb-92C2-25804820EDAC}">
              <c15:datalabelsRange>
                <c15:f>Sheet1!$E$2:$E$21</c15:f>
                <c15:dlblRangeCache>
                  <c:ptCount val="20"/>
                  <c:pt idx="0">
                    <c:v>MBY Original 12p</c:v>
                  </c:pt>
                  <c:pt idx="1">
                    <c:v>MBY Original 18p</c:v>
                  </c:pt>
                  <c:pt idx="2">
                    <c:v>MBY Original 6p</c:v>
                  </c:pt>
                  <c:pt idx="3">
                    <c:v>MBY Variety 12p</c:v>
                  </c:pt>
                  <c:pt idx="4">
                    <c:v>MBY Variety 18p</c:v>
                  </c:pt>
                  <c:pt idx="5">
                    <c:v>MBY Light 12p</c:v>
                  </c:pt>
                  <c:pt idx="6">
                    <c:v>MBY Light 6p</c:v>
                  </c:pt>
                  <c:pt idx="7">
                    <c:v>MBY Gouda 6p</c:v>
                  </c:pt>
                  <c:pt idx="8">
                    <c:v>MBY Swiss 6p</c:v>
                  </c:pt>
                  <c:pt idx="9">
                    <c:v>MBY Cheddar 6p</c:v>
                  </c:pt>
                  <c:pt idx="10">
                    <c:v>MBY Mini Roll</c:v>
                  </c:pt>
                  <c:pt idx="11">
                    <c:v>MBY 2Go</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4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C197CC17-0305-4D7B-8714-52890013F904}"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E157AB65-F8CC-4D59-812E-9AFDCD214F5A}"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07F66E55-EABA-4A3C-BC1A-D4492BD6EE69}"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58AAC162-B57F-460E-A346-B10583319DD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1F11BDA6-C56B-40ED-AC71-216FB6C17F3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057A36A8-4D93-4DBB-B3F8-02430C64414A}"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23A16F43-F6A5-4164-ADF3-05F5298D53A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DACCA15D-4E81-4F5A-9A00-427BB9681ECA}"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3CC4D55F-21D0-4C41-90F5-9C1016F9CF62}"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4FA450EC-B9ED-43B6-A4F3-2E53350DAF8B}"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3</c:f>
              <c:numCache>
                <c:formatCode>General</c:formatCode>
                <c:ptCount val="12"/>
                <c:pt idx="0">
                  <c:v>0.9</c:v>
                </c:pt>
                <c:pt idx="1">
                  <c:v>0.98</c:v>
                </c:pt>
                <c:pt idx="2">
                  <c:v>0.83</c:v>
                </c:pt>
                <c:pt idx="3">
                  <c:v>0.89</c:v>
                </c:pt>
                <c:pt idx="4">
                  <c:v>0.33</c:v>
                </c:pt>
                <c:pt idx="5">
                  <c:v>0.12</c:v>
                </c:pt>
                <c:pt idx="6">
                  <c:v>0.74</c:v>
                </c:pt>
                <c:pt idx="7">
                  <c:v>0.89</c:v>
                </c:pt>
                <c:pt idx="8">
                  <c:v>0.64</c:v>
                </c:pt>
                <c:pt idx="9">
                  <c:v>0.81</c:v>
                </c:pt>
                <c:pt idx="10">
                  <c:v>0.46</c:v>
                </c:pt>
                <c:pt idx="11">
                  <c:v>0.75</c:v>
                </c:pt>
              </c:numCache>
            </c:numRef>
          </c:xVal>
          <c:yVal>
            <c:numRef>
              <c:f>Sheet1!$B$2:$B$13</c:f>
              <c:numCache>
                <c:formatCode>General</c:formatCode>
                <c:ptCount val="12"/>
                <c:pt idx="0">
                  <c:v>3907.088888888889</c:v>
                </c:pt>
                <c:pt idx="1">
                  <c:v>3670.6632653061224</c:v>
                </c:pt>
                <c:pt idx="2">
                  <c:v>1491.433734939759</c:v>
                </c:pt>
                <c:pt idx="3">
                  <c:v>1809.314606741573</c:v>
                </c:pt>
                <c:pt idx="4">
                  <c:v>126.06060606060606</c:v>
                </c:pt>
                <c:pt idx="5">
                  <c:v>734.4166666666666</c:v>
                </c:pt>
                <c:pt idx="6">
                  <c:v>1990.4594594594594</c:v>
                </c:pt>
                <c:pt idx="7">
                  <c:v>2690.9662921348313</c:v>
                </c:pt>
                <c:pt idx="8">
                  <c:v>806.3125</c:v>
                </c:pt>
                <c:pt idx="9">
                  <c:v>2365.864197530864</c:v>
                </c:pt>
                <c:pt idx="10">
                  <c:v>756.1086956521739</c:v>
                </c:pt>
                <c:pt idx="11">
                  <c:v>1149.7733333333333</c:v>
                </c:pt>
              </c:numCache>
            </c:numRef>
          </c:yVal>
          <c:bubbleSize>
            <c:numRef>
              <c:f>Sheet1!$C$2:$C$13</c:f>
              <c:numCache>
                <c:formatCode>General</c:formatCode>
                <c:ptCount val="12"/>
                <c:pt idx="0">
                  <c:v>204011.4707</c:v>
                </c:pt>
                <c:pt idx="1">
                  <c:v>205291.0542</c:v>
                </c:pt>
                <c:pt idx="2">
                  <c:v>61319.443999999996</c:v>
                </c:pt>
                <c:pt idx="3">
                  <c:v>83208.5663</c:v>
                </c:pt>
                <c:pt idx="4">
                  <c:v>1546.954</c:v>
                </c:pt>
                <c:pt idx="5">
                  <c:v>4441.479</c:v>
                </c:pt>
                <c:pt idx="6">
                  <c:v>78143.92979999998</c:v>
                </c:pt>
                <c:pt idx="7">
                  <c:v>134266.816</c:v>
                </c:pt>
                <c:pt idx="8">
                  <c:v>28617.798000000003</c:v>
                </c:pt>
                <c:pt idx="9">
                  <c:v>87648.74079999999</c:v>
                </c:pt>
                <c:pt idx="10">
                  <c:v>17106.4579</c:v>
                </c:pt>
                <c:pt idx="11">
                  <c:v>45811.4927</c:v>
                </c:pt>
              </c:numCache>
            </c:numRef>
          </c:bubbleSize>
          <c:bubble3D val="0"/>
          <c:extLst>
            <c:ext xmlns:c15="http://schemas.microsoft.com/office/drawing/2012/chart" uri="{02D57815-91ED-43cb-92C2-25804820EDAC}">
              <c15:datalabelsRange>
                <c15:f>Sheet1!$E$2:$E$21</c15:f>
                <c15:dlblRangeCache>
                  <c:ptCount val="20"/>
                  <c:pt idx="0">
                    <c:v>MBY Original 12p</c:v>
                  </c:pt>
                  <c:pt idx="1">
                    <c:v>MBY Original 18p</c:v>
                  </c:pt>
                  <c:pt idx="2">
                    <c:v>MBY Original 6p</c:v>
                  </c:pt>
                  <c:pt idx="3">
                    <c:v>MBY Variety 12p</c:v>
                  </c:pt>
                  <c:pt idx="4">
                    <c:v>MBY Variety 18p</c:v>
                  </c:pt>
                  <c:pt idx="5">
                    <c:v>MBY Light 12p</c:v>
                  </c:pt>
                  <c:pt idx="6">
                    <c:v>MBY Light 6p</c:v>
                  </c:pt>
                  <c:pt idx="7">
                    <c:v>MBY Gouda 6p</c:v>
                  </c:pt>
                  <c:pt idx="8">
                    <c:v>MBY Swiss 6p</c:v>
                  </c:pt>
                  <c:pt idx="9">
                    <c:v>MBY Cheddar 6p</c:v>
                  </c:pt>
                  <c:pt idx="10">
                    <c:v>MBY Mini Roll</c:v>
                  </c:pt>
                  <c:pt idx="11">
                    <c:v>MBY 2Go</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4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A1C16DB2-723C-41DD-979C-C9F011DE778E}"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FC325074-4068-474D-98CE-51C08AB2AE67}"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ACA34CA4-2114-49D6-9E15-1D509F539462}"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5A684CC5-52BD-412A-A09C-B2F6C2F498F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255D333B-FF01-4224-9505-04D6F958727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7FCEDC0A-224A-4B8E-A496-DE33C75D2A9C}"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8D8C0430-92BB-404E-9534-747403600C6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476AB9B2-B7A5-4BB2-BAFC-64F7345D895D}"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A939B7C0-8880-4893-96CF-07332C9C1EC4}"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DF4E940B-3FCF-4DF8-81F5-B37E75213BFD}"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7</c:f>
              <c:numCache>
                <c:formatCode>General</c:formatCode>
                <c:ptCount val="6"/>
                <c:pt idx="0">
                  <c:v>0.962</c:v>
                </c:pt>
                <c:pt idx="1">
                  <c:v>0.801</c:v>
                </c:pt>
                <c:pt idx="2">
                  <c:v>0.738</c:v>
                </c:pt>
                <c:pt idx="3">
                  <c:v>0.817</c:v>
                </c:pt>
                <c:pt idx="4">
                  <c:v>0.707</c:v>
                </c:pt>
                <c:pt idx="5">
                  <c:v>0.698</c:v>
                </c:pt>
              </c:numCache>
            </c:numRef>
          </c:xVal>
          <c:yVal>
            <c:numRef>
              <c:f>Sheet1!$B$2:$B$7</c:f>
              <c:numCache>
                <c:formatCode>General</c:formatCode>
                <c:ptCount val="6"/>
                <c:pt idx="0">
                  <c:v>20726.22661122661</c:v>
                </c:pt>
                <c:pt idx="1">
                  <c:v>4221.722846441947</c:v>
                </c:pt>
                <c:pt idx="2">
                  <c:v>1752.3170731707319</c:v>
                </c:pt>
                <c:pt idx="3">
                  <c:v>5431.676866585068</c:v>
                </c:pt>
                <c:pt idx="4">
                  <c:v>2424.059405940594</c:v>
                </c:pt>
                <c:pt idx="5">
                  <c:v>1723.9541547277938</c:v>
                </c:pt>
              </c:numCache>
            </c:numRef>
          </c:yVal>
          <c:bubbleSize>
            <c:numRef>
              <c:f>Sheet1!$C$2:$C$7</c:f>
              <c:numCache>
                <c:formatCode>General</c:formatCode>
                <c:ptCount val="6"/>
                <c:pt idx="0">
                  <c:v>1138834.3723</c:v>
                </c:pt>
                <c:pt idx="1">
                  <c:v>161142.32499999995</c:v>
                </c:pt>
                <c:pt idx="2">
                  <c:v>55191.65740000001</c:v>
                </c:pt>
                <c:pt idx="3">
                  <c:v>238681.35979999995</c:v>
                </c:pt>
                <c:pt idx="4">
                  <c:v>94390.67159999999</c:v>
                </c:pt>
                <c:pt idx="5">
                  <c:v>69122.323</c:v>
                </c:pt>
              </c:numCache>
            </c:numRef>
          </c:bubbleSize>
          <c:bubble3D val="0"/>
          <c:extLst>
            <c:ext xmlns:c15="http://schemas.microsoft.com/office/drawing/2012/chart" uri="{02D57815-91ED-43cb-92C2-25804820EDAC}">
              <c15:datalabelsRange>
                <c15:f>Sheet1!$E$2:$E$21</c15:f>
                <c15:dlblRangeCache>
                  <c:ptCount val="20"/>
                  <c:pt idx="0">
                    <c:v>MBY Original 12p</c:v>
                  </c:pt>
                  <c:pt idx="1">
                    <c:v>MBY Original 18p</c:v>
                  </c:pt>
                  <c:pt idx="2">
                    <c:v>MBY Original 6p</c:v>
                  </c:pt>
                  <c:pt idx="3">
                    <c:v>MBY Variety 12p</c:v>
                  </c:pt>
                  <c:pt idx="4">
                    <c:v>MBY Variety 18p</c:v>
                  </c:pt>
                  <c:pt idx="5">
                    <c:v>MBY Light 12p</c:v>
                  </c:pt>
                  <c:pt idx="6">
                    <c:v>MBY Light 6p</c:v>
                  </c:pt>
                  <c:pt idx="7">
                    <c:v>MBY Gouda 6p</c:v>
                  </c:pt>
                  <c:pt idx="8">
                    <c:v>MBY Swiss 6p</c:v>
                  </c:pt>
                  <c:pt idx="9">
                    <c:v>MBY Cheddar 6p</c:v>
                  </c:pt>
                  <c:pt idx="10">
                    <c:v>MBY Mini Roll</c:v>
                  </c:pt>
                  <c:pt idx="11">
                    <c:v>MBY 2Go</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4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3A265BA9-98B5-4D9C-B0AF-3B9926FE6876}"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03D0FD7A-AD72-432C-8F88-FB8272CB8427}"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BD17E1CA-BD82-4301-84EC-0CD6E2556F9E}"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C1E95A22-1EBC-47B2-8CEC-594C88122154}"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03DB7746-BFB6-471B-95BB-BF825B9E301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61B79F1B-22A9-4469-AD39-5557B1E3CC49}"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8A08A9E0-E24F-4BFD-8BED-71006A409DB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5CA0CAC1-FDA1-4166-A7F8-43606D8D10CC}"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3954D712-C988-4F66-882F-AE8344DEF09B}"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451EAE9D-17CF-4B29-A0DD-1683352DD6A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7</c:f>
              <c:numCache>
                <c:formatCode>General</c:formatCode>
                <c:ptCount val="6"/>
                <c:pt idx="0">
                  <c:v>0.968</c:v>
                </c:pt>
                <c:pt idx="1">
                  <c:v>0.845</c:v>
                </c:pt>
                <c:pt idx="2">
                  <c:v>0.803</c:v>
                </c:pt>
                <c:pt idx="3">
                  <c:v>0.823</c:v>
                </c:pt>
                <c:pt idx="4">
                  <c:v>0.66</c:v>
                </c:pt>
                <c:pt idx="5">
                  <c:v>0.414</c:v>
                </c:pt>
              </c:numCache>
            </c:numRef>
          </c:xVal>
          <c:yVal>
            <c:numRef>
              <c:f>Sheet1!$B$2:$B$7</c:f>
              <c:numCache>
                <c:formatCode>General</c:formatCode>
                <c:ptCount val="6"/>
                <c:pt idx="0">
                  <c:v>11293.564049586777</c:v>
                </c:pt>
                <c:pt idx="1">
                  <c:v>2199.242603550296</c:v>
                </c:pt>
                <c:pt idx="2">
                  <c:v>1098.206724782067</c:v>
                </c:pt>
                <c:pt idx="3">
                  <c:v>3335.868772782503</c:v>
                </c:pt>
                <c:pt idx="4">
                  <c:v>1614.0757575757575</c:v>
                </c:pt>
                <c:pt idx="5">
                  <c:v>1111.304347826087</c:v>
                </c:pt>
              </c:numCache>
            </c:numRef>
          </c:yVal>
          <c:bubbleSize>
            <c:numRef>
              <c:f>Sheet1!$C$2:$C$7</c:f>
              <c:numCache>
                <c:formatCode>General</c:formatCode>
                <c:ptCount val="6"/>
                <c:pt idx="0">
                  <c:v>583488.7946</c:v>
                </c:pt>
                <c:pt idx="1">
                  <c:v>108019.20160000001</c:v>
                </c:pt>
                <c:pt idx="2">
                  <c:v>53176.0122</c:v>
                </c:pt>
                <c:pt idx="3">
                  <c:v>149306.44979999997</c:v>
                </c:pt>
                <c:pt idx="4">
                  <c:v>52600.97309999999</c:v>
                </c:pt>
                <c:pt idx="5">
                  <c:v>24854.501100000005</c:v>
                </c:pt>
              </c:numCache>
            </c:numRef>
          </c:bubbleSize>
          <c:bubble3D val="0"/>
          <c:extLst>
            <c:ext xmlns:c15="http://schemas.microsoft.com/office/drawing/2012/chart" uri="{02D57815-91ED-43cb-92C2-25804820EDAC}">
              <c15:datalabelsRange>
                <c15:f>Sheet1!$E$2:$E$21</c15:f>
                <c15:dlblRangeCache>
                  <c:ptCount val="20"/>
                  <c:pt idx="0">
                    <c:v>MBY Original 12p</c:v>
                  </c:pt>
                  <c:pt idx="1">
                    <c:v>MBY Original 18p</c:v>
                  </c:pt>
                  <c:pt idx="2">
                    <c:v>MBY Original 6p</c:v>
                  </c:pt>
                  <c:pt idx="3">
                    <c:v>MBY Variety 12p</c:v>
                  </c:pt>
                  <c:pt idx="4">
                    <c:v>MBY Variety 18p</c:v>
                  </c:pt>
                  <c:pt idx="5">
                    <c:v>MBY Light 12p</c:v>
                  </c:pt>
                  <c:pt idx="6">
                    <c:v>MBY Light 6p</c:v>
                  </c:pt>
                  <c:pt idx="7">
                    <c:v>MBY Gouda 6p</c:v>
                  </c:pt>
                  <c:pt idx="8">
                    <c:v>MBY Swiss 6p</c:v>
                  </c:pt>
                  <c:pt idx="9">
                    <c:v>MBY Cheddar 6p</c:v>
                  </c:pt>
                  <c:pt idx="10">
                    <c:v>MBY Mini Roll</c:v>
                  </c:pt>
                  <c:pt idx="11">
                    <c:v>MBY 2Go</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4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F23EC502-6365-4B3E-9D23-97E80924F23A}"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8501484C-628F-430A-9859-EEAC25A6606D}"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C56571B0-1942-48CB-9FBF-9D3CF93F0C36}"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6E02A7B9-8C09-43F3-A61F-D42D0A121EB0}"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D2B8ED16-705B-4671-8BC7-204D637DE8C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F34EB777-EEF2-4A00-8388-40797DF1AF5A}"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A6F573F3-199D-4AC1-BD50-B6D745756AFC}"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35835C46-D529-49E4-A0DE-03EEDDAE52E2}"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502C7AFF-CC2E-4338-A763-71786787A969}"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12D21777-9A94-4891-B8E2-F97FE5093DF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7</c:f>
              <c:numCache>
                <c:formatCode>General</c:formatCode>
                <c:ptCount val="6"/>
                <c:pt idx="0">
                  <c:v>1.0</c:v>
                </c:pt>
                <c:pt idx="1">
                  <c:v>1.0</c:v>
                </c:pt>
                <c:pt idx="2">
                  <c:v>0.96</c:v>
                </c:pt>
                <c:pt idx="3">
                  <c:v>1.0</c:v>
                </c:pt>
                <c:pt idx="4">
                  <c:v>0.95</c:v>
                </c:pt>
                <c:pt idx="5">
                  <c:v>0.94</c:v>
                </c:pt>
              </c:numCache>
            </c:numRef>
          </c:xVal>
          <c:yVal>
            <c:numRef>
              <c:f>Sheet1!$B$2:$B$7</c:f>
              <c:numCache>
                <c:formatCode>General</c:formatCode>
                <c:ptCount val="6"/>
                <c:pt idx="0">
                  <c:v>6542.91</c:v>
                </c:pt>
                <c:pt idx="1">
                  <c:v>1562.84</c:v>
                </c:pt>
                <c:pt idx="2">
                  <c:v>708.2708333333334</c:v>
                </c:pt>
                <c:pt idx="3">
                  <c:v>2741.89</c:v>
                </c:pt>
                <c:pt idx="4">
                  <c:v>844.6315789473684</c:v>
                </c:pt>
                <c:pt idx="5">
                  <c:v>593.8510638297872</c:v>
                </c:pt>
              </c:numCache>
            </c:numRef>
          </c:yVal>
          <c:bubbleSize>
            <c:numRef>
              <c:f>Sheet1!$C$2:$C$7</c:f>
              <c:numCache>
                <c:formatCode>General</c:formatCode>
                <c:ptCount val="6"/>
                <c:pt idx="0">
                  <c:v>401788.2896</c:v>
                </c:pt>
                <c:pt idx="1">
                  <c:v>71635.07</c:v>
                </c:pt>
                <c:pt idx="2">
                  <c:v>28003.5766</c:v>
                </c:pt>
                <c:pt idx="3">
                  <c:v>141010.1934</c:v>
                </c:pt>
                <c:pt idx="4">
                  <c:v>44570.80829999999</c:v>
                </c:pt>
                <c:pt idx="5">
                  <c:v>33173.866</c:v>
                </c:pt>
              </c:numCache>
            </c:numRef>
          </c:bubbleSize>
          <c:bubble3D val="0"/>
          <c:extLst>
            <c:ext xmlns:c15="http://schemas.microsoft.com/office/drawing/2012/chart" uri="{02D57815-91ED-43cb-92C2-25804820EDAC}">
              <c15:datalabelsRange>
                <c15:f>Sheet1!$E$2:$E$21</c15:f>
                <c15:dlblRangeCache>
                  <c:ptCount val="20"/>
                  <c:pt idx="0">
                    <c:v>MBY Original 12p</c:v>
                  </c:pt>
                  <c:pt idx="1">
                    <c:v>MBY Original 18p</c:v>
                  </c:pt>
                  <c:pt idx="2">
                    <c:v>MBY Original 6p</c:v>
                  </c:pt>
                  <c:pt idx="3">
                    <c:v>MBY Variety 12p</c:v>
                  </c:pt>
                  <c:pt idx="4">
                    <c:v>MBY Variety 18p</c:v>
                  </c:pt>
                  <c:pt idx="5">
                    <c:v>MBY Light 12p</c:v>
                  </c:pt>
                  <c:pt idx="6">
                    <c:v>MBY Light 6p</c:v>
                  </c:pt>
                  <c:pt idx="7">
                    <c:v>MBY Gouda 6p</c:v>
                  </c:pt>
                  <c:pt idx="8">
                    <c:v>MBY Swiss 6p</c:v>
                  </c:pt>
                  <c:pt idx="9">
                    <c:v>MBY Cheddar 6p</c:v>
                  </c:pt>
                  <c:pt idx="10">
                    <c:v>MBY Mini Roll</c:v>
                  </c:pt>
                  <c:pt idx="11">
                    <c:v>MBY 2Go</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Private Label</c:v>
                </c:pt>
                <c:pt idx="1">
                  <c:v>Galbani</c:v>
                </c:pt>
                <c:pt idx="2">
                  <c:v>Casa Azzurra</c:v>
                </c:pt>
                <c:pt idx="3">
                  <c:v>Salakis</c:v>
                </c:pt>
                <c:pt idx="4">
                  <c:v>Islos</c:v>
                </c:pt>
                <c:pt idx="5">
                  <c:v>Boursin</c:v>
                </c:pt>
                <c:pt idx="6">
                  <c:v>Others</c:v>
                </c:pt>
              </c:strCache>
            </c:strRef>
          </c:cat>
          <c:val>
            <c:numRef>
              <c:f>Sheet1!$B$2:$B$8</c:f>
              <c:numCache>
                <c:formatCode>General</c:formatCode>
                <c:ptCount val="7"/>
                <c:pt idx="0">
                  <c:v>0.5819306905521947</c:v>
                </c:pt>
                <c:pt idx="1">
                  <c:v>0.10245669958445451</c:v>
                </c:pt>
                <c:pt idx="2">
                  <c:v>0.07954473803627847</c:v>
                </c:pt>
                <c:pt idx="3">
                  <c:v>0.06760499967271695</c:v>
                </c:pt>
                <c:pt idx="4">
                  <c:v>0.019333806171907286</c:v>
                </c:pt>
                <c:pt idx="5">
                  <c:v>0.01670551892246316</c:v>
                </c:pt>
                <c:pt idx="6">
                  <c:v>0.1324235470599849</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Private Label</c:v>
                </c:pt>
                <c:pt idx="1">
                  <c:v>Galbani</c:v>
                </c:pt>
                <c:pt idx="2">
                  <c:v>Casa Azzurra</c:v>
                </c:pt>
                <c:pt idx="3">
                  <c:v>Salakis</c:v>
                </c:pt>
                <c:pt idx="4">
                  <c:v>Islos</c:v>
                </c:pt>
                <c:pt idx="5">
                  <c:v>Boursin</c:v>
                </c:pt>
                <c:pt idx="6">
                  <c:v>Others</c:v>
                </c:pt>
              </c:strCache>
            </c:strRef>
          </c:cat>
          <c:val>
            <c:numRef>
              <c:f>Sheet1!$C$2:$C$8</c:f>
              <c:numCache>
                <c:formatCode>General</c:formatCode>
                <c:ptCount val="7"/>
                <c:pt idx="0">
                  <c:v>0.18598439845642348</c:v>
                </c:pt>
                <c:pt idx="1">
                  <c:v>0.1027178367824349</c:v>
                </c:pt>
                <c:pt idx="2">
                  <c:v>0.11953508505327919</c:v>
                </c:pt>
                <c:pt idx="3">
                  <c:v>0.06825445067646599</c:v>
                </c:pt>
                <c:pt idx="4">
                  <c:v>0.0221313513662863</c:v>
                </c:pt>
                <c:pt idx="5">
                  <c:v>0.043498282356625124</c:v>
                </c:pt>
                <c:pt idx="6">
                  <c:v>0.45787859530848485</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Private Label</c:v>
                </c:pt>
                <c:pt idx="1">
                  <c:v>Galbani</c:v>
                </c:pt>
                <c:pt idx="2">
                  <c:v>Casa Azzurra</c:v>
                </c:pt>
                <c:pt idx="3">
                  <c:v>Salakis</c:v>
                </c:pt>
                <c:pt idx="4">
                  <c:v>Islos</c:v>
                </c:pt>
                <c:pt idx="5">
                  <c:v>Boursin</c:v>
                </c:pt>
                <c:pt idx="6">
                  <c:v>Others</c:v>
                </c:pt>
              </c:strCache>
            </c:strRef>
          </c:cat>
          <c:val>
            <c:numRef>
              <c:f>Sheet1!$D$2:$D$8</c:f>
              <c:numCache>
                <c:formatCode>General</c:formatCode>
                <c:ptCount val="7"/>
                <c:pt idx="0">
                  <c:v>31.95988826091002</c:v>
                </c:pt>
                <c:pt idx="1">
                  <c:v>100.25487566849168</c:v>
                </c:pt>
                <c:pt idx="2">
                  <c:v>150.27403195263787</c:v>
                </c:pt>
                <c:pt idx="3">
                  <c:v>100.96065528717268</c:v>
                </c:pt>
                <c:pt idx="4">
                  <c:v>114.46970746217548</c:v>
                </c:pt>
                <c:pt idx="5">
                  <c:v>260.38270680795756</c:v>
                </c:pt>
                <c:pt idx="6">
                  <c:v>345.7682606108384</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2A7988AC-9964-49F0-923A-FDEBFB2149F0}"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84FCE3C2-7F8C-4F0A-A27C-3CC4E5BDCDFB}"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A38F260B-89A6-4558-A305-6B7477DF4F97}"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20620D0B-5E43-404D-8163-69B13997B6B9}"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C9548656-CAAF-485D-9CEA-BFE734EF3B9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FDCDEE67-F7FB-4C25-A381-74F145678468}"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4161BF39-A1B0-4844-82AA-774690196FE8}"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00253D06-1A9A-48D8-8134-112F85783EF7}"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2E33E595-CB68-465B-9165-142025E459BB}"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1D130797-92A1-422C-A1DB-3542B4387FED}"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7</c:f>
              <c:numCache>
                <c:formatCode>General</c:formatCode>
                <c:ptCount val="6"/>
                <c:pt idx="0">
                  <c:v>0.99</c:v>
                </c:pt>
                <c:pt idx="1">
                  <c:v>0.91</c:v>
                </c:pt>
                <c:pt idx="2">
                  <c:v>0.79</c:v>
                </c:pt>
                <c:pt idx="3">
                  <c:v>0.95</c:v>
                </c:pt>
                <c:pt idx="4">
                  <c:v>0.72</c:v>
                </c:pt>
                <c:pt idx="5">
                  <c:v>0.71</c:v>
                </c:pt>
              </c:numCache>
            </c:numRef>
          </c:xVal>
          <c:yVal>
            <c:numRef>
              <c:f>Sheet1!$B$2:$B$7</c:f>
              <c:numCache>
                <c:formatCode>General</c:formatCode>
                <c:ptCount val="6"/>
                <c:pt idx="0">
                  <c:v>7616.333333333333</c:v>
                </c:pt>
                <c:pt idx="1">
                  <c:v>1998.6373626373627</c:v>
                </c:pt>
                <c:pt idx="2">
                  <c:v>776.2911392405064</c:v>
                </c:pt>
                <c:pt idx="3">
                  <c:v>1784.8315789473684</c:v>
                </c:pt>
                <c:pt idx="4">
                  <c:v>1265.2916666666667</c:v>
                </c:pt>
                <c:pt idx="5">
                  <c:v>908.5915492957746</c:v>
                </c:pt>
              </c:numCache>
            </c:numRef>
          </c:yVal>
          <c:bubbleSize>
            <c:numRef>
              <c:f>Sheet1!$C$2:$C$7</c:f>
              <c:numCache>
                <c:formatCode>General</c:formatCode>
                <c:ptCount val="6"/>
                <c:pt idx="0">
                  <c:v>468795.9846999999</c:v>
                </c:pt>
                <c:pt idx="1">
                  <c:v>89507.25500000002</c:v>
                </c:pt>
                <c:pt idx="2">
                  <c:v>27188.0808</c:v>
                </c:pt>
                <c:pt idx="3">
                  <c:v>97662.7545</c:v>
                </c:pt>
                <c:pt idx="4">
                  <c:v>49804.415400000005</c:v>
                </c:pt>
                <c:pt idx="5">
                  <c:v>35948.457</c:v>
                </c:pt>
              </c:numCache>
            </c:numRef>
          </c:bubbleSize>
          <c:bubble3D val="0"/>
          <c:extLst>
            <c:ext xmlns:c15="http://schemas.microsoft.com/office/drawing/2012/chart" uri="{02D57815-91ED-43cb-92C2-25804820EDAC}">
              <c15:datalabelsRange>
                <c15:f>Sheet1!$E$2:$E$21</c15:f>
                <c15:dlblRangeCache>
                  <c:ptCount val="20"/>
                  <c:pt idx="0">
                    <c:v>MBY Original 12p</c:v>
                  </c:pt>
                  <c:pt idx="1">
                    <c:v>MBY Original 18p</c:v>
                  </c:pt>
                  <c:pt idx="2">
                    <c:v>MBY Original 6p</c:v>
                  </c:pt>
                  <c:pt idx="3">
                    <c:v>MBY Variety 12p</c:v>
                  </c:pt>
                  <c:pt idx="4">
                    <c:v>MBY Variety 18p</c:v>
                  </c:pt>
                  <c:pt idx="5">
                    <c:v>MBY Light 12p</c:v>
                  </c:pt>
                  <c:pt idx="6">
                    <c:v>MBY Light 6p</c:v>
                  </c:pt>
                  <c:pt idx="7">
                    <c:v>MBY Gouda 6p</c:v>
                  </c:pt>
                  <c:pt idx="8">
                    <c:v>MBY Swiss 6p</c:v>
                  </c:pt>
                  <c:pt idx="9">
                    <c:v>MBY Cheddar 6p</c:v>
                  </c:pt>
                  <c:pt idx="10">
                    <c:v>MBY Mini Roll</c:v>
                  </c:pt>
                  <c:pt idx="11">
                    <c:v>MBY 2Go</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4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2723D083-8A70-4D5D-98C5-D0947B3597FD}"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47F2B05D-E54A-4C60-8E34-1C3C19D390D6}"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CEE5BB09-5A9E-4081-95AF-8A47F3287AE4}"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070F680C-6080-4FF2-8844-18949A9A810B}"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792B3FD6-31F0-40AF-B1B9-7F1EFD80AAF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181AE214-2292-46F6-9822-1B18923B880E}"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01DECA07-4292-458F-A5E7-C5858FD8F14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F7177CD6-5623-4324-9E34-ED40252E4827}"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F5DFFD63-C222-40C3-9B9A-F070550988AC}"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1E1EB9FF-EDB6-4C12-973C-3F413C5CD7BC}"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2</c:f>
              <c:numCache>
                <c:formatCode>General</c:formatCode>
                <c:ptCount val="1"/>
                <c:pt idx="0">
                  <c:v>0.79</c:v>
                </c:pt>
              </c:numCache>
            </c:numRef>
          </c:xVal>
          <c:yVal>
            <c:numRef>
              <c:f>Sheet1!$B$2:$B$2</c:f>
              <c:numCache>
                <c:formatCode>General</c:formatCode>
                <c:ptCount val="1"/>
                <c:pt idx="0">
                  <c:v>7412.088607594937</c:v>
                </c:pt>
              </c:numCache>
            </c:numRef>
          </c:yVal>
          <c:bubbleSize>
            <c:numRef>
              <c:f>Sheet1!$C$2:$C$2</c:f>
              <c:numCache>
                <c:formatCode>General</c:formatCode>
                <c:ptCount val="1"/>
                <c:pt idx="0">
                  <c:v>268250.098</c:v>
                </c:pt>
              </c:numCache>
            </c:numRef>
          </c:bubbleSize>
          <c:bubble3D val="0"/>
          <c:extLst>
            <c:ext xmlns:c15="http://schemas.microsoft.com/office/drawing/2012/chart" uri="{02D57815-91ED-43cb-92C2-25804820EDAC}">
              <c15:datalabelsRange>
                <c15:f>Sheet1!$E$2:$E$21</c15:f>
                <c15:dlblRangeCache>
                  <c:ptCount val="20"/>
                  <c:pt idx="0">
                    <c:v>MBY Original 12p</c:v>
                  </c:pt>
                  <c:pt idx="1">
                    <c:v>MBY Original 18p</c:v>
                  </c:pt>
                  <c:pt idx="2">
                    <c:v>MBY Original 6p</c:v>
                  </c:pt>
                  <c:pt idx="3">
                    <c:v>MBY Variety 12p</c:v>
                  </c:pt>
                  <c:pt idx="4">
                    <c:v>MBY Variety 18p</c:v>
                  </c:pt>
                  <c:pt idx="5">
                    <c:v>MBY Light 12p</c:v>
                  </c:pt>
                  <c:pt idx="6">
                    <c:v>MBY Light 6p</c:v>
                  </c:pt>
                  <c:pt idx="7">
                    <c:v>MBY Gouda 6p</c:v>
                  </c:pt>
                  <c:pt idx="8">
                    <c:v>MBY Swiss 6p</c:v>
                  </c:pt>
                  <c:pt idx="9">
                    <c:v>MBY Cheddar 6p</c:v>
                  </c:pt>
                  <c:pt idx="10">
                    <c:v>MBY Mini Roll</c:v>
                  </c:pt>
                  <c:pt idx="11">
                    <c:v>MBY 2Go</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4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ADC8EE03-EDA2-4534-9224-F38117264858}"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49F055E8-49CB-44BC-A06D-D6DACFFAFCFA}"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CD85E662-2E78-4301-AA84-50ED7E0B8927}"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066293F6-FD84-4A0F-B263-FDF7C9E14EDB}"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9F990BB8-55A1-41C3-8E80-1CF3853F531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8F4E7E37-5DB4-429C-B678-CE7AC7ABA6C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2A6D360C-E886-42DE-8640-B86BEFB07DDF}"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A2DE9A94-4EBB-4CAE-A2EE-9EB38910E209}"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2034B23B-E675-4544-9439-371D25367894}"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42CD9956-C665-49D1-AAF7-2ED4C5606C08}"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7</c:f>
              <c:numCache>
                <c:formatCode>General</c:formatCode>
                <c:ptCount val="6"/>
                <c:pt idx="0">
                  <c:v>0.98</c:v>
                </c:pt>
                <c:pt idx="1">
                  <c:v>0.88</c:v>
                </c:pt>
                <c:pt idx="2">
                  <c:v>0.83</c:v>
                </c:pt>
                <c:pt idx="3">
                  <c:v>0.86</c:v>
                </c:pt>
                <c:pt idx="4">
                  <c:v>0.67</c:v>
                </c:pt>
                <c:pt idx="5">
                  <c:v>0.4</c:v>
                </c:pt>
              </c:numCache>
            </c:numRef>
          </c:xVal>
          <c:yVal>
            <c:numRef>
              <c:f>Sheet1!$B$2:$B$7</c:f>
              <c:numCache>
                <c:formatCode>General</c:formatCode>
                <c:ptCount val="6"/>
                <c:pt idx="0">
                  <c:v>8367.65306122449</c:v>
                </c:pt>
                <c:pt idx="1">
                  <c:v>1613.590909090909</c:v>
                </c:pt>
                <c:pt idx="2">
                  <c:v>833.7349397590361</c:v>
                </c:pt>
                <c:pt idx="3">
                  <c:v>2456.7441860465115</c:v>
                </c:pt>
                <c:pt idx="4">
                  <c:v>1204.2388059701493</c:v>
                </c:pt>
                <c:pt idx="5">
                  <c:v>880.45</c:v>
                </c:pt>
              </c:numCache>
            </c:numRef>
          </c:yVal>
          <c:bubbleSize>
            <c:numRef>
              <c:f>Sheet1!$C$2:$C$7</c:f>
              <c:numCache>
                <c:formatCode>General</c:formatCode>
                <c:ptCount val="6"/>
                <c:pt idx="0">
                  <c:v>439809.19409999996</c:v>
                </c:pt>
                <c:pt idx="1">
                  <c:v>82541.7076</c:v>
                </c:pt>
                <c:pt idx="2">
                  <c:v>41666.6322</c:v>
                </c:pt>
                <c:pt idx="3">
                  <c:v>114864.4392</c:v>
                </c:pt>
                <c:pt idx="4">
                  <c:v>39835.8197</c:v>
                </c:pt>
                <c:pt idx="5">
                  <c:v>19049.4876</c:v>
                </c:pt>
              </c:numCache>
            </c:numRef>
          </c:bubbleSize>
          <c:bubble3D val="0"/>
          <c:extLst>
            <c:ext xmlns:c15="http://schemas.microsoft.com/office/drawing/2012/chart" uri="{02D57815-91ED-43cb-92C2-25804820EDAC}">
              <c15:datalabelsRange>
                <c15:f>Sheet1!$E$2:$E$21</c15:f>
                <c15:dlblRangeCache>
                  <c:ptCount val="20"/>
                  <c:pt idx="0">
                    <c:v>MBY Original 12p</c:v>
                  </c:pt>
                  <c:pt idx="1">
                    <c:v>MBY Original 18p</c:v>
                  </c:pt>
                  <c:pt idx="2">
                    <c:v>MBY Original 6p</c:v>
                  </c:pt>
                  <c:pt idx="3">
                    <c:v>MBY Variety 12p</c:v>
                  </c:pt>
                  <c:pt idx="4">
                    <c:v>MBY Variety 18p</c:v>
                  </c:pt>
                  <c:pt idx="5">
                    <c:v>MBY Light 12p</c:v>
                  </c:pt>
                  <c:pt idx="6">
                    <c:v>MBY Light 6p</c:v>
                  </c:pt>
                  <c:pt idx="7">
                    <c:v>MBY Gouda 6p</c:v>
                  </c:pt>
                  <c:pt idx="8">
                    <c:v>MBY Swiss 6p</c:v>
                  </c:pt>
                  <c:pt idx="9">
                    <c:v>MBY Cheddar 6p</c:v>
                  </c:pt>
                  <c:pt idx="10">
                    <c:v>MBY Mini Roll</c:v>
                  </c:pt>
                  <c:pt idx="11">
                    <c:v>MBY 2Go</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4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294E2AAC-5311-4D25-8A4F-B2C8C1FF018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246C29A7-EE3C-405A-9BD4-A0EDE7A68BE8}"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C3CC19F1-2B54-4581-A2C7-C44D994AAB40}"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8D6DA41C-7094-472A-80EA-74444D296A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057E6139-7967-4DAC-85AE-C413A179A74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5594CEB5-E2BA-44B5-B067-8BB88ED461A2}"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F4C214C1-6C71-430F-96F0-9430DE39BFDB}"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00700EB0-C5BF-44FC-83E7-ED10EB9ECEF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A9AC6B63-4D30-4419-A7E1-89E84F53D5CD}"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79E9C3A0-F86E-48F3-A0D6-9B808B444928}"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7</c:f>
              <c:numCache>
                <c:formatCode>General</c:formatCode>
                <c:ptCount val="6"/>
                <c:pt idx="0">
                  <c:v>1.0</c:v>
                </c:pt>
                <c:pt idx="1">
                  <c:v>0.97</c:v>
                </c:pt>
                <c:pt idx="2">
                  <c:v>0.99</c:v>
                </c:pt>
                <c:pt idx="3">
                  <c:v>0.95</c:v>
                </c:pt>
                <c:pt idx="4">
                  <c:v>0.93</c:v>
                </c:pt>
                <c:pt idx="5">
                  <c:v>0.73</c:v>
                </c:pt>
              </c:numCache>
            </c:numRef>
          </c:xVal>
          <c:yVal>
            <c:numRef>
              <c:f>Sheet1!$B$2:$B$7</c:f>
              <c:numCache>
                <c:formatCode>General</c:formatCode>
                <c:ptCount val="6"/>
                <c:pt idx="0">
                  <c:v>1429.39</c:v>
                </c:pt>
                <c:pt idx="1">
                  <c:v>310.11340206185565</c:v>
                </c:pt>
                <c:pt idx="2">
                  <c:v>137.64646464646464</c:v>
                </c:pt>
                <c:pt idx="3">
                  <c:v>472.06315789473683</c:v>
                </c:pt>
                <c:pt idx="4">
                  <c:v>197.19354838709677</c:v>
                </c:pt>
                <c:pt idx="5">
                  <c:v>106.42465753424658</c:v>
                </c:pt>
              </c:numCache>
            </c:numRef>
          </c:yVal>
          <c:bubbleSize>
            <c:numRef>
              <c:f>Sheet1!$C$2:$C$7</c:f>
              <c:numCache>
                <c:formatCode>General</c:formatCode>
                <c:ptCount val="6"/>
                <c:pt idx="0">
                  <c:v>78015.81190000002</c:v>
                </c:pt>
                <c:pt idx="1">
                  <c:v>17938.264600000002</c:v>
                </c:pt>
                <c:pt idx="2">
                  <c:v>8400.509100000001</c:v>
                </c:pt>
                <c:pt idx="3">
                  <c:v>24993.7191</c:v>
                </c:pt>
                <c:pt idx="4">
                  <c:v>9294.5678</c:v>
                </c:pt>
                <c:pt idx="5">
                  <c:v>4280.9481000000005</c:v>
                </c:pt>
              </c:numCache>
            </c:numRef>
          </c:bubbleSize>
          <c:bubble3D val="0"/>
          <c:extLst>
            <c:ext xmlns:c15="http://schemas.microsoft.com/office/drawing/2012/chart" uri="{02D57815-91ED-43cb-92C2-25804820EDAC}">
              <c15:datalabelsRange>
                <c15:f>Sheet1!$E$2:$E$21</c15:f>
                <c15:dlblRangeCache>
                  <c:ptCount val="20"/>
                  <c:pt idx="0">
                    <c:v>MBY Original 12p</c:v>
                  </c:pt>
                  <c:pt idx="1">
                    <c:v>MBY Original 18p</c:v>
                  </c:pt>
                  <c:pt idx="2">
                    <c:v>MBY Original 6p</c:v>
                  </c:pt>
                  <c:pt idx="3">
                    <c:v>MBY Variety 12p</c:v>
                  </c:pt>
                  <c:pt idx="4">
                    <c:v>MBY Variety 18p</c:v>
                  </c:pt>
                  <c:pt idx="5">
                    <c:v>MBY Light 12p</c:v>
                  </c:pt>
                  <c:pt idx="6">
                    <c:v>MBY Light 6p</c:v>
                  </c:pt>
                  <c:pt idx="7">
                    <c:v>MBY Gouda 6p</c:v>
                  </c:pt>
                  <c:pt idx="8">
                    <c:v>MBY Swiss 6p</c:v>
                  </c:pt>
                  <c:pt idx="9">
                    <c:v>MBY Cheddar 6p</c:v>
                  </c:pt>
                  <c:pt idx="10">
                    <c:v>MBY Mini Roll</c:v>
                  </c:pt>
                  <c:pt idx="11">
                    <c:v>MBY 2Go</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4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0187AAB8-7D16-41F3-A7D5-F227C7D23C30}"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4C0F8D29-4CDE-4DCF-866D-840A1AE3D58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07C6B5DE-9B8E-4B51-B754-F4DFBA02F437}"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1767C1A1-EFFB-4C07-AA1A-3A7646ECCE46}"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A1FCD88A-DBC0-4094-A4DA-E2FC2DCEA9C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F2D41656-0BCA-4AFC-8191-173665C0F7BB}"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C16AEBD5-D81C-4F40-9344-2BBFE3BECD6F}"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B2DC23A3-B0C8-4E52-9C20-899F9290CCAE}"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536BABD5-08F8-4F1F-BE06-71EC9B3C780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FAF6CA76-F4A2-4DBF-B106-36FCB8B76CE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7</c:f>
              <c:numCache>
                <c:formatCode>General</c:formatCode>
                <c:ptCount val="6"/>
                <c:pt idx="0">
                  <c:v>0.85</c:v>
                </c:pt>
                <c:pt idx="1">
                  <c:v>0.47</c:v>
                </c:pt>
                <c:pt idx="2">
                  <c:v>0.41</c:v>
                </c:pt>
                <c:pt idx="3">
                  <c:v>0.43</c:v>
                </c:pt>
                <c:pt idx="4">
                  <c:v>0.28</c:v>
                </c:pt>
                <c:pt idx="5">
                  <c:v>0.14</c:v>
                </c:pt>
              </c:numCache>
            </c:numRef>
          </c:xVal>
          <c:yVal>
            <c:numRef>
              <c:f>Sheet1!$B$2:$B$7</c:f>
              <c:numCache>
                <c:formatCode>General</c:formatCode>
                <c:ptCount val="6"/>
                <c:pt idx="0">
                  <c:v>1532.3294117647058</c:v>
                </c:pt>
                <c:pt idx="1">
                  <c:v>292.74468085106383</c:v>
                </c:pt>
                <c:pt idx="2">
                  <c:v>130.70731707317074</c:v>
                </c:pt>
                <c:pt idx="3">
                  <c:v>428.27906976744185</c:v>
                </c:pt>
                <c:pt idx="4">
                  <c:v>268.07142857142856</c:v>
                </c:pt>
                <c:pt idx="5">
                  <c:v>215.78571428571425</c:v>
                </c:pt>
              </c:numCache>
            </c:numRef>
          </c:yVal>
          <c:bubbleSize>
            <c:numRef>
              <c:f>Sheet1!$C$2:$C$7</c:f>
              <c:numCache>
                <c:formatCode>General</c:formatCode>
                <c:ptCount val="6"/>
                <c:pt idx="0">
                  <c:v>65663.78859999999</c:v>
                </c:pt>
                <c:pt idx="1">
                  <c:v>7539.2294</c:v>
                </c:pt>
                <c:pt idx="2">
                  <c:v>3108.8709</c:v>
                </c:pt>
                <c:pt idx="3">
                  <c:v>9448.2915</c:v>
                </c:pt>
                <c:pt idx="4">
                  <c:v>3470.5856</c:v>
                </c:pt>
                <c:pt idx="5">
                  <c:v>1524.0654000000002</c:v>
                </c:pt>
              </c:numCache>
            </c:numRef>
          </c:bubbleSize>
          <c:bubble3D val="0"/>
          <c:extLst>
            <c:ext xmlns:c15="http://schemas.microsoft.com/office/drawing/2012/chart" uri="{02D57815-91ED-43cb-92C2-25804820EDAC}">
              <c15:datalabelsRange>
                <c15:f>Sheet1!$E$2:$E$21</c15:f>
                <c15:dlblRangeCache>
                  <c:ptCount val="20"/>
                  <c:pt idx="0">
                    <c:v>MBY Original 12p</c:v>
                  </c:pt>
                  <c:pt idx="1">
                    <c:v>MBY Original 18p</c:v>
                  </c:pt>
                  <c:pt idx="2">
                    <c:v>MBY Original 6p</c:v>
                  </c:pt>
                  <c:pt idx="3">
                    <c:v>MBY Variety 12p</c:v>
                  </c:pt>
                  <c:pt idx="4">
                    <c:v>MBY Variety 18p</c:v>
                  </c:pt>
                  <c:pt idx="5">
                    <c:v>MBY Light 12p</c:v>
                  </c:pt>
                  <c:pt idx="6">
                    <c:v>MBY Light 6p</c:v>
                  </c:pt>
                  <c:pt idx="7">
                    <c:v>MBY Gouda 6p</c:v>
                  </c:pt>
                  <c:pt idx="8">
                    <c:v>MBY Swiss 6p</c:v>
                  </c:pt>
                  <c:pt idx="9">
                    <c:v>MBY Cheddar 6p</c:v>
                  </c:pt>
                  <c:pt idx="10">
                    <c:v>MBY Mini Roll</c:v>
                  </c:pt>
                  <c:pt idx="11">
                    <c:v>MBY 2Go</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President</c:v>
                </c:pt>
                <c:pt idx="2">
                  <c:v>Soignon</c:v>
                </c:pt>
                <c:pt idx="3">
                  <c:v>St Moret</c:v>
                </c:pt>
                <c:pt idx="4">
                  <c:v>Caprice Des Dieux</c:v>
                </c:pt>
                <c:pt idx="5">
                  <c:v>La Vache Qui Rit</c:v>
                </c:pt>
                <c:pt idx="6">
                  <c:v>Coeur De Lion</c:v>
                </c:pt>
                <c:pt idx="7">
                  <c:v>Boursin</c:v>
                </c:pt>
                <c:pt idx="8">
                  <c:v>Kiri</c:v>
                </c:pt>
                <c:pt idx="9">
                  <c:v>Others</c:v>
                </c:pt>
              </c:strCache>
            </c:strRef>
          </c:cat>
          <c:val>
            <c:numRef>
              <c:f>Sheet1!$B$2:$B$11</c:f>
              <c:numCache>
                <c:formatCode>General</c:formatCode>
                <c:ptCount val="10"/>
                <c:pt idx="0">
                  <c:v>0.5315258959055066</c:v>
                </c:pt>
                <c:pt idx="1">
                  <c:v>0.04901710106822886</c:v>
                </c:pt>
                <c:pt idx="2">
                  <c:v>0.03469597712252034</c:v>
                </c:pt>
                <c:pt idx="3">
                  <c:v>0.02572503202351125</c:v>
                </c:pt>
                <c:pt idx="4">
                  <c:v>0.023692449110444214</c:v>
                </c:pt>
                <c:pt idx="5">
                  <c:v>0.02041088074405429</c:v>
                </c:pt>
                <c:pt idx="6">
                  <c:v>0.018742905663045033</c:v>
                </c:pt>
                <c:pt idx="7">
                  <c:v>0.01597356197876098</c:v>
                </c:pt>
                <c:pt idx="8">
                  <c:v>0.015897830040815412</c:v>
                </c:pt>
                <c:pt idx="9">
                  <c:v>0.26431836634311306</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President</c:v>
                </c:pt>
                <c:pt idx="2">
                  <c:v>Soignon</c:v>
                </c:pt>
                <c:pt idx="3">
                  <c:v>St Moret</c:v>
                </c:pt>
                <c:pt idx="4">
                  <c:v>Caprice Des Dieux</c:v>
                </c:pt>
                <c:pt idx="5">
                  <c:v>La Vache Qui Rit</c:v>
                </c:pt>
                <c:pt idx="6">
                  <c:v>Coeur De Lion</c:v>
                </c:pt>
                <c:pt idx="7">
                  <c:v>Boursin</c:v>
                </c:pt>
                <c:pt idx="8">
                  <c:v>Kiri</c:v>
                </c:pt>
                <c:pt idx="9">
                  <c:v>Others</c:v>
                </c:pt>
              </c:strCache>
            </c:strRef>
          </c:cat>
          <c:val>
            <c:numRef>
              <c:f>Sheet1!$C$2:$C$11</c:f>
              <c:numCache>
                <c:formatCode>General</c:formatCode>
                <c:ptCount val="10"/>
                <c:pt idx="0">
                  <c:v>0.440960284528749</c:v>
                </c:pt>
                <c:pt idx="1">
                  <c:v>0.058209839952578536</c:v>
                </c:pt>
                <c:pt idx="2">
                  <c:v>0.03046828689982217</c:v>
                </c:pt>
                <c:pt idx="3">
                  <c:v>0.017486662714878483</c:v>
                </c:pt>
                <c:pt idx="4">
                  <c:v>0.011914641375222286</c:v>
                </c:pt>
                <c:pt idx="5">
                  <c:v>0.013870776526378187</c:v>
                </c:pt>
                <c:pt idx="6">
                  <c:v>0.01037344398340249</c:v>
                </c:pt>
                <c:pt idx="7">
                  <c:v>0.021398933017190275</c:v>
                </c:pt>
                <c:pt idx="8">
                  <c:v>0.015293420272673384</c:v>
                </c:pt>
                <c:pt idx="9">
                  <c:v>0.3800237107291047</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President</c:v>
                </c:pt>
                <c:pt idx="2">
                  <c:v>Soignon</c:v>
                </c:pt>
                <c:pt idx="3">
                  <c:v>St Moret</c:v>
                </c:pt>
                <c:pt idx="4">
                  <c:v>Caprice Des Dieux</c:v>
                </c:pt>
                <c:pt idx="5">
                  <c:v>La Vache Qui Rit</c:v>
                </c:pt>
                <c:pt idx="6">
                  <c:v>Coeur De Lion</c:v>
                </c:pt>
                <c:pt idx="7">
                  <c:v>Boursin</c:v>
                </c:pt>
                <c:pt idx="8">
                  <c:v>Kiri</c:v>
                </c:pt>
                <c:pt idx="9">
                  <c:v>Others</c:v>
                </c:pt>
              </c:strCache>
            </c:strRef>
          </c:cat>
          <c:val>
            <c:numRef>
              <c:f>Sheet1!$D$2:$D$11</c:f>
              <c:numCache>
                <c:formatCode>General</c:formatCode>
                <c:ptCount val="10"/>
                <c:pt idx="0">
                  <c:v>82.96120432242155</c:v>
                </c:pt>
                <c:pt idx="1">
                  <c:v>118.75414637751412</c:v>
                </c:pt>
                <c:pt idx="2">
                  <c:v>87.815042050065</c:v>
                </c:pt>
                <c:pt idx="3">
                  <c:v>67.97528064842308</c:v>
                </c:pt>
                <c:pt idx="4">
                  <c:v>50.28877056855223</c:v>
                </c:pt>
                <c:pt idx="5">
                  <c:v>67.9577559651303</c:v>
                </c:pt>
                <c:pt idx="6">
                  <c:v>55.34597553812362</c:v>
                </c:pt>
                <c:pt idx="7">
                  <c:v>133.9646914422911</c:v>
                </c:pt>
                <c:pt idx="8">
                  <c:v>96.19816184604886</c:v>
                </c:pt>
                <c:pt idx="9">
                  <c:v>143.77499225150095</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Private Label</c:v>
                </c:pt>
                <c:pt idx="1">
                  <c:v>Galbani</c:v>
                </c:pt>
                <c:pt idx="2">
                  <c:v>Salakis</c:v>
                </c:pt>
                <c:pt idx="3">
                  <c:v>Casa Azzurra</c:v>
                </c:pt>
                <c:pt idx="4">
                  <c:v>Islos</c:v>
                </c:pt>
                <c:pt idx="5">
                  <c:v>Boursin</c:v>
                </c:pt>
                <c:pt idx="6">
                  <c:v>Others</c:v>
                </c:pt>
              </c:strCache>
            </c:strRef>
          </c:cat>
          <c:val>
            <c:numRef>
              <c:f>Sheet1!$B$2:$B$8</c:f>
              <c:numCache>
                <c:formatCode>General</c:formatCode>
                <c:ptCount val="7"/>
                <c:pt idx="0">
                  <c:v>0.5769953758247028</c:v>
                </c:pt>
                <c:pt idx="1">
                  <c:v>0.19198955564934508</c:v>
                </c:pt>
                <c:pt idx="2">
                  <c:v>0.08579620835407702</c:v>
                </c:pt>
                <c:pt idx="3">
                  <c:v>0.0601056507806368</c:v>
                </c:pt>
                <c:pt idx="4">
                  <c:v>0.02386439528000862</c:v>
                </c:pt>
                <c:pt idx="5">
                  <c:v>0.014744307286063463</c:v>
                </c:pt>
                <c:pt idx="6">
                  <c:v>0.04650450682516612</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Private Label</c:v>
                </c:pt>
                <c:pt idx="1">
                  <c:v>Galbani</c:v>
                </c:pt>
                <c:pt idx="2">
                  <c:v>Salakis</c:v>
                </c:pt>
                <c:pt idx="3">
                  <c:v>Casa Azzurra</c:v>
                </c:pt>
                <c:pt idx="4">
                  <c:v>Islos</c:v>
                </c:pt>
                <c:pt idx="5">
                  <c:v>Boursin</c:v>
                </c:pt>
                <c:pt idx="6">
                  <c:v>Others</c:v>
                </c:pt>
              </c:strCache>
            </c:strRef>
          </c:cat>
          <c:val>
            <c:numRef>
              <c:f>Sheet1!$C$2:$C$8</c:f>
              <c:numCache>
                <c:formatCode>General</c:formatCode>
                <c:ptCount val="7"/>
                <c:pt idx="0">
                  <c:v>0.3054189706507871</c:v>
                </c:pt>
                <c:pt idx="1">
                  <c:v>0.194368353891961</c:v>
                </c:pt>
                <c:pt idx="2">
                  <c:v>0.10558911101658874</c:v>
                </c:pt>
                <c:pt idx="3">
                  <c:v>0.12444066354742671</c:v>
                </c:pt>
                <c:pt idx="4">
                  <c:v>0.03637601020842197</c:v>
                </c:pt>
                <c:pt idx="5">
                  <c:v>0.07678434708634627</c:v>
                </c:pt>
                <c:pt idx="6">
                  <c:v>0.1570225435984688</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Private Label</c:v>
                </c:pt>
                <c:pt idx="1">
                  <c:v>Galbani</c:v>
                </c:pt>
                <c:pt idx="2">
                  <c:v>Salakis</c:v>
                </c:pt>
                <c:pt idx="3">
                  <c:v>Casa Azzurra</c:v>
                </c:pt>
                <c:pt idx="4">
                  <c:v>Islos</c:v>
                </c:pt>
                <c:pt idx="5">
                  <c:v>Boursin</c:v>
                </c:pt>
                <c:pt idx="6">
                  <c:v>Others</c:v>
                </c:pt>
              </c:strCache>
            </c:strRef>
          </c:cat>
          <c:val>
            <c:numRef>
              <c:f>Sheet1!$D$2:$D$8</c:f>
              <c:numCache>
                <c:formatCode>General</c:formatCode>
                <c:ptCount val="7"/>
                <c:pt idx="0">
                  <c:v>52.932654826609316</c:v>
                </c:pt>
                <c:pt idx="1">
                  <c:v>101.23902481807949</c:v>
                </c:pt>
                <c:pt idx="2">
                  <c:v>123.06967060925038</c:v>
                </c:pt>
                <c:pt idx="3">
                  <c:v>207.03654636664476</c:v>
                </c:pt>
                <c:pt idx="4">
                  <c:v>152.42795713702589</c:v>
                </c:pt>
                <c:pt idx="5">
                  <c:v>520.7728352143337</c:v>
                </c:pt>
                <c:pt idx="6">
                  <c:v>337.650164077205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Private Label</c:v>
                </c:pt>
                <c:pt idx="1">
                  <c:v>Galbani</c:v>
                </c:pt>
                <c:pt idx="2">
                  <c:v>Casa Azzurra</c:v>
                </c:pt>
                <c:pt idx="3">
                  <c:v>Salakis</c:v>
                </c:pt>
                <c:pt idx="4">
                  <c:v>Islos</c:v>
                </c:pt>
                <c:pt idx="5">
                  <c:v>Boursin</c:v>
                </c:pt>
                <c:pt idx="6">
                  <c:v>Others</c:v>
                </c:pt>
              </c:strCache>
            </c:strRef>
          </c:cat>
          <c:val>
            <c:numRef>
              <c:f>Sheet1!$B$2:$B$8</c:f>
              <c:numCache>
                <c:formatCode>General</c:formatCode>
                <c:ptCount val="7"/>
                <c:pt idx="0">
                  <c:v>0.5335002302036482</c:v>
                </c:pt>
                <c:pt idx="1">
                  <c:v>0.10870363150360941</c:v>
                </c:pt>
                <c:pt idx="2">
                  <c:v>0.08439244054477171</c:v>
                </c:pt>
                <c:pt idx="3">
                  <c:v>0.07383298153604988</c:v>
                </c:pt>
                <c:pt idx="4">
                  <c:v>0.019001131217442947</c:v>
                </c:pt>
                <c:pt idx="5">
                  <c:v>0.0159747511622201</c:v>
                </c:pt>
                <c:pt idx="6">
                  <c:v>0.1645948338322577</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Private Label</c:v>
                </c:pt>
                <c:pt idx="1">
                  <c:v>Galbani</c:v>
                </c:pt>
                <c:pt idx="2">
                  <c:v>Casa Azzurra</c:v>
                </c:pt>
                <c:pt idx="3">
                  <c:v>Salakis</c:v>
                </c:pt>
                <c:pt idx="4">
                  <c:v>Islos</c:v>
                </c:pt>
                <c:pt idx="5">
                  <c:v>Boursin</c:v>
                </c:pt>
                <c:pt idx="6">
                  <c:v>Others</c:v>
                </c:pt>
              </c:strCache>
            </c:strRef>
          </c:cat>
          <c:val>
            <c:numRef>
              <c:f>Sheet1!$C$2:$C$8</c:f>
              <c:numCache>
                <c:formatCode>General</c:formatCode>
                <c:ptCount val="7"/>
                <c:pt idx="0">
                  <c:v>0.16990755498884288</c:v>
                </c:pt>
                <c:pt idx="1">
                  <c:v>0.09327382849856554</c:v>
                </c:pt>
                <c:pt idx="2">
                  <c:v>0.11724577621931785</c:v>
                </c:pt>
                <c:pt idx="3">
                  <c:v>0.06598661141217724</c:v>
                </c:pt>
                <c:pt idx="4">
                  <c:v>0.021613006056742115</c:v>
                </c:pt>
                <c:pt idx="5">
                  <c:v>0.03729678036340453</c:v>
                </c:pt>
                <c:pt idx="6">
                  <c:v>0.49467644246095005</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Private Label</c:v>
                </c:pt>
                <c:pt idx="1">
                  <c:v>Galbani</c:v>
                </c:pt>
                <c:pt idx="2">
                  <c:v>Casa Azzurra</c:v>
                </c:pt>
                <c:pt idx="3">
                  <c:v>Salakis</c:v>
                </c:pt>
                <c:pt idx="4">
                  <c:v>Islos</c:v>
                </c:pt>
                <c:pt idx="5">
                  <c:v>Boursin</c:v>
                </c:pt>
                <c:pt idx="6">
                  <c:v>Others</c:v>
                </c:pt>
              </c:strCache>
            </c:strRef>
          </c:cat>
          <c:val>
            <c:numRef>
              <c:f>Sheet1!$D$2:$D$8</c:f>
              <c:numCache>
                <c:formatCode>General</c:formatCode>
                <c:ptCount val="7"/>
                <c:pt idx="0">
                  <c:v>31.84770040754914</c:v>
                </c:pt>
                <c:pt idx="1">
                  <c:v>85.8056232421899</c:v>
                </c:pt>
                <c:pt idx="2">
                  <c:v>138.9292399443252</c:v>
                </c:pt>
                <c:pt idx="3">
                  <c:v>89.37281149882651</c:v>
                </c:pt>
                <c:pt idx="4">
                  <c:v>113.74589128094374</c:v>
                </c:pt>
                <c:pt idx="5">
                  <c:v>233.4733103800109</c:v>
                </c:pt>
                <c:pt idx="6">
                  <c:v>300.54190094756314</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Private Label</c:v>
                </c:pt>
                <c:pt idx="1">
                  <c:v>Galbani</c:v>
                </c:pt>
                <c:pt idx="2">
                  <c:v>Casa Azzurra</c:v>
                </c:pt>
                <c:pt idx="3">
                  <c:v>Salakis</c:v>
                </c:pt>
                <c:pt idx="4">
                  <c:v>Islos</c:v>
                </c:pt>
                <c:pt idx="5">
                  <c:v>Boursin</c:v>
                </c:pt>
                <c:pt idx="6">
                  <c:v>Others</c:v>
                </c:pt>
              </c:strCache>
            </c:strRef>
          </c:cat>
          <c:val>
            <c:numRef>
              <c:f>Sheet1!$B$2:$B$8</c:f>
              <c:numCache>
                <c:formatCode>General</c:formatCode>
                <c:ptCount val="7"/>
                <c:pt idx="0">
                  <c:v>0.5395417292457971</c:v>
                </c:pt>
                <c:pt idx="1">
                  <c:v>0.11080272875790807</c:v>
                </c:pt>
                <c:pt idx="2">
                  <c:v>0.10593684578473278</c:v>
                </c:pt>
                <c:pt idx="3">
                  <c:v>0.07040551563993774</c:v>
                </c:pt>
                <c:pt idx="4">
                  <c:v>0.025817343510612142</c:v>
                </c:pt>
                <c:pt idx="5">
                  <c:v>0.019006616505626392</c:v>
                </c:pt>
                <c:pt idx="6">
                  <c:v>0.12848922055538575</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Private Label</c:v>
                </c:pt>
                <c:pt idx="1">
                  <c:v>Galbani</c:v>
                </c:pt>
                <c:pt idx="2">
                  <c:v>Casa Azzurra</c:v>
                </c:pt>
                <c:pt idx="3">
                  <c:v>Salakis</c:v>
                </c:pt>
                <c:pt idx="4">
                  <c:v>Islos</c:v>
                </c:pt>
                <c:pt idx="5">
                  <c:v>Boursin</c:v>
                </c:pt>
                <c:pt idx="6">
                  <c:v>Others</c:v>
                </c:pt>
              </c:strCache>
            </c:strRef>
          </c:cat>
          <c:val>
            <c:numRef>
              <c:f>Sheet1!$C$2:$C$8</c:f>
              <c:numCache>
                <c:formatCode>General</c:formatCode>
                <c:ptCount val="7"/>
                <c:pt idx="0">
                  <c:v>0.19601108033241</c:v>
                </c:pt>
                <c:pt idx="1">
                  <c:v>0.12332409972299166</c:v>
                </c:pt>
                <c:pt idx="2">
                  <c:v>0.12997229916897504</c:v>
                </c:pt>
                <c:pt idx="3">
                  <c:v>0.07157894736842105</c:v>
                </c:pt>
                <c:pt idx="4">
                  <c:v>0.024265927977839333</c:v>
                </c:pt>
                <c:pt idx="5">
                  <c:v>0.05617728531855955</c:v>
                </c:pt>
                <c:pt idx="6">
                  <c:v>0.39867036011080337</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Private Label</c:v>
                </c:pt>
                <c:pt idx="1">
                  <c:v>Galbani</c:v>
                </c:pt>
                <c:pt idx="2">
                  <c:v>Casa Azzurra</c:v>
                </c:pt>
                <c:pt idx="3">
                  <c:v>Salakis</c:v>
                </c:pt>
                <c:pt idx="4">
                  <c:v>Islos</c:v>
                </c:pt>
                <c:pt idx="5">
                  <c:v>Boursin</c:v>
                </c:pt>
                <c:pt idx="6">
                  <c:v>Others</c:v>
                </c:pt>
              </c:strCache>
            </c:strRef>
          </c:cat>
          <c:val>
            <c:numRef>
              <c:f>Sheet1!$D$2:$D$8</c:f>
              <c:numCache>
                <c:formatCode>General</c:formatCode>
                <c:ptCount val="7"/>
                <c:pt idx="0">
                  <c:v>36.32917895088591</c:v>
                </c:pt>
                <c:pt idx="1">
                  <c:v>111.30059801364769</c:v>
                </c:pt>
                <c:pt idx="2">
                  <c:v>122.68847369033726</c:v>
                </c:pt>
                <c:pt idx="3">
                  <c:v>101.66667585318794</c:v>
                </c:pt>
                <c:pt idx="4">
                  <c:v>93.99080105923716</c:v>
                </c:pt>
                <c:pt idx="5">
                  <c:v>295.5669953246533</c:v>
                </c:pt>
                <c:pt idx="6">
                  <c:v>310.27533546205535</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Private Label</c:v>
                </c:pt>
                <c:pt idx="1">
                  <c:v>Galbani</c:v>
                </c:pt>
                <c:pt idx="2">
                  <c:v>Salakis</c:v>
                </c:pt>
                <c:pt idx="3">
                  <c:v>Casa Azzurra</c:v>
                </c:pt>
                <c:pt idx="4">
                  <c:v>Boursin</c:v>
                </c:pt>
                <c:pt idx="5">
                  <c:v>Others</c:v>
                </c:pt>
              </c:strCache>
            </c:strRef>
          </c:cat>
          <c:val>
            <c:numRef>
              <c:f>Sheet1!$B$2:$B$7</c:f>
              <c:numCache>
                <c:formatCode>General</c:formatCode>
                <c:ptCount val="6"/>
                <c:pt idx="0">
                  <c:v>0.7487171121798424</c:v>
                </c:pt>
                <c:pt idx="1">
                  <c:v>0.07607184950199948</c:v>
                </c:pt>
                <c:pt idx="2">
                  <c:v>0.05064275017443616</c:v>
                </c:pt>
                <c:pt idx="3">
                  <c:v>0.025364126662786955</c:v>
                </c:pt>
                <c:pt idx="4">
                  <c:v>0.014245214183082704</c:v>
                </c:pt>
                <c:pt idx="5">
                  <c:v>0.0849589472978523</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Private Label</c:v>
                </c:pt>
                <c:pt idx="1">
                  <c:v>Galbani</c:v>
                </c:pt>
                <c:pt idx="2">
                  <c:v>Salakis</c:v>
                </c:pt>
                <c:pt idx="3">
                  <c:v>Casa Azzurra</c:v>
                </c:pt>
                <c:pt idx="4">
                  <c:v>Boursin</c:v>
                </c:pt>
                <c:pt idx="5">
                  <c:v>Others</c:v>
                </c:pt>
              </c:strCache>
            </c:strRef>
          </c:cat>
          <c:val>
            <c:numRef>
              <c:f>Sheet1!$C$2:$C$7</c:f>
              <c:numCache>
                <c:formatCode>General</c:formatCode>
                <c:ptCount val="6"/>
                <c:pt idx="0">
                  <c:v>0.48145933014354064</c:v>
                </c:pt>
                <c:pt idx="1">
                  <c:v>0.09330143540669858</c:v>
                </c:pt>
                <c:pt idx="2">
                  <c:v>0.08672248803827753</c:v>
                </c:pt>
                <c:pt idx="3">
                  <c:v>0.049641148325358854</c:v>
                </c:pt>
                <c:pt idx="4">
                  <c:v>0.0472488038277512</c:v>
                </c:pt>
                <c:pt idx="5">
                  <c:v>0.2416267942583732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Private Label</c:v>
                </c:pt>
                <c:pt idx="1">
                  <c:v>Galbani</c:v>
                </c:pt>
                <c:pt idx="2">
                  <c:v>Salakis</c:v>
                </c:pt>
                <c:pt idx="3">
                  <c:v>Casa Azzurra</c:v>
                </c:pt>
                <c:pt idx="4">
                  <c:v>Boursin</c:v>
                </c:pt>
                <c:pt idx="5">
                  <c:v>Others</c:v>
                </c:pt>
              </c:strCache>
            </c:strRef>
          </c:cat>
          <c:val>
            <c:numRef>
              <c:f>Sheet1!$D$2:$D$7</c:f>
              <c:numCache>
                <c:formatCode>General</c:formatCode>
                <c:ptCount val="6"/>
                <c:pt idx="0">
                  <c:v>64.30457142108084</c:v>
                </c:pt>
                <c:pt idx="1">
                  <c:v>122.6490955819948</c:v>
                </c:pt>
                <c:pt idx="2">
                  <c:v>171.24363850613702</c:v>
                </c:pt>
                <c:pt idx="3">
                  <c:v>195.714005789878</c:v>
                </c:pt>
                <c:pt idx="4">
                  <c:v>331.68194749828905</c:v>
                </c:pt>
                <c:pt idx="5">
                  <c:v>284.4041763032548</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Private Label</c:v>
                </c:pt>
                <c:pt idx="1">
                  <c:v>Galbani</c:v>
                </c:pt>
                <c:pt idx="2">
                  <c:v>Salakis</c:v>
                </c:pt>
                <c:pt idx="3">
                  <c:v>Casa Azzurra</c:v>
                </c:pt>
                <c:pt idx="4">
                  <c:v>Islos</c:v>
                </c:pt>
                <c:pt idx="5">
                  <c:v>Boursin</c:v>
                </c:pt>
                <c:pt idx="6">
                  <c:v>Others</c:v>
                </c:pt>
              </c:strCache>
            </c:strRef>
          </c:cat>
          <c:val>
            <c:numRef>
              <c:f>Sheet1!$B$2:$B$8</c:f>
              <c:numCache>
                <c:formatCode>General</c:formatCode>
                <c:ptCount val="7"/>
                <c:pt idx="0">
                  <c:v>0.5742613834231756</c:v>
                </c:pt>
                <c:pt idx="1">
                  <c:v>0.1938466520933158</c:v>
                </c:pt>
                <c:pt idx="2">
                  <c:v>0.08614251574916125</c:v>
                </c:pt>
                <c:pt idx="3">
                  <c:v>0.061559581472349</c:v>
                </c:pt>
                <c:pt idx="4">
                  <c:v>0.024458942171279193</c:v>
                </c:pt>
                <c:pt idx="5">
                  <c:v>0.015429815691914284</c:v>
                </c:pt>
                <c:pt idx="6">
                  <c:v>0.044301109398804925</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Private Label</c:v>
                </c:pt>
                <c:pt idx="1">
                  <c:v>Galbani</c:v>
                </c:pt>
                <c:pt idx="2">
                  <c:v>Salakis</c:v>
                </c:pt>
                <c:pt idx="3">
                  <c:v>Casa Azzurra</c:v>
                </c:pt>
                <c:pt idx="4">
                  <c:v>Islos</c:v>
                </c:pt>
                <c:pt idx="5">
                  <c:v>Boursin</c:v>
                </c:pt>
                <c:pt idx="6">
                  <c:v>Others</c:v>
                </c:pt>
              </c:strCache>
            </c:strRef>
          </c:cat>
          <c:val>
            <c:numRef>
              <c:f>Sheet1!$C$2:$C$8</c:f>
              <c:numCache>
                <c:formatCode>General</c:formatCode>
                <c:ptCount val="7"/>
                <c:pt idx="0">
                  <c:v>0.30542372881355945</c:v>
                </c:pt>
                <c:pt idx="1">
                  <c:v>0.19525423728813565</c:v>
                </c:pt>
                <c:pt idx="2">
                  <c:v>0.10644067796610172</c:v>
                </c:pt>
                <c:pt idx="3">
                  <c:v>0.12745762711864408</c:v>
                </c:pt>
                <c:pt idx="4">
                  <c:v>0.03779661016949154</c:v>
                </c:pt>
                <c:pt idx="5">
                  <c:v>0.07830508474576274</c:v>
                </c:pt>
                <c:pt idx="6">
                  <c:v>0.1493220338983051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Private Label</c:v>
                </c:pt>
                <c:pt idx="1">
                  <c:v>Galbani</c:v>
                </c:pt>
                <c:pt idx="2">
                  <c:v>Salakis</c:v>
                </c:pt>
                <c:pt idx="3">
                  <c:v>Casa Azzurra</c:v>
                </c:pt>
                <c:pt idx="4">
                  <c:v>Islos</c:v>
                </c:pt>
                <c:pt idx="5">
                  <c:v>Boursin</c:v>
                </c:pt>
                <c:pt idx="6">
                  <c:v>Others</c:v>
                </c:pt>
              </c:strCache>
            </c:strRef>
          </c:cat>
          <c:val>
            <c:numRef>
              <c:f>Sheet1!$D$2:$D$8</c:f>
              <c:numCache>
                <c:formatCode>General</c:formatCode>
                <c:ptCount val="7"/>
                <c:pt idx="0">
                  <c:v>53.185489679442966</c:v>
                </c:pt>
                <c:pt idx="1">
                  <c:v>100.7261333531529</c:v>
                </c:pt>
                <c:pt idx="2">
                  <c:v>123.56346577576952</c:v>
                </c:pt>
                <c:pt idx="3">
                  <c:v>207.04758555887</c:v>
                </c:pt>
                <c:pt idx="4">
                  <c:v>154.53084563024987</c:v>
                </c:pt>
                <c:pt idx="5">
                  <c:v>507.4920291290136</c:v>
                </c:pt>
                <c:pt idx="6">
                  <c:v>337.06161295891445</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Private Label</c:v>
                </c:pt>
                <c:pt idx="1">
                  <c:v>Galbani</c:v>
                </c:pt>
                <c:pt idx="2">
                  <c:v>Salakis</c:v>
                </c:pt>
                <c:pt idx="3">
                  <c:v>Casa Azzurra</c:v>
                </c:pt>
                <c:pt idx="4">
                  <c:v>Islos</c:v>
                </c:pt>
                <c:pt idx="5">
                  <c:v>Boursin</c:v>
                </c:pt>
                <c:pt idx="6">
                  <c:v>Others</c:v>
                </c:pt>
              </c:strCache>
            </c:strRef>
          </c:cat>
          <c:val>
            <c:numRef>
              <c:f>Sheet1!$B$2:$B$8</c:f>
              <c:numCache>
                <c:formatCode>General</c:formatCode>
                <c:ptCount val="7"/>
                <c:pt idx="0">
                  <c:v>0.515305576445694</c:v>
                </c:pt>
                <c:pt idx="1">
                  <c:v>0.20274051736085624</c:v>
                </c:pt>
                <c:pt idx="2">
                  <c:v>0.09568822238224142</c:v>
                </c:pt>
                <c:pt idx="3">
                  <c:v>0.08063478122417492</c:v>
                </c:pt>
                <c:pt idx="4">
                  <c:v>0.02630343057417772</c:v>
                </c:pt>
                <c:pt idx="5">
                  <c:v>0.016399520825177902</c:v>
                </c:pt>
                <c:pt idx="6">
                  <c:v>0.06292795118767786</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Private Label</c:v>
                </c:pt>
                <c:pt idx="1">
                  <c:v>Galbani</c:v>
                </c:pt>
                <c:pt idx="2">
                  <c:v>Salakis</c:v>
                </c:pt>
                <c:pt idx="3">
                  <c:v>Casa Azzurra</c:v>
                </c:pt>
                <c:pt idx="4">
                  <c:v>Islos</c:v>
                </c:pt>
                <c:pt idx="5">
                  <c:v>Boursin</c:v>
                </c:pt>
                <c:pt idx="6">
                  <c:v>Others</c:v>
                </c:pt>
              </c:strCache>
            </c:strRef>
          </c:cat>
          <c:val>
            <c:numRef>
              <c:f>Sheet1!$C$2:$C$8</c:f>
              <c:numCache>
                <c:formatCode>General</c:formatCode>
                <c:ptCount val="7"/>
                <c:pt idx="0">
                  <c:v>0.2640921409214093</c:v>
                </c:pt>
                <c:pt idx="1">
                  <c:v>0.18956639566395667</c:v>
                </c:pt>
                <c:pt idx="2">
                  <c:v>0.10040650406504067</c:v>
                </c:pt>
                <c:pt idx="3">
                  <c:v>0.12357723577235777</c:v>
                </c:pt>
                <c:pt idx="4">
                  <c:v>0.03509485094850949</c:v>
                </c:pt>
                <c:pt idx="5">
                  <c:v>0.07547425474254744</c:v>
                </c:pt>
                <c:pt idx="6">
                  <c:v>0.2117886178861789</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Private Label</c:v>
                </c:pt>
                <c:pt idx="1">
                  <c:v>Galbani</c:v>
                </c:pt>
                <c:pt idx="2">
                  <c:v>Salakis</c:v>
                </c:pt>
                <c:pt idx="3">
                  <c:v>Casa Azzurra</c:v>
                </c:pt>
                <c:pt idx="4">
                  <c:v>Islos</c:v>
                </c:pt>
                <c:pt idx="5">
                  <c:v>Boursin</c:v>
                </c:pt>
                <c:pt idx="6">
                  <c:v>Others</c:v>
                </c:pt>
              </c:strCache>
            </c:strRef>
          </c:cat>
          <c:val>
            <c:numRef>
              <c:f>Sheet1!$D$2:$D$8</c:f>
              <c:numCache>
                <c:formatCode>General</c:formatCode>
                <c:ptCount val="7"/>
                <c:pt idx="0">
                  <c:v>51.249618283383924</c:v>
                </c:pt>
                <c:pt idx="1">
                  <c:v>93.50197885040853</c:v>
                </c:pt>
                <c:pt idx="2">
                  <c:v>104.93089072545558</c:v>
                </c:pt>
                <c:pt idx="3">
                  <c:v>153.2554983051264</c:v>
                </c:pt>
                <c:pt idx="4">
                  <c:v>133.42309418362476</c:v>
                </c:pt>
                <c:pt idx="5">
                  <c:v>460.22231714644437</c:v>
                </c:pt>
                <c:pt idx="6">
                  <c:v>336.55730702964627</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Private Label</c:v>
                </c:pt>
                <c:pt idx="1">
                  <c:v>Galbani</c:v>
                </c:pt>
                <c:pt idx="2">
                  <c:v>Salakis</c:v>
                </c:pt>
                <c:pt idx="3">
                  <c:v>Casa Azzurra</c:v>
                </c:pt>
                <c:pt idx="4">
                  <c:v>Islos</c:v>
                </c:pt>
                <c:pt idx="5">
                  <c:v>Boursin</c:v>
                </c:pt>
                <c:pt idx="6">
                  <c:v>Others</c:v>
                </c:pt>
              </c:strCache>
            </c:strRef>
          </c:cat>
          <c:val>
            <c:numRef>
              <c:f>Sheet1!$B$2:$B$8</c:f>
              <c:numCache>
                <c:formatCode>General</c:formatCode>
                <c:ptCount val="7"/>
                <c:pt idx="0">
                  <c:v>0.6443887909189253</c:v>
                </c:pt>
                <c:pt idx="1">
                  <c:v>0.17347311239822114</c:v>
                </c:pt>
                <c:pt idx="2">
                  <c:v>0.07544128545010664</c:v>
                </c:pt>
                <c:pt idx="3">
                  <c:v>0.035009798915272505</c:v>
                </c:pt>
                <c:pt idx="4">
                  <c:v>0.018813984175774123</c:v>
                </c:pt>
                <c:pt idx="5">
                  <c:v>0.009933678909117609</c:v>
                </c:pt>
                <c:pt idx="6">
                  <c:v>0.04293934923258265</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Private Label</c:v>
                </c:pt>
                <c:pt idx="1">
                  <c:v>Galbani</c:v>
                </c:pt>
                <c:pt idx="2">
                  <c:v>Salakis</c:v>
                </c:pt>
                <c:pt idx="3">
                  <c:v>Casa Azzurra</c:v>
                </c:pt>
                <c:pt idx="4">
                  <c:v>Islos</c:v>
                </c:pt>
                <c:pt idx="5">
                  <c:v>Boursin</c:v>
                </c:pt>
                <c:pt idx="6">
                  <c:v>Others</c:v>
                </c:pt>
              </c:strCache>
            </c:strRef>
          </c:cat>
          <c:val>
            <c:numRef>
              <c:f>Sheet1!$C$2:$C$8</c:f>
              <c:numCache>
                <c:formatCode>General</c:formatCode>
                <c:ptCount val="7"/>
                <c:pt idx="0">
                  <c:v>0.39383304086237136</c:v>
                </c:pt>
                <c:pt idx="1">
                  <c:v>0.1962897969415893</c:v>
                </c:pt>
                <c:pt idx="2">
                  <c:v>0.10879919779393327</c:v>
                </c:pt>
                <c:pt idx="3">
                  <c:v>0.09701679618952115</c:v>
                </c:pt>
                <c:pt idx="4">
                  <c:v>0.02531962897969415</c:v>
                </c:pt>
                <c:pt idx="5">
                  <c:v>0.06467786412634742</c:v>
                </c:pt>
                <c:pt idx="6">
                  <c:v>0.1140636751065429</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Private Label</c:v>
                </c:pt>
                <c:pt idx="1">
                  <c:v>Galbani</c:v>
                </c:pt>
                <c:pt idx="2">
                  <c:v>Salakis</c:v>
                </c:pt>
                <c:pt idx="3">
                  <c:v>Casa Azzurra</c:v>
                </c:pt>
                <c:pt idx="4">
                  <c:v>Islos</c:v>
                </c:pt>
                <c:pt idx="5">
                  <c:v>Boursin</c:v>
                </c:pt>
                <c:pt idx="6">
                  <c:v>Others</c:v>
                </c:pt>
              </c:strCache>
            </c:strRef>
          </c:cat>
          <c:val>
            <c:numRef>
              <c:f>Sheet1!$D$2:$D$8</c:f>
              <c:numCache>
                <c:formatCode>General</c:formatCode>
                <c:ptCount val="7"/>
                <c:pt idx="0">
                  <c:v>61.11730160618545</c:v>
                </c:pt>
                <c:pt idx="1">
                  <c:v>113.15286514891754</c:v>
                </c:pt>
                <c:pt idx="2">
                  <c:v>144.21705190308296</c:v>
                </c:pt>
                <c:pt idx="3">
                  <c:v>277.11326313045174</c:v>
                </c:pt>
                <c:pt idx="4">
                  <c:v>134.57877259351073</c:v>
                </c:pt>
                <c:pt idx="5">
                  <c:v>651.0967861763979</c:v>
                </c:pt>
                <c:pt idx="6">
                  <c:v>265.63904005324486</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3547</c:f>
              <c:strCache>
                <c:ptCount val="3546"/>
                <c:pt idx="0">
                  <c:v>Private Lab</c:v>
                </c:pt>
                <c:pt idx="1">
                  <c:v>Caprice Des</c:v>
                </c:pt>
                <c:pt idx="2">
                  <c:v>Private Lab</c:v>
                </c:pt>
                <c:pt idx="3">
                  <c:v>Private Lab</c:v>
                </c:pt>
                <c:pt idx="4">
                  <c:v>Private Lab</c:v>
                </c:pt>
                <c:pt idx="5">
                  <c:v>La Vache Qu</c:v>
                </c:pt>
                <c:pt idx="6">
                  <c:v>Coeur De Li</c:v>
                </c:pt>
                <c:pt idx="7">
                  <c:v>Private Lab</c:v>
                </c:pt>
                <c:pt idx="8">
                  <c:v>Private Lab</c:v>
                </c:pt>
                <c:pt idx="9">
                  <c:v>Private Lab</c:v>
                </c:pt>
                <c:pt idx="10">
                  <c:v>Caprice Des</c:v>
                </c:pt>
                <c:pt idx="11">
                  <c:v>Soignon</c:v>
                </c:pt>
                <c:pt idx="12">
                  <c:v>President</c:v>
                </c:pt>
                <c:pt idx="13">
                  <c:v>Private Lab</c:v>
                </c:pt>
                <c:pt idx="14">
                  <c:v>Private Lab</c:v>
                </c:pt>
                <c:pt idx="15">
                  <c:v>Mini Babybe</c:v>
                </c:pt>
                <c:pt idx="16">
                  <c:v>Private Lab</c:v>
                </c:pt>
                <c:pt idx="17">
                  <c:v>Private Lab</c:v>
                </c:pt>
                <c:pt idx="18">
                  <c:v>Le Rustique</c:v>
                </c:pt>
                <c:pt idx="19">
                  <c:v>Coeur De Li</c:v>
                </c:pt>
                <c:pt idx="20">
                  <c:v>Galbani</c:v>
                </c:pt>
                <c:pt idx="21">
                  <c:v>Mini Babybe</c:v>
                </c:pt>
                <c:pt idx="22">
                  <c:v>Soignon</c:v>
                </c:pt>
                <c:pt idx="23">
                  <c:v>St Moret</c:v>
                </c:pt>
                <c:pt idx="24">
                  <c:v>La Vache Qu</c:v>
                </c:pt>
                <c:pt idx="25">
                  <c:v>La Vache Qu</c:v>
                </c:pt>
                <c:pt idx="26">
                  <c:v>Private Lab</c:v>
                </c:pt>
                <c:pt idx="27">
                  <c:v>Kiri</c:v>
                </c:pt>
                <c:pt idx="28">
                  <c:v>Private Lab</c:v>
                </c:pt>
                <c:pt idx="29">
                  <c:v>Private Lab</c:v>
                </c:pt>
                <c:pt idx="30">
                  <c:v>President</c:v>
                </c:pt>
                <c:pt idx="31">
                  <c:v>Tartare</c:v>
                </c:pt>
                <c:pt idx="32">
                  <c:v>Salakis</c:v>
                </c:pt>
                <c:pt idx="33">
                  <c:v>St Moret</c:v>
                </c:pt>
                <c:pt idx="34">
                  <c:v>President</c:v>
                </c:pt>
                <c:pt idx="35">
                  <c:v>Paysan Bret</c:v>
                </c:pt>
                <c:pt idx="36">
                  <c:v>President</c:v>
                </c:pt>
                <c:pt idx="37">
                  <c:v>Kiri</c:v>
                </c:pt>
                <c:pt idx="38">
                  <c:v>St Moret</c:v>
                </c:pt>
                <c:pt idx="39">
                  <c:v>All Others</c:v>
                </c:pt>
                <c:pt idx="40">
                  <c:v>Private Lab</c:v>
                </c:pt>
                <c:pt idx="41">
                  <c:v>Soignon</c:v>
                </c:pt>
                <c:pt idx="42">
                  <c:v>Apericube</c:v>
                </c:pt>
                <c:pt idx="43">
                  <c:v>Private Lab</c:v>
                </c:pt>
                <c:pt idx="44">
                  <c:v>Private Lab</c:v>
                </c:pt>
                <c:pt idx="45">
                  <c:v>Ficello</c:v>
                </c:pt>
                <c:pt idx="46">
                  <c:v>Richesmonts</c:v>
                </c:pt>
                <c:pt idx="47">
                  <c:v>Private Lab</c:v>
                </c:pt>
                <c:pt idx="48">
                  <c:v>Private Lab</c:v>
                </c:pt>
                <c:pt idx="49">
                  <c:v>Chaussee Au</c:v>
                </c:pt>
                <c:pt idx="50">
                  <c:v>Philadelphi</c:v>
                </c:pt>
                <c:pt idx="51">
                  <c:v>President</c:v>
                </c:pt>
                <c:pt idx="52">
                  <c:v>Private Lab</c:v>
                </c:pt>
                <c:pt idx="53">
                  <c:v>Kiri</c:v>
                </c:pt>
                <c:pt idx="54">
                  <c:v>Carre Frais</c:v>
                </c:pt>
                <c:pt idx="55">
                  <c:v>Apericube</c:v>
                </c:pt>
                <c:pt idx="56">
                  <c:v>Carre Frais</c:v>
                </c:pt>
                <c:pt idx="57">
                  <c:v>Paysan Bret</c:v>
                </c:pt>
                <c:pt idx="58">
                  <c:v>Boursin</c:v>
                </c:pt>
                <c:pt idx="59">
                  <c:v>Petit Billy</c:v>
                </c:pt>
                <c:pt idx="60">
                  <c:v>Boursin</c:v>
                </c:pt>
                <c:pt idx="61">
                  <c:v>Private Lab</c:v>
                </c:pt>
                <c:pt idx="62">
                  <c:v>Islos</c:v>
                </c:pt>
                <c:pt idx="63">
                  <c:v>Kiri</c:v>
                </c:pt>
                <c:pt idx="64">
                  <c:v>Private Lab</c:v>
                </c:pt>
                <c:pt idx="65">
                  <c:v>Private Lab</c:v>
                </c:pt>
                <c:pt idx="66">
                  <c:v>Private Lab</c:v>
                </c:pt>
                <c:pt idx="67">
                  <c:v>Lepetit</c:v>
                </c:pt>
                <c:pt idx="68">
                  <c:v>President</c:v>
                </c:pt>
                <c:pt idx="69">
                  <c:v>Private Lab</c:v>
                </c:pt>
                <c:pt idx="70">
                  <c:v>Ficello</c:v>
                </c:pt>
                <c:pt idx="71">
                  <c:v>Societe</c:v>
                </c:pt>
                <c:pt idx="72">
                  <c:v>Private Lab</c:v>
                </c:pt>
                <c:pt idx="73">
                  <c:v>Apericube</c:v>
                </c:pt>
                <c:pt idx="74">
                  <c:v>Leerdammer</c:v>
                </c:pt>
                <c:pt idx="75">
                  <c:v>Philadelphi</c:v>
                </c:pt>
                <c:pt idx="76">
                  <c:v>Private Lab</c:v>
                </c:pt>
                <c:pt idx="77">
                  <c:v>Istara</c:v>
                </c:pt>
                <c:pt idx="78">
                  <c:v>St Moret</c:v>
                </c:pt>
                <c:pt idx="79">
                  <c:v>Caprice Des</c:v>
                </c:pt>
                <c:pt idx="80">
                  <c:v>Coeur De Li</c:v>
                </c:pt>
                <c:pt idx="81">
                  <c:v>Private Lab</c:v>
                </c:pt>
                <c:pt idx="82">
                  <c:v>Private Lab</c:v>
                </c:pt>
                <c:pt idx="83">
                  <c:v>Entremont</c:v>
                </c:pt>
                <c:pt idx="84">
                  <c:v>Private Lab</c:v>
                </c:pt>
                <c:pt idx="85">
                  <c:v>All Others</c:v>
                </c:pt>
                <c:pt idx="86">
                  <c:v>St Moret</c:v>
                </c:pt>
                <c:pt idx="87">
                  <c:v>Private Lab</c:v>
                </c:pt>
                <c:pt idx="88">
                  <c:v>Private Lab</c:v>
                </c:pt>
                <c:pt idx="89">
                  <c:v>Galbani</c:v>
                </c:pt>
                <c:pt idx="90">
                  <c:v>Entremont</c:v>
                </c:pt>
                <c:pt idx="91">
                  <c:v>Lou Perac</c:v>
                </c:pt>
                <c:pt idx="92">
                  <c:v>Salakis</c:v>
                </c:pt>
                <c:pt idx="93">
                  <c:v>Private Lab</c:v>
                </c:pt>
                <c:pt idx="94">
                  <c:v>Soignon</c:v>
                </c:pt>
                <c:pt idx="95">
                  <c:v>All Others</c:v>
                </c:pt>
                <c:pt idx="96">
                  <c:v>Private Lab</c:v>
                </c:pt>
                <c:pt idx="97">
                  <c:v>Boursin</c:v>
                </c:pt>
                <c:pt idx="98">
                  <c:v>Galbani</c:v>
                </c:pt>
                <c:pt idx="99">
                  <c:v>President</c:v>
                </c:pt>
                <c:pt idx="100">
                  <c:v>Casa Azzurr</c:v>
                </c:pt>
                <c:pt idx="101">
                  <c:v>Private Lab</c:v>
                </c:pt>
                <c:pt idx="102">
                  <c:v>Private Lab</c:v>
                </c:pt>
                <c:pt idx="103">
                  <c:v>Tartare</c:v>
                </c:pt>
                <c:pt idx="104">
                  <c:v>Juraflore</c:v>
                </c:pt>
                <c:pt idx="105">
                  <c:v>Private Lab</c:v>
                </c:pt>
                <c:pt idx="106">
                  <c:v>All Others</c:v>
                </c:pt>
                <c:pt idx="107">
                  <c:v>Private Lab</c:v>
                </c:pt>
                <c:pt idx="108">
                  <c:v>Soignon</c:v>
                </c:pt>
                <c:pt idx="109">
                  <c:v>Private Lab</c:v>
                </c:pt>
                <c:pt idx="110">
                  <c:v>Private Lab</c:v>
                </c:pt>
                <c:pt idx="111">
                  <c:v>Tartare</c:v>
                </c:pt>
                <c:pt idx="112">
                  <c:v>President</c:v>
                </c:pt>
                <c:pt idx="113">
                  <c:v>Private Lab</c:v>
                </c:pt>
                <c:pt idx="114">
                  <c:v>Aperivrais</c:v>
                </c:pt>
                <c:pt idx="115">
                  <c:v>Saint Agur</c:v>
                </c:pt>
                <c:pt idx="116">
                  <c:v>Le Brebiou</c:v>
                </c:pt>
                <c:pt idx="117">
                  <c:v>Private Lab</c:v>
                </c:pt>
                <c:pt idx="118">
                  <c:v>Private Lab</c:v>
                </c:pt>
                <c:pt idx="119">
                  <c:v>President</c:v>
                </c:pt>
                <c:pt idx="120">
                  <c:v>Boursin</c:v>
                </c:pt>
                <c:pt idx="121">
                  <c:v>Private Lab</c:v>
                </c:pt>
                <c:pt idx="122">
                  <c:v>Private Lab</c:v>
                </c:pt>
                <c:pt idx="123">
                  <c:v>Coeur De Li</c:v>
                </c:pt>
                <c:pt idx="124">
                  <c:v>Etorki</c:v>
                </c:pt>
                <c:pt idx="125">
                  <c:v>President</c:v>
                </c:pt>
                <c:pt idx="126">
                  <c:v>Casa Azzurr</c:v>
                </c:pt>
                <c:pt idx="127">
                  <c:v>President</c:v>
                </c:pt>
                <c:pt idx="128">
                  <c:v>St Moret</c:v>
                </c:pt>
                <c:pt idx="129">
                  <c:v>St Moret</c:v>
                </c:pt>
                <c:pt idx="130">
                  <c:v>Galbani</c:v>
                </c:pt>
                <c:pt idx="131">
                  <c:v>Boursin</c:v>
                </c:pt>
                <c:pt idx="132">
                  <c:v>Entremont</c:v>
                </c:pt>
                <c:pt idx="133">
                  <c:v>President</c:v>
                </c:pt>
                <c:pt idx="134">
                  <c:v>Richesmonts</c:v>
                </c:pt>
                <c:pt idx="135">
                  <c:v>All Others</c:v>
                </c:pt>
                <c:pt idx="136">
                  <c:v>President</c:v>
                </c:pt>
                <c:pt idx="137">
                  <c:v>Richesmonts</c:v>
                </c:pt>
                <c:pt idx="138">
                  <c:v>Entremont</c:v>
                </c:pt>
                <c:pt idx="139">
                  <c:v>Paysan Bret</c:v>
                </c:pt>
                <c:pt idx="140">
                  <c:v>St Moret</c:v>
                </c:pt>
                <c:pt idx="141">
                  <c:v>Private Lab</c:v>
                </c:pt>
                <c:pt idx="142">
                  <c:v>Private Lab</c:v>
                </c:pt>
                <c:pt idx="143">
                  <c:v>Aperivrais</c:v>
                </c:pt>
                <c:pt idx="144">
                  <c:v>Casa Azzurr</c:v>
                </c:pt>
                <c:pt idx="145">
                  <c:v>Chavroux</c:v>
                </c:pt>
                <c:pt idx="146">
                  <c:v>Private Lab</c:v>
                </c:pt>
                <c:pt idx="147">
                  <c:v>Kiri</c:v>
                </c:pt>
                <c:pt idx="148">
                  <c:v>Paysan Bret</c:v>
                </c:pt>
                <c:pt idx="149">
                  <c:v>L'Ortolan</c:v>
                </c:pt>
                <c:pt idx="150">
                  <c:v>All Others</c:v>
                </c:pt>
                <c:pt idx="151">
                  <c:v>Chaussee Au</c:v>
                </c:pt>
                <c:pt idx="152">
                  <c:v>Private Lab</c:v>
                </c:pt>
                <c:pt idx="153">
                  <c:v>Pochat</c:v>
                </c:pt>
                <c:pt idx="154">
                  <c:v>Apericube</c:v>
                </c:pt>
                <c:pt idx="155">
                  <c:v>La Vache Qu</c:v>
                </c:pt>
                <c:pt idx="156">
                  <c:v>Casa Azzurr</c:v>
                </c:pt>
                <c:pt idx="157">
                  <c:v>All Others</c:v>
                </c:pt>
                <c:pt idx="158">
                  <c:v>Saint Albra</c:v>
                </c:pt>
                <c:pt idx="159">
                  <c:v>Private Lab</c:v>
                </c:pt>
                <c:pt idx="160">
                  <c:v>Entremont</c:v>
                </c:pt>
                <c:pt idx="161">
                  <c:v>Private Lab</c:v>
                </c:pt>
                <c:pt idx="162">
                  <c:v>St Moret</c:v>
                </c:pt>
                <c:pt idx="163">
                  <c:v>Mini Babybe</c:v>
                </c:pt>
                <c:pt idx="164">
                  <c:v>President</c:v>
                </c:pt>
                <c:pt idx="165">
                  <c:v>Apericube</c:v>
                </c:pt>
                <c:pt idx="166">
                  <c:v>Private Lab</c:v>
                </c:pt>
                <c:pt idx="167">
                  <c:v>Private Lab</c:v>
                </c:pt>
                <c:pt idx="168">
                  <c:v>President</c:v>
                </c:pt>
                <c:pt idx="169">
                  <c:v>Soignon</c:v>
                </c:pt>
                <c:pt idx="170">
                  <c:v>Private Lab</c:v>
                </c:pt>
                <c:pt idx="171">
                  <c:v>Private Lab</c:v>
                </c:pt>
                <c:pt idx="172">
                  <c:v>President</c:v>
                </c:pt>
                <c:pt idx="173">
                  <c:v>Private Lab</c:v>
                </c:pt>
                <c:pt idx="174">
                  <c:v>Apericube</c:v>
                </c:pt>
                <c:pt idx="175">
                  <c:v>La Vache Qu</c:v>
                </c:pt>
                <c:pt idx="176">
                  <c:v>Private Lab</c:v>
                </c:pt>
                <c:pt idx="177">
                  <c:v>Le Rustique</c:v>
                </c:pt>
                <c:pt idx="178">
                  <c:v>Entremont</c:v>
                </c:pt>
                <c:pt idx="179">
                  <c:v>Private Lab</c:v>
                </c:pt>
                <c:pt idx="180">
                  <c:v>Mini Babybe</c:v>
                </c:pt>
                <c:pt idx="181">
                  <c:v>Istara</c:v>
                </c:pt>
                <c:pt idx="182">
                  <c:v>Private Lab</c:v>
                </c:pt>
                <c:pt idx="183">
                  <c:v>Private Lab</c:v>
                </c:pt>
                <c:pt idx="184">
                  <c:v>Private Lab</c:v>
                </c:pt>
                <c:pt idx="185">
                  <c:v>President</c:v>
                </c:pt>
                <c:pt idx="186">
                  <c:v>Salakis</c:v>
                </c:pt>
                <c:pt idx="187">
                  <c:v>Private Lab</c:v>
                </c:pt>
                <c:pt idx="188">
                  <c:v>Casa Azzurr</c:v>
                </c:pt>
                <c:pt idx="189">
                  <c:v>Private Lab</c:v>
                </c:pt>
                <c:pt idx="190">
                  <c:v>Private Lab</c:v>
                </c:pt>
                <c:pt idx="191">
                  <c:v>Private Lab</c:v>
                </c:pt>
                <c:pt idx="192">
                  <c:v>Private Lab</c:v>
                </c:pt>
                <c:pt idx="193">
                  <c:v>Leerdammer</c:v>
                </c:pt>
                <c:pt idx="194">
                  <c:v>Richesmonts</c:v>
                </c:pt>
                <c:pt idx="195">
                  <c:v>La Vache Qu</c:v>
                </c:pt>
                <c:pt idx="196">
                  <c:v>Coeur De Li</c:v>
                </c:pt>
                <c:pt idx="197">
                  <c:v>Richesmonts</c:v>
                </c:pt>
                <c:pt idx="198">
                  <c:v>Casa Azzurr</c:v>
                </c:pt>
                <c:pt idx="199">
                  <c:v>Lactalis: A</c:v>
                </c:pt>
                <c:pt idx="200">
                  <c:v>President</c:v>
                </c:pt>
                <c:pt idx="201">
                  <c:v>Leerdammer</c:v>
                </c:pt>
                <c:pt idx="202">
                  <c:v>Lactalis: A</c:v>
                </c:pt>
                <c:pt idx="203">
                  <c:v>Private Lab</c:v>
                </c:pt>
                <c:pt idx="204">
                  <c:v>Private Lab</c:v>
                </c:pt>
                <c:pt idx="205">
                  <c:v>Casa Azzurr</c:v>
                </c:pt>
                <c:pt idx="206">
                  <c:v>All Others</c:v>
                </c:pt>
                <c:pt idx="207">
                  <c:v>Caprice Des</c:v>
                </c:pt>
                <c:pt idx="208">
                  <c:v>Leerdammer</c:v>
                </c:pt>
                <c:pt idx="209">
                  <c:v>Private Lab</c:v>
                </c:pt>
                <c:pt idx="210">
                  <c:v>Saint Agur</c:v>
                </c:pt>
                <c:pt idx="211">
                  <c:v>Private Lab</c:v>
                </c:pt>
                <c:pt idx="212">
                  <c:v>All Others</c:v>
                </c:pt>
                <c:pt idx="213">
                  <c:v>Casa Azzurr</c:v>
                </c:pt>
                <c:pt idx="214">
                  <c:v>Lactalis: A</c:v>
                </c:pt>
                <c:pt idx="215">
                  <c:v>Private Lab</c:v>
                </c:pt>
                <c:pt idx="216">
                  <c:v>Bresse Bleu</c:v>
                </c:pt>
                <c:pt idx="217">
                  <c:v>Private Lab</c:v>
                </c:pt>
                <c:pt idx="218">
                  <c:v>Private Lab</c:v>
                </c:pt>
                <c:pt idx="219">
                  <c:v>Soignon</c:v>
                </c:pt>
                <c:pt idx="220">
                  <c:v>President</c:v>
                </c:pt>
                <c:pt idx="221">
                  <c:v>Private Lab</c:v>
                </c:pt>
                <c:pt idx="222">
                  <c:v>Kiri</c:v>
                </c:pt>
                <c:pt idx="223">
                  <c:v>Le Rustique</c:v>
                </c:pt>
                <c:pt idx="224">
                  <c:v>Salakis</c:v>
                </c:pt>
                <c:pt idx="225">
                  <c:v>Richesmonts</c:v>
                </c:pt>
                <c:pt idx="226">
                  <c:v>All Others</c:v>
                </c:pt>
                <c:pt idx="227">
                  <c:v>Lou Perac</c:v>
                </c:pt>
                <c:pt idx="228">
                  <c:v>Casa Azzurr</c:v>
                </c:pt>
                <c:pt idx="229">
                  <c:v>Private Lab</c:v>
                </c:pt>
                <c:pt idx="230">
                  <c:v>All Others</c:v>
                </c:pt>
                <c:pt idx="231">
                  <c:v>Leerdammer</c:v>
                </c:pt>
                <c:pt idx="232">
                  <c:v>Entremont</c:v>
                </c:pt>
                <c:pt idx="233">
                  <c:v>Private Lab</c:v>
                </c:pt>
                <c:pt idx="234">
                  <c:v>Tartare</c:v>
                </c:pt>
                <c:pt idx="235">
                  <c:v>Private Lab</c:v>
                </c:pt>
                <c:pt idx="236">
                  <c:v>Private Lab</c:v>
                </c:pt>
                <c:pt idx="237">
                  <c:v>Apericube</c:v>
                </c:pt>
                <c:pt idx="238">
                  <c:v>Parmareggio</c:v>
                </c:pt>
                <c:pt idx="239">
                  <c:v>Entremont</c:v>
                </c:pt>
                <c:pt idx="240">
                  <c:v>Leerdammer</c:v>
                </c:pt>
                <c:pt idx="241">
                  <c:v>Private Lab</c:v>
                </c:pt>
                <c:pt idx="242">
                  <c:v>Private Lab</c:v>
                </c:pt>
                <c:pt idx="243">
                  <c:v>Le Rustique</c:v>
                </c:pt>
                <c:pt idx="244">
                  <c:v>Private Lab</c:v>
                </c:pt>
                <c:pt idx="245">
                  <c:v>President</c:v>
                </c:pt>
                <c:pt idx="246">
                  <c:v>Saint Agur</c:v>
                </c:pt>
                <c:pt idx="247">
                  <c:v>Entremont</c:v>
                </c:pt>
                <c:pt idx="248">
                  <c:v>Babybel</c:v>
                </c:pt>
                <c:pt idx="249">
                  <c:v>President</c:v>
                </c:pt>
                <c:pt idx="250">
                  <c:v>Paysan Bret</c:v>
                </c:pt>
                <c:pt idx="251">
                  <c:v>P'Tit Louis</c:v>
                </c:pt>
                <c:pt idx="252">
                  <c:v>All Others</c:v>
                </c:pt>
                <c:pt idx="253">
                  <c:v>Galbani</c:v>
                </c:pt>
                <c:pt idx="254">
                  <c:v>Private Lab</c:v>
                </c:pt>
                <c:pt idx="255">
                  <c:v>Entremont</c:v>
                </c:pt>
                <c:pt idx="256">
                  <c:v>Carre Frais</c:v>
                </c:pt>
                <c:pt idx="257">
                  <c:v>Philadelphi</c:v>
                </c:pt>
                <c:pt idx="258">
                  <c:v>Boursin</c:v>
                </c:pt>
                <c:pt idx="259">
                  <c:v>Private Lab</c:v>
                </c:pt>
                <c:pt idx="260">
                  <c:v>Mini Babybe</c:v>
                </c:pt>
                <c:pt idx="261">
                  <c:v>Private Lab</c:v>
                </c:pt>
                <c:pt idx="262">
                  <c:v>Private Lab</c:v>
                </c:pt>
                <c:pt idx="263">
                  <c:v>Richesmonts</c:v>
                </c:pt>
                <c:pt idx="264">
                  <c:v>Private Lab</c:v>
                </c:pt>
                <c:pt idx="265">
                  <c:v>Chavroux</c:v>
                </c:pt>
                <c:pt idx="266">
                  <c:v>Private Lab</c:v>
                </c:pt>
                <c:pt idx="267">
                  <c:v>Private Lab</c:v>
                </c:pt>
                <c:pt idx="268">
                  <c:v>Paysan Bret</c:v>
                </c:pt>
                <c:pt idx="269">
                  <c:v>Boursin</c:v>
                </c:pt>
                <c:pt idx="270">
                  <c:v>All Others</c:v>
                </c:pt>
                <c:pt idx="271">
                  <c:v>Soignon</c:v>
                </c:pt>
                <c:pt idx="272">
                  <c:v>Rondele</c:v>
                </c:pt>
                <c:pt idx="273">
                  <c:v>Private Lab</c:v>
                </c:pt>
                <c:pt idx="274">
                  <c:v>Private Lab</c:v>
                </c:pt>
                <c:pt idx="275">
                  <c:v>Saint Agur</c:v>
                </c:pt>
                <c:pt idx="276">
                  <c:v>Galbani</c:v>
                </c:pt>
                <c:pt idx="277">
                  <c:v>Entremont</c:v>
                </c:pt>
                <c:pt idx="278">
                  <c:v>Private Lab</c:v>
                </c:pt>
                <c:pt idx="279">
                  <c:v>Fol Epi</c:v>
                </c:pt>
                <c:pt idx="280">
                  <c:v>Private Lab</c:v>
                </c:pt>
                <c:pt idx="281">
                  <c:v>All Others</c:v>
                </c:pt>
                <c:pt idx="282">
                  <c:v>All Others</c:v>
                </c:pt>
                <c:pt idx="283">
                  <c:v>Private Lab</c:v>
                </c:pt>
                <c:pt idx="284">
                  <c:v>Private Lab</c:v>
                </c:pt>
                <c:pt idx="285">
                  <c:v>Port Salut</c:v>
                </c:pt>
                <c:pt idx="286">
                  <c:v>Private Lab</c:v>
                </c:pt>
                <c:pt idx="287">
                  <c:v>Private Lab</c:v>
                </c:pt>
                <c:pt idx="288">
                  <c:v>All Others</c:v>
                </c:pt>
                <c:pt idx="289">
                  <c:v>Societe</c:v>
                </c:pt>
                <c:pt idx="290">
                  <c:v>All Others</c:v>
                </c:pt>
                <c:pt idx="291">
                  <c:v>Salakis</c:v>
                </c:pt>
                <c:pt idx="292">
                  <c:v>Private Lab</c:v>
                </c:pt>
                <c:pt idx="293">
                  <c:v>Apericube</c:v>
                </c:pt>
                <c:pt idx="294">
                  <c:v>All Others</c:v>
                </c:pt>
                <c:pt idx="295">
                  <c:v>Savencia: A</c:v>
                </c:pt>
                <c:pt idx="296">
                  <c:v>Soignon</c:v>
                </c:pt>
                <c:pt idx="297">
                  <c:v>Private Lab</c:v>
                </c:pt>
                <c:pt idx="298">
                  <c:v>Apericube</c:v>
                </c:pt>
                <c:pt idx="299">
                  <c:v>Pochat</c:v>
                </c:pt>
                <c:pt idx="300">
                  <c:v>Private Lab</c:v>
                </c:pt>
                <c:pt idx="301">
                  <c:v>Lactalis: A</c:v>
                </c:pt>
                <c:pt idx="302">
                  <c:v>All Others</c:v>
                </c:pt>
                <c:pt idx="303">
                  <c:v>Apericube</c:v>
                </c:pt>
                <c:pt idx="304">
                  <c:v>Mini Babybe</c:v>
                </c:pt>
                <c:pt idx="305">
                  <c:v>L'Ortolan</c:v>
                </c:pt>
                <c:pt idx="306">
                  <c:v>Soignon</c:v>
                </c:pt>
                <c:pt idx="307">
                  <c:v>Private Lab</c:v>
                </c:pt>
                <c:pt idx="308">
                  <c:v>Savencia: A</c:v>
                </c:pt>
                <c:pt idx="309">
                  <c:v>All Others</c:v>
                </c:pt>
                <c:pt idx="310">
                  <c:v>Richesmonts</c:v>
                </c:pt>
                <c:pt idx="311">
                  <c:v>President</c:v>
                </c:pt>
                <c:pt idx="312">
                  <c:v>All Others</c:v>
                </c:pt>
                <c:pt idx="313">
                  <c:v>La Vache Qu</c:v>
                </c:pt>
                <c:pt idx="314">
                  <c:v>Salakis</c:v>
                </c:pt>
                <c:pt idx="315">
                  <c:v>All Others</c:v>
                </c:pt>
                <c:pt idx="316">
                  <c:v>All Others</c:v>
                </c:pt>
                <c:pt idx="317">
                  <c:v>All Others</c:v>
                </c:pt>
                <c:pt idx="318">
                  <c:v>Soignon</c:v>
                </c:pt>
                <c:pt idx="319">
                  <c:v>Galbani</c:v>
                </c:pt>
                <c:pt idx="320">
                  <c:v>Bresse Bleu</c:v>
                </c:pt>
                <c:pt idx="321">
                  <c:v>All Others</c:v>
                </c:pt>
                <c:pt idx="322">
                  <c:v>Private Lab</c:v>
                </c:pt>
                <c:pt idx="323">
                  <c:v>Galbani</c:v>
                </c:pt>
                <c:pt idx="324">
                  <c:v>Paysan Bret</c:v>
                </c:pt>
                <c:pt idx="325">
                  <c:v>Richesmonts</c:v>
                </c:pt>
                <c:pt idx="326">
                  <c:v>All Others</c:v>
                </c:pt>
                <c:pt idx="327">
                  <c:v>Private Lab</c:v>
                </c:pt>
                <c:pt idx="328">
                  <c:v>Private Lab</c:v>
                </c:pt>
                <c:pt idx="329">
                  <c:v>All Others</c:v>
                </c:pt>
                <c:pt idx="330">
                  <c:v>Galbani</c:v>
                </c:pt>
                <c:pt idx="331">
                  <c:v>Caprice Des</c:v>
                </c:pt>
                <c:pt idx="332">
                  <c:v>Saint Albra</c:v>
                </c:pt>
                <c:pt idx="333">
                  <c:v>Private Lab</c:v>
                </c:pt>
                <c:pt idx="334">
                  <c:v>Entremont</c:v>
                </c:pt>
                <c:pt idx="335">
                  <c:v>President</c:v>
                </c:pt>
                <c:pt idx="336">
                  <c:v>President</c:v>
                </c:pt>
                <c:pt idx="337">
                  <c:v>President</c:v>
                </c:pt>
                <c:pt idx="338">
                  <c:v>Private Lab</c:v>
                </c:pt>
                <c:pt idx="339">
                  <c:v>All Others</c:v>
                </c:pt>
                <c:pt idx="340">
                  <c:v>Private Lab</c:v>
                </c:pt>
                <c:pt idx="341">
                  <c:v>Laita: All </c:v>
                </c:pt>
                <c:pt idx="342">
                  <c:v>La Vache Qu</c:v>
                </c:pt>
                <c:pt idx="343">
                  <c:v>All Others</c:v>
                </c:pt>
                <c:pt idx="344">
                  <c:v>Private Lab</c:v>
                </c:pt>
                <c:pt idx="345">
                  <c:v>Aperivrais</c:v>
                </c:pt>
                <c:pt idx="346">
                  <c:v>All Others</c:v>
                </c:pt>
                <c:pt idx="347">
                  <c:v>Cousteron</c:v>
                </c:pt>
                <c:pt idx="348">
                  <c:v>Private Lab</c:v>
                </c:pt>
                <c:pt idx="349">
                  <c:v>Kiri</c:v>
                </c:pt>
                <c:pt idx="350">
                  <c:v>All Others</c:v>
                </c:pt>
                <c:pt idx="351">
                  <c:v>Casa Azzurr</c:v>
                </c:pt>
                <c:pt idx="352">
                  <c:v>Private Lab</c:v>
                </c:pt>
                <c:pt idx="353">
                  <c:v>All Others</c:v>
                </c:pt>
                <c:pt idx="354">
                  <c:v>Fauquet</c:v>
                </c:pt>
                <c:pt idx="355">
                  <c:v>All Others</c:v>
                </c:pt>
                <c:pt idx="356">
                  <c:v>Private Lab</c:v>
                </c:pt>
                <c:pt idx="357">
                  <c:v>Entremont</c:v>
                </c:pt>
                <c:pt idx="358">
                  <c:v>All Others</c:v>
                </c:pt>
                <c:pt idx="359">
                  <c:v>President</c:v>
                </c:pt>
                <c:pt idx="360">
                  <c:v>Chavroux</c:v>
                </c:pt>
                <c:pt idx="361">
                  <c:v>President</c:v>
                </c:pt>
                <c:pt idx="362">
                  <c:v>Private Lab</c:v>
                </c:pt>
                <c:pt idx="363">
                  <c:v>Galbani</c:v>
                </c:pt>
                <c:pt idx="364">
                  <c:v>Soignon</c:v>
                </c:pt>
                <c:pt idx="365">
                  <c:v>Boursin</c:v>
                </c:pt>
                <c:pt idx="366">
                  <c:v>Entremont</c:v>
                </c:pt>
                <c:pt idx="367">
                  <c:v>All Others</c:v>
                </c:pt>
                <c:pt idx="368">
                  <c:v>Leerdammer</c:v>
                </c:pt>
                <c:pt idx="369">
                  <c:v>Private Lab</c:v>
                </c:pt>
                <c:pt idx="370">
                  <c:v>All Others</c:v>
                </c:pt>
                <c:pt idx="371">
                  <c:v>Private Lab</c:v>
                </c:pt>
                <c:pt idx="372">
                  <c:v>Casa Azzurr</c:v>
                </c:pt>
                <c:pt idx="373">
                  <c:v>President</c:v>
                </c:pt>
                <c:pt idx="374">
                  <c:v>Apericube</c:v>
                </c:pt>
                <c:pt idx="375">
                  <c:v>All Others</c:v>
                </c:pt>
                <c:pt idx="376">
                  <c:v>All Others</c:v>
                </c:pt>
                <c:pt idx="377">
                  <c:v>Entremont</c:v>
                </c:pt>
                <c:pt idx="378">
                  <c:v>All Others</c:v>
                </c:pt>
                <c:pt idx="379">
                  <c:v>St Moret</c:v>
                </c:pt>
                <c:pt idx="380">
                  <c:v>Private Lab</c:v>
                </c:pt>
                <c:pt idx="381">
                  <c:v>Casa Azzurr</c:v>
                </c:pt>
                <c:pt idx="382">
                  <c:v>Private Lab</c:v>
                </c:pt>
                <c:pt idx="383">
                  <c:v>Private Lab</c:v>
                </c:pt>
                <c:pt idx="384">
                  <c:v>Richesmonts</c:v>
                </c:pt>
                <c:pt idx="385">
                  <c:v>Societe</c:v>
                </c:pt>
                <c:pt idx="386">
                  <c:v>All Others</c:v>
                </c:pt>
                <c:pt idx="387">
                  <c:v>Private Lab</c:v>
                </c:pt>
                <c:pt idx="388">
                  <c:v>Private Lab</c:v>
                </c:pt>
                <c:pt idx="389">
                  <c:v>Societe</c:v>
                </c:pt>
                <c:pt idx="390">
                  <c:v>All Others</c:v>
                </c:pt>
                <c:pt idx="391">
                  <c:v>Private Lab</c:v>
                </c:pt>
                <c:pt idx="392">
                  <c:v>Violife</c:v>
                </c:pt>
                <c:pt idx="393">
                  <c:v>Private Lab</c:v>
                </c:pt>
                <c:pt idx="394">
                  <c:v>All Others</c:v>
                </c:pt>
                <c:pt idx="395">
                  <c:v>Apericube</c:v>
                </c:pt>
                <c:pt idx="396">
                  <c:v>Leerdammer</c:v>
                </c:pt>
                <c:pt idx="397">
                  <c:v>Soignon</c:v>
                </c:pt>
                <c:pt idx="398">
                  <c:v>All Others</c:v>
                </c:pt>
                <c:pt idx="399">
                  <c:v>Private Lab</c:v>
                </c:pt>
                <c:pt idx="400">
                  <c:v>La Pointe P</c:v>
                </c:pt>
                <c:pt idx="401">
                  <c:v>La Pointe P</c:v>
                </c:pt>
                <c:pt idx="402">
                  <c:v>Boursin</c:v>
                </c:pt>
                <c:pt idx="403">
                  <c:v>Soignon</c:v>
                </c:pt>
                <c:pt idx="404">
                  <c:v>All Others</c:v>
                </c:pt>
                <c:pt idx="405">
                  <c:v>Casa Azzurr</c:v>
                </c:pt>
                <c:pt idx="406">
                  <c:v>Private Lab</c:v>
                </c:pt>
                <c:pt idx="407">
                  <c:v>Caprice Des</c:v>
                </c:pt>
                <c:pt idx="408">
                  <c:v>Private Lab</c:v>
                </c:pt>
                <c:pt idx="409">
                  <c:v>Private Lab</c:v>
                </c:pt>
                <c:pt idx="410">
                  <c:v>Pave D'Affi</c:v>
                </c:pt>
                <c:pt idx="411">
                  <c:v>All Others</c:v>
                </c:pt>
                <c:pt idx="412">
                  <c:v>All Others</c:v>
                </c:pt>
                <c:pt idx="413">
                  <c:v>Private Lab</c:v>
                </c:pt>
                <c:pt idx="414">
                  <c:v>Ficello</c:v>
                </c:pt>
                <c:pt idx="415">
                  <c:v>All Others</c:v>
                </c:pt>
                <c:pt idx="416">
                  <c:v>All Others</c:v>
                </c:pt>
                <c:pt idx="417">
                  <c:v>Pave D'Affi</c:v>
                </c:pt>
                <c:pt idx="418">
                  <c:v>Private Lab</c:v>
                </c:pt>
                <c:pt idx="419">
                  <c:v>Casa Azzurr</c:v>
                </c:pt>
                <c:pt idx="420">
                  <c:v>Mini Babybe</c:v>
                </c:pt>
                <c:pt idx="421">
                  <c:v>President</c:v>
                </c:pt>
                <c:pt idx="422">
                  <c:v>Etoile Du V</c:v>
                </c:pt>
                <c:pt idx="423">
                  <c:v>Lou Perac</c:v>
                </c:pt>
                <c:pt idx="424">
                  <c:v>Private Lab</c:v>
                </c:pt>
                <c:pt idx="425">
                  <c:v>Coeur De Li</c:v>
                </c:pt>
                <c:pt idx="426">
                  <c:v>Private Lab</c:v>
                </c:pt>
                <c:pt idx="427">
                  <c:v>Private Lab</c:v>
                </c:pt>
                <c:pt idx="428">
                  <c:v>Lou Perac</c:v>
                </c:pt>
                <c:pt idx="429">
                  <c:v>All Others</c:v>
                </c:pt>
                <c:pt idx="430">
                  <c:v>Private Lab</c:v>
                </c:pt>
                <c:pt idx="431">
                  <c:v>All Others</c:v>
                </c:pt>
                <c:pt idx="432">
                  <c:v>Vieux Pane</c:v>
                </c:pt>
                <c:pt idx="433">
                  <c:v>Apericube</c:v>
                </c:pt>
                <c:pt idx="434">
                  <c:v>All Others</c:v>
                </c:pt>
                <c:pt idx="435">
                  <c:v>Saint Agur</c:v>
                </c:pt>
                <c:pt idx="436">
                  <c:v>Paysan Bret</c:v>
                </c:pt>
                <c:pt idx="437">
                  <c:v>Private Lab</c:v>
                </c:pt>
                <c:pt idx="438">
                  <c:v>P'Tit Louis</c:v>
                </c:pt>
                <c:pt idx="439">
                  <c:v>All Others</c:v>
                </c:pt>
                <c:pt idx="440">
                  <c:v>Galbani</c:v>
                </c:pt>
                <c:pt idx="441">
                  <c:v>Galbani</c:v>
                </c:pt>
                <c:pt idx="442">
                  <c:v>All Others</c:v>
                </c:pt>
                <c:pt idx="443">
                  <c:v>Aperivrais</c:v>
                </c:pt>
                <c:pt idx="444">
                  <c:v>Chaussee Au</c:v>
                </c:pt>
                <c:pt idx="445">
                  <c:v>All Others</c:v>
                </c:pt>
                <c:pt idx="446">
                  <c:v>Private Lab</c:v>
                </c:pt>
                <c:pt idx="447">
                  <c:v>Private Lab</c:v>
                </c:pt>
                <c:pt idx="448">
                  <c:v>La Pointe P</c:v>
                </c:pt>
                <c:pt idx="449">
                  <c:v>All Others</c:v>
                </c:pt>
                <c:pt idx="450">
                  <c:v>Private Lab</c:v>
                </c:pt>
                <c:pt idx="451">
                  <c:v>All Others</c:v>
                </c:pt>
                <c:pt idx="452">
                  <c:v>All Others</c:v>
                </c:pt>
                <c:pt idx="453">
                  <c:v>Kiri</c:v>
                </c:pt>
                <c:pt idx="454">
                  <c:v>All Others</c:v>
                </c:pt>
                <c:pt idx="455">
                  <c:v>Entremont</c:v>
                </c:pt>
                <c:pt idx="456">
                  <c:v>Private Lab</c:v>
                </c:pt>
                <c:pt idx="457">
                  <c:v>Mini Babybe</c:v>
                </c:pt>
                <c:pt idx="458">
                  <c:v>St Moret</c:v>
                </c:pt>
                <c:pt idx="459">
                  <c:v>All Others</c:v>
                </c:pt>
                <c:pt idx="460">
                  <c:v>Tartare</c:v>
                </c:pt>
                <c:pt idx="461">
                  <c:v>All Others</c:v>
                </c:pt>
                <c:pt idx="462">
                  <c:v>Soignon</c:v>
                </c:pt>
                <c:pt idx="463">
                  <c:v>All Others</c:v>
                </c:pt>
                <c:pt idx="464">
                  <c:v>Private Lab</c:v>
                </c:pt>
                <c:pt idx="465">
                  <c:v>Private Lab</c:v>
                </c:pt>
                <c:pt idx="466">
                  <c:v>All Others</c:v>
                </c:pt>
                <c:pt idx="467">
                  <c:v>All Others</c:v>
                </c:pt>
                <c:pt idx="468">
                  <c:v>Private Lab</c:v>
                </c:pt>
                <c:pt idx="469">
                  <c:v>Casa Azzurr</c:v>
                </c:pt>
                <c:pt idx="470">
                  <c:v>La Pointe P</c:v>
                </c:pt>
                <c:pt idx="471">
                  <c:v>Fauquet</c:v>
                </c:pt>
                <c:pt idx="472">
                  <c:v>Juraflore</c:v>
                </c:pt>
                <c:pt idx="473">
                  <c:v>Private Lab</c:v>
                </c:pt>
                <c:pt idx="474">
                  <c:v>All Others</c:v>
                </c:pt>
                <c:pt idx="475">
                  <c:v>Paysan Bret</c:v>
                </c:pt>
                <c:pt idx="476">
                  <c:v>Boursin</c:v>
                </c:pt>
                <c:pt idx="477">
                  <c:v>La Vache Qu</c:v>
                </c:pt>
                <c:pt idx="478">
                  <c:v>Boursin</c:v>
                </c:pt>
                <c:pt idx="479">
                  <c:v>St Moret</c:v>
                </c:pt>
                <c:pt idx="480">
                  <c:v>Private Lab</c:v>
                </c:pt>
                <c:pt idx="481">
                  <c:v>P'Tit Louis</c:v>
                </c:pt>
                <c:pt idx="482">
                  <c:v>Leerdammer</c:v>
                </c:pt>
                <c:pt idx="483">
                  <c:v>Private Lab</c:v>
                </c:pt>
                <c:pt idx="484">
                  <c:v>Private Lab</c:v>
                </c:pt>
                <c:pt idx="485">
                  <c:v>Private Lab</c:v>
                </c:pt>
                <c:pt idx="486">
                  <c:v>Private Lab</c:v>
                </c:pt>
                <c:pt idx="487">
                  <c:v>Private Lab</c:v>
                </c:pt>
                <c:pt idx="488">
                  <c:v>All Others</c:v>
                </c:pt>
                <c:pt idx="489">
                  <c:v>All Others</c:v>
                </c:pt>
                <c:pt idx="490">
                  <c:v>Apericube</c:v>
                </c:pt>
                <c:pt idx="491">
                  <c:v>Savencia: A</c:v>
                </c:pt>
                <c:pt idx="492">
                  <c:v>All Others</c:v>
                </c:pt>
                <c:pt idx="493">
                  <c:v>Triballat N</c:v>
                </c:pt>
                <c:pt idx="494">
                  <c:v>All Others</c:v>
                </c:pt>
                <c:pt idx="495">
                  <c:v>All Others</c:v>
                </c:pt>
                <c:pt idx="496">
                  <c:v>All Others</c:v>
                </c:pt>
                <c:pt idx="497">
                  <c:v>Violife</c:v>
                </c:pt>
                <c:pt idx="498">
                  <c:v>Galbani</c:v>
                </c:pt>
                <c:pt idx="499">
                  <c:v>Pave D'Affi</c:v>
                </c:pt>
                <c:pt idx="500">
                  <c:v>Savencia: A</c:v>
                </c:pt>
                <c:pt idx="501">
                  <c:v>All Others</c:v>
                </c:pt>
                <c:pt idx="502">
                  <c:v>Etorki</c:v>
                </c:pt>
                <c:pt idx="503">
                  <c:v>All Others</c:v>
                </c:pt>
                <c:pt idx="504">
                  <c:v>All Others</c:v>
                </c:pt>
                <c:pt idx="505">
                  <c:v>Galbani</c:v>
                </c:pt>
                <c:pt idx="506">
                  <c:v>Kiri</c:v>
                </c:pt>
                <c:pt idx="507">
                  <c:v>All Others</c:v>
                </c:pt>
                <c:pt idx="508">
                  <c:v>Lactalis: A</c:v>
                </c:pt>
                <c:pt idx="509">
                  <c:v>Le Rustique</c:v>
                </c:pt>
                <c:pt idx="510">
                  <c:v>Entremont</c:v>
                </c:pt>
                <c:pt idx="511">
                  <c:v>Boursin</c:v>
                </c:pt>
                <c:pt idx="512">
                  <c:v>Richesmonts</c:v>
                </c:pt>
                <c:pt idx="513">
                  <c:v>Private Lab</c:v>
                </c:pt>
                <c:pt idx="514">
                  <c:v>All Others</c:v>
                </c:pt>
                <c:pt idx="515">
                  <c:v>Tartare</c:v>
                </c:pt>
                <c:pt idx="516">
                  <c:v>Societe</c:v>
                </c:pt>
                <c:pt idx="517">
                  <c:v>All Others</c:v>
                </c:pt>
                <c:pt idx="518">
                  <c:v>Caprice Des</c:v>
                </c:pt>
                <c:pt idx="519">
                  <c:v>All Others</c:v>
                </c:pt>
                <c:pt idx="520">
                  <c:v>President</c:v>
                </c:pt>
                <c:pt idx="521">
                  <c:v>Savencia: A</c:v>
                </c:pt>
                <c:pt idx="522">
                  <c:v>All Others</c:v>
                </c:pt>
                <c:pt idx="523">
                  <c:v>All Others</c:v>
                </c:pt>
                <c:pt idx="524">
                  <c:v>Private Lab</c:v>
                </c:pt>
                <c:pt idx="525">
                  <c:v>All Others</c:v>
                </c:pt>
                <c:pt idx="526">
                  <c:v>Private Lab</c:v>
                </c:pt>
                <c:pt idx="527">
                  <c:v>La Vache Qu</c:v>
                </c:pt>
                <c:pt idx="528">
                  <c:v>Casa Azzurr</c:v>
                </c:pt>
                <c:pt idx="529">
                  <c:v>Private Lab</c:v>
                </c:pt>
                <c:pt idx="530">
                  <c:v>Private Lab</c:v>
                </c:pt>
                <c:pt idx="531">
                  <c:v>Caprice Des</c:v>
                </c:pt>
                <c:pt idx="532">
                  <c:v>Etoile Du Q</c:v>
                </c:pt>
                <c:pt idx="533">
                  <c:v>Private Lab</c:v>
                </c:pt>
                <c:pt idx="534">
                  <c:v>Private Lab</c:v>
                </c:pt>
                <c:pt idx="535">
                  <c:v>All Others</c:v>
                </c:pt>
                <c:pt idx="536">
                  <c:v>Private Lab</c:v>
                </c:pt>
                <c:pt idx="537">
                  <c:v>Salakis</c:v>
                </c:pt>
                <c:pt idx="538">
                  <c:v>Casa Azzurr</c:v>
                </c:pt>
                <c:pt idx="539">
                  <c:v>All Others</c:v>
                </c:pt>
                <c:pt idx="540">
                  <c:v>All Others</c:v>
                </c:pt>
                <c:pt idx="541">
                  <c:v>All Others</c:v>
                </c:pt>
                <c:pt idx="542">
                  <c:v>All Others</c:v>
                </c:pt>
                <c:pt idx="543">
                  <c:v>All Others</c:v>
                </c:pt>
                <c:pt idx="544">
                  <c:v>Apericube</c:v>
                </c:pt>
                <c:pt idx="545">
                  <c:v>All Others</c:v>
                </c:pt>
                <c:pt idx="546">
                  <c:v>All Others</c:v>
                </c:pt>
                <c:pt idx="547">
                  <c:v>Galbani</c:v>
                </c:pt>
                <c:pt idx="548">
                  <c:v>Richesmonts</c:v>
                </c:pt>
                <c:pt idx="549">
                  <c:v>Lactalis: A</c:v>
                </c:pt>
                <c:pt idx="550">
                  <c:v>All Others</c:v>
                </c:pt>
                <c:pt idx="551">
                  <c:v>All Others</c:v>
                </c:pt>
                <c:pt idx="552">
                  <c:v>Boursin</c:v>
                </c:pt>
                <c:pt idx="553">
                  <c:v>All Others</c:v>
                </c:pt>
                <c:pt idx="554">
                  <c:v>All Others</c:v>
                </c:pt>
                <c:pt idx="555">
                  <c:v>All Others</c:v>
                </c:pt>
                <c:pt idx="556">
                  <c:v>All Others</c:v>
                </c:pt>
                <c:pt idx="557">
                  <c:v>President</c:v>
                </c:pt>
                <c:pt idx="558">
                  <c:v>All Others</c:v>
                </c:pt>
                <c:pt idx="559">
                  <c:v>Private Lab</c:v>
                </c:pt>
                <c:pt idx="560">
                  <c:v>All Others</c:v>
                </c:pt>
                <c:pt idx="561">
                  <c:v>Ficello</c:v>
                </c:pt>
                <c:pt idx="562">
                  <c:v>Private Lab</c:v>
                </c:pt>
                <c:pt idx="563">
                  <c:v>Philadelphi</c:v>
                </c:pt>
                <c:pt idx="564">
                  <c:v>All Others</c:v>
                </c:pt>
                <c:pt idx="565">
                  <c:v>All Others</c:v>
                </c:pt>
                <c:pt idx="566">
                  <c:v>Apericube</c:v>
                </c:pt>
                <c:pt idx="567">
                  <c:v>All Others</c:v>
                </c:pt>
                <c:pt idx="568">
                  <c:v>President</c:v>
                </c:pt>
                <c:pt idx="569">
                  <c:v>Private Lab</c:v>
                </c:pt>
                <c:pt idx="570">
                  <c:v>Private Lab</c:v>
                </c:pt>
                <c:pt idx="571">
                  <c:v>All Others</c:v>
                </c:pt>
                <c:pt idx="572">
                  <c:v>Galbani</c:v>
                </c:pt>
                <c:pt idx="573">
                  <c:v>Leerdammer</c:v>
                </c:pt>
                <c:pt idx="574">
                  <c:v>All Others</c:v>
                </c:pt>
                <c:pt idx="575">
                  <c:v>Entremont</c:v>
                </c:pt>
                <c:pt idx="576">
                  <c:v>Corsica</c:v>
                </c:pt>
                <c:pt idx="577">
                  <c:v>All Others</c:v>
                </c:pt>
                <c:pt idx="578">
                  <c:v>La Pointe P</c:v>
                </c:pt>
                <c:pt idx="579">
                  <c:v>Private Lab</c:v>
                </c:pt>
                <c:pt idx="580">
                  <c:v>Private Lab</c:v>
                </c:pt>
                <c:pt idx="581">
                  <c:v>President</c:v>
                </c:pt>
                <c:pt idx="582">
                  <c:v>La Pointe P</c:v>
                </c:pt>
                <c:pt idx="583">
                  <c:v>Kiri</c:v>
                </c:pt>
                <c:pt idx="584">
                  <c:v>All Others</c:v>
                </c:pt>
                <c:pt idx="585">
                  <c:v>President</c:v>
                </c:pt>
                <c:pt idx="586">
                  <c:v>Tartare</c:v>
                </c:pt>
                <c:pt idx="587">
                  <c:v>Private Lab</c:v>
                </c:pt>
                <c:pt idx="588">
                  <c:v>All Others</c:v>
                </c:pt>
                <c:pt idx="589">
                  <c:v>All Others</c:v>
                </c:pt>
                <c:pt idx="590">
                  <c:v>Le Coq Crem</c:v>
                </c:pt>
                <c:pt idx="591">
                  <c:v>All Others</c:v>
                </c:pt>
                <c:pt idx="592">
                  <c:v>Rondele</c:v>
                </c:pt>
                <c:pt idx="593">
                  <c:v>Leerdammer</c:v>
                </c:pt>
                <c:pt idx="594">
                  <c:v>All Others</c:v>
                </c:pt>
                <c:pt idx="595">
                  <c:v>Societe</c:v>
                </c:pt>
                <c:pt idx="596">
                  <c:v>Private Lab</c:v>
                </c:pt>
                <c:pt idx="597">
                  <c:v>Galbani</c:v>
                </c:pt>
                <c:pt idx="598">
                  <c:v>President</c:v>
                </c:pt>
                <c:pt idx="599">
                  <c:v>Casa Azzurr</c:v>
                </c:pt>
                <c:pt idx="600">
                  <c:v>All Others</c:v>
                </c:pt>
                <c:pt idx="601">
                  <c:v>Private Lab</c:v>
                </c:pt>
                <c:pt idx="602">
                  <c:v>Corsica</c:v>
                </c:pt>
                <c:pt idx="603">
                  <c:v>Private Lab</c:v>
                </c:pt>
                <c:pt idx="604">
                  <c:v>Violife</c:v>
                </c:pt>
                <c:pt idx="605">
                  <c:v>Pave D'Affi</c:v>
                </c:pt>
                <c:pt idx="606">
                  <c:v>All Others</c:v>
                </c:pt>
                <c:pt idx="607">
                  <c:v>All Others</c:v>
                </c:pt>
                <c:pt idx="608">
                  <c:v>Entremont</c:v>
                </c:pt>
                <c:pt idx="609">
                  <c:v>La Pointe P</c:v>
                </c:pt>
                <c:pt idx="610">
                  <c:v>Juraflore</c:v>
                </c:pt>
                <c:pt idx="611">
                  <c:v>Mini Babybe</c:v>
                </c:pt>
                <c:pt idx="612">
                  <c:v>All Others</c:v>
                </c:pt>
                <c:pt idx="613">
                  <c:v>Istara</c:v>
                </c:pt>
                <c:pt idx="614">
                  <c:v>Etoile Du V</c:v>
                </c:pt>
                <c:pt idx="615">
                  <c:v>All Others</c:v>
                </c:pt>
                <c:pt idx="616">
                  <c:v>Soignon</c:v>
                </c:pt>
                <c:pt idx="617">
                  <c:v>All Others</c:v>
                </c:pt>
                <c:pt idx="618">
                  <c:v>All Others</c:v>
                </c:pt>
                <c:pt idx="619">
                  <c:v>All Others</c:v>
                </c:pt>
                <c:pt idx="620">
                  <c:v>Casa Azzurr</c:v>
                </c:pt>
                <c:pt idx="621">
                  <c:v>Richesmonts</c:v>
                </c:pt>
                <c:pt idx="622">
                  <c:v>All Others</c:v>
                </c:pt>
                <c:pt idx="623">
                  <c:v>Private Lab</c:v>
                </c:pt>
                <c:pt idx="624">
                  <c:v>President</c:v>
                </c:pt>
                <c:pt idx="625">
                  <c:v>Juraflore</c:v>
                </c:pt>
                <c:pt idx="626">
                  <c:v>Apericube</c:v>
                </c:pt>
                <c:pt idx="627">
                  <c:v>Etoile Du V</c:v>
                </c:pt>
                <c:pt idx="628">
                  <c:v>All Others</c:v>
                </c:pt>
                <c:pt idx="629">
                  <c:v>Private Lab</c:v>
                </c:pt>
                <c:pt idx="630">
                  <c:v>Lactalis: A</c:v>
                </c:pt>
                <c:pt idx="631">
                  <c:v>Rondele</c:v>
                </c:pt>
                <c:pt idx="632">
                  <c:v>All Others</c:v>
                </c:pt>
                <c:pt idx="633">
                  <c:v>Saint Agur</c:v>
                </c:pt>
                <c:pt idx="634">
                  <c:v>All Others</c:v>
                </c:pt>
                <c:pt idx="635">
                  <c:v>Lou Perac</c:v>
                </c:pt>
                <c:pt idx="636">
                  <c:v>All Others</c:v>
                </c:pt>
                <c:pt idx="637">
                  <c:v>Fauquet</c:v>
                </c:pt>
                <c:pt idx="638">
                  <c:v>Lactalis: A</c:v>
                </c:pt>
                <c:pt idx="639">
                  <c:v>President</c:v>
                </c:pt>
                <c:pt idx="640">
                  <c:v>Casa Azzurr</c:v>
                </c:pt>
                <c:pt idx="641">
                  <c:v>All Others</c:v>
                </c:pt>
                <c:pt idx="642">
                  <c:v>Private Lab</c:v>
                </c:pt>
                <c:pt idx="643">
                  <c:v>Pochat</c:v>
                </c:pt>
                <c:pt idx="644">
                  <c:v>Private Lab</c:v>
                </c:pt>
                <c:pt idx="645">
                  <c:v>All Others</c:v>
                </c:pt>
                <c:pt idx="646">
                  <c:v>All Others</c:v>
                </c:pt>
                <c:pt idx="647">
                  <c:v>Private Lab</c:v>
                </c:pt>
                <c:pt idx="648">
                  <c:v>Casa Azzurr</c:v>
                </c:pt>
                <c:pt idx="649">
                  <c:v>All Others</c:v>
                </c:pt>
                <c:pt idx="650">
                  <c:v>Eurial Autr</c:v>
                </c:pt>
                <c:pt idx="651">
                  <c:v>All Others</c:v>
                </c:pt>
                <c:pt idx="652">
                  <c:v>All Others</c:v>
                </c:pt>
                <c:pt idx="653">
                  <c:v>All Others</c:v>
                </c:pt>
                <c:pt idx="654">
                  <c:v>All Others</c:v>
                </c:pt>
                <c:pt idx="655">
                  <c:v>Galbani</c:v>
                </c:pt>
                <c:pt idx="656">
                  <c:v>Casa Azzurr</c:v>
                </c:pt>
                <c:pt idx="657">
                  <c:v>Pave D'Affi</c:v>
                </c:pt>
                <c:pt idx="658">
                  <c:v>President</c:v>
                </c:pt>
                <c:pt idx="659">
                  <c:v>Triballat R</c:v>
                </c:pt>
                <c:pt idx="660">
                  <c:v>Violife</c:v>
                </c:pt>
                <c:pt idx="661">
                  <c:v>Islos</c:v>
                </c:pt>
                <c:pt idx="662">
                  <c:v>Private Lab</c:v>
                </c:pt>
                <c:pt idx="663">
                  <c:v>All Others</c:v>
                </c:pt>
                <c:pt idx="664">
                  <c:v>Eurial Autr</c:v>
                </c:pt>
                <c:pt idx="665">
                  <c:v>Private Lab</c:v>
                </c:pt>
                <c:pt idx="666">
                  <c:v>All Others</c:v>
                </c:pt>
                <c:pt idx="667">
                  <c:v>Savencia: A</c:v>
                </c:pt>
                <c:pt idx="668">
                  <c:v>Apericube</c:v>
                </c:pt>
                <c:pt idx="669">
                  <c:v>All Others</c:v>
                </c:pt>
                <c:pt idx="670">
                  <c:v>Soignon</c:v>
                </c:pt>
                <c:pt idx="671">
                  <c:v>L'Ortolan</c:v>
                </c:pt>
                <c:pt idx="672">
                  <c:v>All Others</c:v>
                </c:pt>
                <c:pt idx="673">
                  <c:v>All Others</c:v>
                </c:pt>
                <c:pt idx="674">
                  <c:v>All Others</c:v>
                </c:pt>
                <c:pt idx="675">
                  <c:v>All Others</c:v>
                </c:pt>
                <c:pt idx="676">
                  <c:v>Port Salut</c:v>
                </c:pt>
                <c:pt idx="677">
                  <c:v>All Others</c:v>
                </c:pt>
                <c:pt idx="678">
                  <c:v>All Others</c:v>
                </c:pt>
                <c:pt idx="679">
                  <c:v>Private Lab</c:v>
                </c:pt>
                <c:pt idx="680">
                  <c:v>All Others</c:v>
                </c:pt>
                <c:pt idx="681">
                  <c:v>Babybel</c:v>
                </c:pt>
                <c:pt idx="682">
                  <c:v>All Others</c:v>
                </c:pt>
                <c:pt idx="683">
                  <c:v>Leerdammer</c:v>
                </c:pt>
                <c:pt idx="684">
                  <c:v>All Others</c:v>
                </c:pt>
                <c:pt idx="685">
                  <c:v>Private Lab</c:v>
                </c:pt>
                <c:pt idx="686">
                  <c:v>All Others</c:v>
                </c:pt>
                <c:pt idx="687">
                  <c:v>All Others</c:v>
                </c:pt>
                <c:pt idx="688">
                  <c:v>Apericube</c:v>
                </c:pt>
                <c:pt idx="689">
                  <c:v>Private Lab</c:v>
                </c:pt>
                <c:pt idx="690">
                  <c:v>All Others</c:v>
                </c:pt>
                <c:pt idx="691">
                  <c:v>Soignon</c:v>
                </c:pt>
                <c:pt idx="692">
                  <c:v>Milleret: A</c:v>
                </c:pt>
                <c:pt idx="693">
                  <c:v>Private Lab</c:v>
                </c:pt>
                <c:pt idx="694">
                  <c:v>All Others</c:v>
                </c:pt>
                <c:pt idx="695">
                  <c:v>Violife</c:v>
                </c:pt>
                <c:pt idx="696">
                  <c:v>All Others</c:v>
                </c:pt>
                <c:pt idx="697">
                  <c:v>All Others</c:v>
                </c:pt>
                <c:pt idx="698">
                  <c:v>All Others</c:v>
                </c:pt>
                <c:pt idx="699">
                  <c:v>Paysan Bret</c:v>
                </c:pt>
                <c:pt idx="700">
                  <c:v>Savencia: A</c:v>
                </c:pt>
                <c:pt idx="701">
                  <c:v>Private Lab</c:v>
                </c:pt>
                <c:pt idx="702">
                  <c:v>All Others</c:v>
                </c:pt>
                <c:pt idx="703">
                  <c:v>Private Lab</c:v>
                </c:pt>
                <c:pt idx="704">
                  <c:v>All Others</c:v>
                </c:pt>
                <c:pt idx="705">
                  <c:v>All Others</c:v>
                </c:pt>
                <c:pt idx="706">
                  <c:v>All Others</c:v>
                </c:pt>
                <c:pt idx="707">
                  <c:v>All Others</c:v>
                </c:pt>
                <c:pt idx="708">
                  <c:v>All Others</c:v>
                </c:pt>
                <c:pt idx="709">
                  <c:v>All Others</c:v>
                </c:pt>
                <c:pt idx="710">
                  <c:v>All Others</c:v>
                </c:pt>
                <c:pt idx="711">
                  <c:v>All Others</c:v>
                </c:pt>
                <c:pt idx="712">
                  <c:v>President</c:v>
                </c:pt>
                <c:pt idx="713">
                  <c:v>Private Lab</c:v>
                </c:pt>
                <c:pt idx="714">
                  <c:v>All Others</c:v>
                </c:pt>
                <c:pt idx="715">
                  <c:v>All Others</c:v>
                </c:pt>
                <c:pt idx="716">
                  <c:v>Saint Agur</c:v>
                </c:pt>
                <c:pt idx="717">
                  <c:v>Le Brebiou</c:v>
                </c:pt>
                <c:pt idx="718">
                  <c:v>All Others</c:v>
                </c:pt>
                <c:pt idx="719">
                  <c:v>Private Lab</c:v>
                </c:pt>
                <c:pt idx="720">
                  <c:v>All Others</c:v>
                </c:pt>
                <c:pt idx="721">
                  <c:v>Triballat N</c:v>
                </c:pt>
                <c:pt idx="722">
                  <c:v>Leerdammer</c:v>
                </c:pt>
                <c:pt idx="723">
                  <c:v>Private Lab</c:v>
                </c:pt>
                <c:pt idx="724">
                  <c:v>Islos</c:v>
                </c:pt>
                <c:pt idx="725">
                  <c:v>Private Lab</c:v>
                </c:pt>
                <c:pt idx="726">
                  <c:v>President</c:v>
                </c:pt>
                <c:pt idx="727">
                  <c:v>Salakis</c:v>
                </c:pt>
                <c:pt idx="728">
                  <c:v>All Others</c:v>
                </c:pt>
                <c:pt idx="729">
                  <c:v>Private Lab</c:v>
                </c:pt>
                <c:pt idx="730">
                  <c:v>All Others</c:v>
                </c:pt>
                <c:pt idx="731">
                  <c:v>Soignon</c:v>
                </c:pt>
                <c:pt idx="732">
                  <c:v>Private Lab</c:v>
                </c:pt>
                <c:pt idx="733">
                  <c:v>Entremont</c:v>
                </c:pt>
                <c:pt idx="734">
                  <c:v>Entremont</c:v>
                </c:pt>
                <c:pt idx="735">
                  <c:v>Boursin</c:v>
                </c:pt>
                <c:pt idx="736">
                  <c:v>All Others</c:v>
                </c:pt>
                <c:pt idx="737">
                  <c:v>La Belle Et</c:v>
                </c:pt>
                <c:pt idx="738">
                  <c:v>Lactalis: A</c:v>
                </c:pt>
                <c:pt idx="739">
                  <c:v>All Others</c:v>
                </c:pt>
                <c:pt idx="740">
                  <c:v>Private Lab</c:v>
                </c:pt>
                <c:pt idx="741">
                  <c:v>Lactalis: A</c:v>
                </c:pt>
                <c:pt idx="742">
                  <c:v>All Others</c:v>
                </c:pt>
                <c:pt idx="743">
                  <c:v>All Others</c:v>
                </c:pt>
                <c:pt idx="744">
                  <c:v>Entremont</c:v>
                </c:pt>
                <c:pt idx="745">
                  <c:v>Chaussee Au</c:v>
                </c:pt>
                <c:pt idx="746">
                  <c:v>All Others</c:v>
                </c:pt>
                <c:pt idx="747">
                  <c:v>O'Tapas Ape</c:v>
                </c:pt>
                <c:pt idx="748">
                  <c:v>Private Lab</c:v>
                </c:pt>
                <c:pt idx="749">
                  <c:v>All Others</c:v>
                </c:pt>
                <c:pt idx="750">
                  <c:v>Private Lab</c:v>
                </c:pt>
                <c:pt idx="751">
                  <c:v>All Others</c:v>
                </c:pt>
                <c:pt idx="752">
                  <c:v>Private Lab</c:v>
                </c:pt>
                <c:pt idx="753">
                  <c:v>Richesmonts</c:v>
                </c:pt>
                <c:pt idx="754">
                  <c:v>All Others</c:v>
                </c:pt>
                <c:pt idx="755">
                  <c:v>Richesmonts</c:v>
                </c:pt>
                <c:pt idx="756">
                  <c:v>All Others</c:v>
                </c:pt>
                <c:pt idx="757">
                  <c:v>All Others</c:v>
                </c:pt>
                <c:pt idx="758">
                  <c:v>All Others</c:v>
                </c:pt>
                <c:pt idx="759">
                  <c:v>Private Lab</c:v>
                </c:pt>
                <c:pt idx="760">
                  <c:v>Private Lab</c:v>
                </c:pt>
                <c:pt idx="761">
                  <c:v>All Others</c:v>
                </c:pt>
                <c:pt idx="762">
                  <c:v>Private Lab</c:v>
                </c:pt>
                <c:pt idx="763">
                  <c:v>All Others</c:v>
                </c:pt>
                <c:pt idx="764">
                  <c:v>Milleret: A</c:v>
                </c:pt>
                <c:pt idx="765">
                  <c:v>Mini Babybe</c:v>
                </c:pt>
                <c:pt idx="766">
                  <c:v>All Others</c:v>
                </c:pt>
                <c:pt idx="767">
                  <c:v>All Others</c:v>
                </c:pt>
                <c:pt idx="768">
                  <c:v>All Others</c:v>
                </c:pt>
                <c:pt idx="769">
                  <c:v>La Vache Qu</c:v>
                </c:pt>
                <c:pt idx="770">
                  <c:v>All Others</c:v>
                </c:pt>
                <c:pt idx="771">
                  <c:v>All Others</c:v>
                </c:pt>
                <c:pt idx="772">
                  <c:v>All Others</c:v>
                </c:pt>
                <c:pt idx="773">
                  <c:v>All Others</c:v>
                </c:pt>
                <c:pt idx="774">
                  <c:v>Richesmonts</c:v>
                </c:pt>
                <c:pt idx="775">
                  <c:v>La Belle Et</c:v>
                </c:pt>
                <c:pt idx="776">
                  <c:v>Richesmonts</c:v>
                </c:pt>
                <c:pt idx="777">
                  <c:v>Private Lab</c:v>
                </c:pt>
                <c:pt idx="778">
                  <c:v>Eurial Autr</c:v>
                </c:pt>
                <c:pt idx="779">
                  <c:v>Private Lab</c:v>
                </c:pt>
                <c:pt idx="780">
                  <c:v>Lactalis: A</c:v>
                </c:pt>
                <c:pt idx="781">
                  <c:v>Mini Babybe</c:v>
                </c:pt>
                <c:pt idx="782">
                  <c:v>All Others</c:v>
                </c:pt>
                <c:pt idx="783">
                  <c:v>Aperivrais</c:v>
                </c:pt>
                <c:pt idx="784">
                  <c:v>Private Lab</c:v>
                </c:pt>
                <c:pt idx="785">
                  <c:v>All Others</c:v>
                </c:pt>
                <c:pt idx="786">
                  <c:v>Societe</c:v>
                </c:pt>
                <c:pt idx="787">
                  <c:v>All Others</c:v>
                </c:pt>
                <c:pt idx="788">
                  <c:v>Private Lab</c:v>
                </c:pt>
                <c:pt idx="789">
                  <c:v>All Others</c:v>
                </c:pt>
                <c:pt idx="790">
                  <c:v>All Others</c:v>
                </c:pt>
                <c:pt idx="791">
                  <c:v>All Others</c:v>
                </c:pt>
                <c:pt idx="792">
                  <c:v>All Others</c:v>
                </c:pt>
                <c:pt idx="793">
                  <c:v>All Others</c:v>
                </c:pt>
                <c:pt idx="794">
                  <c:v>Pave D'Affi</c:v>
                </c:pt>
                <c:pt idx="795">
                  <c:v>Nurishh</c:v>
                </c:pt>
                <c:pt idx="796">
                  <c:v>All Others</c:v>
                </c:pt>
                <c:pt idx="797">
                  <c:v>All Others</c:v>
                </c:pt>
                <c:pt idx="798">
                  <c:v>Casa Azzurr</c:v>
                </c:pt>
                <c:pt idx="799">
                  <c:v>Private Lab</c:v>
                </c:pt>
                <c:pt idx="800">
                  <c:v>O'Tapas Ape</c:v>
                </c:pt>
                <c:pt idx="801">
                  <c:v>Boursin</c:v>
                </c:pt>
                <c:pt idx="802">
                  <c:v>All Others</c:v>
                </c:pt>
                <c:pt idx="803">
                  <c:v>Ficello</c:v>
                </c:pt>
                <c:pt idx="804">
                  <c:v>Fauquet</c:v>
                </c:pt>
                <c:pt idx="805">
                  <c:v>Apericube</c:v>
                </c:pt>
                <c:pt idx="806">
                  <c:v>Lactalis: A</c:v>
                </c:pt>
                <c:pt idx="807">
                  <c:v>All Others</c:v>
                </c:pt>
                <c:pt idx="808">
                  <c:v>Societe</c:v>
                </c:pt>
                <c:pt idx="809">
                  <c:v>Paysan Bret</c:v>
                </c:pt>
                <c:pt idx="810">
                  <c:v>Private Lab</c:v>
                </c:pt>
                <c:pt idx="811">
                  <c:v>All Others</c:v>
                </c:pt>
                <c:pt idx="812">
                  <c:v>All Others</c:v>
                </c:pt>
                <c:pt idx="813">
                  <c:v>All Others</c:v>
                </c:pt>
                <c:pt idx="814">
                  <c:v>All Others</c:v>
                </c:pt>
                <c:pt idx="815">
                  <c:v>Richesmonts</c:v>
                </c:pt>
                <c:pt idx="816">
                  <c:v>St Moret</c:v>
                </c:pt>
                <c:pt idx="817">
                  <c:v>Casa Azzurr</c:v>
                </c:pt>
                <c:pt idx="818">
                  <c:v>President</c:v>
                </c:pt>
                <c:pt idx="819">
                  <c:v>All Others</c:v>
                </c:pt>
                <c:pt idx="820">
                  <c:v>Private Lab</c:v>
                </c:pt>
                <c:pt idx="821">
                  <c:v>Entremont</c:v>
                </c:pt>
                <c:pt idx="822">
                  <c:v>Port Salut</c:v>
                </c:pt>
                <c:pt idx="823">
                  <c:v>All Others</c:v>
                </c:pt>
                <c:pt idx="824">
                  <c:v>All Others</c:v>
                </c:pt>
                <c:pt idx="825">
                  <c:v>Galbani</c:v>
                </c:pt>
                <c:pt idx="826">
                  <c:v>Aperivrais</c:v>
                </c:pt>
                <c:pt idx="827">
                  <c:v>All Others</c:v>
                </c:pt>
                <c:pt idx="828">
                  <c:v>Etoile Du Q</c:v>
                </c:pt>
                <c:pt idx="829">
                  <c:v>Leerdammer</c:v>
                </c:pt>
                <c:pt idx="830">
                  <c:v>Private Lab</c:v>
                </c:pt>
                <c:pt idx="831">
                  <c:v>St Moret</c:v>
                </c:pt>
                <c:pt idx="832">
                  <c:v>Eurial Autr</c:v>
                </c:pt>
                <c:pt idx="833">
                  <c:v>All Others</c:v>
                </c:pt>
                <c:pt idx="834">
                  <c:v>Casa Azzurr</c:v>
                </c:pt>
                <c:pt idx="835">
                  <c:v>Boursin</c:v>
                </c:pt>
                <c:pt idx="836">
                  <c:v>Eurial Autr</c:v>
                </c:pt>
                <c:pt idx="837">
                  <c:v>Etoile Du Q</c:v>
                </c:pt>
                <c:pt idx="838">
                  <c:v>All Others</c:v>
                </c:pt>
                <c:pt idx="839">
                  <c:v>All Others</c:v>
                </c:pt>
                <c:pt idx="840">
                  <c:v>All Others</c:v>
                </c:pt>
                <c:pt idx="841">
                  <c:v>L'Ortolan</c:v>
                </c:pt>
                <c:pt idx="842">
                  <c:v>Boursin</c:v>
                </c:pt>
                <c:pt idx="843">
                  <c:v>Saint Agur</c:v>
                </c:pt>
                <c:pt idx="844">
                  <c:v>All Others</c:v>
                </c:pt>
                <c:pt idx="845">
                  <c:v>All Others</c:v>
                </c:pt>
                <c:pt idx="846">
                  <c:v>Savencia: A</c:v>
                </c:pt>
                <c:pt idx="847">
                  <c:v>All Others</c:v>
                </c:pt>
                <c:pt idx="848">
                  <c:v>Savencia: A</c:v>
                </c:pt>
                <c:pt idx="849">
                  <c:v>All Others</c:v>
                </c:pt>
                <c:pt idx="850">
                  <c:v>All Others</c:v>
                </c:pt>
                <c:pt idx="851">
                  <c:v>All Others</c:v>
                </c:pt>
                <c:pt idx="852">
                  <c:v>Private Lab</c:v>
                </c:pt>
                <c:pt idx="853">
                  <c:v>All Others</c:v>
                </c:pt>
                <c:pt idx="854">
                  <c:v>L'Ortolan</c:v>
                </c:pt>
                <c:pt idx="855">
                  <c:v>Nurishh</c:v>
                </c:pt>
                <c:pt idx="856">
                  <c:v>Entremont</c:v>
                </c:pt>
                <c:pt idx="857">
                  <c:v>All Others</c:v>
                </c:pt>
                <c:pt idx="858">
                  <c:v>Richesmonts</c:v>
                </c:pt>
                <c:pt idx="859">
                  <c:v>O'Tapas Ape</c:v>
                </c:pt>
                <c:pt idx="860">
                  <c:v>All Others</c:v>
                </c:pt>
                <c:pt idx="861">
                  <c:v>Boursin</c:v>
                </c:pt>
                <c:pt idx="862">
                  <c:v>Salakis</c:v>
                </c:pt>
                <c:pt idx="863">
                  <c:v>All Others</c:v>
                </c:pt>
                <c:pt idx="864">
                  <c:v>Violife</c:v>
                </c:pt>
                <c:pt idx="865">
                  <c:v>All Others</c:v>
                </c:pt>
                <c:pt idx="866">
                  <c:v>Private Lab</c:v>
                </c:pt>
                <c:pt idx="867">
                  <c:v>All Others</c:v>
                </c:pt>
                <c:pt idx="868">
                  <c:v>All Others</c:v>
                </c:pt>
                <c:pt idx="869">
                  <c:v>Nurishh</c:v>
                </c:pt>
                <c:pt idx="870">
                  <c:v>Coeur De Li</c:v>
                </c:pt>
                <c:pt idx="871">
                  <c:v>Le Coq Crem</c:v>
                </c:pt>
                <c:pt idx="872">
                  <c:v>La Belle Et</c:v>
                </c:pt>
                <c:pt idx="873">
                  <c:v>All Others</c:v>
                </c:pt>
                <c:pt idx="874">
                  <c:v>All Others</c:v>
                </c:pt>
                <c:pt idx="875">
                  <c:v>All Others</c:v>
                </c:pt>
                <c:pt idx="876">
                  <c:v>Lactalis: A</c:v>
                </c:pt>
                <c:pt idx="877">
                  <c:v>Pave D'Affi</c:v>
                </c:pt>
                <c:pt idx="878">
                  <c:v>All Others</c:v>
                </c:pt>
                <c:pt idx="879">
                  <c:v>All Others</c:v>
                </c:pt>
                <c:pt idx="880">
                  <c:v>President</c:v>
                </c:pt>
                <c:pt idx="881">
                  <c:v>Triballat R</c:v>
                </c:pt>
                <c:pt idx="882">
                  <c:v>Galbani</c:v>
                </c:pt>
                <c:pt idx="883">
                  <c:v>Paysan Bret</c:v>
                </c:pt>
                <c:pt idx="884">
                  <c:v>Private Lab</c:v>
                </c:pt>
                <c:pt idx="885">
                  <c:v>Savencia: A</c:v>
                </c:pt>
                <c:pt idx="886">
                  <c:v>All Others</c:v>
                </c:pt>
                <c:pt idx="887">
                  <c:v>All Others</c:v>
                </c:pt>
                <c:pt idx="888">
                  <c:v>All Others</c:v>
                </c:pt>
                <c:pt idx="889">
                  <c:v>All Others</c:v>
                </c:pt>
                <c:pt idx="890">
                  <c:v>All Others</c:v>
                </c:pt>
                <c:pt idx="891">
                  <c:v>Casa Azzurr</c:v>
                </c:pt>
                <c:pt idx="892">
                  <c:v>All Others</c:v>
                </c:pt>
                <c:pt idx="893">
                  <c:v>Private Lab</c:v>
                </c:pt>
                <c:pt idx="894">
                  <c:v>All Others</c:v>
                </c:pt>
                <c:pt idx="895">
                  <c:v>All Others</c:v>
                </c:pt>
                <c:pt idx="896">
                  <c:v>All Others</c:v>
                </c:pt>
                <c:pt idx="897">
                  <c:v>Nurishh</c:v>
                </c:pt>
                <c:pt idx="898">
                  <c:v>All Others</c:v>
                </c:pt>
                <c:pt idx="899">
                  <c:v>Milleret: A</c:v>
                </c:pt>
                <c:pt idx="900">
                  <c:v>Violife</c:v>
                </c:pt>
                <c:pt idx="901">
                  <c:v>Private Lab</c:v>
                </c:pt>
                <c:pt idx="902">
                  <c:v>Tartare</c:v>
                </c:pt>
                <c:pt idx="903">
                  <c:v>All Others</c:v>
                </c:pt>
                <c:pt idx="904">
                  <c:v>All Others</c:v>
                </c:pt>
                <c:pt idx="905">
                  <c:v>Private Lab</c:v>
                </c:pt>
                <c:pt idx="906">
                  <c:v>All Others</c:v>
                </c:pt>
                <c:pt idx="907">
                  <c:v>President</c:v>
                </c:pt>
                <c:pt idx="908">
                  <c:v>Entremont</c:v>
                </c:pt>
                <c:pt idx="909">
                  <c:v>All Others</c:v>
                </c:pt>
                <c:pt idx="910">
                  <c:v>Galbani</c:v>
                </c:pt>
                <c:pt idx="911">
                  <c:v>Galbani</c:v>
                </c:pt>
                <c:pt idx="912">
                  <c:v>All Others</c:v>
                </c:pt>
                <c:pt idx="913">
                  <c:v>Triballat R</c:v>
                </c:pt>
                <c:pt idx="914">
                  <c:v>All Others</c:v>
                </c:pt>
                <c:pt idx="915">
                  <c:v>All Others</c:v>
                </c:pt>
                <c:pt idx="916">
                  <c:v>Savencia: A</c:v>
                </c:pt>
                <c:pt idx="917">
                  <c:v>All Others</c:v>
                </c:pt>
                <c:pt idx="918">
                  <c:v>All Others</c:v>
                </c:pt>
                <c:pt idx="919">
                  <c:v>Eurial Autr</c:v>
                </c:pt>
                <c:pt idx="920">
                  <c:v>Etorki</c:v>
                </c:pt>
                <c:pt idx="921">
                  <c:v>All Others</c:v>
                </c:pt>
                <c:pt idx="922">
                  <c:v>All Others</c:v>
                </c:pt>
                <c:pt idx="923">
                  <c:v>Paysan Bret</c:v>
                </c:pt>
                <c:pt idx="924">
                  <c:v>Lactalis: A</c:v>
                </c:pt>
                <c:pt idx="925">
                  <c:v>Triballat R</c:v>
                </c:pt>
                <c:pt idx="926">
                  <c:v>Tartare</c:v>
                </c:pt>
                <c:pt idx="927">
                  <c:v>Bresse Bleu</c:v>
                </c:pt>
                <c:pt idx="928">
                  <c:v>All Others</c:v>
                </c:pt>
                <c:pt idx="929">
                  <c:v>All Others</c:v>
                </c:pt>
                <c:pt idx="930">
                  <c:v>President</c:v>
                </c:pt>
                <c:pt idx="931">
                  <c:v>All Others</c:v>
                </c:pt>
                <c:pt idx="932">
                  <c:v>Nurishh</c:v>
                </c:pt>
                <c:pt idx="933">
                  <c:v>All Others</c:v>
                </c:pt>
                <c:pt idx="934">
                  <c:v>Private Lab</c:v>
                </c:pt>
                <c:pt idx="935">
                  <c:v>All Others</c:v>
                </c:pt>
                <c:pt idx="936">
                  <c:v>Boursin</c:v>
                </c:pt>
                <c:pt idx="937">
                  <c:v>All Others</c:v>
                </c:pt>
                <c:pt idx="938">
                  <c:v>All Others</c:v>
                </c:pt>
                <c:pt idx="939">
                  <c:v>Savencia: A</c:v>
                </c:pt>
                <c:pt idx="940">
                  <c:v>St Moret</c:v>
                </c:pt>
                <c:pt idx="941">
                  <c:v>Lactalis: A</c:v>
                </c:pt>
                <c:pt idx="942">
                  <c:v>Private Lab</c:v>
                </c:pt>
                <c:pt idx="943">
                  <c:v>All Others</c:v>
                </c:pt>
                <c:pt idx="944">
                  <c:v>All Others</c:v>
                </c:pt>
                <c:pt idx="945">
                  <c:v>Savencia: A</c:v>
                </c:pt>
                <c:pt idx="946">
                  <c:v>La Belle Et</c:v>
                </c:pt>
                <c:pt idx="947">
                  <c:v>All Others</c:v>
                </c:pt>
                <c:pt idx="948">
                  <c:v>All Others</c:v>
                </c:pt>
                <c:pt idx="949">
                  <c:v>All Others</c:v>
                </c:pt>
                <c:pt idx="950">
                  <c:v>Violife</c:v>
                </c:pt>
                <c:pt idx="951">
                  <c:v>All Others</c:v>
                </c:pt>
                <c:pt idx="952">
                  <c:v>All Others</c:v>
                </c:pt>
                <c:pt idx="953">
                  <c:v>President</c:v>
                </c:pt>
                <c:pt idx="954">
                  <c:v>Private Lab</c:v>
                </c:pt>
                <c:pt idx="955">
                  <c:v>Aperivrais</c:v>
                </c:pt>
                <c:pt idx="956">
                  <c:v>All Others</c:v>
                </c:pt>
                <c:pt idx="957">
                  <c:v>All Others</c:v>
                </c:pt>
                <c:pt idx="958">
                  <c:v>Apericube</c:v>
                </c:pt>
                <c:pt idx="959">
                  <c:v>All Others</c:v>
                </c:pt>
                <c:pt idx="960">
                  <c:v>All Others</c:v>
                </c:pt>
                <c:pt idx="961">
                  <c:v>Lactalis: A</c:v>
                </c:pt>
                <c:pt idx="962">
                  <c:v>All Others</c:v>
                </c:pt>
                <c:pt idx="963">
                  <c:v>Private Lab</c:v>
                </c:pt>
                <c:pt idx="964">
                  <c:v>Private Lab</c:v>
                </c:pt>
                <c:pt idx="965">
                  <c:v>Leerdammer</c:v>
                </c:pt>
                <c:pt idx="966">
                  <c:v>All Others</c:v>
                </c:pt>
                <c:pt idx="967">
                  <c:v>All Others</c:v>
                </c:pt>
                <c:pt idx="968">
                  <c:v>Private Lab</c:v>
                </c:pt>
                <c:pt idx="969">
                  <c:v>Petit Billy</c:v>
                </c:pt>
                <c:pt idx="970">
                  <c:v>Apericube</c:v>
                </c:pt>
                <c:pt idx="971">
                  <c:v>Private Lab</c:v>
                </c:pt>
                <c:pt idx="972">
                  <c:v>Boursin</c:v>
                </c:pt>
                <c:pt idx="973">
                  <c:v>Violife</c:v>
                </c:pt>
                <c:pt idx="974">
                  <c:v>Leerdammer</c:v>
                </c:pt>
                <c:pt idx="975">
                  <c:v>All Others</c:v>
                </c:pt>
                <c:pt idx="976">
                  <c:v>All Others</c:v>
                </c:pt>
                <c:pt idx="977">
                  <c:v>President</c:v>
                </c:pt>
                <c:pt idx="978">
                  <c:v>Mini Babybe</c:v>
                </c:pt>
                <c:pt idx="979">
                  <c:v>All Others</c:v>
                </c:pt>
                <c:pt idx="980">
                  <c:v>All Others</c:v>
                </c:pt>
                <c:pt idx="981">
                  <c:v>All Others</c:v>
                </c:pt>
                <c:pt idx="982">
                  <c:v>Chavroux</c:v>
                </c:pt>
                <c:pt idx="983">
                  <c:v>All Others</c:v>
                </c:pt>
                <c:pt idx="984">
                  <c:v>Entremont</c:v>
                </c:pt>
                <c:pt idx="985">
                  <c:v>All Others</c:v>
                </c:pt>
                <c:pt idx="986">
                  <c:v>Etoile Du V</c:v>
                </c:pt>
                <c:pt idx="987">
                  <c:v>All Others</c:v>
                </c:pt>
                <c:pt idx="988">
                  <c:v>Apericube</c:v>
                </c:pt>
                <c:pt idx="989">
                  <c:v>Private Lab</c:v>
                </c:pt>
                <c:pt idx="990">
                  <c:v>Lou Perac</c:v>
                </c:pt>
                <c:pt idx="991">
                  <c:v>Fol Epi</c:v>
                </c:pt>
                <c:pt idx="992">
                  <c:v>Eurial Autr</c:v>
                </c:pt>
                <c:pt idx="993">
                  <c:v>Private Lab</c:v>
                </c:pt>
                <c:pt idx="994">
                  <c:v>All Others</c:v>
                </c:pt>
                <c:pt idx="995">
                  <c:v>All Others</c:v>
                </c:pt>
                <c:pt idx="996">
                  <c:v>President</c:v>
                </c:pt>
                <c:pt idx="997">
                  <c:v>All Others</c:v>
                </c:pt>
                <c:pt idx="998">
                  <c:v>All Others</c:v>
                </c:pt>
                <c:pt idx="999">
                  <c:v>Richesmonts</c:v>
                </c:pt>
                <c:pt idx="1000">
                  <c:v>All Others</c:v>
                </c:pt>
                <c:pt idx="1001">
                  <c:v>Eurial Autr</c:v>
                </c:pt>
                <c:pt idx="1002">
                  <c:v>All Others</c:v>
                </c:pt>
                <c:pt idx="1003">
                  <c:v>All Others</c:v>
                </c:pt>
                <c:pt idx="1004">
                  <c:v>Savencia: A</c:v>
                </c:pt>
                <c:pt idx="1005">
                  <c:v>La Pointe P</c:v>
                </c:pt>
                <c:pt idx="1006">
                  <c:v>All Others</c:v>
                </c:pt>
                <c:pt idx="1007">
                  <c:v>All Others</c:v>
                </c:pt>
                <c:pt idx="1008">
                  <c:v>All Others</c:v>
                </c:pt>
                <c:pt idx="1009">
                  <c:v>All Others</c:v>
                </c:pt>
                <c:pt idx="1010">
                  <c:v>All Others</c:v>
                </c:pt>
                <c:pt idx="1011">
                  <c:v>All Others</c:v>
                </c:pt>
                <c:pt idx="1012">
                  <c:v>All Others</c:v>
                </c:pt>
                <c:pt idx="1013">
                  <c:v>All Others</c:v>
                </c:pt>
                <c:pt idx="1014">
                  <c:v>All Others</c:v>
                </c:pt>
                <c:pt idx="1015">
                  <c:v>Savencia: A</c:v>
                </c:pt>
                <c:pt idx="1016">
                  <c:v>All Others</c:v>
                </c:pt>
                <c:pt idx="1017">
                  <c:v>Private Lab</c:v>
                </c:pt>
                <c:pt idx="1018">
                  <c:v>President</c:v>
                </c:pt>
                <c:pt idx="1019">
                  <c:v>Lactalis: A</c:v>
                </c:pt>
                <c:pt idx="1020">
                  <c:v>All Others</c:v>
                </c:pt>
                <c:pt idx="1021">
                  <c:v>All Others</c:v>
                </c:pt>
                <c:pt idx="1022">
                  <c:v>All Others</c:v>
                </c:pt>
                <c:pt idx="1023">
                  <c:v>All Others</c:v>
                </c:pt>
                <c:pt idx="1024">
                  <c:v>Aperivrais</c:v>
                </c:pt>
                <c:pt idx="1025">
                  <c:v>All Others</c:v>
                </c:pt>
                <c:pt idx="1026">
                  <c:v>Violife</c:v>
                </c:pt>
                <c:pt idx="1027">
                  <c:v>Bresse Bleu</c:v>
                </c:pt>
                <c:pt idx="1028">
                  <c:v>Etoile Du V</c:v>
                </c:pt>
                <c:pt idx="1029">
                  <c:v>All Others</c:v>
                </c:pt>
                <c:pt idx="1030">
                  <c:v>Private Lab</c:v>
                </c:pt>
                <c:pt idx="1031">
                  <c:v>All Others</c:v>
                </c:pt>
                <c:pt idx="1032">
                  <c:v>Etoile Du Q</c:v>
                </c:pt>
                <c:pt idx="1033">
                  <c:v>All Others</c:v>
                </c:pt>
                <c:pt idx="1034">
                  <c:v>All Others</c:v>
                </c:pt>
                <c:pt idx="1035">
                  <c:v>Etoile Du V</c:v>
                </c:pt>
                <c:pt idx="1036">
                  <c:v>Societe</c:v>
                </c:pt>
                <c:pt idx="1037">
                  <c:v>Leerdammer</c:v>
                </c:pt>
                <c:pt idx="1038">
                  <c:v>All Others</c:v>
                </c:pt>
                <c:pt idx="1039">
                  <c:v>All Others</c:v>
                </c:pt>
                <c:pt idx="1040">
                  <c:v>Corsica</c:v>
                </c:pt>
                <c:pt idx="1041">
                  <c:v>Lactalis: A</c:v>
                </c:pt>
                <c:pt idx="1042">
                  <c:v>All Others</c:v>
                </c:pt>
                <c:pt idx="1043">
                  <c:v>Lactalis: A</c:v>
                </c:pt>
                <c:pt idx="1044">
                  <c:v>Private Lab</c:v>
                </c:pt>
                <c:pt idx="1045">
                  <c:v>President</c:v>
                </c:pt>
                <c:pt idx="1046">
                  <c:v>All Others</c:v>
                </c:pt>
                <c:pt idx="1047">
                  <c:v>All Others</c:v>
                </c:pt>
                <c:pt idx="1048">
                  <c:v>Tartare</c:v>
                </c:pt>
                <c:pt idx="1049">
                  <c:v>All Others</c:v>
                </c:pt>
                <c:pt idx="1050">
                  <c:v>All Others</c:v>
                </c:pt>
                <c:pt idx="1051">
                  <c:v>Leerdammer</c:v>
                </c:pt>
                <c:pt idx="1052">
                  <c:v>All Others</c:v>
                </c:pt>
                <c:pt idx="1053">
                  <c:v>All Others</c:v>
                </c:pt>
                <c:pt idx="1054">
                  <c:v>All Others</c:v>
                </c:pt>
                <c:pt idx="1055">
                  <c:v>All Others</c:v>
                </c:pt>
                <c:pt idx="1056">
                  <c:v>All Others</c:v>
                </c:pt>
                <c:pt idx="1057">
                  <c:v>L'Ortolan</c:v>
                </c:pt>
                <c:pt idx="1058">
                  <c:v>All Others</c:v>
                </c:pt>
                <c:pt idx="1059">
                  <c:v>All Others</c:v>
                </c:pt>
                <c:pt idx="1060">
                  <c:v>Apericube</c:v>
                </c:pt>
                <c:pt idx="1061">
                  <c:v>Entremont</c:v>
                </c:pt>
                <c:pt idx="1062">
                  <c:v>All Others</c:v>
                </c:pt>
                <c:pt idx="1063">
                  <c:v>Nurishh</c:v>
                </c:pt>
                <c:pt idx="1064">
                  <c:v>Nurishh</c:v>
                </c:pt>
                <c:pt idx="1065">
                  <c:v>Boursin</c:v>
                </c:pt>
                <c:pt idx="1066">
                  <c:v>Lactalis: A</c:v>
                </c:pt>
                <c:pt idx="1067">
                  <c:v>Private Lab</c:v>
                </c:pt>
                <c:pt idx="1068">
                  <c:v>All Others</c:v>
                </c:pt>
                <c:pt idx="1069">
                  <c:v>Carre Frais</c:v>
                </c:pt>
                <c:pt idx="1070">
                  <c:v>All Others</c:v>
                </c:pt>
                <c:pt idx="1071">
                  <c:v>All Others</c:v>
                </c:pt>
                <c:pt idx="1072">
                  <c:v>All Others</c:v>
                </c:pt>
                <c:pt idx="1073">
                  <c:v>All Others</c:v>
                </c:pt>
                <c:pt idx="1074">
                  <c:v>All Others</c:v>
                </c:pt>
                <c:pt idx="1075">
                  <c:v>Paysan Bret</c:v>
                </c:pt>
                <c:pt idx="1076">
                  <c:v>All Others</c:v>
                </c:pt>
                <c:pt idx="1077">
                  <c:v>All Others</c:v>
                </c:pt>
                <c:pt idx="1078">
                  <c:v>Eurial Autr</c:v>
                </c:pt>
                <c:pt idx="1079">
                  <c:v>All Others</c:v>
                </c:pt>
                <c:pt idx="1080">
                  <c:v>All Others</c:v>
                </c:pt>
                <c:pt idx="1081">
                  <c:v>Private Lab</c:v>
                </c:pt>
                <c:pt idx="1082">
                  <c:v>All Others</c:v>
                </c:pt>
                <c:pt idx="1083">
                  <c:v>All Others</c:v>
                </c:pt>
                <c:pt idx="1084">
                  <c:v>Boursin</c:v>
                </c:pt>
                <c:pt idx="1085">
                  <c:v>All Others</c:v>
                </c:pt>
                <c:pt idx="1086">
                  <c:v>All Others</c:v>
                </c:pt>
                <c:pt idx="1087">
                  <c:v>Private Lab</c:v>
                </c:pt>
                <c:pt idx="1088">
                  <c:v>All Others</c:v>
                </c:pt>
                <c:pt idx="1089">
                  <c:v>All Others</c:v>
                </c:pt>
                <c:pt idx="1090">
                  <c:v>Private Lab</c:v>
                </c:pt>
                <c:pt idx="1091">
                  <c:v>Nurishh</c:v>
                </c:pt>
                <c:pt idx="1092">
                  <c:v>All Others</c:v>
                </c:pt>
                <c:pt idx="1093">
                  <c:v>Triballat N</c:v>
                </c:pt>
                <c:pt idx="1094">
                  <c:v>All Others</c:v>
                </c:pt>
                <c:pt idx="1095">
                  <c:v>Lactalis: A</c:v>
                </c:pt>
                <c:pt idx="1096">
                  <c:v>All Others</c:v>
                </c:pt>
                <c:pt idx="1097">
                  <c:v>All Others</c:v>
                </c:pt>
                <c:pt idx="1098">
                  <c:v>All Others</c:v>
                </c:pt>
                <c:pt idx="1099">
                  <c:v>All Others</c:v>
                </c:pt>
                <c:pt idx="1100">
                  <c:v>Private Lab</c:v>
                </c:pt>
                <c:pt idx="1101">
                  <c:v>All Others</c:v>
                </c:pt>
                <c:pt idx="1102">
                  <c:v>All Others</c:v>
                </c:pt>
                <c:pt idx="1103">
                  <c:v>All Others</c:v>
                </c:pt>
                <c:pt idx="1104">
                  <c:v>Lactalis: A</c:v>
                </c:pt>
                <c:pt idx="1105">
                  <c:v>Casa Azzurr</c:v>
                </c:pt>
                <c:pt idx="1106">
                  <c:v>O'Tapas Ape</c:v>
                </c:pt>
                <c:pt idx="1107">
                  <c:v>All Others</c:v>
                </c:pt>
                <c:pt idx="1108">
                  <c:v>All Others</c:v>
                </c:pt>
                <c:pt idx="1109">
                  <c:v>All Others</c:v>
                </c:pt>
                <c:pt idx="1110">
                  <c:v>All Others</c:v>
                </c:pt>
                <c:pt idx="1111">
                  <c:v>All Others</c:v>
                </c:pt>
                <c:pt idx="1112">
                  <c:v>All Others</c:v>
                </c:pt>
                <c:pt idx="1113">
                  <c:v>All Others</c:v>
                </c:pt>
                <c:pt idx="1114">
                  <c:v>All Others</c:v>
                </c:pt>
                <c:pt idx="1115">
                  <c:v>Pave D'Affi</c:v>
                </c:pt>
                <c:pt idx="1116">
                  <c:v>All Others</c:v>
                </c:pt>
                <c:pt idx="1117">
                  <c:v>Eurial Autr</c:v>
                </c:pt>
                <c:pt idx="1118">
                  <c:v>All Others</c:v>
                </c:pt>
                <c:pt idx="1119">
                  <c:v>All Others</c:v>
                </c:pt>
                <c:pt idx="1120">
                  <c:v>All Others</c:v>
                </c:pt>
                <c:pt idx="1121">
                  <c:v>All Others</c:v>
                </c:pt>
                <c:pt idx="1122">
                  <c:v>Pochat</c:v>
                </c:pt>
                <c:pt idx="1123">
                  <c:v>Private Lab</c:v>
                </c:pt>
                <c:pt idx="1124">
                  <c:v>All Others</c:v>
                </c:pt>
                <c:pt idx="1125">
                  <c:v>Soignon</c:v>
                </c:pt>
                <c:pt idx="1126">
                  <c:v>Soignon</c:v>
                </c:pt>
                <c:pt idx="1127">
                  <c:v>P'Tit Louis</c:v>
                </c:pt>
                <c:pt idx="1128">
                  <c:v>All Others</c:v>
                </c:pt>
                <c:pt idx="1129">
                  <c:v>Private Lab</c:v>
                </c:pt>
                <c:pt idx="1130">
                  <c:v>Istara</c:v>
                </c:pt>
                <c:pt idx="1131">
                  <c:v>President</c:v>
                </c:pt>
                <c:pt idx="1132">
                  <c:v>All Others</c:v>
                </c:pt>
                <c:pt idx="1133">
                  <c:v>Private Lab</c:v>
                </c:pt>
                <c:pt idx="1134">
                  <c:v>All Others</c:v>
                </c:pt>
                <c:pt idx="1135">
                  <c:v>Savencia: A</c:v>
                </c:pt>
                <c:pt idx="1136">
                  <c:v>All Others</c:v>
                </c:pt>
                <c:pt idx="1137">
                  <c:v>Lactalis: A</c:v>
                </c:pt>
                <c:pt idx="1138">
                  <c:v>Salakis</c:v>
                </c:pt>
                <c:pt idx="1139">
                  <c:v>President</c:v>
                </c:pt>
                <c:pt idx="1140">
                  <c:v>All Others</c:v>
                </c:pt>
                <c:pt idx="1141">
                  <c:v>All Others</c:v>
                </c:pt>
                <c:pt idx="1142">
                  <c:v>Lactalis: A</c:v>
                </c:pt>
                <c:pt idx="1143">
                  <c:v>All Others</c:v>
                </c:pt>
                <c:pt idx="1144">
                  <c:v>Private Lab</c:v>
                </c:pt>
                <c:pt idx="1145">
                  <c:v>All Others</c:v>
                </c:pt>
                <c:pt idx="1146">
                  <c:v>All Others</c:v>
                </c:pt>
                <c:pt idx="1147">
                  <c:v>All Others</c:v>
                </c:pt>
                <c:pt idx="1148">
                  <c:v>All Others</c:v>
                </c:pt>
                <c:pt idx="1149">
                  <c:v>Lactalis: A</c:v>
                </c:pt>
                <c:pt idx="1150">
                  <c:v>Etoile Du V</c:v>
                </c:pt>
                <c:pt idx="1151">
                  <c:v>Private Lab</c:v>
                </c:pt>
                <c:pt idx="1152">
                  <c:v>Boursin</c:v>
                </c:pt>
                <c:pt idx="1153">
                  <c:v>All Others</c:v>
                </c:pt>
                <c:pt idx="1154">
                  <c:v>All Others</c:v>
                </c:pt>
                <c:pt idx="1155">
                  <c:v>All Others</c:v>
                </c:pt>
                <c:pt idx="1156">
                  <c:v>Lactalis: A</c:v>
                </c:pt>
                <c:pt idx="1157">
                  <c:v>Leerdammer</c:v>
                </c:pt>
                <c:pt idx="1158">
                  <c:v>All Others</c:v>
                </c:pt>
                <c:pt idx="1159">
                  <c:v>Richesmonts</c:v>
                </c:pt>
                <c:pt idx="1160">
                  <c:v>All Others</c:v>
                </c:pt>
                <c:pt idx="1161">
                  <c:v>All Others</c:v>
                </c:pt>
                <c:pt idx="1162">
                  <c:v>Bresse Bleu</c:v>
                </c:pt>
                <c:pt idx="1163">
                  <c:v>Boursin</c:v>
                </c:pt>
                <c:pt idx="1164">
                  <c:v>All Others</c:v>
                </c:pt>
                <c:pt idx="1165">
                  <c:v>All Others</c:v>
                </c:pt>
                <c:pt idx="1166">
                  <c:v>All Others</c:v>
                </c:pt>
                <c:pt idx="1167">
                  <c:v>All Others</c:v>
                </c:pt>
                <c:pt idx="1168">
                  <c:v>Etoile Du V</c:v>
                </c:pt>
                <c:pt idx="1169">
                  <c:v>Milleret: A</c:v>
                </c:pt>
                <c:pt idx="1170">
                  <c:v>Juraflore</c:v>
                </c:pt>
                <c:pt idx="1171">
                  <c:v>Apericube</c:v>
                </c:pt>
                <c:pt idx="1172">
                  <c:v>Le Saint Am</c:v>
                </c:pt>
                <c:pt idx="1173">
                  <c:v>Coeur De Li</c:v>
                </c:pt>
                <c:pt idx="1174">
                  <c:v>Salakis</c:v>
                </c:pt>
                <c:pt idx="1175">
                  <c:v>All Others</c:v>
                </c:pt>
                <c:pt idx="1176">
                  <c:v>All Others</c:v>
                </c:pt>
                <c:pt idx="1177">
                  <c:v>All Others</c:v>
                </c:pt>
                <c:pt idx="1178">
                  <c:v>All Others</c:v>
                </c:pt>
                <c:pt idx="1179">
                  <c:v>La Belle Et</c:v>
                </c:pt>
                <c:pt idx="1180">
                  <c:v>All Others</c:v>
                </c:pt>
                <c:pt idx="1181">
                  <c:v>Boursin</c:v>
                </c:pt>
                <c:pt idx="1182">
                  <c:v>Etoile Du V</c:v>
                </c:pt>
                <c:pt idx="1183">
                  <c:v>All Others</c:v>
                </c:pt>
                <c:pt idx="1184">
                  <c:v>All Others</c:v>
                </c:pt>
                <c:pt idx="1185">
                  <c:v>Le Saint Am</c:v>
                </c:pt>
                <c:pt idx="1186">
                  <c:v>All Others</c:v>
                </c:pt>
                <c:pt idx="1187">
                  <c:v>All Others</c:v>
                </c:pt>
                <c:pt idx="1188">
                  <c:v>All Others</c:v>
                </c:pt>
                <c:pt idx="1189">
                  <c:v>Boursin</c:v>
                </c:pt>
                <c:pt idx="1190">
                  <c:v>Etoile Du V</c:v>
                </c:pt>
                <c:pt idx="1191">
                  <c:v>Boursin</c:v>
                </c:pt>
                <c:pt idx="1192">
                  <c:v>Etoile Du V</c:v>
                </c:pt>
                <c:pt idx="1193">
                  <c:v>All Others</c:v>
                </c:pt>
                <c:pt idx="1194">
                  <c:v>Private Lab</c:v>
                </c:pt>
                <c:pt idx="1195">
                  <c:v>All Others</c:v>
                </c:pt>
                <c:pt idx="1196">
                  <c:v>Etoile Du V</c:v>
                </c:pt>
                <c:pt idx="1197">
                  <c:v>All Others</c:v>
                </c:pt>
                <c:pt idx="1198">
                  <c:v>All Others</c:v>
                </c:pt>
                <c:pt idx="1199">
                  <c:v>Private Lab</c:v>
                </c:pt>
                <c:pt idx="1200">
                  <c:v>Private Lab</c:v>
                </c:pt>
                <c:pt idx="1201">
                  <c:v>All Others</c:v>
                </c:pt>
                <c:pt idx="1202">
                  <c:v>All Others</c:v>
                </c:pt>
                <c:pt idx="1203">
                  <c:v>All Others</c:v>
                </c:pt>
                <c:pt idx="1204">
                  <c:v>All Others</c:v>
                </c:pt>
                <c:pt idx="1205">
                  <c:v>All Others</c:v>
                </c:pt>
                <c:pt idx="1206">
                  <c:v>All Others</c:v>
                </c:pt>
                <c:pt idx="1207">
                  <c:v>Private Lab</c:v>
                </c:pt>
                <c:pt idx="1208">
                  <c:v>All Others</c:v>
                </c:pt>
                <c:pt idx="1209">
                  <c:v>All Others</c:v>
                </c:pt>
                <c:pt idx="1210">
                  <c:v>All Others</c:v>
                </c:pt>
                <c:pt idx="1211">
                  <c:v>All Others</c:v>
                </c:pt>
                <c:pt idx="1212">
                  <c:v>Boursin</c:v>
                </c:pt>
                <c:pt idx="1213">
                  <c:v>Casa Azzurr</c:v>
                </c:pt>
                <c:pt idx="1214">
                  <c:v>Paysan Bret</c:v>
                </c:pt>
                <c:pt idx="1215">
                  <c:v>Private Lab</c:v>
                </c:pt>
                <c:pt idx="1216">
                  <c:v>All Others</c:v>
                </c:pt>
                <c:pt idx="1217">
                  <c:v>All Others</c:v>
                </c:pt>
                <c:pt idx="1218">
                  <c:v>Etoile Du V</c:v>
                </c:pt>
                <c:pt idx="1219">
                  <c:v>All Others</c:v>
                </c:pt>
                <c:pt idx="1220">
                  <c:v>All Others</c:v>
                </c:pt>
                <c:pt idx="1221">
                  <c:v>All Others</c:v>
                </c:pt>
                <c:pt idx="1222">
                  <c:v>All Others</c:v>
                </c:pt>
                <c:pt idx="1223">
                  <c:v>All Others</c:v>
                </c:pt>
                <c:pt idx="1224">
                  <c:v>All Others</c:v>
                </c:pt>
                <c:pt idx="1225">
                  <c:v>Tartare</c:v>
                </c:pt>
                <c:pt idx="1226">
                  <c:v>Carre Frais</c:v>
                </c:pt>
                <c:pt idx="1227">
                  <c:v>All Others</c:v>
                </c:pt>
                <c:pt idx="1228">
                  <c:v>All Others</c:v>
                </c:pt>
                <c:pt idx="1229">
                  <c:v>All Others</c:v>
                </c:pt>
                <c:pt idx="1230">
                  <c:v>Raguin</c:v>
                </c:pt>
                <c:pt idx="1231">
                  <c:v>Eurial Autr</c:v>
                </c:pt>
                <c:pt idx="1232">
                  <c:v>All Others</c:v>
                </c:pt>
                <c:pt idx="1233">
                  <c:v>All Others</c:v>
                </c:pt>
                <c:pt idx="1234">
                  <c:v>Pave D'Affi</c:v>
                </c:pt>
                <c:pt idx="1235">
                  <c:v>All Others</c:v>
                </c:pt>
                <c:pt idx="1236">
                  <c:v>Casa Azzurr</c:v>
                </c:pt>
                <c:pt idx="1237">
                  <c:v>Private Lab</c:v>
                </c:pt>
                <c:pt idx="1238">
                  <c:v>All Others</c:v>
                </c:pt>
                <c:pt idx="1239">
                  <c:v>All Others</c:v>
                </c:pt>
                <c:pt idx="1240">
                  <c:v>All Others</c:v>
                </c:pt>
                <c:pt idx="1241">
                  <c:v>All Others</c:v>
                </c:pt>
                <c:pt idx="1242">
                  <c:v>Philadelphi</c:v>
                </c:pt>
                <c:pt idx="1243">
                  <c:v>All Others</c:v>
                </c:pt>
                <c:pt idx="1244">
                  <c:v>Mini Babybe</c:v>
                </c:pt>
                <c:pt idx="1245">
                  <c:v>All Others</c:v>
                </c:pt>
                <c:pt idx="1246">
                  <c:v>All Others</c:v>
                </c:pt>
                <c:pt idx="1247">
                  <c:v>Private Lab</c:v>
                </c:pt>
                <c:pt idx="1248">
                  <c:v>All Others</c:v>
                </c:pt>
                <c:pt idx="1249">
                  <c:v>Pave D'Affi</c:v>
                </c:pt>
                <c:pt idx="1250">
                  <c:v>Etoile Du V</c:v>
                </c:pt>
                <c:pt idx="1251">
                  <c:v>Etoile Du Q</c:v>
                </c:pt>
                <c:pt idx="1252">
                  <c:v>All Others</c:v>
                </c:pt>
                <c:pt idx="1253">
                  <c:v>Private Lab</c:v>
                </c:pt>
                <c:pt idx="1254">
                  <c:v>All Others</c:v>
                </c:pt>
                <c:pt idx="1255">
                  <c:v>All Others</c:v>
                </c:pt>
                <c:pt idx="1256">
                  <c:v>All Others</c:v>
                </c:pt>
                <c:pt idx="1257">
                  <c:v>Saint Albra</c:v>
                </c:pt>
                <c:pt idx="1258">
                  <c:v>La Vache Qu</c:v>
                </c:pt>
                <c:pt idx="1259">
                  <c:v>Lactalis: A</c:v>
                </c:pt>
                <c:pt idx="1260">
                  <c:v>Pochat</c:v>
                </c:pt>
                <c:pt idx="1261">
                  <c:v>All Others</c:v>
                </c:pt>
                <c:pt idx="1262">
                  <c:v>All Others</c:v>
                </c:pt>
                <c:pt idx="1263">
                  <c:v>All Others</c:v>
                </c:pt>
                <c:pt idx="1264">
                  <c:v>All Others</c:v>
                </c:pt>
                <c:pt idx="1265">
                  <c:v>All Others</c:v>
                </c:pt>
                <c:pt idx="1266">
                  <c:v>Private Lab</c:v>
                </c:pt>
                <c:pt idx="1267">
                  <c:v>Lactalis: A</c:v>
                </c:pt>
                <c:pt idx="1268">
                  <c:v>All Others</c:v>
                </c:pt>
                <c:pt idx="1269">
                  <c:v>All Others</c:v>
                </c:pt>
                <c:pt idx="1270">
                  <c:v>Lactalis: A</c:v>
                </c:pt>
                <c:pt idx="1271">
                  <c:v>All Others</c:v>
                </c:pt>
                <c:pt idx="1272">
                  <c:v>All Others</c:v>
                </c:pt>
                <c:pt idx="1273">
                  <c:v>All Others</c:v>
                </c:pt>
                <c:pt idx="1274">
                  <c:v>Private Lab</c:v>
                </c:pt>
                <c:pt idx="1275">
                  <c:v>All Others</c:v>
                </c:pt>
                <c:pt idx="1276">
                  <c:v>All Others</c:v>
                </c:pt>
                <c:pt idx="1277">
                  <c:v>All Others</c:v>
                </c:pt>
                <c:pt idx="1278">
                  <c:v>All Others</c:v>
                </c:pt>
                <c:pt idx="1279">
                  <c:v>Private Lab</c:v>
                </c:pt>
                <c:pt idx="1280">
                  <c:v>Parmareggio</c:v>
                </c:pt>
                <c:pt idx="1281">
                  <c:v>All Others</c:v>
                </c:pt>
                <c:pt idx="1282">
                  <c:v>All Others</c:v>
                </c:pt>
                <c:pt idx="1283">
                  <c:v>Galbani</c:v>
                </c:pt>
                <c:pt idx="1284">
                  <c:v>All Others</c:v>
                </c:pt>
                <c:pt idx="1285">
                  <c:v>Milleret: A</c:v>
                </c:pt>
                <c:pt idx="1286">
                  <c:v>All Others</c:v>
                </c:pt>
                <c:pt idx="1287">
                  <c:v>All Others</c:v>
                </c:pt>
                <c:pt idx="1288">
                  <c:v>All Others</c:v>
                </c:pt>
                <c:pt idx="1289">
                  <c:v>All Others</c:v>
                </c:pt>
                <c:pt idx="1290">
                  <c:v>All Others</c:v>
                </c:pt>
                <c:pt idx="1291">
                  <c:v>Corsica</c:v>
                </c:pt>
                <c:pt idx="1292">
                  <c:v>All Others</c:v>
                </c:pt>
                <c:pt idx="1293">
                  <c:v>All Others</c:v>
                </c:pt>
                <c:pt idx="1294">
                  <c:v>Etoile Du V</c:v>
                </c:pt>
                <c:pt idx="1295">
                  <c:v>Raguin</c:v>
                </c:pt>
                <c:pt idx="1296">
                  <c:v>All Others</c:v>
                </c:pt>
                <c:pt idx="1297">
                  <c:v>All Others</c:v>
                </c:pt>
                <c:pt idx="1298">
                  <c:v>All Others</c:v>
                </c:pt>
                <c:pt idx="1299">
                  <c:v>All Others</c:v>
                </c:pt>
                <c:pt idx="1300">
                  <c:v>All Others</c:v>
                </c:pt>
                <c:pt idx="1301">
                  <c:v>All Others</c:v>
                </c:pt>
                <c:pt idx="1302">
                  <c:v>All Others</c:v>
                </c:pt>
                <c:pt idx="1303">
                  <c:v>Paysan Bret</c:v>
                </c:pt>
                <c:pt idx="1304">
                  <c:v>All Others</c:v>
                </c:pt>
                <c:pt idx="1305">
                  <c:v>Societe</c:v>
                </c:pt>
                <c:pt idx="1306">
                  <c:v>All Others</c:v>
                </c:pt>
                <c:pt idx="1307">
                  <c:v>All Others</c:v>
                </c:pt>
                <c:pt idx="1308">
                  <c:v>All Others</c:v>
                </c:pt>
                <c:pt idx="1309">
                  <c:v>All Others</c:v>
                </c:pt>
                <c:pt idx="1310">
                  <c:v>All Others</c:v>
                </c:pt>
                <c:pt idx="1311">
                  <c:v>All Others</c:v>
                </c:pt>
                <c:pt idx="1312">
                  <c:v>All Others</c:v>
                </c:pt>
                <c:pt idx="1313">
                  <c:v>Lactalis: A</c:v>
                </c:pt>
                <c:pt idx="1314">
                  <c:v>All Others</c:v>
                </c:pt>
                <c:pt idx="1315">
                  <c:v>All Others</c:v>
                </c:pt>
                <c:pt idx="1316">
                  <c:v>L'Ortolan</c:v>
                </c:pt>
                <c:pt idx="1317">
                  <c:v>All Others</c:v>
                </c:pt>
                <c:pt idx="1318">
                  <c:v>All Others</c:v>
                </c:pt>
                <c:pt idx="1319">
                  <c:v>All Others</c:v>
                </c:pt>
                <c:pt idx="1320">
                  <c:v>All Others</c:v>
                </c:pt>
                <c:pt idx="1321">
                  <c:v>Nurishh</c:v>
                </c:pt>
                <c:pt idx="1322">
                  <c:v>All Others</c:v>
                </c:pt>
                <c:pt idx="1323">
                  <c:v>Private Lab</c:v>
                </c:pt>
                <c:pt idx="1324">
                  <c:v>All Others</c:v>
                </c:pt>
                <c:pt idx="1325">
                  <c:v>All Others</c:v>
                </c:pt>
                <c:pt idx="1326">
                  <c:v>All Others</c:v>
                </c:pt>
                <c:pt idx="1327">
                  <c:v>Mini Babybe</c:v>
                </c:pt>
                <c:pt idx="1328">
                  <c:v>All Others</c:v>
                </c:pt>
                <c:pt idx="1329">
                  <c:v>All Others</c:v>
                </c:pt>
                <c:pt idx="1330">
                  <c:v>All Others</c:v>
                </c:pt>
                <c:pt idx="1331">
                  <c:v>All Others</c:v>
                </c:pt>
                <c:pt idx="1332">
                  <c:v>All Others</c:v>
                </c:pt>
                <c:pt idx="1333">
                  <c:v>All Others</c:v>
                </c:pt>
                <c:pt idx="1334">
                  <c:v>All Others</c:v>
                </c:pt>
                <c:pt idx="1335">
                  <c:v>All Others</c:v>
                </c:pt>
                <c:pt idx="1336">
                  <c:v>Richesmonts</c:v>
                </c:pt>
                <c:pt idx="1337">
                  <c:v>All Others</c:v>
                </c:pt>
                <c:pt idx="1338">
                  <c:v>All Others</c:v>
                </c:pt>
                <c:pt idx="1339">
                  <c:v>All Others</c:v>
                </c:pt>
                <c:pt idx="1340">
                  <c:v>All Others</c:v>
                </c:pt>
                <c:pt idx="1341">
                  <c:v>All Others</c:v>
                </c:pt>
                <c:pt idx="1342">
                  <c:v>All Others</c:v>
                </c:pt>
                <c:pt idx="1343">
                  <c:v>All Others</c:v>
                </c:pt>
                <c:pt idx="1344">
                  <c:v>All Others</c:v>
                </c:pt>
                <c:pt idx="1345">
                  <c:v>All Others</c:v>
                </c:pt>
                <c:pt idx="1346">
                  <c:v>All Others</c:v>
                </c:pt>
                <c:pt idx="1347">
                  <c:v>All Others</c:v>
                </c:pt>
                <c:pt idx="1348">
                  <c:v>Galbani</c:v>
                </c:pt>
                <c:pt idx="1349">
                  <c:v>All Others</c:v>
                </c:pt>
                <c:pt idx="1350">
                  <c:v>All Others</c:v>
                </c:pt>
                <c:pt idx="1351">
                  <c:v>All Others</c:v>
                </c:pt>
                <c:pt idx="1352">
                  <c:v>All Others</c:v>
                </c:pt>
                <c:pt idx="1353">
                  <c:v>All Others</c:v>
                </c:pt>
                <c:pt idx="1354">
                  <c:v>All Others</c:v>
                </c:pt>
                <c:pt idx="1355">
                  <c:v>Lactalis: A</c:v>
                </c:pt>
                <c:pt idx="1356">
                  <c:v>All Others</c:v>
                </c:pt>
                <c:pt idx="1357">
                  <c:v>All Others</c:v>
                </c:pt>
                <c:pt idx="1358">
                  <c:v>All Others</c:v>
                </c:pt>
                <c:pt idx="1359">
                  <c:v>All Others</c:v>
                </c:pt>
                <c:pt idx="1360">
                  <c:v>All Others</c:v>
                </c:pt>
                <c:pt idx="1361">
                  <c:v>Private Lab</c:v>
                </c:pt>
                <c:pt idx="1362">
                  <c:v>All Others</c:v>
                </c:pt>
                <c:pt idx="1363">
                  <c:v>All Others</c:v>
                </c:pt>
                <c:pt idx="1364">
                  <c:v>All Others</c:v>
                </c:pt>
                <c:pt idx="1365">
                  <c:v>All Others</c:v>
                </c:pt>
                <c:pt idx="1366">
                  <c:v>All Others</c:v>
                </c:pt>
                <c:pt idx="1367">
                  <c:v>All Others</c:v>
                </c:pt>
                <c:pt idx="1368">
                  <c:v>All Others</c:v>
                </c:pt>
                <c:pt idx="1369">
                  <c:v>All Others</c:v>
                </c:pt>
                <c:pt idx="1370">
                  <c:v>Casa Azzurr</c:v>
                </c:pt>
                <c:pt idx="1371">
                  <c:v>All Others</c:v>
                </c:pt>
                <c:pt idx="1372">
                  <c:v>All Others</c:v>
                </c:pt>
                <c:pt idx="1373">
                  <c:v>Fauquet</c:v>
                </c:pt>
                <c:pt idx="1374">
                  <c:v>All Others</c:v>
                </c:pt>
                <c:pt idx="1375">
                  <c:v>Private Lab</c:v>
                </c:pt>
                <c:pt idx="1376">
                  <c:v>Savencia: A</c:v>
                </c:pt>
                <c:pt idx="1377">
                  <c:v>All Others</c:v>
                </c:pt>
                <c:pt idx="1378">
                  <c:v>All Others</c:v>
                </c:pt>
                <c:pt idx="1379">
                  <c:v>All Others</c:v>
                </c:pt>
                <c:pt idx="1380">
                  <c:v>Nurishh</c:v>
                </c:pt>
                <c:pt idx="1381">
                  <c:v>Lactalis: A</c:v>
                </c:pt>
                <c:pt idx="1382">
                  <c:v>All Others</c:v>
                </c:pt>
                <c:pt idx="1383">
                  <c:v>All Others</c:v>
                </c:pt>
                <c:pt idx="1384">
                  <c:v>Savencia: A</c:v>
                </c:pt>
                <c:pt idx="1385">
                  <c:v>Lactalis: A</c:v>
                </c:pt>
                <c:pt idx="1386">
                  <c:v>Triballat N</c:v>
                </c:pt>
                <c:pt idx="1387">
                  <c:v>All Others</c:v>
                </c:pt>
                <c:pt idx="1388">
                  <c:v>All Others</c:v>
                </c:pt>
                <c:pt idx="1389">
                  <c:v>All Others</c:v>
                </c:pt>
                <c:pt idx="1390">
                  <c:v>Raguin</c:v>
                </c:pt>
                <c:pt idx="1391">
                  <c:v>All Others</c:v>
                </c:pt>
                <c:pt idx="1392">
                  <c:v>All Others</c:v>
                </c:pt>
                <c:pt idx="1393">
                  <c:v>All Others</c:v>
                </c:pt>
                <c:pt idx="1394">
                  <c:v>All Others</c:v>
                </c:pt>
                <c:pt idx="1395">
                  <c:v>La Vache Qu</c:v>
                </c:pt>
                <c:pt idx="1396">
                  <c:v>All Others</c:v>
                </c:pt>
                <c:pt idx="1397">
                  <c:v>Entremont</c:v>
                </c:pt>
                <c:pt idx="1398">
                  <c:v>All Others</c:v>
                </c:pt>
                <c:pt idx="1399">
                  <c:v>Lactalis: A</c:v>
                </c:pt>
                <c:pt idx="1400">
                  <c:v>All Others</c:v>
                </c:pt>
                <c:pt idx="1401">
                  <c:v>Private Lab</c:v>
                </c:pt>
                <c:pt idx="1402">
                  <c:v>Galbani</c:v>
                </c:pt>
                <c:pt idx="1403">
                  <c:v>Private Lab</c:v>
                </c:pt>
                <c:pt idx="1404">
                  <c:v>All Others</c:v>
                </c:pt>
                <c:pt idx="1405">
                  <c:v>All Others</c:v>
                </c:pt>
                <c:pt idx="1406">
                  <c:v>Lactalis: A</c:v>
                </c:pt>
                <c:pt idx="1407">
                  <c:v>All Others</c:v>
                </c:pt>
                <c:pt idx="1408">
                  <c:v>All Others</c:v>
                </c:pt>
                <c:pt idx="1409">
                  <c:v>Private Lab</c:v>
                </c:pt>
                <c:pt idx="1410">
                  <c:v>Lactalis: A</c:v>
                </c:pt>
                <c:pt idx="1411">
                  <c:v>All Others</c:v>
                </c:pt>
                <c:pt idx="1412">
                  <c:v>All Others</c:v>
                </c:pt>
                <c:pt idx="1413">
                  <c:v>All Others</c:v>
                </c:pt>
                <c:pt idx="1414">
                  <c:v>All Others</c:v>
                </c:pt>
                <c:pt idx="1415">
                  <c:v>All Others</c:v>
                </c:pt>
                <c:pt idx="1416">
                  <c:v>All Others</c:v>
                </c:pt>
                <c:pt idx="1417">
                  <c:v>All Others</c:v>
                </c:pt>
                <c:pt idx="1418">
                  <c:v>All Others</c:v>
                </c:pt>
                <c:pt idx="1419">
                  <c:v>St Moret</c:v>
                </c:pt>
                <c:pt idx="1420">
                  <c:v>President</c:v>
                </c:pt>
                <c:pt idx="1421">
                  <c:v>All Others</c:v>
                </c:pt>
                <c:pt idx="1422">
                  <c:v>All Others</c:v>
                </c:pt>
                <c:pt idx="1423">
                  <c:v>Savencia: A</c:v>
                </c:pt>
                <c:pt idx="1424">
                  <c:v>Pave D'Affi</c:v>
                </c:pt>
                <c:pt idx="1425">
                  <c:v>All Others</c:v>
                </c:pt>
                <c:pt idx="1426">
                  <c:v>All Others</c:v>
                </c:pt>
                <c:pt idx="1427">
                  <c:v>Nurishh</c:v>
                </c:pt>
                <c:pt idx="1428">
                  <c:v>All Others</c:v>
                </c:pt>
                <c:pt idx="1429">
                  <c:v>All Others</c:v>
                </c:pt>
                <c:pt idx="1430">
                  <c:v>Savencia: A</c:v>
                </c:pt>
                <c:pt idx="1431">
                  <c:v>All Others</c:v>
                </c:pt>
                <c:pt idx="1432">
                  <c:v>Eurial Autr</c:v>
                </c:pt>
                <c:pt idx="1433">
                  <c:v>All Others</c:v>
                </c:pt>
                <c:pt idx="1434">
                  <c:v>All Others</c:v>
                </c:pt>
                <c:pt idx="1435">
                  <c:v>All Others</c:v>
                </c:pt>
                <c:pt idx="1436">
                  <c:v>All Others</c:v>
                </c:pt>
                <c:pt idx="1437">
                  <c:v>Etoile Du V</c:v>
                </c:pt>
                <c:pt idx="1438">
                  <c:v>All Others</c:v>
                </c:pt>
                <c:pt idx="1439">
                  <c:v>Lactalis: A</c:v>
                </c:pt>
                <c:pt idx="1440">
                  <c:v>Etoile Du V</c:v>
                </c:pt>
                <c:pt idx="1441">
                  <c:v>La Vache Qu</c:v>
                </c:pt>
                <c:pt idx="1442">
                  <c:v>All Others</c:v>
                </c:pt>
                <c:pt idx="1443">
                  <c:v>All Others</c:v>
                </c:pt>
                <c:pt idx="1444">
                  <c:v>Private Lab</c:v>
                </c:pt>
                <c:pt idx="1445">
                  <c:v>All Others</c:v>
                </c:pt>
                <c:pt idx="1446">
                  <c:v>All Others</c:v>
                </c:pt>
                <c:pt idx="1447">
                  <c:v>All Others</c:v>
                </c:pt>
                <c:pt idx="1448">
                  <c:v>All Others</c:v>
                </c:pt>
                <c:pt idx="1449">
                  <c:v>All Others</c:v>
                </c:pt>
                <c:pt idx="1450">
                  <c:v>All Others</c:v>
                </c:pt>
                <c:pt idx="1451">
                  <c:v>All Others</c:v>
                </c:pt>
                <c:pt idx="1452">
                  <c:v>Nurishh</c:v>
                </c:pt>
                <c:pt idx="1453">
                  <c:v>All Others</c:v>
                </c:pt>
                <c:pt idx="1454">
                  <c:v>Triballat N</c:v>
                </c:pt>
                <c:pt idx="1455">
                  <c:v>Triballat R</c:v>
                </c:pt>
                <c:pt idx="1456">
                  <c:v>All Others</c:v>
                </c:pt>
                <c:pt idx="1457">
                  <c:v>Lactalis: A</c:v>
                </c:pt>
                <c:pt idx="1458">
                  <c:v>All Others</c:v>
                </c:pt>
                <c:pt idx="1459">
                  <c:v>All Others</c:v>
                </c:pt>
                <c:pt idx="1460">
                  <c:v>Etoile Du V</c:v>
                </c:pt>
                <c:pt idx="1461">
                  <c:v>All Others</c:v>
                </c:pt>
                <c:pt idx="1462">
                  <c:v>Lactalis: A</c:v>
                </c:pt>
                <c:pt idx="1463">
                  <c:v>All Others</c:v>
                </c:pt>
                <c:pt idx="1464">
                  <c:v>All Others</c:v>
                </c:pt>
                <c:pt idx="1465">
                  <c:v>All Others</c:v>
                </c:pt>
                <c:pt idx="1466">
                  <c:v>Entremont</c:v>
                </c:pt>
                <c:pt idx="1467">
                  <c:v>All Others</c:v>
                </c:pt>
                <c:pt idx="1468">
                  <c:v>All Others</c:v>
                </c:pt>
                <c:pt idx="1469">
                  <c:v>All Others</c:v>
                </c:pt>
                <c:pt idx="1470">
                  <c:v>All Others</c:v>
                </c:pt>
                <c:pt idx="1471">
                  <c:v>All Others</c:v>
                </c:pt>
                <c:pt idx="1472">
                  <c:v>Private Lab</c:v>
                </c:pt>
                <c:pt idx="1473">
                  <c:v>All Others</c:v>
                </c:pt>
                <c:pt idx="1474">
                  <c:v>Raguin</c:v>
                </c:pt>
                <c:pt idx="1475">
                  <c:v>Lactalis: A</c:v>
                </c:pt>
                <c:pt idx="1476">
                  <c:v>All Others</c:v>
                </c:pt>
                <c:pt idx="1477">
                  <c:v>Etoile Du V</c:v>
                </c:pt>
                <c:pt idx="1478">
                  <c:v>All Others</c:v>
                </c:pt>
                <c:pt idx="1479">
                  <c:v>Etoile Du V</c:v>
                </c:pt>
                <c:pt idx="1480">
                  <c:v>All Others</c:v>
                </c:pt>
                <c:pt idx="1481">
                  <c:v>Savencia: A</c:v>
                </c:pt>
                <c:pt idx="1482">
                  <c:v>All Others</c:v>
                </c:pt>
                <c:pt idx="1483">
                  <c:v>Juraflore</c:v>
                </c:pt>
                <c:pt idx="1484">
                  <c:v>All Others</c:v>
                </c:pt>
                <c:pt idx="1485">
                  <c:v>Savencia: A</c:v>
                </c:pt>
                <c:pt idx="1486">
                  <c:v>Private Lab</c:v>
                </c:pt>
                <c:pt idx="1487">
                  <c:v>La Vache Qu</c:v>
                </c:pt>
                <c:pt idx="1488">
                  <c:v>All Others</c:v>
                </c:pt>
                <c:pt idx="1489">
                  <c:v>All Others</c:v>
                </c:pt>
                <c:pt idx="1490">
                  <c:v>All Others</c:v>
                </c:pt>
                <c:pt idx="1491">
                  <c:v>All Others</c:v>
                </c:pt>
                <c:pt idx="1492">
                  <c:v>All Others</c:v>
                </c:pt>
                <c:pt idx="1493">
                  <c:v>All Others</c:v>
                </c:pt>
                <c:pt idx="1494">
                  <c:v>Private Lab</c:v>
                </c:pt>
                <c:pt idx="1495">
                  <c:v>All Others</c:v>
                </c:pt>
                <c:pt idx="1496">
                  <c:v>All Others</c:v>
                </c:pt>
                <c:pt idx="1497">
                  <c:v>All Others</c:v>
                </c:pt>
                <c:pt idx="1498">
                  <c:v>All Others</c:v>
                </c:pt>
                <c:pt idx="1499">
                  <c:v>All Others</c:v>
                </c:pt>
                <c:pt idx="1500">
                  <c:v>All Others</c:v>
                </c:pt>
                <c:pt idx="1501">
                  <c:v>Lactalis: A</c:v>
                </c:pt>
                <c:pt idx="1502">
                  <c:v>All Others</c:v>
                </c:pt>
                <c:pt idx="1503">
                  <c:v>Salakis</c:v>
                </c:pt>
                <c:pt idx="1504">
                  <c:v>Triballat N</c:v>
                </c:pt>
                <c:pt idx="1505">
                  <c:v>All Others</c:v>
                </c:pt>
                <c:pt idx="1506">
                  <c:v>All Others</c:v>
                </c:pt>
                <c:pt idx="1507">
                  <c:v>All Others</c:v>
                </c:pt>
                <c:pt idx="1508">
                  <c:v>All Others</c:v>
                </c:pt>
                <c:pt idx="1509">
                  <c:v>All Others</c:v>
                </c:pt>
                <c:pt idx="1510">
                  <c:v>All Others</c:v>
                </c:pt>
                <c:pt idx="1511">
                  <c:v>All Others</c:v>
                </c:pt>
                <c:pt idx="1512">
                  <c:v>All Others</c:v>
                </c:pt>
                <c:pt idx="1513">
                  <c:v>Private Lab</c:v>
                </c:pt>
                <c:pt idx="1514">
                  <c:v>All Others</c:v>
                </c:pt>
                <c:pt idx="1515">
                  <c:v>All Others</c:v>
                </c:pt>
                <c:pt idx="1516">
                  <c:v>Milleret: A</c:v>
                </c:pt>
                <c:pt idx="1517">
                  <c:v>All Others</c:v>
                </c:pt>
                <c:pt idx="1518">
                  <c:v>La Vache Qu</c:v>
                </c:pt>
                <c:pt idx="1519">
                  <c:v>La Belle Et</c:v>
                </c:pt>
                <c:pt idx="1520">
                  <c:v>All Others</c:v>
                </c:pt>
                <c:pt idx="1521">
                  <c:v>All Others</c:v>
                </c:pt>
                <c:pt idx="1522">
                  <c:v>All Others</c:v>
                </c:pt>
                <c:pt idx="1523">
                  <c:v>Private Lab</c:v>
                </c:pt>
                <c:pt idx="1524">
                  <c:v>All Others</c:v>
                </c:pt>
                <c:pt idx="1525">
                  <c:v>Savencia: A</c:v>
                </c:pt>
                <c:pt idx="1526">
                  <c:v>Societe</c:v>
                </c:pt>
                <c:pt idx="1527">
                  <c:v>La Belle Et</c:v>
                </c:pt>
                <c:pt idx="1528">
                  <c:v>All Others</c:v>
                </c:pt>
                <c:pt idx="1529">
                  <c:v>All Others</c:v>
                </c:pt>
                <c:pt idx="1530">
                  <c:v>All Others</c:v>
                </c:pt>
                <c:pt idx="1531">
                  <c:v>All Others</c:v>
                </c:pt>
                <c:pt idx="1532">
                  <c:v>All Others</c:v>
                </c:pt>
                <c:pt idx="1533">
                  <c:v>All Others</c:v>
                </c:pt>
                <c:pt idx="1534">
                  <c:v>Pochat</c:v>
                </c:pt>
                <c:pt idx="1535">
                  <c:v>All Others</c:v>
                </c:pt>
                <c:pt idx="1536">
                  <c:v>Savencia: A</c:v>
                </c:pt>
                <c:pt idx="1537">
                  <c:v>All Others</c:v>
                </c:pt>
                <c:pt idx="1538">
                  <c:v>All Others</c:v>
                </c:pt>
                <c:pt idx="1539">
                  <c:v>All Others</c:v>
                </c:pt>
                <c:pt idx="1540">
                  <c:v>All Others</c:v>
                </c:pt>
                <c:pt idx="1541">
                  <c:v>La Pointe P</c:v>
                </c:pt>
                <c:pt idx="1542">
                  <c:v>Petit Billy</c:v>
                </c:pt>
                <c:pt idx="1543">
                  <c:v>All Others</c:v>
                </c:pt>
                <c:pt idx="1544">
                  <c:v>All Others</c:v>
                </c:pt>
                <c:pt idx="1545">
                  <c:v>All Others</c:v>
                </c:pt>
                <c:pt idx="1546">
                  <c:v>All Others</c:v>
                </c:pt>
                <c:pt idx="1547">
                  <c:v>La Belle Et</c:v>
                </c:pt>
                <c:pt idx="1548">
                  <c:v>Juraflore</c:v>
                </c:pt>
                <c:pt idx="1549">
                  <c:v>All Others</c:v>
                </c:pt>
                <c:pt idx="1550">
                  <c:v>All Others</c:v>
                </c:pt>
                <c:pt idx="1551">
                  <c:v>All Others</c:v>
                </c:pt>
                <c:pt idx="1552">
                  <c:v>All Others</c:v>
                </c:pt>
                <c:pt idx="1553">
                  <c:v>All Others</c:v>
                </c:pt>
                <c:pt idx="1554">
                  <c:v>All Others</c:v>
                </c:pt>
                <c:pt idx="1555">
                  <c:v>All Others</c:v>
                </c:pt>
                <c:pt idx="1556">
                  <c:v>O'Tapas Ape</c:v>
                </c:pt>
                <c:pt idx="1557">
                  <c:v>Etoile Du Q</c:v>
                </c:pt>
                <c:pt idx="1558">
                  <c:v>All Others</c:v>
                </c:pt>
                <c:pt idx="1559">
                  <c:v>All Others</c:v>
                </c:pt>
                <c:pt idx="1560">
                  <c:v>All Others</c:v>
                </c:pt>
                <c:pt idx="1561">
                  <c:v>All Others</c:v>
                </c:pt>
                <c:pt idx="1562">
                  <c:v>All Others</c:v>
                </c:pt>
                <c:pt idx="1563">
                  <c:v>All Others</c:v>
                </c:pt>
                <c:pt idx="1564">
                  <c:v>Private Lab</c:v>
                </c:pt>
                <c:pt idx="1565">
                  <c:v>Pave D'Affi</c:v>
                </c:pt>
                <c:pt idx="1566">
                  <c:v>Etoile Du V</c:v>
                </c:pt>
                <c:pt idx="1567">
                  <c:v>Private Lab</c:v>
                </c:pt>
                <c:pt idx="1568">
                  <c:v>All Others</c:v>
                </c:pt>
                <c:pt idx="1569">
                  <c:v>Islos</c:v>
                </c:pt>
                <c:pt idx="1570">
                  <c:v>All Others</c:v>
                </c:pt>
                <c:pt idx="1571">
                  <c:v>All Others</c:v>
                </c:pt>
                <c:pt idx="1572">
                  <c:v>All Others</c:v>
                </c:pt>
                <c:pt idx="1573">
                  <c:v>All Others</c:v>
                </c:pt>
                <c:pt idx="1574">
                  <c:v>All Others</c:v>
                </c:pt>
                <c:pt idx="1575">
                  <c:v>Casa Azzurr</c:v>
                </c:pt>
                <c:pt idx="1576">
                  <c:v>La Belle Et</c:v>
                </c:pt>
                <c:pt idx="1577">
                  <c:v>All Others</c:v>
                </c:pt>
                <c:pt idx="1578">
                  <c:v>La Belle Et</c:v>
                </c:pt>
                <c:pt idx="1579">
                  <c:v>Pave D'Affi</c:v>
                </c:pt>
                <c:pt idx="1580">
                  <c:v>All Others</c:v>
                </c:pt>
                <c:pt idx="1581">
                  <c:v>All Others</c:v>
                </c:pt>
                <c:pt idx="1582">
                  <c:v>All Others</c:v>
                </c:pt>
                <c:pt idx="1583">
                  <c:v>Lactalis: A</c:v>
                </c:pt>
                <c:pt idx="1584">
                  <c:v>O'Tapas Ape</c:v>
                </c:pt>
                <c:pt idx="1585">
                  <c:v>All Others</c:v>
                </c:pt>
                <c:pt idx="1586">
                  <c:v>All Others</c:v>
                </c:pt>
                <c:pt idx="1587">
                  <c:v>All Others</c:v>
                </c:pt>
                <c:pt idx="1588">
                  <c:v>All Others</c:v>
                </c:pt>
                <c:pt idx="1589">
                  <c:v>All Others</c:v>
                </c:pt>
                <c:pt idx="1590">
                  <c:v>All Others</c:v>
                </c:pt>
                <c:pt idx="1591">
                  <c:v>All Others</c:v>
                </c:pt>
                <c:pt idx="1592">
                  <c:v>All Others</c:v>
                </c:pt>
                <c:pt idx="1593">
                  <c:v>All Others</c:v>
                </c:pt>
                <c:pt idx="1594">
                  <c:v>Lactalis: A</c:v>
                </c:pt>
                <c:pt idx="1595">
                  <c:v>All Others</c:v>
                </c:pt>
                <c:pt idx="1596">
                  <c:v>Entremont</c:v>
                </c:pt>
                <c:pt idx="1597">
                  <c:v>All Others</c:v>
                </c:pt>
                <c:pt idx="1598">
                  <c:v>All Others</c:v>
                </c:pt>
                <c:pt idx="1599">
                  <c:v>All Others</c:v>
                </c:pt>
                <c:pt idx="1600">
                  <c:v>Milleret: A</c:v>
                </c:pt>
                <c:pt idx="1601">
                  <c:v>All Others</c:v>
                </c:pt>
                <c:pt idx="1602">
                  <c:v>La Belle Et</c:v>
                </c:pt>
                <c:pt idx="1603">
                  <c:v>All Others</c:v>
                </c:pt>
                <c:pt idx="1604">
                  <c:v>All Others</c:v>
                </c:pt>
                <c:pt idx="1605">
                  <c:v>All Others</c:v>
                </c:pt>
                <c:pt idx="1606">
                  <c:v>Pave D'Affi</c:v>
                </c:pt>
                <c:pt idx="1607">
                  <c:v>L'Ortolan</c:v>
                </c:pt>
                <c:pt idx="1608">
                  <c:v>All Others</c:v>
                </c:pt>
                <c:pt idx="1609">
                  <c:v>All Others</c:v>
                </c:pt>
                <c:pt idx="1610">
                  <c:v>All Others</c:v>
                </c:pt>
                <c:pt idx="1611">
                  <c:v>Private Lab</c:v>
                </c:pt>
                <c:pt idx="1612">
                  <c:v>All Others</c:v>
                </c:pt>
                <c:pt idx="1613">
                  <c:v>All Others</c:v>
                </c:pt>
                <c:pt idx="1614">
                  <c:v>All Others</c:v>
                </c:pt>
                <c:pt idx="1615">
                  <c:v>Private Lab</c:v>
                </c:pt>
                <c:pt idx="1616">
                  <c:v>All Others</c:v>
                </c:pt>
                <c:pt idx="1617">
                  <c:v>All Others</c:v>
                </c:pt>
                <c:pt idx="1618">
                  <c:v>Lactalis: A</c:v>
                </c:pt>
                <c:pt idx="1619">
                  <c:v>Casa Azzurr</c:v>
                </c:pt>
                <c:pt idx="1620">
                  <c:v>All Others</c:v>
                </c:pt>
                <c:pt idx="1621">
                  <c:v>Savencia: A</c:v>
                </c:pt>
                <c:pt idx="1622">
                  <c:v>All Others</c:v>
                </c:pt>
                <c:pt idx="1623">
                  <c:v>All Others</c:v>
                </c:pt>
                <c:pt idx="1624">
                  <c:v>All Others</c:v>
                </c:pt>
                <c:pt idx="1625">
                  <c:v>All Others</c:v>
                </c:pt>
                <c:pt idx="1626">
                  <c:v>All Others</c:v>
                </c:pt>
                <c:pt idx="1627">
                  <c:v>La Belle Et</c:v>
                </c:pt>
                <c:pt idx="1628">
                  <c:v>All Others</c:v>
                </c:pt>
                <c:pt idx="1629">
                  <c:v>Private Lab</c:v>
                </c:pt>
                <c:pt idx="1630">
                  <c:v>All Others</c:v>
                </c:pt>
                <c:pt idx="1631">
                  <c:v>Private Lab</c:v>
                </c:pt>
                <c:pt idx="1632">
                  <c:v>All Others</c:v>
                </c:pt>
                <c:pt idx="1633">
                  <c:v>All Others</c:v>
                </c:pt>
                <c:pt idx="1634">
                  <c:v>All Others</c:v>
                </c:pt>
                <c:pt idx="1635">
                  <c:v>All Others</c:v>
                </c:pt>
                <c:pt idx="1636">
                  <c:v>All Others</c:v>
                </c:pt>
                <c:pt idx="1637">
                  <c:v>All Others</c:v>
                </c:pt>
                <c:pt idx="1638">
                  <c:v>All Others</c:v>
                </c:pt>
                <c:pt idx="1639">
                  <c:v>All Others</c:v>
                </c:pt>
                <c:pt idx="1640">
                  <c:v>All Others</c:v>
                </c:pt>
                <c:pt idx="1641">
                  <c:v>All Others</c:v>
                </c:pt>
                <c:pt idx="1642">
                  <c:v>Private Lab</c:v>
                </c:pt>
                <c:pt idx="1643">
                  <c:v>Private Lab</c:v>
                </c:pt>
                <c:pt idx="1644">
                  <c:v>All Others</c:v>
                </c:pt>
                <c:pt idx="1645">
                  <c:v>All Others</c:v>
                </c:pt>
                <c:pt idx="1646">
                  <c:v>All Others</c:v>
                </c:pt>
                <c:pt idx="1647">
                  <c:v>All Others</c:v>
                </c:pt>
                <c:pt idx="1648">
                  <c:v>All Others</c:v>
                </c:pt>
                <c:pt idx="1649">
                  <c:v>All Others</c:v>
                </c:pt>
                <c:pt idx="1650">
                  <c:v>All Others</c:v>
                </c:pt>
                <c:pt idx="1651">
                  <c:v>All Others</c:v>
                </c:pt>
                <c:pt idx="1652">
                  <c:v>All Others</c:v>
                </c:pt>
                <c:pt idx="1653">
                  <c:v>Private Lab</c:v>
                </c:pt>
                <c:pt idx="1654">
                  <c:v>All Others</c:v>
                </c:pt>
                <c:pt idx="1655">
                  <c:v>All Others</c:v>
                </c:pt>
                <c:pt idx="1656">
                  <c:v>All Others</c:v>
                </c:pt>
                <c:pt idx="1657">
                  <c:v>Pochat</c:v>
                </c:pt>
                <c:pt idx="1658">
                  <c:v>All Others</c:v>
                </c:pt>
                <c:pt idx="1659">
                  <c:v>All Others</c:v>
                </c:pt>
                <c:pt idx="1660">
                  <c:v>La Belle Et</c:v>
                </c:pt>
                <c:pt idx="1661">
                  <c:v>Paysan Bret</c:v>
                </c:pt>
                <c:pt idx="1662">
                  <c:v>Paysan Bret</c:v>
                </c:pt>
                <c:pt idx="1663">
                  <c:v>All Others</c:v>
                </c:pt>
                <c:pt idx="1664">
                  <c:v>All Others</c:v>
                </c:pt>
                <c:pt idx="1665">
                  <c:v>All Others</c:v>
                </c:pt>
                <c:pt idx="1666">
                  <c:v>All Others</c:v>
                </c:pt>
                <c:pt idx="1667">
                  <c:v>All Others</c:v>
                </c:pt>
                <c:pt idx="1668">
                  <c:v>Etoile Du V</c:v>
                </c:pt>
                <c:pt idx="1669">
                  <c:v>All Others</c:v>
                </c:pt>
                <c:pt idx="1670">
                  <c:v>All Others</c:v>
                </c:pt>
                <c:pt idx="1671">
                  <c:v>Etoile Du V</c:v>
                </c:pt>
                <c:pt idx="1672">
                  <c:v>Soignon</c:v>
                </c:pt>
                <c:pt idx="1673">
                  <c:v>Lactalis: A</c:v>
                </c:pt>
                <c:pt idx="1674">
                  <c:v>All Others</c:v>
                </c:pt>
                <c:pt idx="1675">
                  <c:v>All Others</c:v>
                </c:pt>
                <c:pt idx="1676">
                  <c:v>All Others</c:v>
                </c:pt>
                <c:pt idx="1677">
                  <c:v>All Others</c:v>
                </c:pt>
                <c:pt idx="1678">
                  <c:v>All Others</c:v>
                </c:pt>
                <c:pt idx="1679">
                  <c:v>All Others</c:v>
                </c:pt>
                <c:pt idx="1680">
                  <c:v>All Others</c:v>
                </c:pt>
                <c:pt idx="1681">
                  <c:v>All Others</c:v>
                </c:pt>
                <c:pt idx="1682">
                  <c:v>Kiri</c:v>
                </c:pt>
                <c:pt idx="1683">
                  <c:v>Lactalis: A</c:v>
                </c:pt>
                <c:pt idx="1684">
                  <c:v>All Others</c:v>
                </c:pt>
                <c:pt idx="1685">
                  <c:v>All Others</c:v>
                </c:pt>
                <c:pt idx="1686">
                  <c:v>All Others</c:v>
                </c:pt>
                <c:pt idx="1687">
                  <c:v>All Others</c:v>
                </c:pt>
                <c:pt idx="1688">
                  <c:v>All Others</c:v>
                </c:pt>
                <c:pt idx="1689">
                  <c:v>Entremont</c:v>
                </c:pt>
                <c:pt idx="1690">
                  <c:v>All Others</c:v>
                </c:pt>
                <c:pt idx="1691">
                  <c:v>All Others</c:v>
                </c:pt>
                <c:pt idx="1692">
                  <c:v>Etoile Du V</c:v>
                </c:pt>
                <c:pt idx="1693">
                  <c:v>Paysan Bret</c:v>
                </c:pt>
                <c:pt idx="1694">
                  <c:v>All Others</c:v>
                </c:pt>
                <c:pt idx="1695">
                  <c:v>All Others</c:v>
                </c:pt>
                <c:pt idx="1696">
                  <c:v>All Others</c:v>
                </c:pt>
                <c:pt idx="1697">
                  <c:v>All Others</c:v>
                </c:pt>
                <c:pt idx="1698">
                  <c:v>All Others</c:v>
                </c:pt>
                <c:pt idx="1699">
                  <c:v>Boursin</c:v>
                </c:pt>
                <c:pt idx="1700">
                  <c:v>Etoile Du V</c:v>
                </c:pt>
                <c:pt idx="1701">
                  <c:v>All Others</c:v>
                </c:pt>
                <c:pt idx="1702">
                  <c:v>All Others</c:v>
                </c:pt>
                <c:pt idx="1703">
                  <c:v>All Others</c:v>
                </c:pt>
                <c:pt idx="1704">
                  <c:v>Juraflore</c:v>
                </c:pt>
                <c:pt idx="1705">
                  <c:v>All Others</c:v>
                </c:pt>
                <c:pt idx="1706">
                  <c:v>All Others</c:v>
                </c:pt>
                <c:pt idx="1707">
                  <c:v>All Others</c:v>
                </c:pt>
                <c:pt idx="1708">
                  <c:v>All Others</c:v>
                </c:pt>
                <c:pt idx="1709">
                  <c:v>All Others</c:v>
                </c:pt>
                <c:pt idx="1710">
                  <c:v>All Others</c:v>
                </c:pt>
                <c:pt idx="1711">
                  <c:v>All Others</c:v>
                </c:pt>
                <c:pt idx="1712">
                  <c:v>Milleret: A</c:v>
                </c:pt>
                <c:pt idx="1713">
                  <c:v>Soignon</c:v>
                </c:pt>
                <c:pt idx="1714">
                  <c:v>Lactalis: A</c:v>
                </c:pt>
                <c:pt idx="1715">
                  <c:v>Mini Babybe</c:v>
                </c:pt>
                <c:pt idx="1716">
                  <c:v>All Others</c:v>
                </c:pt>
                <c:pt idx="1717">
                  <c:v>All Others</c:v>
                </c:pt>
                <c:pt idx="1718">
                  <c:v>All Others</c:v>
                </c:pt>
                <c:pt idx="1719">
                  <c:v>All Others</c:v>
                </c:pt>
                <c:pt idx="1720">
                  <c:v>All Others</c:v>
                </c:pt>
                <c:pt idx="1721">
                  <c:v>All Others</c:v>
                </c:pt>
                <c:pt idx="1722">
                  <c:v>Entremont</c:v>
                </c:pt>
                <c:pt idx="1723">
                  <c:v>All Others</c:v>
                </c:pt>
                <c:pt idx="1724">
                  <c:v>All Others</c:v>
                </c:pt>
                <c:pt idx="1725">
                  <c:v>Private Lab</c:v>
                </c:pt>
                <c:pt idx="1726">
                  <c:v>All Others</c:v>
                </c:pt>
                <c:pt idx="1727">
                  <c:v>All Others</c:v>
                </c:pt>
                <c:pt idx="1728">
                  <c:v>Eurial Autr</c:v>
                </c:pt>
                <c:pt idx="1729">
                  <c:v>La Belle Et</c:v>
                </c:pt>
                <c:pt idx="1730">
                  <c:v>All Others</c:v>
                </c:pt>
                <c:pt idx="1731">
                  <c:v>All Others</c:v>
                </c:pt>
                <c:pt idx="1732">
                  <c:v>All Others</c:v>
                </c:pt>
                <c:pt idx="1733">
                  <c:v>All Others</c:v>
                </c:pt>
                <c:pt idx="1734">
                  <c:v>Milleret: A</c:v>
                </c:pt>
                <c:pt idx="1735">
                  <c:v>All Others</c:v>
                </c:pt>
                <c:pt idx="1736">
                  <c:v>All Others</c:v>
                </c:pt>
                <c:pt idx="1737">
                  <c:v>Triballat R</c:v>
                </c:pt>
                <c:pt idx="1738">
                  <c:v>Entremont</c:v>
                </c:pt>
                <c:pt idx="1739">
                  <c:v>All Others</c:v>
                </c:pt>
                <c:pt idx="1740">
                  <c:v>All Others</c:v>
                </c:pt>
                <c:pt idx="1741">
                  <c:v>All Others</c:v>
                </c:pt>
                <c:pt idx="1742">
                  <c:v>All Others</c:v>
                </c:pt>
                <c:pt idx="1743">
                  <c:v>All Others</c:v>
                </c:pt>
                <c:pt idx="1744">
                  <c:v>All Others</c:v>
                </c:pt>
                <c:pt idx="1745">
                  <c:v>Eurial Autr</c:v>
                </c:pt>
                <c:pt idx="1746">
                  <c:v>All Others</c:v>
                </c:pt>
                <c:pt idx="1747">
                  <c:v>All Others</c:v>
                </c:pt>
                <c:pt idx="1748">
                  <c:v>All Others</c:v>
                </c:pt>
                <c:pt idx="1749">
                  <c:v>All Others</c:v>
                </c:pt>
                <c:pt idx="1750">
                  <c:v>All Others</c:v>
                </c:pt>
                <c:pt idx="1751">
                  <c:v>La Belle Et</c:v>
                </c:pt>
                <c:pt idx="1752">
                  <c:v>All Others</c:v>
                </c:pt>
                <c:pt idx="1753">
                  <c:v>All Others</c:v>
                </c:pt>
                <c:pt idx="1754">
                  <c:v>Eurial Autr</c:v>
                </c:pt>
                <c:pt idx="1755">
                  <c:v>All Others</c:v>
                </c:pt>
                <c:pt idx="1756">
                  <c:v>All Others</c:v>
                </c:pt>
                <c:pt idx="1757">
                  <c:v>All Others</c:v>
                </c:pt>
                <c:pt idx="1758">
                  <c:v>All Others</c:v>
                </c:pt>
                <c:pt idx="1759">
                  <c:v>All Others</c:v>
                </c:pt>
                <c:pt idx="1760">
                  <c:v>All Others</c:v>
                </c:pt>
                <c:pt idx="1761">
                  <c:v>All Others</c:v>
                </c:pt>
                <c:pt idx="1762">
                  <c:v>All Others</c:v>
                </c:pt>
                <c:pt idx="1763">
                  <c:v>All Others</c:v>
                </c:pt>
                <c:pt idx="1764">
                  <c:v>All Others</c:v>
                </c:pt>
                <c:pt idx="1765">
                  <c:v>All Others</c:v>
                </c:pt>
                <c:pt idx="1766">
                  <c:v>All Others</c:v>
                </c:pt>
                <c:pt idx="1767">
                  <c:v>All Others</c:v>
                </c:pt>
                <c:pt idx="1768">
                  <c:v>All Others</c:v>
                </c:pt>
                <c:pt idx="1769">
                  <c:v>All Others</c:v>
                </c:pt>
                <c:pt idx="1770">
                  <c:v>All Others</c:v>
                </c:pt>
                <c:pt idx="1771">
                  <c:v>All Others</c:v>
                </c:pt>
                <c:pt idx="1772">
                  <c:v>All Others</c:v>
                </c:pt>
                <c:pt idx="1773">
                  <c:v>Richesmonts</c:v>
                </c:pt>
                <c:pt idx="1774">
                  <c:v>All Others</c:v>
                </c:pt>
                <c:pt idx="1775">
                  <c:v>All Others</c:v>
                </c:pt>
                <c:pt idx="1776">
                  <c:v>All Others</c:v>
                </c:pt>
                <c:pt idx="1777">
                  <c:v>All Others</c:v>
                </c:pt>
                <c:pt idx="1778">
                  <c:v>All Others</c:v>
                </c:pt>
                <c:pt idx="1779">
                  <c:v>All Others</c:v>
                </c:pt>
                <c:pt idx="1780">
                  <c:v>Boursin</c:v>
                </c:pt>
                <c:pt idx="1781">
                  <c:v>All Others</c:v>
                </c:pt>
                <c:pt idx="1782">
                  <c:v>All Others</c:v>
                </c:pt>
                <c:pt idx="1783">
                  <c:v>All Others</c:v>
                </c:pt>
                <c:pt idx="1784">
                  <c:v>All Others</c:v>
                </c:pt>
                <c:pt idx="1785">
                  <c:v>All Others</c:v>
                </c:pt>
                <c:pt idx="1786">
                  <c:v>All Others</c:v>
                </c:pt>
                <c:pt idx="1787">
                  <c:v>All Others</c:v>
                </c:pt>
                <c:pt idx="1788">
                  <c:v>Lou Perac</c:v>
                </c:pt>
                <c:pt idx="1789">
                  <c:v>Etoile Du Q</c:v>
                </c:pt>
                <c:pt idx="1790">
                  <c:v>All Others</c:v>
                </c:pt>
                <c:pt idx="1791">
                  <c:v>All Others</c:v>
                </c:pt>
                <c:pt idx="1792">
                  <c:v>All Others</c:v>
                </c:pt>
                <c:pt idx="1793">
                  <c:v>All Others</c:v>
                </c:pt>
                <c:pt idx="1794">
                  <c:v>All Others</c:v>
                </c:pt>
                <c:pt idx="1795">
                  <c:v>All Others</c:v>
                </c:pt>
                <c:pt idx="1796">
                  <c:v>All Others</c:v>
                </c:pt>
                <c:pt idx="1797">
                  <c:v>All Others</c:v>
                </c:pt>
                <c:pt idx="1798">
                  <c:v>All Others</c:v>
                </c:pt>
                <c:pt idx="1799">
                  <c:v>All Others</c:v>
                </c:pt>
                <c:pt idx="1800">
                  <c:v>All Others</c:v>
                </c:pt>
                <c:pt idx="1801">
                  <c:v>Entremont</c:v>
                </c:pt>
                <c:pt idx="1802">
                  <c:v>All Others</c:v>
                </c:pt>
                <c:pt idx="1803">
                  <c:v>All Others</c:v>
                </c:pt>
                <c:pt idx="1804">
                  <c:v>All Others</c:v>
                </c:pt>
                <c:pt idx="1805">
                  <c:v>All Others</c:v>
                </c:pt>
                <c:pt idx="1806">
                  <c:v>All Others</c:v>
                </c:pt>
                <c:pt idx="1807">
                  <c:v>All Others</c:v>
                </c:pt>
                <c:pt idx="1808">
                  <c:v>All Others</c:v>
                </c:pt>
                <c:pt idx="1809">
                  <c:v>Juraflore</c:v>
                </c:pt>
                <c:pt idx="1810">
                  <c:v>All Others</c:v>
                </c:pt>
                <c:pt idx="1811">
                  <c:v>All Others</c:v>
                </c:pt>
                <c:pt idx="1812">
                  <c:v>All Others</c:v>
                </c:pt>
                <c:pt idx="1813">
                  <c:v>Etoile Du V</c:v>
                </c:pt>
                <c:pt idx="1814">
                  <c:v>All Others</c:v>
                </c:pt>
                <c:pt idx="1815">
                  <c:v>All Others</c:v>
                </c:pt>
                <c:pt idx="1816">
                  <c:v>All Others</c:v>
                </c:pt>
                <c:pt idx="1817">
                  <c:v>All Others</c:v>
                </c:pt>
                <c:pt idx="1818">
                  <c:v>All Others</c:v>
                </c:pt>
                <c:pt idx="1819">
                  <c:v>President</c:v>
                </c:pt>
                <c:pt idx="1820">
                  <c:v>Entremont</c:v>
                </c:pt>
                <c:pt idx="1821">
                  <c:v>Lactalis: A</c:v>
                </c:pt>
                <c:pt idx="1822">
                  <c:v>All Others</c:v>
                </c:pt>
                <c:pt idx="1823">
                  <c:v>All Others</c:v>
                </c:pt>
                <c:pt idx="1824">
                  <c:v>All Others</c:v>
                </c:pt>
                <c:pt idx="1825">
                  <c:v>All Others</c:v>
                </c:pt>
                <c:pt idx="1826">
                  <c:v>All Others</c:v>
                </c:pt>
                <c:pt idx="1827">
                  <c:v>Private Lab</c:v>
                </c:pt>
                <c:pt idx="1828">
                  <c:v>All Others</c:v>
                </c:pt>
                <c:pt idx="1829">
                  <c:v>All Others</c:v>
                </c:pt>
                <c:pt idx="1830">
                  <c:v>All Others</c:v>
                </c:pt>
                <c:pt idx="1831">
                  <c:v>All Others</c:v>
                </c:pt>
                <c:pt idx="1832">
                  <c:v>All Others</c:v>
                </c:pt>
                <c:pt idx="1833">
                  <c:v>Etoile Du V</c:v>
                </c:pt>
                <c:pt idx="1834">
                  <c:v>All Others</c:v>
                </c:pt>
                <c:pt idx="1835">
                  <c:v>All Others</c:v>
                </c:pt>
                <c:pt idx="1836">
                  <c:v>Tartare</c:v>
                </c:pt>
                <c:pt idx="1837">
                  <c:v>All Others</c:v>
                </c:pt>
                <c:pt idx="1838">
                  <c:v>All Others</c:v>
                </c:pt>
                <c:pt idx="1839">
                  <c:v>All Others</c:v>
                </c:pt>
                <c:pt idx="1840">
                  <c:v>All Others</c:v>
                </c:pt>
                <c:pt idx="1841">
                  <c:v>All Others</c:v>
                </c:pt>
                <c:pt idx="1842">
                  <c:v>All Others</c:v>
                </c:pt>
                <c:pt idx="1843">
                  <c:v>All Others</c:v>
                </c:pt>
                <c:pt idx="1844">
                  <c:v>President</c:v>
                </c:pt>
                <c:pt idx="1845">
                  <c:v>All Others</c:v>
                </c:pt>
                <c:pt idx="1846">
                  <c:v>All Others</c:v>
                </c:pt>
                <c:pt idx="1847">
                  <c:v>All Others</c:v>
                </c:pt>
                <c:pt idx="1848">
                  <c:v>All Others</c:v>
                </c:pt>
                <c:pt idx="1849">
                  <c:v>Triballat R</c:v>
                </c:pt>
                <c:pt idx="1850">
                  <c:v>All Others</c:v>
                </c:pt>
                <c:pt idx="1851">
                  <c:v>All Others</c:v>
                </c:pt>
                <c:pt idx="1852">
                  <c:v>All Others</c:v>
                </c:pt>
                <c:pt idx="1853">
                  <c:v>All Others</c:v>
                </c:pt>
                <c:pt idx="1854">
                  <c:v>Private Lab</c:v>
                </c:pt>
                <c:pt idx="1855">
                  <c:v>Entremont</c:v>
                </c:pt>
                <c:pt idx="1856">
                  <c:v>All Others</c:v>
                </c:pt>
                <c:pt idx="1857">
                  <c:v>All Others</c:v>
                </c:pt>
                <c:pt idx="1858">
                  <c:v>All Others</c:v>
                </c:pt>
                <c:pt idx="1859">
                  <c:v>All Others</c:v>
                </c:pt>
                <c:pt idx="1860">
                  <c:v>All Others</c:v>
                </c:pt>
                <c:pt idx="1861">
                  <c:v>All Others</c:v>
                </c:pt>
                <c:pt idx="1862">
                  <c:v>All Others</c:v>
                </c:pt>
                <c:pt idx="1863">
                  <c:v>All Others</c:v>
                </c:pt>
                <c:pt idx="1864">
                  <c:v>Triballat R</c:v>
                </c:pt>
                <c:pt idx="1865">
                  <c:v>All Others</c:v>
                </c:pt>
                <c:pt idx="1866">
                  <c:v>All Others</c:v>
                </c:pt>
                <c:pt idx="1867">
                  <c:v>All Others</c:v>
                </c:pt>
                <c:pt idx="1868">
                  <c:v>All Others</c:v>
                </c:pt>
                <c:pt idx="1869">
                  <c:v>All Others</c:v>
                </c:pt>
                <c:pt idx="1870">
                  <c:v>All Others</c:v>
                </c:pt>
                <c:pt idx="1871">
                  <c:v>Private Lab</c:v>
                </c:pt>
                <c:pt idx="1872">
                  <c:v>All Others</c:v>
                </c:pt>
                <c:pt idx="1873">
                  <c:v>All Others</c:v>
                </c:pt>
                <c:pt idx="1874">
                  <c:v>All Others</c:v>
                </c:pt>
                <c:pt idx="1875">
                  <c:v>Private Lab</c:v>
                </c:pt>
                <c:pt idx="1876">
                  <c:v>All Others</c:v>
                </c:pt>
                <c:pt idx="1877">
                  <c:v>Corsica</c:v>
                </c:pt>
                <c:pt idx="1878">
                  <c:v>All Others</c:v>
                </c:pt>
                <c:pt idx="1879">
                  <c:v>All Others</c:v>
                </c:pt>
                <c:pt idx="1880">
                  <c:v>All Others</c:v>
                </c:pt>
                <c:pt idx="1881">
                  <c:v>St Moret</c:v>
                </c:pt>
                <c:pt idx="1882">
                  <c:v>Savencia: A</c:v>
                </c:pt>
                <c:pt idx="1883">
                  <c:v>Saint Agur</c:v>
                </c:pt>
                <c:pt idx="1884">
                  <c:v>Lactalis: A</c:v>
                </c:pt>
                <c:pt idx="1885">
                  <c:v>All Others</c:v>
                </c:pt>
                <c:pt idx="1886">
                  <c:v>All Others</c:v>
                </c:pt>
                <c:pt idx="1887">
                  <c:v>All Others</c:v>
                </c:pt>
                <c:pt idx="1888">
                  <c:v>All Others</c:v>
                </c:pt>
                <c:pt idx="1889">
                  <c:v>Savencia: A</c:v>
                </c:pt>
                <c:pt idx="1890">
                  <c:v>All Others</c:v>
                </c:pt>
                <c:pt idx="1891">
                  <c:v>All Others</c:v>
                </c:pt>
                <c:pt idx="1892">
                  <c:v>All Others</c:v>
                </c:pt>
                <c:pt idx="1893">
                  <c:v>All Others</c:v>
                </c:pt>
                <c:pt idx="1894">
                  <c:v>Lactalis: A</c:v>
                </c:pt>
                <c:pt idx="1895">
                  <c:v>All Others</c:v>
                </c:pt>
                <c:pt idx="1896">
                  <c:v>All Others</c:v>
                </c:pt>
                <c:pt idx="1897">
                  <c:v>All Others</c:v>
                </c:pt>
                <c:pt idx="1898">
                  <c:v>All Others</c:v>
                </c:pt>
                <c:pt idx="1899">
                  <c:v>All Others</c:v>
                </c:pt>
                <c:pt idx="1900">
                  <c:v>All Others</c:v>
                </c:pt>
                <c:pt idx="1901">
                  <c:v>President</c:v>
                </c:pt>
                <c:pt idx="1902">
                  <c:v>All Others</c:v>
                </c:pt>
                <c:pt idx="1903">
                  <c:v>All Others</c:v>
                </c:pt>
                <c:pt idx="1904">
                  <c:v>All Others</c:v>
                </c:pt>
                <c:pt idx="1905">
                  <c:v>All Others</c:v>
                </c:pt>
                <c:pt idx="1906">
                  <c:v>Richesmonts</c:v>
                </c:pt>
                <c:pt idx="1907">
                  <c:v>All Others</c:v>
                </c:pt>
                <c:pt idx="1908">
                  <c:v>La Belle Et</c:v>
                </c:pt>
                <c:pt idx="1909">
                  <c:v>All Others</c:v>
                </c:pt>
                <c:pt idx="1910">
                  <c:v>All Others</c:v>
                </c:pt>
                <c:pt idx="1911">
                  <c:v>All Others</c:v>
                </c:pt>
                <c:pt idx="1912">
                  <c:v>All Others</c:v>
                </c:pt>
                <c:pt idx="1913">
                  <c:v>All Others</c:v>
                </c:pt>
                <c:pt idx="1914">
                  <c:v>All Others</c:v>
                </c:pt>
                <c:pt idx="1915">
                  <c:v>All Others</c:v>
                </c:pt>
                <c:pt idx="1916">
                  <c:v>All Others</c:v>
                </c:pt>
                <c:pt idx="1917">
                  <c:v>All Others</c:v>
                </c:pt>
                <c:pt idx="1918">
                  <c:v>All Others</c:v>
                </c:pt>
                <c:pt idx="1919">
                  <c:v>All Others</c:v>
                </c:pt>
                <c:pt idx="1920">
                  <c:v>All Others</c:v>
                </c:pt>
                <c:pt idx="1921">
                  <c:v>Private Lab</c:v>
                </c:pt>
                <c:pt idx="1922">
                  <c:v>All Others</c:v>
                </c:pt>
                <c:pt idx="1923">
                  <c:v>All Others</c:v>
                </c:pt>
                <c:pt idx="1924">
                  <c:v>Paysan Bret</c:v>
                </c:pt>
                <c:pt idx="1925">
                  <c:v>All Others</c:v>
                </c:pt>
                <c:pt idx="1926">
                  <c:v>Eurial Autr</c:v>
                </c:pt>
                <c:pt idx="1927">
                  <c:v>All Others</c:v>
                </c:pt>
                <c:pt idx="1928">
                  <c:v>Triballat R</c:v>
                </c:pt>
                <c:pt idx="1929">
                  <c:v>All Others</c:v>
                </c:pt>
                <c:pt idx="1930">
                  <c:v>All Others</c:v>
                </c:pt>
                <c:pt idx="1931">
                  <c:v>All Others</c:v>
                </c:pt>
                <c:pt idx="1932">
                  <c:v>La Belle Et</c:v>
                </c:pt>
                <c:pt idx="1933">
                  <c:v>All Others</c:v>
                </c:pt>
                <c:pt idx="1934">
                  <c:v>Cousteron</c:v>
                </c:pt>
                <c:pt idx="1935">
                  <c:v>All Others</c:v>
                </c:pt>
                <c:pt idx="1936">
                  <c:v>All Others</c:v>
                </c:pt>
                <c:pt idx="1937">
                  <c:v>All Others</c:v>
                </c:pt>
                <c:pt idx="1938">
                  <c:v>All Others</c:v>
                </c:pt>
                <c:pt idx="1939">
                  <c:v>La Belle Et</c:v>
                </c:pt>
                <c:pt idx="1940">
                  <c:v>All Others</c:v>
                </c:pt>
                <c:pt idx="1941">
                  <c:v>All Others</c:v>
                </c:pt>
                <c:pt idx="1942">
                  <c:v>All Others</c:v>
                </c:pt>
                <c:pt idx="1943">
                  <c:v>All Others</c:v>
                </c:pt>
                <c:pt idx="1944">
                  <c:v>Savencia: A</c:v>
                </c:pt>
                <c:pt idx="1945">
                  <c:v>Eurial Autr</c:v>
                </c:pt>
                <c:pt idx="1946">
                  <c:v>All Others</c:v>
                </c:pt>
                <c:pt idx="1947">
                  <c:v>All Others</c:v>
                </c:pt>
                <c:pt idx="1948">
                  <c:v>All Others</c:v>
                </c:pt>
                <c:pt idx="1949">
                  <c:v>All Others</c:v>
                </c:pt>
                <c:pt idx="1950">
                  <c:v>Entremont</c:v>
                </c:pt>
                <c:pt idx="1951">
                  <c:v>All Others</c:v>
                </c:pt>
                <c:pt idx="1952">
                  <c:v>All Others</c:v>
                </c:pt>
                <c:pt idx="1953">
                  <c:v>All Others</c:v>
                </c:pt>
                <c:pt idx="1954">
                  <c:v>All Others</c:v>
                </c:pt>
                <c:pt idx="1955">
                  <c:v>St Moret</c:v>
                </c:pt>
                <c:pt idx="1956">
                  <c:v>Pochat</c:v>
                </c:pt>
                <c:pt idx="1957">
                  <c:v>All Others</c:v>
                </c:pt>
                <c:pt idx="1958">
                  <c:v>All Others</c:v>
                </c:pt>
                <c:pt idx="1959">
                  <c:v>Savencia: A</c:v>
                </c:pt>
                <c:pt idx="1960">
                  <c:v>Private Lab</c:v>
                </c:pt>
                <c:pt idx="1961">
                  <c:v>All Others</c:v>
                </c:pt>
                <c:pt idx="1962">
                  <c:v>All Others</c:v>
                </c:pt>
                <c:pt idx="1963">
                  <c:v>All Others</c:v>
                </c:pt>
                <c:pt idx="1964">
                  <c:v>Fauquet</c:v>
                </c:pt>
                <c:pt idx="1965">
                  <c:v>All Others</c:v>
                </c:pt>
                <c:pt idx="1966">
                  <c:v>Lactalis: A</c:v>
                </c:pt>
                <c:pt idx="1967">
                  <c:v>Private Lab</c:v>
                </c:pt>
                <c:pt idx="1968">
                  <c:v>All Others</c:v>
                </c:pt>
                <c:pt idx="1969">
                  <c:v>All Others</c:v>
                </c:pt>
                <c:pt idx="1970">
                  <c:v>All Others</c:v>
                </c:pt>
                <c:pt idx="1971">
                  <c:v>All Others</c:v>
                </c:pt>
                <c:pt idx="1972">
                  <c:v>All Others</c:v>
                </c:pt>
                <c:pt idx="1973">
                  <c:v>All Others</c:v>
                </c:pt>
                <c:pt idx="1974">
                  <c:v>Entremont</c:v>
                </c:pt>
                <c:pt idx="1975">
                  <c:v>All Others</c:v>
                </c:pt>
                <c:pt idx="1976">
                  <c:v>All Others</c:v>
                </c:pt>
                <c:pt idx="1977">
                  <c:v>All Others</c:v>
                </c:pt>
                <c:pt idx="1978">
                  <c:v>All Others</c:v>
                </c:pt>
                <c:pt idx="1979">
                  <c:v>All Others</c:v>
                </c:pt>
                <c:pt idx="1980">
                  <c:v>Milleret: A</c:v>
                </c:pt>
                <c:pt idx="1981">
                  <c:v>All Others</c:v>
                </c:pt>
                <c:pt idx="1982">
                  <c:v>All Others</c:v>
                </c:pt>
                <c:pt idx="1983">
                  <c:v>All Others</c:v>
                </c:pt>
                <c:pt idx="1984">
                  <c:v>Savencia: A</c:v>
                </c:pt>
                <c:pt idx="1985">
                  <c:v>All Others</c:v>
                </c:pt>
                <c:pt idx="1986">
                  <c:v>All Others</c:v>
                </c:pt>
                <c:pt idx="1987">
                  <c:v>All Others</c:v>
                </c:pt>
                <c:pt idx="1988">
                  <c:v>All Others</c:v>
                </c:pt>
                <c:pt idx="1989">
                  <c:v>All Others</c:v>
                </c:pt>
                <c:pt idx="1990">
                  <c:v>All Others</c:v>
                </c:pt>
                <c:pt idx="1991">
                  <c:v>All Others</c:v>
                </c:pt>
                <c:pt idx="1992">
                  <c:v>All Others</c:v>
                </c:pt>
                <c:pt idx="1993">
                  <c:v>All Others</c:v>
                </c:pt>
                <c:pt idx="1994">
                  <c:v>All Others</c:v>
                </c:pt>
                <c:pt idx="1995">
                  <c:v>All Others</c:v>
                </c:pt>
                <c:pt idx="1996">
                  <c:v>All Others</c:v>
                </c:pt>
                <c:pt idx="1997">
                  <c:v>All Others</c:v>
                </c:pt>
                <c:pt idx="1998">
                  <c:v>Raguin</c:v>
                </c:pt>
                <c:pt idx="1999">
                  <c:v>All Others</c:v>
                </c:pt>
                <c:pt idx="2000">
                  <c:v>All Others</c:v>
                </c:pt>
                <c:pt idx="2001">
                  <c:v>All Others</c:v>
                </c:pt>
                <c:pt idx="2002">
                  <c:v>All Others</c:v>
                </c:pt>
                <c:pt idx="2003">
                  <c:v>All Others</c:v>
                </c:pt>
                <c:pt idx="2004">
                  <c:v>All Others</c:v>
                </c:pt>
                <c:pt idx="2005">
                  <c:v>All Others</c:v>
                </c:pt>
                <c:pt idx="2006">
                  <c:v>All Others</c:v>
                </c:pt>
                <c:pt idx="2007">
                  <c:v>All Others</c:v>
                </c:pt>
                <c:pt idx="2008">
                  <c:v>All Others</c:v>
                </c:pt>
                <c:pt idx="2009">
                  <c:v>All Others</c:v>
                </c:pt>
                <c:pt idx="2010">
                  <c:v>All Others</c:v>
                </c:pt>
                <c:pt idx="2011">
                  <c:v>All Others</c:v>
                </c:pt>
                <c:pt idx="2012">
                  <c:v>All Others</c:v>
                </c:pt>
                <c:pt idx="2013">
                  <c:v>All Others</c:v>
                </c:pt>
                <c:pt idx="2014">
                  <c:v>All Others</c:v>
                </c:pt>
                <c:pt idx="2015">
                  <c:v>All Others</c:v>
                </c:pt>
                <c:pt idx="2016">
                  <c:v>All Others</c:v>
                </c:pt>
                <c:pt idx="2017">
                  <c:v>Eurial Autr</c:v>
                </c:pt>
                <c:pt idx="2018">
                  <c:v>Eurial Autr</c:v>
                </c:pt>
                <c:pt idx="2019">
                  <c:v>All Others</c:v>
                </c:pt>
                <c:pt idx="2020">
                  <c:v>All Others</c:v>
                </c:pt>
                <c:pt idx="2021">
                  <c:v>All Others</c:v>
                </c:pt>
                <c:pt idx="2022">
                  <c:v>All Others</c:v>
                </c:pt>
                <c:pt idx="2023">
                  <c:v>All Others</c:v>
                </c:pt>
                <c:pt idx="2024">
                  <c:v>Milleret: A</c:v>
                </c:pt>
                <c:pt idx="2025">
                  <c:v>All Others</c:v>
                </c:pt>
                <c:pt idx="2026">
                  <c:v>All Others</c:v>
                </c:pt>
                <c:pt idx="2027">
                  <c:v>All Others</c:v>
                </c:pt>
                <c:pt idx="2028">
                  <c:v>All Others</c:v>
                </c:pt>
                <c:pt idx="2029">
                  <c:v>All Others</c:v>
                </c:pt>
                <c:pt idx="2030">
                  <c:v>Casa Azzurr</c:v>
                </c:pt>
                <c:pt idx="2031">
                  <c:v>All Others</c:v>
                </c:pt>
                <c:pt idx="2032">
                  <c:v>All Others</c:v>
                </c:pt>
                <c:pt idx="2033">
                  <c:v>All Others</c:v>
                </c:pt>
                <c:pt idx="2034">
                  <c:v>All Others</c:v>
                </c:pt>
                <c:pt idx="2035">
                  <c:v>All Others</c:v>
                </c:pt>
                <c:pt idx="2036">
                  <c:v>All Others</c:v>
                </c:pt>
                <c:pt idx="2037">
                  <c:v>All Others</c:v>
                </c:pt>
                <c:pt idx="2038">
                  <c:v>All Others</c:v>
                </c:pt>
                <c:pt idx="2039">
                  <c:v>Private Lab</c:v>
                </c:pt>
                <c:pt idx="2040">
                  <c:v>Savencia: A</c:v>
                </c:pt>
                <c:pt idx="2041">
                  <c:v>Lactalis: A</c:v>
                </c:pt>
                <c:pt idx="2042">
                  <c:v>All Others</c:v>
                </c:pt>
                <c:pt idx="2043">
                  <c:v>All Others</c:v>
                </c:pt>
                <c:pt idx="2044">
                  <c:v>All Others</c:v>
                </c:pt>
                <c:pt idx="2045">
                  <c:v>Eurial Autr</c:v>
                </c:pt>
                <c:pt idx="2046">
                  <c:v>All Others</c:v>
                </c:pt>
                <c:pt idx="2047">
                  <c:v>All Others</c:v>
                </c:pt>
                <c:pt idx="2048">
                  <c:v>All Others</c:v>
                </c:pt>
                <c:pt idx="2049">
                  <c:v>Lou Perac</c:v>
                </c:pt>
                <c:pt idx="2050">
                  <c:v>All Others</c:v>
                </c:pt>
                <c:pt idx="2051">
                  <c:v>All Others</c:v>
                </c:pt>
                <c:pt idx="2052">
                  <c:v>All Others</c:v>
                </c:pt>
                <c:pt idx="2053">
                  <c:v>All Others</c:v>
                </c:pt>
                <c:pt idx="2054">
                  <c:v>All Others</c:v>
                </c:pt>
                <c:pt idx="2055">
                  <c:v>Pave D'Affi</c:v>
                </c:pt>
                <c:pt idx="2056">
                  <c:v>Triballat N</c:v>
                </c:pt>
                <c:pt idx="2057">
                  <c:v>President</c:v>
                </c:pt>
                <c:pt idx="2058">
                  <c:v>All Others</c:v>
                </c:pt>
                <c:pt idx="2059">
                  <c:v>All Others</c:v>
                </c:pt>
                <c:pt idx="2060">
                  <c:v>All Others</c:v>
                </c:pt>
                <c:pt idx="2061">
                  <c:v>Raguin</c:v>
                </c:pt>
                <c:pt idx="2062">
                  <c:v>All Others</c:v>
                </c:pt>
                <c:pt idx="2063">
                  <c:v>All Others</c:v>
                </c:pt>
                <c:pt idx="2064">
                  <c:v>All Others</c:v>
                </c:pt>
                <c:pt idx="2065">
                  <c:v>All Others</c:v>
                </c:pt>
                <c:pt idx="2066">
                  <c:v>All Others</c:v>
                </c:pt>
                <c:pt idx="2067">
                  <c:v>President</c:v>
                </c:pt>
                <c:pt idx="2068">
                  <c:v>All Others</c:v>
                </c:pt>
                <c:pt idx="2069">
                  <c:v>All Others</c:v>
                </c:pt>
                <c:pt idx="2070">
                  <c:v>All Others</c:v>
                </c:pt>
                <c:pt idx="2071">
                  <c:v>All Others</c:v>
                </c:pt>
                <c:pt idx="2072">
                  <c:v>All Others</c:v>
                </c:pt>
                <c:pt idx="2073">
                  <c:v>All Others</c:v>
                </c:pt>
                <c:pt idx="2074">
                  <c:v>All Others</c:v>
                </c:pt>
                <c:pt idx="2075">
                  <c:v>All Others</c:v>
                </c:pt>
                <c:pt idx="2076">
                  <c:v>All Others</c:v>
                </c:pt>
                <c:pt idx="2077">
                  <c:v>All Others</c:v>
                </c:pt>
                <c:pt idx="2078">
                  <c:v>All Others</c:v>
                </c:pt>
                <c:pt idx="2079">
                  <c:v>All Others</c:v>
                </c:pt>
                <c:pt idx="2080">
                  <c:v>All Others</c:v>
                </c:pt>
                <c:pt idx="2081">
                  <c:v>All Others</c:v>
                </c:pt>
                <c:pt idx="2082">
                  <c:v>All Others</c:v>
                </c:pt>
                <c:pt idx="2083">
                  <c:v>All Others</c:v>
                </c:pt>
                <c:pt idx="2084">
                  <c:v>All Others</c:v>
                </c:pt>
                <c:pt idx="2085">
                  <c:v>All Others</c:v>
                </c:pt>
                <c:pt idx="2086">
                  <c:v>All Others</c:v>
                </c:pt>
                <c:pt idx="2087">
                  <c:v>All Others</c:v>
                </c:pt>
                <c:pt idx="2088">
                  <c:v>All Others</c:v>
                </c:pt>
                <c:pt idx="2089">
                  <c:v>All Others</c:v>
                </c:pt>
                <c:pt idx="2090">
                  <c:v>All Others</c:v>
                </c:pt>
                <c:pt idx="2091">
                  <c:v>All Others</c:v>
                </c:pt>
                <c:pt idx="2092">
                  <c:v>All Others</c:v>
                </c:pt>
                <c:pt idx="2093">
                  <c:v>All Others</c:v>
                </c:pt>
                <c:pt idx="2094">
                  <c:v>All Others</c:v>
                </c:pt>
                <c:pt idx="2095">
                  <c:v>All Others</c:v>
                </c:pt>
                <c:pt idx="2096">
                  <c:v>All Others</c:v>
                </c:pt>
                <c:pt idx="2097">
                  <c:v>All Others</c:v>
                </c:pt>
                <c:pt idx="2098">
                  <c:v>All Others</c:v>
                </c:pt>
                <c:pt idx="2099">
                  <c:v>All Others</c:v>
                </c:pt>
                <c:pt idx="2100">
                  <c:v>All Others</c:v>
                </c:pt>
                <c:pt idx="2101">
                  <c:v>Pochat</c:v>
                </c:pt>
                <c:pt idx="2102">
                  <c:v>All Others</c:v>
                </c:pt>
                <c:pt idx="2103">
                  <c:v>Triballat R</c:v>
                </c:pt>
                <c:pt idx="2104">
                  <c:v>All Others</c:v>
                </c:pt>
                <c:pt idx="2105">
                  <c:v>All Others</c:v>
                </c:pt>
                <c:pt idx="2106">
                  <c:v>All Others</c:v>
                </c:pt>
                <c:pt idx="2107">
                  <c:v>All Others</c:v>
                </c:pt>
                <c:pt idx="2108">
                  <c:v>Tartare</c:v>
                </c:pt>
                <c:pt idx="2109">
                  <c:v>All Others</c:v>
                </c:pt>
                <c:pt idx="2110">
                  <c:v>Savencia: A</c:v>
                </c:pt>
                <c:pt idx="2111">
                  <c:v>All Others</c:v>
                </c:pt>
                <c:pt idx="2112">
                  <c:v>All Others</c:v>
                </c:pt>
                <c:pt idx="2113">
                  <c:v>Vieux Pane</c:v>
                </c:pt>
                <c:pt idx="2114">
                  <c:v>All Others</c:v>
                </c:pt>
                <c:pt idx="2115">
                  <c:v>All Others</c:v>
                </c:pt>
                <c:pt idx="2116">
                  <c:v>All Others</c:v>
                </c:pt>
                <c:pt idx="2117">
                  <c:v>All Others</c:v>
                </c:pt>
                <c:pt idx="2118">
                  <c:v>All Others</c:v>
                </c:pt>
                <c:pt idx="2119">
                  <c:v>All Others</c:v>
                </c:pt>
                <c:pt idx="2120">
                  <c:v>Etoile Du V</c:v>
                </c:pt>
                <c:pt idx="2121">
                  <c:v>All Others</c:v>
                </c:pt>
                <c:pt idx="2122">
                  <c:v>All Others</c:v>
                </c:pt>
                <c:pt idx="2123">
                  <c:v>All Others</c:v>
                </c:pt>
                <c:pt idx="2124">
                  <c:v>All Others</c:v>
                </c:pt>
                <c:pt idx="2125">
                  <c:v>All Others</c:v>
                </c:pt>
                <c:pt idx="2126">
                  <c:v>All Others</c:v>
                </c:pt>
                <c:pt idx="2127">
                  <c:v>All Others</c:v>
                </c:pt>
                <c:pt idx="2128">
                  <c:v>All Others</c:v>
                </c:pt>
                <c:pt idx="2129">
                  <c:v>President</c:v>
                </c:pt>
                <c:pt idx="2130">
                  <c:v>All Others</c:v>
                </c:pt>
                <c:pt idx="2131">
                  <c:v>All Others</c:v>
                </c:pt>
                <c:pt idx="2132">
                  <c:v>Pochat</c:v>
                </c:pt>
                <c:pt idx="2133">
                  <c:v>All Others</c:v>
                </c:pt>
                <c:pt idx="2134">
                  <c:v>All Others</c:v>
                </c:pt>
                <c:pt idx="2135">
                  <c:v>All Others</c:v>
                </c:pt>
                <c:pt idx="2136">
                  <c:v>All Others</c:v>
                </c:pt>
                <c:pt idx="2137">
                  <c:v>All Others</c:v>
                </c:pt>
                <c:pt idx="2138">
                  <c:v>All Others</c:v>
                </c:pt>
                <c:pt idx="2139">
                  <c:v>All Others</c:v>
                </c:pt>
                <c:pt idx="2140">
                  <c:v>All Others</c:v>
                </c:pt>
                <c:pt idx="2141">
                  <c:v>Caprice Des</c:v>
                </c:pt>
                <c:pt idx="2142">
                  <c:v>All Others</c:v>
                </c:pt>
                <c:pt idx="2143">
                  <c:v>All Others</c:v>
                </c:pt>
                <c:pt idx="2144">
                  <c:v>All Others</c:v>
                </c:pt>
                <c:pt idx="2145">
                  <c:v>All Others</c:v>
                </c:pt>
                <c:pt idx="2146">
                  <c:v>All Others</c:v>
                </c:pt>
                <c:pt idx="2147">
                  <c:v>All Others</c:v>
                </c:pt>
                <c:pt idx="2148">
                  <c:v>Raguin</c:v>
                </c:pt>
                <c:pt idx="2149">
                  <c:v>All Others</c:v>
                </c:pt>
                <c:pt idx="2150">
                  <c:v>All Others</c:v>
                </c:pt>
                <c:pt idx="2151">
                  <c:v>All Others</c:v>
                </c:pt>
                <c:pt idx="2152">
                  <c:v>Pave D'Affi</c:v>
                </c:pt>
                <c:pt idx="2153">
                  <c:v>Savencia: A</c:v>
                </c:pt>
                <c:pt idx="2154">
                  <c:v>All Others</c:v>
                </c:pt>
                <c:pt idx="2155">
                  <c:v>All Others</c:v>
                </c:pt>
                <c:pt idx="2156">
                  <c:v>All Others</c:v>
                </c:pt>
                <c:pt idx="2157">
                  <c:v>Savencia: A</c:v>
                </c:pt>
                <c:pt idx="2158">
                  <c:v>All Others</c:v>
                </c:pt>
                <c:pt idx="2159">
                  <c:v>All Others</c:v>
                </c:pt>
                <c:pt idx="2160">
                  <c:v>Richesmonts</c:v>
                </c:pt>
                <c:pt idx="2161">
                  <c:v>All Others</c:v>
                </c:pt>
                <c:pt idx="2162">
                  <c:v>All Others</c:v>
                </c:pt>
                <c:pt idx="2163">
                  <c:v>All Others</c:v>
                </c:pt>
                <c:pt idx="2164">
                  <c:v>All Others</c:v>
                </c:pt>
                <c:pt idx="2165">
                  <c:v>All Others</c:v>
                </c:pt>
                <c:pt idx="2166">
                  <c:v>Savencia: A</c:v>
                </c:pt>
                <c:pt idx="2167">
                  <c:v>All Others</c:v>
                </c:pt>
                <c:pt idx="2168">
                  <c:v>All Others</c:v>
                </c:pt>
                <c:pt idx="2169">
                  <c:v>All Others</c:v>
                </c:pt>
                <c:pt idx="2170">
                  <c:v>All Others</c:v>
                </c:pt>
                <c:pt idx="2171">
                  <c:v>All Others</c:v>
                </c:pt>
                <c:pt idx="2172">
                  <c:v>All Others</c:v>
                </c:pt>
                <c:pt idx="2173">
                  <c:v>All Others</c:v>
                </c:pt>
                <c:pt idx="2174">
                  <c:v>Milleret: A</c:v>
                </c:pt>
                <c:pt idx="2175">
                  <c:v>All Others</c:v>
                </c:pt>
                <c:pt idx="2176">
                  <c:v>All Others</c:v>
                </c:pt>
                <c:pt idx="2177">
                  <c:v>All Others</c:v>
                </c:pt>
                <c:pt idx="2178">
                  <c:v>All Others</c:v>
                </c:pt>
                <c:pt idx="2179">
                  <c:v>Eurial Autr</c:v>
                </c:pt>
                <c:pt idx="2180">
                  <c:v>All Others</c:v>
                </c:pt>
                <c:pt idx="2181">
                  <c:v>All Others</c:v>
                </c:pt>
                <c:pt idx="2182">
                  <c:v>All Others</c:v>
                </c:pt>
                <c:pt idx="2183">
                  <c:v>All Others</c:v>
                </c:pt>
                <c:pt idx="2184">
                  <c:v>All Others</c:v>
                </c:pt>
                <c:pt idx="2185">
                  <c:v>Soignon</c:v>
                </c:pt>
                <c:pt idx="2186">
                  <c:v>Pochat</c:v>
                </c:pt>
                <c:pt idx="2187">
                  <c:v>All Others</c:v>
                </c:pt>
                <c:pt idx="2188">
                  <c:v>All Others</c:v>
                </c:pt>
                <c:pt idx="2189">
                  <c:v>All Others</c:v>
                </c:pt>
                <c:pt idx="2190">
                  <c:v>Leerdammer</c:v>
                </c:pt>
                <c:pt idx="2191">
                  <c:v>All Others</c:v>
                </c:pt>
                <c:pt idx="2192">
                  <c:v>All Others</c:v>
                </c:pt>
                <c:pt idx="2193">
                  <c:v>All Others</c:v>
                </c:pt>
                <c:pt idx="2194">
                  <c:v>All Others</c:v>
                </c:pt>
                <c:pt idx="2195">
                  <c:v>All Others</c:v>
                </c:pt>
                <c:pt idx="2196">
                  <c:v>All Others</c:v>
                </c:pt>
                <c:pt idx="2197">
                  <c:v>All Others</c:v>
                </c:pt>
                <c:pt idx="2198">
                  <c:v>All Others</c:v>
                </c:pt>
                <c:pt idx="2199">
                  <c:v>All Others</c:v>
                </c:pt>
                <c:pt idx="2200">
                  <c:v>All Others</c:v>
                </c:pt>
                <c:pt idx="2201">
                  <c:v>All Others</c:v>
                </c:pt>
                <c:pt idx="2202">
                  <c:v>All Others</c:v>
                </c:pt>
                <c:pt idx="2203">
                  <c:v>All Others</c:v>
                </c:pt>
                <c:pt idx="2204">
                  <c:v>All Others</c:v>
                </c:pt>
                <c:pt idx="2205">
                  <c:v>All Others</c:v>
                </c:pt>
                <c:pt idx="2206">
                  <c:v>All Others</c:v>
                </c:pt>
                <c:pt idx="2207">
                  <c:v>Etoile Du V</c:v>
                </c:pt>
                <c:pt idx="2208">
                  <c:v>Raguin</c:v>
                </c:pt>
                <c:pt idx="2209">
                  <c:v>La Belle Et</c:v>
                </c:pt>
                <c:pt idx="2210">
                  <c:v>All Others</c:v>
                </c:pt>
                <c:pt idx="2211">
                  <c:v>Private Lab</c:v>
                </c:pt>
                <c:pt idx="2212">
                  <c:v>All Others</c:v>
                </c:pt>
                <c:pt idx="2213">
                  <c:v>All Others</c:v>
                </c:pt>
                <c:pt idx="2214">
                  <c:v>All Others</c:v>
                </c:pt>
                <c:pt idx="2215">
                  <c:v>All Others</c:v>
                </c:pt>
                <c:pt idx="2216">
                  <c:v>All Others</c:v>
                </c:pt>
                <c:pt idx="2217">
                  <c:v>All Others</c:v>
                </c:pt>
                <c:pt idx="2218">
                  <c:v>All Others</c:v>
                </c:pt>
                <c:pt idx="2219">
                  <c:v>All Others</c:v>
                </c:pt>
                <c:pt idx="2220">
                  <c:v>Etoile Du V</c:v>
                </c:pt>
                <c:pt idx="2221">
                  <c:v>Paysan Bret</c:v>
                </c:pt>
                <c:pt idx="2222">
                  <c:v>Lou Perac</c:v>
                </c:pt>
                <c:pt idx="2223">
                  <c:v>All Others</c:v>
                </c:pt>
                <c:pt idx="2224">
                  <c:v>All Others</c:v>
                </c:pt>
                <c:pt idx="2225">
                  <c:v>All Others</c:v>
                </c:pt>
                <c:pt idx="2226">
                  <c:v>Milleret: A</c:v>
                </c:pt>
                <c:pt idx="2227">
                  <c:v>Petit Billy</c:v>
                </c:pt>
                <c:pt idx="2228">
                  <c:v>All Others</c:v>
                </c:pt>
                <c:pt idx="2229">
                  <c:v>All Others</c:v>
                </c:pt>
                <c:pt idx="2230">
                  <c:v>Lactalis: A</c:v>
                </c:pt>
                <c:pt idx="2231">
                  <c:v>All Others</c:v>
                </c:pt>
                <c:pt idx="2232">
                  <c:v>All Others</c:v>
                </c:pt>
                <c:pt idx="2233">
                  <c:v>All Others</c:v>
                </c:pt>
                <c:pt idx="2234">
                  <c:v>Eurial Autr</c:v>
                </c:pt>
                <c:pt idx="2235">
                  <c:v>All Others</c:v>
                </c:pt>
                <c:pt idx="2236">
                  <c:v>All Others</c:v>
                </c:pt>
                <c:pt idx="2237">
                  <c:v>All Others</c:v>
                </c:pt>
                <c:pt idx="2238">
                  <c:v>President</c:v>
                </c:pt>
                <c:pt idx="2239">
                  <c:v>All Others</c:v>
                </c:pt>
                <c:pt idx="2240">
                  <c:v>Eurial Autr</c:v>
                </c:pt>
                <c:pt idx="2241">
                  <c:v>Private Lab</c:v>
                </c:pt>
                <c:pt idx="2242">
                  <c:v>All Others</c:v>
                </c:pt>
                <c:pt idx="2243">
                  <c:v>All Others</c:v>
                </c:pt>
                <c:pt idx="2244">
                  <c:v>All Others</c:v>
                </c:pt>
                <c:pt idx="2245">
                  <c:v>All Others</c:v>
                </c:pt>
                <c:pt idx="2246">
                  <c:v>All Others</c:v>
                </c:pt>
                <c:pt idx="2247">
                  <c:v>All Others</c:v>
                </c:pt>
                <c:pt idx="2248">
                  <c:v>All Others</c:v>
                </c:pt>
                <c:pt idx="2249">
                  <c:v>All Others</c:v>
                </c:pt>
                <c:pt idx="2250">
                  <c:v>Private Lab</c:v>
                </c:pt>
                <c:pt idx="2251">
                  <c:v>All Others</c:v>
                </c:pt>
                <c:pt idx="2252">
                  <c:v>All Others</c:v>
                </c:pt>
                <c:pt idx="2253">
                  <c:v>All Others</c:v>
                </c:pt>
                <c:pt idx="2254">
                  <c:v>All Others</c:v>
                </c:pt>
                <c:pt idx="2255">
                  <c:v>All Others</c:v>
                </c:pt>
                <c:pt idx="2256">
                  <c:v>All Others</c:v>
                </c:pt>
                <c:pt idx="2257">
                  <c:v>All Others</c:v>
                </c:pt>
                <c:pt idx="2258">
                  <c:v>All Others</c:v>
                </c:pt>
                <c:pt idx="2259">
                  <c:v>All Others</c:v>
                </c:pt>
                <c:pt idx="2260">
                  <c:v>All Others</c:v>
                </c:pt>
                <c:pt idx="2261">
                  <c:v>All Others</c:v>
                </c:pt>
                <c:pt idx="2262">
                  <c:v>All Others</c:v>
                </c:pt>
                <c:pt idx="2263">
                  <c:v>All Others</c:v>
                </c:pt>
                <c:pt idx="2264">
                  <c:v>All Others</c:v>
                </c:pt>
                <c:pt idx="2265">
                  <c:v>All Others</c:v>
                </c:pt>
                <c:pt idx="2266">
                  <c:v>All Others</c:v>
                </c:pt>
                <c:pt idx="2267">
                  <c:v>Soignon</c:v>
                </c:pt>
                <c:pt idx="2268">
                  <c:v>All Others</c:v>
                </c:pt>
                <c:pt idx="2269">
                  <c:v>Leerdammer</c:v>
                </c:pt>
                <c:pt idx="2270">
                  <c:v>All Others</c:v>
                </c:pt>
                <c:pt idx="2271">
                  <c:v>All Others</c:v>
                </c:pt>
                <c:pt idx="2272">
                  <c:v>All Others</c:v>
                </c:pt>
                <c:pt idx="2273">
                  <c:v>All Others</c:v>
                </c:pt>
                <c:pt idx="2274">
                  <c:v>All Others</c:v>
                </c:pt>
                <c:pt idx="2275">
                  <c:v>All Others</c:v>
                </c:pt>
                <c:pt idx="2276">
                  <c:v>All Others</c:v>
                </c:pt>
                <c:pt idx="2277">
                  <c:v>La Belle Et</c:v>
                </c:pt>
                <c:pt idx="2278">
                  <c:v>All Others</c:v>
                </c:pt>
                <c:pt idx="2279">
                  <c:v>Private Lab</c:v>
                </c:pt>
                <c:pt idx="2280">
                  <c:v>Leerdammer</c:v>
                </c:pt>
                <c:pt idx="2281">
                  <c:v>All Others</c:v>
                </c:pt>
                <c:pt idx="2282">
                  <c:v>Paysan Bret</c:v>
                </c:pt>
                <c:pt idx="2283">
                  <c:v>All Others</c:v>
                </c:pt>
                <c:pt idx="2284">
                  <c:v>All Others</c:v>
                </c:pt>
                <c:pt idx="2285">
                  <c:v>All Others</c:v>
                </c:pt>
                <c:pt idx="2286">
                  <c:v>All Others</c:v>
                </c:pt>
                <c:pt idx="2287">
                  <c:v>All Others</c:v>
                </c:pt>
                <c:pt idx="2288">
                  <c:v>All Others</c:v>
                </c:pt>
                <c:pt idx="2289">
                  <c:v>Fol Epi</c:v>
                </c:pt>
                <c:pt idx="2290">
                  <c:v>All Others</c:v>
                </c:pt>
                <c:pt idx="2291">
                  <c:v>Fol Epi</c:v>
                </c:pt>
                <c:pt idx="2292">
                  <c:v>All Others</c:v>
                </c:pt>
                <c:pt idx="2293">
                  <c:v>All Others</c:v>
                </c:pt>
                <c:pt idx="2294">
                  <c:v>All Others</c:v>
                </c:pt>
                <c:pt idx="2295">
                  <c:v>All Others</c:v>
                </c:pt>
                <c:pt idx="2296">
                  <c:v>All Others</c:v>
                </c:pt>
                <c:pt idx="2297">
                  <c:v>All Others</c:v>
                </c:pt>
                <c:pt idx="2298">
                  <c:v>All Others</c:v>
                </c:pt>
                <c:pt idx="2299">
                  <c:v>All Others</c:v>
                </c:pt>
                <c:pt idx="2300">
                  <c:v>All Others</c:v>
                </c:pt>
                <c:pt idx="2301">
                  <c:v>All Others</c:v>
                </c:pt>
                <c:pt idx="2302">
                  <c:v>All Others</c:v>
                </c:pt>
                <c:pt idx="2303">
                  <c:v>All Others</c:v>
                </c:pt>
                <c:pt idx="2304">
                  <c:v>All Others</c:v>
                </c:pt>
                <c:pt idx="2305">
                  <c:v>All Others</c:v>
                </c:pt>
                <c:pt idx="2306">
                  <c:v>All Others</c:v>
                </c:pt>
                <c:pt idx="2307">
                  <c:v>All Others</c:v>
                </c:pt>
                <c:pt idx="2308">
                  <c:v>All Others</c:v>
                </c:pt>
                <c:pt idx="2309">
                  <c:v>All Others</c:v>
                </c:pt>
                <c:pt idx="2310">
                  <c:v>All Others</c:v>
                </c:pt>
                <c:pt idx="2311">
                  <c:v>All Others</c:v>
                </c:pt>
                <c:pt idx="2312">
                  <c:v>Pave D'Affi</c:v>
                </c:pt>
                <c:pt idx="2313">
                  <c:v>All Others</c:v>
                </c:pt>
                <c:pt idx="2314">
                  <c:v>All Others</c:v>
                </c:pt>
                <c:pt idx="2315">
                  <c:v>All Others</c:v>
                </c:pt>
                <c:pt idx="2316">
                  <c:v>All Others</c:v>
                </c:pt>
                <c:pt idx="2317">
                  <c:v>Eurial Autr</c:v>
                </c:pt>
                <c:pt idx="2318">
                  <c:v>All Others</c:v>
                </c:pt>
                <c:pt idx="2319">
                  <c:v>Richesmonts</c:v>
                </c:pt>
                <c:pt idx="2320">
                  <c:v>All Others</c:v>
                </c:pt>
                <c:pt idx="2321">
                  <c:v>All Others</c:v>
                </c:pt>
                <c:pt idx="2322">
                  <c:v>All Others</c:v>
                </c:pt>
                <c:pt idx="2323">
                  <c:v>Private Lab</c:v>
                </c:pt>
                <c:pt idx="2324">
                  <c:v>All Others</c:v>
                </c:pt>
                <c:pt idx="2325">
                  <c:v>All Others</c:v>
                </c:pt>
                <c:pt idx="2326">
                  <c:v>Private Lab</c:v>
                </c:pt>
                <c:pt idx="2327">
                  <c:v>All Others</c:v>
                </c:pt>
                <c:pt idx="2328">
                  <c:v>All Others</c:v>
                </c:pt>
                <c:pt idx="2329">
                  <c:v>All Others</c:v>
                </c:pt>
                <c:pt idx="2330">
                  <c:v>All Others</c:v>
                </c:pt>
                <c:pt idx="2331">
                  <c:v>Eurial Autr</c:v>
                </c:pt>
                <c:pt idx="2332">
                  <c:v>Lactalis: A</c:v>
                </c:pt>
                <c:pt idx="2333">
                  <c:v>All Others</c:v>
                </c:pt>
                <c:pt idx="2334">
                  <c:v>All Others</c:v>
                </c:pt>
                <c:pt idx="2335">
                  <c:v>All Others</c:v>
                </c:pt>
                <c:pt idx="2336">
                  <c:v>All Others</c:v>
                </c:pt>
                <c:pt idx="2337">
                  <c:v>All Others</c:v>
                </c:pt>
                <c:pt idx="2338">
                  <c:v>All Others</c:v>
                </c:pt>
                <c:pt idx="2339">
                  <c:v>Private Lab</c:v>
                </c:pt>
                <c:pt idx="2340">
                  <c:v>All Others</c:v>
                </c:pt>
                <c:pt idx="2341">
                  <c:v>All Others</c:v>
                </c:pt>
                <c:pt idx="2342">
                  <c:v>All Others</c:v>
                </c:pt>
                <c:pt idx="2343">
                  <c:v>All Others</c:v>
                </c:pt>
                <c:pt idx="2344">
                  <c:v>President</c:v>
                </c:pt>
                <c:pt idx="2345">
                  <c:v>All Others</c:v>
                </c:pt>
                <c:pt idx="2346">
                  <c:v>All Others</c:v>
                </c:pt>
                <c:pt idx="2347">
                  <c:v>Entremont</c:v>
                </c:pt>
                <c:pt idx="2348">
                  <c:v>All Others</c:v>
                </c:pt>
                <c:pt idx="2349">
                  <c:v>All Others</c:v>
                </c:pt>
                <c:pt idx="2350">
                  <c:v>All Others</c:v>
                </c:pt>
                <c:pt idx="2351">
                  <c:v>All Others</c:v>
                </c:pt>
                <c:pt idx="2352">
                  <c:v>All Others</c:v>
                </c:pt>
                <c:pt idx="2353">
                  <c:v>All Others</c:v>
                </c:pt>
                <c:pt idx="2354">
                  <c:v>All Others</c:v>
                </c:pt>
                <c:pt idx="2355">
                  <c:v>Lactalis: A</c:v>
                </c:pt>
                <c:pt idx="2356">
                  <c:v>All Others</c:v>
                </c:pt>
                <c:pt idx="2357">
                  <c:v>All Others</c:v>
                </c:pt>
                <c:pt idx="2358">
                  <c:v>All Others</c:v>
                </c:pt>
                <c:pt idx="2359">
                  <c:v>All Others</c:v>
                </c:pt>
                <c:pt idx="2360">
                  <c:v>All Others</c:v>
                </c:pt>
                <c:pt idx="2361">
                  <c:v>All Others</c:v>
                </c:pt>
                <c:pt idx="2362">
                  <c:v>All Others</c:v>
                </c:pt>
                <c:pt idx="2363">
                  <c:v>All Others</c:v>
                </c:pt>
                <c:pt idx="2364">
                  <c:v>All Others</c:v>
                </c:pt>
                <c:pt idx="2365">
                  <c:v>All Others</c:v>
                </c:pt>
                <c:pt idx="2366">
                  <c:v>All Others</c:v>
                </c:pt>
                <c:pt idx="2367">
                  <c:v>All Others</c:v>
                </c:pt>
                <c:pt idx="2368">
                  <c:v>All Others</c:v>
                </c:pt>
                <c:pt idx="2369">
                  <c:v>All Others</c:v>
                </c:pt>
                <c:pt idx="2370">
                  <c:v>All Others</c:v>
                </c:pt>
                <c:pt idx="2371">
                  <c:v>All Others</c:v>
                </c:pt>
                <c:pt idx="2372">
                  <c:v>All Others</c:v>
                </c:pt>
                <c:pt idx="2373">
                  <c:v>Pave D'Affi</c:v>
                </c:pt>
                <c:pt idx="2374">
                  <c:v>All Others</c:v>
                </c:pt>
                <c:pt idx="2375">
                  <c:v>Raguin</c:v>
                </c:pt>
                <c:pt idx="2376">
                  <c:v>All Others</c:v>
                </c:pt>
                <c:pt idx="2377">
                  <c:v>All Others</c:v>
                </c:pt>
                <c:pt idx="2378">
                  <c:v>Pave D'Affi</c:v>
                </c:pt>
                <c:pt idx="2379">
                  <c:v>All Others</c:v>
                </c:pt>
                <c:pt idx="2380">
                  <c:v>All Others</c:v>
                </c:pt>
                <c:pt idx="2381">
                  <c:v>All Others</c:v>
                </c:pt>
                <c:pt idx="2382">
                  <c:v>All Others</c:v>
                </c:pt>
                <c:pt idx="2383">
                  <c:v>Milleret: A</c:v>
                </c:pt>
                <c:pt idx="2384">
                  <c:v>All Others</c:v>
                </c:pt>
                <c:pt idx="2385">
                  <c:v>All Others</c:v>
                </c:pt>
                <c:pt idx="2386">
                  <c:v>All Others</c:v>
                </c:pt>
                <c:pt idx="2387">
                  <c:v>All Others</c:v>
                </c:pt>
                <c:pt idx="2388">
                  <c:v>All Others</c:v>
                </c:pt>
                <c:pt idx="2389">
                  <c:v>All Others</c:v>
                </c:pt>
                <c:pt idx="2390">
                  <c:v>All Others</c:v>
                </c:pt>
                <c:pt idx="2391">
                  <c:v>All Others</c:v>
                </c:pt>
                <c:pt idx="2392">
                  <c:v>All Others</c:v>
                </c:pt>
                <c:pt idx="2393">
                  <c:v>All Others</c:v>
                </c:pt>
                <c:pt idx="2394">
                  <c:v>All Others</c:v>
                </c:pt>
                <c:pt idx="2395">
                  <c:v>All Others</c:v>
                </c:pt>
                <c:pt idx="2396">
                  <c:v>All Others</c:v>
                </c:pt>
                <c:pt idx="2397">
                  <c:v>All Others</c:v>
                </c:pt>
                <c:pt idx="2398">
                  <c:v>All Others</c:v>
                </c:pt>
                <c:pt idx="2399">
                  <c:v>Raguin</c:v>
                </c:pt>
                <c:pt idx="2400">
                  <c:v>All Others</c:v>
                </c:pt>
                <c:pt idx="2401">
                  <c:v>Private Lab</c:v>
                </c:pt>
                <c:pt idx="2402">
                  <c:v>All Others</c:v>
                </c:pt>
                <c:pt idx="2403">
                  <c:v>Pave D'Affi</c:v>
                </c:pt>
                <c:pt idx="2404">
                  <c:v>All Others</c:v>
                </c:pt>
                <c:pt idx="2405">
                  <c:v>All Others</c:v>
                </c:pt>
                <c:pt idx="2406">
                  <c:v>All Others</c:v>
                </c:pt>
                <c:pt idx="2407">
                  <c:v>All Others</c:v>
                </c:pt>
                <c:pt idx="2408">
                  <c:v>All Others</c:v>
                </c:pt>
                <c:pt idx="2409">
                  <c:v>All Others</c:v>
                </c:pt>
                <c:pt idx="2410">
                  <c:v>All Others</c:v>
                </c:pt>
                <c:pt idx="2411">
                  <c:v>Lactalis: A</c:v>
                </c:pt>
                <c:pt idx="2412">
                  <c:v>All Others</c:v>
                </c:pt>
                <c:pt idx="2413">
                  <c:v>All Others</c:v>
                </c:pt>
                <c:pt idx="2414">
                  <c:v>All Others</c:v>
                </c:pt>
                <c:pt idx="2415">
                  <c:v>All Others</c:v>
                </c:pt>
                <c:pt idx="2416">
                  <c:v>All Others</c:v>
                </c:pt>
                <c:pt idx="2417">
                  <c:v>All Others</c:v>
                </c:pt>
                <c:pt idx="2418">
                  <c:v>All Others</c:v>
                </c:pt>
                <c:pt idx="2419">
                  <c:v>Savencia: A</c:v>
                </c:pt>
                <c:pt idx="2420">
                  <c:v>All Others</c:v>
                </c:pt>
                <c:pt idx="2421">
                  <c:v>Le Saint Am</c:v>
                </c:pt>
                <c:pt idx="2422">
                  <c:v>All Others</c:v>
                </c:pt>
                <c:pt idx="2423">
                  <c:v>All Others</c:v>
                </c:pt>
                <c:pt idx="2424">
                  <c:v>Private Lab</c:v>
                </c:pt>
                <c:pt idx="2425">
                  <c:v>All Others</c:v>
                </c:pt>
                <c:pt idx="2426">
                  <c:v>All Others</c:v>
                </c:pt>
                <c:pt idx="2427">
                  <c:v>All Others</c:v>
                </c:pt>
                <c:pt idx="2428">
                  <c:v>All Others</c:v>
                </c:pt>
                <c:pt idx="2429">
                  <c:v>Raguin</c:v>
                </c:pt>
                <c:pt idx="2430">
                  <c:v>All Others</c:v>
                </c:pt>
                <c:pt idx="2431">
                  <c:v>All Others</c:v>
                </c:pt>
                <c:pt idx="2432">
                  <c:v>All Others</c:v>
                </c:pt>
                <c:pt idx="2433">
                  <c:v>All Others</c:v>
                </c:pt>
                <c:pt idx="2434">
                  <c:v>All Others</c:v>
                </c:pt>
                <c:pt idx="2435">
                  <c:v>Lou Perac</c:v>
                </c:pt>
                <c:pt idx="2436">
                  <c:v>All Others</c:v>
                </c:pt>
                <c:pt idx="2437">
                  <c:v>All Others</c:v>
                </c:pt>
                <c:pt idx="2438">
                  <c:v>All Others</c:v>
                </c:pt>
                <c:pt idx="2439">
                  <c:v>All Others</c:v>
                </c:pt>
                <c:pt idx="2440">
                  <c:v>All Others</c:v>
                </c:pt>
                <c:pt idx="2441">
                  <c:v>All Others</c:v>
                </c:pt>
                <c:pt idx="2442">
                  <c:v>All Others</c:v>
                </c:pt>
                <c:pt idx="2443">
                  <c:v>Lactalis: A</c:v>
                </c:pt>
                <c:pt idx="2444">
                  <c:v>Private Lab</c:v>
                </c:pt>
                <c:pt idx="2445">
                  <c:v>All Others</c:v>
                </c:pt>
                <c:pt idx="2446">
                  <c:v>All Others</c:v>
                </c:pt>
                <c:pt idx="2447">
                  <c:v>Pochat</c:v>
                </c:pt>
                <c:pt idx="2448">
                  <c:v>All Others</c:v>
                </c:pt>
                <c:pt idx="2449">
                  <c:v>All Others</c:v>
                </c:pt>
                <c:pt idx="2450">
                  <c:v>All Others</c:v>
                </c:pt>
                <c:pt idx="2451">
                  <c:v>All Others</c:v>
                </c:pt>
                <c:pt idx="2452">
                  <c:v>All Others</c:v>
                </c:pt>
                <c:pt idx="2453">
                  <c:v>All Others</c:v>
                </c:pt>
                <c:pt idx="2454">
                  <c:v>Mini Babybe</c:v>
                </c:pt>
                <c:pt idx="2455">
                  <c:v>All Others</c:v>
                </c:pt>
                <c:pt idx="2456">
                  <c:v>Lactalis: A</c:v>
                </c:pt>
                <c:pt idx="2457">
                  <c:v>All Others</c:v>
                </c:pt>
                <c:pt idx="2458">
                  <c:v>All Others</c:v>
                </c:pt>
                <c:pt idx="2459">
                  <c:v>All Others</c:v>
                </c:pt>
                <c:pt idx="2460">
                  <c:v>Private Lab</c:v>
                </c:pt>
                <c:pt idx="2461">
                  <c:v>All Others</c:v>
                </c:pt>
                <c:pt idx="2462">
                  <c:v>Lactalis: A</c:v>
                </c:pt>
                <c:pt idx="2463">
                  <c:v>All Others</c:v>
                </c:pt>
                <c:pt idx="2464">
                  <c:v>All Others</c:v>
                </c:pt>
                <c:pt idx="2465">
                  <c:v>All Others</c:v>
                </c:pt>
                <c:pt idx="2466">
                  <c:v>All Others</c:v>
                </c:pt>
                <c:pt idx="2467">
                  <c:v>All Others</c:v>
                </c:pt>
                <c:pt idx="2468">
                  <c:v>All Others</c:v>
                </c:pt>
                <c:pt idx="2469">
                  <c:v>Port Salut</c:v>
                </c:pt>
                <c:pt idx="2470">
                  <c:v>All Others</c:v>
                </c:pt>
                <c:pt idx="2471">
                  <c:v>All Others</c:v>
                </c:pt>
                <c:pt idx="2472">
                  <c:v>All Others</c:v>
                </c:pt>
                <c:pt idx="2473">
                  <c:v>All Others</c:v>
                </c:pt>
                <c:pt idx="2474">
                  <c:v>All Others</c:v>
                </c:pt>
                <c:pt idx="2475">
                  <c:v>All Others</c:v>
                </c:pt>
                <c:pt idx="2476">
                  <c:v>All Others</c:v>
                </c:pt>
                <c:pt idx="2477">
                  <c:v>All Others</c:v>
                </c:pt>
                <c:pt idx="2478">
                  <c:v>Soignon</c:v>
                </c:pt>
                <c:pt idx="2479">
                  <c:v>All Others</c:v>
                </c:pt>
                <c:pt idx="2480">
                  <c:v>Richesmonts</c:v>
                </c:pt>
                <c:pt idx="2481">
                  <c:v>Private Lab</c:v>
                </c:pt>
                <c:pt idx="2482">
                  <c:v>All Others</c:v>
                </c:pt>
                <c:pt idx="2483">
                  <c:v>All Others</c:v>
                </c:pt>
                <c:pt idx="2484">
                  <c:v>All Others</c:v>
                </c:pt>
                <c:pt idx="2485">
                  <c:v>All Others</c:v>
                </c:pt>
                <c:pt idx="2486">
                  <c:v>All Others</c:v>
                </c:pt>
                <c:pt idx="2487">
                  <c:v>All Others</c:v>
                </c:pt>
                <c:pt idx="2488">
                  <c:v>All Others</c:v>
                </c:pt>
                <c:pt idx="2489">
                  <c:v>All Others</c:v>
                </c:pt>
                <c:pt idx="2490">
                  <c:v>All Others</c:v>
                </c:pt>
                <c:pt idx="2491">
                  <c:v>All Others</c:v>
                </c:pt>
                <c:pt idx="2492">
                  <c:v>All Others</c:v>
                </c:pt>
                <c:pt idx="2493">
                  <c:v>All Others</c:v>
                </c:pt>
                <c:pt idx="2494">
                  <c:v>All Others</c:v>
                </c:pt>
                <c:pt idx="2495">
                  <c:v>All Others</c:v>
                </c:pt>
                <c:pt idx="2496">
                  <c:v>All Others</c:v>
                </c:pt>
                <c:pt idx="2497">
                  <c:v>All Others</c:v>
                </c:pt>
                <c:pt idx="2498">
                  <c:v>All Others</c:v>
                </c:pt>
                <c:pt idx="2499">
                  <c:v>All Others</c:v>
                </c:pt>
                <c:pt idx="2500">
                  <c:v>Eurial Autr</c:v>
                </c:pt>
                <c:pt idx="2501">
                  <c:v>All Others</c:v>
                </c:pt>
                <c:pt idx="2502">
                  <c:v>All Others</c:v>
                </c:pt>
                <c:pt idx="2503">
                  <c:v>All Others</c:v>
                </c:pt>
                <c:pt idx="2504">
                  <c:v>All Others</c:v>
                </c:pt>
                <c:pt idx="2505">
                  <c:v>All Others</c:v>
                </c:pt>
                <c:pt idx="2506">
                  <c:v>All Others</c:v>
                </c:pt>
                <c:pt idx="2507">
                  <c:v>All Others</c:v>
                </c:pt>
                <c:pt idx="2508">
                  <c:v>All Others</c:v>
                </c:pt>
                <c:pt idx="2509">
                  <c:v>All Others</c:v>
                </c:pt>
                <c:pt idx="2510">
                  <c:v>All Others</c:v>
                </c:pt>
                <c:pt idx="2511">
                  <c:v>All Others</c:v>
                </c:pt>
                <c:pt idx="2512">
                  <c:v>All Others</c:v>
                </c:pt>
                <c:pt idx="2513">
                  <c:v>All Others</c:v>
                </c:pt>
                <c:pt idx="2514">
                  <c:v>All Others</c:v>
                </c:pt>
                <c:pt idx="2515">
                  <c:v>All Others</c:v>
                </c:pt>
                <c:pt idx="2516">
                  <c:v>All Others</c:v>
                </c:pt>
                <c:pt idx="2517">
                  <c:v>All Others</c:v>
                </c:pt>
                <c:pt idx="2518">
                  <c:v>All Others</c:v>
                </c:pt>
                <c:pt idx="2519">
                  <c:v>All Others</c:v>
                </c:pt>
                <c:pt idx="2520">
                  <c:v>All Others</c:v>
                </c:pt>
                <c:pt idx="2521">
                  <c:v>Limiano</c:v>
                </c:pt>
                <c:pt idx="2522">
                  <c:v>All Others</c:v>
                </c:pt>
                <c:pt idx="2523">
                  <c:v>All Others</c:v>
                </c:pt>
                <c:pt idx="2524">
                  <c:v>All Others</c:v>
                </c:pt>
                <c:pt idx="2525">
                  <c:v>All Others</c:v>
                </c:pt>
                <c:pt idx="2526">
                  <c:v>All Others</c:v>
                </c:pt>
                <c:pt idx="2527">
                  <c:v>All Others</c:v>
                </c:pt>
                <c:pt idx="2528">
                  <c:v>All Others</c:v>
                </c:pt>
                <c:pt idx="2529">
                  <c:v>Savencia: A</c:v>
                </c:pt>
                <c:pt idx="2530">
                  <c:v>All Others</c:v>
                </c:pt>
                <c:pt idx="2531">
                  <c:v>All Others</c:v>
                </c:pt>
                <c:pt idx="2532">
                  <c:v>All Others</c:v>
                </c:pt>
                <c:pt idx="2533">
                  <c:v>All Others</c:v>
                </c:pt>
                <c:pt idx="2534">
                  <c:v>All Others</c:v>
                </c:pt>
                <c:pt idx="2535">
                  <c:v>Private Lab</c:v>
                </c:pt>
                <c:pt idx="2536">
                  <c:v>All Others</c:v>
                </c:pt>
                <c:pt idx="2537">
                  <c:v>All Others</c:v>
                </c:pt>
                <c:pt idx="2538">
                  <c:v>All Others</c:v>
                </c:pt>
                <c:pt idx="2539">
                  <c:v>All Others</c:v>
                </c:pt>
                <c:pt idx="2540">
                  <c:v>All Others</c:v>
                </c:pt>
                <c:pt idx="2541">
                  <c:v>All Others</c:v>
                </c:pt>
                <c:pt idx="2542">
                  <c:v>All Others</c:v>
                </c:pt>
                <c:pt idx="2543">
                  <c:v>All Others</c:v>
                </c:pt>
                <c:pt idx="2544">
                  <c:v>All Others</c:v>
                </c:pt>
                <c:pt idx="2545">
                  <c:v>All Others</c:v>
                </c:pt>
                <c:pt idx="2546">
                  <c:v>All Others</c:v>
                </c:pt>
                <c:pt idx="2547">
                  <c:v>All Others</c:v>
                </c:pt>
                <c:pt idx="2548">
                  <c:v>All Others</c:v>
                </c:pt>
                <c:pt idx="2549">
                  <c:v>All Others</c:v>
                </c:pt>
                <c:pt idx="2550">
                  <c:v>All Others</c:v>
                </c:pt>
                <c:pt idx="2551">
                  <c:v>All Others</c:v>
                </c:pt>
                <c:pt idx="2552">
                  <c:v>Eurial Autr</c:v>
                </c:pt>
                <c:pt idx="2553">
                  <c:v>All Others</c:v>
                </c:pt>
                <c:pt idx="2554">
                  <c:v>All Others</c:v>
                </c:pt>
                <c:pt idx="2555">
                  <c:v>All Others</c:v>
                </c:pt>
                <c:pt idx="2556">
                  <c:v>All Others</c:v>
                </c:pt>
                <c:pt idx="2557">
                  <c:v>All Others</c:v>
                </c:pt>
                <c:pt idx="2558">
                  <c:v>Private Lab</c:v>
                </c:pt>
                <c:pt idx="2559">
                  <c:v>All Others</c:v>
                </c:pt>
                <c:pt idx="2560">
                  <c:v>All Others</c:v>
                </c:pt>
                <c:pt idx="2561">
                  <c:v>All Others</c:v>
                </c:pt>
                <c:pt idx="2562">
                  <c:v>All Others</c:v>
                </c:pt>
                <c:pt idx="2563">
                  <c:v>All Others</c:v>
                </c:pt>
                <c:pt idx="2564">
                  <c:v>All Others</c:v>
                </c:pt>
                <c:pt idx="2565">
                  <c:v>All Others</c:v>
                </c:pt>
                <c:pt idx="2566">
                  <c:v>All Others</c:v>
                </c:pt>
                <c:pt idx="2567">
                  <c:v>All Others</c:v>
                </c:pt>
                <c:pt idx="2568">
                  <c:v>All Others</c:v>
                </c:pt>
                <c:pt idx="2569">
                  <c:v>All Others</c:v>
                </c:pt>
                <c:pt idx="2570">
                  <c:v>All Others</c:v>
                </c:pt>
                <c:pt idx="2571">
                  <c:v>All Others</c:v>
                </c:pt>
                <c:pt idx="2572">
                  <c:v>All Others</c:v>
                </c:pt>
                <c:pt idx="2573">
                  <c:v>All Others</c:v>
                </c:pt>
                <c:pt idx="2574">
                  <c:v>Lactalis: A</c:v>
                </c:pt>
                <c:pt idx="2575">
                  <c:v>All Others</c:v>
                </c:pt>
                <c:pt idx="2576">
                  <c:v>All Others</c:v>
                </c:pt>
                <c:pt idx="2577">
                  <c:v>All Others</c:v>
                </c:pt>
                <c:pt idx="2578">
                  <c:v>All Others</c:v>
                </c:pt>
                <c:pt idx="2579">
                  <c:v>All Others</c:v>
                </c:pt>
                <c:pt idx="2580">
                  <c:v>All Others</c:v>
                </c:pt>
                <c:pt idx="2581">
                  <c:v>Raguin</c:v>
                </c:pt>
                <c:pt idx="2582">
                  <c:v>All Others</c:v>
                </c:pt>
                <c:pt idx="2583">
                  <c:v>All Others</c:v>
                </c:pt>
                <c:pt idx="2584">
                  <c:v>All Others</c:v>
                </c:pt>
                <c:pt idx="2585">
                  <c:v>All Others</c:v>
                </c:pt>
                <c:pt idx="2586">
                  <c:v>All Others</c:v>
                </c:pt>
                <c:pt idx="2587">
                  <c:v>All Others</c:v>
                </c:pt>
                <c:pt idx="2588">
                  <c:v>All Others</c:v>
                </c:pt>
                <c:pt idx="2589">
                  <c:v>All Others</c:v>
                </c:pt>
                <c:pt idx="2590">
                  <c:v>All Others</c:v>
                </c:pt>
                <c:pt idx="2591">
                  <c:v>All Others</c:v>
                </c:pt>
                <c:pt idx="2592">
                  <c:v>Private Lab</c:v>
                </c:pt>
                <c:pt idx="2593">
                  <c:v>All Others</c:v>
                </c:pt>
                <c:pt idx="2594">
                  <c:v>All Others</c:v>
                </c:pt>
                <c:pt idx="2595">
                  <c:v>All Others</c:v>
                </c:pt>
                <c:pt idx="2596">
                  <c:v>All Others</c:v>
                </c:pt>
                <c:pt idx="2597">
                  <c:v>All Others</c:v>
                </c:pt>
                <c:pt idx="2598">
                  <c:v>All Others</c:v>
                </c:pt>
                <c:pt idx="2599">
                  <c:v>President</c:v>
                </c:pt>
                <c:pt idx="2600">
                  <c:v>All Others</c:v>
                </c:pt>
                <c:pt idx="2601">
                  <c:v>All Others</c:v>
                </c:pt>
                <c:pt idx="2602">
                  <c:v>All Others</c:v>
                </c:pt>
                <c:pt idx="2603">
                  <c:v>All Others</c:v>
                </c:pt>
                <c:pt idx="2604">
                  <c:v>All Others</c:v>
                </c:pt>
                <c:pt idx="2605">
                  <c:v>All Others</c:v>
                </c:pt>
                <c:pt idx="2606">
                  <c:v>All Others</c:v>
                </c:pt>
                <c:pt idx="2607">
                  <c:v>All Others</c:v>
                </c:pt>
                <c:pt idx="2608">
                  <c:v>All Others</c:v>
                </c:pt>
                <c:pt idx="2609">
                  <c:v>All Others</c:v>
                </c:pt>
                <c:pt idx="2610">
                  <c:v>Lactalis: A</c:v>
                </c:pt>
                <c:pt idx="2611">
                  <c:v>All Others</c:v>
                </c:pt>
                <c:pt idx="2612">
                  <c:v>All Others</c:v>
                </c:pt>
                <c:pt idx="2613">
                  <c:v>All Others</c:v>
                </c:pt>
                <c:pt idx="2614">
                  <c:v>All Others</c:v>
                </c:pt>
                <c:pt idx="2615">
                  <c:v>All Others</c:v>
                </c:pt>
                <c:pt idx="2616">
                  <c:v>All Others</c:v>
                </c:pt>
                <c:pt idx="2617">
                  <c:v>All Others</c:v>
                </c:pt>
                <c:pt idx="2618">
                  <c:v>All Others</c:v>
                </c:pt>
                <c:pt idx="2619">
                  <c:v>All Others</c:v>
                </c:pt>
                <c:pt idx="2620">
                  <c:v>All Others</c:v>
                </c:pt>
                <c:pt idx="2621">
                  <c:v>All Others</c:v>
                </c:pt>
                <c:pt idx="2622">
                  <c:v>All Others</c:v>
                </c:pt>
                <c:pt idx="2623">
                  <c:v>All Others</c:v>
                </c:pt>
                <c:pt idx="2624">
                  <c:v>All Others</c:v>
                </c:pt>
                <c:pt idx="2625">
                  <c:v>President</c:v>
                </c:pt>
                <c:pt idx="2626">
                  <c:v>All Others</c:v>
                </c:pt>
                <c:pt idx="2627">
                  <c:v>All Others</c:v>
                </c:pt>
                <c:pt idx="2628">
                  <c:v>All Others</c:v>
                </c:pt>
                <c:pt idx="2629">
                  <c:v>All Others</c:v>
                </c:pt>
                <c:pt idx="2630">
                  <c:v>All Others</c:v>
                </c:pt>
                <c:pt idx="2631">
                  <c:v>All Others</c:v>
                </c:pt>
                <c:pt idx="2632">
                  <c:v>All Others</c:v>
                </c:pt>
                <c:pt idx="2633">
                  <c:v>All Others</c:v>
                </c:pt>
                <c:pt idx="2634">
                  <c:v>All Others</c:v>
                </c:pt>
                <c:pt idx="2635">
                  <c:v>All Others</c:v>
                </c:pt>
                <c:pt idx="2636">
                  <c:v>All Others</c:v>
                </c:pt>
                <c:pt idx="2637">
                  <c:v>Limiano</c:v>
                </c:pt>
                <c:pt idx="2638">
                  <c:v>All Others</c:v>
                </c:pt>
                <c:pt idx="2639">
                  <c:v>All Others</c:v>
                </c:pt>
                <c:pt idx="2640">
                  <c:v>All Others</c:v>
                </c:pt>
                <c:pt idx="2641">
                  <c:v>All Others</c:v>
                </c:pt>
                <c:pt idx="2642">
                  <c:v>All Others</c:v>
                </c:pt>
                <c:pt idx="2643">
                  <c:v>All Others</c:v>
                </c:pt>
                <c:pt idx="2644">
                  <c:v>Private Lab</c:v>
                </c:pt>
                <c:pt idx="2645">
                  <c:v>All Others</c:v>
                </c:pt>
                <c:pt idx="2646">
                  <c:v>All Others</c:v>
                </c:pt>
                <c:pt idx="2647">
                  <c:v>All Others</c:v>
                </c:pt>
                <c:pt idx="2648">
                  <c:v>All Others</c:v>
                </c:pt>
                <c:pt idx="2649">
                  <c:v>All Others</c:v>
                </c:pt>
                <c:pt idx="2650">
                  <c:v>All Others</c:v>
                </c:pt>
                <c:pt idx="2651">
                  <c:v>All Others</c:v>
                </c:pt>
                <c:pt idx="2652">
                  <c:v>All Others</c:v>
                </c:pt>
                <c:pt idx="2653">
                  <c:v>All Others</c:v>
                </c:pt>
                <c:pt idx="2654">
                  <c:v>All Others</c:v>
                </c:pt>
                <c:pt idx="2655">
                  <c:v>All Others</c:v>
                </c:pt>
                <c:pt idx="2656">
                  <c:v>Raguin</c:v>
                </c:pt>
                <c:pt idx="2657">
                  <c:v>All Others</c:v>
                </c:pt>
                <c:pt idx="2658">
                  <c:v>All Others</c:v>
                </c:pt>
                <c:pt idx="2659">
                  <c:v>All Others</c:v>
                </c:pt>
                <c:pt idx="2660">
                  <c:v>Etorki</c:v>
                </c:pt>
                <c:pt idx="2661">
                  <c:v>All Others</c:v>
                </c:pt>
                <c:pt idx="2662">
                  <c:v>Etoile Du V</c:v>
                </c:pt>
                <c:pt idx="2663">
                  <c:v>All Others</c:v>
                </c:pt>
                <c:pt idx="2664">
                  <c:v>All Others</c:v>
                </c:pt>
                <c:pt idx="2665">
                  <c:v>All Others</c:v>
                </c:pt>
                <c:pt idx="2666">
                  <c:v>All Others</c:v>
                </c:pt>
                <c:pt idx="2667">
                  <c:v>All Others</c:v>
                </c:pt>
                <c:pt idx="2668">
                  <c:v>All Others</c:v>
                </c:pt>
                <c:pt idx="2669">
                  <c:v>All Others</c:v>
                </c:pt>
                <c:pt idx="2670">
                  <c:v>All Others</c:v>
                </c:pt>
                <c:pt idx="2671">
                  <c:v>All Others</c:v>
                </c:pt>
                <c:pt idx="2672">
                  <c:v>All Others</c:v>
                </c:pt>
                <c:pt idx="2673">
                  <c:v>All Others</c:v>
                </c:pt>
                <c:pt idx="2674">
                  <c:v>All Others</c:v>
                </c:pt>
                <c:pt idx="2675">
                  <c:v>All Others</c:v>
                </c:pt>
                <c:pt idx="2676">
                  <c:v>All Others</c:v>
                </c:pt>
                <c:pt idx="2677">
                  <c:v>All Others</c:v>
                </c:pt>
                <c:pt idx="2678">
                  <c:v>All Others</c:v>
                </c:pt>
                <c:pt idx="2679">
                  <c:v>All Others</c:v>
                </c:pt>
                <c:pt idx="2680">
                  <c:v>All Others</c:v>
                </c:pt>
                <c:pt idx="2681">
                  <c:v>All Others</c:v>
                </c:pt>
                <c:pt idx="2682">
                  <c:v>All Others</c:v>
                </c:pt>
                <c:pt idx="2683">
                  <c:v>All Others</c:v>
                </c:pt>
                <c:pt idx="2684">
                  <c:v>All Others</c:v>
                </c:pt>
                <c:pt idx="2685">
                  <c:v>All Others</c:v>
                </c:pt>
                <c:pt idx="2686">
                  <c:v>All Others</c:v>
                </c:pt>
                <c:pt idx="2687">
                  <c:v>All Others</c:v>
                </c:pt>
                <c:pt idx="2688">
                  <c:v>All Others</c:v>
                </c:pt>
                <c:pt idx="2689">
                  <c:v>All Others</c:v>
                </c:pt>
                <c:pt idx="2690">
                  <c:v>All Others</c:v>
                </c:pt>
                <c:pt idx="2691">
                  <c:v>All Others</c:v>
                </c:pt>
                <c:pt idx="2692">
                  <c:v>All Others</c:v>
                </c:pt>
                <c:pt idx="2693">
                  <c:v>All Others</c:v>
                </c:pt>
                <c:pt idx="2694">
                  <c:v>All Others</c:v>
                </c:pt>
                <c:pt idx="2695">
                  <c:v>All Others</c:v>
                </c:pt>
                <c:pt idx="2696">
                  <c:v>All Others</c:v>
                </c:pt>
                <c:pt idx="2697">
                  <c:v>All Others</c:v>
                </c:pt>
                <c:pt idx="2698">
                  <c:v>All Others</c:v>
                </c:pt>
                <c:pt idx="2699">
                  <c:v>All Others</c:v>
                </c:pt>
                <c:pt idx="2700">
                  <c:v>All Others</c:v>
                </c:pt>
                <c:pt idx="2701">
                  <c:v>All Others</c:v>
                </c:pt>
                <c:pt idx="2702">
                  <c:v>All Others</c:v>
                </c:pt>
                <c:pt idx="2703">
                  <c:v>All Others</c:v>
                </c:pt>
                <c:pt idx="2704">
                  <c:v>All Others</c:v>
                </c:pt>
                <c:pt idx="2705">
                  <c:v>All Others</c:v>
                </c:pt>
                <c:pt idx="2706">
                  <c:v>All Others</c:v>
                </c:pt>
                <c:pt idx="2707">
                  <c:v>All Others</c:v>
                </c:pt>
                <c:pt idx="2708">
                  <c:v>All Others</c:v>
                </c:pt>
                <c:pt idx="2709">
                  <c:v>Private Lab</c:v>
                </c:pt>
                <c:pt idx="2710">
                  <c:v>All Others</c:v>
                </c:pt>
                <c:pt idx="2711">
                  <c:v>All Others</c:v>
                </c:pt>
                <c:pt idx="2712">
                  <c:v>All Others</c:v>
                </c:pt>
                <c:pt idx="2713">
                  <c:v>Rondele</c:v>
                </c:pt>
                <c:pt idx="2714">
                  <c:v>All Others</c:v>
                </c:pt>
                <c:pt idx="2715">
                  <c:v>Lactalis: A</c:v>
                </c:pt>
                <c:pt idx="2716">
                  <c:v>All Others</c:v>
                </c:pt>
                <c:pt idx="2717">
                  <c:v>All Others</c:v>
                </c:pt>
                <c:pt idx="2718">
                  <c:v>All Others</c:v>
                </c:pt>
                <c:pt idx="2719">
                  <c:v>All Others</c:v>
                </c:pt>
                <c:pt idx="2720">
                  <c:v>All Others</c:v>
                </c:pt>
                <c:pt idx="2721">
                  <c:v>Leerdammer</c:v>
                </c:pt>
                <c:pt idx="2722">
                  <c:v>All Others</c:v>
                </c:pt>
                <c:pt idx="2723">
                  <c:v>All Others</c:v>
                </c:pt>
                <c:pt idx="2724">
                  <c:v>All Others</c:v>
                </c:pt>
                <c:pt idx="2725">
                  <c:v>All Others</c:v>
                </c:pt>
                <c:pt idx="2726">
                  <c:v>All Others</c:v>
                </c:pt>
                <c:pt idx="2727">
                  <c:v>All Others</c:v>
                </c:pt>
                <c:pt idx="2728">
                  <c:v>All Others</c:v>
                </c:pt>
                <c:pt idx="2729">
                  <c:v>All Others</c:v>
                </c:pt>
                <c:pt idx="2730">
                  <c:v>All Others</c:v>
                </c:pt>
                <c:pt idx="2731">
                  <c:v>All Others</c:v>
                </c:pt>
                <c:pt idx="2732">
                  <c:v>All Others</c:v>
                </c:pt>
                <c:pt idx="2733">
                  <c:v>All Others</c:v>
                </c:pt>
                <c:pt idx="2734">
                  <c:v>All Others</c:v>
                </c:pt>
                <c:pt idx="2735">
                  <c:v>Violife</c:v>
                </c:pt>
                <c:pt idx="2736">
                  <c:v>All Others</c:v>
                </c:pt>
                <c:pt idx="2737">
                  <c:v>All Others</c:v>
                </c:pt>
                <c:pt idx="2738">
                  <c:v>All Others</c:v>
                </c:pt>
                <c:pt idx="2739">
                  <c:v>All Others</c:v>
                </c:pt>
                <c:pt idx="2740">
                  <c:v>All Others</c:v>
                </c:pt>
                <c:pt idx="2741">
                  <c:v>All Others</c:v>
                </c:pt>
                <c:pt idx="2742">
                  <c:v>All Others</c:v>
                </c:pt>
                <c:pt idx="2743">
                  <c:v>All Others</c:v>
                </c:pt>
                <c:pt idx="2744">
                  <c:v>All Others</c:v>
                </c:pt>
                <c:pt idx="2745">
                  <c:v>All Others</c:v>
                </c:pt>
                <c:pt idx="2746">
                  <c:v>All Others</c:v>
                </c:pt>
                <c:pt idx="2747">
                  <c:v>All Others</c:v>
                </c:pt>
                <c:pt idx="2748">
                  <c:v>All Others</c:v>
                </c:pt>
                <c:pt idx="2749">
                  <c:v>All Others</c:v>
                </c:pt>
                <c:pt idx="2750">
                  <c:v>All Others</c:v>
                </c:pt>
                <c:pt idx="2751">
                  <c:v>All Others</c:v>
                </c:pt>
                <c:pt idx="2752">
                  <c:v>All Others</c:v>
                </c:pt>
                <c:pt idx="2753">
                  <c:v>Rondele</c:v>
                </c:pt>
                <c:pt idx="2754">
                  <c:v>All Others</c:v>
                </c:pt>
                <c:pt idx="2755">
                  <c:v>All Others</c:v>
                </c:pt>
                <c:pt idx="2756">
                  <c:v>All Others</c:v>
                </c:pt>
                <c:pt idx="2757">
                  <c:v>All Others</c:v>
                </c:pt>
                <c:pt idx="2758">
                  <c:v>All Others</c:v>
                </c:pt>
                <c:pt idx="2759">
                  <c:v>All Others</c:v>
                </c:pt>
                <c:pt idx="2760">
                  <c:v>Private Lab</c:v>
                </c:pt>
                <c:pt idx="2761">
                  <c:v>All Others</c:v>
                </c:pt>
                <c:pt idx="2762">
                  <c:v>All Others</c:v>
                </c:pt>
                <c:pt idx="2763">
                  <c:v>O'Tapas Ape</c:v>
                </c:pt>
                <c:pt idx="2764">
                  <c:v>All Others</c:v>
                </c:pt>
                <c:pt idx="2765">
                  <c:v>All Others</c:v>
                </c:pt>
                <c:pt idx="2766">
                  <c:v>All Others</c:v>
                </c:pt>
                <c:pt idx="2767">
                  <c:v>All Others</c:v>
                </c:pt>
                <c:pt idx="2768">
                  <c:v>All Others</c:v>
                </c:pt>
                <c:pt idx="2769">
                  <c:v>All Others</c:v>
                </c:pt>
                <c:pt idx="2770">
                  <c:v>All Others</c:v>
                </c:pt>
                <c:pt idx="2771">
                  <c:v>Raguin</c:v>
                </c:pt>
                <c:pt idx="2772">
                  <c:v>All Others</c:v>
                </c:pt>
                <c:pt idx="2773">
                  <c:v>All Others</c:v>
                </c:pt>
                <c:pt idx="2774">
                  <c:v>All Others</c:v>
                </c:pt>
                <c:pt idx="2775">
                  <c:v>All Others</c:v>
                </c:pt>
                <c:pt idx="2776">
                  <c:v>All Others</c:v>
                </c:pt>
                <c:pt idx="2777">
                  <c:v>All Others</c:v>
                </c:pt>
                <c:pt idx="2778">
                  <c:v>All Others</c:v>
                </c:pt>
                <c:pt idx="2779">
                  <c:v>All Others</c:v>
                </c:pt>
                <c:pt idx="2780">
                  <c:v>All Others</c:v>
                </c:pt>
                <c:pt idx="2781">
                  <c:v>All Others</c:v>
                </c:pt>
                <c:pt idx="2782">
                  <c:v>All Others</c:v>
                </c:pt>
                <c:pt idx="2783">
                  <c:v>All Others</c:v>
                </c:pt>
                <c:pt idx="2784">
                  <c:v>All Others</c:v>
                </c:pt>
                <c:pt idx="2785">
                  <c:v>All Others</c:v>
                </c:pt>
                <c:pt idx="2786">
                  <c:v>Le Saint Am</c:v>
                </c:pt>
                <c:pt idx="2787">
                  <c:v>All Others</c:v>
                </c:pt>
                <c:pt idx="2788">
                  <c:v>All Others</c:v>
                </c:pt>
                <c:pt idx="2789">
                  <c:v>All Others</c:v>
                </c:pt>
                <c:pt idx="2790">
                  <c:v>All Others</c:v>
                </c:pt>
                <c:pt idx="2791">
                  <c:v>All Others</c:v>
                </c:pt>
                <c:pt idx="2792">
                  <c:v>All Others</c:v>
                </c:pt>
                <c:pt idx="2793">
                  <c:v>All Others</c:v>
                </c:pt>
                <c:pt idx="2794">
                  <c:v>All Others</c:v>
                </c:pt>
                <c:pt idx="2795">
                  <c:v>All Others</c:v>
                </c:pt>
                <c:pt idx="2796">
                  <c:v>All Others</c:v>
                </c:pt>
                <c:pt idx="2797">
                  <c:v>All Others</c:v>
                </c:pt>
                <c:pt idx="2798">
                  <c:v>All Others</c:v>
                </c:pt>
                <c:pt idx="2799">
                  <c:v>Lactalis: A</c:v>
                </c:pt>
                <c:pt idx="2800">
                  <c:v>All Others</c:v>
                </c:pt>
                <c:pt idx="2801">
                  <c:v>All Others</c:v>
                </c:pt>
                <c:pt idx="2802">
                  <c:v>All Others</c:v>
                </c:pt>
                <c:pt idx="2803">
                  <c:v>All Others</c:v>
                </c:pt>
                <c:pt idx="2804">
                  <c:v>All Others</c:v>
                </c:pt>
                <c:pt idx="2805">
                  <c:v>All Others</c:v>
                </c:pt>
                <c:pt idx="2806">
                  <c:v>All Others</c:v>
                </c:pt>
                <c:pt idx="2807">
                  <c:v>All Others</c:v>
                </c:pt>
                <c:pt idx="2808">
                  <c:v>All Others</c:v>
                </c:pt>
                <c:pt idx="2809">
                  <c:v>All Others</c:v>
                </c:pt>
                <c:pt idx="2810">
                  <c:v>All Others</c:v>
                </c:pt>
                <c:pt idx="2811">
                  <c:v>All Others</c:v>
                </c:pt>
                <c:pt idx="2812">
                  <c:v>All Others</c:v>
                </c:pt>
                <c:pt idx="2813">
                  <c:v>All Others</c:v>
                </c:pt>
                <c:pt idx="2814">
                  <c:v>All Others</c:v>
                </c:pt>
                <c:pt idx="2815">
                  <c:v>All Others</c:v>
                </c:pt>
                <c:pt idx="2816">
                  <c:v>All Others</c:v>
                </c:pt>
                <c:pt idx="2817">
                  <c:v>Raguin</c:v>
                </c:pt>
                <c:pt idx="2818">
                  <c:v>All Others</c:v>
                </c:pt>
                <c:pt idx="2819">
                  <c:v>All Others</c:v>
                </c:pt>
                <c:pt idx="2820">
                  <c:v>All Others</c:v>
                </c:pt>
                <c:pt idx="2821">
                  <c:v>All Others</c:v>
                </c:pt>
                <c:pt idx="2822">
                  <c:v>All Others</c:v>
                </c:pt>
                <c:pt idx="2823">
                  <c:v>Le Saint Am</c:v>
                </c:pt>
                <c:pt idx="2824">
                  <c:v>All Others</c:v>
                </c:pt>
                <c:pt idx="2825">
                  <c:v>All Others</c:v>
                </c:pt>
                <c:pt idx="2826">
                  <c:v>All Others</c:v>
                </c:pt>
                <c:pt idx="2827">
                  <c:v>All Others</c:v>
                </c:pt>
                <c:pt idx="2828">
                  <c:v>All Others</c:v>
                </c:pt>
                <c:pt idx="2829">
                  <c:v>All Others</c:v>
                </c:pt>
                <c:pt idx="2830">
                  <c:v>Raguin</c:v>
                </c:pt>
                <c:pt idx="2831">
                  <c:v>All Others</c:v>
                </c:pt>
                <c:pt idx="2832">
                  <c:v>All Others</c:v>
                </c:pt>
                <c:pt idx="2833">
                  <c:v>All Others</c:v>
                </c:pt>
                <c:pt idx="2834">
                  <c:v>Rondele</c:v>
                </c:pt>
                <c:pt idx="2835">
                  <c:v>All Others</c:v>
                </c:pt>
                <c:pt idx="2836">
                  <c:v>All Others</c:v>
                </c:pt>
                <c:pt idx="2837">
                  <c:v>All Others</c:v>
                </c:pt>
                <c:pt idx="2838">
                  <c:v>All Others</c:v>
                </c:pt>
                <c:pt idx="2839">
                  <c:v>All Others</c:v>
                </c:pt>
                <c:pt idx="2840">
                  <c:v>All Others</c:v>
                </c:pt>
                <c:pt idx="2841">
                  <c:v>All Others</c:v>
                </c:pt>
                <c:pt idx="2842">
                  <c:v>All Others</c:v>
                </c:pt>
                <c:pt idx="2843">
                  <c:v>All Others</c:v>
                </c:pt>
                <c:pt idx="2844">
                  <c:v>All Others</c:v>
                </c:pt>
                <c:pt idx="2845">
                  <c:v>All Others</c:v>
                </c:pt>
                <c:pt idx="2846">
                  <c:v>All Others</c:v>
                </c:pt>
                <c:pt idx="2847">
                  <c:v>All Others</c:v>
                </c:pt>
                <c:pt idx="2848">
                  <c:v>All Others</c:v>
                </c:pt>
                <c:pt idx="2849">
                  <c:v>All Others</c:v>
                </c:pt>
                <c:pt idx="2850">
                  <c:v>All Others</c:v>
                </c:pt>
                <c:pt idx="2851">
                  <c:v>All Others</c:v>
                </c:pt>
                <c:pt idx="2852">
                  <c:v>All Others</c:v>
                </c:pt>
                <c:pt idx="2853">
                  <c:v>All Others</c:v>
                </c:pt>
                <c:pt idx="2854">
                  <c:v>All Others</c:v>
                </c:pt>
                <c:pt idx="2855">
                  <c:v>All Others</c:v>
                </c:pt>
                <c:pt idx="2856">
                  <c:v>All Others</c:v>
                </c:pt>
                <c:pt idx="2857">
                  <c:v>All Others</c:v>
                </c:pt>
                <c:pt idx="2858">
                  <c:v>All Others</c:v>
                </c:pt>
                <c:pt idx="2859">
                  <c:v>All Others</c:v>
                </c:pt>
                <c:pt idx="2860">
                  <c:v>All Others</c:v>
                </c:pt>
                <c:pt idx="2861">
                  <c:v>All Others</c:v>
                </c:pt>
                <c:pt idx="2862">
                  <c:v>All Others</c:v>
                </c:pt>
                <c:pt idx="2863">
                  <c:v>All Others</c:v>
                </c:pt>
                <c:pt idx="2864">
                  <c:v>All Others</c:v>
                </c:pt>
                <c:pt idx="2865">
                  <c:v>All Others</c:v>
                </c:pt>
                <c:pt idx="2866">
                  <c:v>All Others</c:v>
                </c:pt>
                <c:pt idx="2867">
                  <c:v>All Others</c:v>
                </c:pt>
                <c:pt idx="2868">
                  <c:v>Lactalis: A</c:v>
                </c:pt>
                <c:pt idx="2869">
                  <c:v>All Others</c:v>
                </c:pt>
                <c:pt idx="2870">
                  <c:v>All Others</c:v>
                </c:pt>
                <c:pt idx="2871">
                  <c:v>All Others</c:v>
                </c:pt>
                <c:pt idx="2872">
                  <c:v>Private Lab</c:v>
                </c:pt>
                <c:pt idx="2873">
                  <c:v>All Others</c:v>
                </c:pt>
                <c:pt idx="2874">
                  <c:v>All Others</c:v>
                </c:pt>
                <c:pt idx="2875">
                  <c:v>All Others</c:v>
                </c:pt>
                <c:pt idx="2876">
                  <c:v>All Others</c:v>
                </c:pt>
                <c:pt idx="2877">
                  <c:v>All Others</c:v>
                </c:pt>
                <c:pt idx="2878">
                  <c:v>All Others</c:v>
                </c:pt>
                <c:pt idx="2879">
                  <c:v>All Others</c:v>
                </c:pt>
                <c:pt idx="2880">
                  <c:v>All Others</c:v>
                </c:pt>
                <c:pt idx="2881">
                  <c:v>All Others</c:v>
                </c:pt>
                <c:pt idx="2882">
                  <c:v>All Others</c:v>
                </c:pt>
                <c:pt idx="2883">
                  <c:v>All Others</c:v>
                </c:pt>
                <c:pt idx="2884">
                  <c:v>All Others</c:v>
                </c:pt>
                <c:pt idx="2885">
                  <c:v>All Others</c:v>
                </c:pt>
                <c:pt idx="2886">
                  <c:v>Private Lab</c:v>
                </c:pt>
                <c:pt idx="2887">
                  <c:v>Savencia: A</c:v>
                </c:pt>
                <c:pt idx="2888">
                  <c:v>Eurial Autr</c:v>
                </c:pt>
                <c:pt idx="2889">
                  <c:v>Lactalis: A</c:v>
                </c:pt>
                <c:pt idx="2890">
                  <c:v>All Others</c:v>
                </c:pt>
                <c:pt idx="2891">
                  <c:v>All Others</c:v>
                </c:pt>
                <c:pt idx="2892">
                  <c:v>All Others</c:v>
                </c:pt>
                <c:pt idx="2893">
                  <c:v>All Others</c:v>
                </c:pt>
                <c:pt idx="2894">
                  <c:v>All Others</c:v>
                </c:pt>
                <c:pt idx="2895">
                  <c:v>Private Lab</c:v>
                </c:pt>
                <c:pt idx="2896">
                  <c:v>All Others</c:v>
                </c:pt>
                <c:pt idx="2897">
                  <c:v>All Others</c:v>
                </c:pt>
                <c:pt idx="2898">
                  <c:v>Raguin</c:v>
                </c:pt>
                <c:pt idx="2899">
                  <c:v>All Others</c:v>
                </c:pt>
                <c:pt idx="2900">
                  <c:v>All Others</c:v>
                </c:pt>
                <c:pt idx="2901">
                  <c:v>All Others</c:v>
                </c:pt>
                <c:pt idx="2902">
                  <c:v>Raguin</c:v>
                </c:pt>
                <c:pt idx="2903">
                  <c:v>Savencia: A</c:v>
                </c:pt>
                <c:pt idx="2904">
                  <c:v>All Others</c:v>
                </c:pt>
                <c:pt idx="2905">
                  <c:v>All Others</c:v>
                </c:pt>
                <c:pt idx="2906">
                  <c:v>Raguin</c:v>
                </c:pt>
                <c:pt idx="2907">
                  <c:v>All Others</c:v>
                </c:pt>
                <c:pt idx="2908">
                  <c:v>All Others</c:v>
                </c:pt>
                <c:pt idx="2909">
                  <c:v>All Others</c:v>
                </c:pt>
                <c:pt idx="2910">
                  <c:v>All Others</c:v>
                </c:pt>
                <c:pt idx="2911">
                  <c:v>All Others</c:v>
                </c:pt>
                <c:pt idx="2912">
                  <c:v>All Others</c:v>
                </c:pt>
                <c:pt idx="2913">
                  <c:v>All Others</c:v>
                </c:pt>
                <c:pt idx="2914">
                  <c:v>All Others</c:v>
                </c:pt>
                <c:pt idx="2915">
                  <c:v>All Others</c:v>
                </c:pt>
                <c:pt idx="2916">
                  <c:v>All Others</c:v>
                </c:pt>
                <c:pt idx="2917">
                  <c:v>All Others</c:v>
                </c:pt>
                <c:pt idx="2918">
                  <c:v>All Others</c:v>
                </c:pt>
                <c:pt idx="2919">
                  <c:v>All Others</c:v>
                </c:pt>
                <c:pt idx="2920">
                  <c:v>All Others</c:v>
                </c:pt>
                <c:pt idx="2921">
                  <c:v>All Others</c:v>
                </c:pt>
                <c:pt idx="2922">
                  <c:v>All Others</c:v>
                </c:pt>
                <c:pt idx="2923">
                  <c:v>All Others</c:v>
                </c:pt>
                <c:pt idx="2924">
                  <c:v>All Others</c:v>
                </c:pt>
                <c:pt idx="2925">
                  <c:v>All Others</c:v>
                </c:pt>
                <c:pt idx="2926">
                  <c:v>All Others</c:v>
                </c:pt>
                <c:pt idx="2927">
                  <c:v>All Others</c:v>
                </c:pt>
                <c:pt idx="2928">
                  <c:v>All Others</c:v>
                </c:pt>
                <c:pt idx="2929">
                  <c:v>All Others</c:v>
                </c:pt>
                <c:pt idx="2930">
                  <c:v>All Others</c:v>
                </c:pt>
                <c:pt idx="2931">
                  <c:v>Raguin</c:v>
                </c:pt>
                <c:pt idx="2932">
                  <c:v>All Others</c:v>
                </c:pt>
                <c:pt idx="2933">
                  <c:v>All Others</c:v>
                </c:pt>
                <c:pt idx="2934">
                  <c:v>Casa Azzurr</c:v>
                </c:pt>
                <c:pt idx="2935">
                  <c:v>Eurial Autr</c:v>
                </c:pt>
                <c:pt idx="2936">
                  <c:v>All Others</c:v>
                </c:pt>
                <c:pt idx="2937">
                  <c:v>All Others</c:v>
                </c:pt>
                <c:pt idx="2938">
                  <c:v>All Others</c:v>
                </c:pt>
                <c:pt idx="2939">
                  <c:v>Pochat</c:v>
                </c:pt>
                <c:pt idx="2940">
                  <c:v>All Others</c:v>
                </c:pt>
                <c:pt idx="2941">
                  <c:v>All Others</c:v>
                </c:pt>
                <c:pt idx="2942">
                  <c:v>All Others</c:v>
                </c:pt>
                <c:pt idx="2943">
                  <c:v>All Others</c:v>
                </c:pt>
                <c:pt idx="2944">
                  <c:v>Private Lab</c:v>
                </c:pt>
                <c:pt idx="2945">
                  <c:v>All Others</c:v>
                </c:pt>
                <c:pt idx="2946">
                  <c:v>All Others</c:v>
                </c:pt>
                <c:pt idx="2947">
                  <c:v>All Others</c:v>
                </c:pt>
                <c:pt idx="2948">
                  <c:v>All Others</c:v>
                </c:pt>
                <c:pt idx="2949">
                  <c:v>Private Lab</c:v>
                </c:pt>
                <c:pt idx="2950">
                  <c:v>All Others</c:v>
                </c:pt>
                <c:pt idx="2951">
                  <c:v>All Others</c:v>
                </c:pt>
                <c:pt idx="2952">
                  <c:v>All Others</c:v>
                </c:pt>
                <c:pt idx="2953">
                  <c:v>All Others</c:v>
                </c:pt>
                <c:pt idx="2954">
                  <c:v>All Others</c:v>
                </c:pt>
                <c:pt idx="2955">
                  <c:v>All Others</c:v>
                </c:pt>
                <c:pt idx="2956">
                  <c:v>All Others</c:v>
                </c:pt>
                <c:pt idx="2957">
                  <c:v>All Others</c:v>
                </c:pt>
                <c:pt idx="2958">
                  <c:v>All Others</c:v>
                </c:pt>
                <c:pt idx="2959">
                  <c:v>All Others</c:v>
                </c:pt>
                <c:pt idx="2960">
                  <c:v>Private Lab</c:v>
                </c:pt>
                <c:pt idx="2961">
                  <c:v>Eurial Autr</c:v>
                </c:pt>
                <c:pt idx="2962">
                  <c:v>All Others</c:v>
                </c:pt>
                <c:pt idx="2963">
                  <c:v>Lactalis: A</c:v>
                </c:pt>
                <c:pt idx="2964">
                  <c:v>All Others</c:v>
                </c:pt>
                <c:pt idx="2965">
                  <c:v>All Others</c:v>
                </c:pt>
                <c:pt idx="2966">
                  <c:v>All Others</c:v>
                </c:pt>
                <c:pt idx="2967">
                  <c:v>All Others</c:v>
                </c:pt>
                <c:pt idx="2968">
                  <c:v>All Others</c:v>
                </c:pt>
                <c:pt idx="2969">
                  <c:v>All Others</c:v>
                </c:pt>
                <c:pt idx="2970">
                  <c:v>All Others</c:v>
                </c:pt>
                <c:pt idx="2971">
                  <c:v>All Others</c:v>
                </c:pt>
                <c:pt idx="2972">
                  <c:v>All Others</c:v>
                </c:pt>
                <c:pt idx="2973">
                  <c:v>All Others</c:v>
                </c:pt>
                <c:pt idx="2974">
                  <c:v>All Others</c:v>
                </c:pt>
                <c:pt idx="2975">
                  <c:v>All Others</c:v>
                </c:pt>
                <c:pt idx="2976">
                  <c:v>All Others</c:v>
                </c:pt>
                <c:pt idx="2977">
                  <c:v>All Others</c:v>
                </c:pt>
                <c:pt idx="2978">
                  <c:v>All Others</c:v>
                </c:pt>
                <c:pt idx="2979">
                  <c:v>All Others</c:v>
                </c:pt>
                <c:pt idx="2980">
                  <c:v>All Others</c:v>
                </c:pt>
                <c:pt idx="2981">
                  <c:v>All Others</c:v>
                </c:pt>
                <c:pt idx="2982">
                  <c:v>All Others</c:v>
                </c:pt>
                <c:pt idx="2983">
                  <c:v>All Others</c:v>
                </c:pt>
                <c:pt idx="2984">
                  <c:v>All Others</c:v>
                </c:pt>
                <c:pt idx="2985">
                  <c:v>All Others</c:v>
                </c:pt>
                <c:pt idx="2986">
                  <c:v>All Others</c:v>
                </c:pt>
                <c:pt idx="2987">
                  <c:v>All Others</c:v>
                </c:pt>
                <c:pt idx="2988">
                  <c:v>All Others</c:v>
                </c:pt>
                <c:pt idx="2989">
                  <c:v>All Others</c:v>
                </c:pt>
                <c:pt idx="2990">
                  <c:v>All Others</c:v>
                </c:pt>
                <c:pt idx="2991">
                  <c:v>All Others</c:v>
                </c:pt>
                <c:pt idx="2992">
                  <c:v>All Others</c:v>
                </c:pt>
                <c:pt idx="2993">
                  <c:v>All Others</c:v>
                </c:pt>
                <c:pt idx="2994">
                  <c:v>All Others</c:v>
                </c:pt>
                <c:pt idx="2995">
                  <c:v>All Others</c:v>
                </c:pt>
                <c:pt idx="2996">
                  <c:v>Galbani</c:v>
                </c:pt>
                <c:pt idx="2997">
                  <c:v>All Others</c:v>
                </c:pt>
                <c:pt idx="2998">
                  <c:v>All Others</c:v>
                </c:pt>
                <c:pt idx="2999">
                  <c:v>All Others</c:v>
                </c:pt>
                <c:pt idx="3000">
                  <c:v>All Others</c:v>
                </c:pt>
                <c:pt idx="3001">
                  <c:v>All Others</c:v>
                </c:pt>
                <c:pt idx="3002">
                  <c:v>All Others</c:v>
                </c:pt>
                <c:pt idx="3003">
                  <c:v>All Others</c:v>
                </c:pt>
                <c:pt idx="3004">
                  <c:v>All Others</c:v>
                </c:pt>
                <c:pt idx="3005">
                  <c:v>All Others</c:v>
                </c:pt>
                <c:pt idx="3006">
                  <c:v>All Others</c:v>
                </c:pt>
                <c:pt idx="3007">
                  <c:v>All Others</c:v>
                </c:pt>
                <c:pt idx="3008">
                  <c:v>All Others</c:v>
                </c:pt>
                <c:pt idx="3009">
                  <c:v>All Others</c:v>
                </c:pt>
                <c:pt idx="3010">
                  <c:v>All Others</c:v>
                </c:pt>
                <c:pt idx="3011">
                  <c:v>All Others</c:v>
                </c:pt>
                <c:pt idx="3012">
                  <c:v>All Others</c:v>
                </c:pt>
                <c:pt idx="3013">
                  <c:v>All Others</c:v>
                </c:pt>
                <c:pt idx="3014">
                  <c:v>All Others</c:v>
                </c:pt>
                <c:pt idx="3015">
                  <c:v>Private Lab</c:v>
                </c:pt>
                <c:pt idx="3016">
                  <c:v>All Others</c:v>
                </c:pt>
                <c:pt idx="3017">
                  <c:v>All Others</c:v>
                </c:pt>
                <c:pt idx="3018">
                  <c:v>All Others</c:v>
                </c:pt>
                <c:pt idx="3019">
                  <c:v>Societe</c:v>
                </c:pt>
                <c:pt idx="3020">
                  <c:v>Savencia: A</c:v>
                </c:pt>
                <c:pt idx="3021">
                  <c:v>All Others</c:v>
                </c:pt>
                <c:pt idx="3022">
                  <c:v>All Others</c:v>
                </c:pt>
                <c:pt idx="3023">
                  <c:v>All Others</c:v>
                </c:pt>
                <c:pt idx="3024">
                  <c:v>All Others</c:v>
                </c:pt>
                <c:pt idx="3025">
                  <c:v>All Others</c:v>
                </c:pt>
                <c:pt idx="3026">
                  <c:v>All Others</c:v>
                </c:pt>
                <c:pt idx="3027">
                  <c:v>All Others</c:v>
                </c:pt>
                <c:pt idx="3028">
                  <c:v>All Others</c:v>
                </c:pt>
                <c:pt idx="3029">
                  <c:v>All Others</c:v>
                </c:pt>
                <c:pt idx="3030">
                  <c:v>Casa Azzurr</c:v>
                </c:pt>
                <c:pt idx="3031">
                  <c:v>All Others</c:v>
                </c:pt>
                <c:pt idx="3032">
                  <c:v>All Others</c:v>
                </c:pt>
                <c:pt idx="3033">
                  <c:v>All Others</c:v>
                </c:pt>
                <c:pt idx="3034">
                  <c:v>All Others</c:v>
                </c:pt>
                <c:pt idx="3035">
                  <c:v>All Others</c:v>
                </c:pt>
                <c:pt idx="3036">
                  <c:v>All Others</c:v>
                </c:pt>
                <c:pt idx="3037">
                  <c:v>All Others</c:v>
                </c:pt>
                <c:pt idx="3038">
                  <c:v>All Others</c:v>
                </c:pt>
                <c:pt idx="3039">
                  <c:v>All Others</c:v>
                </c:pt>
                <c:pt idx="3040">
                  <c:v>All Others</c:v>
                </c:pt>
                <c:pt idx="3041">
                  <c:v>All Others</c:v>
                </c:pt>
                <c:pt idx="3042">
                  <c:v>All Others</c:v>
                </c:pt>
                <c:pt idx="3043">
                  <c:v>All Others</c:v>
                </c:pt>
                <c:pt idx="3044">
                  <c:v>All Others</c:v>
                </c:pt>
                <c:pt idx="3045">
                  <c:v>All Others</c:v>
                </c:pt>
                <c:pt idx="3046">
                  <c:v>Fol Epi</c:v>
                </c:pt>
                <c:pt idx="3047">
                  <c:v>All Others</c:v>
                </c:pt>
                <c:pt idx="3048">
                  <c:v>All Others</c:v>
                </c:pt>
                <c:pt idx="3049">
                  <c:v>Eurial Autr</c:v>
                </c:pt>
                <c:pt idx="3050">
                  <c:v>All Others</c:v>
                </c:pt>
                <c:pt idx="3051">
                  <c:v>All Others</c:v>
                </c:pt>
                <c:pt idx="3052">
                  <c:v>All Others</c:v>
                </c:pt>
                <c:pt idx="3053">
                  <c:v>All Others</c:v>
                </c:pt>
                <c:pt idx="3054">
                  <c:v>All Others</c:v>
                </c:pt>
                <c:pt idx="3055">
                  <c:v>All Others</c:v>
                </c:pt>
                <c:pt idx="3056">
                  <c:v>All Others</c:v>
                </c:pt>
                <c:pt idx="3057">
                  <c:v>All Others</c:v>
                </c:pt>
                <c:pt idx="3058">
                  <c:v>All Others</c:v>
                </c:pt>
                <c:pt idx="3059">
                  <c:v>All Others</c:v>
                </c:pt>
                <c:pt idx="3060">
                  <c:v>All Others</c:v>
                </c:pt>
                <c:pt idx="3061">
                  <c:v>All Others</c:v>
                </c:pt>
                <c:pt idx="3062">
                  <c:v>All Others</c:v>
                </c:pt>
                <c:pt idx="3063">
                  <c:v>All Others</c:v>
                </c:pt>
                <c:pt idx="3064">
                  <c:v>All Others</c:v>
                </c:pt>
                <c:pt idx="3065">
                  <c:v>All Others</c:v>
                </c:pt>
                <c:pt idx="3066">
                  <c:v>All Others</c:v>
                </c:pt>
                <c:pt idx="3067">
                  <c:v>All Others</c:v>
                </c:pt>
                <c:pt idx="3068">
                  <c:v>All Others</c:v>
                </c:pt>
                <c:pt idx="3069">
                  <c:v>Entremont</c:v>
                </c:pt>
                <c:pt idx="3070">
                  <c:v>All Others</c:v>
                </c:pt>
                <c:pt idx="3071">
                  <c:v>Entremont</c:v>
                </c:pt>
                <c:pt idx="3072">
                  <c:v>All Others</c:v>
                </c:pt>
                <c:pt idx="3073">
                  <c:v>All Others</c:v>
                </c:pt>
                <c:pt idx="3074">
                  <c:v>All Others</c:v>
                </c:pt>
                <c:pt idx="3075">
                  <c:v>All Others</c:v>
                </c:pt>
                <c:pt idx="3076">
                  <c:v>Private Lab</c:v>
                </c:pt>
                <c:pt idx="3077">
                  <c:v>All Others</c:v>
                </c:pt>
                <c:pt idx="3078">
                  <c:v>All Others</c:v>
                </c:pt>
                <c:pt idx="3079">
                  <c:v>All Others</c:v>
                </c:pt>
                <c:pt idx="3080">
                  <c:v>Savencia: A</c:v>
                </c:pt>
                <c:pt idx="3081">
                  <c:v>All Others</c:v>
                </c:pt>
                <c:pt idx="3082">
                  <c:v>All Others</c:v>
                </c:pt>
                <c:pt idx="3083">
                  <c:v>Eurial Autr</c:v>
                </c:pt>
                <c:pt idx="3084">
                  <c:v>All Others</c:v>
                </c:pt>
                <c:pt idx="3085">
                  <c:v>All Others</c:v>
                </c:pt>
                <c:pt idx="3086">
                  <c:v>All Others</c:v>
                </c:pt>
                <c:pt idx="3087">
                  <c:v>All Others</c:v>
                </c:pt>
                <c:pt idx="3088">
                  <c:v>All Others</c:v>
                </c:pt>
                <c:pt idx="3089">
                  <c:v>All Others</c:v>
                </c:pt>
                <c:pt idx="3090">
                  <c:v>All Others</c:v>
                </c:pt>
                <c:pt idx="3091">
                  <c:v>All Others</c:v>
                </c:pt>
                <c:pt idx="3092">
                  <c:v>All Others</c:v>
                </c:pt>
                <c:pt idx="3093">
                  <c:v>All Others</c:v>
                </c:pt>
                <c:pt idx="3094">
                  <c:v>All Others</c:v>
                </c:pt>
                <c:pt idx="3095">
                  <c:v>All Others</c:v>
                </c:pt>
                <c:pt idx="3096">
                  <c:v>All Others</c:v>
                </c:pt>
                <c:pt idx="3097">
                  <c:v>All Others</c:v>
                </c:pt>
                <c:pt idx="3098">
                  <c:v>All Others</c:v>
                </c:pt>
                <c:pt idx="3099">
                  <c:v>Private Lab</c:v>
                </c:pt>
                <c:pt idx="3100">
                  <c:v>All Others</c:v>
                </c:pt>
                <c:pt idx="3101">
                  <c:v>All Others</c:v>
                </c:pt>
                <c:pt idx="3102">
                  <c:v>All Others</c:v>
                </c:pt>
                <c:pt idx="3103">
                  <c:v>Private Lab</c:v>
                </c:pt>
                <c:pt idx="3104">
                  <c:v>Private Lab</c:v>
                </c:pt>
                <c:pt idx="3105">
                  <c:v>All Others</c:v>
                </c:pt>
                <c:pt idx="3106">
                  <c:v>All Others</c:v>
                </c:pt>
                <c:pt idx="3107">
                  <c:v>All Others</c:v>
                </c:pt>
                <c:pt idx="3108">
                  <c:v>All Others</c:v>
                </c:pt>
                <c:pt idx="3109">
                  <c:v>All Others</c:v>
                </c:pt>
                <c:pt idx="3110">
                  <c:v>All Others</c:v>
                </c:pt>
                <c:pt idx="3111">
                  <c:v>All Others</c:v>
                </c:pt>
                <c:pt idx="3112">
                  <c:v>All Others</c:v>
                </c:pt>
                <c:pt idx="3113">
                  <c:v>All Others</c:v>
                </c:pt>
                <c:pt idx="3114">
                  <c:v>All Others</c:v>
                </c:pt>
                <c:pt idx="3115">
                  <c:v>All Others</c:v>
                </c:pt>
                <c:pt idx="3116">
                  <c:v>All Others</c:v>
                </c:pt>
                <c:pt idx="3117">
                  <c:v>All Others</c:v>
                </c:pt>
                <c:pt idx="3118">
                  <c:v>All Others</c:v>
                </c:pt>
                <c:pt idx="3119">
                  <c:v>All Others</c:v>
                </c:pt>
                <c:pt idx="3120">
                  <c:v>All Others</c:v>
                </c:pt>
                <c:pt idx="3121">
                  <c:v>Societe</c:v>
                </c:pt>
                <c:pt idx="3122">
                  <c:v>All Others</c:v>
                </c:pt>
                <c:pt idx="3123">
                  <c:v>All Others</c:v>
                </c:pt>
                <c:pt idx="3124">
                  <c:v>All Others</c:v>
                </c:pt>
                <c:pt idx="3125">
                  <c:v>All Others</c:v>
                </c:pt>
                <c:pt idx="3126">
                  <c:v>All Others</c:v>
                </c:pt>
                <c:pt idx="3127">
                  <c:v>All Others</c:v>
                </c:pt>
                <c:pt idx="3128">
                  <c:v>All Others</c:v>
                </c:pt>
                <c:pt idx="3129">
                  <c:v>All Others</c:v>
                </c:pt>
                <c:pt idx="3130">
                  <c:v>All Others</c:v>
                </c:pt>
                <c:pt idx="3131">
                  <c:v>All Others</c:v>
                </c:pt>
                <c:pt idx="3132">
                  <c:v>All Others</c:v>
                </c:pt>
                <c:pt idx="3133">
                  <c:v>Private Lab</c:v>
                </c:pt>
                <c:pt idx="3134">
                  <c:v>All Others</c:v>
                </c:pt>
                <c:pt idx="3135">
                  <c:v>All Others</c:v>
                </c:pt>
                <c:pt idx="3136">
                  <c:v>All Others</c:v>
                </c:pt>
                <c:pt idx="3137">
                  <c:v>All Others</c:v>
                </c:pt>
                <c:pt idx="3138">
                  <c:v>All Others</c:v>
                </c:pt>
                <c:pt idx="3139">
                  <c:v>All Others</c:v>
                </c:pt>
                <c:pt idx="3140">
                  <c:v>All Others</c:v>
                </c:pt>
                <c:pt idx="3141">
                  <c:v>All Others</c:v>
                </c:pt>
                <c:pt idx="3142">
                  <c:v>Private Lab</c:v>
                </c:pt>
                <c:pt idx="3143">
                  <c:v>All Others</c:v>
                </c:pt>
                <c:pt idx="3144">
                  <c:v>President</c:v>
                </c:pt>
                <c:pt idx="3145">
                  <c:v>All Others</c:v>
                </c:pt>
                <c:pt idx="3146">
                  <c:v>All Others</c:v>
                </c:pt>
                <c:pt idx="3147">
                  <c:v>All Others</c:v>
                </c:pt>
                <c:pt idx="3148">
                  <c:v>All Others</c:v>
                </c:pt>
                <c:pt idx="3149">
                  <c:v>Private Lab</c:v>
                </c:pt>
                <c:pt idx="3150">
                  <c:v>All Others</c:v>
                </c:pt>
                <c:pt idx="3151">
                  <c:v>All Others</c:v>
                </c:pt>
                <c:pt idx="3152">
                  <c:v>All Others</c:v>
                </c:pt>
                <c:pt idx="3153">
                  <c:v>Private Lab</c:v>
                </c:pt>
                <c:pt idx="3154">
                  <c:v>All Others</c:v>
                </c:pt>
                <c:pt idx="3155">
                  <c:v>All Others</c:v>
                </c:pt>
                <c:pt idx="3156">
                  <c:v>All Others</c:v>
                </c:pt>
                <c:pt idx="3157">
                  <c:v>All Others</c:v>
                </c:pt>
                <c:pt idx="3158">
                  <c:v>All Others</c:v>
                </c:pt>
                <c:pt idx="3159">
                  <c:v>All Others</c:v>
                </c:pt>
                <c:pt idx="3160">
                  <c:v>Savencia: A</c:v>
                </c:pt>
                <c:pt idx="3161">
                  <c:v>All Others</c:v>
                </c:pt>
                <c:pt idx="3162">
                  <c:v>All Others</c:v>
                </c:pt>
                <c:pt idx="3163">
                  <c:v>All Others</c:v>
                </c:pt>
                <c:pt idx="3164">
                  <c:v>All Others</c:v>
                </c:pt>
                <c:pt idx="3165">
                  <c:v>All Others</c:v>
                </c:pt>
                <c:pt idx="3166">
                  <c:v>All Others</c:v>
                </c:pt>
                <c:pt idx="3167">
                  <c:v>All Others</c:v>
                </c:pt>
                <c:pt idx="3168">
                  <c:v>All Others</c:v>
                </c:pt>
                <c:pt idx="3169">
                  <c:v>All Others</c:v>
                </c:pt>
                <c:pt idx="3170">
                  <c:v>Limiano</c:v>
                </c:pt>
                <c:pt idx="3171">
                  <c:v>All Others</c:v>
                </c:pt>
                <c:pt idx="3172">
                  <c:v>All Others</c:v>
                </c:pt>
                <c:pt idx="3173">
                  <c:v>All Others</c:v>
                </c:pt>
                <c:pt idx="3174">
                  <c:v>All Others</c:v>
                </c:pt>
                <c:pt idx="3175">
                  <c:v>Private Lab</c:v>
                </c:pt>
                <c:pt idx="3176">
                  <c:v>All Others</c:v>
                </c:pt>
                <c:pt idx="3177">
                  <c:v>All Others</c:v>
                </c:pt>
                <c:pt idx="3178">
                  <c:v>All Others</c:v>
                </c:pt>
                <c:pt idx="3179">
                  <c:v>All Others</c:v>
                </c:pt>
                <c:pt idx="3180">
                  <c:v>All Others</c:v>
                </c:pt>
                <c:pt idx="3181">
                  <c:v>Private Lab</c:v>
                </c:pt>
                <c:pt idx="3182">
                  <c:v>All Others</c:v>
                </c:pt>
                <c:pt idx="3183">
                  <c:v>Private Lab</c:v>
                </c:pt>
                <c:pt idx="3184">
                  <c:v>Entremont</c:v>
                </c:pt>
                <c:pt idx="3185">
                  <c:v>All Others</c:v>
                </c:pt>
                <c:pt idx="3186">
                  <c:v>All Others</c:v>
                </c:pt>
                <c:pt idx="3187">
                  <c:v>All Others</c:v>
                </c:pt>
                <c:pt idx="3188">
                  <c:v>All Others</c:v>
                </c:pt>
                <c:pt idx="3189">
                  <c:v>All Others</c:v>
                </c:pt>
                <c:pt idx="3190">
                  <c:v>All Others</c:v>
                </c:pt>
                <c:pt idx="3191">
                  <c:v>All Others</c:v>
                </c:pt>
                <c:pt idx="3192">
                  <c:v>All Others</c:v>
                </c:pt>
                <c:pt idx="3193">
                  <c:v>Casa Azzurr</c:v>
                </c:pt>
                <c:pt idx="3194">
                  <c:v>All Others</c:v>
                </c:pt>
                <c:pt idx="3195">
                  <c:v>All Others</c:v>
                </c:pt>
                <c:pt idx="3196">
                  <c:v>All Others</c:v>
                </c:pt>
                <c:pt idx="3197">
                  <c:v>All Others</c:v>
                </c:pt>
                <c:pt idx="3198">
                  <c:v>All Others</c:v>
                </c:pt>
                <c:pt idx="3199">
                  <c:v>All Others</c:v>
                </c:pt>
                <c:pt idx="3200">
                  <c:v>All Others</c:v>
                </c:pt>
                <c:pt idx="3201">
                  <c:v>All Others</c:v>
                </c:pt>
                <c:pt idx="3202">
                  <c:v>All Others</c:v>
                </c:pt>
                <c:pt idx="3203">
                  <c:v>All Others</c:v>
                </c:pt>
                <c:pt idx="3204">
                  <c:v>All Others</c:v>
                </c:pt>
                <c:pt idx="3205">
                  <c:v>All Others</c:v>
                </c:pt>
                <c:pt idx="3206">
                  <c:v>All Others</c:v>
                </c:pt>
                <c:pt idx="3207">
                  <c:v>All Others</c:v>
                </c:pt>
                <c:pt idx="3208">
                  <c:v>Salakis</c:v>
                </c:pt>
                <c:pt idx="3209">
                  <c:v>Societe</c:v>
                </c:pt>
                <c:pt idx="3210">
                  <c:v>All Others</c:v>
                </c:pt>
                <c:pt idx="3211">
                  <c:v>All Others</c:v>
                </c:pt>
                <c:pt idx="3212">
                  <c:v>All Others</c:v>
                </c:pt>
                <c:pt idx="3213">
                  <c:v>All Others</c:v>
                </c:pt>
                <c:pt idx="3214">
                  <c:v>All Others</c:v>
                </c:pt>
                <c:pt idx="3215">
                  <c:v>All Others</c:v>
                </c:pt>
                <c:pt idx="3216">
                  <c:v>All Others</c:v>
                </c:pt>
                <c:pt idx="3217">
                  <c:v>All Others</c:v>
                </c:pt>
                <c:pt idx="3218">
                  <c:v>All Others</c:v>
                </c:pt>
                <c:pt idx="3219">
                  <c:v>All Others</c:v>
                </c:pt>
                <c:pt idx="3220">
                  <c:v>All Others</c:v>
                </c:pt>
                <c:pt idx="3221">
                  <c:v>All Others</c:v>
                </c:pt>
                <c:pt idx="3222">
                  <c:v>All Others</c:v>
                </c:pt>
                <c:pt idx="3223">
                  <c:v>All Others</c:v>
                </c:pt>
                <c:pt idx="3224">
                  <c:v>All Others</c:v>
                </c:pt>
                <c:pt idx="3225">
                  <c:v>All Others</c:v>
                </c:pt>
                <c:pt idx="3226">
                  <c:v>All Others</c:v>
                </c:pt>
                <c:pt idx="3227">
                  <c:v>All Others</c:v>
                </c:pt>
                <c:pt idx="3228">
                  <c:v>All Others</c:v>
                </c:pt>
                <c:pt idx="3229">
                  <c:v>All Others</c:v>
                </c:pt>
                <c:pt idx="3230">
                  <c:v>Juraflore</c:v>
                </c:pt>
                <c:pt idx="3231">
                  <c:v>All Others</c:v>
                </c:pt>
                <c:pt idx="3232">
                  <c:v>All Others</c:v>
                </c:pt>
                <c:pt idx="3233">
                  <c:v>All Others</c:v>
                </c:pt>
                <c:pt idx="3234">
                  <c:v>All Others</c:v>
                </c:pt>
                <c:pt idx="3235">
                  <c:v>All Others</c:v>
                </c:pt>
                <c:pt idx="3236">
                  <c:v>All Others</c:v>
                </c:pt>
                <c:pt idx="3237">
                  <c:v>All Others</c:v>
                </c:pt>
                <c:pt idx="3238">
                  <c:v>All Others</c:v>
                </c:pt>
                <c:pt idx="3239">
                  <c:v>Pave D'Affi</c:v>
                </c:pt>
                <c:pt idx="3240">
                  <c:v>All Others</c:v>
                </c:pt>
                <c:pt idx="3241">
                  <c:v>All Others</c:v>
                </c:pt>
                <c:pt idx="3242">
                  <c:v>All Others</c:v>
                </c:pt>
                <c:pt idx="3243">
                  <c:v>All Others</c:v>
                </c:pt>
                <c:pt idx="3244">
                  <c:v>All Others</c:v>
                </c:pt>
                <c:pt idx="3245">
                  <c:v>All Others</c:v>
                </c:pt>
                <c:pt idx="3246">
                  <c:v>All Others</c:v>
                </c:pt>
                <c:pt idx="3247">
                  <c:v>All Others</c:v>
                </c:pt>
                <c:pt idx="3248">
                  <c:v>All Others</c:v>
                </c:pt>
                <c:pt idx="3249">
                  <c:v>All Others</c:v>
                </c:pt>
                <c:pt idx="3250">
                  <c:v>Lactalis: A</c:v>
                </c:pt>
                <c:pt idx="3251">
                  <c:v>All Others</c:v>
                </c:pt>
                <c:pt idx="3252">
                  <c:v>All Others</c:v>
                </c:pt>
                <c:pt idx="3253">
                  <c:v>All Others</c:v>
                </c:pt>
                <c:pt idx="3254">
                  <c:v>All Others</c:v>
                </c:pt>
                <c:pt idx="3255">
                  <c:v>All Others</c:v>
                </c:pt>
                <c:pt idx="3256">
                  <c:v>All Others</c:v>
                </c:pt>
                <c:pt idx="3257">
                  <c:v>All Others</c:v>
                </c:pt>
                <c:pt idx="3258">
                  <c:v>All Others</c:v>
                </c:pt>
                <c:pt idx="3259">
                  <c:v>All Others</c:v>
                </c:pt>
                <c:pt idx="3260">
                  <c:v>All Others</c:v>
                </c:pt>
                <c:pt idx="3261">
                  <c:v>All Others</c:v>
                </c:pt>
                <c:pt idx="3262">
                  <c:v>All Others</c:v>
                </c:pt>
                <c:pt idx="3263">
                  <c:v>Private Lab</c:v>
                </c:pt>
                <c:pt idx="3264">
                  <c:v>All Others</c:v>
                </c:pt>
                <c:pt idx="3265">
                  <c:v>All Others</c:v>
                </c:pt>
                <c:pt idx="3266">
                  <c:v>All Others</c:v>
                </c:pt>
                <c:pt idx="3267">
                  <c:v>All Others</c:v>
                </c:pt>
                <c:pt idx="3268">
                  <c:v>All Others</c:v>
                </c:pt>
                <c:pt idx="3269">
                  <c:v>All Others</c:v>
                </c:pt>
                <c:pt idx="3270">
                  <c:v>All Others</c:v>
                </c:pt>
                <c:pt idx="3271">
                  <c:v>All Others</c:v>
                </c:pt>
                <c:pt idx="3272">
                  <c:v>All Others</c:v>
                </c:pt>
                <c:pt idx="3273">
                  <c:v>Lactalis: A</c:v>
                </c:pt>
                <c:pt idx="3274">
                  <c:v>All Others</c:v>
                </c:pt>
                <c:pt idx="3275">
                  <c:v>Lactalis: A</c:v>
                </c:pt>
                <c:pt idx="3276">
                  <c:v>All Others</c:v>
                </c:pt>
                <c:pt idx="3277">
                  <c:v>All Others</c:v>
                </c:pt>
                <c:pt idx="3278">
                  <c:v>Private Lab</c:v>
                </c:pt>
                <c:pt idx="3279">
                  <c:v>All Others</c:v>
                </c:pt>
                <c:pt idx="3280">
                  <c:v>All Others</c:v>
                </c:pt>
                <c:pt idx="3281">
                  <c:v>All Others</c:v>
                </c:pt>
                <c:pt idx="3282">
                  <c:v>All Others</c:v>
                </c:pt>
                <c:pt idx="3283">
                  <c:v>All Others</c:v>
                </c:pt>
                <c:pt idx="3284">
                  <c:v>All Others</c:v>
                </c:pt>
                <c:pt idx="3285">
                  <c:v>All Others</c:v>
                </c:pt>
                <c:pt idx="3286">
                  <c:v>Private Lab</c:v>
                </c:pt>
                <c:pt idx="3287">
                  <c:v>All Others</c:v>
                </c:pt>
                <c:pt idx="3288">
                  <c:v>All Others</c:v>
                </c:pt>
                <c:pt idx="3289">
                  <c:v>All Others</c:v>
                </c:pt>
                <c:pt idx="3290">
                  <c:v>All Others</c:v>
                </c:pt>
                <c:pt idx="3291">
                  <c:v>All Others</c:v>
                </c:pt>
                <c:pt idx="3292">
                  <c:v>All Others</c:v>
                </c:pt>
                <c:pt idx="3293">
                  <c:v>All Others</c:v>
                </c:pt>
                <c:pt idx="3294">
                  <c:v>All Others</c:v>
                </c:pt>
                <c:pt idx="3295">
                  <c:v>All Others</c:v>
                </c:pt>
                <c:pt idx="3296">
                  <c:v>All Others</c:v>
                </c:pt>
                <c:pt idx="3297">
                  <c:v>All Others</c:v>
                </c:pt>
                <c:pt idx="3298">
                  <c:v>All Others</c:v>
                </c:pt>
                <c:pt idx="3299">
                  <c:v>All Others</c:v>
                </c:pt>
                <c:pt idx="3300">
                  <c:v>All Others</c:v>
                </c:pt>
                <c:pt idx="3301">
                  <c:v>All Others</c:v>
                </c:pt>
                <c:pt idx="3302">
                  <c:v>All Others</c:v>
                </c:pt>
                <c:pt idx="3303">
                  <c:v>All Others</c:v>
                </c:pt>
                <c:pt idx="3304">
                  <c:v>All Others</c:v>
                </c:pt>
                <c:pt idx="3305">
                  <c:v>All Others</c:v>
                </c:pt>
                <c:pt idx="3306">
                  <c:v>All Others</c:v>
                </c:pt>
                <c:pt idx="3307">
                  <c:v>All Others</c:v>
                </c:pt>
                <c:pt idx="3308">
                  <c:v>All Others</c:v>
                </c:pt>
                <c:pt idx="3309">
                  <c:v>All Others</c:v>
                </c:pt>
                <c:pt idx="3310">
                  <c:v>All Others</c:v>
                </c:pt>
                <c:pt idx="3311">
                  <c:v>All Others</c:v>
                </c:pt>
                <c:pt idx="3312">
                  <c:v>All Others</c:v>
                </c:pt>
                <c:pt idx="3313">
                  <c:v>All Others</c:v>
                </c:pt>
                <c:pt idx="3314">
                  <c:v>All Others</c:v>
                </c:pt>
                <c:pt idx="3315">
                  <c:v>All Others</c:v>
                </c:pt>
                <c:pt idx="3316">
                  <c:v>All Others</c:v>
                </c:pt>
                <c:pt idx="3317">
                  <c:v>All Others</c:v>
                </c:pt>
                <c:pt idx="3318">
                  <c:v>All Others</c:v>
                </c:pt>
                <c:pt idx="3319">
                  <c:v>All Others</c:v>
                </c:pt>
                <c:pt idx="3320">
                  <c:v>All Others</c:v>
                </c:pt>
                <c:pt idx="3321">
                  <c:v>All Others</c:v>
                </c:pt>
                <c:pt idx="3322">
                  <c:v>All Others</c:v>
                </c:pt>
                <c:pt idx="3323">
                  <c:v>All Others</c:v>
                </c:pt>
                <c:pt idx="3324">
                  <c:v>Lactalis: A</c:v>
                </c:pt>
                <c:pt idx="3325">
                  <c:v>All Others</c:v>
                </c:pt>
                <c:pt idx="3326">
                  <c:v>All Others</c:v>
                </c:pt>
                <c:pt idx="3327">
                  <c:v>All Others</c:v>
                </c:pt>
                <c:pt idx="3328">
                  <c:v>All Others</c:v>
                </c:pt>
                <c:pt idx="3329">
                  <c:v>All Others</c:v>
                </c:pt>
                <c:pt idx="3330">
                  <c:v>All Others</c:v>
                </c:pt>
                <c:pt idx="3331">
                  <c:v>All Others</c:v>
                </c:pt>
                <c:pt idx="3332">
                  <c:v>All Others</c:v>
                </c:pt>
                <c:pt idx="3333">
                  <c:v>All Others</c:v>
                </c:pt>
                <c:pt idx="3334">
                  <c:v>All Others</c:v>
                </c:pt>
                <c:pt idx="3335">
                  <c:v>Lactalis: A</c:v>
                </c:pt>
                <c:pt idx="3336">
                  <c:v>All Others</c:v>
                </c:pt>
                <c:pt idx="3337">
                  <c:v>All Others</c:v>
                </c:pt>
                <c:pt idx="3338">
                  <c:v>All Others</c:v>
                </c:pt>
                <c:pt idx="3339">
                  <c:v>All Others</c:v>
                </c:pt>
                <c:pt idx="3340">
                  <c:v>All Others</c:v>
                </c:pt>
                <c:pt idx="3341">
                  <c:v>All Others</c:v>
                </c:pt>
                <c:pt idx="3342">
                  <c:v>All Others</c:v>
                </c:pt>
                <c:pt idx="3343">
                  <c:v>All Others</c:v>
                </c:pt>
                <c:pt idx="3344">
                  <c:v>All Others</c:v>
                </c:pt>
                <c:pt idx="3345">
                  <c:v>All Others</c:v>
                </c:pt>
                <c:pt idx="3346">
                  <c:v>All Others</c:v>
                </c:pt>
                <c:pt idx="3347">
                  <c:v>All Others</c:v>
                </c:pt>
                <c:pt idx="3348">
                  <c:v>All Others</c:v>
                </c:pt>
                <c:pt idx="3349">
                  <c:v>All Others</c:v>
                </c:pt>
                <c:pt idx="3350">
                  <c:v>All Others</c:v>
                </c:pt>
                <c:pt idx="3351">
                  <c:v>All Others</c:v>
                </c:pt>
                <c:pt idx="3352">
                  <c:v>All Others</c:v>
                </c:pt>
                <c:pt idx="3353">
                  <c:v>All Others</c:v>
                </c:pt>
                <c:pt idx="3354">
                  <c:v>All Others</c:v>
                </c:pt>
                <c:pt idx="3355">
                  <c:v>Savencia: A</c:v>
                </c:pt>
                <c:pt idx="3356">
                  <c:v>All Others</c:v>
                </c:pt>
                <c:pt idx="3357">
                  <c:v>All Others</c:v>
                </c:pt>
                <c:pt idx="3358">
                  <c:v>All Others</c:v>
                </c:pt>
                <c:pt idx="3359">
                  <c:v>All Others</c:v>
                </c:pt>
                <c:pt idx="3360">
                  <c:v>All Others</c:v>
                </c:pt>
                <c:pt idx="3361">
                  <c:v>Private Lab</c:v>
                </c:pt>
                <c:pt idx="3362">
                  <c:v>All Others</c:v>
                </c:pt>
                <c:pt idx="3363">
                  <c:v>All Others</c:v>
                </c:pt>
                <c:pt idx="3364">
                  <c:v>All Others</c:v>
                </c:pt>
                <c:pt idx="3365">
                  <c:v>All Others</c:v>
                </c:pt>
                <c:pt idx="3366">
                  <c:v>All Others</c:v>
                </c:pt>
                <c:pt idx="3367">
                  <c:v>All Others</c:v>
                </c:pt>
                <c:pt idx="3368">
                  <c:v>All Others</c:v>
                </c:pt>
                <c:pt idx="3369">
                  <c:v>All Others</c:v>
                </c:pt>
                <c:pt idx="3370">
                  <c:v>All Others</c:v>
                </c:pt>
                <c:pt idx="3371">
                  <c:v>All Others</c:v>
                </c:pt>
                <c:pt idx="3372">
                  <c:v>All Others</c:v>
                </c:pt>
                <c:pt idx="3373">
                  <c:v>All Others</c:v>
                </c:pt>
                <c:pt idx="3374">
                  <c:v>All Others</c:v>
                </c:pt>
                <c:pt idx="3375">
                  <c:v>Private Lab</c:v>
                </c:pt>
                <c:pt idx="3376">
                  <c:v>Private Lab</c:v>
                </c:pt>
                <c:pt idx="3377">
                  <c:v>All Others</c:v>
                </c:pt>
                <c:pt idx="3378">
                  <c:v>All Others</c:v>
                </c:pt>
                <c:pt idx="3379">
                  <c:v>All Others</c:v>
                </c:pt>
                <c:pt idx="3380">
                  <c:v>All Others</c:v>
                </c:pt>
                <c:pt idx="3381">
                  <c:v>All Others</c:v>
                </c:pt>
                <c:pt idx="3382">
                  <c:v>All Others</c:v>
                </c:pt>
                <c:pt idx="3383">
                  <c:v>Private Lab</c:v>
                </c:pt>
                <c:pt idx="3384">
                  <c:v>All Others</c:v>
                </c:pt>
                <c:pt idx="3385">
                  <c:v>All Others</c:v>
                </c:pt>
                <c:pt idx="3386">
                  <c:v>Private Lab</c:v>
                </c:pt>
                <c:pt idx="3387">
                  <c:v>All Others</c:v>
                </c:pt>
                <c:pt idx="3388">
                  <c:v>All Others</c:v>
                </c:pt>
                <c:pt idx="3389">
                  <c:v>All Others</c:v>
                </c:pt>
                <c:pt idx="3390">
                  <c:v>All Others</c:v>
                </c:pt>
                <c:pt idx="3391">
                  <c:v>All Others</c:v>
                </c:pt>
                <c:pt idx="3392">
                  <c:v>All Others</c:v>
                </c:pt>
                <c:pt idx="3393">
                  <c:v>All Others</c:v>
                </c:pt>
                <c:pt idx="3394">
                  <c:v>All Others</c:v>
                </c:pt>
                <c:pt idx="3395">
                  <c:v>All Others</c:v>
                </c:pt>
                <c:pt idx="3396">
                  <c:v>All Others</c:v>
                </c:pt>
                <c:pt idx="3397">
                  <c:v>All Others</c:v>
                </c:pt>
                <c:pt idx="3398">
                  <c:v>All Others</c:v>
                </c:pt>
                <c:pt idx="3399">
                  <c:v>All Others</c:v>
                </c:pt>
                <c:pt idx="3400">
                  <c:v>All Others</c:v>
                </c:pt>
                <c:pt idx="3401">
                  <c:v>Private Lab</c:v>
                </c:pt>
                <c:pt idx="3402">
                  <c:v>Private Lab</c:v>
                </c:pt>
                <c:pt idx="3403">
                  <c:v>All Others</c:v>
                </c:pt>
                <c:pt idx="3404">
                  <c:v>All Others</c:v>
                </c:pt>
                <c:pt idx="3405">
                  <c:v>Private Lab</c:v>
                </c:pt>
                <c:pt idx="3406">
                  <c:v>All Others</c:v>
                </c:pt>
                <c:pt idx="3407">
                  <c:v>All Others</c:v>
                </c:pt>
                <c:pt idx="3408">
                  <c:v>All Others</c:v>
                </c:pt>
                <c:pt idx="3409">
                  <c:v>All Others</c:v>
                </c:pt>
                <c:pt idx="3410">
                  <c:v>Private Lab</c:v>
                </c:pt>
                <c:pt idx="3411">
                  <c:v>All Others</c:v>
                </c:pt>
                <c:pt idx="3412">
                  <c:v>All Others</c:v>
                </c:pt>
                <c:pt idx="3413">
                  <c:v>All Others</c:v>
                </c:pt>
                <c:pt idx="3414">
                  <c:v>Private Lab</c:v>
                </c:pt>
                <c:pt idx="3415">
                  <c:v>All Others</c:v>
                </c:pt>
                <c:pt idx="3416">
                  <c:v>All Others</c:v>
                </c:pt>
                <c:pt idx="3417">
                  <c:v>All Others</c:v>
                </c:pt>
                <c:pt idx="3418">
                  <c:v>All Others</c:v>
                </c:pt>
                <c:pt idx="3419">
                  <c:v>All Others</c:v>
                </c:pt>
                <c:pt idx="3420">
                  <c:v>All Others</c:v>
                </c:pt>
                <c:pt idx="3421">
                  <c:v>All Others</c:v>
                </c:pt>
                <c:pt idx="3422">
                  <c:v>Milleret: A</c:v>
                </c:pt>
                <c:pt idx="3423">
                  <c:v>All Others</c:v>
                </c:pt>
                <c:pt idx="3424">
                  <c:v>All Others</c:v>
                </c:pt>
                <c:pt idx="3425">
                  <c:v>All Others</c:v>
                </c:pt>
                <c:pt idx="3426">
                  <c:v>All Others</c:v>
                </c:pt>
                <c:pt idx="3427">
                  <c:v>All Others</c:v>
                </c:pt>
                <c:pt idx="3428">
                  <c:v>All Others</c:v>
                </c:pt>
                <c:pt idx="3429">
                  <c:v>All Others</c:v>
                </c:pt>
                <c:pt idx="3430">
                  <c:v>All Others</c:v>
                </c:pt>
                <c:pt idx="3431">
                  <c:v>All Others</c:v>
                </c:pt>
                <c:pt idx="3432">
                  <c:v>All Others</c:v>
                </c:pt>
                <c:pt idx="3433">
                  <c:v>Private Lab</c:v>
                </c:pt>
                <c:pt idx="3434">
                  <c:v>All Others</c:v>
                </c:pt>
                <c:pt idx="3435">
                  <c:v>Private Lab</c:v>
                </c:pt>
                <c:pt idx="3436">
                  <c:v>All Others</c:v>
                </c:pt>
                <c:pt idx="3437">
                  <c:v>All Others</c:v>
                </c:pt>
                <c:pt idx="3438">
                  <c:v>Private Lab</c:v>
                </c:pt>
                <c:pt idx="3439">
                  <c:v>All Others</c:v>
                </c:pt>
                <c:pt idx="3440">
                  <c:v>All Others</c:v>
                </c:pt>
                <c:pt idx="3441">
                  <c:v>Nurishh</c:v>
                </c:pt>
                <c:pt idx="3442">
                  <c:v>All Others</c:v>
                </c:pt>
                <c:pt idx="3443">
                  <c:v>All Others</c:v>
                </c:pt>
                <c:pt idx="3444">
                  <c:v>All Others</c:v>
                </c:pt>
                <c:pt idx="3445">
                  <c:v>All Others</c:v>
                </c:pt>
                <c:pt idx="3446">
                  <c:v>All Others</c:v>
                </c:pt>
                <c:pt idx="3447">
                  <c:v>All Others</c:v>
                </c:pt>
                <c:pt idx="3448">
                  <c:v>All Others</c:v>
                </c:pt>
                <c:pt idx="3449">
                  <c:v>All Others</c:v>
                </c:pt>
                <c:pt idx="3450">
                  <c:v>All Others</c:v>
                </c:pt>
                <c:pt idx="3451">
                  <c:v>All Others</c:v>
                </c:pt>
                <c:pt idx="3452">
                  <c:v>All Others</c:v>
                </c:pt>
                <c:pt idx="3453">
                  <c:v>Nurishh</c:v>
                </c:pt>
                <c:pt idx="3454">
                  <c:v>All Others</c:v>
                </c:pt>
                <c:pt idx="3455">
                  <c:v>All Others</c:v>
                </c:pt>
                <c:pt idx="3456">
                  <c:v>All Others</c:v>
                </c:pt>
                <c:pt idx="3457">
                  <c:v>All Others</c:v>
                </c:pt>
                <c:pt idx="3458">
                  <c:v>All Others</c:v>
                </c:pt>
                <c:pt idx="3459">
                  <c:v>All Others</c:v>
                </c:pt>
                <c:pt idx="3460">
                  <c:v>All Others</c:v>
                </c:pt>
                <c:pt idx="3461">
                  <c:v>All Others</c:v>
                </c:pt>
                <c:pt idx="3462">
                  <c:v>All Others</c:v>
                </c:pt>
                <c:pt idx="3463">
                  <c:v>All Others</c:v>
                </c:pt>
                <c:pt idx="3464">
                  <c:v>All Others</c:v>
                </c:pt>
                <c:pt idx="3465">
                  <c:v>All Others</c:v>
                </c:pt>
                <c:pt idx="3466">
                  <c:v>All Others</c:v>
                </c:pt>
                <c:pt idx="3467">
                  <c:v>All Others</c:v>
                </c:pt>
                <c:pt idx="3468">
                  <c:v>All Others</c:v>
                </c:pt>
                <c:pt idx="3469">
                  <c:v>Private Lab</c:v>
                </c:pt>
                <c:pt idx="3470">
                  <c:v>All Others</c:v>
                </c:pt>
                <c:pt idx="3471">
                  <c:v>All Others</c:v>
                </c:pt>
                <c:pt idx="3472">
                  <c:v>All Others</c:v>
                </c:pt>
                <c:pt idx="3473">
                  <c:v>All Others</c:v>
                </c:pt>
                <c:pt idx="3474">
                  <c:v>All Others</c:v>
                </c:pt>
                <c:pt idx="3475">
                  <c:v>All Others</c:v>
                </c:pt>
                <c:pt idx="3476">
                  <c:v>All Others</c:v>
                </c:pt>
                <c:pt idx="3477">
                  <c:v>All Others</c:v>
                </c:pt>
                <c:pt idx="3478">
                  <c:v>Private Lab</c:v>
                </c:pt>
                <c:pt idx="3479">
                  <c:v>All Others</c:v>
                </c:pt>
                <c:pt idx="3480">
                  <c:v>All Others</c:v>
                </c:pt>
                <c:pt idx="3481">
                  <c:v>Private Lab</c:v>
                </c:pt>
                <c:pt idx="3482">
                  <c:v>All Others</c:v>
                </c:pt>
                <c:pt idx="3483">
                  <c:v>All Others</c:v>
                </c:pt>
                <c:pt idx="3484">
                  <c:v>All Others</c:v>
                </c:pt>
                <c:pt idx="3485">
                  <c:v>All Others</c:v>
                </c:pt>
                <c:pt idx="3486">
                  <c:v>All Others</c:v>
                </c:pt>
                <c:pt idx="3487">
                  <c:v>All Others</c:v>
                </c:pt>
                <c:pt idx="3488">
                  <c:v>All Others</c:v>
                </c:pt>
                <c:pt idx="3489">
                  <c:v>Private Lab</c:v>
                </c:pt>
                <c:pt idx="3490">
                  <c:v>All Others</c:v>
                </c:pt>
                <c:pt idx="3491">
                  <c:v>All Others</c:v>
                </c:pt>
                <c:pt idx="3492">
                  <c:v>All Others</c:v>
                </c:pt>
                <c:pt idx="3493">
                  <c:v>All Others</c:v>
                </c:pt>
                <c:pt idx="3494">
                  <c:v>Lactalis: A</c:v>
                </c:pt>
                <c:pt idx="3495">
                  <c:v>Boursin</c:v>
                </c:pt>
                <c:pt idx="3496">
                  <c:v>All Others</c:v>
                </c:pt>
                <c:pt idx="3497">
                  <c:v>Private Lab</c:v>
                </c:pt>
                <c:pt idx="3498">
                  <c:v>All Others</c:v>
                </c:pt>
                <c:pt idx="3499">
                  <c:v>All Others</c:v>
                </c:pt>
                <c:pt idx="3500">
                  <c:v>All Others</c:v>
                </c:pt>
                <c:pt idx="3501">
                  <c:v>All Others</c:v>
                </c:pt>
                <c:pt idx="3502">
                  <c:v>Private Lab</c:v>
                </c:pt>
                <c:pt idx="3503">
                  <c:v>All Others</c:v>
                </c:pt>
                <c:pt idx="3504">
                  <c:v>All Others</c:v>
                </c:pt>
                <c:pt idx="3505">
                  <c:v>All Others</c:v>
                </c:pt>
                <c:pt idx="3506">
                  <c:v>All Others</c:v>
                </c:pt>
                <c:pt idx="3507">
                  <c:v>All Others</c:v>
                </c:pt>
                <c:pt idx="3508">
                  <c:v>Bresse Bleu</c:v>
                </c:pt>
                <c:pt idx="3509">
                  <c:v>All Others</c:v>
                </c:pt>
                <c:pt idx="3510">
                  <c:v>All Others</c:v>
                </c:pt>
                <c:pt idx="3511">
                  <c:v>Casa Azzurr</c:v>
                </c:pt>
                <c:pt idx="3512">
                  <c:v>All Others</c:v>
                </c:pt>
                <c:pt idx="3513">
                  <c:v>All Others</c:v>
                </c:pt>
                <c:pt idx="3514">
                  <c:v>All Others</c:v>
                </c:pt>
                <c:pt idx="3515">
                  <c:v>All Others</c:v>
                </c:pt>
                <c:pt idx="3516">
                  <c:v>All Others</c:v>
                </c:pt>
                <c:pt idx="3517">
                  <c:v>All Others</c:v>
                </c:pt>
                <c:pt idx="3518">
                  <c:v>All Others</c:v>
                </c:pt>
                <c:pt idx="3519">
                  <c:v>All Others</c:v>
                </c:pt>
                <c:pt idx="3520">
                  <c:v>All Others</c:v>
                </c:pt>
                <c:pt idx="3521">
                  <c:v>All Others</c:v>
                </c:pt>
                <c:pt idx="3522">
                  <c:v>All Others</c:v>
                </c:pt>
                <c:pt idx="3523">
                  <c:v>All Others</c:v>
                </c:pt>
                <c:pt idx="3524">
                  <c:v>All Others</c:v>
                </c:pt>
                <c:pt idx="3525">
                  <c:v>All Others</c:v>
                </c:pt>
                <c:pt idx="3526">
                  <c:v>All Others</c:v>
                </c:pt>
                <c:pt idx="3527">
                  <c:v>Ficello</c:v>
                </c:pt>
                <c:pt idx="3528">
                  <c:v>Mini Babybe</c:v>
                </c:pt>
                <c:pt idx="3529">
                  <c:v>Private Lab</c:v>
                </c:pt>
                <c:pt idx="3530">
                  <c:v>All Others</c:v>
                </c:pt>
                <c:pt idx="3531">
                  <c:v>All Others</c:v>
                </c:pt>
                <c:pt idx="3532">
                  <c:v>All Others</c:v>
                </c:pt>
                <c:pt idx="3533">
                  <c:v>All Others</c:v>
                </c:pt>
                <c:pt idx="3534">
                  <c:v>Savencia: A</c:v>
                </c:pt>
                <c:pt idx="3535">
                  <c:v>All Others</c:v>
                </c:pt>
                <c:pt idx="3536">
                  <c:v>All Others</c:v>
                </c:pt>
                <c:pt idx="3537">
                  <c:v>Savencia: A</c:v>
                </c:pt>
                <c:pt idx="3538">
                  <c:v>All Others</c:v>
                </c:pt>
                <c:pt idx="3539">
                  <c:v>All Others</c:v>
                </c:pt>
                <c:pt idx="3540">
                  <c:v>All Others</c:v>
                </c:pt>
                <c:pt idx="3541">
                  <c:v>All Others</c:v>
                </c:pt>
                <c:pt idx="3542">
                  <c:v>Private Lab</c:v>
                </c:pt>
                <c:pt idx="3543">
                  <c:v>All Others</c:v>
                </c:pt>
                <c:pt idx="3544">
                  <c:v>All Others</c:v>
                </c:pt>
                <c:pt idx="3545">
                  <c:v>Private Lab</c:v>
                </c:pt>
              </c:strCache>
            </c:strRef>
          </c:cat>
          <c:val>
            <c:numRef>
              <c:f>Sheet1!$B$2:$B$3547</c:f>
              <c:numCache>
                <c:formatCode>General</c:formatCode>
                <c:ptCount val="3546"/>
                <c:pt idx="0">
                  <c:v>0.998</c:v>
                </c:pt>
                <c:pt idx="1">
                  <c:v>0.909</c:v>
                </c:pt>
                <c:pt idx="2">
                  <c:v>1.0</c:v>
                </c:pt>
                <c:pt idx="3">
                  <c:v>0.988</c:v>
                </c:pt>
                <c:pt idx="4">
                  <c:v>0.375</c:v>
                </c:pt>
                <c:pt idx="5">
                  <c:v>0.827</c:v>
                </c:pt>
                <c:pt idx="6">
                  <c:v>0.964</c:v>
                </c:pt>
                <c:pt idx="7">
                  <c:v>1.0</c:v>
                </c:pt>
                <c:pt idx="8">
                  <c:v>0.867</c:v>
                </c:pt>
                <c:pt idx="9">
                  <c:v>0.998</c:v>
                </c:pt>
                <c:pt idx="10">
                  <c:v>0.988</c:v>
                </c:pt>
                <c:pt idx="11">
                  <c:v>0.988</c:v>
                </c:pt>
                <c:pt idx="12">
                  <c:v>0.992</c:v>
                </c:pt>
                <c:pt idx="13">
                  <c:v>1.0</c:v>
                </c:pt>
                <c:pt idx="14">
                  <c:v>0.995</c:v>
                </c:pt>
                <c:pt idx="15">
                  <c:v>0.868</c:v>
                </c:pt>
                <c:pt idx="16">
                  <c:v>0.995</c:v>
                </c:pt>
                <c:pt idx="17">
                  <c:v>0.988</c:v>
                </c:pt>
                <c:pt idx="18">
                  <c:v>0.99</c:v>
                </c:pt>
                <c:pt idx="19">
                  <c:v>0.977</c:v>
                </c:pt>
                <c:pt idx="20">
                  <c:v>0.953</c:v>
                </c:pt>
                <c:pt idx="21">
                  <c:v>0.99</c:v>
                </c:pt>
                <c:pt idx="22">
                  <c:v>0.914</c:v>
                </c:pt>
                <c:pt idx="23">
                  <c:v>0.991</c:v>
                </c:pt>
                <c:pt idx="24">
                  <c:v>0.898</c:v>
                </c:pt>
                <c:pt idx="25">
                  <c:v>0.981</c:v>
                </c:pt>
                <c:pt idx="26">
                  <c:v>0.992</c:v>
                </c:pt>
                <c:pt idx="27">
                  <c:v>0.778</c:v>
                </c:pt>
                <c:pt idx="28">
                  <c:v>0.974</c:v>
                </c:pt>
                <c:pt idx="29">
                  <c:v>0.965</c:v>
                </c:pt>
                <c:pt idx="30">
                  <c:v>0.924</c:v>
                </c:pt>
                <c:pt idx="31">
                  <c:v>0.903</c:v>
                </c:pt>
                <c:pt idx="32">
                  <c:v>0.94</c:v>
                </c:pt>
                <c:pt idx="33">
                  <c:v>0.852</c:v>
                </c:pt>
                <c:pt idx="34">
                  <c:v>0.976</c:v>
                </c:pt>
                <c:pt idx="35">
                  <c:v>0.977</c:v>
                </c:pt>
                <c:pt idx="36">
                  <c:v>0.859</c:v>
                </c:pt>
                <c:pt idx="37">
                  <c:v>0.99</c:v>
                </c:pt>
                <c:pt idx="38">
                  <c:v>0.959</c:v>
                </c:pt>
                <c:pt idx="39">
                  <c:v>0.835</c:v>
                </c:pt>
                <c:pt idx="40">
                  <c:v>0.998</c:v>
                </c:pt>
                <c:pt idx="41">
                  <c:v>0.83</c:v>
                </c:pt>
                <c:pt idx="42">
                  <c:v>0.908</c:v>
                </c:pt>
                <c:pt idx="43">
                  <c:v>0.845</c:v>
                </c:pt>
                <c:pt idx="44">
                  <c:v>0.97</c:v>
                </c:pt>
                <c:pt idx="45">
                  <c:v>0.837</c:v>
                </c:pt>
                <c:pt idx="46">
                  <c:v>0.877</c:v>
                </c:pt>
                <c:pt idx="47">
                  <c:v>0.902</c:v>
                </c:pt>
                <c:pt idx="48">
                  <c:v>0.995</c:v>
                </c:pt>
                <c:pt idx="49">
                  <c:v>0.992</c:v>
                </c:pt>
                <c:pt idx="50">
                  <c:v>0.981</c:v>
                </c:pt>
                <c:pt idx="51">
                  <c:v>0.984</c:v>
                </c:pt>
                <c:pt idx="52">
                  <c:v>0.995</c:v>
                </c:pt>
                <c:pt idx="53">
                  <c:v>0.834</c:v>
                </c:pt>
                <c:pt idx="54">
                  <c:v>0.874</c:v>
                </c:pt>
                <c:pt idx="55">
                  <c:v>0.878</c:v>
                </c:pt>
                <c:pt idx="56">
                  <c:v>0.921</c:v>
                </c:pt>
                <c:pt idx="57">
                  <c:v>0.825</c:v>
                </c:pt>
                <c:pt idx="58">
                  <c:v>0.968</c:v>
                </c:pt>
                <c:pt idx="59">
                  <c:v>0.958</c:v>
                </c:pt>
                <c:pt idx="60">
                  <c:v>0.915</c:v>
                </c:pt>
                <c:pt idx="61">
                  <c:v>0.84</c:v>
                </c:pt>
                <c:pt idx="62">
                  <c:v>0.84</c:v>
                </c:pt>
                <c:pt idx="63">
                  <c:v>0.949</c:v>
                </c:pt>
                <c:pt idx="64">
                  <c:v>0.98</c:v>
                </c:pt>
                <c:pt idx="65">
                  <c:v>0.959</c:v>
                </c:pt>
                <c:pt idx="66">
                  <c:v>0.98</c:v>
                </c:pt>
                <c:pt idx="67">
                  <c:v>0.914</c:v>
                </c:pt>
                <c:pt idx="68">
                  <c:v>0.794</c:v>
                </c:pt>
                <c:pt idx="69">
                  <c:v>0.99</c:v>
                </c:pt>
                <c:pt idx="70">
                  <c:v>0.946</c:v>
                </c:pt>
                <c:pt idx="71">
                  <c:v>0.957</c:v>
                </c:pt>
                <c:pt idx="72">
                  <c:v>0.908</c:v>
                </c:pt>
                <c:pt idx="73">
                  <c:v>0.858</c:v>
                </c:pt>
                <c:pt idx="74">
                  <c:v>0.993</c:v>
                </c:pt>
                <c:pt idx="75">
                  <c:v>0.829</c:v>
                </c:pt>
                <c:pt idx="76">
                  <c:v>0.962</c:v>
                </c:pt>
                <c:pt idx="77">
                  <c:v>0.903</c:v>
                </c:pt>
                <c:pt idx="78">
                  <c:v>0.786</c:v>
                </c:pt>
                <c:pt idx="79">
                  <c:v>0.91</c:v>
                </c:pt>
                <c:pt idx="80">
                  <c:v>0.825</c:v>
                </c:pt>
                <c:pt idx="81">
                  <c:v>0.846</c:v>
                </c:pt>
                <c:pt idx="82">
                  <c:v>0.893</c:v>
                </c:pt>
                <c:pt idx="83">
                  <c:v>0.934</c:v>
                </c:pt>
                <c:pt idx="84">
                  <c:v>0.982</c:v>
                </c:pt>
                <c:pt idx="85">
                  <c:v>0.807</c:v>
                </c:pt>
                <c:pt idx="86">
                  <c:v>0.902</c:v>
                </c:pt>
                <c:pt idx="87">
                  <c:v>0.958</c:v>
                </c:pt>
                <c:pt idx="88">
                  <c:v>0.819</c:v>
                </c:pt>
                <c:pt idx="89">
                  <c:v>0.825</c:v>
                </c:pt>
                <c:pt idx="90">
                  <c:v>0.841</c:v>
                </c:pt>
                <c:pt idx="91">
                  <c:v>0.923</c:v>
                </c:pt>
                <c:pt idx="92">
                  <c:v>0.928</c:v>
                </c:pt>
                <c:pt idx="93">
                  <c:v>0.995</c:v>
                </c:pt>
                <c:pt idx="94">
                  <c:v>0.941</c:v>
                </c:pt>
                <c:pt idx="95">
                  <c:v>0.92</c:v>
                </c:pt>
                <c:pt idx="96">
                  <c:v>0.97</c:v>
                </c:pt>
                <c:pt idx="97">
                  <c:v>0.905</c:v>
                </c:pt>
                <c:pt idx="98">
                  <c:v>0.859</c:v>
                </c:pt>
                <c:pt idx="99">
                  <c:v>0.801</c:v>
                </c:pt>
                <c:pt idx="100">
                  <c:v>0.87</c:v>
                </c:pt>
                <c:pt idx="101">
                  <c:v>0.992</c:v>
                </c:pt>
                <c:pt idx="102">
                  <c:v>0.944</c:v>
                </c:pt>
                <c:pt idx="103">
                  <c:v>0.832</c:v>
                </c:pt>
                <c:pt idx="104">
                  <c:v>0.906</c:v>
                </c:pt>
                <c:pt idx="105">
                  <c:v>0.854</c:v>
                </c:pt>
                <c:pt idx="106">
                  <c:v>0.79</c:v>
                </c:pt>
                <c:pt idx="107">
                  <c:v>0.956</c:v>
                </c:pt>
                <c:pt idx="108">
                  <c:v>0.933</c:v>
                </c:pt>
                <c:pt idx="109">
                  <c:v>0.872</c:v>
                </c:pt>
                <c:pt idx="110">
                  <c:v>0.997</c:v>
                </c:pt>
                <c:pt idx="111">
                  <c:v>0.879</c:v>
                </c:pt>
                <c:pt idx="112">
                  <c:v>0.903</c:v>
                </c:pt>
                <c:pt idx="113">
                  <c:v>0.975</c:v>
                </c:pt>
                <c:pt idx="114">
                  <c:v>0.963</c:v>
                </c:pt>
                <c:pt idx="115">
                  <c:v>0.949</c:v>
                </c:pt>
                <c:pt idx="116">
                  <c:v>0.928</c:v>
                </c:pt>
                <c:pt idx="117">
                  <c:v>0.923</c:v>
                </c:pt>
                <c:pt idx="118">
                  <c:v>0.921</c:v>
                </c:pt>
                <c:pt idx="119">
                  <c:v>0.786</c:v>
                </c:pt>
                <c:pt idx="120">
                  <c:v>0.817</c:v>
                </c:pt>
                <c:pt idx="121">
                  <c:v>0.895</c:v>
                </c:pt>
                <c:pt idx="122">
                  <c:v>0.944</c:v>
                </c:pt>
                <c:pt idx="123">
                  <c:v>0.824</c:v>
                </c:pt>
                <c:pt idx="124">
                  <c:v>0.894</c:v>
                </c:pt>
                <c:pt idx="125">
                  <c:v>0.981</c:v>
                </c:pt>
                <c:pt idx="126">
                  <c:v>0.828</c:v>
                </c:pt>
                <c:pt idx="127">
                  <c:v>0.932</c:v>
                </c:pt>
                <c:pt idx="128">
                  <c:v>0.771</c:v>
                </c:pt>
                <c:pt idx="129">
                  <c:v>0.833</c:v>
                </c:pt>
                <c:pt idx="130">
                  <c:v>0.85</c:v>
                </c:pt>
                <c:pt idx="131">
                  <c:v>0.962</c:v>
                </c:pt>
                <c:pt idx="132">
                  <c:v>0.64</c:v>
                </c:pt>
                <c:pt idx="133">
                  <c:v>0.828</c:v>
                </c:pt>
                <c:pt idx="134">
                  <c:v>0.808</c:v>
                </c:pt>
                <c:pt idx="135">
                  <c:v>0.76</c:v>
                </c:pt>
                <c:pt idx="136">
                  <c:v>0.821</c:v>
                </c:pt>
                <c:pt idx="137">
                  <c:v>0.805</c:v>
                </c:pt>
                <c:pt idx="138">
                  <c:v>0.832</c:v>
                </c:pt>
                <c:pt idx="139">
                  <c:v>0.896</c:v>
                </c:pt>
                <c:pt idx="140">
                  <c:v>0.848</c:v>
                </c:pt>
                <c:pt idx="141">
                  <c:v>0.816</c:v>
                </c:pt>
                <c:pt idx="142">
                  <c:v>0.843</c:v>
                </c:pt>
                <c:pt idx="143">
                  <c:v>0.939</c:v>
                </c:pt>
                <c:pt idx="144">
                  <c:v>0.814</c:v>
                </c:pt>
                <c:pt idx="145">
                  <c:v>0.95</c:v>
                </c:pt>
                <c:pt idx="146">
                  <c:v>0.914</c:v>
                </c:pt>
                <c:pt idx="147">
                  <c:v>0.732</c:v>
                </c:pt>
                <c:pt idx="148">
                  <c:v>0.631</c:v>
                </c:pt>
                <c:pt idx="149">
                  <c:v>0.952</c:v>
                </c:pt>
                <c:pt idx="150">
                  <c:v>0.772</c:v>
                </c:pt>
                <c:pt idx="151">
                  <c:v>0.832</c:v>
                </c:pt>
                <c:pt idx="152">
                  <c:v>0.817</c:v>
                </c:pt>
                <c:pt idx="153">
                  <c:v>0.756</c:v>
                </c:pt>
                <c:pt idx="154">
                  <c:v>0.757</c:v>
                </c:pt>
                <c:pt idx="155">
                  <c:v>0.908</c:v>
                </c:pt>
                <c:pt idx="156">
                  <c:v>0.782</c:v>
                </c:pt>
                <c:pt idx="157">
                  <c:v>0.841</c:v>
                </c:pt>
                <c:pt idx="158">
                  <c:v>0.975</c:v>
                </c:pt>
                <c:pt idx="159">
                  <c:v>0.832</c:v>
                </c:pt>
                <c:pt idx="160">
                  <c:v>0.821</c:v>
                </c:pt>
                <c:pt idx="161">
                  <c:v>0.571</c:v>
                </c:pt>
                <c:pt idx="162">
                  <c:v>0.604</c:v>
                </c:pt>
                <c:pt idx="163">
                  <c:v>0.82</c:v>
                </c:pt>
                <c:pt idx="164">
                  <c:v>0.88</c:v>
                </c:pt>
                <c:pt idx="165">
                  <c:v>0.762</c:v>
                </c:pt>
                <c:pt idx="166">
                  <c:v>0.953</c:v>
                </c:pt>
                <c:pt idx="167">
                  <c:v>0.848</c:v>
                </c:pt>
                <c:pt idx="168">
                  <c:v>0.748</c:v>
                </c:pt>
                <c:pt idx="169">
                  <c:v>0.885</c:v>
                </c:pt>
                <c:pt idx="170">
                  <c:v>0.97</c:v>
                </c:pt>
                <c:pt idx="171">
                  <c:v>0.993</c:v>
                </c:pt>
                <c:pt idx="172">
                  <c:v>0.918</c:v>
                </c:pt>
                <c:pt idx="173">
                  <c:v>0.894</c:v>
                </c:pt>
                <c:pt idx="174">
                  <c:v>0.85</c:v>
                </c:pt>
                <c:pt idx="175">
                  <c:v>0.694</c:v>
                </c:pt>
                <c:pt idx="176">
                  <c:v>0.921</c:v>
                </c:pt>
                <c:pt idx="177">
                  <c:v>0.809</c:v>
                </c:pt>
                <c:pt idx="178">
                  <c:v>0.794</c:v>
                </c:pt>
                <c:pt idx="179">
                  <c:v>0.871</c:v>
                </c:pt>
                <c:pt idx="180">
                  <c:v>0.808</c:v>
                </c:pt>
                <c:pt idx="181">
                  <c:v>0.737</c:v>
                </c:pt>
                <c:pt idx="182">
                  <c:v>0.885</c:v>
                </c:pt>
                <c:pt idx="183">
                  <c:v>0.825</c:v>
                </c:pt>
                <c:pt idx="184">
                  <c:v>0.806</c:v>
                </c:pt>
                <c:pt idx="185">
                  <c:v>0.805</c:v>
                </c:pt>
                <c:pt idx="186">
                  <c:v>0.815</c:v>
                </c:pt>
                <c:pt idx="187">
                  <c:v>0.844</c:v>
                </c:pt>
                <c:pt idx="188">
                  <c:v>0.745</c:v>
                </c:pt>
                <c:pt idx="189">
                  <c:v>0.907</c:v>
                </c:pt>
                <c:pt idx="190">
                  <c:v>0.868</c:v>
                </c:pt>
                <c:pt idx="191">
                  <c:v>0.992</c:v>
                </c:pt>
                <c:pt idx="192">
                  <c:v>0.82</c:v>
                </c:pt>
                <c:pt idx="193">
                  <c:v>0.822</c:v>
                </c:pt>
                <c:pt idx="194">
                  <c:v>0.824</c:v>
                </c:pt>
                <c:pt idx="195">
                  <c:v>0.725</c:v>
                </c:pt>
                <c:pt idx="196">
                  <c:v>0.805</c:v>
                </c:pt>
                <c:pt idx="197">
                  <c:v>0.797</c:v>
                </c:pt>
                <c:pt idx="198">
                  <c:v>0.778</c:v>
                </c:pt>
                <c:pt idx="199">
                  <c:v>0.792</c:v>
                </c:pt>
                <c:pt idx="200">
                  <c:v>0.782</c:v>
                </c:pt>
                <c:pt idx="201">
                  <c:v>0.725</c:v>
                </c:pt>
                <c:pt idx="202">
                  <c:v>0.78</c:v>
                </c:pt>
                <c:pt idx="203">
                  <c:v>0.767</c:v>
                </c:pt>
                <c:pt idx="204">
                  <c:v>0.827</c:v>
                </c:pt>
                <c:pt idx="205">
                  <c:v>0.832</c:v>
                </c:pt>
                <c:pt idx="206">
                  <c:v>0.786</c:v>
                </c:pt>
                <c:pt idx="207">
                  <c:v>0.732</c:v>
                </c:pt>
                <c:pt idx="208">
                  <c:v>0.729</c:v>
                </c:pt>
                <c:pt idx="209">
                  <c:v>0.909</c:v>
                </c:pt>
                <c:pt idx="210">
                  <c:v>0.843</c:v>
                </c:pt>
                <c:pt idx="211">
                  <c:v>0.769</c:v>
                </c:pt>
                <c:pt idx="212">
                  <c:v>0.592</c:v>
                </c:pt>
                <c:pt idx="213">
                  <c:v>0.756</c:v>
                </c:pt>
                <c:pt idx="214">
                  <c:v>0.808</c:v>
                </c:pt>
                <c:pt idx="215">
                  <c:v>0.913</c:v>
                </c:pt>
                <c:pt idx="216">
                  <c:v>0.809</c:v>
                </c:pt>
                <c:pt idx="217">
                  <c:v>0.916</c:v>
                </c:pt>
                <c:pt idx="218">
                  <c:v>0.891</c:v>
                </c:pt>
                <c:pt idx="219">
                  <c:v>0.76</c:v>
                </c:pt>
                <c:pt idx="220">
                  <c:v>0.757</c:v>
                </c:pt>
                <c:pt idx="221">
                  <c:v>0.859</c:v>
                </c:pt>
                <c:pt idx="222">
                  <c:v>0.716</c:v>
                </c:pt>
                <c:pt idx="223">
                  <c:v>0.809</c:v>
                </c:pt>
                <c:pt idx="224">
                  <c:v>0.76</c:v>
                </c:pt>
                <c:pt idx="225">
                  <c:v>0.82</c:v>
                </c:pt>
                <c:pt idx="226">
                  <c:v>0.695</c:v>
                </c:pt>
                <c:pt idx="227">
                  <c:v>0.696</c:v>
                </c:pt>
                <c:pt idx="228">
                  <c:v>0.767</c:v>
                </c:pt>
                <c:pt idx="229">
                  <c:v>0.867</c:v>
                </c:pt>
                <c:pt idx="230">
                  <c:v>0.788</c:v>
                </c:pt>
                <c:pt idx="231">
                  <c:v>0.914</c:v>
                </c:pt>
                <c:pt idx="232">
                  <c:v>0.803</c:v>
                </c:pt>
                <c:pt idx="233">
                  <c:v>0.929</c:v>
                </c:pt>
                <c:pt idx="234">
                  <c:v>0.801</c:v>
                </c:pt>
                <c:pt idx="235">
                  <c:v>0.92</c:v>
                </c:pt>
                <c:pt idx="236">
                  <c:v>0.911</c:v>
                </c:pt>
                <c:pt idx="237">
                  <c:v>0.638</c:v>
                </c:pt>
                <c:pt idx="238">
                  <c:v>0.822</c:v>
                </c:pt>
                <c:pt idx="239">
                  <c:v>0.797</c:v>
                </c:pt>
                <c:pt idx="240">
                  <c:v>0.848</c:v>
                </c:pt>
                <c:pt idx="241">
                  <c:v>0.912</c:v>
                </c:pt>
                <c:pt idx="242">
                  <c:v>0.921</c:v>
                </c:pt>
                <c:pt idx="243">
                  <c:v>0.696</c:v>
                </c:pt>
                <c:pt idx="244">
                  <c:v>0.858</c:v>
                </c:pt>
                <c:pt idx="245">
                  <c:v>0.912</c:v>
                </c:pt>
                <c:pt idx="246">
                  <c:v>0.82</c:v>
                </c:pt>
                <c:pt idx="247">
                  <c:v>0.787</c:v>
                </c:pt>
                <c:pt idx="248">
                  <c:v>0.959</c:v>
                </c:pt>
                <c:pt idx="249">
                  <c:v>0.821</c:v>
                </c:pt>
                <c:pt idx="250">
                  <c:v>0.766</c:v>
                </c:pt>
                <c:pt idx="251">
                  <c:v>0.867</c:v>
                </c:pt>
                <c:pt idx="252">
                  <c:v>0.651</c:v>
                </c:pt>
                <c:pt idx="253">
                  <c:v>0.812</c:v>
                </c:pt>
                <c:pt idx="254">
                  <c:v>0.902</c:v>
                </c:pt>
                <c:pt idx="255">
                  <c:v>0.849</c:v>
                </c:pt>
                <c:pt idx="256">
                  <c:v>0.553</c:v>
                </c:pt>
                <c:pt idx="257">
                  <c:v>0.697</c:v>
                </c:pt>
                <c:pt idx="258">
                  <c:v>0.788</c:v>
                </c:pt>
                <c:pt idx="259">
                  <c:v>0.858</c:v>
                </c:pt>
                <c:pt idx="260">
                  <c:v>0.443</c:v>
                </c:pt>
                <c:pt idx="261">
                  <c:v>0.945</c:v>
                </c:pt>
                <c:pt idx="262">
                  <c:v>0.962</c:v>
                </c:pt>
                <c:pt idx="263">
                  <c:v>0.839</c:v>
                </c:pt>
                <c:pt idx="264">
                  <c:v>0.926</c:v>
                </c:pt>
                <c:pt idx="265">
                  <c:v>0.767</c:v>
                </c:pt>
                <c:pt idx="266">
                  <c:v>0.858</c:v>
                </c:pt>
                <c:pt idx="267">
                  <c:v>0.94</c:v>
                </c:pt>
                <c:pt idx="268">
                  <c:v>0.764</c:v>
                </c:pt>
                <c:pt idx="269">
                  <c:v>0.821</c:v>
                </c:pt>
                <c:pt idx="270">
                  <c:v>0.656</c:v>
                </c:pt>
                <c:pt idx="271">
                  <c:v>0.723</c:v>
                </c:pt>
                <c:pt idx="272">
                  <c:v>0.816</c:v>
                </c:pt>
                <c:pt idx="273">
                  <c:v>0.782</c:v>
                </c:pt>
                <c:pt idx="274">
                  <c:v>0.832</c:v>
                </c:pt>
                <c:pt idx="275">
                  <c:v>0.813</c:v>
                </c:pt>
                <c:pt idx="276">
                  <c:v>0.855</c:v>
                </c:pt>
                <c:pt idx="277">
                  <c:v>0.843</c:v>
                </c:pt>
                <c:pt idx="278">
                  <c:v>0.83</c:v>
                </c:pt>
                <c:pt idx="279">
                  <c:v>0.903</c:v>
                </c:pt>
                <c:pt idx="280">
                  <c:v>0.771</c:v>
                </c:pt>
                <c:pt idx="281">
                  <c:v>0.784</c:v>
                </c:pt>
                <c:pt idx="282">
                  <c:v>0.781</c:v>
                </c:pt>
                <c:pt idx="283">
                  <c:v>0.898</c:v>
                </c:pt>
                <c:pt idx="284">
                  <c:v>0.866</c:v>
                </c:pt>
                <c:pt idx="285">
                  <c:v>0.82</c:v>
                </c:pt>
                <c:pt idx="286">
                  <c:v>0.808</c:v>
                </c:pt>
                <c:pt idx="287">
                  <c:v>0.553</c:v>
                </c:pt>
                <c:pt idx="288">
                  <c:v>0.738</c:v>
                </c:pt>
                <c:pt idx="289">
                  <c:v>0.921</c:v>
                </c:pt>
                <c:pt idx="290">
                  <c:v>0.726</c:v>
                </c:pt>
                <c:pt idx="291">
                  <c:v>0.657</c:v>
                </c:pt>
                <c:pt idx="292">
                  <c:v>0.958</c:v>
                </c:pt>
                <c:pt idx="293">
                  <c:v>0.763</c:v>
                </c:pt>
                <c:pt idx="294">
                  <c:v>0.66</c:v>
                </c:pt>
                <c:pt idx="295">
                  <c:v>0.764</c:v>
                </c:pt>
                <c:pt idx="296">
                  <c:v>0.787</c:v>
                </c:pt>
                <c:pt idx="297">
                  <c:v>0.711</c:v>
                </c:pt>
                <c:pt idx="298">
                  <c:v>0.654</c:v>
                </c:pt>
                <c:pt idx="299">
                  <c:v>0.823</c:v>
                </c:pt>
                <c:pt idx="300">
                  <c:v>0.946</c:v>
                </c:pt>
                <c:pt idx="301">
                  <c:v>0.651</c:v>
                </c:pt>
                <c:pt idx="302">
                  <c:v>0.64</c:v>
                </c:pt>
                <c:pt idx="303">
                  <c:v>0.816</c:v>
                </c:pt>
                <c:pt idx="304">
                  <c:v>0.736</c:v>
                </c:pt>
                <c:pt idx="305">
                  <c:v>0.661</c:v>
                </c:pt>
                <c:pt idx="306">
                  <c:v>0.76</c:v>
                </c:pt>
                <c:pt idx="307">
                  <c:v>0.845</c:v>
                </c:pt>
                <c:pt idx="308">
                  <c:v>0.805</c:v>
                </c:pt>
                <c:pt idx="309">
                  <c:v>0.705</c:v>
                </c:pt>
                <c:pt idx="310">
                  <c:v>0.767</c:v>
                </c:pt>
                <c:pt idx="311">
                  <c:v>0.447</c:v>
                </c:pt>
                <c:pt idx="312">
                  <c:v>0.002</c:v>
                </c:pt>
                <c:pt idx="313">
                  <c:v>0.854</c:v>
                </c:pt>
                <c:pt idx="314">
                  <c:v>0.656</c:v>
                </c:pt>
                <c:pt idx="315">
                  <c:v>0.7</c:v>
                </c:pt>
                <c:pt idx="316">
                  <c:v>0.403</c:v>
                </c:pt>
                <c:pt idx="317">
                  <c:v>0.602</c:v>
                </c:pt>
                <c:pt idx="318">
                  <c:v>0.955</c:v>
                </c:pt>
                <c:pt idx="319">
                  <c:v>0.781</c:v>
                </c:pt>
                <c:pt idx="320">
                  <c:v>0.873</c:v>
                </c:pt>
                <c:pt idx="321">
                  <c:v>0.709</c:v>
                </c:pt>
                <c:pt idx="322">
                  <c:v>0.812</c:v>
                </c:pt>
                <c:pt idx="323">
                  <c:v>0.751</c:v>
                </c:pt>
                <c:pt idx="324">
                  <c:v>0.867</c:v>
                </c:pt>
                <c:pt idx="325">
                  <c:v>0.792</c:v>
                </c:pt>
                <c:pt idx="326">
                  <c:v>0.712</c:v>
                </c:pt>
                <c:pt idx="327">
                  <c:v>0.805</c:v>
                </c:pt>
                <c:pt idx="328">
                  <c:v>0.887</c:v>
                </c:pt>
                <c:pt idx="329">
                  <c:v>0.623</c:v>
                </c:pt>
                <c:pt idx="330">
                  <c:v>0.688</c:v>
                </c:pt>
                <c:pt idx="331">
                  <c:v>0.816</c:v>
                </c:pt>
                <c:pt idx="332">
                  <c:v>0.78</c:v>
                </c:pt>
                <c:pt idx="333">
                  <c:v>0.949</c:v>
                </c:pt>
                <c:pt idx="334">
                  <c:v>0.699</c:v>
                </c:pt>
                <c:pt idx="335">
                  <c:v>0.817</c:v>
                </c:pt>
                <c:pt idx="336">
                  <c:v>0.447</c:v>
                </c:pt>
                <c:pt idx="337">
                  <c:v>0.89</c:v>
                </c:pt>
                <c:pt idx="338">
                  <c:v>0.877</c:v>
                </c:pt>
                <c:pt idx="339">
                  <c:v>0.683</c:v>
                </c:pt>
                <c:pt idx="340">
                  <c:v>0.822</c:v>
                </c:pt>
                <c:pt idx="341">
                  <c:v>0.396</c:v>
                </c:pt>
                <c:pt idx="342">
                  <c:v>0.764</c:v>
                </c:pt>
                <c:pt idx="343">
                  <c:v>0.646</c:v>
                </c:pt>
                <c:pt idx="344">
                  <c:v>0.853</c:v>
                </c:pt>
                <c:pt idx="345">
                  <c:v>0.794</c:v>
                </c:pt>
                <c:pt idx="346">
                  <c:v>0.693</c:v>
                </c:pt>
                <c:pt idx="347">
                  <c:v>0.82</c:v>
                </c:pt>
                <c:pt idx="348">
                  <c:v>0.804</c:v>
                </c:pt>
                <c:pt idx="349">
                  <c:v>0.774</c:v>
                </c:pt>
                <c:pt idx="350">
                  <c:v>0.767</c:v>
                </c:pt>
                <c:pt idx="351">
                  <c:v>0.663</c:v>
                </c:pt>
                <c:pt idx="352">
                  <c:v>0.866</c:v>
                </c:pt>
                <c:pt idx="353">
                  <c:v>0.456</c:v>
                </c:pt>
                <c:pt idx="354">
                  <c:v>0.739</c:v>
                </c:pt>
                <c:pt idx="355">
                  <c:v>0.752</c:v>
                </c:pt>
                <c:pt idx="356">
                  <c:v>0.924</c:v>
                </c:pt>
                <c:pt idx="357">
                  <c:v>0.754</c:v>
                </c:pt>
                <c:pt idx="358">
                  <c:v>0.603</c:v>
                </c:pt>
                <c:pt idx="359">
                  <c:v>0.606</c:v>
                </c:pt>
                <c:pt idx="360">
                  <c:v>0.619</c:v>
                </c:pt>
                <c:pt idx="361">
                  <c:v>0.716</c:v>
                </c:pt>
                <c:pt idx="362">
                  <c:v>0.825</c:v>
                </c:pt>
                <c:pt idx="363">
                  <c:v>0.681</c:v>
                </c:pt>
                <c:pt idx="364">
                  <c:v>0.782</c:v>
                </c:pt>
                <c:pt idx="365">
                  <c:v>0.793</c:v>
                </c:pt>
                <c:pt idx="366">
                  <c:v>0.732</c:v>
                </c:pt>
                <c:pt idx="367">
                  <c:v>0.437</c:v>
                </c:pt>
                <c:pt idx="368">
                  <c:v>0.815</c:v>
                </c:pt>
                <c:pt idx="369">
                  <c:v>0.789</c:v>
                </c:pt>
                <c:pt idx="370">
                  <c:v>0.789</c:v>
                </c:pt>
                <c:pt idx="371">
                  <c:v>0.779</c:v>
                </c:pt>
                <c:pt idx="372">
                  <c:v>0.779</c:v>
                </c:pt>
                <c:pt idx="373">
                  <c:v>0.754</c:v>
                </c:pt>
                <c:pt idx="374">
                  <c:v>0.54</c:v>
                </c:pt>
                <c:pt idx="375">
                  <c:v>0.753</c:v>
                </c:pt>
                <c:pt idx="376">
                  <c:v>0.626</c:v>
                </c:pt>
                <c:pt idx="377">
                  <c:v>0.79</c:v>
                </c:pt>
                <c:pt idx="378">
                  <c:v>0.665</c:v>
                </c:pt>
                <c:pt idx="379">
                  <c:v>0.735</c:v>
                </c:pt>
                <c:pt idx="380">
                  <c:v>0.86</c:v>
                </c:pt>
                <c:pt idx="381">
                  <c:v>0.652</c:v>
                </c:pt>
                <c:pt idx="382">
                  <c:v>0.866</c:v>
                </c:pt>
                <c:pt idx="383">
                  <c:v>0.867</c:v>
                </c:pt>
                <c:pt idx="384">
                  <c:v>0.748</c:v>
                </c:pt>
                <c:pt idx="385">
                  <c:v>0.865</c:v>
                </c:pt>
                <c:pt idx="386">
                  <c:v>0.353</c:v>
                </c:pt>
                <c:pt idx="387">
                  <c:v>0.741</c:v>
                </c:pt>
                <c:pt idx="388">
                  <c:v>0.829</c:v>
                </c:pt>
                <c:pt idx="389">
                  <c:v>0.832</c:v>
                </c:pt>
                <c:pt idx="390">
                  <c:v>0.447</c:v>
                </c:pt>
                <c:pt idx="391">
                  <c:v>0.88</c:v>
                </c:pt>
                <c:pt idx="392">
                  <c:v>0.623</c:v>
                </c:pt>
                <c:pt idx="393">
                  <c:v>0.778</c:v>
                </c:pt>
                <c:pt idx="394">
                  <c:v>0.394</c:v>
                </c:pt>
                <c:pt idx="395">
                  <c:v>0.779</c:v>
                </c:pt>
                <c:pt idx="396">
                  <c:v>0.678</c:v>
                </c:pt>
                <c:pt idx="397">
                  <c:v>0.655</c:v>
                </c:pt>
                <c:pt idx="398">
                  <c:v>0.786</c:v>
                </c:pt>
                <c:pt idx="399">
                  <c:v>0.805</c:v>
                </c:pt>
                <c:pt idx="400">
                  <c:v>0.641</c:v>
                </c:pt>
                <c:pt idx="401">
                  <c:v>0.709</c:v>
                </c:pt>
                <c:pt idx="402">
                  <c:v>0.774</c:v>
                </c:pt>
                <c:pt idx="403">
                  <c:v>0.669</c:v>
                </c:pt>
                <c:pt idx="404">
                  <c:v>0.394</c:v>
                </c:pt>
                <c:pt idx="405">
                  <c:v>0.74</c:v>
                </c:pt>
                <c:pt idx="406">
                  <c:v>0.812</c:v>
                </c:pt>
                <c:pt idx="407">
                  <c:v>0.411</c:v>
                </c:pt>
                <c:pt idx="408">
                  <c:v>0.778</c:v>
                </c:pt>
                <c:pt idx="409">
                  <c:v>0.824</c:v>
                </c:pt>
                <c:pt idx="410">
                  <c:v>0.83</c:v>
                </c:pt>
                <c:pt idx="411">
                  <c:v>0.635</c:v>
                </c:pt>
                <c:pt idx="412">
                  <c:v>0.675</c:v>
                </c:pt>
                <c:pt idx="413">
                  <c:v>0.82</c:v>
                </c:pt>
                <c:pt idx="414">
                  <c:v>0.636</c:v>
                </c:pt>
                <c:pt idx="415">
                  <c:v>0.634</c:v>
                </c:pt>
                <c:pt idx="416">
                  <c:v>0.646</c:v>
                </c:pt>
                <c:pt idx="417">
                  <c:v>0.665</c:v>
                </c:pt>
                <c:pt idx="418">
                  <c:v>0.857</c:v>
                </c:pt>
                <c:pt idx="419">
                  <c:v>0.618</c:v>
                </c:pt>
                <c:pt idx="420">
                  <c:v>0.692</c:v>
                </c:pt>
                <c:pt idx="421">
                  <c:v>0.456</c:v>
                </c:pt>
                <c:pt idx="422">
                  <c:v>0.641</c:v>
                </c:pt>
                <c:pt idx="423">
                  <c:v>0.672</c:v>
                </c:pt>
                <c:pt idx="424">
                  <c:v>0.456</c:v>
                </c:pt>
                <c:pt idx="425">
                  <c:v>0.452</c:v>
                </c:pt>
                <c:pt idx="426">
                  <c:v>0.79</c:v>
                </c:pt>
                <c:pt idx="427">
                  <c:v>0.352</c:v>
                </c:pt>
                <c:pt idx="428">
                  <c:v>0.679</c:v>
                </c:pt>
                <c:pt idx="429">
                  <c:v>0.36</c:v>
                </c:pt>
                <c:pt idx="430">
                  <c:v>0.812</c:v>
                </c:pt>
                <c:pt idx="431">
                  <c:v>0.494</c:v>
                </c:pt>
                <c:pt idx="432">
                  <c:v>0.846</c:v>
                </c:pt>
                <c:pt idx="433">
                  <c:v>0.106</c:v>
                </c:pt>
                <c:pt idx="434">
                  <c:v>0.55</c:v>
                </c:pt>
                <c:pt idx="435">
                  <c:v>0.723</c:v>
                </c:pt>
                <c:pt idx="436">
                  <c:v>0.434</c:v>
                </c:pt>
                <c:pt idx="437">
                  <c:v>0.281</c:v>
                </c:pt>
                <c:pt idx="438">
                  <c:v>0.608</c:v>
                </c:pt>
                <c:pt idx="439">
                  <c:v>0.399</c:v>
                </c:pt>
                <c:pt idx="440">
                  <c:v>0.889</c:v>
                </c:pt>
                <c:pt idx="441">
                  <c:v>0.633</c:v>
                </c:pt>
                <c:pt idx="442">
                  <c:v>0.651</c:v>
                </c:pt>
                <c:pt idx="443">
                  <c:v>0.686</c:v>
                </c:pt>
                <c:pt idx="444">
                  <c:v>0.709</c:v>
                </c:pt>
                <c:pt idx="445">
                  <c:v>0.393</c:v>
                </c:pt>
                <c:pt idx="446">
                  <c:v>0.03</c:v>
                </c:pt>
                <c:pt idx="447">
                  <c:v>0.447</c:v>
                </c:pt>
                <c:pt idx="448">
                  <c:v>0.659</c:v>
                </c:pt>
                <c:pt idx="449">
                  <c:v>0.632</c:v>
                </c:pt>
                <c:pt idx="450">
                  <c:v>0.77</c:v>
                </c:pt>
                <c:pt idx="451">
                  <c:v>0.778</c:v>
                </c:pt>
                <c:pt idx="452">
                  <c:v>0.663</c:v>
                </c:pt>
                <c:pt idx="453">
                  <c:v>0.643</c:v>
                </c:pt>
                <c:pt idx="454">
                  <c:v>0.683</c:v>
                </c:pt>
                <c:pt idx="455">
                  <c:v>0.758</c:v>
                </c:pt>
                <c:pt idx="456">
                  <c:v>0.668</c:v>
                </c:pt>
                <c:pt idx="457">
                  <c:v>0.618</c:v>
                </c:pt>
                <c:pt idx="458">
                  <c:v>0.636</c:v>
                </c:pt>
                <c:pt idx="459">
                  <c:v>0.588</c:v>
                </c:pt>
                <c:pt idx="460">
                  <c:v>0.698</c:v>
                </c:pt>
                <c:pt idx="461">
                  <c:v>0.186</c:v>
                </c:pt>
                <c:pt idx="462">
                  <c:v>0.709</c:v>
                </c:pt>
                <c:pt idx="463">
                  <c:v>0.587</c:v>
                </c:pt>
                <c:pt idx="464">
                  <c:v>0.781</c:v>
                </c:pt>
                <c:pt idx="465">
                  <c:v>0.853</c:v>
                </c:pt>
                <c:pt idx="466">
                  <c:v>0.302</c:v>
                </c:pt>
                <c:pt idx="467">
                  <c:v>0.63</c:v>
                </c:pt>
                <c:pt idx="468">
                  <c:v>0.798</c:v>
                </c:pt>
                <c:pt idx="469">
                  <c:v>0.813</c:v>
                </c:pt>
                <c:pt idx="470">
                  <c:v>0.527</c:v>
                </c:pt>
                <c:pt idx="471">
                  <c:v>0.228</c:v>
                </c:pt>
                <c:pt idx="472">
                  <c:v>0.291</c:v>
                </c:pt>
                <c:pt idx="473">
                  <c:v>0.597</c:v>
                </c:pt>
                <c:pt idx="474">
                  <c:v>0.596</c:v>
                </c:pt>
                <c:pt idx="475">
                  <c:v>0.425</c:v>
                </c:pt>
                <c:pt idx="476">
                  <c:v>0.817</c:v>
                </c:pt>
                <c:pt idx="477">
                  <c:v>0.434</c:v>
                </c:pt>
                <c:pt idx="478">
                  <c:v>0.694</c:v>
                </c:pt>
                <c:pt idx="479">
                  <c:v>0.594</c:v>
                </c:pt>
                <c:pt idx="480">
                  <c:v>0.758</c:v>
                </c:pt>
                <c:pt idx="481">
                  <c:v>0.752</c:v>
                </c:pt>
                <c:pt idx="482">
                  <c:v>0.693</c:v>
                </c:pt>
                <c:pt idx="483">
                  <c:v>0.795</c:v>
                </c:pt>
                <c:pt idx="484">
                  <c:v>0.786</c:v>
                </c:pt>
                <c:pt idx="485">
                  <c:v>0.823</c:v>
                </c:pt>
                <c:pt idx="486">
                  <c:v>0.411</c:v>
                </c:pt>
                <c:pt idx="487">
                  <c:v>0.638</c:v>
                </c:pt>
                <c:pt idx="488">
                  <c:v>0.494</c:v>
                </c:pt>
                <c:pt idx="489">
                  <c:v>0.713</c:v>
                </c:pt>
                <c:pt idx="490">
                  <c:v>0.759</c:v>
                </c:pt>
                <c:pt idx="491">
                  <c:v>0.64</c:v>
                </c:pt>
                <c:pt idx="492">
                  <c:v>0.721</c:v>
                </c:pt>
                <c:pt idx="493">
                  <c:v>0.354</c:v>
                </c:pt>
                <c:pt idx="494">
                  <c:v>0.727</c:v>
                </c:pt>
                <c:pt idx="495">
                  <c:v>0.471</c:v>
                </c:pt>
                <c:pt idx="496">
                  <c:v>0.696</c:v>
                </c:pt>
                <c:pt idx="497">
                  <c:v>0.57</c:v>
                </c:pt>
                <c:pt idx="498">
                  <c:v>0.599</c:v>
                </c:pt>
                <c:pt idx="499">
                  <c:v>0.76</c:v>
                </c:pt>
                <c:pt idx="500">
                  <c:v>0.8</c:v>
                </c:pt>
                <c:pt idx="501">
                  <c:v>0.617</c:v>
                </c:pt>
                <c:pt idx="502">
                  <c:v>0.402</c:v>
                </c:pt>
                <c:pt idx="503">
                  <c:v>0.568</c:v>
                </c:pt>
                <c:pt idx="504">
                  <c:v>0.463</c:v>
                </c:pt>
                <c:pt idx="505">
                  <c:v>0.577</c:v>
                </c:pt>
                <c:pt idx="506">
                  <c:v>0.689</c:v>
                </c:pt>
                <c:pt idx="507">
                  <c:v>0.721</c:v>
                </c:pt>
                <c:pt idx="508">
                  <c:v>0.804</c:v>
                </c:pt>
                <c:pt idx="509">
                  <c:v>0.757</c:v>
                </c:pt>
                <c:pt idx="510">
                  <c:v>0.666</c:v>
                </c:pt>
                <c:pt idx="511">
                  <c:v>0.773</c:v>
                </c:pt>
                <c:pt idx="512">
                  <c:v>0.683</c:v>
                </c:pt>
                <c:pt idx="513">
                  <c:v>0.864</c:v>
                </c:pt>
                <c:pt idx="514">
                  <c:v>0.483</c:v>
                </c:pt>
                <c:pt idx="515">
                  <c:v>0.589</c:v>
                </c:pt>
                <c:pt idx="516">
                  <c:v>0.61</c:v>
                </c:pt>
                <c:pt idx="517">
                  <c:v>0.677</c:v>
                </c:pt>
                <c:pt idx="518">
                  <c:v>0.534</c:v>
                </c:pt>
                <c:pt idx="519">
                  <c:v>0.569</c:v>
                </c:pt>
                <c:pt idx="520">
                  <c:v>0.672</c:v>
                </c:pt>
                <c:pt idx="521">
                  <c:v>0.426</c:v>
                </c:pt>
                <c:pt idx="522">
                  <c:v>0.318</c:v>
                </c:pt>
                <c:pt idx="523">
                  <c:v>0.687</c:v>
                </c:pt>
                <c:pt idx="524">
                  <c:v>0.726</c:v>
                </c:pt>
                <c:pt idx="525">
                  <c:v>0.526</c:v>
                </c:pt>
                <c:pt idx="526">
                  <c:v>0.742</c:v>
                </c:pt>
                <c:pt idx="527">
                  <c:v>0.495</c:v>
                </c:pt>
                <c:pt idx="528">
                  <c:v>0.71</c:v>
                </c:pt>
                <c:pt idx="529">
                  <c:v>0.75</c:v>
                </c:pt>
                <c:pt idx="530">
                  <c:v>0.411</c:v>
                </c:pt>
                <c:pt idx="531">
                  <c:v>0.672</c:v>
                </c:pt>
                <c:pt idx="532">
                  <c:v>0.272</c:v>
                </c:pt>
                <c:pt idx="533">
                  <c:v>0.671</c:v>
                </c:pt>
                <c:pt idx="534">
                  <c:v>0.736</c:v>
                </c:pt>
                <c:pt idx="535">
                  <c:v>0.454</c:v>
                </c:pt>
                <c:pt idx="536">
                  <c:v>0.687</c:v>
                </c:pt>
                <c:pt idx="537">
                  <c:v>0.574</c:v>
                </c:pt>
                <c:pt idx="538">
                  <c:v>0.731</c:v>
                </c:pt>
                <c:pt idx="539">
                  <c:v>0.438</c:v>
                </c:pt>
                <c:pt idx="540">
                  <c:v>0.615</c:v>
                </c:pt>
                <c:pt idx="541">
                  <c:v>0.587</c:v>
                </c:pt>
                <c:pt idx="542">
                  <c:v>0.433</c:v>
                </c:pt>
                <c:pt idx="543">
                  <c:v>0.593</c:v>
                </c:pt>
                <c:pt idx="544">
                  <c:v>0.505</c:v>
                </c:pt>
                <c:pt idx="545">
                  <c:v>0.452</c:v>
                </c:pt>
                <c:pt idx="546">
                  <c:v>0.577</c:v>
                </c:pt>
                <c:pt idx="547">
                  <c:v>0.689</c:v>
                </c:pt>
                <c:pt idx="548">
                  <c:v>0.656</c:v>
                </c:pt>
                <c:pt idx="549">
                  <c:v>0.456</c:v>
                </c:pt>
                <c:pt idx="550">
                  <c:v>0.393</c:v>
                </c:pt>
                <c:pt idx="551">
                  <c:v>0.42</c:v>
                </c:pt>
                <c:pt idx="552">
                  <c:v>0.801</c:v>
                </c:pt>
                <c:pt idx="553">
                  <c:v>0.434</c:v>
                </c:pt>
                <c:pt idx="554">
                  <c:v>0.526</c:v>
                </c:pt>
                <c:pt idx="555">
                  <c:v>0.546</c:v>
                </c:pt>
                <c:pt idx="556">
                  <c:v>0.643</c:v>
                </c:pt>
                <c:pt idx="557">
                  <c:v>0.443</c:v>
                </c:pt>
                <c:pt idx="558">
                  <c:v>0.497</c:v>
                </c:pt>
                <c:pt idx="559">
                  <c:v>0.613</c:v>
                </c:pt>
                <c:pt idx="560">
                  <c:v>0.676</c:v>
                </c:pt>
                <c:pt idx="561">
                  <c:v>0.644</c:v>
                </c:pt>
                <c:pt idx="562">
                  <c:v>0.574</c:v>
                </c:pt>
                <c:pt idx="563">
                  <c:v>0.612</c:v>
                </c:pt>
                <c:pt idx="564">
                  <c:v>0.443</c:v>
                </c:pt>
                <c:pt idx="565">
                  <c:v>0.429</c:v>
                </c:pt>
                <c:pt idx="566">
                  <c:v>0.516</c:v>
                </c:pt>
                <c:pt idx="567">
                  <c:v>0.621</c:v>
                </c:pt>
                <c:pt idx="568">
                  <c:v>0.736</c:v>
                </c:pt>
                <c:pt idx="569">
                  <c:v>0.841</c:v>
                </c:pt>
                <c:pt idx="570">
                  <c:v>0.546</c:v>
                </c:pt>
                <c:pt idx="571">
                  <c:v>0.72</c:v>
                </c:pt>
                <c:pt idx="572">
                  <c:v>0.804</c:v>
                </c:pt>
                <c:pt idx="573">
                  <c:v>0.608</c:v>
                </c:pt>
                <c:pt idx="574">
                  <c:v>0.327</c:v>
                </c:pt>
                <c:pt idx="575">
                  <c:v>0.754</c:v>
                </c:pt>
                <c:pt idx="576">
                  <c:v>0.437</c:v>
                </c:pt>
                <c:pt idx="577">
                  <c:v>0.329</c:v>
                </c:pt>
                <c:pt idx="578">
                  <c:v>0.486</c:v>
                </c:pt>
                <c:pt idx="579">
                  <c:v>0.451</c:v>
                </c:pt>
                <c:pt idx="580">
                  <c:v>0.78</c:v>
                </c:pt>
                <c:pt idx="581">
                  <c:v>0.763</c:v>
                </c:pt>
                <c:pt idx="582">
                  <c:v>0.552</c:v>
                </c:pt>
                <c:pt idx="583">
                  <c:v>0.502</c:v>
                </c:pt>
                <c:pt idx="584">
                  <c:v>0.373</c:v>
                </c:pt>
                <c:pt idx="585">
                  <c:v>0.693</c:v>
                </c:pt>
                <c:pt idx="586">
                  <c:v>0.508</c:v>
                </c:pt>
                <c:pt idx="587">
                  <c:v>0.337</c:v>
                </c:pt>
                <c:pt idx="588">
                  <c:v>0.625</c:v>
                </c:pt>
                <c:pt idx="589">
                  <c:v>0.67</c:v>
                </c:pt>
                <c:pt idx="590">
                  <c:v>0.789</c:v>
                </c:pt>
                <c:pt idx="591">
                  <c:v>0.451</c:v>
                </c:pt>
                <c:pt idx="592">
                  <c:v>0.748</c:v>
                </c:pt>
                <c:pt idx="593">
                  <c:v>0.792</c:v>
                </c:pt>
                <c:pt idx="594">
                  <c:v>0.546</c:v>
                </c:pt>
                <c:pt idx="595">
                  <c:v>0.736</c:v>
                </c:pt>
                <c:pt idx="596">
                  <c:v>0.741</c:v>
                </c:pt>
                <c:pt idx="597">
                  <c:v>0.452</c:v>
                </c:pt>
                <c:pt idx="598">
                  <c:v>0.652</c:v>
                </c:pt>
                <c:pt idx="599">
                  <c:v>0.587</c:v>
                </c:pt>
                <c:pt idx="600">
                  <c:v>0.603</c:v>
                </c:pt>
                <c:pt idx="601">
                  <c:v>0.68</c:v>
                </c:pt>
                <c:pt idx="602">
                  <c:v>0.436</c:v>
                </c:pt>
                <c:pt idx="603">
                  <c:v>0.596</c:v>
                </c:pt>
                <c:pt idx="604">
                  <c:v>0.516</c:v>
                </c:pt>
                <c:pt idx="605">
                  <c:v>0.591</c:v>
                </c:pt>
                <c:pt idx="606">
                  <c:v>0.606</c:v>
                </c:pt>
                <c:pt idx="607">
                  <c:v>0.687</c:v>
                </c:pt>
                <c:pt idx="608">
                  <c:v>0.706</c:v>
                </c:pt>
                <c:pt idx="609">
                  <c:v>0.405</c:v>
                </c:pt>
                <c:pt idx="610">
                  <c:v>0.601</c:v>
                </c:pt>
                <c:pt idx="611">
                  <c:v>0.697</c:v>
                </c:pt>
                <c:pt idx="612">
                  <c:v>0.535</c:v>
                </c:pt>
                <c:pt idx="613">
                  <c:v>0.526</c:v>
                </c:pt>
                <c:pt idx="614">
                  <c:v>0.603</c:v>
                </c:pt>
                <c:pt idx="615">
                  <c:v>0.229</c:v>
                </c:pt>
                <c:pt idx="616">
                  <c:v>0.627</c:v>
                </c:pt>
                <c:pt idx="617">
                  <c:v>0.623</c:v>
                </c:pt>
                <c:pt idx="618">
                  <c:v>0.434</c:v>
                </c:pt>
                <c:pt idx="619">
                  <c:v>0.548</c:v>
                </c:pt>
                <c:pt idx="620">
                  <c:v>0.612</c:v>
                </c:pt>
                <c:pt idx="621">
                  <c:v>0.581</c:v>
                </c:pt>
                <c:pt idx="622">
                  <c:v>0.537</c:v>
                </c:pt>
                <c:pt idx="623">
                  <c:v>0.642</c:v>
                </c:pt>
                <c:pt idx="624">
                  <c:v>0.647</c:v>
                </c:pt>
                <c:pt idx="625">
                  <c:v>0.511</c:v>
                </c:pt>
                <c:pt idx="626">
                  <c:v>0.494</c:v>
                </c:pt>
                <c:pt idx="627">
                  <c:v>0.374</c:v>
                </c:pt>
                <c:pt idx="628">
                  <c:v>0.207</c:v>
                </c:pt>
                <c:pt idx="629">
                  <c:v>0.632</c:v>
                </c:pt>
                <c:pt idx="630">
                  <c:v>0.383</c:v>
                </c:pt>
                <c:pt idx="631">
                  <c:v>0.751</c:v>
                </c:pt>
                <c:pt idx="632">
                  <c:v>0.596</c:v>
                </c:pt>
                <c:pt idx="633">
                  <c:v>0.408</c:v>
                </c:pt>
                <c:pt idx="634">
                  <c:v>0.068</c:v>
                </c:pt>
                <c:pt idx="635">
                  <c:v>0.466</c:v>
                </c:pt>
                <c:pt idx="636">
                  <c:v>0.354</c:v>
                </c:pt>
                <c:pt idx="637">
                  <c:v>0.369</c:v>
                </c:pt>
                <c:pt idx="638">
                  <c:v>0.42</c:v>
                </c:pt>
                <c:pt idx="639">
                  <c:v>0.745</c:v>
                </c:pt>
                <c:pt idx="640">
                  <c:v>0.411</c:v>
                </c:pt>
                <c:pt idx="641">
                  <c:v>0.579</c:v>
                </c:pt>
                <c:pt idx="642">
                  <c:v>0.64</c:v>
                </c:pt>
                <c:pt idx="643">
                  <c:v>0.529</c:v>
                </c:pt>
                <c:pt idx="644">
                  <c:v>0.453</c:v>
                </c:pt>
                <c:pt idx="645">
                  <c:v>0.61</c:v>
                </c:pt>
                <c:pt idx="646">
                  <c:v>0.497</c:v>
                </c:pt>
                <c:pt idx="647">
                  <c:v>0.424</c:v>
                </c:pt>
                <c:pt idx="648">
                  <c:v>0.603</c:v>
                </c:pt>
                <c:pt idx="649">
                  <c:v>0.724</c:v>
                </c:pt>
                <c:pt idx="650">
                  <c:v>0.284</c:v>
                </c:pt>
                <c:pt idx="651">
                  <c:v>0.044</c:v>
                </c:pt>
                <c:pt idx="652">
                  <c:v>0.488</c:v>
                </c:pt>
                <c:pt idx="653">
                  <c:v>0.106</c:v>
                </c:pt>
                <c:pt idx="654">
                  <c:v>0.1</c:v>
                </c:pt>
                <c:pt idx="655">
                  <c:v>0.573</c:v>
                </c:pt>
                <c:pt idx="656">
                  <c:v>0.443</c:v>
                </c:pt>
                <c:pt idx="657">
                  <c:v>0.66</c:v>
                </c:pt>
                <c:pt idx="658">
                  <c:v>0.424</c:v>
                </c:pt>
                <c:pt idx="659">
                  <c:v>0.51</c:v>
                </c:pt>
                <c:pt idx="660">
                  <c:v>0.472</c:v>
                </c:pt>
                <c:pt idx="661">
                  <c:v>0.778</c:v>
                </c:pt>
                <c:pt idx="662">
                  <c:v>0.656</c:v>
                </c:pt>
                <c:pt idx="663">
                  <c:v>0.197</c:v>
                </c:pt>
                <c:pt idx="664">
                  <c:v>0.652</c:v>
                </c:pt>
                <c:pt idx="665">
                  <c:v>0.699</c:v>
                </c:pt>
                <c:pt idx="666">
                  <c:v>0.399</c:v>
                </c:pt>
                <c:pt idx="667">
                  <c:v>0.368</c:v>
                </c:pt>
                <c:pt idx="668">
                  <c:v>0.468</c:v>
                </c:pt>
                <c:pt idx="669">
                  <c:v>0.068</c:v>
                </c:pt>
                <c:pt idx="670">
                  <c:v>0.744</c:v>
                </c:pt>
                <c:pt idx="671">
                  <c:v>0.443</c:v>
                </c:pt>
                <c:pt idx="672">
                  <c:v>0.121</c:v>
                </c:pt>
                <c:pt idx="673">
                  <c:v>0.514</c:v>
                </c:pt>
                <c:pt idx="674">
                  <c:v>0.293</c:v>
                </c:pt>
                <c:pt idx="675">
                  <c:v>0.568</c:v>
                </c:pt>
                <c:pt idx="676">
                  <c:v>0.14</c:v>
                </c:pt>
                <c:pt idx="677">
                  <c:v>0.523</c:v>
                </c:pt>
                <c:pt idx="678">
                  <c:v>0.291</c:v>
                </c:pt>
                <c:pt idx="679">
                  <c:v>0.443</c:v>
                </c:pt>
                <c:pt idx="680">
                  <c:v>0.552</c:v>
                </c:pt>
                <c:pt idx="681">
                  <c:v>0.402</c:v>
                </c:pt>
                <c:pt idx="682">
                  <c:v>0.369</c:v>
                </c:pt>
                <c:pt idx="683">
                  <c:v>0.759</c:v>
                </c:pt>
                <c:pt idx="684">
                  <c:v>0.297</c:v>
                </c:pt>
                <c:pt idx="685">
                  <c:v>0.618</c:v>
                </c:pt>
                <c:pt idx="686">
                  <c:v>0.127</c:v>
                </c:pt>
                <c:pt idx="687">
                  <c:v>0.638</c:v>
                </c:pt>
                <c:pt idx="688">
                  <c:v>0.063</c:v>
                </c:pt>
                <c:pt idx="689">
                  <c:v>0.499</c:v>
                </c:pt>
                <c:pt idx="690">
                  <c:v>0.447</c:v>
                </c:pt>
                <c:pt idx="691">
                  <c:v>0.557</c:v>
                </c:pt>
                <c:pt idx="692">
                  <c:v>0.118</c:v>
                </c:pt>
                <c:pt idx="693">
                  <c:v>0.743</c:v>
                </c:pt>
                <c:pt idx="694">
                  <c:v>0.556</c:v>
                </c:pt>
                <c:pt idx="695">
                  <c:v>0.55</c:v>
                </c:pt>
                <c:pt idx="696">
                  <c:v>0.542</c:v>
                </c:pt>
                <c:pt idx="697">
                  <c:v>0.466</c:v>
                </c:pt>
                <c:pt idx="698">
                  <c:v>0.592</c:v>
                </c:pt>
                <c:pt idx="699">
                  <c:v>0.079</c:v>
                </c:pt>
                <c:pt idx="700">
                  <c:v>0.403</c:v>
                </c:pt>
                <c:pt idx="701">
                  <c:v>0.434</c:v>
                </c:pt>
                <c:pt idx="702">
                  <c:v>0.609</c:v>
                </c:pt>
                <c:pt idx="703">
                  <c:v>0.631</c:v>
                </c:pt>
                <c:pt idx="704">
                  <c:v>0.013</c:v>
                </c:pt>
                <c:pt idx="705">
                  <c:v>0.586</c:v>
                </c:pt>
                <c:pt idx="706">
                  <c:v>0.426</c:v>
                </c:pt>
                <c:pt idx="707">
                  <c:v>0.274</c:v>
                </c:pt>
                <c:pt idx="708">
                  <c:v>0.491</c:v>
                </c:pt>
                <c:pt idx="709">
                  <c:v>0.1</c:v>
                </c:pt>
                <c:pt idx="710">
                  <c:v>0.597</c:v>
                </c:pt>
                <c:pt idx="711">
                  <c:v>0.151</c:v>
                </c:pt>
                <c:pt idx="712">
                  <c:v>0.434</c:v>
                </c:pt>
                <c:pt idx="713">
                  <c:v>0.65</c:v>
                </c:pt>
                <c:pt idx="714">
                  <c:v>0.293</c:v>
                </c:pt>
                <c:pt idx="715">
                  <c:v>0.596</c:v>
                </c:pt>
                <c:pt idx="716">
                  <c:v>0.756</c:v>
                </c:pt>
                <c:pt idx="717">
                  <c:v>0.668</c:v>
                </c:pt>
                <c:pt idx="718">
                  <c:v>0.086</c:v>
                </c:pt>
                <c:pt idx="719">
                  <c:v>0.434</c:v>
                </c:pt>
                <c:pt idx="720">
                  <c:v>0.11</c:v>
                </c:pt>
                <c:pt idx="721">
                  <c:v>0.296</c:v>
                </c:pt>
                <c:pt idx="722">
                  <c:v>0.804</c:v>
                </c:pt>
                <c:pt idx="723">
                  <c:v>0.591</c:v>
                </c:pt>
                <c:pt idx="724">
                  <c:v>0.546</c:v>
                </c:pt>
                <c:pt idx="725">
                  <c:v>0.399</c:v>
                </c:pt>
                <c:pt idx="726">
                  <c:v>0.073</c:v>
                </c:pt>
                <c:pt idx="727">
                  <c:v>0.726</c:v>
                </c:pt>
                <c:pt idx="728">
                  <c:v>0.042</c:v>
                </c:pt>
                <c:pt idx="729">
                  <c:v>0.443</c:v>
                </c:pt>
                <c:pt idx="730">
                  <c:v>0.426</c:v>
                </c:pt>
                <c:pt idx="731">
                  <c:v>0.429</c:v>
                </c:pt>
                <c:pt idx="732">
                  <c:v>0.438</c:v>
                </c:pt>
                <c:pt idx="733">
                  <c:v>0.676</c:v>
                </c:pt>
                <c:pt idx="734">
                  <c:v>0.237</c:v>
                </c:pt>
                <c:pt idx="735">
                  <c:v>0.707</c:v>
                </c:pt>
                <c:pt idx="736">
                  <c:v>0.106</c:v>
                </c:pt>
                <c:pt idx="737">
                  <c:v>0.159</c:v>
                </c:pt>
                <c:pt idx="738">
                  <c:v>0.282</c:v>
                </c:pt>
                <c:pt idx="739">
                  <c:v>0.483</c:v>
                </c:pt>
                <c:pt idx="740">
                  <c:v>0.361</c:v>
                </c:pt>
                <c:pt idx="741">
                  <c:v>0.231</c:v>
                </c:pt>
                <c:pt idx="742">
                  <c:v>0.174</c:v>
                </c:pt>
                <c:pt idx="743">
                  <c:v>0.462</c:v>
                </c:pt>
                <c:pt idx="744">
                  <c:v>0.674</c:v>
                </c:pt>
                <c:pt idx="745">
                  <c:v>0.5</c:v>
                </c:pt>
                <c:pt idx="746">
                  <c:v>0.406</c:v>
                </c:pt>
                <c:pt idx="747">
                  <c:v>0.407</c:v>
                </c:pt>
                <c:pt idx="748">
                  <c:v>0.512</c:v>
                </c:pt>
                <c:pt idx="749">
                  <c:v>0.643</c:v>
                </c:pt>
                <c:pt idx="750">
                  <c:v>0.506</c:v>
                </c:pt>
                <c:pt idx="751">
                  <c:v>0.425</c:v>
                </c:pt>
                <c:pt idx="752">
                  <c:v>0.742</c:v>
                </c:pt>
                <c:pt idx="753">
                  <c:v>0.549</c:v>
                </c:pt>
                <c:pt idx="754">
                  <c:v>0.224</c:v>
                </c:pt>
                <c:pt idx="755">
                  <c:v>0.546</c:v>
                </c:pt>
                <c:pt idx="756">
                  <c:v>0.347</c:v>
                </c:pt>
                <c:pt idx="757">
                  <c:v>0.28</c:v>
                </c:pt>
                <c:pt idx="758">
                  <c:v>0.419</c:v>
                </c:pt>
                <c:pt idx="759">
                  <c:v>0.424</c:v>
                </c:pt>
                <c:pt idx="760">
                  <c:v>0.472</c:v>
                </c:pt>
                <c:pt idx="761">
                  <c:v>0.283</c:v>
                </c:pt>
                <c:pt idx="762">
                  <c:v>0.606</c:v>
                </c:pt>
                <c:pt idx="763">
                  <c:v>0.324</c:v>
                </c:pt>
                <c:pt idx="764">
                  <c:v>0.465</c:v>
                </c:pt>
                <c:pt idx="765">
                  <c:v>0.423</c:v>
                </c:pt>
                <c:pt idx="766">
                  <c:v>0.504</c:v>
                </c:pt>
                <c:pt idx="767">
                  <c:v>0.322</c:v>
                </c:pt>
                <c:pt idx="768">
                  <c:v>0.109</c:v>
                </c:pt>
                <c:pt idx="769">
                  <c:v>0.482</c:v>
                </c:pt>
                <c:pt idx="770">
                  <c:v>0.562</c:v>
                </c:pt>
                <c:pt idx="771">
                  <c:v>0.641</c:v>
                </c:pt>
                <c:pt idx="772">
                  <c:v>0.096</c:v>
                </c:pt>
                <c:pt idx="773">
                  <c:v>0.674</c:v>
                </c:pt>
                <c:pt idx="774">
                  <c:v>0.709</c:v>
                </c:pt>
                <c:pt idx="775">
                  <c:v>0.165</c:v>
                </c:pt>
                <c:pt idx="776">
                  <c:v>0.445</c:v>
                </c:pt>
                <c:pt idx="777">
                  <c:v>0.697</c:v>
                </c:pt>
                <c:pt idx="778">
                  <c:v>0.231</c:v>
                </c:pt>
                <c:pt idx="779">
                  <c:v>0.463</c:v>
                </c:pt>
                <c:pt idx="780">
                  <c:v>0.68</c:v>
                </c:pt>
                <c:pt idx="781">
                  <c:v>0.645</c:v>
                </c:pt>
                <c:pt idx="782">
                  <c:v>0.6</c:v>
                </c:pt>
                <c:pt idx="783">
                  <c:v>0.656</c:v>
                </c:pt>
                <c:pt idx="784">
                  <c:v>0.463</c:v>
                </c:pt>
                <c:pt idx="785">
                  <c:v>0.241</c:v>
                </c:pt>
                <c:pt idx="786">
                  <c:v>0.426</c:v>
                </c:pt>
                <c:pt idx="787">
                  <c:v>0.191</c:v>
                </c:pt>
                <c:pt idx="788">
                  <c:v>0.495</c:v>
                </c:pt>
                <c:pt idx="789">
                  <c:v>0.03</c:v>
                </c:pt>
                <c:pt idx="790">
                  <c:v>0.068</c:v>
                </c:pt>
                <c:pt idx="791">
                  <c:v>0.273</c:v>
                </c:pt>
                <c:pt idx="792">
                  <c:v>0.041</c:v>
                </c:pt>
                <c:pt idx="793">
                  <c:v>0.105</c:v>
                </c:pt>
                <c:pt idx="794">
                  <c:v>0.42</c:v>
                </c:pt>
                <c:pt idx="795">
                  <c:v>0.526</c:v>
                </c:pt>
                <c:pt idx="796">
                  <c:v>0.441</c:v>
                </c:pt>
                <c:pt idx="797">
                  <c:v>0.494</c:v>
                </c:pt>
                <c:pt idx="798">
                  <c:v>0.49</c:v>
                </c:pt>
                <c:pt idx="799">
                  <c:v>0.453</c:v>
                </c:pt>
                <c:pt idx="800">
                  <c:v>0.232</c:v>
                </c:pt>
                <c:pt idx="801">
                  <c:v>0.447</c:v>
                </c:pt>
                <c:pt idx="802">
                  <c:v>0.684</c:v>
                </c:pt>
                <c:pt idx="803">
                  <c:v>0.452</c:v>
                </c:pt>
                <c:pt idx="804">
                  <c:v>0.246</c:v>
                </c:pt>
                <c:pt idx="805">
                  <c:v>0.472</c:v>
                </c:pt>
                <c:pt idx="806">
                  <c:v>0.688</c:v>
                </c:pt>
                <c:pt idx="807">
                  <c:v>0.443</c:v>
                </c:pt>
                <c:pt idx="808">
                  <c:v>0.385</c:v>
                </c:pt>
                <c:pt idx="809">
                  <c:v>0.041</c:v>
                </c:pt>
                <c:pt idx="810">
                  <c:v>0.456</c:v>
                </c:pt>
                <c:pt idx="811">
                  <c:v>0.553</c:v>
                </c:pt>
                <c:pt idx="812">
                  <c:v>0.322</c:v>
                </c:pt>
                <c:pt idx="813">
                  <c:v>0.343</c:v>
                </c:pt>
                <c:pt idx="814">
                  <c:v>0.429</c:v>
                </c:pt>
                <c:pt idx="815">
                  <c:v>0.468</c:v>
                </c:pt>
                <c:pt idx="816">
                  <c:v>0.647</c:v>
                </c:pt>
                <c:pt idx="817">
                  <c:v>0.324</c:v>
                </c:pt>
                <c:pt idx="818">
                  <c:v>0.333</c:v>
                </c:pt>
                <c:pt idx="819">
                  <c:v>0.47</c:v>
                </c:pt>
                <c:pt idx="820">
                  <c:v>0.344</c:v>
                </c:pt>
                <c:pt idx="821">
                  <c:v>0.688</c:v>
                </c:pt>
                <c:pt idx="822">
                  <c:v>0.133</c:v>
                </c:pt>
                <c:pt idx="823">
                  <c:v>0.417</c:v>
                </c:pt>
                <c:pt idx="824">
                  <c:v>0.117</c:v>
                </c:pt>
                <c:pt idx="825">
                  <c:v>0.548</c:v>
                </c:pt>
                <c:pt idx="826">
                  <c:v>0.596</c:v>
                </c:pt>
                <c:pt idx="827">
                  <c:v>0.369</c:v>
                </c:pt>
                <c:pt idx="828">
                  <c:v>0.212</c:v>
                </c:pt>
                <c:pt idx="829">
                  <c:v>0.397</c:v>
                </c:pt>
                <c:pt idx="830">
                  <c:v>0.382</c:v>
                </c:pt>
                <c:pt idx="831">
                  <c:v>0.634</c:v>
                </c:pt>
                <c:pt idx="832">
                  <c:v>0.64</c:v>
                </c:pt>
                <c:pt idx="833">
                  <c:v>0.02</c:v>
                </c:pt>
                <c:pt idx="834">
                  <c:v>0.406</c:v>
                </c:pt>
                <c:pt idx="835">
                  <c:v>0.738</c:v>
                </c:pt>
                <c:pt idx="836">
                  <c:v>0.605</c:v>
                </c:pt>
                <c:pt idx="837">
                  <c:v>0.155</c:v>
                </c:pt>
                <c:pt idx="838">
                  <c:v>0.163</c:v>
                </c:pt>
                <c:pt idx="839">
                  <c:v>0.23</c:v>
                </c:pt>
                <c:pt idx="840">
                  <c:v>0.481</c:v>
                </c:pt>
                <c:pt idx="841">
                  <c:v>0.402</c:v>
                </c:pt>
                <c:pt idx="842">
                  <c:v>0.265</c:v>
                </c:pt>
                <c:pt idx="843">
                  <c:v>0.484</c:v>
                </c:pt>
                <c:pt idx="844">
                  <c:v>0.084</c:v>
                </c:pt>
                <c:pt idx="845">
                  <c:v>0.362</c:v>
                </c:pt>
                <c:pt idx="846">
                  <c:v>0.372</c:v>
                </c:pt>
                <c:pt idx="847">
                  <c:v>0.016</c:v>
                </c:pt>
                <c:pt idx="848">
                  <c:v>0.19</c:v>
                </c:pt>
                <c:pt idx="849">
                  <c:v>0.105</c:v>
                </c:pt>
                <c:pt idx="850">
                  <c:v>0.487</c:v>
                </c:pt>
                <c:pt idx="851">
                  <c:v>0.177</c:v>
                </c:pt>
                <c:pt idx="852">
                  <c:v>0.297</c:v>
                </c:pt>
                <c:pt idx="853">
                  <c:v>0.324</c:v>
                </c:pt>
                <c:pt idx="854">
                  <c:v>0.397</c:v>
                </c:pt>
                <c:pt idx="855">
                  <c:v>0.432</c:v>
                </c:pt>
                <c:pt idx="856">
                  <c:v>0.262</c:v>
                </c:pt>
                <c:pt idx="857">
                  <c:v>0.556</c:v>
                </c:pt>
                <c:pt idx="858">
                  <c:v>0.374</c:v>
                </c:pt>
                <c:pt idx="859">
                  <c:v>0.368</c:v>
                </c:pt>
                <c:pt idx="860">
                  <c:v>0.269</c:v>
                </c:pt>
                <c:pt idx="861">
                  <c:v>0.698</c:v>
                </c:pt>
                <c:pt idx="862">
                  <c:v>0.333</c:v>
                </c:pt>
                <c:pt idx="863">
                  <c:v>0.328</c:v>
                </c:pt>
                <c:pt idx="864">
                  <c:v>0.47</c:v>
                </c:pt>
                <c:pt idx="865">
                  <c:v>0.017</c:v>
                </c:pt>
                <c:pt idx="866">
                  <c:v>0.447</c:v>
                </c:pt>
                <c:pt idx="867">
                  <c:v>0.543</c:v>
                </c:pt>
                <c:pt idx="868">
                  <c:v>0.135</c:v>
                </c:pt>
                <c:pt idx="869">
                  <c:v>0.499</c:v>
                </c:pt>
                <c:pt idx="870">
                  <c:v>0.452</c:v>
                </c:pt>
                <c:pt idx="871">
                  <c:v>0.443</c:v>
                </c:pt>
                <c:pt idx="872">
                  <c:v>0.069</c:v>
                </c:pt>
                <c:pt idx="873">
                  <c:v>0.474</c:v>
                </c:pt>
                <c:pt idx="874">
                  <c:v>0.008</c:v>
                </c:pt>
                <c:pt idx="875">
                  <c:v>0.24</c:v>
                </c:pt>
                <c:pt idx="876">
                  <c:v>0.391</c:v>
                </c:pt>
                <c:pt idx="877">
                  <c:v>0.571</c:v>
                </c:pt>
                <c:pt idx="878">
                  <c:v>0.194</c:v>
                </c:pt>
                <c:pt idx="879">
                  <c:v>0.195</c:v>
                </c:pt>
                <c:pt idx="880">
                  <c:v>0.37</c:v>
                </c:pt>
                <c:pt idx="881">
                  <c:v>0.23</c:v>
                </c:pt>
                <c:pt idx="882">
                  <c:v>0.443</c:v>
                </c:pt>
                <c:pt idx="883">
                  <c:v>0.716</c:v>
                </c:pt>
                <c:pt idx="884">
                  <c:v>0.456</c:v>
                </c:pt>
                <c:pt idx="885">
                  <c:v>0.434</c:v>
                </c:pt>
                <c:pt idx="886">
                  <c:v>0.456</c:v>
                </c:pt>
                <c:pt idx="887">
                  <c:v>0.245</c:v>
                </c:pt>
                <c:pt idx="888">
                  <c:v>0.351</c:v>
                </c:pt>
                <c:pt idx="889">
                  <c:v>0.285</c:v>
                </c:pt>
                <c:pt idx="890">
                  <c:v>0.513</c:v>
                </c:pt>
                <c:pt idx="891">
                  <c:v>0.402</c:v>
                </c:pt>
                <c:pt idx="892">
                  <c:v>0.008</c:v>
                </c:pt>
                <c:pt idx="893">
                  <c:v>0.437</c:v>
                </c:pt>
                <c:pt idx="894">
                  <c:v>0.455</c:v>
                </c:pt>
                <c:pt idx="895">
                  <c:v>0.451</c:v>
                </c:pt>
                <c:pt idx="896">
                  <c:v>0.201</c:v>
                </c:pt>
                <c:pt idx="897">
                  <c:v>0.446</c:v>
                </c:pt>
                <c:pt idx="898">
                  <c:v>0.01</c:v>
                </c:pt>
                <c:pt idx="899">
                  <c:v>0.103</c:v>
                </c:pt>
                <c:pt idx="900">
                  <c:v>0.458</c:v>
                </c:pt>
                <c:pt idx="901">
                  <c:v>0.484</c:v>
                </c:pt>
                <c:pt idx="902">
                  <c:v>0.401</c:v>
                </c:pt>
                <c:pt idx="903">
                  <c:v>0.252</c:v>
                </c:pt>
                <c:pt idx="904">
                  <c:v>0.457</c:v>
                </c:pt>
                <c:pt idx="905">
                  <c:v>0.338</c:v>
                </c:pt>
                <c:pt idx="906">
                  <c:v>0.283</c:v>
                </c:pt>
                <c:pt idx="907">
                  <c:v>0.443</c:v>
                </c:pt>
                <c:pt idx="908">
                  <c:v>0.37</c:v>
                </c:pt>
                <c:pt idx="909">
                  <c:v>0.61</c:v>
                </c:pt>
                <c:pt idx="910">
                  <c:v>0.443</c:v>
                </c:pt>
                <c:pt idx="911">
                  <c:v>0.447</c:v>
                </c:pt>
                <c:pt idx="912">
                  <c:v>0.008</c:v>
                </c:pt>
                <c:pt idx="913">
                  <c:v>0.103</c:v>
                </c:pt>
                <c:pt idx="914">
                  <c:v>0.004</c:v>
                </c:pt>
                <c:pt idx="915">
                  <c:v>0.057</c:v>
                </c:pt>
                <c:pt idx="916">
                  <c:v>0.429</c:v>
                </c:pt>
                <c:pt idx="917">
                  <c:v>0.2</c:v>
                </c:pt>
                <c:pt idx="918">
                  <c:v>0.206</c:v>
                </c:pt>
                <c:pt idx="919">
                  <c:v>0.52</c:v>
                </c:pt>
                <c:pt idx="920">
                  <c:v>0.47</c:v>
                </c:pt>
                <c:pt idx="921">
                  <c:v>0.4</c:v>
                </c:pt>
                <c:pt idx="922">
                  <c:v>0.017</c:v>
                </c:pt>
                <c:pt idx="923">
                  <c:v>0.022</c:v>
                </c:pt>
                <c:pt idx="924">
                  <c:v>0.157</c:v>
                </c:pt>
                <c:pt idx="925">
                  <c:v>0.17</c:v>
                </c:pt>
                <c:pt idx="926">
                  <c:v>0.356</c:v>
                </c:pt>
                <c:pt idx="927">
                  <c:v>0.486</c:v>
                </c:pt>
                <c:pt idx="928">
                  <c:v>0.29</c:v>
                </c:pt>
                <c:pt idx="929">
                  <c:v>0.119</c:v>
                </c:pt>
                <c:pt idx="930">
                  <c:v>0.722</c:v>
                </c:pt>
                <c:pt idx="931">
                  <c:v>0.679</c:v>
                </c:pt>
                <c:pt idx="932">
                  <c:v>0.396</c:v>
                </c:pt>
                <c:pt idx="933">
                  <c:v>0.182</c:v>
                </c:pt>
                <c:pt idx="934">
                  <c:v>0.63</c:v>
                </c:pt>
                <c:pt idx="935">
                  <c:v>0.167</c:v>
                </c:pt>
                <c:pt idx="936">
                  <c:v>0.537</c:v>
                </c:pt>
                <c:pt idx="937">
                  <c:v>0.353</c:v>
                </c:pt>
                <c:pt idx="938">
                  <c:v>0.076</c:v>
                </c:pt>
                <c:pt idx="939">
                  <c:v>0.397</c:v>
                </c:pt>
                <c:pt idx="940">
                  <c:v>0.473</c:v>
                </c:pt>
                <c:pt idx="941">
                  <c:v>0.575</c:v>
                </c:pt>
                <c:pt idx="942">
                  <c:v>0.406</c:v>
                </c:pt>
                <c:pt idx="943">
                  <c:v>0.266</c:v>
                </c:pt>
                <c:pt idx="944">
                  <c:v>0.374</c:v>
                </c:pt>
                <c:pt idx="945">
                  <c:v>0.151</c:v>
                </c:pt>
                <c:pt idx="946">
                  <c:v>0.042</c:v>
                </c:pt>
                <c:pt idx="947">
                  <c:v>0.292</c:v>
                </c:pt>
                <c:pt idx="948">
                  <c:v>0.251</c:v>
                </c:pt>
                <c:pt idx="949">
                  <c:v>0.373</c:v>
                </c:pt>
                <c:pt idx="950">
                  <c:v>0.363</c:v>
                </c:pt>
                <c:pt idx="951">
                  <c:v>0.294</c:v>
                </c:pt>
                <c:pt idx="952">
                  <c:v>0.046</c:v>
                </c:pt>
                <c:pt idx="953">
                  <c:v>0.438</c:v>
                </c:pt>
                <c:pt idx="954">
                  <c:v>0.361</c:v>
                </c:pt>
                <c:pt idx="955">
                  <c:v>0.573</c:v>
                </c:pt>
                <c:pt idx="956">
                  <c:v>0.024</c:v>
                </c:pt>
                <c:pt idx="957">
                  <c:v>0.103</c:v>
                </c:pt>
                <c:pt idx="958">
                  <c:v>0.351</c:v>
                </c:pt>
                <c:pt idx="959">
                  <c:v>0.031</c:v>
                </c:pt>
                <c:pt idx="960">
                  <c:v>0.294</c:v>
                </c:pt>
                <c:pt idx="961">
                  <c:v>0.17</c:v>
                </c:pt>
                <c:pt idx="962">
                  <c:v>0.214</c:v>
                </c:pt>
                <c:pt idx="963">
                  <c:v>0.364</c:v>
                </c:pt>
                <c:pt idx="964">
                  <c:v>0.123</c:v>
                </c:pt>
                <c:pt idx="965">
                  <c:v>0.333</c:v>
                </c:pt>
                <c:pt idx="966">
                  <c:v>0.008</c:v>
                </c:pt>
                <c:pt idx="967">
                  <c:v>0.368</c:v>
                </c:pt>
                <c:pt idx="968">
                  <c:v>0.068</c:v>
                </c:pt>
                <c:pt idx="969">
                  <c:v>0.64</c:v>
                </c:pt>
                <c:pt idx="970">
                  <c:v>0.06</c:v>
                </c:pt>
                <c:pt idx="971">
                  <c:v>0.461</c:v>
                </c:pt>
                <c:pt idx="972">
                  <c:v>0.402</c:v>
                </c:pt>
                <c:pt idx="973">
                  <c:v>0.341</c:v>
                </c:pt>
                <c:pt idx="974">
                  <c:v>0.424</c:v>
                </c:pt>
                <c:pt idx="975">
                  <c:v>0.301</c:v>
                </c:pt>
                <c:pt idx="976">
                  <c:v>0.049</c:v>
                </c:pt>
                <c:pt idx="977">
                  <c:v>0.361</c:v>
                </c:pt>
                <c:pt idx="978">
                  <c:v>0.319</c:v>
                </c:pt>
                <c:pt idx="979">
                  <c:v>0.475</c:v>
                </c:pt>
                <c:pt idx="980">
                  <c:v>0.077</c:v>
                </c:pt>
                <c:pt idx="981">
                  <c:v>0.005</c:v>
                </c:pt>
                <c:pt idx="982">
                  <c:v>0.578</c:v>
                </c:pt>
                <c:pt idx="983">
                  <c:v>0.008</c:v>
                </c:pt>
                <c:pt idx="984">
                  <c:v>0.381</c:v>
                </c:pt>
                <c:pt idx="985">
                  <c:v>0.322</c:v>
                </c:pt>
                <c:pt idx="986">
                  <c:v>0.087</c:v>
                </c:pt>
                <c:pt idx="987">
                  <c:v>0.163</c:v>
                </c:pt>
                <c:pt idx="988">
                  <c:v>0.386</c:v>
                </c:pt>
                <c:pt idx="989">
                  <c:v>0.523</c:v>
                </c:pt>
                <c:pt idx="990">
                  <c:v>0.365</c:v>
                </c:pt>
                <c:pt idx="991">
                  <c:v>0.215</c:v>
                </c:pt>
                <c:pt idx="992">
                  <c:v>0.54</c:v>
                </c:pt>
                <c:pt idx="993">
                  <c:v>0.382</c:v>
                </c:pt>
                <c:pt idx="994">
                  <c:v>0.388</c:v>
                </c:pt>
                <c:pt idx="995">
                  <c:v>0.094</c:v>
                </c:pt>
                <c:pt idx="996">
                  <c:v>0.374</c:v>
                </c:pt>
                <c:pt idx="997">
                  <c:v>0.313</c:v>
                </c:pt>
                <c:pt idx="998">
                  <c:v>0.45</c:v>
                </c:pt>
                <c:pt idx="999">
                  <c:v>0.333</c:v>
                </c:pt>
                <c:pt idx="1000">
                  <c:v>0.017</c:v>
                </c:pt>
                <c:pt idx="1001">
                  <c:v>0.009</c:v>
                </c:pt>
                <c:pt idx="1002">
                  <c:v>0.101</c:v>
                </c:pt>
                <c:pt idx="1003">
                  <c:v>0.04</c:v>
                </c:pt>
                <c:pt idx="1004">
                  <c:v>0.226</c:v>
                </c:pt>
                <c:pt idx="1005">
                  <c:v>0.095</c:v>
                </c:pt>
                <c:pt idx="1006">
                  <c:v>0.436</c:v>
                </c:pt>
                <c:pt idx="1007">
                  <c:v>0.251</c:v>
                </c:pt>
                <c:pt idx="1008">
                  <c:v>0.261</c:v>
                </c:pt>
                <c:pt idx="1009">
                  <c:v>0.495</c:v>
                </c:pt>
                <c:pt idx="1010">
                  <c:v>0.306</c:v>
                </c:pt>
                <c:pt idx="1011">
                  <c:v>0.388</c:v>
                </c:pt>
                <c:pt idx="1012">
                  <c:v>0.008</c:v>
                </c:pt>
                <c:pt idx="1013">
                  <c:v>0.385</c:v>
                </c:pt>
                <c:pt idx="1014">
                  <c:v>0.346</c:v>
                </c:pt>
                <c:pt idx="1015">
                  <c:v>0.166</c:v>
                </c:pt>
                <c:pt idx="1016">
                  <c:v>0.376</c:v>
                </c:pt>
                <c:pt idx="1017">
                  <c:v>0.69</c:v>
                </c:pt>
                <c:pt idx="1018">
                  <c:v>0.073</c:v>
                </c:pt>
                <c:pt idx="1019">
                  <c:v>0.082</c:v>
                </c:pt>
                <c:pt idx="1020">
                  <c:v>0.016</c:v>
                </c:pt>
                <c:pt idx="1021">
                  <c:v>0.005</c:v>
                </c:pt>
                <c:pt idx="1022">
                  <c:v>0.012</c:v>
                </c:pt>
                <c:pt idx="1023">
                  <c:v>0.17</c:v>
                </c:pt>
                <c:pt idx="1024">
                  <c:v>0.524</c:v>
                </c:pt>
                <c:pt idx="1025">
                  <c:v>0.036</c:v>
                </c:pt>
                <c:pt idx="1026">
                  <c:v>0.385</c:v>
                </c:pt>
                <c:pt idx="1027">
                  <c:v>0.37</c:v>
                </c:pt>
                <c:pt idx="1028">
                  <c:v>0.164</c:v>
                </c:pt>
                <c:pt idx="1029">
                  <c:v>0.363</c:v>
                </c:pt>
                <c:pt idx="1030">
                  <c:v>0.129</c:v>
                </c:pt>
                <c:pt idx="1031">
                  <c:v>0.5</c:v>
                </c:pt>
                <c:pt idx="1032">
                  <c:v>0.376</c:v>
                </c:pt>
                <c:pt idx="1033">
                  <c:v>0.012</c:v>
                </c:pt>
                <c:pt idx="1034">
                  <c:v>0.091</c:v>
                </c:pt>
                <c:pt idx="1035">
                  <c:v>0.343</c:v>
                </c:pt>
                <c:pt idx="1036">
                  <c:v>0.477</c:v>
                </c:pt>
                <c:pt idx="1037">
                  <c:v>0.353</c:v>
                </c:pt>
                <c:pt idx="1038">
                  <c:v>0.047</c:v>
                </c:pt>
                <c:pt idx="1039">
                  <c:v>0.559</c:v>
                </c:pt>
                <c:pt idx="1040">
                  <c:v>0.164</c:v>
                </c:pt>
                <c:pt idx="1041">
                  <c:v>0.57</c:v>
                </c:pt>
                <c:pt idx="1042">
                  <c:v>0.126</c:v>
                </c:pt>
                <c:pt idx="1043">
                  <c:v>0.141</c:v>
                </c:pt>
                <c:pt idx="1044">
                  <c:v>0.36</c:v>
                </c:pt>
                <c:pt idx="1045">
                  <c:v>0.415</c:v>
                </c:pt>
                <c:pt idx="1046">
                  <c:v>0.519</c:v>
                </c:pt>
                <c:pt idx="1047">
                  <c:v>0.017</c:v>
                </c:pt>
                <c:pt idx="1048">
                  <c:v>0.448</c:v>
                </c:pt>
                <c:pt idx="1049">
                  <c:v>0.351</c:v>
                </c:pt>
                <c:pt idx="1050">
                  <c:v>0.254</c:v>
                </c:pt>
                <c:pt idx="1051">
                  <c:v>0.288</c:v>
                </c:pt>
                <c:pt idx="1052">
                  <c:v>0.328</c:v>
                </c:pt>
                <c:pt idx="1053">
                  <c:v>0.15</c:v>
                </c:pt>
                <c:pt idx="1054">
                  <c:v>0.011</c:v>
                </c:pt>
                <c:pt idx="1055">
                  <c:v>0.406</c:v>
                </c:pt>
                <c:pt idx="1056">
                  <c:v>0.395</c:v>
                </c:pt>
                <c:pt idx="1057">
                  <c:v>0.365</c:v>
                </c:pt>
                <c:pt idx="1058">
                  <c:v>0.053</c:v>
                </c:pt>
                <c:pt idx="1059">
                  <c:v>0.037</c:v>
                </c:pt>
                <c:pt idx="1060">
                  <c:v>0.141</c:v>
                </c:pt>
                <c:pt idx="1061">
                  <c:v>0.374</c:v>
                </c:pt>
                <c:pt idx="1062">
                  <c:v>0.571</c:v>
                </c:pt>
                <c:pt idx="1063">
                  <c:v>0.414</c:v>
                </c:pt>
                <c:pt idx="1064">
                  <c:v>0.474</c:v>
                </c:pt>
                <c:pt idx="1065">
                  <c:v>0.442</c:v>
                </c:pt>
                <c:pt idx="1066">
                  <c:v>0.29</c:v>
                </c:pt>
                <c:pt idx="1067">
                  <c:v>0.694</c:v>
                </c:pt>
                <c:pt idx="1068">
                  <c:v>0.074</c:v>
                </c:pt>
                <c:pt idx="1069">
                  <c:v>0.059</c:v>
                </c:pt>
                <c:pt idx="1070">
                  <c:v>0.243</c:v>
                </c:pt>
                <c:pt idx="1071">
                  <c:v>0.043</c:v>
                </c:pt>
                <c:pt idx="1072">
                  <c:v>0.084</c:v>
                </c:pt>
                <c:pt idx="1073">
                  <c:v>0.179</c:v>
                </c:pt>
                <c:pt idx="1074">
                  <c:v>0.079</c:v>
                </c:pt>
                <c:pt idx="1075">
                  <c:v>0.046</c:v>
                </c:pt>
                <c:pt idx="1076">
                  <c:v>0.396</c:v>
                </c:pt>
                <c:pt idx="1077">
                  <c:v>0.292</c:v>
                </c:pt>
                <c:pt idx="1078">
                  <c:v>0.187</c:v>
                </c:pt>
                <c:pt idx="1079">
                  <c:v>0.044</c:v>
                </c:pt>
                <c:pt idx="1080">
                  <c:v>0.024</c:v>
                </c:pt>
                <c:pt idx="1081">
                  <c:v>0.361</c:v>
                </c:pt>
                <c:pt idx="1082">
                  <c:v>0.174</c:v>
                </c:pt>
                <c:pt idx="1083">
                  <c:v>0.029</c:v>
                </c:pt>
                <c:pt idx="1084">
                  <c:v>0.281</c:v>
                </c:pt>
                <c:pt idx="1085">
                  <c:v>0.005</c:v>
                </c:pt>
                <c:pt idx="1086">
                  <c:v>0.029</c:v>
                </c:pt>
                <c:pt idx="1087">
                  <c:v>0.559</c:v>
                </c:pt>
                <c:pt idx="1088">
                  <c:v>0.005</c:v>
                </c:pt>
                <c:pt idx="1089">
                  <c:v>0.268</c:v>
                </c:pt>
                <c:pt idx="1090">
                  <c:v>0.546</c:v>
                </c:pt>
                <c:pt idx="1091">
                  <c:v>0.352</c:v>
                </c:pt>
                <c:pt idx="1092">
                  <c:v>0.114</c:v>
                </c:pt>
                <c:pt idx="1093">
                  <c:v>0.251</c:v>
                </c:pt>
                <c:pt idx="1094">
                  <c:v>0.309</c:v>
                </c:pt>
                <c:pt idx="1095">
                  <c:v>0.061</c:v>
                </c:pt>
                <c:pt idx="1096">
                  <c:v>0.041</c:v>
                </c:pt>
                <c:pt idx="1097">
                  <c:v>0.105</c:v>
                </c:pt>
                <c:pt idx="1098">
                  <c:v>0.191</c:v>
                </c:pt>
                <c:pt idx="1099">
                  <c:v>0.423</c:v>
                </c:pt>
                <c:pt idx="1100">
                  <c:v>0.322</c:v>
                </c:pt>
                <c:pt idx="1101">
                  <c:v>0.041</c:v>
                </c:pt>
                <c:pt idx="1102">
                  <c:v>0.092</c:v>
                </c:pt>
                <c:pt idx="1103">
                  <c:v>0.439</c:v>
                </c:pt>
                <c:pt idx="1104">
                  <c:v>0.057</c:v>
                </c:pt>
                <c:pt idx="1105">
                  <c:v>0.329</c:v>
                </c:pt>
                <c:pt idx="1106">
                  <c:v>0.18</c:v>
                </c:pt>
                <c:pt idx="1107">
                  <c:v>0.028</c:v>
                </c:pt>
                <c:pt idx="1108">
                  <c:v>0.228</c:v>
                </c:pt>
                <c:pt idx="1109">
                  <c:v>0.115</c:v>
                </c:pt>
                <c:pt idx="1110">
                  <c:v>0.092</c:v>
                </c:pt>
                <c:pt idx="1111">
                  <c:v>0.52</c:v>
                </c:pt>
                <c:pt idx="1112">
                  <c:v>0.043</c:v>
                </c:pt>
                <c:pt idx="1113">
                  <c:v>0.146</c:v>
                </c:pt>
                <c:pt idx="1114">
                  <c:v>0.186</c:v>
                </c:pt>
                <c:pt idx="1115">
                  <c:v>0.328</c:v>
                </c:pt>
                <c:pt idx="1116">
                  <c:v>0.035</c:v>
                </c:pt>
                <c:pt idx="1117">
                  <c:v>0.082</c:v>
                </c:pt>
                <c:pt idx="1118">
                  <c:v>0.073</c:v>
                </c:pt>
                <c:pt idx="1119">
                  <c:v>0.541</c:v>
                </c:pt>
                <c:pt idx="1120">
                  <c:v>0.03</c:v>
                </c:pt>
                <c:pt idx="1121">
                  <c:v>0.495</c:v>
                </c:pt>
                <c:pt idx="1122">
                  <c:v>0.256</c:v>
                </c:pt>
                <c:pt idx="1123">
                  <c:v>0.073</c:v>
                </c:pt>
                <c:pt idx="1124">
                  <c:v>0.056</c:v>
                </c:pt>
                <c:pt idx="1125">
                  <c:v>0.328</c:v>
                </c:pt>
                <c:pt idx="1126">
                  <c:v>0.361</c:v>
                </c:pt>
                <c:pt idx="1127">
                  <c:v>0.571</c:v>
                </c:pt>
                <c:pt idx="1128">
                  <c:v>0.008</c:v>
                </c:pt>
                <c:pt idx="1129">
                  <c:v>0.308</c:v>
                </c:pt>
                <c:pt idx="1130">
                  <c:v>0.027</c:v>
                </c:pt>
                <c:pt idx="1131">
                  <c:v>0.411</c:v>
                </c:pt>
                <c:pt idx="1132">
                  <c:v>0.274</c:v>
                </c:pt>
                <c:pt idx="1133">
                  <c:v>0.386</c:v>
                </c:pt>
                <c:pt idx="1134">
                  <c:v>0.024</c:v>
                </c:pt>
                <c:pt idx="1135">
                  <c:v>0.004</c:v>
                </c:pt>
                <c:pt idx="1136">
                  <c:v>0.412</c:v>
                </c:pt>
                <c:pt idx="1137">
                  <c:v>0.292</c:v>
                </c:pt>
                <c:pt idx="1138">
                  <c:v>0.452</c:v>
                </c:pt>
                <c:pt idx="1139">
                  <c:v>0.61</c:v>
                </c:pt>
                <c:pt idx="1140">
                  <c:v>0.07</c:v>
                </c:pt>
                <c:pt idx="1141">
                  <c:v>0.185</c:v>
                </c:pt>
                <c:pt idx="1142">
                  <c:v>0.111</c:v>
                </c:pt>
                <c:pt idx="1143">
                  <c:v>0.062</c:v>
                </c:pt>
                <c:pt idx="1144">
                  <c:v>0.3</c:v>
                </c:pt>
                <c:pt idx="1145">
                  <c:v>0.016</c:v>
                </c:pt>
                <c:pt idx="1146">
                  <c:v>0.025</c:v>
                </c:pt>
                <c:pt idx="1147">
                  <c:v>0.1</c:v>
                </c:pt>
                <c:pt idx="1148">
                  <c:v>0.1</c:v>
                </c:pt>
                <c:pt idx="1149">
                  <c:v>0.246</c:v>
                </c:pt>
                <c:pt idx="1150">
                  <c:v>0.242</c:v>
                </c:pt>
                <c:pt idx="1151">
                  <c:v>0.073</c:v>
                </c:pt>
                <c:pt idx="1152">
                  <c:v>0.352</c:v>
                </c:pt>
                <c:pt idx="1153">
                  <c:v>0.053</c:v>
                </c:pt>
                <c:pt idx="1154">
                  <c:v>0.039</c:v>
                </c:pt>
                <c:pt idx="1155">
                  <c:v>0.182</c:v>
                </c:pt>
                <c:pt idx="1156">
                  <c:v>0.061</c:v>
                </c:pt>
                <c:pt idx="1157">
                  <c:v>0.54</c:v>
                </c:pt>
                <c:pt idx="1158">
                  <c:v>0.065</c:v>
                </c:pt>
                <c:pt idx="1159">
                  <c:v>0.05</c:v>
                </c:pt>
                <c:pt idx="1160">
                  <c:v>0.047</c:v>
                </c:pt>
                <c:pt idx="1161">
                  <c:v>0.04</c:v>
                </c:pt>
                <c:pt idx="1162">
                  <c:v>0.064</c:v>
                </c:pt>
                <c:pt idx="1163">
                  <c:v>0.409</c:v>
                </c:pt>
                <c:pt idx="1164">
                  <c:v>0.096</c:v>
                </c:pt>
                <c:pt idx="1165">
                  <c:v>0.049</c:v>
                </c:pt>
                <c:pt idx="1166">
                  <c:v>0.046</c:v>
                </c:pt>
                <c:pt idx="1167">
                  <c:v>0.114</c:v>
                </c:pt>
                <c:pt idx="1168">
                  <c:v>0.273</c:v>
                </c:pt>
                <c:pt idx="1169">
                  <c:v>0.269</c:v>
                </c:pt>
                <c:pt idx="1170">
                  <c:v>0.117</c:v>
                </c:pt>
                <c:pt idx="1171">
                  <c:v>0.269</c:v>
                </c:pt>
                <c:pt idx="1172">
                  <c:v>0.227</c:v>
                </c:pt>
                <c:pt idx="1173">
                  <c:v>0.283</c:v>
                </c:pt>
                <c:pt idx="1174">
                  <c:v>0.319</c:v>
                </c:pt>
                <c:pt idx="1175">
                  <c:v>0.074</c:v>
                </c:pt>
                <c:pt idx="1176">
                  <c:v>0.017</c:v>
                </c:pt>
                <c:pt idx="1177">
                  <c:v>0.016</c:v>
                </c:pt>
                <c:pt idx="1178">
                  <c:v>0.064</c:v>
                </c:pt>
                <c:pt idx="1179">
                  <c:v>0.024</c:v>
                </c:pt>
                <c:pt idx="1180">
                  <c:v>0.129</c:v>
                </c:pt>
                <c:pt idx="1181">
                  <c:v>0.511</c:v>
                </c:pt>
                <c:pt idx="1182">
                  <c:v>0.105</c:v>
                </c:pt>
                <c:pt idx="1183">
                  <c:v>0.062</c:v>
                </c:pt>
                <c:pt idx="1184">
                  <c:v>0.064</c:v>
                </c:pt>
                <c:pt idx="1185">
                  <c:v>0.223</c:v>
                </c:pt>
                <c:pt idx="1186">
                  <c:v>0.265</c:v>
                </c:pt>
                <c:pt idx="1187">
                  <c:v>0.096</c:v>
                </c:pt>
                <c:pt idx="1188">
                  <c:v>0.046</c:v>
                </c:pt>
                <c:pt idx="1189">
                  <c:v>0.528</c:v>
                </c:pt>
                <c:pt idx="1190">
                  <c:v>0.123</c:v>
                </c:pt>
                <c:pt idx="1191">
                  <c:v>0.455</c:v>
                </c:pt>
                <c:pt idx="1192">
                  <c:v>0.263</c:v>
                </c:pt>
                <c:pt idx="1193">
                  <c:v>0.018</c:v>
                </c:pt>
                <c:pt idx="1194">
                  <c:v>0.288</c:v>
                </c:pt>
                <c:pt idx="1195">
                  <c:v>0.005</c:v>
                </c:pt>
                <c:pt idx="1196">
                  <c:v>0.1</c:v>
                </c:pt>
                <c:pt idx="1197">
                  <c:v>0.031</c:v>
                </c:pt>
                <c:pt idx="1198">
                  <c:v>0.132</c:v>
                </c:pt>
                <c:pt idx="1199">
                  <c:v>0.507</c:v>
                </c:pt>
                <c:pt idx="1200">
                  <c:v>0.319</c:v>
                </c:pt>
                <c:pt idx="1201">
                  <c:v>0.049</c:v>
                </c:pt>
                <c:pt idx="1202">
                  <c:v>0.12</c:v>
                </c:pt>
                <c:pt idx="1203">
                  <c:v>0.16</c:v>
                </c:pt>
                <c:pt idx="1204">
                  <c:v>0.296</c:v>
                </c:pt>
                <c:pt idx="1205">
                  <c:v>0.052</c:v>
                </c:pt>
                <c:pt idx="1206">
                  <c:v>0.012</c:v>
                </c:pt>
                <c:pt idx="1207">
                  <c:v>0.295</c:v>
                </c:pt>
                <c:pt idx="1208">
                  <c:v>0.101</c:v>
                </c:pt>
                <c:pt idx="1209">
                  <c:v>0.071</c:v>
                </c:pt>
                <c:pt idx="1210">
                  <c:v>0.09</c:v>
                </c:pt>
                <c:pt idx="1211">
                  <c:v>0.081</c:v>
                </c:pt>
                <c:pt idx="1212">
                  <c:v>0.379</c:v>
                </c:pt>
                <c:pt idx="1213">
                  <c:v>0.082</c:v>
                </c:pt>
                <c:pt idx="1214">
                  <c:v>0.051</c:v>
                </c:pt>
                <c:pt idx="1215">
                  <c:v>0.229</c:v>
                </c:pt>
                <c:pt idx="1216">
                  <c:v>0.09</c:v>
                </c:pt>
                <c:pt idx="1217">
                  <c:v>0.071</c:v>
                </c:pt>
                <c:pt idx="1218">
                  <c:v>0.011</c:v>
                </c:pt>
                <c:pt idx="1219">
                  <c:v>0.114</c:v>
                </c:pt>
                <c:pt idx="1220">
                  <c:v>0.388</c:v>
                </c:pt>
                <c:pt idx="1221">
                  <c:v>0.187</c:v>
                </c:pt>
                <c:pt idx="1222">
                  <c:v>0.023</c:v>
                </c:pt>
                <c:pt idx="1223">
                  <c:v>0.06</c:v>
                </c:pt>
                <c:pt idx="1224">
                  <c:v>0.351</c:v>
                </c:pt>
                <c:pt idx="1225">
                  <c:v>0.369</c:v>
                </c:pt>
                <c:pt idx="1226">
                  <c:v>0.068</c:v>
                </c:pt>
                <c:pt idx="1227">
                  <c:v>0.352</c:v>
                </c:pt>
                <c:pt idx="1228">
                  <c:v>0.052</c:v>
                </c:pt>
                <c:pt idx="1229">
                  <c:v>0.075</c:v>
                </c:pt>
                <c:pt idx="1230">
                  <c:v>0.019</c:v>
                </c:pt>
                <c:pt idx="1231">
                  <c:v>0.005</c:v>
                </c:pt>
                <c:pt idx="1232">
                  <c:v>0.171</c:v>
                </c:pt>
                <c:pt idx="1233">
                  <c:v>0.068</c:v>
                </c:pt>
                <c:pt idx="1234">
                  <c:v>0.276</c:v>
                </c:pt>
                <c:pt idx="1235">
                  <c:v>0.039</c:v>
                </c:pt>
                <c:pt idx="1236">
                  <c:v>0.269</c:v>
                </c:pt>
                <c:pt idx="1237">
                  <c:v>0.319</c:v>
                </c:pt>
                <c:pt idx="1238">
                  <c:v>0.073</c:v>
                </c:pt>
                <c:pt idx="1239">
                  <c:v>0.027</c:v>
                </c:pt>
                <c:pt idx="1240">
                  <c:v>0.05</c:v>
                </c:pt>
                <c:pt idx="1241">
                  <c:v>0.02</c:v>
                </c:pt>
                <c:pt idx="1242">
                  <c:v>0.337</c:v>
                </c:pt>
                <c:pt idx="1243">
                  <c:v>0.205</c:v>
                </c:pt>
                <c:pt idx="1244">
                  <c:v>0.128</c:v>
                </c:pt>
                <c:pt idx="1245">
                  <c:v>0.03</c:v>
                </c:pt>
                <c:pt idx="1246">
                  <c:v>0.113</c:v>
                </c:pt>
                <c:pt idx="1247">
                  <c:v>0.501</c:v>
                </c:pt>
                <c:pt idx="1248">
                  <c:v>0.111</c:v>
                </c:pt>
                <c:pt idx="1249">
                  <c:v>0.376</c:v>
                </c:pt>
                <c:pt idx="1250">
                  <c:v>0.087</c:v>
                </c:pt>
                <c:pt idx="1251">
                  <c:v>0.114</c:v>
                </c:pt>
                <c:pt idx="1252">
                  <c:v>0.052</c:v>
                </c:pt>
                <c:pt idx="1253">
                  <c:v>0.073</c:v>
                </c:pt>
                <c:pt idx="1254">
                  <c:v>0.045</c:v>
                </c:pt>
                <c:pt idx="1255">
                  <c:v>0.016</c:v>
                </c:pt>
                <c:pt idx="1256">
                  <c:v>0.146</c:v>
                </c:pt>
                <c:pt idx="1257">
                  <c:v>0.228</c:v>
                </c:pt>
                <c:pt idx="1258">
                  <c:v>0.269</c:v>
                </c:pt>
                <c:pt idx="1259">
                  <c:v>0.036</c:v>
                </c:pt>
                <c:pt idx="1260">
                  <c:v>0.274</c:v>
                </c:pt>
                <c:pt idx="1261">
                  <c:v>0.078</c:v>
                </c:pt>
                <c:pt idx="1262">
                  <c:v>0.129</c:v>
                </c:pt>
                <c:pt idx="1263">
                  <c:v>0.009</c:v>
                </c:pt>
                <c:pt idx="1264">
                  <c:v>0.077</c:v>
                </c:pt>
                <c:pt idx="1265">
                  <c:v>0.03</c:v>
                </c:pt>
                <c:pt idx="1266">
                  <c:v>0.497</c:v>
                </c:pt>
                <c:pt idx="1267">
                  <c:v>0.036</c:v>
                </c:pt>
                <c:pt idx="1268">
                  <c:v>0.007</c:v>
                </c:pt>
                <c:pt idx="1269">
                  <c:v>0.212</c:v>
                </c:pt>
                <c:pt idx="1270">
                  <c:v>0.095</c:v>
                </c:pt>
                <c:pt idx="1271">
                  <c:v>0.08</c:v>
                </c:pt>
                <c:pt idx="1272">
                  <c:v>0.003</c:v>
                </c:pt>
                <c:pt idx="1273">
                  <c:v>0.078</c:v>
                </c:pt>
                <c:pt idx="1274">
                  <c:v>0.242</c:v>
                </c:pt>
                <c:pt idx="1275">
                  <c:v>0.045</c:v>
                </c:pt>
                <c:pt idx="1276">
                  <c:v>0.043</c:v>
                </c:pt>
                <c:pt idx="1277">
                  <c:v>0.024</c:v>
                </c:pt>
                <c:pt idx="1278">
                  <c:v>0.082</c:v>
                </c:pt>
                <c:pt idx="1279">
                  <c:v>0.073</c:v>
                </c:pt>
                <c:pt idx="1280">
                  <c:v>0.569</c:v>
                </c:pt>
                <c:pt idx="1281">
                  <c:v>0.004</c:v>
                </c:pt>
                <c:pt idx="1282">
                  <c:v>0.085</c:v>
                </c:pt>
                <c:pt idx="1283">
                  <c:v>0.315</c:v>
                </c:pt>
                <c:pt idx="1284">
                  <c:v>0.336</c:v>
                </c:pt>
                <c:pt idx="1285">
                  <c:v>0.333</c:v>
                </c:pt>
                <c:pt idx="1286">
                  <c:v>0.048</c:v>
                </c:pt>
                <c:pt idx="1287">
                  <c:v>0.329</c:v>
                </c:pt>
                <c:pt idx="1288">
                  <c:v>0.017</c:v>
                </c:pt>
                <c:pt idx="1289">
                  <c:v>0.176</c:v>
                </c:pt>
                <c:pt idx="1290">
                  <c:v>0.094</c:v>
                </c:pt>
                <c:pt idx="1291">
                  <c:v>0.292</c:v>
                </c:pt>
                <c:pt idx="1292">
                  <c:v>0.088</c:v>
                </c:pt>
                <c:pt idx="1293">
                  <c:v>0.008</c:v>
                </c:pt>
                <c:pt idx="1294">
                  <c:v>0.099</c:v>
                </c:pt>
                <c:pt idx="1295">
                  <c:v>0.028</c:v>
                </c:pt>
                <c:pt idx="1296">
                  <c:v>0.056</c:v>
                </c:pt>
                <c:pt idx="1297">
                  <c:v>0.093</c:v>
                </c:pt>
                <c:pt idx="1298">
                  <c:v>0.1</c:v>
                </c:pt>
                <c:pt idx="1299">
                  <c:v>0.026</c:v>
                </c:pt>
                <c:pt idx="1300">
                  <c:v>0.183</c:v>
                </c:pt>
                <c:pt idx="1301">
                  <c:v>0.223</c:v>
                </c:pt>
                <c:pt idx="1302">
                  <c:v>0.102</c:v>
                </c:pt>
                <c:pt idx="1303">
                  <c:v>0.03</c:v>
                </c:pt>
                <c:pt idx="1304">
                  <c:v>0.143</c:v>
                </c:pt>
                <c:pt idx="1305">
                  <c:v>0.338</c:v>
                </c:pt>
                <c:pt idx="1306">
                  <c:v>0.07</c:v>
                </c:pt>
                <c:pt idx="1307">
                  <c:v>0.075</c:v>
                </c:pt>
                <c:pt idx="1308">
                  <c:v>0.069</c:v>
                </c:pt>
                <c:pt idx="1309">
                  <c:v>0.062</c:v>
                </c:pt>
                <c:pt idx="1310">
                  <c:v>0.016</c:v>
                </c:pt>
                <c:pt idx="1311">
                  <c:v>0.05</c:v>
                </c:pt>
                <c:pt idx="1312">
                  <c:v>0.013</c:v>
                </c:pt>
                <c:pt idx="1313">
                  <c:v>0.016</c:v>
                </c:pt>
                <c:pt idx="1314">
                  <c:v>0.059</c:v>
                </c:pt>
                <c:pt idx="1315">
                  <c:v>0.147</c:v>
                </c:pt>
                <c:pt idx="1316">
                  <c:v>0.251</c:v>
                </c:pt>
                <c:pt idx="1317">
                  <c:v>0.027</c:v>
                </c:pt>
                <c:pt idx="1318">
                  <c:v>0.103</c:v>
                </c:pt>
                <c:pt idx="1319">
                  <c:v>0.374</c:v>
                </c:pt>
                <c:pt idx="1320">
                  <c:v>0.216</c:v>
                </c:pt>
                <c:pt idx="1321">
                  <c:v>0.462</c:v>
                </c:pt>
                <c:pt idx="1322">
                  <c:v>0.049</c:v>
                </c:pt>
                <c:pt idx="1323">
                  <c:v>0.005</c:v>
                </c:pt>
                <c:pt idx="1324">
                  <c:v>0.013</c:v>
                </c:pt>
                <c:pt idx="1325">
                  <c:v>0.008</c:v>
                </c:pt>
                <c:pt idx="1326">
                  <c:v>0.048</c:v>
                </c:pt>
                <c:pt idx="1327">
                  <c:v>0.31</c:v>
                </c:pt>
                <c:pt idx="1328">
                  <c:v>0.055</c:v>
                </c:pt>
                <c:pt idx="1329">
                  <c:v>0.014</c:v>
                </c:pt>
                <c:pt idx="1330">
                  <c:v>0.04</c:v>
                </c:pt>
                <c:pt idx="1331">
                  <c:v>0.356</c:v>
                </c:pt>
                <c:pt idx="1332">
                  <c:v>0.017</c:v>
                </c:pt>
                <c:pt idx="1333">
                  <c:v>0.115</c:v>
                </c:pt>
                <c:pt idx="1334">
                  <c:v>0.072</c:v>
                </c:pt>
                <c:pt idx="1335">
                  <c:v>0.025</c:v>
                </c:pt>
                <c:pt idx="1336">
                  <c:v>0.361</c:v>
                </c:pt>
                <c:pt idx="1337">
                  <c:v>0.007</c:v>
                </c:pt>
                <c:pt idx="1338">
                  <c:v>0.149</c:v>
                </c:pt>
                <c:pt idx="1339">
                  <c:v>0.304</c:v>
                </c:pt>
                <c:pt idx="1340">
                  <c:v>0.411</c:v>
                </c:pt>
                <c:pt idx="1341">
                  <c:v>0.028</c:v>
                </c:pt>
                <c:pt idx="1342">
                  <c:v>0.03</c:v>
                </c:pt>
                <c:pt idx="1343">
                  <c:v>0.076</c:v>
                </c:pt>
                <c:pt idx="1344">
                  <c:v>0.473</c:v>
                </c:pt>
                <c:pt idx="1345">
                  <c:v>0.046</c:v>
                </c:pt>
                <c:pt idx="1346">
                  <c:v>0.178</c:v>
                </c:pt>
                <c:pt idx="1347">
                  <c:v>0.008</c:v>
                </c:pt>
                <c:pt idx="1348">
                  <c:v>0.073</c:v>
                </c:pt>
                <c:pt idx="1349">
                  <c:v>0.01</c:v>
                </c:pt>
                <c:pt idx="1350">
                  <c:v>0.34</c:v>
                </c:pt>
                <c:pt idx="1351">
                  <c:v>0.256</c:v>
                </c:pt>
                <c:pt idx="1352">
                  <c:v>0.178</c:v>
                </c:pt>
                <c:pt idx="1353">
                  <c:v>0.046</c:v>
                </c:pt>
                <c:pt idx="1354">
                  <c:v>0.148</c:v>
                </c:pt>
                <c:pt idx="1355">
                  <c:v>0.456</c:v>
                </c:pt>
                <c:pt idx="1356">
                  <c:v>0.053</c:v>
                </c:pt>
                <c:pt idx="1357">
                  <c:v>0.027</c:v>
                </c:pt>
                <c:pt idx="1358">
                  <c:v>0.013</c:v>
                </c:pt>
                <c:pt idx="1359">
                  <c:v>0.245</c:v>
                </c:pt>
                <c:pt idx="1360">
                  <c:v>0.075</c:v>
                </c:pt>
                <c:pt idx="1361">
                  <c:v>0.324</c:v>
                </c:pt>
                <c:pt idx="1362">
                  <c:v>0.03</c:v>
                </c:pt>
                <c:pt idx="1363">
                  <c:v>0.064</c:v>
                </c:pt>
                <c:pt idx="1364">
                  <c:v>0.008</c:v>
                </c:pt>
                <c:pt idx="1365">
                  <c:v>0.019</c:v>
                </c:pt>
                <c:pt idx="1366">
                  <c:v>0.141</c:v>
                </c:pt>
                <c:pt idx="1367">
                  <c:v>0.08</c:v>
                </c:pt>
                <c:pt idx="1368">
                  <c:v>0.231</c:v>
                </c:pt>
                <c:pt idx="1369">
                  <c:v>0.051</c:v>
                </c:pt>
                <c:pt idx="1370">
                  <c:v>0.529</c:v>
                </c:pt>
                <c:pt idx="1371">
                  <c:v>0.269</c:v>
                </c:pt>
                <c:pt idx="1372">
                  <c:v>0.033</c:v>
                </c:pt>
                <c:pt idx="1373">
                  <c:v>0.072</c:v>
                </c:pt>
                <c:pt idx="1374">
                  <c:v>0.018</c:v>
                </c:pt>
                <c:pt idx="1375">
                  <c:v>0.073</c:v>
                </c:pt>
                <c:pt idx="1376">
                  <c:v>0.122</c:v>
                </c:pt>
                <c:pt idx="1377">
                  <c:v>0.125</c:v>
                </c:pt>
                <c:pt idx="1378">
                  <c:v>0.05</c:v>
                </c:pt>
                <c:pt idx="1379">
                  <c:v>0.004</c:v>
                </c:pt>
                <c:pt idx="1380">
                  <c:v>0.461</c:v>
                </c:pt>
                <c:pt idx="1381">
                  <c:v>0.315</c:v>
                </c:pt>
                <c:pt idx="1382">
                  <c:v>0.068</c:v>
                </c:pt>
                <c:pt idx="1383">
                  <c:v>0.009</c:v>
                </c:pt>
                <c:pt idx="1384">
                  <c:v>0.145</c:v>
                </c:pt>
                <c:pt idx="1385">
                  <c:v>0.314</c:v>
                </c:pt>
                <c:pt idx="1386">
                  <c:v>0.164</c:v>
                </c:pt>
                <c:pt idx="1387">
                  <c:v>0.072</c:v>
                </c:pt>
                <c:pt idx="1388">
                  <c:v>0.068</c:v>
                </c:pt>
                <c:pt idx="1389">
                  <c:v>0.034</c:v>
                </c:pt>
                <c:pt idx="1390">
                  <c:v>0.033</c:v>
                </c:pt>
                <c:pt idx="1391">
                  <c:v>0.435</c:v>
                </c:pt>
                <c:pt idx="1392">
                  <c:v>0.058</c:v>
                </c:pt>
                <c:pt idx="1393">
                  <c:v>0.085</c:v>
                </c:pt>
                <c:pt idx="1394">
                  <c:v>0.146</c:v>
                </c:pt>
                <c:pt idx="1395">
                  <c:v>0.037</c:v>
                </c:pt>
                <c:pt idx="1396">
                  <c:v>0.059</c:v>
                </c:pt>
                <c:pt idx="1397">
                  <c:v>0.42</c:v>
                </c:pt>
                <c:pt idx="1398">
                  <c:v>0.046</c:v>
                </c:pt>
                <c:pt idx="1399">
                  <c:v>0.012</c:v>
                </c:pt>
                <c:pt idx="1400">
                  <c:v>0.046</c:v>
                </c:pt>
                <c:pt idx="1401">
                  <c:v>0.196</c:v>
                </c:pt>
                <c:pt idx="1402">
                  <c:v>0.329</c:v>
                </c:pt>
                <c:pt idx="1403">
                  <c:v>0.073</c:v>
                </c:pt>
                <c:pt idx="1404">
                  <c:v>0.149</c:v>
                </c:pt>
                <c:pt idx="1405">
                  <c:v>0.054</c:v>
                </c:pt>
                <c:pt idx="1406">
                  <c:v>0.023</c:v>
                </c:pt>
                <c:pt idx="1407">
                  <c:v>0.075</c:v>
                </c:pt>
                <c:pt idx="1408">
                  <c:v>0.122</c:v>
                </c:pt>
                <c:pt idx="1409">
                  <c:v>0.094</c:v>
                </c:pt>
                <c:pt idx="1410">
                  <c:v>0.123</c:v>
                </c:pt>
                <c:pt idx="1411">
                  <c:v>0.017</c:v>
                </c:pt>
                <c:pt idx="1412">
                  <c:v>0.375</c:v>
                </c:pt>
                <c:pt idx="1413">
                  <c:v>0.093</c:v>
                </c:pt>
                <c:pt idx="1414">
                  <c:v>0.146</c:v>
                </c:pt>
                <c:pt idx="1415">
                  <c:v>0.022</c:v>
                </c:pt>
                <c:pt idx="1416">
                  <c:v>0.046</c:v>
                </c:pt>
                <c:pt idx="1417">
                  <c:v>0.005</c:v>
                </c:pt>
                <c:pt idx="1418">
                  <c:v>0.072</c:v>
                </c:pt>
                <c:pt idx="1419">
                  <c:v>0.333</c:v>
                </c:pt>
                <c:pt idx="1420">
                  <c:v>0.273</c:v>
                </c:pt>
                <c:pt idx="1421">
                  <c:v>0.16</c:v>
                </c:pt>
                <c:pt idx="1422">
                  <c:v>0.064</c:v>
                </c:pt>
                <c:pt idx="1423">
                  <c:v>0.042</c:v>
                </c:pt>
                <c:pt idx="1424">
                  <c:v>0.228</c:v>
                </c:pt>
                <c:pt idx="1425">
                  <c:v>0.012</c:v>
                </c:pt>
                <c:pt idx="1426">
                  <c:v>0.052</c:v>
                </c:pt>
                <c:pt idx="1427">
                  <c:v>0.279</c:v>
                </c:pt>
                <c:pt idx="1428">
                  <c:v>0.1</c:v>
                </c:pt>
                <c:pt idx="1429">
                  <c:v>0.023</c:v>
                </c:pt>
                <c:pt idx="1430">
                  <c:v>0.068</c:v>
                </c:pt>
                <c:pt idx="1431">
                  <c:v>0.067</c:v>
                </c:pt>
                <c:pt idx="1432">
                  <c:v>0.139</c:v>
                </c:pt>
                <c:pt idx="1433">
                  <c:v>0.108</c:v>
                </c:pt>
                <c:pt idx="1434">
                  <c:v>0.033</c:v>
                </c:pt>
                <c:pt idx="1435">
                  <c:v>0.024</c:v>
                </c:pt>
                <c:pt idx="1436">
                  <c:v>0.036</c:v>
                </c:pt>
                <c:pt idx="1437">
                  <c:v>0.164</c:v>
                </c:pt>
                <c:pt idx="1438">
                  <c:v>0.062</c:v>
                </c:pt>
                <c:pt idx="1439">
                  <c:v>0.294</c:v>
                </c:pt>
                <c:pt idx="1440">
                  <c:v>0.062</c:v>
                </c:pt>
                <c:pt idx="1441">
                  <c:v>0.073</c:v>
                </c:pt>
                <c:pt idx="1442">
                  <c:v>0.035</c:v>
                </c:pt>
                <c:pt idx="1443">
                  <c:v>0.016</c:v>
                </c:pt>
                <c:pt idx="1444">
                  <c:v>0.558</c:v>
                </c:pt>
                <c:pt idx="1445">
                  <c:v>0.011</c:v>
                </c:pt>
                <c:pt idx="1446">
                  <c:v>0.006</c:v>
                </c:pt>
                <c:pt idx="1447">
                  <c:v>0.05</c:v>
                </c:pt>
                <c:pt idx="1448">
                  <c:v>0.01</c:v>
                </c:pt>
                <c:pt idx="1449">
                  <c:v>0.065</c:v>
                </c:pt>
                <c:pt idx="1450">
                  <c:v>0.411</c:v>
                </c:pt>
                <c:pt idx="1451">
                  <c:v>0.253</c:v>
                </c:pt>
                <c:pt idx="1452">
                  <c:v>0.325</c:v>
                </c:pt>
                <c:pt idx="1453">
                  <c:v>0.045</c:v>
                </c:pt>
                <c:pt idx="1454">
                  <c:v>0.141</c:v>
                </c:pt>
                <c:pt idx="1455">
                  <c:v>0.04</c:v>
                </c:pt>
                <c:pt idx="1456">
                  <c:v>0.044</c:v>
                </c:pt>
                <c:pt idx="1457">
                  <c:v>0.176</c:v>
                </c:pt>
                <c:pt idx="1458">
                  <c:v>0.013</c:v>
                </c:pt>
                <c:pt idx="1459">
                  <c:v>0.063</c:v>
                </c:pt>
                <c:pt idx="1460">
                  <c:v>0.07</c:v>
                </c:pt>
                <c:pt idx="1461">
                  <c:v>0.147</c:v>
                </c:pt>
                <c:pt idx="1462">
                  <c:v>0.312</c:v>
                </c:pt>
                <c:pt idx="1463">
                  <c:v>0.031</c:v>
                </c:pt>
                <c:pt idx="1464">
                  <c:v>0.073</c:v>
                </c:pt>
                <c:pt idx="1465">
                  <c:v>0.008</c:v>
                </c:pt>
                <c:pt idx="1466">
                  <c:v>0.42</c:v>
                </c:pt>
                <c:pt idx="1467">
                  <c:v>0.041</c:v>
                </c:pt>
                <c:pt idx="1468">
                  <c:v>0.152</c:v>
                </c:pt>
                <c:pt idx="1469">
                  <c:v>0.169</c:v>
                </c:pt>
                <c:pt idx="1470">
                  <c:v>0.012</c:v>
                </c:pt>
                <c:pt idx="1471">
                  <c:v>0.046</c:v>
                </c:pt>
                <c:pt idx="1472">
                  <c:v>0.23</c:v>
                </c:pt>
                <c:pt idx="1473">
                  <c:v>0.018</c:v>
                </c:pt>
                <c:pt idx="1474">
                  <c:v>0.015</c:v>
                </c:pt>
                <c:pt idx="1475">
                  <c:v>0.056</c:v>
                </c:pt>
                <c:pt idx="1476">
                  <c:v>0.041</c:v>
                </c:pt>
                <c:pt idx="1477">
                  <c:v>0.063</c:v>
                </c:pt>
                <c:pt idx="1478">
                  <c:v>0.46</c:v>
                </c:pt>
                <c:pt idx="1479">
                  <c:v>0.081</c:v>
                </c:pt>
                <c:pt idx="1480">
                  <c:v>0.093</c:v>
                </c:pt>
                <c:pt idx="1481">
                  <c:v>0.26</c:v>
                </c:pt>
                <c:pt idx="1482">
                  <c:v>0.012</c:v>
                </c:pt>
                <c:pt idx="1483">
                  <c:v>0.004</c:v>
                </c:pt>
                <c:pt idx="1484">
                  <c:v>0.005</c:v>
                </c:pt>
                <c:pt idx="1485">
                  <c:v>0.004</c:v>
                </c:pt>
                <c:pt idx="1486">
                  <c:v>0.217</c:v>
                </c:pt>
                <c:pt idx="1487">
                  <c:v>0.073</c:v>
                </c:pt>
                <c:pt idx="1488">
                  <c:v>0.055</c:v>
                </c:pt>
                <c:pt idx="1489">
                  <c:v>0.05</c:v>
                </c:pt>
                <c:pt idx="1490">
                  <c:v>0.064</c:v>
                </c:pt>
                <c:pt idx="1491">
                  <c:v>0.055</c:v>
                </c:pt>
                <c:pt idx="1492">
                  <c:v>0.052</c:v>
                </c:pt>
                <c:pt idx="1493">
                  <c:v>0.005</c:v>
                </c:pt>
                <c:pt idx="1494">
                  <c:v>0.073</c:v>
                </c:pt>
                <c:pt idx="1495">
                  <c:v>0.045</c:v>
                </c:pt>
                <c:pt idx="1496">
                  <c:v>0.042</c:v>
                </c:pt>
                <c:pt idx="1497">
                  <c:v>0.037</c:v>
                </c:pt>
                <c:pt idx="1498">
                  <c:v>0.512</c:v>
                </c:pt>
                <c:pt idx="1499">
                  <c:v>0.004</c:v>
                </c:pt>
                <c:pt idx="1500">
                  <c:v>0.122</c:v>
                </c:pt>
                <c:pt idx="1501">
                  <c:v>0.049</c:v>
                </c:pt>
                <c:pt idx="1502">
                  <c:v>0.043</c:v>
                </c:pt>
                <c:pt idx="1503">
                  <c:v>0.246</c:v>
                </c:pt>
                <c:pt idx="1504">
                  <c:v>0.096</c:v>
                </c:pt>
                <c:pt idx="1505">
                  <c:v>0.003</c:v>
                </c:pt>
                <c:pt idx="1506">
                  <c:v>0.004</c:v>
                </c:pt>
                <c:pt idx="1507">
                  <c:v>0.1</c:v>
                </c:pt>
                <c:pt idx="1508">
                  <c:v>0.14</c:v>
                </c:pt>
                <c:pt idx="1509">
                  <c:v>0.017</c:v>
                </c:pt>
                <c:pt idx="1510">
                  <c:v>0.123</c:v>
                </c:pt>
                <c:pt idx="1511">
                  <c:v>0.076</c:v>
                </c:pt>
                <c:pt idx="1512">
                  <c:v>0.196</c:v>
                </c:pt>
                <c:pt idx="1513">
                  <c:v>0.444</c:v>
                </c:pt>
                <c:pt idx="1514">
                  <c:v>0.013</c:v>
                </c:pt>
                <c:pt idx="1515">
                  <c:v>0.125</c:v>
                </c:pt>
                <c:pt idx="1516">
                  <c:v>0.068</c:v>
                </c:pt>
                <c:pt idx="1517">
                  <c:v>0.022</c:v>
                </c:pt>
                <c:pt idx="1518">
                  <c:v>0.008</c:v>
                </c:pt>
                <c:pt idx="1519">
                  <c:v>0.101</c:v>
                </c:pt>
                <c:pt idx="1520">
                  <c:v>0.123</c:v>
                </c:pt>
                <c:pt idx="1521">
                  <c:v>0.01</c:v>
                </c:pt>
                <c:pt idx="1522">
                  <c:v>0.056</c:v>
                </c:pt>
                <c:pt idx="1523">
                  <c:v>0.146</c:v>
                </c:pt>
                <c:pt idx="1524">
                  <c:v>0.027</c:v>
                </c:pt>
                <c:pt idx="1525">
                  <c:v>0.242</c:v>
                </c:pt>
                <c:pt idx="1526">
                  <c:v>0.1</c:v>
                </c:pt>
                <c:pt idx="1527">
                  <c:v>0.05</c:v>
                </c:pt>
                <c:pt idx="1528">
                  <c:v>0.034</c:v>
                </c:pt>
                <c:pt idx="1529">
                  <c:v>0.059</c:v>
                </c:pt>
                <c:pt idx="1530">
                  <c:v>0.002</c:v>
                </c:pt>
                <c:pt idx="1531">
                  <c:v>0.14</c:v>
                </c:pt>
                <c:pt idx="1532">
                  <c:v>0.046</c:v>
                </c:pt>
                <c:pt idx="1533">
                  <c:v>0.04</c:v>
                </c:pt>
                <c:pt idx="1534">
                  <c:v>0.105</c:v>
                </c:pt>
                <c:pt idx="1535">
                  <c:v>0.005</c:v>
                </c:pt>
                <c:pt idx="1536">
                  <c:v>0.041</c:v>
                </c:pt>
                <c:pt idx="1537">
                  <c:v>0.038</c:v>
                </c:pt>
                <c:pt idx="1538">
                  <c:v>0.049</c:v>
                </c:pt>
                <c:pt idx="1539">
                  <c:v>0.022</c:v>
                </c:pt>
                <c:pt idx="1540">
                  <c:v>0.1</c:v>
                </c:pt>
                <c:pt idx="1541">
                  <c:v>0.055</c:v>
                </c:pt>
                <c:pt idx="1542">
                  <c:v>0.269</c:v>
                </c:pt>
                <c:pt idx="1543">
                  <c:v>0.085</c:v>
                </c:pt>
                <c:pt idx="1544">
                  <c:v>0.008</c:v>
                </c:pt>
                <c:pt idx="1545">
                  <c:v>0.161</c:v>
                </c:pt>
                <c:pt idx="1546">
                  <c:v>0.036</c:v>
                </c:pt>
                <c:pt idx="1547">
                  <c:v>0.055</c:v>
                </c:pt>
                <c:pt idx="1548">
                  <c:v>0.06</c:v>
                </c:pt>
                <c:pt idx="1549">
                  <c:v>0.037</c:v>
                </c:pt>
                <c:pt idx="1550">
                  <c:v>0.012</c:v>
                </c:pt>
                <c:pt idx="1551">
                  <c:v>0.048</c:v>
                </c:pt>
                <c:pt idx="1552">
                  <c:v>0.013</c:v>
                </c:pt>
                <c:pt idx="1553">
                  <c:v>0.106</c:v>
                </c:pt>
                <c:pt idx="1554">
                  <c:v>0.035</c:v>
                </c:pt>
                <c:pt idx="1555">
                  <c:v>0.224</c:v>
                </c:pt>
                <c:pt idx="1556">
                  <c:v>0.105</c:v>
                </c:pt>
                <c:pt idx="1557">
                  <c:v>0.064</c:v>
                </c:pt>
                <c:pt idx="1558">
                  <c:v>0.141</c:v>
                </c:pt>
                <c:pt idx="1559">
                  <c:v>0.047</c:v>
                </c:pt>
                <c:pt idx="1560">
                  <c:v>0.034</c:v>
                </c:pt>
                <c:pt idx="1561">
                  <c:v>0.043</c:v>
                </c:pt>
                <c:pt idx="1562">
                  <c:v>0.089</c:v>
                </c:pt>
                <c:pt idx="1563">
                  <c:v>0.026</c:v>
                </c:pt>
                <c:pt idx="1564">
                  <c:v>0.073</c:v>
                </c:pt>
                <c:pt idx="1565">
                  <c:v>0.373</c:v>
                </c:pt>
                <c:pt idx="1566">
                  <c:v>0.065</c:v>
                </c:pt>
                <c:pt idx="1567">
                  <c:v>0.545</c:v>
                </c:pt>
                <c:pt idx="1568">
                  <c:v>0.087</c:v>
                </c:pt>
                <c:pt idx="1569">
                  <c:v>0.218</c:v>
                </c:pt>
                <c:pt idx="1570">
                  <c:v>0.053</c:v>
                </c:pt>
                <c:pt idx="1571">
                  <c:v>0.016</c:v>
                </c:pt>
                <c:pt idx="1572">
                  <c:v>0.027</c:v>
                </c:pt>
                <c:pt idx="1573">
                  <c:v>0.21</c:v>
                </c:pt>
                <c:pt idx="1574">
                  <c:v>0.132</c:v>
                </c:pt>
                <c:pt idx="1575">
                  <c:v>0.215</c:v>
                </c:pt>
                <c:pt idx="1576">
                  <c:v>0.101</c:v>
                </c:pt>
                <c:pt idx="1577">
                  <c:v>0.008</c:v>
                </c:pt>
                <c:pt idx="1578">
                  <c:v>0.062</c:v>
                </c:pt>
                <c:pt idx="1579">
                  <c:v>0.249</c:v>
                </c:pt>
                <c:pt idx="1580">
                  <c:v>0.012</c:v>
                </c:pt>
                <c:pt idx="1581">
                  <c:v>0.012</c:v>
                </c:pt>
                <c:pt idx="1582">
                  <c:v>0.035</c:v>
                </c:pt>
                <c:pt idx="1583">
                  <c:v>0.119</c:v>
                </c:pt>
                <c:pt idx="1584">
                  <c:v>0.034</c:v>
                </c:pt>
                <c:pt idx="1585">
                  <c:v>0.005</c:v>
                </c:pt>
                <c:pt idx="1586">
                  <c:v>0.008</c:v>
                </c:pt>
                <c:pt idx="1587">
                  <c:v>0.137</c:v>
                </c:pt>
                <c:pt idx="1588">
                  <c:v>0.05</c:v>
                </c:pt>
                <c:pt idx="1589">
                  <c:v>0.021</c:v>
                </c:pt>
                <c:pt idx="1590">
                  <c:v>0.007</c:v>
                </c:pt>
                <c:pt idx="1591">
                  <c:v>0.139</c:v>
                </c:pt>
                <c:pt idx="1592">
                  <c:v>0.133</c:v>
                </c:pt>
                <c:pt idx="1593">
                  <c:v>0.002</c:v>
                </c:pt>
                <c:pt idx="1594">
                  <c:v>0.08</c:v>
                </c:pt>
                <c:pt idx="1595">
                  <c:v>0.149</c:v>
                </c:pt>
                <c:pt idx="1596">
                  <c:v>0.01</c:v>
                </c:pt>
                <c:pt idx="1597">
                  <c:v>0.027</c:v>
                </c:pt>
                <c:pt idx="1598">
                  <c:v>0.187</c:v>
                </c:pt>
                <c:pt idx="1599">
                  <c:v>0.041</c:v>
                </c:pt>
                <c:pt idx="1600">
                  <c:v>0.046</c:v>
                </c:pt>
                <c:pt idx="1601">
                  <c:v>0.017</c:v>
                </c:pt>
                <c:pt idx="1602">
                  <c:v>0.047</c:v>
                </c:pt>
                <c:pt idx="1603">
                  <c:v>0.119</c:v>
                </c:pt>
                <c:pt idx="1604">
                  <c:v>0.062</c:v>
                </c:pt>
                <c:pt idx="1605">
                  <c:v>0.053</c:v>
                </c:pt>
                <c:pt idx="1606">
                  <c:v>0.183</c:v>
                </c:pt>
                <c:pt idx="1607">
                  <c:v>0.046</c:v>
                </c:pt>
                <c:pt idx="1608">
                  <c:v>0.338</c:v>
                </c:pt>
                <c:pt idx="1609">
                  <c:v>0.004</c:v>
                </c:pt>
                <c:pt idx="1610">
                  <c:v>0.19</c:v>
                </c:pt>
                <c:pt idx="1611">
                  <c:v>0.073</c:v>
                </c:pt>
                <c:pt idx="1612">
                  <c:v>0.009</c:v>
                </c:pt>
                <c:pt idx="1613">
                  <c:v>0.013</c:v>
                </c:pt>
                <c:pt idx="1614">
                  <c:v>0.109</c:v>
                </c:pt>
                <c:pt idx="1615">
                  <c:v>0.064</c:v>
                </c:pt>
                <c:pt idx="1616">
                  <c:v>0.021</c:v>
                </c:pt>
                <c:pt idx="1617">
                  <c:v>0.118</c:v>
                </c:pt>
                <c:pt idx="1618">
                  <c:v>0.251</c:v>
                </c:pt>
                <c:pt idx="1619">
                  <c:v>0.269</c:v>
                </c:pt>
                <c:pt idx="1620">
                  <c:v>0.047</c:v>
                </c:pt>
                <c:pt idx="1621">
                  <c:v>0.091</c:v>
                </c:pt>
                <c:pt idx="1622">
                  <c:v>0.005</c:v>
                </c:pt>
                <c:pt idx="1623">
                  <c:v>0.068</c:v>
                </c:pt>
                <c:pt idx="1624">
                  <c:v>0.046</c:v>
                </c:pt>
                <c:pt idx="1625">
                  <c:v>0.03</c:v>
                </c:pt>
                <c:pt idx="1626">
                  <c:v>0.068</c:v>
                </c:pt>
                <c:pt idx="1627">
                  <c:v>0.05</c:v>
                </c:pt>
                <c:pt idx="1628">
                  <c:v>0.011</c:v>
                </c:pt>
                <c:pt idx="1629">
                  <c:v>0.141</c:v>
                </c:pt>
                <c:pt idx="1630">
                  <c:v>0.046</c:v>
                </c:pt>
                <c:pt idx="1631">
                  <c:v>0.437</c:v>
                </c:pt>
                <c:pt idx="1632">
                  <c:v>0.017</c:v>
                </c:pt>
                <c:pt idx="1633">
                  <c:v>0.073</c:v>
                </c:pt>
                <c:pt idx="1634">
                  <c:v>0.127</c:v>
                </c:pt>
                <c:pt idx="1635">
                  <c:v>0.062</c:v>
                </c:pt>
                <c:pt idx="1636">
                  <c:v>0.051</c:v>
                </c:pt>
                <c:pt idx="1637">
                  <c:v>0.035</c:v>
                </c:pt>
                <c:pt idx="1638">
                  <c:v>0.146</c:v>
                </c:pt>
                <c:pt idx="1639">
                  <c:v>0.002</c:v>
                </c:pt>
                <c:pt idx="1640">
                  <c:v>0.008</c:v>
                </c:pt>
                <c:pt idx="1641">
                  <c:v>0.037</c:v>
                </c:pt>
                <c:pt idx="1642">
                  <c:v>0.173</c:v>
                </c:pt>
                <c:pt idx="1643">
                  <c:v>0.128</c:v>
                </c:pt>
                <c:pt idx="1644">
                  <c:v>0.008</c:v>
                </c:pt>
                <c:pt idx="1645">
                  <c:v>0.049</c:v>
                </c:pt>
                <c:pt idx="1646">
                  <c:v>0.041</c:v>
                </c:pt>
                <c:pt idx="1647">
                  <c:v>0.064</c:v>
                </c:pt>
                <c:pt idx="1648">
                  <c:v>0.009</c:v>
                </c:pt>
                <c:pt idx="1649">
                  <c:v>0.017</c:v>
                </c:pt>
                <c:pt idx="1650">
                  <c:v>0.261</c:v>
                </c:pt>
                <c:pt idx="1651">
                  <c:v>0.233</c:v>
                </c:pt>
                <c:pt idx="1652">
                  <c:v>0.004</c:v>
                </c:pt>
                <c:pt idx="1653">
                  <c:v>0.078</c:v>
                </c:pt>
                <c:pt idx="1654">
                  <c:v>0.023</c:v>
                </c:pt>
                <c:pt idx="1655">
                  <c:v>0.008</c:v>
                </c:pt>
                <c:pt idx="1656">
                  <c:v>0.017</c:v>
                </c:pt>
                <c:pt idx="1657">
                  <c:v>0.132</c:v>
                </c:pt>
                <c:pt idx="1658">
                  <c:v>0.183</c:v>
                </c:pt>
                <c:pt idx="1659">
                  <c:v>0.05</c:v>
                </c:pt>
                <c:pt idx="1660">
                  <c:v>0.027</c:v>
                </c:pt>
                <c:pt idx="1661">
                  <c:v>0.005</c:v>
                </c:pt>
                <c:pt idx="1662">
                  <c:v>0.008</c:v>
                </c:pt>
                <c:pt idx="1663">
                  <c:v>0.05</c:v>
                </c:pt>
                <c:pt idx="1664">
                  <c:v>0.004</c:v>
                </c:pt>
                <c:pt idx="1665">
                  <c:v>0.219</c:v>
                </c:pt>
                <c:pt idx="1666">
                  <c:v>0.024</c:v>
                </c:pt>
                <c:pt idx="1667">
                  <c:v>0.036</c:v>
                </c:pt>
                <c:pt idx="1668">
                  <c:v>0.011</c:v>
                </c:pt>
                <c:pt idx="1669">
                  <c:v>0.013</c:v>
                </c:pt>
                <c:pt idx="1670">
                  <c:v>0.009</c:v>
                </c:pt>
                <c:pt idx="1671">
                  <c:v>0.005</c:v>
                </c:pt>
                <c:pt idx="1672">
                  <c:v>0.183</c:v>
                </c:pt>
                <c:pt idx="1673">
                  <c:v>0.008</c:v>
                </c:pt>
                <c:pt idx="1674">
                  <c:v>0.053</c:v>
                </c:pt>
                <c:pt idx="1675">
                  <c:v>0.032</c:v>
                </c:pt>
                <c:pt idx="1676">
                  <c:v>0.064</c:v>
                </c:pt>
                <c:pt idx="1677">
                  <c:v>0.083</c:v>
                </c:pt>
                <c:pt idx="1678">
                  <c:v>0.155</c:v>
                </c:pt>
                <c:pt idx="1679">
                  <c:v>0.013</c:v>
                </c:pt>
                <c:pt idx="1680">
                  <c:v>0.004</c:v>
                </c:pt>
                <c:pt idx="1681">
                  <c:v>0.04</c:v>
                </c:pt>
                <c:pt idx="1682">
                  <c:v>0.267</c:v>
                </c:pt>
                <c:pt idx="1683">
                  <c:v>0.018</c:v>
                </c:pt>
                <c:pt idx="1684">
                  <c:v>0.041</c:v>
                </c:pt>
                <c:pt idx="1685">
                  <c:v>0.329</c:v>
                </c:pt>
                <c:pt idx="1686">
                  <c:v>0.034</c:v>
                </c:pt>
                <c:pt idx="1687">
                  <c:v>0.013</c:v>
                </c:pt>
                <c:pt idx="1688">
                  <c:v>0.012</c:v>
                </c:pt>
                <c:pt idx="1689">
                  <c:v>0.042</c:v>
                </c:pt>
                <c:pt idx="1690">
                  <c:v>0.017</c:v>
                </c:pt>
                <c:pt idx="1691">
                  <c:v>0.008</c:v>
                </c:pt>
                <c:pt idx="1692">
                  <c:v>0.022</c:v>
                </c:pt>
                <c:pt idx="1693">
                  <c:v>0.052</c:v>
                </c:pt>
                <c:pt idx="1694">
                  <c:v>0.002</c:v>
                </c:pt>
                <c:pt idx="1695">
                  <c:v>0.024</c:v>
                </c:pt>
                <c:pt idx="1696">
                  <c:v>0.023</c:v>
                </c:pt>
                <c:pt idx="1697">
                  <c:v>0.008</c:v>
                </c:pt>
                <c:pt idx="1698">
                  <c:v>0.008</c:v>
                </c:pt>
                <c:pt idx="1699">
                  <c:v>0.324</c:v>
                </c:pt>
                <c:pt idx="1700">
                  <c:v>0.049</c:v>
                </c:pt>
                <c:pt idx="1701">
                  <c:v>0.008</c:v>
                </c:pt>
                <c:pt idx="1702">
                  <c:v>0.027</c:v>
                </c:pt>
                <c:pt idx="1703">
                  <c:v>0.116</c:v>
                </c:pt>
                <c:pt idx="1704">
                  <c:v>0.004</c:v>
                </c:pt>
                <c:pt idx="1705">
                  <c:v>0.004</c:v>
                </c:pt>
                <c:pt idx="1706">
                  <c:v>0.132</c:v>
                </c:pt>
                <c:pt idx="1707">
                  <c:v>0.035</c:v>
                </c:pt>
                <c:pt idx="1708">
                  <c:v>0.013</c:v>
                </c:pt>
                <c:pt idx="1709">
                  <c:v>0.032</c:v>
                </c:pt>
                <c:pt idx="1710">
                  <c:v>0.027</c:v>
                </c:pt>
                <c:pt idx="1711">
                  <c:v>0.017</c:v>
                </c:pt>
                <c:pt idx="1712">
                  <c:v>0.046</c:v>
                </c:pt>
                <c:pt idx="1713">
                  <c:v>0.022</c:v>
                </c:pt>
                <c:pt idx="1714">
                  <c:v>0.011</c:v>
                </c:pt>
                <c:pt idx="1715">
                  <c:v>0.316</c:v>
                </c:pt>
                <c:pt idx="1716">
                  <c:v>0.004</c:v>
                </c:pt>
                <c:pt idx="1717">
                  <c:v>0.048</c:v>
                </c:pt>
                <c:pt idx="1718">
                  <c:v>0.008</c:v>
                </c:pt>
                <c:pt idx="1719">
                  <c:v>0.008</c:v>
                </c:pt>
                <c:pt idx="1720">
                  <c:v>0.1</c:v>
                </c:pt>
                <c:pt idx="1721">
                  <c:v>0.005</c:v>
                </c:pt>
                <c:pt idx="1722">
                  <c:v>0.068</c:v>
                </c:pt>
                <c:pt idx="1723">
                  <c:v>0.057</c:v>
                </c:pt>
                <c:pt idx="1724">
                  <c:v>0.008</c:v>
                </c:pt>
                <c:pt idx="1725">
                  <c:v>0.019</c:v>
                </c:pt>
                <c:pt idx="1726">
                  <c:v>0.037</c:v>
                </c:pt>
                <c:pt idx="1727">
                  <c:v>0.155</c:v>
                </c:pt>
                <c:pt idx="1728">
                  <c:v>0.055</c:v>
                </c:pt>
                <c:pt idx="1729">
                  <c:v>0.06</c:v>
                </c:pt>
                <c:pt idx="1730">
                  <c:v>0.005</c:v>
                </c:pt>
                <c:pt idx="1731">
                  <c:v>0.005</c:v>
                </c:pt>
                <c:pt idx="1732">
                  <c:v>0.043</c:v>
                </c:pt>
                <c:pt idx="1733">
                  <c:v>0.005</c:v>
                </c:pt>
                <c:pt idx="1734">
                  <c:v>0.045</c:v>
                </c:pt>
                <c:pt idx="1735">
                  <c:v>0.016</c:v>
                </c:pt>
                <c:pt idx="1736">
                  <c:v>0.021</c:v>
                </c:pt>
                <c:pt idx="1737">
                  <c:v>0.046</c:v>
                </c:pt>
                <c:pt idx="1738">
                  <c:v>0.068</c:v>
                </c:pt>
                <c:pt idx="1739">
                  <c:v>0.1</c:v>
                </c:pt>
                <c:pt idx="1740">
                  <c:v>0.013</c:v>
                </c:pt>
                <c:pt idx="1741">
                  <c:v>0.077</c:v>
                </c:pt>
                <c:pt idx="1742">
                  <c:v>0.123</c:v>
                </c:pt>
                <c:pt idx="1743">
                  <c:v>0.003</c:v>
                </c:pt>
                <c:pt idx="1744">
                  <c:v>0.013</c:v>
                </c:pt>
                <c:pt idx="1745">
                  <c:v>0.055</c:v>
                </c:pt>
                <c:pt idx="1746">
                  <c:v>0.013</c:v>
                </c:pt>
                <c:pt idx="1747">
                  <c:v>0.003</c:v>
                </c:pt>
                <c:pt idx="1748">
                  <c:v>0.103</c:v>
                </c:pt>
                <c:pt idx="1749">
                  <c:v>0.002</c:v>
                </c:pt>
                <c:pt idx="1750">
                  <c:v>0.044</c:v>
                </c:pt>
                <c:pt idx="1751">
                  <c:v>0.014</c:v>
                </c:pt>
                <c:pt idx="1752">
                  <c:v>0.008</c:v>
                </c:pt>
                <c:pt idx="1753">
                  <c:v>0.008</c:v>
                </c:pt>
                <c:pt idx="1754">
                  <c:v>0.058</c:v>
                </c:pt>
                <c:pt idx="1755">
                  <c:v>0.066</c:v>
                </c:pt>
                <c:pt idx="1756">
                  <c:v>0.31</c:v>
                </c:pt>
                <c:pt idx="1757">
                  <c:v>0.037</c:v>
                </c:pt>
                <c:pt idx="1758">
                  <c:v>0.038</c:v>
                </c:pt>
                <c:pt idx="1759">
                  <c:v>0.032</c:v>
                </c:pt>
                <c:pt idx="1760">
                  <c:v>0.078</c:v>
                </c:pt>
                <c:pt idx="1761">
                  <c:v>0.036</c:v>
                </c:pt>
                <c:pt idx="1762">
                  <c:v>0.004</c:v>
                </c:pt>
                <c:pt idx="1763">
                  <c:v>0.078</c:v>
                </c:pt>
                <c:pt idx="1764">
                  <c:v>0.004</c:v>
                </c:pt>
                <c:pt idx="1765">
                  <c:v>0.014</c:v>
                </c:pt>
                <c:pt idx="1766">
                  <c:v>0.024</c:v>
                </c:pt>
                <c:pt idx="1767">
                  <c:v>0.034</c:v>
                </c:pt>
                <c:pt idx="1768">
                  <c:v>0.004</c:v>
                </c:pt>
                <c:pt idx="1769">
                  <c:v>0.04</c:v>
                </c:pt>
                <c:pt idx="1770">
                  <c:v>0.059</c:v>
                </c:pt>
                <c:pt idx="1771">
                  <c:v>0.091</c:v>
                </c:pt>
                <c:pt idx="1772">
                  <c:v>0.008</c:v>
                </c:pt>
                <c:pt idx="1773">
                  <c:v>0.015</c:v>
                </c:pt>
                <c:pt idx="1774">
                  <c:v>0.008</c:v>
                </c:pt>
                <c:pt idx="1775">
                  <c:v>0.002</c:v>
                </c:pt>
                <c:pt idx="1776">
                  <c:v>0.055</c:v>
                </c:pt>
                <c:pt idx="1777">
                  <c:v>0.115</c:v>
                </c:pt>
                <c:pt idx="1778">
                  <c:v>0.005</c:v>
                </c:pt>
                <c:pt idx="1779">
                  <c:v>0.004</c:v>
                </c:pt>
                <c:pt idx="1780">
                  <c:v>0.075</c:v>
                </c:pt>
                <c:pt idx="1781">
                  <c:v>0.017</c:v>
                </c:pt>
                <c:pt idx="1782">
                  <c:v>0.045</c:v>
                </c:pt>
                <c:pt idx="1783">
                  <c:v>0.037</c:v>
                </c:pt>
                <c:pt idx="1784">
                  <c:v>0.008</c:v>
                </c:pt>
                <c:pt idx="1785">
                  <c:v>0.05</c:v>
                </c:pt>
                <c:pt idx="1786">
                  <c:v>0.019</c:v>
                </c:pt>
                <c:pt idx="1787">
                  <c:v>0.013</c:v>
                </c:pt>
                <c:pt idx="1788">
                  <c:v>0.071</c:v>
                </c:pt>
                <c:pt idx="1789">
                  <c:v>0.088</c:v>
                </c:pt>
                <c:pt idx="1790">
                  <c:v>0.008</c:v>
                </c:pt>
                <c:pt idx="1791">
                  <c:v>0.012</c:v>
                </c:pt>
                <c:pt idx="1792">
                  <c:v>0.279</c:v>
                </c:pt>
                <c:pt idx="1793">
                  <c:v>0.005</c:v>
                </c:pt>
                <c:pt idx="1794">
                  <c:v>0.018</c:v>
                </c:pt>
                <c:pt idx="1795">
                  <c:v>0.005</c:v>
                </c:pt>
                <c:pt idx="1796">
                  <c:v>0.05</c:v>
                </c:pt>
                <c:pt idx="1797">
                  <c:v>0.009</c:v>
                </c:pt>
                <c:pt idx="1798">
                  <c:v>0.002</c:v>
                </c:pt>
                <c:pt idx="1799">
                  <c:v>0.114</c:v>
                </c:pt>
                <c:pt idx="1800">
                  <c:v>0.055</c:v>
                </c:pt>
                <c:pt idx="1801">
                  <c:v>0.064</c:v>
                </c:pt>
                <c:pt idx="1802">
                  <c:v>0.005</c:v>
                </c:pt>
                <c:pt idx="1803">
                  <c:v>0.014</c:v>
                </c:pt>
                <c:pt idx="1804">
                  <c:v>0.005</c:v>
                </c:pt>
                <c:pt idx="1805">
                  <c:v>0.002</c:v>
                </c:pt>
                <c:pt idx="1806">
                  <c:v>0.004</c:v>
                </c:pt>
                <c:pt idx="1807">
                  <c:v>0.013</c:v>
                </c:pt>
                <c:pt idx="1808">
                  <c:v>0.002</c:v>
                </c:pt>
                <c:pt idx="1809">
                  <c:v>0.291</c:v>
                </c:pt>
                <c:pt idx="1810">
                  <c:v>0.013</c:v>
                </c:pt>
                <c:pt idx="1811">
                  <c:v>0.184</c:v>
                </c:pt>
                <c:pt idx="1812">
                  <c:v>0.142</c:v>
                </c:pt>
                <c:pt idx="1813">
                  <c:v>0.037</c:v>
                </c:pt>
                <c:pt idx="1814">
                  <c:v>0.043</c:v>
                </c:pt>
                <c:pt idx="1815">
                  <c:v>0.017</c:v>
                </c:pt>
                <c:pt idx="1816">
                  <c:v>0.021</c:v>
                </c:pt>
                <c:pt idx="1817">
                  <c:v>0.073</c:v>
                </c:pt>
                <c:pt idx="1818">
                  <c:v>0.004</c:v>
                </c:pt>
                <c:pt idx="1819">
                  <c:v>0.046</c:v>
                </c:pt>
                <c:pt idx="1820">
                  <c:v>0.074</c:v>
                </c:pt>
                <c:pt idx="1821">
                  <c:v>0.055</c:v>
                </c:pt>
                <c:pt idx="1822">
                  <c:v>0.04</c:v>
                </c:pt>
                <c:pt idx="1823">
                  <c:v>0.067</c:v>
                </c:pt>
                <c:pt idx="1824">
                  <c:v>0.017</c:v>
                </c:pt>
                <c:pt idx="1825">
                  <c:v>0.024</c:v>
                </c:pt>
                <c:pt idx="1826">
                  <c:v>0.005</c:v>
                </c:pt>
                <c:pt idx="1827">
                  <c:v>0.015</c:v>
                </c:pt>
                <c:pt idx="1828">
                  <c:v>0.002</c:v>
                </c:pt>
                <c:pt idx="1829">
                  <c:v>0.022</c:v>
                </c:pt>
                <c:pt idx="1830">
                  <c:v>0.023</c:v>
                </c:pt>
                <c:pt idx="1831">
                  <c:v>0.027</c:v>
                </c:pt>
                <c:pt idx="1832">
                  <c:v>0.064</c:v>
                </c:pt>
                <c:pt idx="1833">
                  <c:v>0.057</c:v>
                </c:pt>
                <c:pt idx="1834">
                  <c:v>0.008</c:v>
                </c:pt>
                <c:pt idx="1835">
                  <c:v>0.141</c:v>
                </c:pt>
                <c:pt idx="1836">
                  <c:v>0.187</c:v>
                </c:pt>
                <c:pt idx="1837">
                  <c:v>0.005</c:v>
                </c:pt>
                <c:pt idx="1838">
                  <c:v>0.05</c:v>
                </c:pt>
                <c:pt idx="1839">
                  <c:v>0.041</c:v>
                </c:pt>
                <c:pt idx="1840">
                  <c:v>0.022</c:v>
                </c:pt>
                <c:pt idx="1841">
                  <c:v>0.002</c:v>
                </c:pt>
                <c:pt idx="1842">
                  <c:v>0.009</c:v>
                </c:pt>
                <c:pt idx="1843">
                  <c:v>0.013</c:v>
                </c:pt>
                <c:pt idx="1844">
                  <c:v>0.297</c:v>
                </c:pt>
                <c:pt idx="1845">
                  <c:v>0.037</c:v>
                </c:pt>
                <c:pt idx="1846">
                  <c:v>0.145</c:v>
                </c:pt>
                <c:pt idx="1847">
                  <c:v>0.039</c:v>
                </c:pt>
                <c:pt idx="1848">
                  <c:v>0.07</c:v>
                </c:pt>
                <c:pt idx="1849">
                  <c:v>0.002</c:v>
                </c:pt>
                <c:pt idx="1850">
                  <c:v>0.014</c:v>
                </c:pt>
                <c:pt idx="1851">
                  <c:v>0.008</c:v>
                </c:pt>
                <c:pt idx="1852">
                  <c:v>0.046</c:v>
                </c:pt>
                <c:pt idx="1853">
                  <c:v>0.068</c:v>
                </c:pt>
                <c:pt idx="1854">
                  <c:v>0.073</c:v>
                </c:pt>
                <c:pt idx="1855">
                  <c:v>0.31</c:v>
                </c:pt>
                <c:pt idx="1856">
                  <c:v>0.002</c:v>
                </c:pt>
                <c:pt idx="1857">
                  <c:v>0.064</c:v>
                </c:pt>
                <c:pt idx="1858">
                  <c:v>0.016</c:v>
                </c:pt>
                <c:pt idx="1859">
                  <c:v>0.013</c:v>
                </c:pt>
                <c:pt idx="1860">
                  <c:v>0.027</c:v>
                </c:pt>
                <c:pt idx="1861">
                  <c:v>0.003</c:v>
                </c:pt>
                <c:pt idx="1862">
                  <c:v>0.004</c:v>
                </c:pt>
                <c:pt idx="1863">
                  <c:v>0.059</c:v>
                </c:pt>
                <c:pt idx="1864">
                  <c:v>0.002</c:v>
                </c:pt>
                <c:pt idx="1865">
                  <c:v>0.05</c:v>
                </c:pt>
                <c:pt idx="1866">
                  <c:v>0.048</c:v>
                </c:pt>
                <c:pt idx="1867">
                  <c:v>0.019</c:v>
                </c:pt>
                <c:pt idx="1868">
                  <c:v>0.032</c:v>
                </c:pt>
                <c:pt idx="1869">
                  <c:v>0.008</c:v>
                </c:pt>
                <c:pt idx="1870">
                  <c:v>0.004</c:v>
                </c:pt>
                <c:pt idx="1871">
                  <c:v>0.178</c:v>
                </c:pt>
                <c:pt idx="1872">
                  <c:v>0.011</c:v>
                </c:pt>
                <c:pt idx="1873">
                  <c:v>0.018</c:v>
                </c:pt>
                <c:pt idx="1874">
                  <c:v>0.005</c:v>
                </c:pt>
                <c:pt idx="1875">
                  <c:v>0.347</c:v>
                </c:pt>
                <c:pt idx="1876">
                  <c:v>0.041</c:v>
                </c:pt>
                <c:pt idx="1877">
                  <c:v>0.052</c:v>
                </c:pt>
                <c:pt idx="1878">
                  <c:v>0.027</c:v>
                </c:pt>
                <c:pt idx="1879">
                  <c:v>0.004</c:v>
                </c:pt>
                <c:pt idx="1880">
                  <c:v>0.031</c:v>
                </c:pt>
                <c:pt idx="1881">
                  <c:v>0.064</c:v>
                </c:pt>
                <c:pt idx="1882">
                  <c:v>0.002</c:v>
                </c:pt>
                <c:pt idx="1883">
                  <c:v>0.045</c:v>
                </c:pt>
                <c:pt idx="1884">
                  <c:v>0.08</c:v>
                </c:pt>
                <c:pt idx="1885">
                  <c:v>0.004</c:v>
                </c:pt>
                <c:pt idx="1886">
                  <c:v>0.098</c:v>
                </c:pt>
                <c:pt idx="1887">
                  <c:v>0.024</c:v>
                </c:pt>
                <c:pt idx="1888">
                  <c:v>0.005</c:v>
                </c:pt>
                <c:pt idx="1889">
                  <c:v>0.037</c:v>
                </c:pt>
                <c:pt idx="1890">
                  <c:v>0.008</c:v>
                </c:pt>
                <c:pt idx="1891">
                  <c:v>0.018</c:v>
                </c:pt>
                <c:pt idx="1892">
                  <c:v>0.023</c:v>
                </c:pt>
                <c:pt idx="1893">
                  <c:v>0.017</c:v>
                </c:pt>
                <c:pt idx="1894">
                  <c:v>0.23</c:v>
                </c:pt>
                <c:pt idx="1895">
                  <c:v>0.046</c:v>
                </c:pt>
                <c:pt idx="1896">
                  <c:v>0.023</c:v>
                </c:pt>
                <c:pt idx="1897">
                  <c:v>0.046</c:v>
                </c:pt>
                <c:pt idx="1898">
                  <c:v>0.12</c:v>
                </c:pt>
                <c:pt idx="1899">
                  <c:v>0.021</c:v>
                </c:pt>
                <c:pt idx="1900">
                  <c:v>0.027</c:v>
                </c:pt>
                <c:pt idx="1901">
                  <c:v>0.046</c:v>
                </c:pt>
                <c:pt idx="1902">
                  <c:v>0.04</c:v>
                </c:pt>
                <c:pt idx="1903">
                  <c:v>0.035</c:v>
                </c:pt>
                <c:pt idx="1904">
                  <c:v>0.026</c:v>
                </c:pt>
                <c:pt idx="1905">
                  <c:v>0.266</c:v>
                </c:pt>
                <c:pt idx="1906">
                  <c:v>0.059</c:v>
                </c:pt>
                <c:pt idx="1907">
                  <c:v>0.005</c:v>
                </c:pt>
                <c:pt idx="1908">
                  <c:v>0.028</c:v>
                </c:pt>
                <c:pt idx="1909">
                  <c:v>0.035</c:v>
                </c:pt>
                <c:pt idx="1910">
                  <c:v>0.028</c:v>
                </c:pt>
                <c:pt idx="1911">
                  <c:v>0.014</c:v>
                </c:pt>
                <c:pt idx="1912">
                  <c:v>0.002</c:v>
                </c:pt>
                <c:pt idx="1913">
                  <c:v>0.076</c:v>
                </c:pt>
                <c:pt idx="1914">
                  <c:v>0.005</c:v>
                </c:pt>
                <c:pt idx="1915">
                  <c:v>0.064</c:v>
                </c:pt>
                <c:pt idx="1916">
                  <c:v>0.017</c:v>
                </c:pt>
                <c:pt idx="1917">
                  <c:v>0.046</c:v>
                </c:pt>
                <c:pt idx="1918">
                  <c:v>0.024</c:v>
                </c:pt>
                <c:pt idx="1919">
                  <c:v>0.041</c:v>
                </c:pt>
                <c:pt idx="1920">
                  <c:v>0.008</c:v>
                </c:pt>
                <c:pt idx="1921">
                  <c:v>0.073</c:v>
                </c:pt>
                <c:pt idx="1922">
                  <c:v>0.078</c:v>
                </c:pt>
                <c:pt idx="1923">
                  <c:v>0.002</c:v>
                </c:pt>
                <c:pt idx="1924">
                  <c:v>0.048</c:v>
                </c:pt>
                <c:pt idx="1925">
                  <c:v>0.013</c:v>
                </c:pt>
                <c:pt idx="1926">
                  <c:v>0.008</c:v>
                </c:pt>
                <c:pt idx="1927">
                  <c:v>0.114</c:v>
                </c:pt>
                <c:pt idx="1928">
                  <c:v>0.138</c:v>
                </c:pt>
                <c:pt idx="1929">
                  <c:v>0.017</c:v>
                </c:pt>
                <c:pt idx="1930">
                  <c:v>0.008</c:v>
                </c:pt>
                <c:pt idx="1931">
                  <c:v>0.064</c:v>
                </c:pt>
                <c:pt idx="1932">
                  <c:v>0.049</c:v>
                </c:pt>
                <c:pt idx="1933">
                  <c:v>0.021</c:v>
                </c:pt>
                <c:pt idx="1934">
                  <c:v>0.041</c:v>
                </c:pt>
                <c:pt idx="1935">
                  <c:v>0.017</c:v>
                </c:pt>
                <c:pt idx="1936">
                  <c:v>0.076</c:v>
                </c:pt>
                <c:pt idx="1937">
                  <c:v>0.013</c:v>
                </c:pt>
                <c:pt idx="1938">
                  <c:v>0.008</c:v>
                </c:pt>
                <c:pt idx="1939">
                  <c:v>0.024</c:v>
                </c:pt>
                <c:pt idx="1940">
                  <c:v>0.005</c:v>
                </c:pt>
                <c:pt idx="1941">
                  <c:v>0.002</c:v>
                </c:pt>
                <c:pt idx="1942">
                  <c:v>0.13</c:v>
                </c:pt>
                <c:pt idx="1943">
                  <c:v>0.013</c:v>
                </c:pt>
                <c:pt idx="1944">
                  <c:v>0.002</c:v>
                </c:pt>
                <c:pt idx="1945">
                  <c:v>0.068</c:v>
                </c:pt>
                <c:pt idx="1946">
                  <c:v>0.068</c:v>
                </c:pt>
                <c:pt idx="1947">
                  <c:v>0.085</c:v>
                </c:pt>
                <c:pt idx="1948">
                  <c:v>0.023</c:v>
                </c:pt>
                <c:pt idx="1949">
                  <c:v>0.046</c:v>
                </c:pt>
                <c:pt idx="1950">
                  <c:v>0.05</c:v>
                </c:pt>
                <c:pt idx="1951">
                  <c:v>0.032</c:v>
                </c:pt>
                <c:pt idx="1952">
                  <c:v>0.005</c:v>
                </c:pt>
                <c:pt idx="1953">
                  <c:v>0.054</c:v>
                </c:pt>
                <c:pt idx="1954">
                  <c:v>0.034</c:v>
                </c:pt>
                <c:pt idx="1955">
                  <c:v>0.123</c:v>
                </c:pt>
                <c:pt idx="1956">
                  <c:v>0.053</c:v>
                </c:pt>
                <c:pt idx="1957">
                  <c:v>0.002</c:v>
                </c:pt>
                <c:pt idx="1958">
                  <c:v>0.05</c:v>
                </c:pt>
                <c:pt idx="1959">
                  <c:v>0.002</c:v>
                </c:pt>
                <c:pt idx="1960">
                  <c:v>0.087</c:v>
                </c:pt>
                <c:pt idx="1961">
                  <c:v>0.041</c:v>
                </c:pt>
                <c:pt idx="1962">
                  <c:v>0.106</c:v>
                </c:pt>
                <c:pt idx="1963">
                  <c:v>0.002</c:v>
                </c:pt>
                <c:pt idx="1964">
                  <c:v>0.009</c:v>
                </c:pt>
                <c:pt idx="1965">
                  <c:v>0.023</c:v>
                </c:pt>
                <c:pt idx="1966">
                  <c:v>0.009</c:v>
                </c:pt>
                <c:pt idx="1967">
                  <c:v>0.046</c:v>
                </c:pt>
                <c:pt idx="1968">
                  <c:v>0.123</c:v>
                </c:pt>
                <c:pt idx="1969">
                  <c:v>0.005</c:v>
                </c:pt>
                <c:pt idx="1970">
                  <c:v>0.046</c:v>
                </c:pt>
                <c:pt idx="1971">
                  <c:v>0.132</c:v>
                </c:pt>
                <c:pt idx="1972">
                  <c:v>0.046</c:v>
                </c:pt>
                <c:pt idx="1973">
                  <c:v>0.089</c:v>
                </c:pt>
                <c:pt idx="1974">
                  <c:v>0.064</c:v>
                </c:pt>
                <c:pt idx="1975">
                  <c:v>0.008</c:v>
                </c:pt>
                <c:pt idx="1976">
                  <c:v>0.068</c:v>
                </c:pt>
                <c:pt idx="1977">
                  <c:v>0.013</c:v>
                </c:pt>
                <c:pt idx="1978">
                  <c:v>0.05</c:v>
                </c:pt>
                <c:pt idx="1979">
                  <c:v>0.002</c:v>
                </c:pt>
                <c:pt idx="1980">
                  <c:v>0.041</c:v>
                </c:pt>
                <c:pt idx="1981">
                  <c:v>0.012</c:v>
                </c:pt>
                <c:pt idx="1982">
                  <c:v>0.059</c:v>
                </c:pt>
                <c:pt idx="1983">
                  <c:v>0.11</c:v>
                </c:pt>
                <c:pt idx="1984">
                  <c:v>0.037</c:v>
                </c:pt>
                <c:pt idx="1985">
                  <c:v>0.073</c:v>
                </c:pt>
                <c:pt idx="1986">
                  <c:v>0.037</c:v>
                </c:pt>
                <c:pt idx="1987">
                  <c:v>0.094</c:v>
                </c:pt>
                <c:pt idx="1988">
                  <c:v>0.005</c:v>
                </c:pt>
                <c:pt idx="1989">
                  <c:v>0.009</c:v>
                </c:pt>
                <c:pt idx="1990">
                  <c:v>0.005</c:v>
                </c:pt>
                <c:pt idx="1991">
                  <c:v>0.013</c:v>
                </c:pt>
                <c:pt idx="1992">
                  <c:v>0.019</c:v>
                </c:pt>
                <c:pt idx="1993">
                  <c:v>0.017</c:v>
                </c:pt>
                <c:pt idx="1994">
                  <c:v>0.005</c:v>
                </c:pt>
                <c:pt idx="1995">
                  <c:v>0.026</c:v>
                </c:pt>
                <c:pt idx="1996">
                  <c:v>0.054</c:v>
                </c:pt>
                <c:pt idx="1997">
                  <c:v>0.114</c:v>
                </c:pt>
                <c:pt idx="1998">
                  <c:v>0.009</c:v>
                </c:pt>
                <c:pt idx="1999">
                  <c:v>0.013</c:v>
                </c:pt>
                <c:pt idx="2000">
                  <c:v>0.008</c:v>
                </c:pt>
                <c:pt idx="2001">
                  <c:v>0.005</c:v>
                </c:pt>
                <c:pt idx="2002">
                  <c:v>0.032</c:v>
                </c:pt>
                <c:pt idx="2003">
                  <c:v>0.029</c:v>
                </c:pt>
                <c:pt idx="2004">
                  <c:v>0.132</c:v>
                </c:pt>
                <c:pt idx="2005">
                  <c:v>0.005</c:v>
                </c:pt>
                <c:pt idx="2006">
                  <c:v>0.004</c:v>
                </c:pt>
                <c:pt idx="2007">
                  <c:v>0.064</c:v>
                </c:pt>
                <c:pt idx="2008">
                  <c:v>0.009</c:v>
                </c:pt>
                <c:pt idx="2009">
                  <c:v>0.002</c:v>
                </c:pt>
                <c:pt idx="2010">
                  <c:v>0.017</c:v>
                </c:pt>
                <c:pt idx="2011">
                  <c:v>0.013</c:v>
                </c:pt>
                <c:pt idx="2012">
                  <c:v>0.076</c:v>
                </c:pt>
                <c:pt idx="2013">
                  <c:v>0.013</c:v>
                </c:pt>
                <c:pt idx="2014">
                  <c:v>0.005</c:v>
                </c:pt>
                <c:pt idx="2015">
                  <c:v>0.036</c:v>
                </c:pt>
                <c:pt idx="2016">
                  <c:v>0.046</c:v>
                </c:pt>
                <c:pt idx="2017">
                  <c:v>0.008</c:v>
                </c:pt>
                <c:pt idx="2018">
                  <c:v>0.018</c:v>
                </c:pt>
                <c:pt idx="2019">
                  <c:v>0.053</c:v>
                </c:pt>
                <c:pt idx="2020">
                  <c:v>0.027</c:v>
                </c:pt>
                <c:pt idx="2021">
                  <c:v>0.078</c:v>
                </c:pt>
                <c:pt idx="2022">
                  <c:v>0.005</c:v>
                </c:pt>
                <c:pt idx="2023">
                  <c:v>0.023</c:v>
                </c:pt>
                <c:pt idx="2024">
                  <c:v>0.037</c:v>
                </c:pt>
                <c:pt idx="2025">
                  <c:v>0.009</c:v>
                </c:pt>
                <c:pt idx="2026">
                  <c:v>0.029</c:v>
                </c:pt>
                <c:pt idx="2027">
                  <c:v>0.008</c:v>
                </c:pt>
                <c:pt idx="2028">
                  <c:v>0.055</c:v>
                </c:pt>
                <c:pt idx="2029">
                  <c:v>0.004</c:v>
                </c:pt>
                <c:pt idx="2030">
                  <c:v>0.046</c:v>
                </c:pt>
                <c:pt idx="2031">
                  <c:v>0.008</c:v>
                </c:pt>
                <c:pt idx="2032">
                  <c:v>0.004</c:v>
                </c:pt>
                <c:pt idx="2033">
                  <c:v>0.039</c:v>
                </c:pt>
                <c:pt idx="2034">
                  <c:v>0.005</c:v>
                </c:pt>
                <c:pt idx="2035">
                  <c:v>0.064</c:v>
                </c:pt>
                <c:pt idx="2036">
                  <c:v>0.064</c:v>
                </c:pt>
                <c:pt idx="2037">
                  <c:v>0.005</c:v>
                </c:pt>
                <c:pt idx="2038">
                  <c:v>0.027</c:v>
                </c:pt>
                <c:pt idx="2039">
                  <c:v>0.011</c:v>
                </c:pt>
                <c:pt idx="2040">
                  <c:v>0.041</c:v>
                </c:pt>
                <c:pt idx="2041">
                  <c:v>0.005</c:v>
                </c:pt>
                <c:pt idx="2042">
                  <c:v>0.059</c:v>
                </c:pt>
                <c:pt idx="2043">
                  <c:v>0.005</c:v>
                </c:pt>
                <c:pt idx="2044">
                  <c:v>0.064</c:v>
                </c:pt>
                <c:pt idx="2045">
                  <c:v>0.018</c:v>
                </c:pt>
                <c:pt idx="2046">
                  <c:v>0.083</c:v>
                </c:pt>
                <c:pt idx="2047">
                  <c:v>0.015</c:v>
                </c:pt>
                <c:pt idx="2048">
                  <c:v>0.005</c:v>
                </c:pt>
                <c:pt idx="2049">
                  <c:v>0.027</c:v>
                </c:pt>
                <c:pt idx="2050">
                  <c:v>0.009</c:v>
                </c:pt>
                <c:pt idx="2051">
                  <c:v>0.03</c:v>
                </c:pt>
                <c:pt idx="2052">
                  <c:v>0.008</c:v>
                </c:pt>
                <c:pt idx="2053">
                  <c:v>0.005</c:v>
                </c:pt>
                <c:pt idx="2054">
                  <c:v>0.011</c:v>
                </c:pt>
                <c:pt idx="2055">
                  <c:v>0.189</c:v>
                </c:pt>
                <c:pt idx="2056">
                  <c:v>0.002</c:v>
                </c:pt>
                <c:pt idx="2057">
                  <c:v>0.037</c:v>
                </c:pt>
                <c:pt idx="2058">
                  <c:v>0.011</c:v>
                </c:pt>
                <c:pt idx="2059">
                  <c:v>0.014</c:v>
                </c:pt>
                <c:pt idx="2060">
                  <c:v>0.064</c:v>
                </c:pt>
                <c:pt idx="2061">
                  <c:v>0.009</c:v>
                </c:pt>
                <c:pt idx="2062">
                  <c:v>0.01</c:v>
                </c:pt>
                <c:pt idx="2063">
                  <c:v>0.01</c:v>
                </c:pt>
                <c:pt idx="2064">
                  <c:v>0.027</c:v>
                </c:pt>
                <c:pt idx="2065">
                  <c:v>0.008</c:v>
                </c:pt>
                <c:pt idx="2066">
                  <c:v>0.032</c:v>
                </c:pt>
                <c:pt idx="2067">
                  <c:v>0.05</c:v>
                </c:pt>
                <c:pt idx="2068">
                  <c:v>0.037</c:v>
                </c:pt>
                <c:pt idx="2069">
                  <c:v>0.038</c:v>
                </c:pt>
                <c:pt idx="2070">
                  <c:v>0.023</c:v>
                </c:pt>
                <c:pt idx="2071">
                  <c:v>0.023</c:v>
                </c:pt>
                <c:pt idx="2072">
                  <c:v>0.008</c:v>
                </c:pt>
                <c:pt idx="2073">
                  <c:v>0.005</c:v>
                </c:pt>
                <c:pt idx="2074">
                  <c:v>0.032</c:v>
                </c:pt>
                <c:pt idx="2075">
                  <c:v>0.008</c:v>
                </c:pt>
                <c:pt idx="2076">
                  <c:v>0.005</c:v>
                </c:pt>
                <c:pt idx="2077">
                  <c:v>0.022</c:v>
                </c:pt>
                <c:pt idx="2078">
                  <c:v>0.018</c:v>
                </c:pt>
                <c:pt idx="2079">
                  <c:v>0.012</c:v>
                </c:pt>
                <c:pt idx="2080">
                  <c:v>0.009</c:v>
                </c:pt>
                <c:pt idx="2081">
                  <c:v>0.068</c:v>
                </c:pt>
                <c:pt idx="2082">
                  <c:v>0.032</c:v>
                </c:pt>
                <c:pt idx="2083">
                  <c:v>0.023</c:v>
                </c:pt>
                <c:pt idx="2084">
                  <c:v>0.015</c:v>
                </c:pt>
                <c:pt idx="2085">
                  <c:v>0.004</c:v>
                </c:pt>
                <c:pt idx="2086">
                  <c:v>0.008</c:v>
                </c:pt>
                <c:pt idx="2087">
                  <c:v>0.008</c:v>
                </c:pt>
                <c:pt idx="2088">
                  <c:v>0.008</c:v>
                </c:pt>
                <c:pt idx="2089">
                  <c:v>0.018</c:v>
                </c:pt>
                <c:pt idx="2090">
                  <c:v>0.022</c:v>
                </c:pt>
                <c:pt idx="2091">
                  <c:v>0.018</c:v>
                </c:pt>
                <c:pt idx="2092">
                  <c:v>0.059</c:v>
                </c:pt>
                <c:pt idx="2093">
                  <c:v>0.031</c:v>
                </c:pt>
                <c:pt idx="2094">
                  <c:v>0.109</c:v>
                </c:pt>
                <c:pt idx="2095">
                  <c:v>0.016</c:v>
                </c:pt>
                <c:pt idx="2096">
                  <c:v>0.004</c:v>
                </c:pt>
                <c:pt idx="2097">
                  <c:v>0.014</c:v>
                </c:pt>
                <c:pt idx="2098">
                  <c:v>0.017</c:v>
                </c:pt>
                <c:pt idx="2099">
                  <c:v>0.018</c:v>
                </c:pt>
                <c:pt idx="2100">
                  <c:v>0.017</c:v>
                </c:pt>
                <c:pt idx="2101">
                  <c:v>0.02</c:v>
                </c:pt>
                <c:pt idx="2102">
                  <c:v>0.016</c:v>
                </c:pt>
                <c:pt idx="2103">
                  <c:v>0.044</c:v>
                </c:pt>
                <c:pt idx="2104">
                  <c:v>0.008</c:v>
                </c:pt>
                <c:pt idx="2105">
                  <c:v>0.009</c:v>
                </c:pt>
                <c:pt idx="2106">
                  <c:v>0.05</c:v>
                </c:pt>
                <c:pt idx="2107">
                  <c:v>0.041</c:v>
                </c:pt>
                <c:pt idx="2108">
                  <c:v>0.155</c:v>
                </c:pt>
                <c:pt idx="2109">
                  <c:v>0.008</c:v>
                </c:pt>
                <c:pt idx="2110">
                  <c:v>0.041</c:v>
                </c:pt>
                <c:pt idx="2111">
                  <c:v>0.038</c:v>
                </c:pt>
                <c:pt idx="2112">
                  <c:v>0.008</c:v>
                </c:pt>
                <c:pt idx="2113">
                  <c:v>0.041</c:v>
                </c:pt>
                <c:pt idx="2114">
                  <c:v>0.003</c:v>
                </c:pt>
                <c:pt idx="2115">
                  <c:v>0.009</c:v>
                </c:pt>
                <c:pt idx="2116">
                  <c:v>0.008</c:v>
                </c:pt>
                <c:pt idx="2117">
                  <c:v>0.01</c:v>
                </c:pt>
                <c:pt idx="2118">
                  <c:v>0.016</c:v>
                </c:pt>
                <c:pt idx="2119">
                  <c:v>0.011</c:v>
                </c:pt>
                <c:pt idx="2120">
                  <c:v>0.041</c:v>
                </c:pt>
                <c:pt idx="2121">
                  <c:v>0.037</c:v>
                </c:pt>
                <c:pt idx="2122">
                  <c:v>0.02</c:v>
                </c:pt>
                <c:pt idx="2123">
                  <c:v>0.008</c:v>
                </c:pt>
                <c:pt idx="2124">
                  <c:v>0.005</c:v>
                </c:pt>
                <c:pt idx="2125">
                  <c:v>0.027</c:v>
                </c:pt>
                <c:pt idx="2126">
                  <c:v>0.008</c:v>
                </c:pt>
                <c:pt idx="2127">
                  <c:v>0.027</c:v>
                </c:pt>
                <c:pt idx="2128">
                  <c:v>0.027</c:v>
                </c:pt>
                <c:pt idx="2129">
                  <c:v>0.027</c:v>
                </c:pt>
                <c:pt idx="2130">
                  <c:v>0.027</c:v>
                </c:pt>
                <c:pt idx="2131">
                  <c:v>0.005</c:v>
                </c:pt>
                <c:pt idx="2132">
                  <c:v>0.116</c:v>
                </c:pt>
                <c:pt idx="2133">
                  <c:v>0.037</c:v>
                </c:pt>
                <c:pt idx="2134">
                  <c:v>0.059</c:v>
                </c:pt>
                <c:pt idx="2135">
                  <c:v>0.018</c:v>
                </c:pt>
                <c:pt idx="2136">
                  <c:v>0.059</c:v>
                </c:pt>
                <c:pt idx="2137">
                  <c:v>0.093</c:v>
                </c:pt>
                <c:pt idx="2138">
                  <c:v>0.037</c:v>
                </c:pt>
                <c:pt idx="2139">
                  <c:v>0.018</c:v>
                </c:pt>
                <c:pt idx="2140">
                  <c:v>0.014</c:v>
                </c:pt>
                <c:pt idx="2141">
                  <c:v>0.187</c:v>
                </c:pt>
                <c:pt idx="2142">
                  <c:v>0.008</c:v>
                </c:pt>
                <c:pt idx="2143">
                  <c:v>0.037</c:v>
                </c:pt>
                <c:pt idx="2144">
                  <c:v>0.005</c:v>
                </c:pt>
                <c:pt idx="2145">
                  <c:v>0.059</c:v>
                </c:pt>
                <c:pt idx="2146">
                  <c:v>0.055</c:v>
                </c:pt>
                <c:pt idx="2147">
                  <c:v>0.064</c:v>
                </c:pt>
                <c:pt idx="2148">
                  <c:v>0.009</c:v>
                </c:pt>
                <c:pt idx="2149">
                  <c:v>0.029</c:v>
                </c:pt>
                <c:pt idx="2150">
                  <c:v>0.055</c:v>
                </c:pt>
                <c:pt idx="2151">
                  <c:v>0.004</c:v>
                </c:pt>
                <c:pt idx="2152">
                  <c:v>0.062</c:v>
                </c:pt>
                <c:pt idx="2153">
                  <c:v>0.283</c:v>
                </c:pt>
                <c:pt idx="2154">
                  <c:v>0.015</c:v>
                </c:pt>
                <c:pt idx="2155">
                  <c:v>0.004</c:v>
                </c:pt>
                <c:pt idx="2156">
                  <c:v>0.005</c:v>
                </c:pt>
                <c:pt idx="2157">
                  <c:v>0.269</c:v>
                </c:pt>
                <c:pt idx="2158">
                  <c:v>0.008</c:v>
                </c:pt>
                <c:pt idx="2159">
                  <c:v>0.004</c:v>
                </c:pt>
                <c:pt idx="2160">
                  <c:v>0.068</c:v>
                </c:pt>
                <c:pt idx="2161">
                  <c:v>0.002</c:v>
                </c:pt>
                <c:pt idx="2162">
                  <c:v>0.023</c:v>
                </c:pt>
                <c:pt idx="2163">
                  <c:v>0.009</c:v>
                </c:pt>
                <c:pt idx="2164">
                  <c:v>0.004</c:v>
                </c:pt>
                <c:pt idx="2165">
                  <c:v>0.027</c:v>
                </c:pt>
                <c:pt idx="2166">
                  <c:v>0.041</c:v>
                </c:pt>
                <c:pt idx="2167">
                  <c:v>0.009</c:v>
                </c:pt>
                <c:pt idx="2168">
                  <c:v>0.005</c:v>
                </c:pt>
                <c:pt idx="2169">
                  <c:v>0.015</c:v>
                </c:pt>
                <c:pt idx="2170">
                  <c:v>0.008</c:v>
                </c:pt>
                <c:pt idx="2171">
                  <c:v>0.008</c:v>
                </c:pt>
                <c:pt idx="2172">
                  <c:v>0.091</c:v>
                </c:pt>
                <c:pt idx="2173">
                  <c:v>0.023</c:v>
                </c:pt>
                <c:pt idx="2174">
                  <c:v>0.068</c:v>
                </c:pt>
                <c:pt idx="2175">
                  <c:v>0.08</c:v>
                </c:pt>
                <c:pt idx="2176">
                  <c:v>0.009</c:v>
                </c:pt>
                <c:pt idx="2177">
                  <c:v>0.008</c:v>
                </c:pt>
                <c:pt idx="2178">
                  <c:v>0.009</c:v>
                </c:pt>
                <c:pt idx="2179">
                  <c:v>0.055</c:v>
                </c:pt>
                <c:pt idx="2180">
                  <c:v>0.031</c:v>
                </c:pt>
                <c:pt idx="2181">
                  <c:v>0.009</c:v>
                </c:pt>
                <c:pt idx="2182">
                  <c:v>0.013</c:v>
                </c:pt>
                <c:pt idx="2183">
                  <c:v>0.036</c:v>
                </c:pt>
                <c:pt idx="2184">
                  <c:v>0.027</c:v>
                </c:pt>
                <c:pt idx="2185">
                  <c:v>0.041</c:v>
                </c:pt>
                <c:pt idx="2186">
                  <c:v>0.012</c:v>
                </c:pt>
                <c:pt idx="2187">
                  <c:v>0.004</c:v>
                </c:pt>
                <c:pt idx="2188">
                  <c:v>0.027</c:v>
                </c:pt>
                <c:pt idx="2189">
                  <c:v>0.004</c:v>
                </c:pt>
                <c:pt idx="2190">
                  <c:v>0.046</c:v>
                </c:pt>
                <c:pt idx="2191">
                  <c:v>0.008</c:v>
                </c:pt>
                <c:pt idx="2192">
                  <c:v>0.049</c:v>
                </c:pt>
                <c:pt idx="2193">
                  <c:v>0.018</c:v>
                </c:pt>
                <c:pt idx="2194">
                  <c:v>0.013</c:v>
                </c:pt>
                <c:pt idx="2195">
                  <c:v>0.059</c:v>
                </c:pt>
                <c:pt idx="2196">
                  <c:v>0.173</c:v>
                </c:pt>
                <c:pt idx="2197">
                  <c:v>0.013</c:v>
                </c:pt>
                <c:pt idx="2198">
                  <c:v>0.041</c:v>
                </c:pt>
                <c:pt idx="2199">
                  <c:v>0.002</c:v>
                </c:pt>
                <c:pt idx="2200">
                  <c:v>0.04</c:v>
                </c:pt>
                <c:pt idx="2201">
                  <c:v>0.043</c:v>
                </c:pt>
                <c:pt idx="2202">
                  <c:v>0.005</c:v>
                </c:pt>
                <c:pt idx="2203">
                  <c:v>0.004</c:v>
                </c:pt>
                <c:pt idx="2204">
                  <c:v>0.005</c:v>
                </c:pt>
                <c:pt idx="2205">
                  <c:v>0.013</c:v>
                </c:pt>
                <c:pt idx="2206">
                  <c:v>0.068</c:v>
                </c:pt>
                <c:pt idx="2207">
                  <c:v>0.002</c:v>
                </c:pt>
                <c:pt idx="2208">
                  <c:v>0.009</c:v>
                </c:pt>
                <c:pt idx="2209">
                  <c:v>0.045</c:v>
                </c:pt>
                <c:pt idx="2210">
                  <c:v>0.008</c:v>
                </c:pt>
                <c:pt idx="2211">
                  <c:v>0.059</c:v>
                </c:pt>
                <c:pt idx="2212">
                  <c:v>0.068</c:v>
                </c:pt>
                <c:pt idx="2213">
                  <c:v>0.04</c:v>
                </c:pt>
                <c:pt idx="2214">
                  <c:v>0.046</c:v>
                </c:pt>
                <c:pt idx="2215">
                  <c:v>0.015</c:v>
                </c:pt>
                <c:pt idx="2216">
                  <c:v>0.012</c:v>
                </c:pt>
                <c:pt idx="2217">
                  <c:v>0.067</c:v>
                </c:pt>
                <c:pt idx="2218">
                  <c:v>0.011</c:v>
                </c:pt>
                <c:pt idx="2219">
                  <c:v>0.013</c:v>
                </c:pt>
                <c:pt idx="2220">
                  <c:v>0.032</c:v>
                </c:pt>
                <c:pt idx="2221">
                  <c:v>0.046</c:v>
                </c:pt>
                <c:pt idx="2222">
                  <c:v>0.023</c:v>
                </c:pt>
                <c:pt idx="2223">
                  <c:v>0.027</c:v>
                </c:pt>
                <c:pt idx="2224">
                  <c:v>0.022</c:v>
                </c:pt>
                <c:pt idx="2225">
                  <c:v>0.009</c:v>
                </c:pt>
                <c:pt idx="2226">
                  <c:v>0.041</c:v>
                </c:pt>
                <c:pt idx="2227">
                  <c:v>0.087</c:v>
                </c:pt>
                <c:pt idx="2228">
                  <c:v>0.005</c:v>
                </c:pt>
                <c:pt idx="2229">
                  <c:v>0.008</c:v>
                </c:pt>
                <c:pt idx="2230">
                  <c:v>0.021</c:v>
                </c:pt>
                <c:pt idx="2231">
                  <c:v>0.005</c:v>
                </c:pt>
                <c:pt idx="2232">
                  <c:v>0.013</c:v>
                </c:pt>
                <c:pt idx="2233">
                  <c:v>0.004</c:v>
                </c:pt>
                <c:pt idx="2234">
                  <c:v>0.008</c:v>
                </c:pt>
                <c:pt idx="2235">
                  <c:v>0.002</c:v>
                </c:pt>
                <c:pt idx="2236">
                  <c:v>0.005</c:v>
                </c:pt>
                <c:pt idx="2237">
                  <c:v>0.05</c:v>
                </c:pt>
                <c:pt idx="2238">
                  <c:v>0.041</c:v>
                </c:pt>
                <c:pt idx="2239">
                  <c:v>0.002</c:v>
                </c:pt>
                <c:pt idx="2240">
                  <c:v>0.002</c:v>
                </c:pt>
                <c:pt idx="2241">
                  <c:v>0.064</c:v>
                </c:pt>
                <c:pt idx="2242">
                  <c:v>0.018</c:v>
                </c:pt>
                <c:pt idx="2243">
                  <c:v>0.025</c:v>
                </c:pt>
                <c:pt idx="2244">
                  <c:v>0.031</c:v>
                </c:pt>
                <c:pt idx="2245">
                  <c:v>0.004</c:v>
                </c:pt>
                <c:pt idx="2246">
                  <c:v>0.002</c:v>
                </c:pt>
                <c:pt idx="2247">
                  <c:v>0.017</c:v>
                </c:pt>
                <c:pt idx="2248">
                  <c:v>0.022</c:v>
                </c:pt>
                <c:pt idx="2249">
                  <c:v>0.005</c:v>
                </c:pt>
                <c:pt idx="2250">
                  <c:v>0.004</c:v>
                </c:pt>
                <c:pt idx="2251">
                  <c:v>0.009</c:v>
                </c:pt>
                <c:pt idx="2252">
                  <c:v>0.064</c:v>
                </c:pt>
                <c:pt idx="2253">
                  <c:v>0.002</c:v>
                </c:pt>
                <c:pt idx="2254">
                  <c:v>0.015</c:v>
                </c:pt>
                <c:pt idx="2255">
                  <c:v>0.009</c:v>
                </c:pt>
                <c:pt idx="2256">
                  <c:v>0.002</c:v>
                </c:pt>
                <c:pt idx="2257">
                  <c:v>0.126</c:v>
                </c:pt>
                <c:pt idx="2258">
                  <c:v>0.004</c:v>
                </c:pt>
                <c:pt idx="2259">
                  <c:v>0.005</c:v>
                </c:pt>
                <c:pt idx="2260">
                  <c:v>0.055</c:v>
                </c:pt>
                <c:pt idx="2261">
                  <c:v>0.032</c:v>
                </c:pt>
                <c:pt idx="2262">
                  <c:v>0.018</c:v>
                </c:pt>
                <c:pt idx="2263">
                  <c:v>0.062</c:v>
                </c:pt>
                <c:pt idx="2264">
                  <c:v>0.039</c:v>
                </c:pt>
                <c:pt idx="2265">
                  <c:v>0.008</c:v>
                </c:pt>
                <c:pt idx="2266">
                  <c:v>0.002</c:v>
                </c:pt>
                <c:pt idx="2267">
                  <c:v>0.018</c:v>
                </c:pt>
                <c:pt idx="2268">
                  <c:v>0.018</c:v>
                </c:pt>
                <c:pt idx="2269">
                  <c:v>0.046</c:v>
                </c:pt>
                <c:pt idx="2270">
                  <c:v>0.004</c:v>
                </c:pt>
                <c:pt idx="2271">
                  <c:v>0.037</c:v>
                </c:pt>
                <c:pt idx="2272">
                  <c:v>0.004</c:v>
                </c:pt>
                <c:pt idx="2273">
                  <c:v>0.059</c:v>
                </c:pt>
                <c:pt idx="2274">
                  <c:v>0.002</c:v>
                </c:pt>
                <c:pt idx="2275">
                  <c:v>0.013</c:v>
                </c:pt>
                <c:pt idx="2276">
                  <c:v>0.041</c:v>
                </c:pt>
                <c:pt idx="2277">
                  <c:v>0.04</c:v>
                </c:pt>
                <c:pt idx="2278">
                  <c:v>0.005</c:v>
                </c:pt>
                <c:pt idx="2279">
                  <c:v>0.008</c:v>
                </c:pt>
                <c:pt idx="2280">
                  <c:v>0.046</c:v>
                </c:pt>
                <c:pt idx="2281">
                  <c:v>0.027</c:v>
                </c:pt>
                <c:pt idx="2282">
                  <c:v>0.027</c:v>
                </c:pt>
                <c:pt idx="2283">
                  <c:v>0.018</c:v>
                </c:pt>
                <c:pt idx="2284">
                  <c:v>0.004</c:v>
                </c:pt>
                <c:pt idx="2285">
                  <c:v>0.004</c:v>
                </c:pt>
                <c:pt idx="2286">
                  <c:v>0.008</c:v>
                </c:pt>
                <c:pt idx="2287">
                  <c:v>0.013</c:v>
                </c:pt>
                <c:pt idx="2288">
                  <c:v>0.033</c:v>
                </c:pt>
                <c:pt idx="2289">
                  <c:v>0.041</c:v>
                </c:pt>
                <c:pt idx="2290">
                  <c:v>0.037</c:v>
                </c:pt>
                <c:pt idx="2291">
                  <c:v>0.041</c:v>
                </c:pt>
                <c:pt idx="2292">
                  <c:v>0.004</c:v>
                </c:pt>
                <c:pt idx="2293">
                  <c:v>0.011</c:v>
                </c:pt>
                <c:pt idx="2294">
                  <c:v>0.041</c:v>
                </c:pt>
                <c:pt idx="2295">
                  <c:v>0.031</c:v>
                </c:pt>
                <c:pt idx="2296">
                  <c:v>0.002</c:v>
                </c:pt>
                <c:pt idx="2297">
                  <c:v>0.027</c:v>
                </c:pt>
                <c:pt idx="2298">
                  <c:v>0.008</c:v>
                </c:pt>
                <c:pt idx="2299">
                  <c:v>0.018</c:v>
                </c:pt>
                <c:pt idx="2300">
                  <c:v>0.002</c:v>
                </c:pt>
                <c:pt idx="2301">
                  <c:v>0.046</c:v>
                </c:pt>
                <c:pt idx="2302">
                  <c:v>0.002</c:v>
                </c:pt>
                <c:pt idx="2303">
                  <c:v>0.017</c:v>
                </c:pt>
                <c:pt idx="2304">
                  <c:v>0.005</c:v>
                </c:pt>
                <c:pt idx="2305">
                  <c:v>0.045</c:v>
                </c:pt>
                <c:pt idx="2306">
                  <c:v>0.005</c:v>
                </c:pt>
                <c:pt idx="2307">
                  <c:v>0.012</c:v>
                </c:pt>
                <c:pt idx="2308">
                  <c:v>0.032</c:v>
                </c:pt>
                <c:pt idx="2309">
                  <c:v>0.005</c:v>
                </c:pt>
                <c:pt idx="2310">
                  <c:v>0.005</c:v>
                </c:pt>
                <c:pt idx="2311">
                  <c:v>0.036</c:v>
                </c:pt>
                <c:pt idx="2312">
                  <c:v>0.046</c:v>
                </c:pt>
                <c:pt idx="2313">
                  <c:v>0.006</c:v>
                </c:pt>
                <c:pt idx="2314">
                  <c:v>0.041</c:v>
                </c:pt>
                <c:pt idx="2315">
                  <c:v>0.005</c:v>
                </c:pt>
                <c:pt idx="2316">
                  <c:v>0.004</c:v>
                </c:pt>
                <c:pt idx="2317">
                  <c:v>0.004</c:v>
                </c:pt>
                <c:pt idx="2318">
                  <c:v>0.014</c:v>
                </c:pt>
                <c:pt idx="2319">
                  <c:v>0.046</c:v>
                </c:pt>
                <c:pt idx="2320">
                  <c:v>0.043</c:v>
                </c:pt>
                <c:pt idx="2321">
                  <c:v>0.023</c:v>
                </c:pt>
                <c:pt idx="2322">
                  <c:v>0.01</c:v>
                </c:pt>
                <c:pt idx="2323">
                  <c:v>0.009</c:v>
                </c:pt>
                <c:pt idx="2324">
                  <c:v>0.002</c:v>
                </c:pt>
                <c:pt idx="2325">
                  <c:v>0.004</c:v>
                </c:pt>
                <c:pt idx="2326">
                  <c:v>0.046</c:v>
                </c:pt>
                <c:pt idx="2327">
                  <c:v>0.008</c:v>
                </c:pt>
                <c:pt idx="2328">
                  <c:v>0.017</c:v>
                </c:pt>
                <c:pt idx="2329">
                  <c:v>0.05</c:v>
                </c:pt>
                <c:pt idx="2330">
                  <c:v>0.009</c:v>
                </c:pt>
                <c:pt idx="2331">
                  <c:v>0.008</c:v>
                </c:pt>
                <c:pt idx="2332">
                  <c:v>0.014</c:v>
                </c:pt>
                <c:pt idx="2333">
                  <c:v>0.027</c:v>
                </c:pt>
                <c:pt idx="2334">
                  <c:v>0.005</c:v>
                </c:pt>
                <c:pt idx="2335">
                  <c:v>0.005</c:v>
                </c:pt>
                <c:pt idx="2336">
                  <c:v>0.032</c:v>
                </c:pt>
                <c:pt idx="2337">
                  <c:v>0.008</c:v>
                </c:pt>
                <c:pt idx="2338">
                  <c:v>0.027</c:v>
                </c:pt>
                <c:pt idx="2339">
                  <c:v>0.008</c:v>
                </c:pt>
                <c:pt idx="2340">
                  <c:v>0.005</c:v>
                </c:pt>
                <c:pt idx="2341">
                  <c:v>0.009</c:v>
                </c:pt>
                <c:pt idx="2342">
                  <c:v>0.039</c:v>
                </c:pt>
                <c:pt idx="2343">
                  <c:v>0.027</c:v>
                </c:pt>
                <c:pt idx="2344">
                  <c:v>0.041</c:v>
                </c:pt>
                <c:pt idx="2345">
                  <c:v>0.008</c:v>
                </c:pt>
                <c:pt idx="2346">
                  <c:v>0.055</c:v>
                </c:pt>
                <c:pt idx="2347">
                  <c:v>0.046</c:v>
                </c:pt>
                <c:pt idx="2348">
                  <c:v>0.008</c:v>
                </c:pt>
                <c:pt idx="2349">
                  <c:v>0.027</c:v>
                </c:pt>
                <c:pt idx="2350">
                  <c:v>0.032</c:v>
                </c:pt>
                <c:pt idx="2351">
                  <c:v>0.009</c:v>
                </c:pt>
                <c:pt idx="2352">
                  <c:v>0.009</c:v>
                </c:pt>
                <c:pt idx="2353">
                  <c:v>0.03</c:v>
                </c:pt>
                <c:pt idx="2354">
                  <c:v>0.018</c:v>
                </c:pt>
                <c:pt idx="2355">
                  <c:v>0.032</c:v>
                </c:pt>
                <c:pt idx="2356">
                  <c:v>0.023</c:v>
                </c:pt>
                <c:pt idx="2357">
                  <c:v>0.013</c:v>
                </c:pt>
                <c:pt idx="2358">
                  <c:v>0.037</c:v>
                </c:pt>
                <c:pt idx="2359">
                  <c:v>0.031</c:v>
                </c:pt>
                <c:pt idx="2360">
                  <c:v>0.023</c:v>
                </c:pt>
                <c:pt idx="2361">
                  <c:v>0.018</c:v>
                </c:pt>
                <c:pt idx="2362">
                  <c:v>0.004</c:v>
                </c:pt>
                <c:pt idx="2363">
                  <c:v>0.009</c:v>
                </c:pt>
                <c:pt idx="2364">
                  <c:v>0.005</c:v>
                </c:pt>
                <c:pt idx="2365">
                  <c:v>0.008</c:v>
                </c:pt>
                <c:pt idx="2366">
                  <c:v>0.005</c:v>
                </c:pt>
                <c:pt idx="2367">
                  <c:v>0.014</c:v>
                </c:pt>
                <c:pt idx="2368">
                  <c:v>0.05</c:v>
                </c:pt>
                <c:pt idx="2369">
                  <c:v>0.114</c:v>
                </c:pt>
                <c:pt idx="2370">
                  <c:v>0.046</c:v>
                </c:pt>
                <c:pt idx="2371">
                  <c:v>0.032</c:v>
                </c:pt>
                <c:pt idx="2372">
                  <c:v>0.022</c:v>
                </c:pt>
                <c:pt idx="2373">
                  <c:v>0.053</c:v>
                </c:pt>
                <c:pt idx="2374">
                  <c:v>0.018</c:v>
                </c:pt>
                <c:pt idx="2375">
                  <c:v>0.009</c:v>
                </c:pt>
                <c:pt idx="2376">
                  <c:v>0.032</c:v>
                </c:pt>
                <c:pt idx="2377">
                  <c:v>0.008</c:v>
                </c:pt>
                <c:pt idx="2378">
                  <c:v>0.084</c:v>
                </c:pt>
                <c:pt idx="2379">
                  <c:v>0.009</c:v>
                </c:pt>
                <c:pt idx="2380">
                  <c:v>0.002</c:v>
                </c:pt>
                <c:pt idx="2381">
                  <c:v>0.013</c:v>
                </c:pt>
                <c:pt idx="2382">
                  <c:v>0.037</c:v>
                </c:pt>
                <c:pt idx="2383">
                  <c:v>0.037</c:v>
                </c:pt>
                <c:pt idx="2384">
                  <c:v>0.03</c:v>
                </c:pt>
                <c:pt idx="2385">
                  <c:v>0.002</c:v>
                </c:pt>
                <c:pt idx="2386">
                  <c:v>0.002</c:v>
                </c:pt>
                <c:pt idx="2387">
                  <c:v>0.018</c:v>
                </c:pt>
                <c:pt idx="2388">
                  <c:v>0.002</c:v>
                </c:pt>
                <c:pt idx="2389">
                  <c:v>0.006</c:v>
                </c:pt>
                <c:pt idx="2390">
                  <c:v>0.008</c:v>
                </c:pt>
                <c:pt idx="2391">
                  <c:v>0.046</c:v>
                </c:pt>
                <c:pt idx="2392">
                  <c:v>0.005</c:v>
                </c:pt>
                <c:pt idx="2393">
                  <c:v>0.004</c:v>
                </c:pt>
                <c:pt idx="2394">
                  <c:v>0.013</c:v>
                </c:pt>
                <c:pt idx="2395">
                  <c:v>0.009</c:v>
                </c:pt>
                <c:pt idx="2396">
                  <c:v>0.018</c:v>
                </c:pt>
                <c:pt idx="2397">
                  <c:v>0.009</c:v>
                </c:pt>
                <c:pt idx="2398">
                  <c:v>0.037</c:v>
                </c:pt>
                <c:pt idx="2399">
                  <c:v>0.009</c:v>
                </c:pt>
                <c:pt idx="2400">
                  <c:v>0.005</c:v>
                </c:pt>
                <c:pt idx="2401">
                  <c:v>0.014</c:v>
                </c:pt>
                <c:pt idx="2402">
                  <c:v>0.01</c:v>
                </c:pt>
                <c:pt idx="2403">
                  <c:v>0.055</c:v>
                </c:pt>
                <c:pt idx="2404">
                  <c:v>0.005</c:v>
                </c:pt>
                <c:pt idx="2405">
                  <c:v>0.02</c:v>
                </c:pt>
                <c:pt idx="2406">
                  <c:v>0.013</c:v>
                </c:pt>
                <c:pt idx="2407">
                  <c:v>0.037</c:v>
                </c:pt>
                <c:pt idx="2408">
                  <c:v>0.008</c:v>
                </c:pt>
                <c:pt idx="2409">
                  <c:v>0.005</c:v>
                </c:pt>
                <c:pt idx="2410">
                  <c:v>0.005</c:v>
                </c:pt>
                <c:pt idx="2411">
                  <c:v>0.05</c:v>
                </c:pt>
                <c:pt idx="2412">
                  <c:v>0.004</c:v>
                </c:pt>
                <c:pt idx="2413">
                  <c:v>0.005</c:v>
                </c:pt>
                <c:pt idx="2414">
                  <c:v>0.012</c:v>
                </c:pt>
                <c:pt idx="2415">
                  <c:v>0.013</c:v>
                </c:pt>
                <c:pt idx="2416">
                  <c:v>0.017</c:v>
                </c:pt>
                <c:pt idx="2417">
                  <c:v>0.005</c:v>
                </c:pt>
                <c:pt idx="2418">
                  <c:v>0.02</c:v>
                </c:pt>
                <c:pt idx="2419">
                  <c:v>0.037</c:v>
                </c:pt>
                <c:pt idx="2420">
                  <c:v>0.002</c:v>
                </c:pt>
                <c:pt idx="2421">
                  <c:v>0.036</c:v>
                </c:pt>
                <c:pt idx="2422">
                  <c:v>0.012</c:v>
                </c:pt>
                <c:pt idx="2423">
                  <c:v>0.027</c:v>
                </c:pt>
                <c:pt idx="2424">
                  <c:v>0.004</c:v>
                </c:pt>
                <c:pt idx="2425">
                  <c:v>0.013</c:v>
                </c:pt>
                <c:pt idx="2426">
                  <c:v>0.005</c:v>
                </c:pt>
                <c:pt idx="2427">
                  <c:v>0.002</c:v>
                </c:pt>
                <c:pt idx="2428">
                  <c:v>0.005</c:v>
                </c:pt>
                <c:pt idx="2429">
                  <c:v>0.009</c:v>
                </c:pt>
                <c:pt idx="2430">
                  <c:v>0.023</c:v>
                </c:pt>
                <c:pt idx="2431">
                  <c:v>0.004</c:v>
                </c:pt>
                <c:pt idx="2432">
                  <c:v>0.002</c:v>
                </c:pt>
                <c:pt idx="2433">
                  <c:v>0.013</c:v>
                </c:pt>
                <c:pt idx="2434">
                  <c:v>0.011</c:v>
                </c:pt>
                <c:pt idx="2435">
                  <c:v>0.027</c:v>
                </c:pt>
                <c:pt idx="2436">
                  <c:v>0.018</c:v>
                </c:pt>
                <c:pt idx="2437">
                  <c:v>0.008</c:v>
                </c:pt>
                <c:pt idx="2438">
                  <c:v>0.012</c:v>
                </c:pt>
                <c:pt idx="2439">
                  <c:v>0.05</c:v>
                </c:pt>
                <c:pt idx="2440">
                  <c:v>0.004</c:v>
                </c:pt>
                <c:pt idx="2441">
                  <c:v>0.004</c:v>
                </c:pt>
                <c:pt idx="2442">
                  <c:v>0.005</c:v>
                </c:pt>
                <c:pt idx="2443">
                  <c:v>0.008</c:v>
                </c:pt>
                <c:pt idx="2444">
                  <c:v>0.004</c:v>
                </c:pt>
                <c:pt idx="2445">
                  <c:v>0.014</c:v>
                </c:pt>
                <c:pt idx="2446">
                  <c:v>0.004</c:v>
                </c:pt>
                <c:pt idx="2447">
                  <c:v>0.005</c:v>
                </c:pt>
                <c:pt idx="2448">
                  <c:v>0.013</c:v>
                </c:pt>
                <c:pt idx="2449">
                  <c:v>0.002</c:v>
                </c:pt>
                <c:pt idx="2450">
                  <c:v>0.018</c:v>
                </c:pt>
                <c:pt idx="2451">
                  <c:v>0.005</c:v>
                </c:pt>
                <c:pt idx="2452">
                  <c:v>0.005</c:v>
                </c:pt>
                <c:pt idx="2453">
                  <c:v>0.015</c:v>
                </c:pt>
                <c:pt idx="2454">
                  <c:v>0.023</c:v>
                </c:pt>
                <c:pt idx="2455">
                  <c:v>0.013</c:v>
                </c:pt>
                <c:pt idx="2456">
                  <c:v>0.004</c:v>
                </c:pt>
                <c:pt idx="2457">
                  <c:v>0.035</c:v>
                </c:pt>
                <c:pt idx="2458">
                  <c:v>0.005</c:v>
                </c:pt>
                <c:pt idx="2459">
                  <c:v>0.011</c:v>
                </c:pt>
                <c:pt idx="2460">
                  <c:v>0.008</c:v>
                </c:pt>
                <c:pt idx="2461">
                  <c:v>0.027</c:v>
                </c:pt>
                <c:pt idx="2462">
                  <c:v>0.014</c:v>
                </c:pt>
                <c:pt idx="2463">
                  <c:v>0.004</c:v>
                </c:pt>
                <c:pt idx="2464">
                  <c:v>0.012</c:v>
                </c:pt>
                <c:pt idx="2465">
                  <c:v>0.002</c:v>
                </c:pt>
                <c:pt idx="2466">
                  <c:v>0.009</c:v>
                </c:pt>
                <c:pt idx="2467">
                  <c:v>0.004</c:v>
                </c:pt>
                <c:pt idx="2468">
                  <c:v>0.023</c:v>
                </c:pt>
                <c:pt idx="2469">
                  <c:v>0.018</c:v>
                </c:pt>
                <c:pt idx="2470">
                  <c:v>0.005</c:v>
                </c:pt>
                <c:pt idx="2471">
                  <c:v>0.004</c:v>
                </c:pt>
                <c:pt idx="2472">
                  <c:v>0.004</c:v>
                </c:pt>
                <c:pt idx="2473">
                  <c:v>0.005</c:v>
                </c:pt>
                <c:pt idx="2474">
                  <c:v>0.005</c:v>
                </c:pt>
                <c:pt idx="2475">
                  <c:v>0.009</c:v>
                </c:pt>
                <c:pt idx="2476">
                  <c:v>0.026</c:v>
                </c:pt>
                <c:pt idx="2477">
                  <c:v>0.004</c:v>
                </c:pt>
                <c:pt idx="2478">
                  <c:v>0.013</c:v>
                </c:pt>
                <c:pt idx="2479">
                  <c:v>0.013</c:v>
                </c:pt>
                <c:pt idx="2480">
                  <c:v>0.059</c:v>
                </c:pt>
                <c:pt idx="2481">
                  <c:v>0.059</c:v>
                </c:pt>
                <c:pt idx="2482">
                  <c:v>0.009</c:v>
                </c:pt>
                <c:pt idx="2483">
                  <c:v>0.009</c:v>
                </c:pt>
                <c:pt idx="2484">
                  <c:v>0.018</c:v>
                </c:pt>
                <c:pt idx="2485">
                  <c:v>0.004</c:v>
                </c:pt>
                <c:pt idx="2486">
                  <c:v>0.013</c:v>
                </c:pt>
                <c:pt idx="2487">
                  <c:v>0.005</c:v>
                </c:pt>
                <c:pt idx="2488">
                  <c:v>0.005</c:v>
                </c:pt>
                <c:pt idx="2489">
                  <c:v>0.002</c:v>
                </c:pt>
                <c:pt idx="2490">
                  <c:v>0.005</c:v>
                </c:pt>
                <c:pt idx="2491">
                  <c:v>0.002</c:v>
                </c:pt>
                <c:pt idx="2492">
                  <c:v>0.009</c:v>
                </c:pt>
                <c:pt idx="2493">
                  <c:v>0.005</c:v>
                </c:pt>
                <c:pt idx="2494">
                  <c:v>0.005</c:v>
                </c:pt>
                <c:pt idx="2495">
                  <c:v>0.005</c:v>
                </c:pt>
                <c:pt idx="2496">
                  <c:v>0.055</c:v>
                </c:pt>
                <c:pt idx="2497">
                  <c:v>0.032</c:v>
                </c:pt>
                <c:pt idx="2498">
                  <c:v>0.002</c:v>
                </c:pt>
                <c:pt idx="2499">
                  <c:v>0.009</c:v>
                </c:pt>
                <c:pt idx="2500">
                  <c:v>0.014</c:v>
                </c:pt>
                <c:pt idx="2501">
                  <c:v>0.002</c:v>
                </c:pt>
                <c:pt idx="2502">
                  <c:v>0.004</c:v>
                </c:pt>
                <c:pt idx="2503">
                  <c:v>0.018</c:v>
                </c:pt>
                <c:pt idx="2504">
                  <c:v>0.022</c:v>
                </c:pt>
                <c:pt idx="2505">
                  <c:v>0.021</c:v>
                </c:pt>
                <c:pt idx="2506">
                  <c:v>0.013</c:v>
                </c:pt>
                <c:pt idx="2507">
                  <c:v>0.005</c:v>
                </c:pt>
                <c:pt idx="2508">
                  <c:v>0.005</c:v>
                </c:pt>
                <c:pt idx="2509">
                  <c:v>0.004</c:v>
                </c:pt>
                <c:pt idx="2510">
                  <c:v>0.05</c:v>
                </c:pt>
                <c:pt idx="2511">
                  <c:v>0.031</c:v>
                </c:pt>
                <c:pt idx="2512">
                  <c:v>0.008</c:v>
                </c:pt>
                <c:pt idx="2513">
                  <c:v>0.002</c:v>
                </c:pt>
                <c:pt idx="2514">
                  <c:v>0.027</c:v>
                </c:pt>
                <c:pt idx="2515">
                  <c:v>0.009</c:v>
                </c:pt>
                <c:pt idx="2516">
                  <c:v>0.013</c:v>
                </c:pt>
                <c:pt idx="2517">
                  <c:v>0.022</c:v>
                </c:pt>
                <c:pt idx="2518">
                  <c:v>0.005</c:v>
                </c:pt>
                <c:pt idx="2519">
                  <c:v>0.008</c:v>
                </c:pt>
                <c:pt idx="2520">
                  <c:v>0.009</c:v>
                </c:pt>
                <c:pt idx="2521">
                  <c:v>0.009</c:v>
                </c:pt>
                <c:pt idx="2522">
                  <c:v>0.022</c:v>
                </c:pt>
                <c:pt idx="2523">
                  <c:v>0.023</c:v>
                </c:pt>
                <c:pt idx="2524">
                  <c:v>0.013</c:v>
                </c:pt>
                <c:pt idx="2525">
                  <c:v>0.013</c:v>
                </c:pt>
                <c:pt idx="2526">
                  <c:v>0.004</c:v>
                </c:pt>
                <c:pt idx="2527">
                  <c:v>0.002</c:v>
                </c:pt>
                <c:pt idx="2528">
                  <c:v>0.013</c:v>
                </c:pt>
                <c:pt idx="2529">
                  <c:v>0.008</c:v>
                </c:pt>
                <c:pt idx="2530">
                  <c:v>0.025</c:v>
                </c:pt>
                <c:pt idx="2531">
                  <c:v>0.017</c:v>
                </c:pt>
                <c:pt idx="2532">
                  <c:v>0.005</c:v>
                </c:pt>
                <c:pt idx="2533">
                  <c:v>0.027</c:v>
                </c:pt>
                <c:pt idx="2534">
                  <c:v>0.022</c:v>
                </c:pt>
                <c:pt idx="2535">
                  <c:v>0.037</c:v>
                </c:pt>
                <c:pt idx="2536">
                  <c:v>0.008</c:v>
                </c:pt>
                <c:pt idx="2537">
                  <c:v>0.008</c:v>
                </c:pt>
                <c:pt idx="2538">
                  <c:v>0.009</c:v>
                </c:pt>
                <c:pt idx="2539">
                  <c:v>0.005</c:v>
                </c:pt>
                <c:pt idx="2540">
                  <c:v>0.013</c:v>
                </c:pt>
                <c:pt idx="2541">
                  <c:v>0.024</c:v>
                </c:pt>
                <c:pt idx="2542">
                  <c:v>0.005</c:v>
                </c:pt>
                <c:pt idx="2543">
                  <c:v>0.008</c:v>
                </c:pt>
                <c:pt idx="2544">
                  <c:v>0.009</c:v>
                </c:pt>
                <c:pt idx="2545">
                  <c:v>0.037</c:v>
                </c:pt>
                <c:pt idx="2546">
                  <c:v>0.052</c:v>
                </c:pt>
                <c:pt idx="2547">
                  <c:v>0.027</c:v>
                </c:pt>
                <c:pt idx="2548">
                  <c:v>0.005</c:v>
                </c:pt>
                <c:pt idx="2549">
                  <c:v>0.005</c:v>
                </c:pt>
                <c:pt idx="2550">
                  <c:v>0.012</c:v>
                </c:pt>
                <c:pt idx="2551">
                  <c:v>0.014</c:v>
                </c:pt>
                <c:pt idx="2552">
                  <c:v>0.023</c:v>
                </c:pt>
                <c:pt idx="2553">
                  <c:v>0.005</c:v>
                </c:pt>
                <c:pt idx="2554">
                  <c:v>0.023</c:v>
                </c:pt>
                <c:pt idx="2555">
                  <c:v>0.005</c:v>
                </c:pt>
                <c:pt idx="2556">
                  <c:v>0.004</c:v>
                </c:pt>
                <c:pt idx="2557">
                  <c:v>0.005</c:v>
                </c:pt>
                <c:pt idx="2558">
                  <c:v>0.002</c:v>
                </c:pt>
                <c:pt idx="2559">
                  <c:v>0.037</c:v>
                </c:pt>
                <c:pt idx="2560">
                  <c:v>0.017</c:v>
                </c:pt>
                <c:pt idx="2561">
                  <c:v>0.018</c:v>
                </c:pt>
                <c:pt idx="2562">
                  <c:v>0.016</c:v>
                </c:pt>
                <c:pt idx="2563">
                  <c:v>0.008</c:v>
                </c:pt>
                <c:pt idx="2564">
                  <c:v>0.032</c:v>
                </c:pt>
                <c:pt idx="2565">
                  <c:v>0.005</c:v>
                </c:pt>
                <c:pt idx="2566">
                  <c:v>0.037</c:v>
                </c:pt>
                <c:pt idx="2567">
                  <c:v>0.009</c:v>
                </c:pt>
                <c:pt idx="2568">
                  <c:v>0.032</c:v>
                </c:pt>
                <c:pt idx="2569">
                  <c:v>0.018</c:v>
                </c:pt>
                <c:pt idx="2570">
                  <c:v>0.004</c:v>
                </c:pt>
                <c:pt idx="2571">
                  <c:v>0.004</c:v>
                </c:pt>
                <c:pt idx="2572">
                  <c:v>0.005</c:v>
                </c:pt>
                <c:pt idx="2573">
                  <c:v>0.013</c:v>
                </c:pt>
                <c:pt idx="2574">
                  <c:v>0.031</c:v>
                </c:pt>
                <c:pt idx="2575">
                  <c:v>0.031</c:v>
                </c:pt>
                <c:pt idx="2576">
                  <c:v>0.004</c:v>
                </c:pt>
                <c:pt idx="2577">
                  <c:v>0.014</c:v>
                </c:pt>
                <c:pt idx="2578">
                  <c:v>0.017</c:v>
                </c:pt>
                <c:pt idx="2579">
                  <c:v>0.005</c:v>
                </c:pt>
                <c:pt idx="2580">
                  <c:v>0.064</c:v>
                </c:pt>
                <c:pt idx="2581">
                  <c:v>0.009</c:v>
                </c:pt>
                <c:pt idx="2582">
                  <c:v>0.032</c:v>
                </c:pt>
                <c:pt idx="2583">
                  <c:v>0.037</c:v>
                </c:pt>
                <c:pt idx="2584">
                  <c:v>0.002</c:v>
                </c:pt>
                <c:pt idx="2585">
                  <c:v>0.027</c:v>
                </c:pt>
                <c:pt idx="2586">
                  <c:v>0.004</c:v>
                </c:pt>
                <c:pt idx="2587">
                  <c:v>0.013</c:v>
                </c:pt>
                <c:pt idx="2588">
                  <c:v>0.008</c:v>
                </c:pt>
                <c:pt idx="2589">
                  <c:v>0.005</c:v>
                </c:pt>
                <c:pt idx="2590">
                  <c:v>0.027</c:v>
                </c:pt>
                <c:pt idx="2591">
                  <c:v>0.013</c:v>
                </c:pt>
                <c:pt idx="2592">
                  <c:v>0.018</c:v>
                </c:pt>
                <c:pt idx="2593">
                  <c:v>0.023</c:v>
                </c:pt>
                <c:pt idx="2594">
                  <c:v>0.004</c:v>
                </c:pt>
                <c:pt idx="2595">
                  <c:v>0.064</c:v>
                </c:pt>
                <c:pt idx="2596">
                  <c:v>0.018</c:v>
                </c:pt>
                <c:pt idx="2597">
                  <c:v>0.023</c:v>
                </c:pt>
                <c:pt idx="2598">
                  <c:v>0.005</c:v>
                </c:pt>
                <c:pt idx="2599">
                  <c:v>0.14</c:v>
                </c:pt>
                <c:pt idx="2600">
                  <c:v>0.031</c:v>
                </c:pt>
                <c:pt idx="2601">
                  <c:v>0.009</c:v>
                </c:pt>
                <c:pt idx="2602">
                  <c:v>0.009</c:v>
                </c:pt>
                <c:pt idx="2603">
                  <c:v>0.005</c:v>
                </c:pt>
                <c:pt idx="2604">
                  <c:v>0.005</c:v>
                </c:pt>
                <c:pt idx="2605">
                  <c:v>0.003</c:v>
                </c:pt>
                <c:pt idx="2606">
                  <c:v>0.016</c:v>
                </c:pt>
                <c:pt idx="2607">
                  <c:v>0.004</c:v>
                </c:pt>
                <c:pt idx="2608">
                  <c:v>0.009</c:v>
                </c:pt>
                <c:pt idx="2609">
                  <c:v>0.002</c:v>
                </c:pt>
                <c:pt idx="2610">
                  <c:v>0.004</c:v>
                </c:pt>
                <c:pt idx="2611">
                  <c:v>0.014</c:v>
                </c:pt>
                <c:pt idx="2612">
                  <c:v>0.008</c:v>
                </c:pt>
                <c:pt idx="2613">
                  <c:v>0.008</c:v>
                </c:pt>
                <c:pt idx="2614">
                  <c:v>0.004</c:v>
                </c:pt>
                <c:pt idx="2615">
                  <c:v>0.005</c:v>
                </c:pt>
                <c:pt idx="2616">
                  <c:v>0.004</c:v>
                </c:pt>
                <c:pt idx="2617">
                  <c:v>0.004</c:v>
                </c:pt>
                <c:pt idx="2618">
                  <c:v>0.002</c:v>
                </c:pt>
                <c:pt idx="2619">
                  <c:v>0.022</c:v>
                </c:pt>
                <c:pt idx="2620">
                  <c:v>0.005</c:v>
                </c:pt>
                <c:pt idx="2621">
                  <c:v>0.005</c:v>
                </c:pt>
                <c:pt idx="2622">
                  <c:v>0.009</c:v>
                </c:pt>
                <c:pt idx="2623">
                  <c:v>0.017</c:v>
                </c:pt>
                <c:pt idx="2624">
                  <c:v>0.004</c:v>
                </c:pt>
                <c:pt idx="2625">
                  <c:v>0.041</c:v>
                </c:pt>
                <c:pt idx="2626">
                  <c:v>0.009</c:v>
                </c:pt>
                <c:pt idx="2627">
                  <c:v>0.027</c:v>
                </c:pt>
                <c:pt idx="2628">
                  <c:v>0.004</c:v>
                </c:pt>
                <c:pt idx="2629">
                  <c:v>0.005</c:v>
                </c:pt>
                <c:pt idx="2630">
                  <c:v>0.059</c:v>
                </c:pt>
                <c:pt idx="2631">
                  <c:v>0.059</c:v>
                </c:pt>
                <c:pt idx="2632">
                  <c:v>0.008</c:v>
                </c:pt>
                <c:pt idx="2633">
                  <c:v>0.002</c:v>
                </c:pt>
                <c:pt idx="2634">
                  <c:v>0.005</c:v>
                </c:pt>
                <c:pt idx="2635">
                  <c:v>0.016</c:v>
                </c:pt>
                <c:pt idx="2636">
                  <c:v>0.009</c:v>
                </c:pt>
                <c:pt idx="2637">
                  <c:v>0.014</c:v>
                </c:pt>
                <c:pt idx="2638">
                  <c:v>0.059</c:v>
                </c:pt>
                <c:pt idx="2639">
                  <c:v>0.014</c:v>
                </c:pt>
                <c:pt idx="2640">
                  <c:v>0.014</c:v>
                </c:pt>
                <c:pt idx="2641">
                  <c:v>0.005</c:v>
                </c:pt>
                <c:pt idx="2642">
                  <c:v>0.004</c:v>
                </c:pt>
                <c:pt idx="2643">
                  <c:v>0.002</c:v>
                </c:pt>
                <c:pt idx="2644">
                  <c:v>0.037</c:v>
                </c:pt>
                <c:pt idx="2645">
                  <c:v>0.028</c:v>
                </c:pt>
                <c:pt idx="2646">
                  <c:v>0.005</c:v>
                </c:pt>
                <c:pt idx="2647">
                  <c:v>0.004</c:v>
                </c:pt>
                <c:pt idx="2648">
                  <c:v>0.005</c:v>
                </c:pt>
                <c:pt idx="2649">
                  <c:v>0.008</c:v>
                </c:pt>
                <c:pt idx="2650">
                  <c:v>0.002</c:v>
                </c:pt>
                <c:pt idx="2651">
                  <c:v>0.004</c:v>
                </c:pt>
                <c:pt idx="2652">
                  <c:v>0.014</c:v>
                </c:pt>
                <c:pt idx="2653">
                  <c:v>0.004</c:v>
                </c:pt>
                <c:pt idx="2654">
                  <c:v>0.008</c:v>
                </c:pt>
                <c:pt idx="2655">
                  <c:v>0.013</c:v>
                </c:pt>
                <c:pt idx="2656">
                  <c:v>0.009</c:v>
                </c:pt>
                <c:pt idx="2657">
                  <c:v>0.017</c:v>
                </c:pt>
                <c:pt idx="2658">
                  <c:v>0.005</c:v>
                </c:pt>
                <c:pt idx="2659">
                  <c:v>0.013</c:v>
                </c:pt>
                <c:pt idx="2660">
                  <c:v>0.027</c:v>
                </c:pt>
                <c:pt idx="2661">
                  <c:v>0.002</c:v>
                </c:pt>
                <c:pt idx="2662">
                  <c:v>0.027</c:v>
                </c:pt>
                <c:pt idx="2663">
                  <c:v>0.012</c:v>
                </c:pt>
                <c:pt idx="2664">
                  <c:v>0.009</c:v>
                </c:pt>
                <c:pt idx="2665">
                  <c:v>0.004</c:v>
                </c:pt>
                <c:pt idx="2666">
                  <c:v>0.009</c:v>
                </c:pt>
                <c:pt idx="2667">
                  <c:v>0.004</c:v>
                </c:pt>
                <c:pt idx="2668">
                  <c:v>0.002</c:v>
                </c:pt>
                <c:pt idx="2669">
                  <c:v>0.017</c:v>
                </c:pt>
                <c:pt idx="2670">
                  <c:v>0.002</c:v>
                </c:pt>
                <c:pt idx="2671">
                  <c:v>0.011</c:v>
                </c:pt>
                <c:pt idx="2672">
                  <c:v>0.017</c:v>
                </c:pt>
                <c:pt idx="2673">
                  <c:v>0.005</c:v>
                </c:pt>
                <c:pt idx="2674">
                  <c:v>0.004</c:v>
                </c:pt>
                <c:pt idx="2675">
                  <c:v>0.043</c:v>
                </c:pt>
                <c:pt idx="2676">
                  <c:v>0.002</c:v>
                </c:pt>
                <c:pt idx="2677">
                  <c:v>0.005</c:v>
                </c:pt>
                <c:pt idx="2678">
                  <c:v>0.018</c:v>
                </c:pt>
                <c:pt idx="2679">
                  <c:v>0.005</c:v>
                </c:pt>
                <c:pt idx="2680">
                  <c:v>0.005</c:v>
                </c:pt>
                <c:pt idx="2681">
                  <c:v>0.004</c:v>
                </c:pt>
                <c:pt idx="2682">
                  <c:v>0.018</c:v>
                </c:pt>
                <c:pt idx="2683">
                  <c:v>0.008</c:v>
                </c:pt>
                <c:pt idx="2684">
                  <c:v>0.005</c:v>
                </c:pt>
                <c:pt idx="2685">
                  <c:v>0.009</c:v>
                </c:pt>
                <c:pt idx="2686">
                  <c:v>0.005</c:v>
                </c:pt>
                <c:pt idx="2687">
                  <c:v>0.011</c:v>
                </c:pt>
                <c:pt idx="2688">
                  <c:v>0.017</c:v>
                </c:pt>
                <c:pt idx="2689">
                  <c:v>0.032</c:v>
                </c:pt>
                <c:pt idx="2690">
                  <c:v>0.066</c:v>
                </c:pt>
                <c:pt idx="2691">
                  <c:v>0.009</c:v>
                </c:pt>
                <c:pt idx="2692">
                  <c:v>0.005</c:v>
                </c:pt>
                <c:pt idx="2693">
                  <c:v>0.021</c:v>
                </c:pt>
                <c:pt idx="2694">
                  <c:v>0.009</c:v>
                </c:pt>
                <c:pt idx="2695">
                  <c:v>0.005</c:v>
                </c:pt>
                <c:pt idx="2696">
                  <c:v>0.005</c:v>
                </c:pt>
                <c:pt idx="2697">
                  <c:v>0.005</c:v>
                </c:pt>
                <c:pt idx="2698">
                  <c:v>0.005</c:v>
                </c:pt>
                <c:pt idx="2699">
                  <c:v>0.014</c:v>
                </c:pt>
                <c:pt idx="2700">
                  <c:v>0.009</c:v>
                </c:pt>
                <c:pt idx="2701">
                  <c:v>0.008</c:v>
                </c:pt>
                <c:pt idx="2702">
                  <c:v>0.002</c:v>
                </c:pt>
                <c:pt idx="2703">
                  <c:v>0.005</c:v>
                </c:pt>
                <c:pt idx="2704">
                  <c:v>0.009</c:v>
                </c:pt>
                <c:pt idx="2705">
                  <c:v>0.005</c:v>
                </c:pt>
                <c:pt idx="2706">
                  <c:v>0.027</c:v>
                </c:pt>
                <c:pt idx="2707">
                  <c:v>0.005</c:v>
                </c:pt>
                <c:pt idx="2708">
                  <c:v>0.005</c:v>
                </c:pt>
                <c:pt idx="2709">
                  <c:v>0.002</c:v>
                </c:pt>
                <c:pt idx="2710">
                  <c:v>0.005</c:v>
                </c:pt>
                <c:pt idx="2711">
                  <c:v>0.005</c:v>
                </c:pt>
                <c:pt idx="2712">
                  <c:v>0.014</c:v>
                </c:pt>
                <c:pt idx="2713">
                  <c:v>0.059</c:v>
                </c:pt>
                <c:pt idx="2714">
                  <c:v>0.014</c:v>
                </c:pt>
                <c:pt idx="2715">
                  <c:v>0.014</c:v>
                </c:pt>
                <c:pt idx="2716">
                  <c:v>0.002</c:v>
                </c:pt>
                <c:pt idx="2717">
                  <c:v>0.014</c:v>
                </c:pt>
                <c:pt idx="2718">
                  <c:v>0.024</c:v>
                </c:pt>
                <c:pt idx="2719">
                  <c:v>0.004</c:v>
                </c:pt>
                <c:pt idx="2720">
                  <c:v>0.018</c:v>
                </c:pt>
                <c:pt idx="2721">
                  <c:v>0.011</c:v>
                </c:pt>
                <c:pt idx="2722">
                  <c:v>0.009</c:v>
                </c:pt>
                <c:pt idx="2723">
                  <c:v>0.005</c:v>
                </c:pt>
                <c:pt idx="2724">
                  <c:v>0.014</c:v>
                </c:pt>
                <c:pt idx="2725">
                  <c:v>0.005</c:v>
                </c:pt>
                <c:pt idx="2726">
                  <c:v>0.004</c:v>
                </c:pt>
                <c:pt idx="2727">
                  <c:v>0.059</c:v>
                </c:pt>
                <c:pt idx="2728">
                  <c:v>0.005</c:v>
                </c:pt>
                <c:pt idx="2729">
                  <c:v>0.002</c:v>
                </c:pt>
                <c:pt idx="2730">
                  <c:v>0.023</c:v>
                </c:pt>
                <c:pt idx="2731">
                  <c:v>0.027</c:v>
                </c:pt>
                <c:pt idx="2732">
                  <c:v>0.014</c:v>
                </c:pt>
                <c:pt idx="2733">
                  <c:v>0.014</c:v>
                </c:pt>
                <c:pt idx="2734">
                  <c:v>0.014</c:v>
                </c:pt>
                <c:pt idx="2735">
                  <c:v>0.085</c:v>
                </c:pt>
                <c:pt idx="2736">
                  <c:v>0.017</c:v>
                </c:pt>
                <c:pt idx="2737">
                  <c:v>0.005</c:v>
                </c:pt>
                <c:pt idx="2738">
                  <c:v>0.009</c:v>
                </c:pt>
                <c:pt idx="2739">
                  <c:v>0.012</c:v>
                </c:pt>
                <c:pt idx="2740">
                  <c:v>0.009</c:v>
                </c:pt>
                <c:pt idx="2741">
                  <c:v>0.009</c:v>
                </c:pt>
                <c:pt idx="2742">
                  <c:v>0.004</c:v>
                </c:pt>
                <c:pt idx="2743">
                  <c:v>0.005</c:v>
                </c:pt>
                <c:pt idx="2744">
                  <c:v>0.008</c:v>
                </c:pt>
                <c:pt idx="2745">
                  <c:v>0.018</c:v>
                </c:pt>
                <c:pt idx="2746">
                  <c:v>0.005</c:v>
                </c:pt>
                <c:pt idx="2747">
                  <c:v>0.004</c:v>
                </c:pt>
                <c:pt idx="2748">
                  <c:v>0.014</c:v>
                </c:pt>
                <c:pt idx="2749">
                  <c:v>0.005</c:v>
                </c:pt>
                <c:pt idx="2750">
                  <c:v>0.027</c:v>
                </c:pt>
                <c:pt idx="2751">
                  <c:v>0.009</c:v>
                </c:pt>
                <c:pt idx="2752">
                  <c:v>0.009</c:v>
                </c:pt>
                <c:pt idx="2753">
                  <c:v>0.064</c:v>
                </c:pt>
                <c:pt idx="2754">
                  <c:v>0.005</c:v>
                </c:pt>
                <c:pt idx="2755">
                  <c:v>0.009</c:v>
                </c:pt>
                <c:pt idx="2756">
                  <c:v>0.011</c:v>
                </c:pt>
                <c:pt idx="2757">
                  <c:v>0.02</c:v>
                </c:pt>
                <c:pt idx="2758">
                  <c:v>0.005</c:v>
                </c:pt>
                <c:pt idx="2759">
                  <c:v>0.041</c:v>
                </c:pt>
                <c:pt idx="2760">
                  <c:v>0.018</c:v>
                </c:pt>
                <c:pt idx="2761">
                  <c:v>0.014</c:v>
                </c:pt>
                <c:pt idx="2762">
                  <c:v>0.006</c:v>
                </c:pt>
                <c:pt idx="2763">
                  <c:v>0.037</c:v>
                </c:pt>
                <c:pt idx="2764">
                  <c:v>0.005</c:v>
                </c:pt>
                <c:pt idx="2765">
                  <c:v>0.005</c:v>
                </c:pt>
                <c:pt idx="2766">
                  <c:v>0.005</c:v>
                </c:pt>
                <c:pt idx="2767">
                  <c:v>0.008</c:v>
                </c:pt>
                <c:pt idx="2768">
                  <c:v>0.004</c:v>
                </c:pt>
                <c:pt idx="2769">
                  <c:v>0.005</c:v>
                </c:pt>
                <c:pt idx="2770">
                  <c:v>0.009</c:v>
                </c:pt>
                <c:pt idx="2771">
                  <c:v>0.009</c:v>
                </c:pt>
                <c:pt idx="2772">
                  <c:v>0.008</c:v>
                </c:pt>
                <c:pt idx="2773">
                  <c:v>0.009</c:v>
                </c:pt>
                <c:pt idx="2774">
                  <c:v>0.005</c:v>
                </c:pt>
                <c:pt idx="2775">
                  <c:v>0.004</c:v>
                </c:pt>
                <c:pt idx="2776">
                  <c:v>0.008</c:v>
                </c:pt>
                <c:pt idx="2777">
                  <c:v>0.014</c:v>
                </c:pt>
                <c:pt idx="2778">
                  <c:v>0.009</c:v>
                </c:pt>
                <c:pt idx="2779">
                  <c:v>0.005</c:v>
                </c:pt>
                <c:pt idx="2780">
                  <c:v>0.037</c:v>
                </c:pt>
                <c:pt idx="2781">
                  <c:v>0.009</c:v>
                </c:pt>
                <c:pt idx="2782">
                  <c:v>0.009</c:v>
                </c:pt>
                <c:pt idx="2783">
                  <c:v>0.018</c:v>
                </c:pt>
                <c:pt idx="2784">
                  <c:v>0.013</c:v>
                </c:pt>
                <c:pt idx="2785">
                  <c:v>0.023</c:v>
                </c:pt>
                <c:pt idx="2786">
                  <c:v>0.048</c:v>
                </c:pt>
                <c:pt idx="2787">
                  <c:v>0.005</c:v>
                </c:pt>
                <c:pt idx="2788">
                  <c:v>0.005</c:v>
                </c:pt>
                <c:pt idx="2789">
                  <c:v>0.002</c:v>
                </c:pt>
                <c:pt idx="2790">
                  <c:v>0.034</c:v>
                </c:pt>
                <c:pt idx="2791">
                  <c:v>0.004</c:v>
                </c:pt>
                <c:pt idx="2792">
                  <c:v>0.005</c:v>
                </c:pt>
                <c:pt idx="2793">
                  <c:v>0.017</c:v>
                </c:pt>
                <c:pt idx="2794">
                  <c:v>0.008</c:v>
                </c:pt>
                <c:pt idx="2795">
                  <c:v>0.008</c:v>
                </c:pt>
                <c:pt idx="2796">
                  <c:v>0.023</c:v>
                </c:pt>
                <c:pt idx="2797">
                  <c:v>0.009</c:v>
                </c:pt>
                <c:pt idx="2798">
                  <c:v>0.032</c:v>
                </c:pt>
                <c:pt idx="2799">
                  <c:v>0.005</c:v>
                </c:pt>
                <c:pt idx="2800">
                  <c:v>0.014</c:v>
                </c:pt>
                <c:pt idx="2801">
                  <c:v>0.005</c:v>
                </c:pt>
                <c:pt idx="2802">
                  <c:v>0.015</c:v>
                </c:pt>
                <c:pt idx="2803">
                  <c:v>0.005</c:v>
                </c:pt>
                <c:pt idx="2804">
                  <c:v>0.005</c:v>
                </c:pt>
                <c:pt idx="2805">
                  <c:v>0.005</c:v>
                </c:pt>
                <c:pt idx="2806">
                  <c:v>0.013</c:v>
                </c:pt>
                <c:pt idx="2807">
                  <c:v>0.008</c:v>
                </c:pt>
                <c:pt idx="2808">
                  <c:v>0.062</c:v>
                </c:pt>
                <c:pt idx="2809">
                  <c:v>0.004</c:v>
                </c:pt>
                <c:pt idx="2810">
                  <c:v>0.008</c:v>
                </c:pt>
                <c:pt idx="2811">
                  <c:v>0.014</c:v>
                </c:pt>
                <c:pt idx="2812">
                  <c:v>0.009</c:v>
                </c:pt>
                <c:pt idx="2813">
                  <c:v>0.011</c:v>
                </c:pt>
                <c:pt idx="2814">
                  <c:v>0.002</c:v>
                </c:pt>
                <c:pt idx="2815">
                  <c:v>0.009</c:v>
                </c:pt>
                <c:pt idx="2816">
                  <c:v>0.002</c:v>
                </c:pt>
                <c:pt idx="2817">
                  <c:v>0.009</c:v>
                </c:pt>
                <c:pt idx="2818">
                  <c:v>0.011</c:v>
                </c:pt>
                <c:pt idx="2819">
                  <c:v>0.059</c:v>
                </c:pt>
                <c:pt idx="2820">
                  <c:v>0.014</c:v>
                </c:pt>
                <c:pt idx="2821">
                  <c:v>0.005</c:v>
                </c:pt>
                <c:pt idx="2822">
                  <c:v>0.004</c:v>
                </c:pt>
                <c:pt idx="2823">
                  <c:v>0.048</c:v>
                </c:pt>
                <c:pt idx="2824">
                  <c:v>0.008</c:v>
                </c:pt>
                <c:pt idx="2825">
                  <c:v>0.032</c:v>
                </c:pt>
                <c:pt idx="2826">
                  <c:v>0.004</c:v>
                </c:pt>
                <c:pt idx="2827">
                  <c:v>0.004</c:v>
                </c:pt>
                <c:pt idx="2828">
                  <c:v>0.014</c:v>
                </c:pt>
                <c:pt idx="2829">
                  <c:v>0.004</c:v>
                </c:pt>
                <c:pt idx="2830">
                  <c:v>0.009</c:v>
                </c:pt>
                <c:pt idx="2831">
                  <c:v>0.006</c:v>
                </c:pt>
                <c:pt idx="2832">
                  <c:v>0.005</c:v>
                </c:pt>
                <c:pt idx="2833">
                  <c:v>0.005</c:v>
                </c:pt>
                <c:pt idx="2834">
                  <c:v>0.059</c:v>
                </c:pt>
                <c:pt idx="2835">
                  <c:v>0.013</c:v>
                </c:pt>
                <c:pt idx="2836">
                  <c:v>0.014</c:v>
                </c:pt>
                <c:pt idx="2837">
                  <c:v>0.064</c:v>
                </c:pt>
                <c:pt idx="2838">
                  <c:v>0.033</c:v>
                </c:pt>
                <c:pt idx="2839">
                  <c:v>0.014</c:v>
                </c:pt>
                <c:pt idx="2840">
                  <c:v>0.013</c:v>
                </c:pt>
                <c:pt idx="2841">
                  <c:v>0.002</c:v>
                </c:pt>
                <c:pt idx="2842">
                  <c:v>0.004</c:v>
                </c:pt>
                <c:pt idx="2843">
                  <c:v>0.043</c:v>
                </c:pt>
                <c:pt idx="2844">
                  <c:v>0.013</c:v>
                </c:pt>
                <c:pt idx="2845">
                  <c:v>0.027</c:v>
                </c:pt>
                <c:pt idx="2846">
                  <c:v>0.004</c:v>
                </c:pt>
                <c:pt idx="2847">
                  <c:v>0.008</c:v>
                </c:pt>
                <c:pt idx="2848">
                  <c:v>0.005</c:v>
                </c:pt>
                <c:pt idx="2849">
                  <c:v>0.094</c:v>
                </c:pt>
                <c:pt idx="2850">
                  <c:v>0.032</c:v>
                </c:pt>
                <c:pt idx="2851">
                  <c:v>0.014</c:v>
                </c:pt>
                <c:pt idx="2852">
                  <c:v>0.032</c:v>
                </c:pt>
                <c:pt idx="2853">
                  <c:v>0.005</c:v>
                </c:pt>
                <c:pt idx="2854">
                  <c:v>0.005</c:v>
                </c:pt>
                <c:pt idx="2855">
                  <c:v>0.014</c:v>
                </c:pt>
                <c:pt idx="2856">
                  <c:v>0.018</c:v>
                </c:pt>
                <c:pt idx="2857">
                  <c:v>0.009</c:v>
                </c:pt>
                <c:pt idx="2858">
                  <c:v>0.018</c:v>
                </c:pt>
                <c:pt idx="2859">
                  <c:v>0.005</c:v>
                </c:pt>
                <c:pt idx="2860">
                  <c:v>0.008</c:v>
                </c:pt>
                <c:pt idx="2861">
                  <c:v>0.005</c:v>
                </c:pt>
                <c:pt idx="2862">
                  <c:v>0.008</c:v>
                </c:pt>
                <c:pt idx="2863">
                  <c:v>0.005</c:v>
                </c:pt>
                <c:pt idx="2864">
                  <c:v>0.013</c:v>
                </c:pt>
                <c:pt idx="2865">
                  <c:v>0.068</c:v>
                </c:pt>
                <c:pt idx="2866">
                  <c:v>0.032</c:v>
                </c:pt>
                <c:pt idx="2867">
                  <c:v>0.009</c:v>
                </c:pt>
                <c:pt idx="2868">
                  <c:v>0.005</c:v>
                </c:pt>
                <c:pt idx="2869">
                  <c:v>0.005</c:v>
                </c:pt>
                <c:pt idx="2870">
                  <c:v>0.014</c:v>
                </c:pt>
                <c:pt idx="2871">
                  <c:v>0.005</c:v>
                </c:pt>
                <c:pt idx="2872">
                  <c:v>0.009</c:v>
                </c:pt>
                <c:pt idx="2873">
                  <c:v>0.005</c:v>
                </c:pt>
                <c:pt idx="2874">
                  <c:v>0.005</c:v>
                </c:pt>
                <c:pt idx="2875">
                  <c:v>0.013</c:v>
                </c:pt>
                <c:pt idx="2876">
                  <c:v>0.078</c:v>
                </c:pt>
                <c:pt idx="2877">
                  <c:v>0.027</c:v>
                </c:pt>
                <c:pt idx="2878">
                  <c:v>0.002</c:v>
                </c:pt>
                <c:pt idx="2879">
                  <c:v>0.005</c:v>
                </c:pt>
                <c:pt idx="2880">
                  <c:v>0.005</c:v>
                </c:pt>
                <c:pt idx="2881">
                  <c:v>0.014</c:v>
                </c:pt>
                <c:pt idx="2882">
                  <c:v>0.004</c:v>
                </c:pt>
                <c:pt idx="2883">
                  <c:v>0.004</c:v>
                </c:pt>
                <c:pt idx="2884">
                  <c:v>0.014</c:v>
                </c:pt>
                <c:pt idx="2885">
                  <c:v>0.014</c:v>
                </c:pt>
                <c:pt idx="2886">
                  <c:v>0.004</c:v>
                </c:pt>
                <c:pt idx="2887">
                  <c:v>0.032</c:v>
                </c:pt>
                <c:pt idx="2888">
                  <c:v>0.008</c:v>
                </c:pt>
                <c:pt idx="2889">
                  <c:v>0.008</c:v>
                </c:pt>
                <c:pt idx="2890">
                  <c:v>0.009</c:v>
                </c:pt>
                <c:pt idx="2891">
                  <c:v>0.009</c:v>
                </c:pt>
                <c:pt idx="2892">
                  <c:v>0.005</c:v>
                </c:pt>
                <c:pt idx="2893">
                  <c:v>0.004</c:v>
                </c:pt>
                <c:pt idx="2894">
                  <c:v>0.013</c:v>
                </c:pt>
                <c:pt idx="2895">
                  <c:v>0.009</c:v>
                </c:pt>
                <c:pt idx="2896">
                  <c:v>0.014</c:v>
                </c:pt>
                <c:pt idx="2897">
                  <c:v>0.023</c:v>
                </c:pt>
                <c:pt idx="2898">
                  <c:v>0.009</c:v>
                </c:pt>
                <c:pt idx="2899">
                  <c:v>0.005</c:v>
                </c:pt>
                <c:pt idx="2900">
                  <c:v>0.017</c:v>
                </c:pt>
                <c:pt idx="2901">
                  <c:v>0.008</c:v>
                </c:pt>
                <c:pt idx="2902">
                  <c:v>0.009</c:v>
                </c:pt>
                <c:pt idx="2903">
                  <c:v>0.032</c:v>
                </c:pt>
                <c:pt idx="2904">
                  <c:v>0.005</c:v>
                </c:pt>
                <c:pt idx="2905">
                  <c:v>0.004</c:v>
                </c:pt>
                <c:pt idx="2906">
                  <c:v>0.009</c:v>
                </c:pt>
                <c:pt idx="2907">
                  <c:v>0.005</c:v>
                </c:pt>
                <c:pt idx="2908">
                  <c:v>0.032</c:v>
                </c:pt>
                <c:pt idx="2909">
                  <c:v>0.005</c:v>
                </c:pt>
                <c:pt idx="2910">
                  <c:v>0.008</c:v>
                </c:pt>
                <c:pt idx="2911">
                  <c:v>0.041</c:v>
                </c:pt>
                <c:pt idx="2912">
                  <c:v>0.013</c:v>
                </c:pt>
                <c:pt idx="2913">
                  <c:v>0.014</c:v>
                </c:pt>
                <c:pt idx="2914">
                  <c:v>0.004</c:v>
                </c:pt>
                <c:pt idx="2915">
                  <c:v>0.009</c:v>
                </c:pt>
                <c:pt idx="2916">
                  <c:v>0.009</c:v>
                </c:pt>
                <c:pt idx="2917">
                  <c:v>0.009</c:v>
                </c:pt>
                <c:pt idx="2918">
                  <c:v>0.004</c:v>
                </c:pt>
                <c:pt idx="2919">
                  <c:v>0.008</c:v>
                </c:pt>
                <c:pt idx="2920">
                  <c:v>0.005</c:v>
                </c:pt>
                <c:pt idx="2921">
                  <c:v>0.008</c:v>
                </c:pt>
                <c:pt idx="2922">
                  <c:v>0.005</c:v>
                </c:pt>
                <c:pt idx="2923">
                  <c:v>0.01</c:v>
                </c:pt>
                <c:pt idx="2924">
                  <c:v>0.025</c:v>
                </c:pt>
                <c:pt idx="2925">
                  <c:v>0.005</c:v>
                </c:pt>
                <c:pt idx="2926">
                  <c:v>0.009</c:v>
                </c:pt>
                <c:pt idx="2927">
                  <c:v>0.014</c:v>
                </c:pt>
                <c:pt idx="2928">
                  <c:v>0.009</c:v>
                </c:pt>
                <c:pt idx="2929">
                  <c:v>0.005</c:v>
                </c:pt>
                <c:pt idx="2930">
                  <c:v>0.004</c:v>
                </c:pt>
                <c:pt idx="2931">
                  <c:v>0.005</c:v>
                </c:pt>
                <c:pt idx="2932">
                  <c:v>0.014</c:v>
                </c:pt>
                <c:pt idx="2933">
                  <c:v>0.005</c:v>
                </c:pt>
                <c:pt idx="2934">
                  <c:v>0.014</c:v>
                </c:pt>
                <c:pt idx="2935">
                  <c:v>0.026</c:v>
                </c:pt>
                <c:pt idx="2936">
                  <c:v>0.006</c:v>
                </c:pt>
                <c:pt idx="2937">
                  <c:v>0.018</c:v>
                </c:pt>
                <c:pt idx="2938">
                  <c:v>0.014</c:v>
                </c:pt>
                <c:pt idx="2939">
                  <c:v>0.005</c:v>
                </c:pt>
                <c:pt idx="2940">
                  <c:v>0.041</c:v>
                </c:pt>
                <c:pt idx="2941">
                  <c:v>0.008</c:v>
                </c:pt>
                <c:pt idx="2942">
                  <c:v>0.009</c:v>
                </c:pt>
                <c:pt idx="2943">
                  <c:v>0.005</c:v>
                </c:pt>
                <c:pt idx="2944">
                  <c:v>0.014</c:v>
                </c:pt>
                <c:pt idx="2945">
                  <c:v>0.005</c:v>
                </c:pt>
                <c:pt idx="2946">
                  <c:v>0.013</c:v>
                </c:pt>
                <c:pt idx="2947">
                  <c:v>0.009</c:v>
                </c:pt>
                <c:pt idx="2948">
                  <c:v>0.005</c:v>
                </c:pt>
                <c:pt idx="2949">
                  <c:v>0.004</c:v>
                </c:pt>
                <c:pt idx="2950">
                  <c:v>0.027</c:v>
                </c:pt>
                <c:pt idx="2951">
                  <c:v>0.009</c:v>
                </c:pt>
                <c:pt idx="2952">
                  <c:v>0.005</c:v>
                </c:pt>
                <c:pt idx="2953">
                  <c:v>0.027</c:v>
                </c:pt>
                <c:pt idx="2954">
                  <c:v>0.005</c:v>
                </c:pt>
                <c:pt idx="2955">
                  <c:v>0.008</c:v>
                </c:pt>
                <c:pt idx="2956">
                  <c:v>0.005</c:v>
                </c:pt>
                <c:pt idx="2957">
                  <c:v>0.004</c:v>
                </c:pt>
                <c:pt idx="2958">
                  <c:v>0.005</c:v>
                </c:pt>
                <c:pt idx="2959">
                  <c:v>0.014</c:v>
                </c:pt>
                <c:pt idx="2960">
                  <c:v>0.005</c:v>
                </c:pt>
                <c:pt idx="2961">
                  <c:v>0.004</c:v>
                </c:pt>
                <c:pt idx="2962">
                  <c:v>0.005</c:v>
                </c:pt>
                <c:pt idx="2963">
                  <c:v>0.004</c:v>
                </c:pt>
                <c:pt idx="2964">
                  <c:v>0.005</c:v>
                </c:pt>
                <c:pt idx="2965">
                  <c:v>0.005</c:v>
                </c:pt>
                <c:pt idx="2966">
                  <c:v>0.008</c:v>
                </c:pt>
                <c:pt idx="2967">
                  <c:v>0.014</c:v>
                </c:pt>
                <c:pt idx="2968">
                  <c:v>0.004</c:v>
                </c:pt>
                <c:pt idx="2969">
                  <c:v>0.013</c:v>
                </c:pt>
                <c:pt idx="2970">
                  <c:v>0.005</c:v>
                </c:pt>
                <c:pt idx="2971">
                  <c:v>0.04</c:v>
                </c:pt>
                <c:pt idx="2972">
                  <c:v>0.008</c:v>
                </c:pt>
                <c:pt idx="2973">
                  <c:v>0.022</c:v>
                </c:pt>
                <c:pt idx="2974">
                  <c:v>0.005</c:v>
                </c:pt>
                <c:pt idx="2975">
                  <c:v>0.005</c:v>
                </c:pt>
                <c:pt idx="2976">
                  <c:v>0.004</c:v>
                </c:pt>
                <c:pt idx="2977">
                  <c:v>0.005</c:v>
                </c:pt>
                <c:pt idx="2978">
                  <c:v>0.023</c:v>
                </c:pt>
                <c:pt idx="2979">
                  <c:v>0.046</c:v>
                </c:pt>
                <c:pt idx="2980">
                  <c:v>0.009</c:v>
                </c:pt>
                <c:pt idx="2981">
                  <c:v>0.027</c:v>
                </c:pt>
                <c:pt idx="2982">
                  <c:v>0.005</c:v>
                </c:pt>
                <c:pt idx="2983">
                  <c:v>0.004</c:v>
                </c:pt>
                <c:pt idx="2984">
                  <c:v>0.037</c:v>
                </c:pt>
                <c:pt idx="2985">
                  <c:v>0.008</c:v>
                </c:pt>
                <c:pt idx="2986">
                  <c:v>0.004</c:v>
                </c:pt>
                <c:pt idx="2987">
                  <c:v>0.011</c:v>
                </c:pt>
                <c:pt idx="2988">
                  <c:v>0.005</c:v>
                </c:pt>
                <c:pt idx="2989">
                  <c:v>0.037</c:v>
                </c:pt>
                <c:pt idx="2990">
                  <c:v>0.005</c:v>
                </c:pt>
                <c:pt idx="2991">
                  <c:v>0.005</c:v>
                </c:pt>
                <c:pt idx="2992">
                  <c:v>0.059</c:v>
                </c:pt>
                <c:pt idx="2993">
                  <c:v>0.005</c:v>
                </c:pt>
                <c:pt idx="2994">
                  <c:v>0.009</c:v>
                </c:pt>
                <c:pt idx="2995">
                  <c:v>0.005</c:v>
                </c:pt>
                <c:pt idx="2996">
                  <c:v>0.004</c:v>
                </c:pt>
                <c:pt idx="2997">
                  <c:v>0.009</c:v>
                </c:pt>
                <c:pt idx="2998">
                  <c:v>0.005</c:v>
                </c:pt>
                <c:pt idx="2999">
                  <c:v>0.021</c:v>
                </c:pt>
                <c:pt idx="3000">
                  <c:v>0.005</c:v>
                </c:pt>
                <c:pt idx="3001">
                  <c:v>0.009</c:v>
                </c:pt>
                <c:pt idx="3002">
                  <c:v>0.013</c:v>
                </c:pt>
                <c:pt idx="3003">
                  <c:v>0.014</c:v>
                </c:pt>
                <c:pt idx="3004">
                  <c:v>0.005</c:v>
                </c:pt>
                <c:pt idx="3005">
                  <c:v>0.005</c:v>
                </c:pt>
                <c:pt idx="3006">
                  <c:v>0.013</c:v>
                </c:pt>
                <c:pt idx="3007">
                  <c:v>0.013</c:v>
                </c:pt>
                <c:pt idx="3008">
                  <c:v>0.005</c:v>
                </c:pt>
                <c:pt idx="3009">
                  <c:v>0.005</c:v>
                </c:pt>
                <c:pt idx="3010">
                  <c:v>0.009</c:v>
                </c:pt>
                <c:pt idx="3011">
                  <c:v>0.005</c:v>
                </c:pt>
                <c:pt idx="3012">
                  <c:v>0.005</c:v>
                </c:pt>
                <c:pt idx="3013">
                  <c:v>0.014</c:v>
                </c:pt>
                <c:pt idx="3014">
                  <c:v>0.009</c:v>
                </c:pt>
                <c:pt idx="3015">
                  <c:v>0.014</c:v>
                </c:pt>
                <c:pt idx="3016">
                  <c:v>0.014</c:v>
                </c:pt>
                <c:pt idx="3017">
                  <c:v>0.005</c:v>
                </c:pt>
                <c:pt idx="3018">
                  <c:v>0.009</c:v>
                </c:pt>
                <c:pt idx="3019">
                  <c:v>0.023</c:v>
                </c:pt>
                <c:pt idx="3020">
                  <c:v>0.005</c:v>
                </c:pt>
                <c:pt idx="3021">
                  <c:v>0.014</c:v>
                </c:pt>
                <c:pt idx="3022">
                  <c:v>0.005</c:v>
                </c:pt>
                <c:pt idx="3023">
                  <c:v>0.005</c:v>
                </c:pt>
                <c:pt idx="3024">
                  <c:v>0.023</c:v>
                </c:pt>
                <c:pt idx="3025">
                  <c:v>0.008</c:v>
                </c:pt>
                <c:pt idx="3026">
                  <c:v>0.014</c:v>
                </c:pt>
                <c:pt idx="3027">
                  <c:v>0.009</c:v>
                </c:pt>
                <c:pt idx="3028">
                  <c:v>0.018</c:v>
                </c:pt>
                <c:pt idx="3029">
                  <c:v>0.005</c:v>
                </c:pt>
                <c:pt idx="3030">
                  <c:v>0.018</c:v>
                </c:pt>
                <c:pt idx="3031">
                  <c:v>0.005</c:v>
                </c:pt>
                <c:pt idx="3032">
                  <c:v>0.032</c:v>
                </c:pt>
                <c:pt idx="3033">
                  <c:v>0.005</c:v>
                </c:pt>
                <c:pt idx="3034">
                  <c:v>0.005</c:v>
                </c:pt>
                <c:pt idx="3035">
                  <c:v>0.009</c:v>
                </c:pt>
                <c:pt idx="3036">
                  <c:v>0.064</c:v>
                </c:pt>
                <c:pt idx="3037">
                  <c:v>0.008</c:v>
                </c:pt>
                <c:pt idx="3038">
                  <c:v>0.037</c:v>
                </c:pt>
                <c:pt idx="3039">
                  <c:v>0.014</c:v>
                </c:pt>
                <c:pt idx="3040">
                  <c:v>0.009</c:v>
                </c:pt>
                <c:pt idx="3041">
                  <c:v>0.005</c:v>
                </c:pt>
                <c:pt idx="3042">
                  <c:v>0.018</c:v>
                </c:pt>
                <c:pt idx="3043">
                  <c:v>0.014</c:v>
                </c:pt>
                <c:pt idx="3044">
                  <c:v>0.009</c:v>
                </c:pt>
                <c:pt idx="3045">
                  <c:v>0.004</c:v>
                </c:pt>
                <c:pt idx="3046">
                  <c:v>0.179</c:v>
                </c:pt>
                <c:pt idx="3047">
                  <c:v>0.004</c:v>
                </c:pt>
                <c:pt idx="3048">
                  <c:v>0.005</c:v>
                </c:pt>
                <c:pt idx="3049">
                  <c:v>0.004</c:v>
                </c:pt>
                <c:pt idx="3050">
                  <c:v>0.008</c:v>
                </c:pt>
                <c:pt idx="3051">
                  <c:v>0.005</c:v>
                </c:pt>
                <c:pt idx="3052">
                  <c:v>0.002</c:v>
                </c:pt>
                <c:pt idx="3053">
                  <c:v>0.005</c:v>
                </c:pt>
                <c:pt idx="3054">
                  <c:v>0.005</c:v>
                </c:pt>
                <c:pt idx="3055">
                  <c:v>0.064</c:v>
                </c:pt>
                <c:pt idx="3056">
                  <c:v>0.005</c:v>
                </c:pt>
                <c:pt idx="3057">
                  <c:v>0.023</c:v>
                </c:pt>
                <c:pt idx="3058">
                  <c:v>0.008</c:v>
                </c:pt>
                <c:pt idx="3059">
                  <c:v>0.005</c:v>
                </c:pt>
                <c:pt idx="3060">
                  <c:v>0.008</c:v>
                </c:pt>
                <c:pt idx="3061">
                  <c:v>0.005</c:v>
                </c:pt>
                <c:pt idx="3062">
                  <c:v>0.005</c:v>
                </c:pt>
                <c:pt idx="3063">
                  <c:v>0.008</c:v>
                </c:pt>
                <c:pt idx="3064">
                  <c:v>0.005</c:v>
                </c:pt>
                <c:pt idx="3065">
                  <c:v>0.005</c:v>
                </c:pt>
                <c:pt idx="3066">
                  <c:v>0.017</c:v>
                </c:pt>
                <c:pt idx="3067">
                  <c:v>0.005</c:v>
                </c:pt>
                <c:pt idx="3068">
                  <c:v>0.026</c:v>
                </c:pt>
                <c:pt idx="3069">
                  <c:v>0.009</c:v>
                </c:pt>
                <c:pt idx="3070">
                  <c:v>0.008</c:v>
                </c:pt>
                <c:pt idx="3071">
                  <c:v>0.005</c:v>
                </c:pt>
                <c:pt idx="3072">
                  <c:v>0.005</c:v>
                </c:pt>
                <c:pt idx="3073">
                  <c:v>0.014</c:v>
                </c:pt>
                <c:pt idx="3074">
                  <c:v>0.004</c:v>
                </c:pt>
                <c:pt idx="3075">
                  <c:v>0.004</c:v>
                </c:pt>
                <c:pt idx="3076">
                  <c:v>0.005</c:v>
                </c:pt>
                <c:pt idx="3077">
                  <c:v>0.005</c:v>
                </c:pt>
                <c:pt idx="3078">
                  <c:v>0.018</c:v>
                </c:pt>
                <c:pt idx="3079">
                  <c:v>0.004</c:v>
                </c:pt>
                <c:pt idx="3080">
                  <c:v>0.004</c:v>
                </c:pt>
                <c:pt idx="3081">
                  <c:v>0.004</c:v>
                </c:pt>
                <c:pt idx="3082">
                  <c:v>0.009</c:v>
                </c:pt>
                <c:pt idx="3083">
                  <c:v>0.008</c:v>
                </c:pt>
                <c:pt idx="3084">
                  <c:v>0.026</c:v>
                </c:pt>
                <c:pt idx="3085">
                  <c:v>0.005</c:v>
                </c:pt>
                <c:pt idx="3086">
                  <c:v>0.014</c:v>
                </c:pt>
                <c:pt idx="3087">
                  <c:v>0.005</c:v>
                </c:pt>
                <c:pt idx="3088">
                  <c:v>0.005</c:v>
                </c:pt>
                <c:pt idx="3089">
                  <c:v>0.004</c:v>
                </c:pt>
                <c:pt idx="3090">
                  <c:v>0.009</c:v>
                </c:pt>
                <c:pt idx="3091">
                  <c:v>0.005</c:v>
                </c:pt>
                <c:pt idx="3092">
                  <c:v>0.009</c:v>
                </c:pt>
                <c:pt idx="3093">
                  <c:v>0.005</c:v>
                </c:pt>
                <c:pt idx="3094">
                  <c:v>0.022</c:v>
                </c:pt>
                <c:pt idx="3095">
                  <c:v>0.005</c:v>
                </c:pt>
                <c:pt idx="3096">
                  <c:v>0.014</c:v>
                </c:pt>
                <c:pt idx="3097">
                  <c:v>0.005</c:v>
                </c:pt>
                <c:pt idx="3098">
                  <c:v>0.009</c:v>
                </c:pt>
                <c:pt idx="3099">
                  <c:v>0.004</c:v>
                </c:pt>
                <c:pt idx="3100">
                  <c:v>0.005</c:v>
                </c:pt>
                <c:pt idx="3101">
                  <c:v>0.008</c:v>
                </c:pt>
                <c:pt idx="3102">
                  <c:v>0.005</c:v>
                </c:pt>
                <c:pt idx="3103">
                  <c:v>0.004</c:v>
                </c:pt>
                <c:pt idx="3104">
                  <c:v>0.009</c:v>
                </c:pt>
                <c:pt idx="3105">
                  <c:v>0.004</c:v>
                </c:pt>
                <c:pt idx="3106">
                  <c:v>0.018</c:v>
                </c:pt>
                <c:pt idx="3107">
                  <c:v>0.055</c:v>
                </c:pt>
                <c:pt idx="3108">
                  <c:v>0.005</c:v>
                </c:pt>
                <c:pt idx="3109">
                  <c:v>0.005</c:v>
                </c:pt>
                <c:pt idx="3110">
                  <c:v>0.009</c:v>
                </c:pt>
                <c:pt idx="3111">
                  <c:v>0.027</c:v>
                </c:pt>
                <c:pt idx="3112">
                  <c:v>0.005</c:v>
                </c:pt>
                <c:pt idx="3113">
                  <c:v>0.005</c:v>
                </c:pt>
                <c:pt idx="3114">
                  <c:v>0.013</c:v>
                </c:pt>
                <c:pt idx="3115">
                  <c:v>0.005</c:v>
                </c:pt>
                <c:pt idx="3116">
                  <c:v>0.005</c:v>
                </c:pt>
                <c:pt idx="3117">
                  <c:v>0.005</c:v>
                </c:pt>
                <c:pt idx="3118">
                  <c:v>0.013</c:v>
                </c:pt>
                <c:pt idx="3119">
                  <c:v>0.004</c:v>
                </c:pt>
                <c:pt idx="3120">
                  <c:v>0.005</c:v>
                </c:pt>
                <c:pt idx="3121">
                  <c:v>0.008</c:v>
                </c:pt>
                <c:pt idx="3122">
                  <c:v>0.004</c:v>
                </c:pt>
                <c:pt idx="3123">
                  <c:v>0.005</c:v>
                </c:pt>
                <c:pt idx="3124">
                  <c:v>0.009</c:v>
                </c:pt>
                <c:pt idx="3125">
                  <c:v>0.018</c:v>
                </c:pt>
                <c:pt idx="3126">
                  <c:v>0.008</c:v>
                </c:pt>
                <c:pt idx="3127">
                  <c:v>0.009</c:v>
                </c:pt>
                <c:pt idx="3128">
                  <c:v>0.005</c:v>
                </c:pt>
                <c:pt idx="3129">
                  <c:v>0.009</c:v>
                </c:pt>
                <c:pt idx="3130">
                  <c:v>0.005</c:v>
                </c:pt>
                <c:pt idx="3131">
                  <c:v>0.009</c:v>
                </c:pt>
                <c:pt idx="3132">
                  <c:v>0.012</c:v>
                </c:pt>
                <c:pt idx="3133">
                  <c:v>0.005</c:v>
                </c:pt>
                <c:pt idx="3134">
                  <c:v>0.005</c:v>
                </c:pt>
                <c:pt idx="3135">
                  <c:v>0.005</c:v>
                </c:pt>
                <c:pt idx="3136">
                  <c:v>0.004</c:v>
                </c:pt>
                <c:pt idx="3137">
                  <c:v>0.005</c:v>
                </c:pt>
                <c:pt idx="3138">
                  <c:v>0.004</c:v>
                </c:pt>
                <c:pt idx="3139">
                  <c:v>0.005</c:v>
                </c:pt>
                <c:pt idx="3140">
                  <c:v>0.013</c:v>
                </c:pt>
                <c:pt idx="3141">
                  <c:v>0.009</c:v>
                </c:pt>
                <c:pt idx="3142">
                  <c:v>0.005</c:v>
                </c:pt>
                <c:pt idx="3143">
                  <c:v>0.022</c:v>
                </c:pt>
                <c:pt idx="3144">
                  <c:v>0.027</c:v>
                </c:pt>
                <c:pt idx="3145">
                  <c:v>0.014</c:v>
                </c:pt>
                <c:pt idx="3146">
                  <c:v>0.005</c:v>
                </c:pt>
                <c:pt idx="3147">
                  <c:v>0.005</c:v>
                </c:pt>
                <c:pt idx="3148">
                  <c:v>0.005</c:v>
                </c:pt>
                <c:pt idx="3149">
                  <c:v>0.005</c:v>
                </c:pt>
                <c:pt idx="3150">
                  <c:v>0.008</c:v>
                </c:pt>
                <c:pt idx="3151">
                  <c:v>0.005</c:v>
                </c:pt>
                <c:pt idx="3152">
                  <c:v>0.008</c:v>
                </c:pt>
                <c:pt idx="3153">
                  <c:v>0.004</c:v>
                </c:pt>
                <c:pt idx="3154">
                  <c:v>0.005</c:v>
                </c:pt>
                <c:pt idx="3155">
                  <c:v>0.005</c:v>
                </c:pt>
                <c:pt idx="3156">
                  <c:v>0.004</c:v>
                </c:pt>
                <c:pt idx="3157">
                  <c:v>0.008</c:v>
                </c:pt>
                <c:pt idx="3158">
                  <c:v>0.018</c:v>
                </c:pt>
                <c:pt idx="3159">
                  <c:v>0.005</c:v>
                </c:pt>
                <c:pt idx="3160">
                  <c:v>0.005</c:v>
                </c:pt>
                <c:pt idx="3161">
                  <c:v>0.005</c:v>
                </c:pt>
                <c:pt idx="3162">
                  <c:v>0.009</c:v>
                </c:pt>
                <c:pt idx="3163">
                  <c:v>0.004</c:v>
                </c:pt>
                <c:pt idx="3164">
                  <c:v>0.005</c:v>
                </c:pt>
                <c:pt idx="3165">
                  <c:v>0.005</c:v>
                </c:pt>
                <c:pt idx="3166">
                  <c:v>0.008</c:v>
                </c:pt>
                <c:pt idx="3167">
                  <c:v>0.008</c:v>
                </c:pt>
                <c:pt idx="3168">
                  <c:v>0.005</c:v>
                </c:pt>
                <c:pt idx="3169">
                  <c:v>0.014</c:v>
                </c:pt>
                <c:pt idx="3170">
                  <c:v>0.005</c:v>
                </c:pt>
                <c:pt idx="3171">
                  <c:v>0.005</c:v>
                </c:pt>
                <c:pt idx="3172">
                  <c:v>0.005</c:v>
                </c:pt>
                <c:pt idx="3173">
                  <c:v>0.005</c:v>
                </c:pt>
                <c:pt idx="3174">
                  <c:v>0.004</c:v>
                </c:pt>
                <c:pt idx="3175">
                  <c:v>0.009</c:v>
                </c:pt>
                <c:pt idx="3176">
                  <c:v>0.009</c:v>
                </c:pt>
                <c:pt idx="3177">
                  <c:v>0.005</c:v>
                </c:pt>
                <c:pt idx="3178">
                  <c:v>0.004</c:v>
                </c:pt>
                <c:pt idx="3179">
                  <c:v>0.018</c:v>
                </c:pt>
                <c:pt idx="3180">
                  <c:v>0.014</c:v>
                </c:pt>
                <c:pt idx="3181">
                  <c:v>0.009</c:v>
                </c:pt>
                <c:pt idx="3182">
                  <c:v>0.009</c:v>
                </c:pt>
                <c:pt idx="3183">
                  <c:v>0.008</c:v>
                </c:pt>
                <c:pt idx="3184">
                  <c:v>0.046</c:v>
                </c:pt>
                <c:pt idx="3185">
                  <c:v>0.008</c:v>
                </c:pt>
                <c:pt idx="3186">
                  <c:v>0.005</c:v>
                </c:pt>
                <c:pt idx="3187">
                  <c:v>0.005</c:v>
                </c:pt>
                <c:pt idx="3188">
                  <c:v>0.005</c:v>
                </c:pt>
                <c:pt idx="3189">
                  <c:v>0.018</c:v>
                </c:pt>
                <c:pt idx="3190">
                  <c:v>0.018</c:v>
                </c:pt>
                <c:pt idx="3191">
                  <c:v>0.005</c:v>
                </c:pt>
                <c:pt idx="3192">
                  <c:v>0.005</c:v>
                </c:pt>
                <c:pt idx="3193">
                  <c:v>0.009</c:v>
                </c:pt>
                <c:pt idx="3194">
                  <c:v>0.012</c:v>
                </c:pt>
                <c:pt idx="3195">
                  <c:v>0.008</c:v>
                </c:pt>
                <c:pt idx="3196">
                  <c:v>0.023</c:v>
                </c:pt>
                <c:pt idx="3197">
                  <c:v>0.005</c:v>
                </c:pt>
                <c:pt idx="3198">
                  <c:v>0.005</c:v>
                </c:pt>
                <c:pt idx="3199">
                  <c:v>0.005</c:v>
                </c:pt>
                <c:pt idx="3200">
                  <c:v>0.004</c:v>
                </c:pt>
                <c:pt idx="3201">
                  <c:v>0.005</c:v>
                </c:pt>
                <c:pt idx="3202">
                  <c:v>0.009</c:v>
                </c:pt>
                <c:pt idx="3203">
                  <c:v>0.005</c:v>
                </c:pt>
                <c:pt idx="3204">
                  <c:v>0.014</c:v>
                </c:pt>
                <c:pt idx="3205">
                  <c:v>0.005</c:v>
                </c:pt>
                <c:pt idx="3206">
                  <c:v>0.005</c:v>
                </c:pt>
                <c:pt idx="3207">
                  <c:v>0.004</c:v>
                </c:pt>
                <c:pt idx="3208">
                  <c:v>0.005</c:v>
                </c:pt>
                <c:pt idx="3209">
                  <c:v>0.005</c:v>
                </c:pt>
                <c:pt idx="3210">
                  <c:v>0.004</c:v>
                </c:pt>
                <c:pt idx="3211">
                  <c:v>0.014</c:v>
                </c:pt>
                <c:pt idx="3212">
                  <c:v>0.009</c:v>
                </c:pt>
                <c:pt idx="3213">
                  <c:v>0.004</c:v>
                </c:pt>
                <c:pt idx="3214">
                  <c:v>0.008</c:v>
                </c:pt>
                <c:pt idx="3215">
                  <c:v>0.014</c:v>
                </c:pt>
                <c:pt idx="3216">
                  <c:v>0.011</c:v>
                </c:pt>
                <c:pt idx="3217">
                  <c:v>0.005</c:v>
                </c:pt>
                <c:pt idx="3218">
                  <c:v>0.004</c:v>
                </c:pt>
                <c:pt idx="3219">
                  <c:v>0.005</c:v>
                </c:pt>
                <c:pt idx="3220">
                  <c:v>0.014</c:v>
                </c:pt>
                <c:pt idx="3221">
                  <c:v>0.005</c:v>
                </c:pt>
                <c:pt idx="3222">
                  <c:v>0.005</c:v>
                </c:pt>
                <c:pt idx="3223">
                  <c:v>0.014</c:v>
                </c:pt>
                <c:pt idx="3224">
                  <c:v>0.005</c:v>
                </c:pt>
                <c:pt idx="3225">
                  <c:v>0.014</c:v>
                </c:pt>
                <c:pt idx="3226">
                  <c:v>0.005</c:v>
                </c:pt>
                <c:pt idx="3227">
                  <c:v>0.004</c:v>
                </c:pt>
                <c:pt idx="3228">
                  <c:v>0.009</c:v>
                </c:pt>
                <c:pt idx="3229">
                  <c:v>0.005</c:v>
                </c:pt>
                <c:pt idx="3230">
                  <c:v>0.009</c:v>
                </c:pt>
                <c:pt idx="3231">
                  <c:v>0.002</c:v>
                </c:pt>
                <c:pt idx="3232">
                  <c:v>0.004</c:v>
                </c:pt>
                <c:pt idx="3233">
                  <c:v>0.005</c:v>
                </c:pt>
                <c:pt idx="3234">
                  <c:v>0.002</c:v>
                </c:pt>
                <c:pt idx="3235">
                  <c:v>0.009</c:v>
                </c:pt>
                <c:pt idx="3236">
                  <c:v>0.005</c:v>
                </c:pt>
                <c:pt idx="3237">
                  <c:v>0.005</c:v>
                </c:pt>
                <c:pt idx="3238">
                  <c:v>0.004</c:v>
                </c:pt>
                <c:pt idx="3239">
                  <c:v>0.018</c:v>
                </c:pt>
                <c:pt idx="3240">
                  <c:v>0.005</c:v>
                </c:pt>
                <c:pt idx="3241">
                  <c:v>0.004</c:v>
                </c:pt>
                <c:pt idx="3242">
                  <c:v>0.005</c:v>
                </c:pt>
                <c:pt idx="3243">
                  <c:v>0.008</c:v>
                </c:pt>
                <c:pt idx="3244">
                  <c:v>0.004</c:v>
                </c:pt>
                <c:pt idx="3245">
                  <c:v>0.009</c:v>
                </c:pt>
                <c:pt idx="3246">
                  <c:v>0.004</c:v>
                </c:pt>
                <c:pt idx="3247">
                  <c:v>0.005</c:v>
                </c:pt>
                <c:pt idx="3248">
                  <c:v>0.005</c:v>
                </c:pt>
                <c:pt idx="3249">
                  <c:v>0.005</c:v>
                </c:pt>
                <c:pt idx="3250">
                  <c:v>0.018</c:v>
                </c:pt>
                <c:pt idx="3251">
                  <c:v>0.009</c:v>
                </c:pt>
                <c:pt idx="3252">
                  <c:v>0.014</c:v>
                </c:pt>
                <c:pt idx="3253">
                  <c:v>0.018</c:v>
                </c:pt>
                <c:pt idx="3254">
                  <c:v>0.005</c:v>
                </c:pt>
                <c:pt idx="3255">
                  <c:v>0.005</c:v>
                </c:pt>
                <c:pt idx="3256">
                  <c:v>0.005</c:v>
                </c:pt>
                <c:pt idx="3257">
                  <c:v>0.014</c:v>
                </c:pt>
                <c:pt idx="3258">
                  <c:v>0.005</c:v>
                </c:pt>
                <c:pt idx="3259">
                  <c:v>0.005</c:v>
                </c:pt>
                <c:pt idx="3260">
                  <c:v>0.009</c:v>
                </c:pt>
                <c:pt idx="3261">
                  <c:v>0.005</c:v>
                </c:pt>
                <c:pt idx="3262">
                  <c:v>0.014</c:v>
                </c:pt>
                <c:pt idx="3263">
                  <c:v>0.005</c:v>
                </c:pt>
                <c:pt idx="3264">
                  <c:v>0.004</c:v>
                </c:pt>
                <c:pt idx="3265">
                  <c:v>0.004</c:v>
                </c:pt>
                <c:pt idx="3266">
                  <c:v>0.005</c:v>
                </c:pt>
                <c:pt idx="3267">
                  <c:v>0.005</c:v>
                </c:pt>
                <c:pt idx="3268">
                  <c:v>0.005</c:v>
                </c:pt>
                <c:pt idx="3269">
                  <c:v>0.005</c:v>
                </c:pt>
                <c:pt idx="3270">
                  <c:v>0.004</c:v>
                </c:pt>
                <c:pt idx="3271">
                  <c:v>0.027</c:v>
                </c:pt>
                <c:pt idx="3272">
                  <c:v>0.005</c:v>
                </c:pt>
                <c:pt idx="3273">
                  <c:v>0.014</c:v>
                </c:pt>
                <c:pt idx="3274">
                  <c:v>0.004</c:v>
                </c:pt>
                <c:pt idx="3275">
                  <c:v>0.009</c:v>
                </c:pt>
                <c:pt idx="3276">
                  <c:v>0.005</c:v>
                </c:pt>
                <c:pt idx="3277">
                  <c:v>0.005</c:v>
                </c:pt>
                <c:pt idx="3278">
                  <c:v>0.005</c:v>
                </c:pt>
                <c:pt idx="3279">
                  <c:v>0.004</c:v>
                </c:pt>
                <c:pt idx="3280">
                  <c:v>0.013</c:v>
                </c:pt>
                <c:pt idx="3281">
                  <c:v>0.005</c:v>
                </c:pt>
                <c:pt idx="3282">
                  <c:v>0.005</c:v>
                </c:pt>
                <c:pt idx="3283">
                  <c:v>0.002</c:v>
                </c:pt>
                <c:pt idx="3284">
                  <c:v>0.004</c:v>
                </c:pt>
                <c:pt idx="3285">
                  <c:v>0.004</c:v>
                </c:pt>
                <c:pt idx="3286">
                  <c:v>0.005</c:v>
                </c:pt>
                <c:pt idx="3287">
                  <c:v>0.005</c:v>
                </c:pt>
                <c:pt idx="3288">
                  <c:v>0.004</c:v>
                </c:pt>
                <c:pt idx="3289">
                  <c:v>0.004</c:v>
                </c:pt>
                <c:pt idx="3290">
                  <c:v>0.004</c:v>
                </c:pt>
                <c:pt idx="3291">
                  <c:v>0.005</c:v>
                </c:pt>
                <c:pt idx="3292">
                  <c:v>0.009</c:v>
                </c:pt>
                <c:pt idx="3293">
                  <c:v>0.004</c:v>
                </c:pt>
                <c:pt idx="3294">
                  <c:v>0.005</c:v>
                </c:pt>
                <c:pt idx="3295">
                  <c:v>0.004</c:v>
                </c:pt>
                <c:pt idx="3296">
                  <c:v>0.005</c:v>
                </c:pt>
                <c:pt idx="3297">
                  <c:v>0.009</c:v>
                </c:pt>
                <c:pt idx="3298">
                  <c:v>0.005</c:v>
                </c:pt>
                <c:pt idx="3299">
                  <c:v>0.005</c:v>
                </c:pt>
                <c:pt idx="3300">
                  <c:v>0.005</c:v>
                </c:pt>
                <c:pt idx="3301">
                  <c:v>0.005</c:v>
                </c:pt>
                <c:pt idx="3302">
                  <c:v>0.004</c:v>
                </c:pt>
                <c:pt idx="3303">
                  <c:v>0.005</c:v>
                </c:pt>
                <c:pt idx="3304">
                  <c:v>0.005</c:v>
                </c:pt>
                <c:pt idx="3305">
                  <c:v>0.005</c:v>
                </c:pt>
                <c:pt idx="3306">
                  <c:v>0.008</c:v>
                </c:pt>
                <c:pt idx="3307">
                  <c:v>0.014</c:v>
                </c:pt>
                <c:pt idx="3308">
                  <c:v>0.005</c:v>
                </c:pt>
                <c:pt idx="3309">
                  <c:v>0.014</c:v>
                </c:pt>
                <c:pt idx="3310">
                  <c:v>0.009</c:v>
                </c:pt>
                <c:pt idx="3311">
                  <c:v>0.005</c:v>
                </c:pt>
                <c:pt idx="3312">
                  <c:v>0.014</c:v>
                </c:pt>
                <c:pt idx="3313">
                  <c:v>0.009</c:v>
                </c:pt>
                <c:pt idx="3314">
                  <c:v>0.005</c:v>
                </c:pt>
                <c:pt idx="3315">
                  <c:v>0.009</c:v>
                </c:pt>
                <c:pt idx="3316">
                  <c:v>0.009</c:v>
                </c:pt>
                <c:pt idx="3317">
                  <c:v>0.005</c:v>
                </c:pt>
                <c:pt idx="3318">
                  <c:v>0.014</c:v>
                </c:pt>
                <c:pt idx="3319">
                  <c:v>0.008</c:v>
                </c:pt>
                <c:pt idx="3320">
                  <c:v>0.005</c:v>
                </c:pt>
                <c:pt idx="3321">
                  <c:v>0.005</c:v>
                </c:pt>
                <c:pt idx="3322">
                  <c:v>0.005</c:v>
                </c:pt>
                <c:pt idx="3323">
                  <c:v>0.005</c:v>
                </c:pt>
                <c:pt idx="3324">
                  <c:v>0.005</c:v>
                </c:pt>
                <c:pt idx="3325">
                  <c:v>0.009</c:v>
                </c:pt>
                <c:pt idx="3326">
                  <c:v>0.005</c:v>
                </c:pt>
                <c:pt idx="3327">
                  <c:v>0.005</c:v>
                </c:pt>
                <c:pt idx="3328">
                  <c:v>0.005</c:v>
                </c:pt>
                <c:pt idx="3329">
                  <c:v>0.004</c:v>
                </c:pt>
                <c:pt idx="3330">
                  <c:v>0.005</c:v>
                </c:pt>
                <c:pt idx="3331">
                  <c:v>0.005</c:v>
                </c:pt>
                <c:pt idx="3332">
                  <c:v>0.005</c:v>
                </c:pt>
                <c:pt idx="3333">
                  <c:v>0.005</c:v>
                </c:pt>
                <c:pt idx="3334">
                  <c:v>0.009</c:v>
                </c:pt>
                <c:pt idx="3335">
                  <c:v>0.009</c:v>
                </c:pt>
                <c:pt idx="3336">
                  <c:v>0.005</c:v>
                </c:pt>
                <c:pt idx="3337">
                  <c:v>0.004</c:v>
                </c:pt>
                <c:pt idx="3338">
                  <c:v>0.005</c:v>
                </c:pt>
                <c:pt idx="3339">
                  <c:v>0.005</c:v>
                </c:pt>
                <c:pt idx="3340">
                  <c:v>0.005</c:v>
                </c:pt>
                <c:pt idx="3341">
                  <c:v>0.005</c:v>
                </c:pt>
                <c:pt idx="3342">
                  <c:v>0.009</c:v>
                </c:pt>
                <c:pt idx="3343">
                  <c:v>0.005</c:v>
                </c:pt>
                <c:pt idx="3344">
                  <c:v>0.004</c:v>
                </c:pt>
                <c:pt idx="3345">
                  <c:v>0.005</c:v>
                </c:pt>
                <c:pt idx="3346">
                  <c:v>0.009</c:v>
                </c:pt>
                <c:pt idx="3347">
                  <c:v>0.009</c:v>
                </c:pt>
                <c:pt idx="3348">
                  <c:v>0.008</c:v>
                </c:pt>
                <c:pt idx="3349">
                  <c:v>0.005</c:v>
                </c:pt>
                <c:pt idx="3350">
                  <c:v>0.014</c:v>
                </c:pt>
                <c:pt idx="3351">
                  <c:v>0.005</c:v>
                </c:pt>
                <c:pt idx="3352">
                  <c:v>0.004</c:v>
                </c:pt>
                <c:pt idx="3353">
                  <c:v>0.005</c:v>
                </c:pt>
                <c:pt idx="3354">
                  <c:v>0.004</c:v>
                </c:pt>
                <c:pt idx="3355">
                  <c:v>0.005</c:v>
                </c:pt>
                <c:pt idx="3356">
                  <c:v>0.009</c:v>
                </c:pt>
                <c:pt idx="3357">
                  <c:v>0.005</c:v>
                </c:pt>
                <c:pt idx="3358">
                  <c:v>0.005</c:v>
                </c:pt>
                <c:pt idx="3359">
                  <c:v>0.005</c:v>
                </c:pt>
                <c:pt idx="3360">
                  <c:v>0.005</c:v>
                </c:pt>
                <c:pt idx="3361">
                  <c:v>0.004</c:v>
                </c:pt>
                <c:pt idx="3362">
                  <c:v>0.014</c:v>
                </c:pt>
                <c:pt idx="3363">
                  <c:v>0.005</c:v>
                </c:pt>
                <c:pt idx="3364">
                  <c:v>0.005</c:v>
                </c:pt>
                <c:pt idx="3365">
                  <c:v>0.005</c:v>
                </c:pt>
                <c:pt idx="3366">
                  <c:v>0.005</c:v>
                </c:pt>
                <c:pt idx="3367">
                  <c:v>0.005</c:v>
                </c:pt>
                <c:pt idx="3368">
                  <c:v>0.005</c:v>
                </c:pt>
                <c:pt idx="3369">
                  <c:v>0.004</c:v>
                </c:pt>
                <c:pt idx="3370">
                  <c:v>0.009</c:v>
                </c:pt>
                <c:pt idx="3371">
                  <c:v>0.005</c:v>
                </c:pt>
                <c:pt idx="3372">
                  <c:v>0.005</c:v>
                </c:pt>
                <c:pt idx="3373">
                  <c:v>0.005</c:v>
                </c:pt>
                <c:pt idx="3374">
                  <c:v>0.004</c:v>
                </c:pt>
                <c:pt idx="3375">
                  <c:v>0.005</c:v>
                </c:pt>
                <c:pt idx="3376">
                  <c:v>0.005</c:v>
                </c:pt>
                <c:pt idx="3377">
                  <c:v>0.013</c:v>
                </c:pt>
                <c:pt idx="3378">
                  <c:v>0.005</c:v>
                </c:pt>
                <c:pt idx="3379">
                  <c:v>0.005</c:v>
                </c:pt>
                <c:pt idx="3380">
                  <c:v>0.005</c:v>
                </c:pt>
                <c:pt idx="3381">
                  <c:v>0.005</c:v>
                </c:pt>
                <c:pt idx="3382">
                  <c:v>0.009</c:v>
                </c:pt>
                <c:pt idx="3383">
                  <c:v>0.009</c:v>
                </c:pt>
                <c:pt idx="3384">
                  <c:v>0.005</c:v>
                </c:pt>
                <c:pt idx="3385">
                  <c:v>0.005</c:v>
                </c:pt>
                <c:pt idx="3386">
                  <c:v>0.005</c:v>
                </c:pt>
                <c:pt idx="3387">
                  <c:v>0.005</c:v>
                </c:pt>
                <c:pt idx="3388">
                  <c:v>0.005</c:v>
                </c:pt>
                <c:pt idx="3389">
                  <c:v>0.005</c:v>
                </c:pt>
                <c:pt idx="3390">
                  <c:v>0.009</c:v>
                </c:pt>
                <c:pt idx="3391">
                  <c:v>0.005</c:v>
                </c:pt>
                <c:pt idx="3392">
                  <c:v>0.005</c:v>
                </c:pt>
                <c:pt idx="3393">
                  <c:v>0.005</c:v>
                </c:pt>
                <c:pt idx="3394">
                  <c:v>0.005</c:v>
                </c:pt>
                <c:pt idx="3395">
                  <c:v>0.009</c:v>
                </c:pt>
                <c:pt idx="3396">
                  <c:v>0.005</c:v>
                </c:pt>
                <c:pt idx="3397">
                  <c:v>0.005</c:v>
                </c:pt>
                <c:pt idx="3398">
                  <c:v>0.005</c:v>
                </c:pt>
                <c:pt idx="3399">
                  <c:v>0.005</c:v>
                </c:pt>
                <c:pt idx="3400">
                  <c:v>0.005</c:v>
                </c:pt>
                <c:pt idx="3401">
                  <c:v>0.022</c:v>
                </c:pt>
                <c:pt idx="3402">
                  <c:v>0.009</c:v>
                </c:pt>
                <c:pt idx="3403">
                  <c:v>0.023</c:v>
                </c:pt>
                <c:pt idx="3404">
                  <c:v>0.014</c:v>
                </c:pt>
                <c:pt idx="3405">
                  <c:v>0.005</c:v>
                </c:pt>
                <c:pt idx="3406">
                  <c:v>0.002</c:v>
                </c:pt>
                <c:pt idx="3407">
                  <c:v>0.005</c:v>
                </c:pt>
                <c:pt idx="3408">
                  <c:v>0.009</c:v>
                </c:pt>
                <c:pt idx="3409">
                  <c:v>0.004</c:v>
                </c:pt>
                <c:pt idx="3410">
                  <c:v>0.027</c:v>
                </c:pt>
                <c:pt idx="3411">
                  <c:v>0.009</c:v>
                </c:pt>
                <c:pt idx="3412">
                  <c:v>0.008</c:v>
                </c:pt>
                <c:pt idx="3413">
                  <c:v>0.004</c:v>
                </c:pt>
                <c:pt idx="3414">
                  <c:v>0.005</c:v>
                </c:pt>
                <c:pt idx="3415">
                  <c:v>0.005</c:v>
                </c:pt>
                <c:pt idx="3416">
                  <c:v>0.014</c:v>
                </c:pt>
                <c:pt idx="3417">
                  <c:v>0.005</c:v>
                </c:pt>
                <c:pt idx="3418">
                  <c:v>0.005</c:v>
                </c:pt>
                <c:pt idx="3419">
                  <c:v>0.005</c:v>
                </c:pt>
                <c:pt idx="3420">
                  <c:v>0.005</c:v>
                </c:pt>
                <c:pt idx="3421">
                  <c:v>0.009</c:v>
                </c:pt>
                <c:pt idx="3422">
                  <c:v>0.005</c:v>
                </c:pt>
                <c:pt idx="3423">
                  <c:v>0.005</c:v>
                </c:pt>
                <c:pt idx="3424">
                  <c:v>0.005</c:v>
                </c:pt>
                <c:pt idx="3425">
                  <c:v>0.005</c:v>
                </c:pt>
                <c:pt idx="3426">
                  <c:v>0.005</c:v>
                </c:pt>
                <c:pt idx="3427">
                  <c:v>0.005</c:v>
                </c:pt>
                <c:pt idx="3428">
                  <c:v>0.009</c:v>
                </c:pt>
                <c:pt idx="3429">
                  <c:v>0.005</c:v>
                </c:pt>
                <c:pt idx="3430">
                  <c:v>0.005</c:v>
                </c:pt>
                <c:pt idx="3431">
                  <c:v>0.005</c:v>
                </c:pt>
                <c:pt idx="3432">
                  <c:v>0.005</c:v>
                </c:pt>
                <c:pt idx="3433">
                  <c:v>0.009</c:v>
                </c:pt>
                <c:pt idx="3434">
                  <c:v>0.005</c:v>
                </c:pt>
                <c:pt idx="3435">
                  <c:v>0.005</c:v>
                </c:pt>
                <c:pt idx="3436">
                  <c:v>0.005</c:v>
                </c:pt>
                <c:pt idx="3437">
                  <c:v>0.005</c:v>
                </c:pt>
                <c:pt idx="3438">
                  <c:v>0.023</c:v>
                </c:pt>
                <c:pt idx="3439">
                  <c:v>0.005</c:v>
                </c:pt>
                <c:pt idx="3440">
                  <c:v>0.005</c:v>
                </c:pt>
                <c:pt idx="3441">
                  <c:v>0.018</c:v>
                </c:pt>
                <c:pt idx="3442">
                  <c:v>0.005</c:v>
                </c:pt>
                <c:pt idx="3443">
                  <c:v>0.005</c:v>
                </c:pt>
                <c:pt idx="3444">
                  <c:v>0.005</c:v>
                </c:pt>
                <c:pt idx="3445">
                  <c:v>0.005</c:v>
                </c:pt>
                <c:pt idx="3446">
                  <c:v>0.005</c:v>
                </c:pt>
                <c:pt idx="3447">
                  <c:v>0.005</c:v>
                </c:pt>
                <c:pt idx="3448">
                  <c:v>0.005</c:v>
                </c:pt>
                <c:pt idx="3449">
                  <c:v>0.005</c:v>
                </c:pt>
                <c:pt idx="3450">
                  <c:v>0.005</c:v>
                </c:pt>
                <c:pt idx="3451">
                  <c:v>0.005</c:v>
                </c:pt>
                <c:pt idx="3452">
                  <c:v>0.005</c:v>
                </c:pt>
                <c:pt idx="3453">
                  <c:v>0.014</c:v>
                </c:pt>
                <c:pt idx="3454">
                  <c:v>0.005</c:v>
                </c:pt>
                <c:pt idx="3455">
                  <c:v>0.005</c:v>
                </c:pt>
                <c:pt idx="3456">
                  <c:v>0.005</c:v>
                </c:pt>
                <c:pt idx="3457">
                  <c:v>0.005</c:v>
                </c:pt>
                <c:pt idx="3458">
                  <c:v>0.005</c:v>
                </c:pt>
                <c:pt idx="3459">
                  <c:v>0.005</c:v>
                </c:pt>
                <c:pt idx="3460">
                  <c:v>0.005</c:v>
                </c:pt>
                <c:pt idx="3461">
                  <c:v>0.005</c:v>
                </c:pt>
                <c:pt idx="3462">
                  <c:v>0.005</c:v>
                </c:pt>
                <c:pt idx="3463">
                  <c:v>0.005</c:v>
                </c:pt>
                <c:pt idx="3464">
                  <c:v>0.005</c:v>
                </c:pt>
                <c:pt idx="3465">
                  <c:v>0.005</c:v>
                </c:pt>
                <c:pt idx="3466">
                  <c:v>0.005</c:v>
                </c:pt>
                <c:pt idx="3467">
                  <c:v>0.005</c:v>
                </c:pt>
                <c:pt idx="3468">
                  <c:v>0.005</c:v>
                </c:pt>
                <c:pt idx="3469">
                  <c:v>0.005</c:v>
                </c:pt>
                <c:pt idx="3470">
                  <c:v>0.005</c:v>
                </c:pt>
                <c:pt idx="3471">
                  <c:v>0.005</c:v>
                </c:pt>
                <c:pt idx="3472">
                  <c:v>0.005</c:v>
                </c:pt>
                <c:pt idx="3473">
                  <c:v>0.005</c:v>
                </c:pt>
                <c:pt idx="3474">
                  <c:v>0.005</c:v>
                </c:pt>
                <c:pt idx="3475">
                  <c:v>0.005</c:v>
                </c:pt>
                <c:pt idx="3476">
                  <c:v>0.005</c:v>
                </c:pt>
                <c:pt idx="3477">
                  <c:v>0.005</c:v>
                </c:pt>
                <c:pt idx="3478">
                  <c:v>0.005</c:v>
                </c:pt>
                <c:pt idx="3479">
                  <c:v>0.005</c:v>
                </c:pt>
                <c:pt idx="3480">
                  <c:v>0.009</c:v>
                </c:pt>
                <c:pt idx="3481">
                  <c:v>0.005</c:v>
                </c:pt>
                <c:pt idx="3482">
                  <c:v>0.009</c:v>
                </c:pt>
                <c:pt idx="3483">
                  <c:v>0.005</c:v>
                </c:pt>
                <c:pt idx="3484">
                  <c:v>0.005</c:v>
                </c:pt>
                <c:pt idx="3485">
                  <c:v>0.005</c:v>
                </c:pt>
                <c:pt idx="3486">
                  <c:v>0.004</c:v>
                </c:pt>
                <c:pt idx="3487">
                  <c:v>0.005</c:v>
                </c:pt>
                <c:pt idx="3488">
                  <c:v>0.005</c:v>
                </c:pt>
                <c:pt idx="3489">
                  <c:v>0.014</c:v>
                </c:pt>
                <c:pt idx="3490">
                  <c:v>0.005</c:v>
                </c:pt>
                <c:pt idx="3491">
                  <c:v>0.005</c:v>
                </c:pt>
                <c:pt idx="3492">
                  <c:v>0.005</c:v>
                </c:pt>
                <c:pt idx="3493">
                  <c:v>0.005</c:v>
                </c:pt>
                <c:pt idx="3494">
                  <c:v>0.005</c:v>
                </c:pt>
                <c:pt idx="3495">
                  <c:v>0.009</c:v>
                </c:pt>
                <c:pt idx="3496">
                  <c:v>0.005</c:v>
                </c:pt>
                <c:pt idx="3497">
                  <c:v>0.005</c:v>
                </c:pt>
                <c:pt idx="3498">
                  <c:v>0.005</c:v>
                </c:pt>
                <c:pt idx="3499">
                  <c:v>0.005</c:v>
                </c:pt>
                <c:pt idx="3500">
                  <c:v>0.005</c:v>
                </c:pt>
                <c:pt idx="3501">
                  <c:v>0.004</c:v>
                </c:pt>
                <c:pt idx="3502">
                  <c:v>0.004</c:v>
                </c:pt>
                <c:pt idx="3503">
                  <c:v>0.005</c:v>
                </c:pt>
                <c:pt idx="3504">
                  <c:v>0.004</c:v>
                </c:pt>
                <c:pt idx="3505">
                  <c:v>0.004</c:v>
                </c:pt>
                <c:pt idx="3506">
                  <c:v>0.005</c:v>
                </c:pt>
                <c:pt idx="3507">
                  <c:v>0.005</c:v>
                </c:pt>
                <c:pt idx="3508">
                  <c:v>0.005</c:v>
                </c:pt>
                <c:pt idx="3509">
                  <c:v>0.005</c:v>
                </c:pt>
                <c:pt idx="3510">
                  <c:v>0.005</c:v>
                </c:pt>
                <c:pt idx="3511">
                  <c:v>0.005</c:v>
                </c:pt>
                <c:pt idx="3512">
                  <c:v>0.005</c:v>
                </c:pt>
                <c:pt idx="3513">
                  <c:v>0.005</c:v>
                </c:pt>
                <c:pt idx="3514">
                  <c:v>0.002</c:v>
                </c:pt>
                <c:pt idx="3515">
                  <c:v>0.005</c:v>
                </c:pt>
                <c:pt idx="3516">
                  <c:v>0.018</c:v>
                </c:pt>
                <c:pt idx="3517">
                  <c:v>0.005</c:v>
                </c:pt>
                <c:pt idx="3518">
                  <c:v>0.005</c:v>
                </c:pt>
                <c:pt idx="3519">
                  <c:v>0.005</c:v>
                </c:pt>
                <c:pt idx="3520">
                  <c:v>0.005</c:v>
                </c:pt>
                <c:pt idx="3521">
                  <c:v>0.005</c:v>
                </c:pt>
                <c:pt idx="3522">
                  <c:v>0.005</c:v>
                </c:pt>
                <c:pt idx="3523">
                  <c:v>0.005</c:v>
                </c:pt>
                <c:pt idx="3524">
                  <c:v>0.004</c:v>
                </c:pt>
                <c:pt idx="3525">
                  <c:v>0.005</c:v>
                </c:pt>
                <c:pt idx="3526">
                  <c:v>0.004</c:v>
                </c:pt>
                <c:pt idx="3527">
                  <c:v>0.005</c:v>
                </c:pt>
                <c:pt idx="3528">
                  <c:v>0.005</c:v>
                </c:pt>
                <c:pt idx="3529">
                  <c:v>0.005</c:v>
                </c:pt>
                <c:pt idx="3530">
                  <c:v>0.005</c:v>
                </c:pt>
                <c:pt idx="3531">
                  <c:v>0.005</c:v>
                </c:pt>
                <c:pt idx="3532">
                  <c:v>0.005</c:v>
                </c:pt>
                <c:pt idx="3533">
                  <c:v>0.005</c:v>
                </c:pt>
                <c:pt idx="3534">
                  <c:v>0.005</c:v>
                </c:pt>
                <c:pt idx="3535">
                  <c:v>0.005</c:v>
                </c:pt>
                <c:pt idx="3536">
                  <c:v>0.005</c:v>
                </c:pt>
                <c:pt idx="3537">
                  <c:v>0.004</c:v>
                </c:pt>
                <c:pt idx="3538">
                  <c:v>0.005</c:v>
                </c:pt>
                <c:pt idx="3539">
                  <c:v>0.005</c:v>
                </c:pt>
                <c:pt idx="3540">
                  <c:v>0.005</c:v>
                </c:pt>
                <c:pt idx="3541">
                  <c:v>0.005</c:v>
                </c:pt>
                <c:pt idx="3542">
                  <c:v>0.005</c:v>
                </c:pt>
                <c:pt idx="3543">
                  <c:v>0.005</c:v>
                </c:pt>
                <c:pt idx="3544">
                  <c:v>0.005</c:v>
                </c:pt>
                <c:pt idx="3545">
                  <c:v>0.005</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Item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00A097"/>
              </a:solidFill>
            </c:spPr>
            <c:extLst>
              <c:ext xmlns:c16="http://schemas.microsoft.com/office/drawing/2014/chart" uri="{C3380CC4-5D6E-409C-BE32-E72D297353CC}">
                <c16:uniqueId val="{000000EB-2993-41DE-A2CB-63102DE87051}"/>
              </c:ext>
            </c:extLst>
          </c:dPt>
          <c:dPt>
            <c:idx val="117"/>
            <c:invertIfNegative val="1"/>
            <c:bubble3D val="0"/>
            <c:spPr>
              <a:solidFill>
                <a:srgbClr val="00A097"/>
              </a:solidFill>
            </c:spPr>
            <c:extLst>
              <c:ext xmlns:c16="http://schemas.microsoft.com/office/drawing/2014/chart" uri="{C3380CC4-5D6E-409C-BE32-E72D297353CC}">
                <c16:uniqueId val="{000000ED-2993-41DE-A2CB-63102DE87051}"/>
              </c:ext>
            </c:extLst>
          </c:dPt>
          <c:dPt>
            <c:idx val="118"/>
            <c:invertIfNegative val="1"/>
            <c:bubble3D val="0"/>
            <c:spPr>
              <a:solidFill>
                <a:srgbClr val="00A097"/>
              </a:solidFill>
            </c:spPr>
            <c:extLst>
              <c:ext xmlns:c16="http://schemas.microsoft.com/office/drawing/2014/chart" uri="{C3380CC4-5D6E-409C-BE32-E72D297353CC}">
                <c16:uniqueId val="{000000EF-2993-41DE-A2CB-63102DE87051}"/>
              </c:ext>
            </c:extLst>
          </c:dPt>
          <c:dPt>
            <c:idx val="119"/>
            <c:invertIfNegative val="1"/>
            <c:bubble3D val="0"/>
            <c:spPr>
              <a:solidFill>
                <a:srgbClr val="00A097"/>
              </a:solidFill>
            </c:spPr>
            <c:extLst>
              <c:ext xmlns:c16="http://schemas.microsoft.com/office/drawing/2014/chart" uri="{C3380CC4-5D6E-409C-BE32-E72D297353CC}">
                <c16:uniqueId val="{000000F1-2993-41DE-A2CB-63102DE87051}"/>
              </c:ext>
            </c:extLst>
          </c:dPt>
          <c:dPt>
            <c:idx val="120"/>
            <c:invertIfNegative val="1"/>
            <c:bubble3D val="0"/>
            <c:spPr>
              <a:solidFill>
                <a:srgbClr val="00A097"/>
              </a:solidFill>
            </c:spPr>
            <c:extLst>
              <c:ext xmlns:c16="http://schemas.microsoft.com/office/drawing/2014/chart" uri="{C3380CC4-5D6E-409C-BE32-E72D297353CC}">
                <c16:uniqueId val="{000000F3-2993-41DE-A2CB-63102DE87051}"/>
              </c:ext>
            </c:extLst>
          </c:dPt>
          <c:dPt>
            <c:idx val="121"/>
            <c:invertIfNegative val="1"/>
            <c:bubble3D val="0"/>
            <c:spPr>
              <a:solidFill>
                <a:srgbClr val="00A097"/>
              </a:solidFill>
            </c:spPr>
            <c:extLst>
              <c:ext xmlns:c16="http://schemas.microsoft.com/office/drawing/2014/chart" uri="{C3380CC4-5D6E-409C-BE32-E72D297353CC}">
                <c16:uniqueId val="{000000F5-2993-41DE-A2CB-63102DE87051}"/>
              </c:ext>
            </c:extLst>
          </c:dPt>
          <c:dPt>
            <c:idx val="122"/>
            <c:invertIfNegative val="1"/>
            <c:bubble3D val="0"/>
            <c:spPr>
              <a:solidFill>
                <a:srgbClr val="00A097"/>
              </a:solidFill>
            </c:spPr>
            <c:extLst>
              <c:ext xmlns:c16="http://schemas.microsoft.com/office/drawing/2014/chart" uri="{C3380CC4-5D6E-409C-BE32-E72D297353CC}">
                <c16:uniqueId val="{000000F7-2993-41DE-A2CB-63102DE87051}"/>
              </c:ext>
            </c:extLst>
          </c:dPt>
          <c:dPt>
            <c:idx val="123"/>
            <c:invertIfNegative val="1"/>
            <c:bubble3D val="0"/>
            <c:spPr>
              <a:solidFill>
                <a:srgbClr val="00A097"/>
              </a:solidFill>
            </c:spPr>
            <c:extLst>
              <c:ext xmlns:c16="http://schemas.microsoft.com/office/drawing/2014/chart" uri="{C3380CC4-5D6E-409C-BE32-E72D297353CC}">
                <c16:uniqueId val="{000000F9-2993-41DE-A2CB-63102DE87051}"/>
              </c:ext>
            </c:extLst>
          </c:dPt>
          <c:dPt>
            <c:idx val="124"/>
            <c:invertIfNegative val="1"/>
            <c:bubble3D val="0"/>
            <c:spPr>
              <a:solidFill>
                <a:srgbClr val="00A097"/>
              </a:solidFill>
            </c:spPr>
            <c:extLst>
              <c:ext xmlns:c16="http://schemas.microsoft.com/office/drawing/2014/chart" uri="{C3380CC4-5D6E-409C-BE32-E72D297353CC}">
                <c16:uniqueId val="{000000FB-2993-41DE-A2CB-63102DE87051}"/>
              </c:ext>
            </c:extLst>
          </c:dPt>
          <c:dPt>
            <c:idx val="125"/>
            <c:invertIfNegative val="1"/>
            <c:bubble3D val="0"/>
            <c:spPr>
              <a:solidFill>
                <a:srgbClr val="00A097"/>
              </a:solidFill>
            </c:spPr>
            <c:extLst>
              <c:ext xmlns:c16="http://schemas.microsoft.com/office/drawing/2014/chart" uri="{C3380CC4-5D6E-409C-BE32-E72D297353CC}">
                <c16:uniqueId val="{000000FD-2993-41DE-A2CB-63102DE87051}"/>
              </c:ext>
            </c:extLst>
          </c:dPt>
          <c:dPt>
            <c:idx val="126"/>
            <c:invertIfNegative val="1"/>
            <c:bubble3D val="0"/>
            <c:spPr>
              <a:solidFill>
                <a:srgbClr val="00A097"/>
              </a:solidFill>
            </c:spPr>
            <c:extLst>
              <c:ext xmlns:c16="http://schemas.microsoft.com/office/drawing/2014/chart" uri="{C3380CC4-5D6E-409C-BE32-E72D297353CC}">
                <c16:uniqueId val="{000000FF-2993-41DE-A2CB-63102DE87051}"/>
              </c:ext>
            </c:extLst>
          </c:dPt>
          <c:dPt>
            <c:idx val="127"/>
            <c:invertIfNegative val="1"/>
            <c:bubble3D val="0"/>
            <c:spPr>
              <a:solidFill>
                <a:srgbClr val="00A097"/>
              </a:solidFill>
            </c:spPr>
            <c:extLst>
              <c:ext xmlns:c16="http://schemas.microsoft.com/office/drawing/2014/chart" uri="{C3380CC4-5D6E-409C-BE32-E72D297353CC}">
                <c16:uniqueId val="{00000101-2993-41DE-A2CB-63102DE87051}"/>
              </c:ext>
            </c:extLst>
          </c:dPt>
          <c:dPt>
            <c:idx val="128"/>
            <c:invertIfNegative val="1"/>
            <c:bubble3D val="0"/>
            <c:spPr>
              <a:solidFill>
                <a:srgbClr val="00A097"/>
              </a:solidFill>
            </c:spPr>
            <c:extLst>
              <c:ext xmlns:c16="http://schemas.microsoft.com/office/drawing/2014/chart" uri="{C3380CC4-5D6E-409C-BE32-E72D297353CC}">
                <c16:uniqueId val="{00000103-2993-41DE-A2CB-63102DE87051}"/>
              </c:ext>
            </c:extLst>
          </c:dPt>
          <c:dPt>
            <c:idx val="129"/>
            <c:invertIfNegative val="1"/>
            <c:bubble3D val="0"/>
            <c:spPr>
              <a:solidFill>
                <a:srgbClr val="00A097"/>
              </a:solidFill>
            </c:spPr>
            <c:extLst>
              <c:ext xmlns:c16="http://schemas.microsoft.com/office/drawing/2014/chart" uri="{C3380CC4-5D6E-409C-BE32-E72D297353CC}">
                <c16:uniqueId val="{00000105-2993-41DE-A2CB-63102DE87051}"/>
              </c:ext>
            </c:extLst>
          </c:dPt>
          <c:dPt>
            <c:idx val="130"/>
            <c:invertIfNegative val="1"/>
            <c:bubble3D val="0"/>
            <c:spPr>
              <a:solidFill>
                <a:srgbClr val="00A097"/>
              </a:solidFill>
            </c:spPr>
            <c:extLst>
              <c:ext xmlns:c16="http://schemas.microsoft.com/office/drawing/2014/chart" uri="{C3380CC4-5D6E-409C-BE32-E72D297353CC}">
                <c16:uniqueId val="{00000107-2993-41DE-A2CB-63102DE87051}"/>
              </c:ext>
            </c:extLst>
          </c:dPt>
          <c:dPt>
            <c:idx val="131"/>
            <c:invertIfNegative val="1"/>
            <c:bubble3D val="0"/>
            <c:spPr>
              <a:solidFill>
                <a:srgbClr val="00A097"/>
              </a:solidFill>
            </c:spPr>
            <c:extLst>
              <c:ext xmlns:c16="http://schemas.microsoft.com/office/drawing/2014/chart" uri="{C3380CC4-5D6E-409C-BE32-E72D297353CC}">
                <c16:uniqueId val="{00000109-2993-41DE-A2CB-63102DE87051}"/>
              </c:ext>
            </c:extLst>
          </c:dPt>
          <c:dPt>
            <c:idx val="132"/>
            <c:invertIfNegative val="1"/>
            <c:bubble3D val="0"/>
            <c:spPr>
              <a:solidFill>
                <a:srgbClr val="00A097"/>
              </a:solidFill>
            </c:spPr>
            <c:extLst>
              <c:ext xmlns:c16="http://schemas.microsoft.com/office/drawing/2014/chart" uri="{C3380CC4-5D6E-409C-BE32-E72D297353CC}">
                <c16:uniqueId val="{0000010B-2993-41DE-A2CB-63102DE87051}"/>
              </c:ext>
            </c:extLst>
          </c:dPt>
          <c:dPt>
            <c:idx val="133"/>
            <c:invertIfNegative val="1"/>
            <c:bubble3D val="0"/>
            <c:spPr>
              <a:solidFill>
                <a:srgbClr val="00A097"/>
              </a:solidFill>
            </c:spPr>
            <c:extLst>
              <c:ext xmlns:c16="http://schemas.microsoft.com/office/drawing/2014/chart" uri="{C3380CC4-5D6E-409C-BE32-E72D297353CC}">
                <c16:uniqueId val="{0000010D-2993-41DE-A2CB-63102DE87051}"/>
              </c:ext>
            </c:extLst>
          </c:dPt>
          <c:dPt>
            <c:idx val="134"/>
            <c:invertIfNegative val="1"/>
            <c:bubble3D val="0"/>
            <c:spPr>
              <a:solidFill>
                <a:srgbClr val="00A097"/>
              </a:solidFill>
            </c:spPr>
            <c:extLst>
              <c:ext xmlns:c16="http://schemas.microsoft.com/office/drawing/2014/chart" uri="{C3380CC4-5D6E-409C-BE32-E72D297353CC}">
                <c16:uniqueId val="{0000010F-2993-41DE-A2CB-63102DE87051}"/>
              </c:ext>
            </c:extLst>
          </c:dPt>
          <c:dPt>
            <c:idx val="135"/>
            <c:invertIfNegative val="1"/>
            <c:bubble3D val="0"/>
            <c:spPr>
              <a:solidFill>
                <a:srgbClr val="00A097"/>
              </a:solidFill>
            </c:spPr>
            <c:extLst>
              <c:ext xmlns:c16="http://schemas.microsoft.com/office/drawing/2014/chart" uri="{C3380CC4-5D6E-409C-BE32-E72D297353CC}">
                <c16:uniqueId val="{00000111-2993-41DE-A2CB-63102DE87051}"/>
              </c:ext>
            </c:extLst>
          </c:dPt>
          <c:dPt>
            <c:idx val="136"/>
            <c:invertIfNegative val="1"/>
            <c:bubble3D val="0"/>
            <c:spPr>
              <a:solidFill>
                <a:srgbClr val="00A097"/>
              </a:solidFill>
            </c:spPr>
            <c:extLst>
              <c:ext xmlns:c16="http://schemas.microsoft.com/office/drawing/2014/chart" uri="{C3380CC4-5D6E-409C-BE32-E72D297353CC}">
                <c16:uniqueId val="{00000113-2993-41DE-A2CB-63102DE87051}"/>
              </c:ext>
            </c:extLst>
          </c:dPt>
          <c:dPt>
            <c:idx val="137"/>
            <c:invertIfNegative val="1"/>
            <c:bubble3D val="0"/>
            <c:spPr>
              <a:solidFill>
                <a:srgbClr val="00A097"/>
              </a:solidFill>
            </c:spPr>
            <c:extLst>
              <c:ext xmlns:c16="http://schemas.microsoft.com/office/drawing/2014/chart" uri="{C3380CC4-5D6E-409C-BE32-E72D297353CC}">
                <c16:uniqueId val="{00000115-2993-41DE-A2CB-63102DE87051}"/>
              </c:ext>
            </c:extLst>
          </c:dPt>
          <c:dPt>
            <c:idx val="138"/>
            <c:invertIfNegative val="1"/>
            <c:bubble3D val="0"/>
            <c:spPr>
              <a:solidFill>
                <a:srgbClr val="00A097"/>
              </a:solidFill>
            </c:spPr>
            <c:extLst>
              <c:ext xmlns:c16="http://schemas.microsoft.com/office/drawing/2014/chart" uri="{C3380CC4-5D6E-409C-BE32-E72D297353CC}">
                <c16:uniqueId val="{00000117-2993-41DE-A2CB-63102DE87051}"/>
              </c:ext>
            </c:extLst>
          </c:dPt>
          <c:dPt>
            <c:idx val="139"/>
            <c:invertIfNegative val="1"/>
            <c:bubble3D val="0"/>
            <c:spPr>
              <a:solidFill>
                <a:srgbClr val="00A097"/>
              </a:solidFill>
            </c:spPr>
            <c:extLst>
              <c:ext xmlns:c16="http://schemas.microsoft.com/office/drawing/2014/chart" uri="{C3380CC4-5D6E-409C-BE32-E72D297353CC}">
                <c16:uniqueId val="{00000119-2993-41DE-A2CB-63102DE87051}"/>
              </c:ext>
            </c:extLst>
          </c:dPt>
          <c:dPt>
            <c:idx val="140"/>
            <c:invertIfNegative val="1"/>
            <c:bubble3D val="0"/>
            <c:spPr>
              <a:solidFill>
                <a:srgbClr val="00A097"/>
              </a:solidFill>
            </c:spPr>
            <c:extLst>
              <c:ext xmlns:c16="http://schemas.microsoft.com/office/drawing/2014/chart" uri="{C3380CC4-5D6E-409C-BE32-E72D297353CC}">
                <c16:uniqueId val="{0000011B-2993-41DE-A2CB-63102DE87051}"/>
              </c:ext>
            </c:extLst>
          </c:dPt>
          <c:dPt>
            <c:idx val="141"/>
            <c:invertIfNegative val="1"/>
            <c:bubble3D val="0"/>
            <c:spPr>
              <a:solidFill>
                <a:srgbClr val="00A097"/>
              </a:solidFill>
            </c:spPr>
            <c:extLst>
              <c:ext xmlns:c16="http://schemas.microsoft.com/office/drawing/2014/chart" uri="{C3380CC4-5D6E-409C-BE32-E72D297353CC}">
                <c16:uniqueId val="{0000011D-2993-41DE-A2CB-63102DE87051}"/>
              </c:ext>
            </c:extLst>
          </c:dPt>
          <c:dPt>
            <c:idx val="142"/>
            <c:invertIfNegative val="1"/>
            <c:bubble3D val="0"/>
            <c:spPr>
              <a:solidFill>
                <a:srgbClr val="00A097"/>
              </a:solidFill>
            </c:spPr>
            <c:extLst>
              <c:ext xmlns:c16="http://schemas.microsoft.com/office/drawing/2014/chart" uri="{C3380CC4-5D6E-409C-BE32-E72D297353CC}">
                <c16:uniqueId val="{0000011F-2993-41DE-A2CB-63102DE87051}"/>
              </c:ext>
            </c:extLst>
          </c:dPt>
          <c:dPt>
            <c:idx val="143"/>
            <c:invertIfNegative val="1"/>
            <c:bubble3D val="0"/>
            <c:spPr>
              <a:solidFill>
                <a:srgbClr val="00A097"/>
              </a:solidFill>
            </c:spPr>
            <c:extLst>
              <c:ext xmlns:c16="http://schemas.microsoft.com/office/drawing/2014/chart" uri="{C3380CC4-5D6E-409C-BE32-E72D297353CC}">
                <c16:uniqueId val="{00000121-2993-41DE-A2CB-63102DE87051}"/>
              </c:ext>
            </c:extLst>
          </c:dPt>
          <c:dPt>
            <c:idx val="144"/>
            <c:invertIfNegative val="1"/>
            <c:bubble3D val="0"/>
            <c:spPr>
              <a:solidFill>
                <a:srgbClr val="00A097"/>
              </a:solidFill>
            </c:spPr>
            <c:extLst>
              <c:ext xmlns:c16="http://schemas.microsoft.com/office/drawing/2014/chart" uri="{C3380CC4-5D6E-409C-BE32-E72D297353CC}">
                <c16:uniqueId val="{00000123-2993-41DE-A2CB-63102DE87051}"/>
              </c:ext>
            </c:extLst>
          </c:dPt>
          <c:dPt>
            <c:idx val="145"/>
            <c:invertIfNegative val="1"/>
            <c:bubble3D val="0"/>
            <c:spPr>
              <a:solidFill>
                <a:srgbClr val="00A097"/>
              </a:solidFill>
            </c:spPr>
            <c:extLst>
              <c:ext xmlns:c16="http://schemas.microsoft.com/office/drawing/2014/chart" uri="{C3380CC4-5D6E-409C-BE32-E72D297353CC}">
                <c16:uniqueId val="{00000125-2993-41DE-A2CB-63102DE87051}"/>
              </c:ext>
            </c:extLst>
          </c:dPt>
          <c:dPt>
            <c:idx val="146"/>
            <c:invertIfNegative val="1"/>
            <c:bubble3D val="0"/>
            <c:spPr>
              <a:solidFill>
                <a:srgbClr val="00A097"/>
              </a:solidFill>
            </c:spPr>
            <c:extLst>
              <c:ext xmlns:c16="http://schemas.microsoft.com/office/drawing/2014/chart" uri="{C3380CC4-5D6E-409C-BE32-E72D297353CC}">
                <c16:uniqueId val="{00000127-2993-41DE-A2CB-63102DE87051}"/>
              </c:ext>
            </c:extLst>
          </c:dPt>
          <c:dPt>
            <c:idx val="147"/>
            <c:invertIfNegative val="1"/>
            <c:bubble3D val="0"/>
            <c:spPr>
              <a:solidFill>
                <a:srgbClr val="00A097"/>
              </a:solidFill>
            </c:spPr>
            <c:extLst>
              <c:ext xmlns:c16="http://schemas.microsoft.com/office/drawing/2014/chart" uri="{C3380CC4-5D6E-409C-BE32-E72D297353CC}">
                <c16:uniqueId val="{00000129-2993-41DE-A2CB-63102DE87051}"/>
              </c:ext>
            </c:extLst>
          </c:dPt>
          <c:dPt>
            <c:idx val="148"/>
            <c:invertIfNegative val="1"/>
            <c:bubble3D val="0"/>
            <c:spPr>
              <a:solidFill>
                <a:srgbClr val="00A097"/>
              </a:solidFill>
            </c:spPr>
            <c:extLst>
              <c:ext xmlns:c16="http://schemas.microsoft.com/office/drawing/2014/chart" uri="{C3380CC4-5D6E-409C-BE32-E72D297353CC}">
                <c16:uniqueId val="{0000012B-2993-41DE-A2CB-63102DE87051}"/>
              </c:ext>
            </c:extLst>
          </c:dPt>
          <c:dPt>
            <c:idx val="149"/>
            <c:invertIfNegative val="1"/>
            <c:bubble3D val="0"/>
            <c:spPr>
              <a:solidFill>
                <a:srgbClr val="00A097"/>
              </a:solidFill>
            </c:spPr>
            <c:extLst>
              <c:ext xmlns:c16="http://schemas.microsoft.com/office/drawing/2014/chart" uri="{C3380CC4-5D6E-409C-BE32-E72D297353CC}">
                <c16:uniqueId val="{0000012D-2993-41DE-A2CB-63102DE87051}"/>
              </c:ext>
            </c:extLst>
          </c:dPt>
          <c:dPt>
            <c:idx val="150"/>
            <c:invertIfNegative val="1"/>
            <c:bubble3D val="0"/>
            <c:spPr>
              <a:solidFill>
                <a:srgbClr val="00A097"/>
              </a:solidFill>
            </c:spPr>
            <c:extLst>
              <c:ext xmlns:c16="http://schemas.microsoft.com/office/drawing/2014/chart" uri="{C3380CC4-5D6E-409C-BE32-E72D297353CC}">
                <c16:uniqueId val="{0000012F-2993-41DE-A2CB-63102DE87051}"/>
              </c:ext>
            </c:extLst>
          </c:dPt>
          <c:dPt>
            <c:idx val="151"/>
            <c:invertIfNegative val="1"/>
            <c:bubble3D val="0"/>
            <c:spPr>
              <a:solidFill>
                <a:srgbClr val="00A097"/>
              </a:solidFill>
            </c:spPr>
            <c:extLst>
              <c:ext xmlns:c16="http://schemas.microsoft.com/office/drawing/2014/chart" uri="{C3380CC4-5D6E-409C-BE32-E72D297353CC}">
                <c16:uniqueId val="{00000131-2993-41DE-A2CB-63102DE87051}"/>
              </c:ext>
            </c:extLst>
          </c:dPt>
          <c:dPt>
            <c:idx val="152"/>
            <c:invertIfNegative val="1"/>
            <c:bubble3D val="0"/>
            <c:spPr>
              <a:solidFill>
                <a:srgbClr val="00A097"/>
              </a:solidFill>
            </c:spPr>
            <c:extLst>
              <c:ext xmlns:c16="http://schemas.microsoft.com/office/drawing/2014/chart" uri="{C3380CC4-5D6E-409C-BE32-E72D297353CC}">
                <c16:uniqueId val="{00000133-2993-41DE-A2CB-63102DE87051}"/>
              </c:ext>
            </c:extLst>
          </c:dPt>
          <c:dPt>
            <c:idx val="153"/>
            <c:invertIfNegative val="1"/>
            <c:bubble3D val="0"/>
            <c:spPr>
              <a:solidFill>
                <a:srgbClr val="00A097"/>
              </a:solidFill>
            </c:spPr>
            <c:extLst>
              <c:ext xmlns:c16="http://schemas.microsoft.com/office/drawing/2014/chart" uri="{C3380CC4-5D6E-409C-BE32-E72D297353CC}">
                <c16:uniqueId val="{00000135-2993-41DE-A2CB-63102DE87051}"/>
              </c:ext>
            </c:extLst>
          </c:dPt>
          <c:dPt>
            <c:idx val="154"/>
            <c:invertIfNegative val="1"/>
            <c:bubble3D val="0"/>
            <c:spPr>
              <a:solidFill>
                <a:srgbClr val="00A097"/>
              </a:solidFill>
            </c:spPr>
            <c:extLst>
              <c:ext xmlns:c16="http://schemas.microsoft.com/office/drawing/2014/chart" uri="{C3380CC4-5D6E-409C-BE32-E72D297353CC}">
                <c16:uniqueId val="{00000137-2993-41DE-A2CB-63102DE87051}"/>
              </c:ext>
            </c:extLst>
          </c:dPt>
          <c:dPt>
            <c:idx val="155"/>
            <c:invertIfNegative val="1"/>
            <c:bubble3D val="0"/>
            <c:spPr>
              <a:solidFill>
                <a:srgbClr val="00A097"/>
              </a:solidFill>
            </c:spPr>
            <c:extLst>
              <c:ext xmlns:c16="http://schemas.microsoft.com/office/drawing/2014/chart" uri="{C3380CC4-5D6E-409C-BE32-E72D297353CC}">
                <c16:uniqueId val="{00000139-2993-41DE-A2CB-63102DE87051}"/>
              </c:ext>
            </c:extLst>
          </c:dPt>
          <c:dPt>
            <c:idx val="156"/>
            <c:invertIfNegative val="1"/>
            <c:bubble3D val="0"/>
            <c:spPr>
              <a:solidFill>
                <a:srgbClr val="00A097"/>
              </a:solidFill>
            </c:spPr>
            <c:extLst>
              <c:ext xmlns:c16="http://schemas.microsoft.com/office/drawing/2014/chart" uri="{C3380CC4-5D6E-409C-BE32-E72D297353CC}">
                <c16:uniqueId val="{0000013B-2993-41DE-A2CB-63102DE87051}"/>
              </c:ext>
            </c:extLst>
          </c:dPt>
          <c:dPt>
            <c:idx val="157"/>
            <c:invertIfNegative val="1"/>
            <c:bubble3D val="0"/>
            <c:spPr>
              <a:solidFill>
                <a:srgbClr val="00A097"/>
              </a:solidFill>
            </c:spPr>
            <c:extLst>
              <c:ext xmlns:c16="http://schemas.microsoft.com/office/drawing/2014/chart" uri="{C3380CC4-5D6E-409C-BE32-E72D297353CC}">
                <c16:uniqueId val="{0000013D-2993-41DE-A2CB-63102DE87051}"/>
              </c:ext>
            </c:extLst>
          </c:dPt>
          <c:dPt>
            <c:idx val="158"/>
            <c:invertIfNegative val="1"/>
            <c:bubble3D val="0"/>
            <c:spPr>
              <a:solidFill>
                <a:srgbClr val="00A097"/>
              </a:solidFill>
            </c:spPr>
            <c:extLst>
              <c:ext xmlns:c16="http://schemas.microsoft.com/office/drawing/2014/chart" uri="{C3380CC4-5D6E-409C-BE32-E72D297353CC}">
                <c16:uniqueId val="{0000013F-2993-41DE-A2CB-63102DE87051}"/>
              </c:ext>
            </c:extLst>
          </c:dPt>
          <c:dPt>
            <c:idx val="159"/>
            <c:invertIfNegative val="1"/>
            <c:bubble3D val="0"/>
            <c:spPr>
              <a:solidFill>
                <a:srgbClr val="00A097"/>
              </a:solidFill>
            </c:spPr>
            <c:extLst>
              <c:ext xmlns:c16="http://schemas.microsoft.com/office/drawing/2014/chart" uri="{C3380CC4-5D6E-409C-BE32-E72D297353CC}">
                <c16:uniqueId val="{00000141-2993-41DE-A2CB-63102DE87051}"/>
              </c:ext>
            </c:extLst>
          </c:dPt>
          <c:dPt>
            <c:idx val="160"/>
            <c:invertIfNegative val="1"/>
            <c:bubble3D val="0"/>
            <c:spPr>
              <a:solidFill>
                <a:srgbClr val="00A097"/>
              </a:solidFill>
            </c:spPr>
            <c:extLst>
              <c:ext xmlns:c16="http://schemas.microsoft.com/office/drawing/2014/chart" uri="{C3380CC4-5D6E-409C-BE32-E72D297353CC}">
                <c16:uniqueId val="{00000143-2993-41DE-A2CB-63102DE87051}"/>
              </c:ext>
            </c:extLst>
          </c:dPt>
          <c:dPt>
            <c:idx val="161"/>
            <c:invertIfNegative val="1"/>
            <c:bubble3D val="0"/>
            <c:spPr>
              <a:solidFill>
                <a:srgbClr val="00A097"/>
              </a:solidFill>
            </c:spPr>
            <c:extLst>
              <c:ext xmlns:c16="http://schemas.microsoft.com/office/drawing/2014/chart" uri="{C3380CC4-5D6E-409C-BE32-E72D297353CC}">
                <c16:uniqueId val="{00000145-2993-41DE-A2CB-63102DE87051}"/>
              </c:ext>
            </c:extLst>
          </c:dPt>
          <c:dPt>
            <c:idx val="162"/>
            <c:invertIfNegative val="1"/>
            <c:bubble3D val="0"/>
            <c:spPr>
              <a:solidFill>
                <a:srgbClr val="00A097"/>
              </a:solidFill>
            </c:spPr>
            <c:extLst>
              <c:ext xmlns:c16="http://schemas.microsoft.com/office/drawing/2014/chart" uri="{C3380CC4-5D6E-409C-BE32-E72D297353CC}">
                <c16:uniqueId val="{00000147-2993-41DE-A2CB-63102DE87051}"/>
              </c:ext>
            </c:extLst>
          </c:dPt>
          <c:dPt>
            <c:idx val="163"/>
            <c:invertIfNegative val="1"/>
            <c:bubble3D val="0"/>
            <c:spPr>
              <a:solidFill>
                <a:srgbClr val="00A097"/>
              </a:solidFill>
            </c:spPr>
            <c:extLst>
              <c:ext xmlns:c16="http://schemas.microsoft.com/office/drawing/2014/chart" uri="{C3380CC4-5D6E-409C-BE32-E72D297353CC}">
                <c16:uniqueId val="{00000149-2993-41DE-A2CB-63102DE87051}"/>
              </c:ext>
            </c:extLst>
          </c:dPt>
          <c:dPt>
            <c:idx val="164"/>
            <c:invertIfNegative val="1"/>
            <c:bubble3D val="0"/>
            <c:spPr>
              <a:solidFill>
                <a:srgbClr val="00A097"/>
              </a:solidFill>
            </c:spPr>
            <c:extLst>
              <c:ext xmlns:c16="http://schemas.microsoft.com/office/drawing/2014/chart" uri="{C3380CC4-5D6E-409C-BE32-E72D297353CC}">
                <c16:uniqueId val="{0000014B-2993-41DE-A2CB-63102DE87051}"/>
              </c:ext>
            </c:extLst>
          </c:dPt>
          <c:dPt>
            <c:idx val="165"/>
            <c:invertIfNegative val="1"/>
            <c:bubble3D val="0"/>
            <c:spPr>
              <a:solidFill>
                <a:srgbClr val="00A097"/>
              </a:solidFill>
            </c:spPr>
            <c:extLst>
              <c:ext xmlns:c16="http://schemas.microsoft.com/office/drawing/2014/chart" uri="{C3380CC4-5D6E-409C-BE32-E72D297353CC}">
                <c16:uniqueId val="{0000014D-2993-41DE-A2CB-63102DE87051}"/>
              </c:ext>
            </c:extLst>
          </c:dPt>
          <c:dPt>
            <c:idx val="166"/>
            <c:invertIfNegative val="1"/>
            <c:bubble3D val="0"/>
            <c:spPr>
              <a:solidFill>
                <a:srgbClr val="00A097"/>
              </a:solidFill>
            </c:spPr>
            <c:extLst>
              <c:ext xmlns:c16="http://schemas.microsoft.com/office/drawing/2014/chart" uri="{C3380CC4-5D6E-409C-BE32-E72D297353CC}">
                <c16:uniqueId val="{0000014F-2993-41DE-A2CB-63102DE87051}"/>
              </c:ext>
            </c:extLst>
          </c:dPt>
          <c:dPt>
            <c:idx val="167"/>
            <c:invertIfNegative val="1"/>
            <c:bubble3D val="0"/>
            <c:spPr>
              <a:solidFill>
                <a:srgbClr val="00A097"/>
              </a:solidFill>
            </c:spPr>
            <c:extLst>
              <c:ext xmlns:c16="http://schemas.microsoft.com/office/drawing/2014/chart" uri="{C3380CC4-5D6E-409C-BE32-E72D297353CC}">
                <c16:uniqueId val="{00000151-2993-41DE-A2CB-63102DE87051}"/>
              </c:ext>
            </c:extLst>
          </c:dPt>
          <c:dPt>
            <c:idx val="168"/>
            <c:invertIfNegative val="1"/>
            <c:bubble3D val="0"/>
            <c:spPr>
              <a:solidFill>
                <a:srgbClr val="00A097"/>
              </a:solidFill>
            </c:spPr>
            <c:extLst>
              <c:ext xmlns:c16="http://schemas.microsoft.com/office/drawing/2014/chart" uri="{C3380CC4-5D6E-409C-BE32-E72D297353CC}">
                <c16:uniqueId val="{00000153-2993-41DE-A2CB-63102DE87051}"/>
              </c:ext>
            </c:extLst>
          </c:dPt>
          <c:dPt>
            <c:idx val="169"/>
            <c:invertIfNegative val="1"/>
            <c:bubble3D val="0"/>
            <c:spPr>
              <a:solidFill>
                <a:srgbClr val="00A097"/>
              </a:solidFill>
            </c:spPr>
            <c:extLst>
              <c:ext xmlns:c16="http://schemas.microsoft.com/office/drawing/2014/chart" uri="{C3380CC4-5D6E-409C-BE32-E72D297353CC}">
                <c16:uniqueId val="{00000155-2993-41DE-A2CB-63102DE87051}"/>
              </c:ext>
            </c:extLst>
          </c:dPt>
          <c:dPt>
            <c:idx val="170"/>
            <c:invertIfNegative val="1"/>
            <c:bubble3D val="0"/>
            <c:spPr>
              <a:solidFill>
                <a:srgbClr val="00A097"/>
              </a:solidFill>
            </c:spPr>
            <c:extLst>
              <c:ext xmlns:c16="http://schemas.microsoft.com/office/drawing/2014/chart" uri="{C3380CC4-5D6E-409C-BE32-E72D297353CC}">
                <c16:uniqueId val="{00000157-2993-41DE-A2CB-63102DE87051}"/>
              </c:ext>
            </c:extLst>
          </c:dPt>
          <c:dPt>
            <c:idx val="171"/>
            <c:invertIfNegative val="1"/>
            <c:bubble3D val="0"/>
            <c:spPr>
              <a:solidFill>
                <a:srgbClr val="00A097"/>
              </a:solidFill>
            </c:spPr>
            <c:extLst>
              <c:ext xmlns:c16="http://schemas.microsoft.com/office/drawing/2014/chart" uri="{C3380CC4-5D6E-409C-BE32-E72D297353CC}">
                <c16:uniqueId val="{00000159-2993-41DE-A2CB-63102DE87051}"/>
              </c:ext>
            </c:extLst>
          </c:dPt>
          <c:dPt>
            <c:idx val="172"/>
            <c:invertIfNegative val="1"/>
            <c:bubble3D val="0"/>
            <c:spPr>
              <a:solidFill>
                <a:srgbClr val="00A097"/>
              </a:solidFill>
            </c:spPr>
            <c:extLst>
              <c:ext xmlns:c16="http://schemas.microsoft.com/office/drawing/2014/chart" uri="{C3380CC4-5D6E-409C-BE32-E72D297353CC}">
                <c16:uniqueId val="{0000015B-2993-41DE-A2CB-63102DE87051}"/>
              </c:ext>
            </c:extLst>
          </c:dPt>
          <c:dPt>
            <c:idx val="173"/>
            <c:invertIfNegative val="1"/>
            <c:bubble3D val="0"/>
            <c:spPr>
              <a:solidFill>
                <a:srgbClr val="00A097"/>
              </a:solidFill>
            </c:spPr>
            <c:extLst>
              <c:ext xmlns:c16="http://schemas.microsoft.com/office/drawing/2014/chart" uri="{C3380CC4-5D6E-409C-BE32-E72D297353CC}">
                <c16:uniqueId val="{0000015D-2993-41DE-A2CB-63102DE87051}"/>
              </c:ext>
            </c:extLst>
          </c:dPt>
          <c:dPt>
            <c:idx val="174"/>
            <c:invertIfNegative val="1"/>
            <c:bubble3D val="0"/>
            <c:spPr>
              <a:solidFill>
                <a:srgbClr val="00A097"/>
              </a:solidFill>
            </c:spPr>
            <c:extLst>
              <c:ext xmlns:c16="http://schemas.microsoft.com/office/drawing/2014/chart" uri="{C3380CC4-5D6E-409C-BE32-E72D297353CC}">
                <c16:uniqueId val="{0000015F-2993-41DE-A2CB-63102DE87051}"/>
              </c:ext>
            </c:extLst>
          </c:dPt>
          <c:dPt>
            <c:idx val="175"/>
            <c:invertIfNegative val="1"/>
            <c:bubble3D val="0"/>
            <c:spPr>
              <a:solidFill>
                <a:srgbClr val="00A097"/>
              </a:solidFill>
            </c:spPr>
            <c:extLst>
              <c:ext xmlns:c16="http://schemas.microsoft.com/office/drawing/2014/chart" uri="{C3380CC4-5D6E-409C-BE32-E72D297353CC}">
                <c16:uniqueId val="{00000161-2993-41DE-A2CB-63102DE87051}"/>
              </c:ext>
            </c:extLst>
          </c:dPt>
          <c:dPt>
            <c:idx val="176"/>
            <c:invertIfNegative val="1"/>
            <c:bubble3D val="0"/>
            <c:spPr>
              <a:solidFill>
                <a:srgbClr val="00A097"/>
              </a:solidFill>
            </c:spPr>
            <c:extLst>
              <c:ext xmlns:c16="http://schemas.microsoft.com/office/drawing/2014/chart" uri="{C3380CC4-5D6E-409C-BE32-E72D297353CC}">
                <c16:uniqueId val="{00000163-2993-41DE-A2CB-63102DE87051}"/>
              </c:ext>
            </c:extLst>
          </c:dPt>
          <c:dPt>
            <c:idx val="177"/>
            <c:invertIfNegative val="1"/>
            <c:bubble3D val="0"/>
            <c:spPr>
              <a:solidFill>
                <a:srgbClr val="00A097"/>
              </a:solidFill>
            </c:spPr>
            <c:extLst>
              <c:ext xmlns:c16="http://schemas.microsoft.com/office/drawing/2014/chart" uri="{C3380CC4-5D6E-409C-BE32-E72D297353CC}">
                <c16:uniqueId val="{00000165-2993-41DE-A2CB-63102DE87051}"/>
              </c:ext>
            </c:extLst>
          </c:dPt>
          <c:dPt>
            <c:idx val="178"/>
            <c:invertIfNegative val="1"/>
            <c:bubble3D val="0"/>
            <c:spPr>
              <a:solidFill>
                <a:srgbClr val="00A097"/>
              </a:solidFill>
            </c:spPr>
            <c:extLst>
              <c:ext xmlns:c16="http://schemas.microsoft.com/office/drawing/2014/chart" uri="{C3380CC4-5D6E-409C-BE32-E72D297353CC}">
                <c16:uniqueId val="{00000167-2993-41DE-A2CB-63102DE87051}"/>
              </c:ext>
            </c:extLst>
          </c:dPt>
          <c:dPt>
            <c:idx val="179"/>
            <c:invertIfNegative val="1"/>
            <c:bubble3D val="0"/>
            <c:spPr>
              <a:solidFill>
                <a:srgbClr val="00A097"/>
              </a:solidFill>
            </c:spPr>
            <c:extLst>
              <c:ext xmlns:c16="http://schemas.microsoft.com/office/drawing/2014/chart" uri="{C3380CC4-5D6E-409C-BE32-E72D297353CC}">
                <c16:uniqueId val="{00000169-2993-41DE-A2CB-63102DE87051}"/>
              </c:ext>
            </c:extLst>
          </c:dPt>
          <c:dPt>
            <c:idx val="180"/>
            <c:invertIfNegative val="1"/>
            <c:bubble3D val="0"/>
            <c:spPr>
              <a:solidFill>
                <a:srgbClr val="00A097"/>
              </a:solidFill>
            </c:spPr>
            <c:extLst>
              <c:ext xmlns:c16="http://schemas.microsoft.com/office/drawing/2014/chart" uri="{C3380CC4-5D6E-409C-BE32-E72D297353CC}">
                <c16:uniqueId val="{0000016B-2993-41DE-A2CB-63102DE87051}"/>
              </c:ext>
            </c:extLst>
          </c:dPt>
          <c:dPt>
            <c:idx val="181"/>
            <c:invertIfNegative val="1"/>
            <c:bubble3D val="0"/>
            <c:spPr>
              <a:solidFill>
                <a:srgbClr val="00A097"/>
              </a:solidFill>
            </c:spPr>
            <c:extLst>
              <c:ext xmlns:c16="http://schemas.microsoft.com/office/drawing/2014/chart" uri="{C3380CC4-5D6E-409C-BE32-E72D297353CC}">
                <c16:uniqueId val="{0000016D-2993-41DE-A2CB-63102DE87051}"/>
              </c:ext>
            </c:extLst>
          </c:dPt>
          <c:dPt>
            <c:idx val="182"/>
            <c:invertIfNegative val="1"/>
            <c:bubble3D val="0"/>
            <c:spPr>
              <a:solidFill>
                <a:srgbClr val="00A097"/>
              </a:solidFill>
            </c:spPr>
            <c:extLst>
              <c:ext xmlns:c16="http://schemas.microsoft.com/office/drawing/2014/chart" uri="{C3380CC4-5D6E-409C-BE32-E72D297353CC}">
                <c16:uniqueId val="{0000016F-2993-41DE-A2CB-63102DE87051}"/>
              </c:ext>
            </c:extLst>
          </c:dPt>
          <c:dPt>
            <c:idx val="183"/>
            <c:invertIfNegative val="1"/>
            <c:bubble3D val="0"/>
            <c:spPr>
              <a:solidFill>
                <a:srgbClr val="00A097"/>
              </a:solidFill>
            </c:spPr>
            <c:extLst>
              <c:ext xmlns:c16="http://schemas.microsoft.com/office/drawing/2014/chart" uri="{C3380CC4-5D6E-409C-BE32-E72D297353CC}">
                <c16:uniqueId val="{00000171-2993-41DE-A2CB-63102DE87051}"/>
              </c:ext>
            </c:extLst>
          </c:dPt>
          <c:dPt>
            <c:idx val="184"/>
            <c:invertIfNegative val="1"/>
            <c:bubble3D val="0"/>
            <c:spPr>
              <a:solidFill>
                <a:srgbClr val="00A097"/>
              </a:solidFill>
            </c:spPr>
            <c:extLst>
              <c:ext xmlns:c16="http://schemas.microsoft.com/office/drawing/2014/chart" uri="{C3380CC4-5D6E-409C-BE32-E72D297353CC}">
                <c16:uniqueId val="{00000173-2993-41DE-A2CB-63102DE87051}"/>
              </c:ext>
            </c:extLst>
          </c:dPt>
          <c:dPt>
            <c:idx val="185"/>
            <c:invertIfNegative val="1"/>
            <c:bubble3D val="0"/>
            <c:spPr>
              <a:solidFill>
                <a:srgbClr val="00A097"/>
              </a:solidFill>
            </c:spPr>
            <c:extLst>
              <c:ext xmlns:c16="http://schemas.microsoft.com/office/drawing/2014/chart" uri="{C3380CC4-5D6E-409C-BE32-E72D297353CC}">
                <c16:uniqueId val="{00000175-2993-41DE-A2CB-63102DE87051}"/>
              </c:ext>
            </c:extLst>
          </c:dPt>
          <c:dPt>
            <c:idx val="186"/>
            <c:invertIfNegative val="1"/>
            <c:bubble3D val="0"/>
            <c:spPr>
              <a:solidFill>
                <a:srgbClr val="00A097"/>
              </a:solidFill>
            </c:spPr>
            <c:extLst>
              <c:ext xmlns:c16="http://schemas.microsoft.com/office/drawing/2014/chart" uri="{C3380CC4-5D6E-409C-BE32-E72D297353CC}">
                <c16:uniqueId val="{00000177-2993-41DE-A2CB-63102DE87051}"/>
              </c:ext>
            </c:extLst>
          </c:dPt>
          <c:dPt>
            <c:idx val="187"/>
            <c:invertIfNegative val="1"/>
            <c:bubble3D val="0"/>
            <c:spPr>
              <a:solidFill>
                <a:srgbClr val="00A097"/>
              </a:solidFill>
            </c:spPr>
            <c:extLst>
              <c:ext xmlns:c16="http://schemas.microsoft.com/office/drawing/2014/chart" uri="{C3380CC4-5D6E-409C-BE32-E72D297353CC}">
                <c16:uniqueId val="{00000179-2993-41DE-A2CB-63102DE87051}"/>
              </c:ext>
            </c:extLst>
          </c:dPt>
          <c:dPt>
            <c:idx val="188"/>
            <c:invertIfNegative val="1"/>
            <c:bubble3D val="0"/>
            <c:spPr>
              <a:solidFill>
                <a:srgbClr val="00A097"/>
              </a:solidFill>
            </c:spPr>
            <c:extLst>
              <c:ext xmlns:c16="http://schemas.microsoft.com/office/drawing/2014/chart" uri="{C3380CC4-5D6E-409C-BE32-E72D297353CC}">
                <c16:uniqueId val="{0000017B-2993-41DE-A2CB-63102DE87051}"/>
              </c:ext>
            </c:extLst>
          </c:dPt>
          <c:dPt>
            <c:idx val="189"/>
            <c:invertIfNegative val="1"/>
            <c:bubble3D val="0"/>
            <c:spPr>
              <a:solidFill>
                <a:srgbClr val="00A097"/>
              </a:solidFill>
            </c:spPr>
            <c:extLst>
              <c:ext xmlns:c16="http://schemas.microsoft.com/office/drawing/2014/chart" uri="{C3380CC4-5D6E-409C-BE32-E72D297353CC}">
                <c16:uniqueId val="{0000017D-2993-41DE-A2CB-63102DE87051}"/>
              </c:ext>
            </c:extLst>
          </c:dPt>
          <c:dPt>
            <c:idx val="190"/>
            <c:invertIfNegative val="1"/>
            <c:bubble3D val="0"/>
            <c:spPr>
              <a:solidFill>
                <a:srgbClr val="00A097"/>
              </a:solidFill>
            </c:spPr>
            <c:extLst>
              <c:ext xmlns:c16="http://schemas.microsoft.com/office/drawing/2014/chart" uri="{C3380CC4-5D6E-409C-BE32-E72D297353CC}">
                <c16:uniqueId val="{0000017F-2993-41DE-A2CB-63102DE87051}"/>
              </c:ext>
            </c:extLst>
          </c:dPt>
          <c:dPt>
            <c:idx val="191"/>
            <c:invertIfNegative val="1"/>
            <c:bubble3D val="0"/>
            <c:spPr>
              <a:solidFill>
                <a:srgbClr val="00A097"/>
              </a:solidFill>
            </c:spPr>
            <c:extLst>
              <c:ext xmlns:c16="http://schemas.microsoft.com/office/drawing/2014/chart" uri="{C3380CC4-5D6E-409C-BE32-E72D297353CC}">
                <c16:uniqueId val="{00000181-2993-41DE-A2CB-63102DE87051}"/>
              </c:ext>
            </c:extLst>
          </c:dPt>
          <c:dPt>
            <c:idx val="192"/>
            <c:invertIfNegative val="1"/>
            <c:bubble3D val="0"/>
            <c:spPr>
              <a:solidFill>
                <a:srgbClr val="00A097"/>
              </a:solidFill>
            </c:spPr>
            <c:extLst>
              <c:ext xmlns:c16="http://schemas.microsoft.com/office/drawing/2014/chart" uri="{C3380CC4-5D6E-409C-BE32-E72D297353CC}">
                <c16:uniqueId val="{00000183-2993-41DE-A2CB-63102DE87051}"/>
              </c:ext>
            </c:extLst>
          </c:dPt>
          <c:dPt>
            <c:idx val="193"/>
            <c:invertIfNegative val="1"/>
            <c:bubble3D val="0"/>
            <c:spPr>
              <a:solidFill>
                <a:srgbClr val="00A097"/>
              </a:solidFill>
            </c:spPr>
            <c:extLst>
              <c:ext xmlns:c16="http://schemas.microsoft.com/office/drawing/2014/chart" uri="{C3380CC4-5D6E-409C-BE32-E72D297353CC}">
                <c16:uniqueId val="{00000185-2993-41DE-A2CB-63102DE87051}"/>
              </c:ext>
            </c:extLst>
          </c:dPt>
          <c:dPt>
            <c:idx val="194"/>
            <c:invertIfNegative val="1"/>
            <c:bubble3D val="0"/>
            <c:spPr>
              <a:solidFill>
                <a:srgbClr val="00A097"/>
              </a:solidFill>
            </c:spPr>
            <c:extLst>
              <c:ext xmlns:c16="http://schemas.microsoft.com/office/drawing/2014/chart" uri="{C3380CC4-5D6E-409C-BE32-E72D297353CC}">
                <c16:uniqueId val="{00000187-2993-41DE-A2CB-63102DE87051}"/>
              </c:ext>
            </c:extLst>
          </c:dPt>
          <c:dPt>
            <c:idx val="195"/>
            <c:invertIfNegative val="1"/>
            <c:bubble3D val="0"/>
            <c:spPr>
              <a:solidFill>
                <a:srgbClr val="00A097"/>
              </a:solidFill>
            </c:spPr>
            <c:extLst>
              <c:ext xmlns:c16="http://schemas.microsoft.com/office/drawing/2014/chart" uri="{C3380CC4-5D6E-409C-BE32-E72D297353CC}">
                <c16:uniqueId val="{00000189-2993-41DE-A2CB-63102DE87051}"/>
              </c:ext>
            </c:extLst>
          </c:dPt>
          <c:dPt>
            <c:idx val="196"/>
            <c:invertIfNegative val="1"/>
            <c:bubble3D val="0"/>
            <c:spPr>
              <a:solidFill>
                <a:srgbClr val="00A097"/>
              </a:solidFill>
            </c:spPr>
            <c:extLst>
              <c:ext xmlns:c16="http://schemas.microsoft.com/office/drawing/2014/chart" uri="{C3380CC4-5D6E-409C-BE32-E72D297353CC}">
                <c16:uniqueId val="{0000018B-2993-41DE-A2CB-63102DE87051}"/>
              </c:ext>
            </c:extLst>
          </c:dPt>
          <c:dPt>
            <c:idx val="197"/>
            <c:invertIfNegative val="1"/>
            <c:bubble3D val="0"/>
            <c:spPr>
              <a:solidFill>
                <a:srgbClr val="00A097"/>
              </a:solidFill>
            </c:spPr>
            <c:extLst>
              <c:ext xmlns:c16="http://schemas.microsoft.com/office/drawing/2014/chart" uri="{C3380CC4-5D6E-409C-BE32-E72D297353CC}">
                <c16:uniqueId val="{0000018D-2993-41DE-A2CB-63102DE87051}"/>
              </c:ext>
            </c:extLst>
          </c:dPt>
          <c:dPt>
            <c:idx val="198"/>
            <c:invertIfNegative val="1"/>
            <c:bubble3D val="0"/>
            <c:spPr>
              <a:solidFill>
                <a:srgbClr val="00A097"/>
              </a:solidFill>
            </c:spPr>
            <c:extLst>
              <c:ext xmlns:c16="http://schemas.microsoft.com/office/drawing/2014/chart" uri="{C3380CC4-5D6E-409C-BE32-E72D297353CC}">
                <c16:uniqueId val="{0000018F-2993-41DE-A2CB-63102DE87051}"/>
              </c:ext>
            </c:extLst>
          </c:dPt>
          <c:dPt>
            <c:idx val="199"/>
            <c:invertIfNegative val="1"/>
            <c:bubble3D val="0"/>
            <c:spPr>
              <a:solidFill>
                <a:srgbClr val="00A097"/>
              </a:solidFill>
            </c:spPr>
            <c:extLst>
              <c:ext xmlns:c16="http://schemas.microsoft.com/office/drawing/2014/chart" uri="{C3380CC4-5D6E-409C-BE32-E72D297353CC}">
                <c16:uniqueId val="{00000191-2993-41DE-A2CB-63102DE87051}"/>
              </c:ext>
            </c:extLst>
          </c:dPt>
          <c:dPt>
            <c:idx val="200"/>
            <c:invertIfNegative val="1"/>
            <c:bubble3D val="0"/>
            <c:spPr>
              <a:solidFill>
                <a:srgbClr val="00A097"/>
              </a:solidFill>
            </c:spPr>
            <c:extLst>
              <c:ext xmlns:c16="http://schemas.microsoft.com/office/drawing/2014/chart" uri="{C3380CC4-5D6E-409C-BE32-E72D297353CC}">
                <c16:uniqueId val="{00000193-2993-41DE-A2CB-63102DE87051}"/>
              </c:ext>
            </c:extLst>
          </c:dPt>
          <c:dPt>
            <c:idx val="201"/>
            <c:invertIfNegative val="1"/>
            <c:bubble3D val="0"/>
            <c:spPr>
              <a:solidFill>
                <a:srgbClr val="00A097"/>
              </a:solidFill>
            </c:spPr>
            <c:extLst>
              <c:ext xmlns:c16="http://schemas.microsoft.com/office/drawing/2014/chart" uri="{C3380CC4-5D6E-409C-BE32-E72D297353CC}">
                <c16:uniqueId val="{00000195-2993-41DE-A2CB-63102DE87051}"/>
              </c:ext>
            </c:extLst>
          </c:dPt>
          <c:dPt>
            <c:idx val="202"/>
            <c:invertIfNegative val="1"/>
            <c:bubble3D val="0"/>
            <c:spPr>
              <a:solidFill>
                <a:srgbClr val="00A097"/>
              </a:solidFill>
            </c:spPr>
            <c:extLst>
              <c:ext xmlns:c16="http://schemas.microsoft.com/office/drawing/2014/chart" uri="{C3380CC4-5D6E-409C-BE32-E72D297353CC}">
                <c16:uniqueId val="{00000197-2993-41DE-A2CB-63102DE87051}"/>
              </c:ext>
            </c:extLst>
          </c:dPt>
          <c:dPt>
            <c:idx val="203"/>
            <c:invertIfNegative val="1"/>
            <c:bubble3D val="0"/>
            <c:spPr>
              <a:solidFill>
                <a:srgbClr val="00A097"/>
              </a:solidFill>
            </c:spPr>
            <c:extLst>
              <c:ext xmlns:c16="http://schemas.microsoft.com/office/drawing/2014/chart" uri="{C3380CC4-5D6E-409C-BE32-E72D297353CC}">
                <c16:uniqueId val="{00000199-2993-41DE-A2CB-63102DE87051}"/>
              </c:ext>
            </c:extLst>
          </c:dPt>
          <c:dPt>
            <c:idx val="204"/>
            <c:invertIfNegative val="1"/>
            <c:bubble3D val="0"/>
            <c:spPr>
              <a:solidFill>
                <a:srgbClr val="00A097"/>
              </a:solidFill>
            </c:spPr>
            <c:extLst>
              <c:ext xmlns:c16="http://schemas.microsoft.com/office/drawing/2014/chart" uri="{C3380CC4-5D6E-409C-BE32-E72D297353CC}">
                <c16:uniqueId val="{0000019B-2993-41DE-A2CB-63102DE87051}"/>
              </c:ext>
            </c:extLst>
          </c:dPt>
          <c:dPt>
            <c:idx val="205"/>
            <c:invertIfNegative val="1"/>
            <c:bubble3D val="0"/>
            <c:spPr>
              <a:solidFill>
                <a:srgbClr val="00A097"/>
              </a:solidFill>
            </c:spPr>
            <c:extLst>
              <c:ext xmlns:c16="http://schemas.microsoft.com/office/drawing/2014/chart" uri="{C3380CC4-5D6E-409C-BE32-E72D297353CC}">
                <c16:uniqueId val="{0000019D-2993-41DE-A2CB-63102DE87051}"/>
              </c:ext>
            </c:extLst>
          </c:dPt>
          <c:dPt>
            <c:idx val="206"/>
            <c:invertIfNegative val="1"/>
            <c:bubble3D val="0"/>
            <c:spPr>
              <a:solidFill>
                <a:srgbClr val="00A097"/>
              </a:solidFill>
            </c:spPr>
            <c:extLst>
              <c:ext xmlns:c16="http://schemas.microsoft.com/office/drawing/2014/chart" uri="{C3380CC4-5D6E-409C-BE32-E72D297353CC}">
                <c16:uniqueId val="{0000019F-2993-41DE-A2CB-63102DE87051}"/>
              </c:ext>
            </c:extLst>
          </c:dPt>
          <c:dPt>
            <c:idx val="207"/>
            <c:invertIfNegative val="1"/>
            <c:bubble3D val="0"/>
            <c:spPr>
              <a:solidFill>
                <a:srgbClr val="00A097"/>
              </a:solidFill>
            </c:spPr>
            <c:extLst>
              <c:ext xmlns:c16="http://schemas.microsoft.com/office/drawing/2014/chart" uri="{C3380CC4-5D6E-409C-BE32-E72D297353CC}">
                <c16:uniqueId val="{000001A1-2993-41DE-A2CB-63102DE87051}"/>
              </c:ext>
            </c:extLst>
          </c:dPt>
          <c:dPt>
            <c:idx val="208"/>
            <c:invertIfNegative val="1"/>
            <c:bubble3D val="0"/>
            <c:spPr>
              <a:solidFill>
                <a:srgbClr val="00A097"/>
              </a:solidFill>
            </c:spPr>
            <c:extLst>
              <c:ext xmlns:c16="http://schemas.microsoft.com/office/drawing/2014/chart" uri="{C3380CC4-5D6E-409C-BE32-E72D297353CC}">
                <c16:uniqueId val="{000001A3-2993-41DE-A2CB-63102DE87051}"/>
              </c:ext>
            </c:extLst>
          </c:dPt>
          <c:dPt>
            <c:idx val="209"/>
            <c:invertIfNegative val="1"/>
            <c:bubble3D val="0"/>
            <c:spPr>
              <a:solidFill>
                <a:srgbClr val="00A097"/>
              </a:solidFill>
            </c:spPr>
            <c:extLst>
              <c:ext xmlns:c16="http://schemas.microsoft.com/office/drawing/2014/chart" uri="{C3380CC4-5D6E-409C-BE32-E72D297353CC}">
                <c16:uniqueId val="{000001A5-2993-41DE-A2CB-63102DE87051}"/>
              </c:ext>
            </c:extLst>
          </c:dPt>
          <c:dPt>
            <c:idx val="210"/>
            <c:spPr>
              <a:solidFill>
                <a:srgbClr val="00A097"/>
              </a:solidFill>
            </c:spPr>
          </c:dPt>
          <c:dPt>
            <c:idx val="211"/>
            <c:spPr>
              <a:solidFill>
                <a:srgbClr val="00A097"/>
              </a:solidFill>
            </c:spPr>
          </c:dPt>
          <c:dPt>
            <c:idx val="212"/>
            <c:spPr>
              <a:solidFill>
                <a:srgbClr val="00A097"/>
              </a:solidFill>
            </c:spPr>
          </c:dPt>
          <c:dPt>
            <c:idx val="213"/>
            <c:spPr>
              <a:solidFill>
                <a:srgbClr val="00A097"/>
              </a:solidFill>
            </c:spPr>
          </c:dPt>
          <c:dPt>
            <c:idx val="214"/>
            <c:spPr>
              <a:solidFill>
                <a:srgbClr val="00A097"/>
              </a:solidFill>
            </c:spPr>
          </c:dPt>
          <c:dPt>
            <c:idx val="215"/>
            <c:spPr>
              <a:solidFill>
                <a:srgbClr val="00A097"/>
              </a:solidFill>
            </c:spPr>
          </c:dPt>
          <c:dPt>
            <c:idx val="216"/>
            <c:spPr>
              <a:solidFill>
                <a:srgbClr val="00A097"/>
              </a:solidFill>
            </c:spPr>
          </c:dPt>
          <c:dPt>
            <c:idx val="217"/>
            <c:spPr>
              <a:solidFill>
                <a:srgbClr val="00A097"/>
              </a:solidFill>
            </c:spPr>
          </c:dPt>
          <c:dPt>
            <c:idx val="218"/>
            <c:spPr>
              <a:solidFill>
                <a:srgbClr val="00A097"/>
              </a:solidFill>
            </c:spPr>
          </c:dPt>
          <c:dPt>
            <c:idx val="219"/>
            <c:spPr>
              <a:solidFill>
                <a:srgbClr val="00A097"/>
              </a:solidFill>
            </c:spPr>
          </c:dPt>
          <c:dPt>
            <c:idx val="220"/>
            <c:spPr>
              <a:solidFill>
                <a:srgbClr val="00A097"/>
              </a:solidFill>
            </c:spPr>
          </c:dPt>
          <c:dPt>
            <c:idx val="221"/>
            <c:spPr>
              <a:solidFill>
                <a:srgbClr val="00A097"/>
              </a:solidFill>
            </c:spPr>
          </c:dPt>
          <c:dPt>
            <c:idx val="222"/>
            <c:spPr>
              <a:solidFill>
                <a:srgbClr val="00A097"/>
              </a:solidFill>
            </c:spPr>
          </c:dPt>
          <c:dPt>
            <c:idx val="223"/>
            <c:spPr>
              <a:solidFill>
                <a:srgbClr val="00A097"/>
              </a:solidFill>
            </c:spPr>
          </c:dPt>
          <c:dPt>
            <c:idx val="224"/>
            <c:spPr>
              <a:solidFill>
                <a:srgbClr val="00A097"/>
              </a:solidFill>
            </c:spPr>
          </c:dPt>
          <c:dPt>
            <c:idx val="225"/>
            <c:spPr>
              <a:solidFill>
                <a:srgbClr val="00A097"/>
              </a:solidFill>
            </c:spPr>
          </c:dPt>
          <c:dPt>
            <c:idx val="226"/>
            <c:spPr>
              <a:solidFill>
                <a:srgbClr val="00A097"/>
              </a:solidFill>
            </c:spPr>
          </c:dPt>
          <c:dPt>
            <c:idx val="227"/>
            <c:spPr>
              <a:solidFill>
                <a:srgbClr val="00A097"/>
              </a:solidFill>
            </c:spPr>
          </c:dPt>
          <c:dPt>
            <c:idx val="228"/>
            <c:spPr>
              <a:solidFill>
                <a:srgbClr val="00A097"/>
              </a:solidFill>
            </c:spPr>
          </c:dPt>
          <c:dPt>
            <c:idx val="229"/>
            <c:spPr>
              <a:solidFill>
                <a:srgbClr val="00A097"/>
              </a:solidFill>
            </c:spPr>
          </c:dPt>
          <c:dPt>
            <c:idx val="230"/>
            <c:spPr>
              <a:solidFill>
                <a:srgbClr val="00A097"/>
              </a:solidFill>
            </c:spPr>
          </c:dPt>
          <c:dPt>
            <c:idx val="231"/>
            <c:spPr>
              <a:solidFill>
                <a:srgbClr val="00A097"/>
              </a:solidFill>
            </c:spPr>
          </c:dPt>
          <c:dPt>
            <c:idx val="232"/>
            <c:spPr>
              <a:solidFill>
                <a:srgbClr val="00A097"/>
              </a:solidFill>
            </c:spPr>
          </c:dPt>
          <c:dPt>
            <c:idx val="233"/>
            <c:spPr>
              <a:solidFill>
                <a:srgbClr val="00A097"/>
              </a:solidFill>
            </c:spPr>
          </c:dPt>
          <c:dPt>
            <c:idx val="234"/>
            <c:spPr>
              <a:solidFill>
                <a:srgbClr val="00A097"/>
              </a:solidFill>
            </c:spPr>
          </c:dPt>
          <c:dPt>
            <c:idx val="235"/>
            <c:spPr>
              <a:solidFill>
                <a:srgbClr val="00A097"/>
              </a:solidFill>
            </c:spPr>
          </c:dPt>
          <c:dPt>
            <c:idx val="236"/>
            <c:spPr>
              <a:solidFill>
                <a:srgbClr val="00A097"/>
              </a:solidFill>
            </c:spPr>
          </c:dPt>
          <c:dPt>
            <c:idx val="237"/>
            <c:spPr>
              <a:solidFill>
                <a:srgbClr val="00A097"/>
              </a:solidFill>
            </c:spPr>
          </c:dPt>
          <c:dPt>
            <c:idx val="238"/>
            <c:spPr>
              <a:solidFill>
                <a:srgbClr val="00A097"/>
              </a:solidFill>
            </c:spPr>
          </c:dPt>
          <c:dPt>
            <c:idx val="239"/>
            <c:spPr>
              <a:solidFill>
                <a:srgbClr val="00A097"/>
              </a:solidFill>
            </c:spPr>
          </c:dPt>
          <c:dPt>
            <c:idx val="240"/>
            <c:spPr>
              <a:solidFill>
                <a:srgbClr val="00A097"/>
              </a:solidFill>
            </c:spPr>
          </c:dPt>
          <c:dPt>
            <c:idx val="241"/>
            <c:spPr>
              <a:solidFill>
                <a:srgbClr val="00A097"/>
              </a:solidFill>
            </c:spPr>
          </c:dPt>
          <c:dPt>
            <c:idx val="242"/>
            <c:spPr>
              <a:solidFill>
                <a:srgbClr val="00A097"/>
              </a:solidFill>
            </c:spPr>
          </c:dPt>
          <c:dPt>
            <c:idx val="243"/>
            <c:spPr>
              <a:solidFill>
                <a:srgbClr val="00A097"/>
              </a:solidFill>
            </c:spPr>
          </c:dPt>
          <c:dPt>
            <c:idx val="244"/>
            <c:spPr>
              <a:solidFill>
                <a:srgbClr val="00A097"/>
              </a:solidFill>
            </c:spPr>
          </c:dPt>
          <c:dPt>
            <c:idx val="245"/>
            <c:spPr>
              <a:solidFill>
                <a:srgbClr val="00A097"/>
              </a:solidFill>
            </c:spPr>
          </c:dPt>
          <c:dPt>
            <c:idx val="246"/>
            <c:spPr>
              <a:solidFill>
                <a:srgbClr val="00A097"/>
              </a:solidFill>
            </c:spPr>
          </c:dPt>
          <c:dPt>
            <c:idx val="247"/>
            <c:spPr>
              <a:solidFill>
                <a:srgbClr val="00A097"/>
              </a:solidFill>
            </c:spPr>
          </c:dPt>
          <c:dPt>
            <c:idx val="248"/>
            <c:spPr>
              <a:solidFill>
                <a:srgbClr val="00A097"/>
              </a:solidFill>
            </c:spPr>
          </c:dPt>
          <c:dPt>
            <c:idx val="249"/>
            <c:spPr>
              <a:solidFill>
                <a:srgbClr val="00A097"/>
              </a:solidFill>
            </c:spPr>
          </c:dPt>
          <c:dPt>
            <c:idx val="250"/>
            <c:spPr>
              <a:solidFill>
                <a:srgbClr val="00A097"/>
              </a:solidFill>
            </c:spPr>
          </c:dPt>
          <c:dPt>
            <c:idx val="251"/>
            <c:spPr>
              <a:solidFill>
                <a:srgbClr val="00A097"/>
              </a:solidFill>
            </c:spPr>
          </c:dPt>
          <c:dPt>
            <c:idx val="252"/>
            <c:spPr>
              <a:solidFill>
                <a:srgbClr val="00A097"/>
              </a:solidFill>
            </c:spPr>
          </c:dPt>
          <c:dPt>
            <c:idx val="253"/>
            <c:spPr>
              <a:solidFill>
                <a:srgbClr val="00A097"/>
              </a:solidFill>
            </c:spPr>
          </c:dPt>
          <c:dPt>
            <c:idx val="254"/>
            <c:spPr>
              <a:solidFill>
                <a:srgbClr val="00A097"/>
              </a:solidFill>
            </c:spPr>
          </c:dPt>
          <c:dPt>
            <c:idx val="255"/>
            <c:spPr>
              <a:solidFill>
                <a:srgbClr val="00A097"/>
              </a:solidFill>
            </c:spPr>
          </c:dPt>
          <c:dPt>
            <c:idx val="256"/>
            <c:spPr>
              <a:solidFill>
                <a:srgbClr val="00A097"/>
              </a:solidFill>
            </c:spPr>
          </c:dPt>
          <c:dPt>
            <c:idx val="257"/>
            <c:spPr>
              <a:solidFill>
                <a:srgbClr val="00A097"/>
              </a:solidFill>
            </c:spPr>
          </c:dPt>
          <c:dPt>
            <c:idx val="258"/>
            <c:spPr>
              <a:solidFill>
                <a:srgbClr val="00A097"/>
              </a:solidFill>
            </c:spPr>
          </c:dPt>
          <c:dPt>
            <c:idx val="259"/>
            <c:spPr>
              <a:solidFill>
                <a:srgbClr val="00A097"/>
              </a:solidFill>
            </c:spPr>
          </c:dPt>
          <c:dPt>
            <c:idx val="260"/>
            <c:spPr>
              <a:solidFill>
                <a:srgbClr val="00A097"/>
              </a:solidFill>
            </c:spPr>
          </c:dPt>
          <c:dPt>
            <c:idx val="261"/>
            <c:spPr>
              <a:solidFill>
                <a:srgbClr val="00A097"/>
              </a:solidFill>
            </c:spPr>
          </c:dPt>
          <c:dPt>
            <c:idx val="262"/>
            <c:spPr>
              <a:solidFill>
                <a:srgbClr val="00A097"/>
              </a:solidFill>
            </c:spPr>
          </c:dPt>
          <c:dPt>
            <c:idx val="263"/>
            <c:spPr>
              <a:solidFill>
                <a:srgbClr val="00A097"/>
              </a:solidFill>
            </c:spPr>
          </c:dPt>
          <c:dPt>
            <c:idx val="264"/>
            <c:spPr>
              <a:solidFill>
                <a:srgbClr val="00A097"/>
              </a:solidFill>
            </c:spPr>
          </c:dPt>
          <c:dPt>
            <c:idx val="265"/>
            <c:spPr>
              <a:solidFill>
                <a:srgbClr val="00A097"/>
              </a:solidFill>
            </c:spPr>
          </c:dPt>
          <c:dPt>
            <c:idx val="266"/>
            <c:spPr>
              <a:solidFill>
                <a:srgbClr val="00A097"/>
              </a:solidFill>
            </c:spPr>
          </c:dPt>
          <c:dPt>
            <c:idx val="267"/>
            <c:spPr>
              <a:solidFill>
                <a:srgbClr val="00A097"/>
              </a:solidFill>
            </c:spPr>
          </c:dPt>
          <c:dPt>
            <c:idx val="268"/>
            <c:spPr>
              <a:solidFill>
                <a:srgbClr val="00A097"/>
              </a:solidFill>
            </c:spPr>
          </c:dPt>
          <c:dPt>
            <c:idx val="269"/>
            <c:spPr>
              <a:solidFill>
                <a:srgbClr val="00A097"/>
              </a:solidFill>
            </c:spPr>
          </c:dPt>
          <c:dPt>
            <c:idx val="270"/>
            <c:spPr>
              <a:solidFill>
                <a:srgbClr val="00A097"/>
              </a:solidFill>
            </c:spPr>
          </c:dPt>
          <c:dPt>
            <c:idx val="271"/>
            <c:spPr>
              <a:solidFill>
                <a:srgbClr val="00A097"/>
              </a:solidFill>
            </c:spPr>
          </c:dPt>
          <c:dPt>
            <c:idx val="272"/>
            <c:spPr>
              <a:solidFill>
                <a:srgbClr val="00A097"/>
              </a:solidFill>
            </c:spPr>
          </c:dPt>
          <c:dPt>
            <c:idx val="273"/>
            <c:spPr>
              <a:solidFill>
                <a:srgbClr val="00A097"/>
              </a:solidFill>
            </c:spPr>
          </c:dPt>
          <c:dPt>
            <c:idx val="274"/>
            <c:spPr>
              <a:solidFill>
                <a:srgbClr val="00A097"/>
              </a:solidFill>
            </c:spPr>
          </c:dPt>
          <c:dPt>
            <c:idx val="275"/>
            <c:spPr>
              <a:solidFill>
                <a:srgbClr val="00A097"/>
              </a:solidFill>
            </c:spPr>
          </c:dPt>
          <c:dPt>
            <c:idx val="276"/>
            <c:spPr>
              <a:solidFill>
                <a:srgbClr val="00A097"/>
              </a:solidFill>
            </c:spPr>
          </c:dPt>
          <c:dPt>
            <c:idx val="277"/>
            <c:spPr>
              <a:solidFill>
                <a:srgbClr val="00A097"/>
              </a:solidFill>
            </c:spPr>
          </c:dPt>
          <c:dPt>
            <c:idx val="278"/>
            <c:spPr>
              <a:solidFill>
                <a:srgbClr val="00A097"/>
              </a:solidFill>
            </c:spPr>
          </c:dPt>
          <c:dPt>
            <c:idx val="279"/>
            <c:spPr>
              <a:solidFill>
                <a:srgbClr val="00A097"/>
              </a:solidFill>
            </c:spPr>
          </c:dPt>
          <c:dPt>
            <c:idx val="280"/>
            <c:spPr>
              <a:solidFill>
                <a:srgbClr val="00A097"/>
              </a:solidFill>
            </c:spPr>
          </c:dPt>
          <c:dPt>
            <c:idx val="281"/>
            <c:spPr>
              <a:solidFill>
                <a:srgbClr val="00A097"/>
              </a:solidFill>
            </c:spPr>
          </c:dPt>
          <c:dPt>
            <c:idx val="282"/>
            <c:spPr>
              <a:solidFill>
                <a:srgbClr val="00A097"/>
              </a:solidFill>
            </c:spPr>
          </c:dPt>
          <c:dPt>
            <c:idx val="283"/>
            <c:spPr>
              <a:solidFill>
                <a:srgbClr val="00A097"/>
              </a:solidFill>
            </c:spPr>
          </c:dPt>
          <c:dPt>
            <c:idx val="284"/>
            <c:spPr>
              <a:solidFill>
                <a:srgbClr val="00A097"/>
              </a:solidFill>
            </c:spPr>
          </c:dPt>
          <c:dPt>
            <c:idx val="285"/>
            <c:spPr>
              <a:solidFill>
                <a:srgbClr val="00A097"/>
              </a:solidFill>
            </c:spPr>
          </c:dPt>
          <c:dPt>
            <c:idx val="286"/>
            <c:spPr>
              <a:solidFill>
                <a:srgbClr val="00A097"/>
              </a:solidFill>
            </c:spPr>
          </c:dPt>
          <c:dPt>
            <c:idx val="287"/>
            <c:spPr>
              <a:solidFill>
                <a:srgbClr val="00A097"/>
              </a:solidFill>
            </c:spPr>
          </c:dPt>
          <c:dPt>
            <c:idx val="288"/>
            <c:spPr>
              <a:solidFill>
                <a:srgbClr val="00A097"/>
              </a:solidFill>
            </c:spPr>
          </c:dPt>
          <c:dPt>
            <c:idx val="289"/>
            <c:spPr>
              <a:solidFill>
                <a:srgbClr val="00A097"/>
              </a:solidFill>
            </c:spPr>
          </c:dPt>
          <c:dPt>
            <c:idx val="290"/>
            <c:spPr>
              <a:solidFill>
                <a:srgbClr val="00A097"/>
              </a:solidFill>
            </c:spPr>
          </c:dPt>
          <c:dPt>
            <c:idx val="291"/>
            <c:spPr>
              <a:solidFill>
                <a:srgbClr val="00A097"/>
              </a:solidFill>
            </c:spPr>
          </c:dPt>
          <c:dPt>
            <c:idx val="292"/>
            <c:spPr>
              <a:solidFill>
                <a:srgbClr val="00A097"/>
              </a:solidFill>
            </c:spPr>
          </c:dPt>
          <c:dPt>
            <c:idx val="293"/>
            <c:spPr>
              <a:solidFill>
                <a:srgbClr val="00A097"/>
              </a:solidFill>
            </c:spPr>
          </c:dPt>
          <c:dPt>
            <c:idx val="294"/>
            <c:spPr>
              <a:solidFill>
                <a:srgbClr val="00A097"/>
              </a:solidFill>
            </c:spPr>
          </c:dPt>
          <c:dPt>
            <c:idx val="295"/>
            <c:spPr>
              <a:solidFill>
                <a:srgbClr val="00A097"/>
              </a:solidFill>
            </c:spPr>
          </c:dPt>
          <c:dPt>
            <c:idx val="296"/>
            <c:spPr>
              <a:solidFill>
                <a:srgbClr val="00A097"/>
              </a:solidFill>
            </c:spPr>
          </c:dPt>
          <c:dPt>
            <c:idx val="297"/>
            <c:spPr>
              <a:solidFill>
                <a:srgbClr val="00A097"/>
              </a:solidFill>
            </c:spPr>
          </c:dPt>
          <c:dPt>
            <c:idx val="298"/>
            <c:spPr>
              <a:solidFill>
                <a:srgbClr val="00A097"/>
              </a:solidFill>
            </c:spPr>
          </c:dPt>
          <c:dPt>
            <c:idx val="299"/>
            <c:spPr>
              <a:solidFill>
                <a:srgbClr val="00A097"/>
              </a:solidFill>
            </c:spPr>
          </c:dPt>
          <c:dPt>
            <c:idx val="300"/>
            <c:spPr>
              <a:solidFill>
                <a:srgbClr val="00A097"/>
              </a:solidFill>
            </c:spPr>
          </c:dPt>
          <c:dPt>
            <c:idx val="301"/>
            <c:spPr>
              <a:solidFill>
                <a:srgbClr val="00A097"/>
              </a:solidFill>
            </c:spPr>
          </c:dPt>
          <c:dPt>
            <c:idx val="302"/>
            <c:spPr>
              <a:solidFill>
                <a:srgbClr val="00A097"/>
              </a:solidFill>
            </c:spPr>
          </c:dPt>
          <c:dPt>
            <c:idx val="303"/>
            <c:spPr>
              <a:solidFill>
                <a:srgbClr val="00A097"/>
              </a:solidFill>
            </c:spPr>
          </c:dPt>
          <c:dPt>
            <c:idx val="304"/>
            <c:spPr>
              <a:solidFill>
                <a:srgbClr val="00A097"/>
              </a:solidFill>
            </c:spPr>
          </c:dPt>
          <c:dPt>
            <c:idx val="305"/>
            <c:spPr>
              <a:solidFill>
                <a:srgbClr val="00A097"/>
              </a:solidFill>
            </c:spPr>
          </c:dPt>
          <c:dPt>
            <c:idx val="306"/>
            <c:spPr>
              <a:solidFill>
                <a:srgbClr val="00A097"/>
              </a:solidFill>
            </c:spPr>
          </c:dPt>
          <c:dPt>
            <c:idx val="307"/>
            <c:spPr>
              <a:solidFill>
                <a:srgbClr val="00A097"/>
              </a:solidFill>
            </c:spPr>
          </c:dPt>
          <c:dPt>
            <c:idx val="308"/>
            <c:spPr>
              <a:solidFill>
                <a:srgbClr val="00A097"/>
              </a:solidFill>
            </c:spPr>
          </c:dPt>
          <c:dPt>
            <c:idx val="309"/>
            <c:spPr>
              <a:solidFill>
                <a:srgbClr val="00A097"/>
              </a:solidFill>
            </c:spPr>
          </c:dPt>
          <c:dPt>
            <c:idx val="310"/>
            <c:spPr>
              <a:solidFill>
                <a:srgbClr val="00A097"/>
              </a:solidFill>
            </c:spPr>
          </c:dPt>
          <c:dPt>
            <c:idx val="311"/>
            <c:spPr>
              <a:solidFill>
                <a:srgbClr val="00A097"/>
              </a:solidFill>
            </c:spPr>
          </c:dPt>
          <c:dPt>
            <c:idx val="312"/>
            <c:spPr>
              <a:solidFill>
                <a:srgbClr val="00A097"/>
              </a:solidFill>
            </c:spPr>
          </c:dPt>
          <c:dPt>
            <c:idx val="313"/>
            <c:spPr>
              <a:solidFill>
                <a:srgbClr val="00A097"/>
              </a:solidFill>
            </c:spPr>
          </c:dPt>
          <c:dPt>
            <c:idx val="314"/>
            <c:spPr>
              <a:solidFill>
                <a:srgbClr val="00A097"/>
              </a:solidFill>
            </c:spPr>
          </c:dPt>
          <c:dPt>
            <c:idx val="315"/>
            <c:spPr>
              <a:solidFill>
                <a:srgbClr val="00A097"/>
              </a:solidFill>
            </c:spPr>
          </c:dPt>
          <c:dPt>
            <c:idx val="316"/>
            <c:spPr>
              <a:solidFill>
                <a:srgbClr val="00A097"/>
              </a:solidFill>
            </c:spPr>
          </c:dPt>
          <c:dPt>
            <c:idx val="317"/>
            <c:spPr>
              <a:solidFill>
                <a:srgbClr val="00A097"/>
              </a:solidFill>
            </c:spPr>
          </c:dPt>
          <c:dPt>
            <c:idx val="318"/>
            <c:spPr>
              <a:solidFill>
                <a:srgbClr val="7ECAC4"/>
              </a:solidFill>
            </c:spPr>
          </c:dPt>
          <c:dPt>
            <c:idx val="319"/>
            <c:spPr>
              <a:solidFill>
                <a:srgbClr val="7ECAC4"/>
              </a:solidFill>
            </c:spPr>
          </c:dPt>
          <c:dPt>
            <c:idx val="320"/>
            <c:spPr>
              <a:solidFill>
                <a:srgbClr val="7ECAC4"/>
              </a:solidFill>
            </c:spPr>
          </c:dPt>
          <c:dPt>
            <c:idx val="321"/>
            <c:spPr>
              <a:solidFill>
                <a:srgbClr val="7ECAC4"/>
              </a:solidFill>
            </c:spPr>
          </c:dPt>
          <c:dPt>
            <c:idx val="322"/>
            <c:spPr>
              <a:solidFill>
                <a:srgbClr val="7ECAC4"/>
              </a:solidFill>
            </c:spPr>
          </c:dPt>
          <c:dPt>
            <c:idx val="323"/>
            <c:spPr>
              <a:solidFill>
                <a:srgbClr val="7ECAC4"/>
              </a:solidFill>
            </c:spPr>
          </c:dPt>
          <c:dPt>
            <c:idx val="324"/>
            <c:spPr>
              <a:solidFill>
                <a:srgbClr val="7ECAC4"/>
              </a:solidFill>
            </c:spPr>
          </c:dPt>
          <c:dPt>
            <c:idx val="325"/>
            <c:spPr>
              <a:solidFill>
                <a:srgbClr val="7ECAC4"/>
              </a:solidFill>
            </c:spPr>
          </c:dPt>
          <c:dPt>
            <c:idx val="326"/>
            <c:spPr>
              <a:solidFill>
                <a:srgbClr val="7ECAC4"/>
              </a:solidFill>
            </c:spPr>
          </c:dPt>
          <c:dPt>
            <c:idx val="327"/>
            <c:spPr>
              <a:solidFill>
                <a:srgbClr val="7ECAC4"/>
              </a:solidFill>
            </c:spPr>
          </c:dPt>
          <c:dPt>
            <c:idx val="328"/>
            <c:spPr>
              <a:solidFill>
                <a:srgbClr val="7ECAC4"/>
              </a:solidFill>
            </c:spPr>
          </c:dPt>
          <c:dPt>
            <c:idx val="329"/>
            <c:spPr>
              <a:solidFill>
                <a:srgbClr val="7ECAC4"/>
              </a:solidFill>
            </c:spPr>
          </c:dPt>
          <c:dPt>
            <c:idx val="330"/>
            <c:spPr>
              <a:solidFill>
                <a:srgbClr val="7ECAC4"/>
              </a:solidFill>
            </c:spPr>
          </c:dPt>
          <c:dPt>
            <c:idx val="331"/>
            <c:spPr>
              <a:solidFill>
                <a:srgbClr val="7ECAC4"/>
              </a:solidFill>
            </c:spPr>
          </c:dPt>
          <c:dPt>
            <c:idx val="332"/>
            <c:spPr>
              <a:solidFill>
                <a:srgbClr val="7ECAC4"/>
              </a:solidFill>
            </c:spPr>
          </c:dPt>
          <c:dPt>
            <c:idx val="333"/>
            <c:spPr>
              <a:solidFill>
                <a:srgbClr val="7ECAC4"/>
              </a:solidFill>
            </c:spPr>
          </c:dPt>
          <c:dPt>
            <c:idx val="334"/>
            <c:spPr>
              <a:solidFill>
                <a:srgbClr val="7ECAC4"/>
              </a:solidFill>
            </c:spPr>
          </c:dPt>
          <c:dPt>
            <c:idx val="335"/>
            <c:spPr>
              <a:solidFill>
                <a:srgbClr val="7ECAC4"/>
              </a:solidFill>
            </c:spPr>
          </c:dPt>
          <c:dPt>
            <c:idx val="336"/>
            <c:spPr>
              <a:solidFill>
                <a:srgbClr val="7ECAC4"/>
              </a:solidFill>
            </c:spPr>
          </c:dPt>
          <c:dPt>
            <c:idx val="337"/>
            <c:spPr>
              <a:solidFill>
                <a:srgbClr val="7ECAC4"/>
              </a:solidFill>
            </c:spPr>
          </c:dPt>
          <c:dPt>
            <c:idx val="338"/>
            <c:spPr>
              <a:solidFill>
                <a:srgbClr val="7ECAC4"/>
              </a:solidFill>
            </c:spPr>
          </c:dPt>
          <c:dPt>
            <c:idx val="339"/>
            <c:spPr>
              <a:solidFill>
                <a:srgbClr val="7ECAC4"/>
              </a:solidFill>
            </c:spPr>
          </c:dPt>
          <c:dPt>
            <c:idx val="340"/>
            <c:spPr>
              <a:solidFill>
                <a:srgbClr val="7ECAC4"/>
              </a:solidFill>
            </c:spPr>
          </c:dPt>
          <c:dPt>
            <c:idx val="341"/>
            <c:spPr>
              <a:solidFill>
                <a:srgbClr val="7ECAC4"/>
              </a:solidFill>
            </c:spPr>
          </c:dPt>
          <c:dPt>
            <c:idx val="342"/>
            <c:spPr>
              <a:solidFill>
                <a:srgbClr val="7ECAC4"/>
              </a:solidFill>
            </c:spPr>
          </c:dPt>
          <c:dPt>
            <c:idx val="343"/>
            <c:spPr>
              <a:solidFill>
                <a:srgbClr val="7ECAC4"/>
              </a:solidFill>
            </c:spPr>
          </c:dPt>
          <c:dPt>
            <c:idx val="344"/>
            <c:spPr>
              <a:solidFill>
                <a:srgbClr val="7ECAC4"/>
              </a:solidFill>
            </c:spPr>
          </c:dPt>
          <c:dPt>
            <c:idx val="345"/>
            <c:spPr>
              <a:solidFill>
                <a:srgbClr val="7ECAC4"/>
              </a:solidFill>
            </c:spPr>
          </c:dPt>
          <c:dPt>
            <c:idx val="346"/>
            <c:spPr>
              <a:solidFill>
                <a:srgbClr val="7ECAC4"/>
              </a:solidFill>
            </c:spPr>
          </c:dPt>
          <c:dPt>
            <c:idx val="347"/>
            <c:spPr>
              <a:solidFill>
                <a:srgbClr val="7ECAC4"/>
              </a:solidFill>
            </c:spPr>
          </c:dPt>
          <c:dPt>
            <c:idx val="348"/>
            <c:spPr>
              <a:solidFill>
                <a:srgbClr val="7ECAC4"/>
              </a:solidFill>
            </c:spPr>
          </c:dPt>
          <c:dPt>
            <c:idx val="349"/>
            <c:spPr>
              <a:solidFill>
                <a:srgbClr val="7ECAC4"/>
              </a:solidFill>
            </c:spPr>
          </c:dPt>
          <c:dPt>
            <c:idx val="350"/>
            <c:spPr>
              <a:solidFill>
                <a:srgbClr val="7ECAC4"/>
              </a:solidFill>
            </c:spPr>
          </c:dPt>
          <c:dPt>
            <c:idx val="351"/>
            <c:spPr>
              <a:solidFill>
                <a:srgbClr val="7ECAC4"/>
              </a:solidFill>
            </c:spPr>
          </c:dPt>
          <c:dPt>
            <c:idx val="352"/>
            <c:spPr>
              <a:solidFill>
                <a:srgbClr val="7ECAC4"/>
              </a:solidFill>
            </c:spPr>
          </c:dPt>
          <c:dPt>
            <c:idx val="353"/>
            <c:spPr>
              <a:solidFill>
                <a:srgbClr val="7ECAC4"/>
              </a:solidFill>
            </c:spPr>
          </c:dPt>
          <c:dPt>
            <c:idx val="354"/>
            <c:spPr>
              <a:solidFill>
                <a:srgbClr val="7ECAC4"/>
              </a:solidFill>
            </c:spPr>
          </c:dPt>
          <c:dPt>
            <c:idx val="355"/>
            <c:spPr>
              <a:solidFill>
                <a:srgbClr val="7ECAC4"/>
              </a:solidFill>
            </c:spPr>
          </c:dPt>
          <c:dPt>
            <c:idx val="356"/>
            <c:spPr>
              <a:solidFill>
                <a:srgbClr val="7ECAC4"/>
              </a:solidFill>
            </c:spPr>
          </c:dPt>
          <c:dPt>
            <c:idx val="357"/>
            <c:spPr>
              <a:solidFill>
                <a:srgbClr val="7ECAC4"/>
              </a:solidFill>
            </c:spPr>
          </c:dPt>
          <c:dPt>
            <c:idx val="358"/>
            <c:spPr>
              <a:solidFill>
                <a:srgbClr val="7ECAC4"/>
              </a:solidFill>
            </c:spPr>
          </c:dPt>
          <c:dPt>
            <c:idx val="359"/>
            <c:spPr>
              <a:solidFill>
                <a:srgbClr val="7ECAC4"/>
              </a:solidFill>
            </c:spPr>
          </c:dPt>
          <c:dPt>
            <c:idx val="360"/>
            <c:spPr>
              <a:solidFill>
                <a:srgbClr val="7ECAC4"/>
              </a:solidFill>
            </c:spPr>
          </c:dPt>
          <c:dPt>
            <c:idx val="361"/>
            <c:spPr>
              <a:solidFill>
                <a:srgbClr val="7ECAC4"/>
              </a:solidFill>
            </c:spPr>
          </c:dPt>
          <c:dPt>
            <c:idx val="362"/>
            <c:spPr>
              <a:solidFill>
                <a:srgbClr val="7ECAC4"/>
              </a:solidFill>
            </c:spPr>
          </c:dPt>
          <c:dPt>
            <c:idx val="363"/>
            <c:spPr>
              <a:solidFill>
                <a:srgbClr val="7ECAC4"/>
              </a:solidFill>
            </c:spPr>
          </c:dPt>
          <c:dPt>
            <c:idx val="364"/>
            <c:spPr>
              <a:solidFill>
                <a:srgbClr val="7ECAC4"/>
              </a:solidFill>
            </c:spPr>
          </c:dPt>
          <c:dPt>
            <c:idx val="365"/>
            <c:spPr>
              <a:solidFill>
                <a:srgbClr val="7ECAC4"/>
              </a:solidFill>
            </c:spPr>
          </c:dPt>
          <c:dPt>
            <c:idx val="366"/>
            <c:spPr>
              <a:solidFill>
                <a:srgbClr val="7ECAC4"/>
              </a:solidFill>
            </c:spPr>
          </c:dPt>
          <c:dPt>
            <c:idx val="367"/>
            <c:spPr>
              <a:solidFill>
                <a:srgbClr val="7ECAC4"/>
              </a:solidFill>
            </c:spPr>
          </c:dPt>
          <c:dPt>
            <c:idx val="368"/>
            <c:spPr>
              <a:solidFill>
                <a:srgbClr val="7ECAC4"/>
              </a:solidFill>
            </c:spPr>
          </c:dPt>
          <c:dPt>
            <c:idx val="369"/>
            <c:spPr>
              <a:solidFill>
                <a:srgbClr val="7ECAC4"/>
              </a:solidFill>
            </c:spPr>
          </c:dPt>
          <c:dPt>
            <c:idx val="370"/>
            <c:spPr>
              <a:solidFill>
                <a:srgbClr val="7ECAC4"/>
              </a:solidFill>
            </c:spPr>
          </c:dPt>
          <c:dPt>
            <c:idx val="371"/>
            <c:spPr>
              <a:solidFill>
                <a:srgbClr val="7ECAC4"/>
              </a:solidFill>
            </c:spPr>
          </c:dPt>
          <c:dPt>
            <c:idx val="372"/>
            <c:spPr>
              <a:solidFill>
                <a:srgbClr val="7ECAC4"/>
              </a:solidFill>
            </c:spPr>
          </c:dPt>
          <c:dPt>
            <c:idx val="373"/>
            <c:spPr>
              <a:solidFill>
                <a:srgbClr val="7ECAC4"/>
              </a:solidFill>
            </c:spPr>
          </c:dPt>
          <c:dPt>
            <c:idx val="374"/>
            <c:spPr>
              <a:solidFill>
                <a:srgbClr val="7ECAC4"/>
              </a:solidFill>
            </c:spPr>
          </c:dPt>
          <c:dPt>
            <c:idx val="375"/>
            <c:spPr>
              <a:solidFill>
                <a:srgbClr val="7ECAC4"/>
              </a:solidFill>
            </c:spPr>
          </c:dPt>
          <c:dPt>
            <c:idx val="376"/>
            <c:spPr>
              <a:solidFill>
                <a:srgbClr val="7ECAC4"/>
              </a:solidFill>
            </c:spPr>
          </c:dPt>
          <c:dPt>
            <c:idx val="377"/>
            <c:spPr>
              <a:solidFill>
                <a:srgbClr val="7ECAC4"/>
              </a:solidFill>
            </c:spPr>
          </c:dPt>
          <c:dPt>
            <c:idx val="378"/>
            <c:spPr>
              <a:solidFill>
                <a:srgbClr val="7ECAC4"/>
              </a:solidFill>
            </c:spPr>
          </c:dPt>
          <c:dPt>
            <c:idx val="379"/>
            <c:spPr>
              <a:solidFill>
                <a:srgbClr val="7ECAC4"/>
              </a:solidFill>
            </c:spPr>
          </c:dPt>
          <c:dPt>
            <c:idx val="380"/>
            <c:spPr>
              <a:solidFill>
                <a:srgbClr val="7ECAC4"/>
              </a:solidFill>
            </c:spPr>
          </c:dPt>
          <c:dPt>
            <c:idx val="381"/>
            <c:spPr>
              <a:solidFill>
                <a:srgbClr val="7ECAC4"/>
              </a:solidFill>
            </c:spPr>
          </c:dPt>
          <c:dPt>
            <c:idx val="382"/>
            <c:spPr>
              <a:solidFill>
                <a:srgbClr val="7ECAC4"/>
              </a:solidFill>
            </c:spPr>
          </c:dPt>
          <c:dPt>
            <c:idx val="383"/>
            <c:spPr>
              <a:solidFill>
                <a:srgbClr val="7ECAC4"/>
              </a:solidFill>
            </c:spPr>
          </c:dPt>
          <c:dPt>
            <c:idx val="384"/>
            <c:spPr>
              <a:solidFill>
                <a:srgbClr val="7ECAC4"/>
              </a:solidFill>
            </c:spPr>
          </c:dPt>
          <c:dPt>
            <c:idx val="385"/>
            <c:spPr>
              <a:solidFill>
                <a:srgbClr val="7ECAC4"/>
              </a:solidFill>
            </c:spPr>
          </c:dPt>
          <c:dPt>
            <c:idx val="386"/>
            <c:spPr>
              <a:solidFill>
                <a:srgbClr val="7ECAC4"/>
              </a:solidFill>
            </c:spPr>
          </c:dPt>
          <c:dPt>
            <c:idx val="387"/>
            <c:spPr>
              <a:solidFill>
                <a:srgbClr val="7ECAC4"/>
              </a:solidFill>
            </c:spPr>
          </c:dPt>
          <c:dPt>
            <c:idx val="388"/>
            <c:spPr>
              <a:solidFill>
                <a:srgbClr val="7ECAC4"/>
              </a:solidFill>
            </c:spPr>
          </c:dPt>
          <c:dPt>
            <c:idx val="389"/>
            <c:spPr>
              <a:solidFill>
                <a:srgbClr val="7ECAC4"/>
              </a:solidFill>
            </c:spPr>
          </c:dPt>
          <c:dPt>
            <c:idx val="390"/>
            <c:spPr>
              <a:solidFill>
                <a:srgbClr val="7ECAC4"/>
              </a:solidFill>
            </c:spPr>
          </c:dPt>
          <c:dPt>
            <c:idx val="391"/>
            <c:spPr>
              <a:solidFill>
                <a:srgbClr val="7ECAC4"/>
              </a:solidFill>
            </c:spPr>
          </c:dPt>
          <c:dPt>
            <c:idx val="392"/>
            <c:spPr>
              <a:solidFill>
                <a:srgbClr val="7ECAC4"/>
              </a:solidFill>
            </c:spPr>
          </c:dPt>
          <c:dPt>
            <c:idx val="393"/>
            <c:spPr>
              <a:solidFill>
                <a:srgbClr val="7ECAC4"/>
              </a:solidFill>
            </c:spPr>
          </c:dPt>
          <c:dPt>
            <c:idx val="394"/>
            <c:spPr>
              <a:solidFill>
                <a:srgbClr val="7ECAC4"/>
              </a:solidFill>
            </c:spPr>
          </c:dPt>
          <c:dPt>
            <c:idx val="395"/>
            <c:spPr>
              <a:solidFill>
                <a:srgbClr val="7ECAC4"/>
              </a:solidFill>
            </c:spPr>
          </c:dPt>
          <c:dPt>
            <c:idx val="396"/>
            <c:spPr>
              <a:solidFill>
                <a:srgbClr val="7ECAC4"/>
              </a:solidFill>
            </c:spPr>
          </c:dPt>
          <c:dPt>
            <c:idx val="397"/>
            <c:spPr>
              <a:solidFill>
                <a:srgbClr val="7ECAC4"/>
              </a:solidFill>
            </c:spPr>
          </c:dPt>
          <c:dPt>
            <c:idx val="398"/>
            <c:spPr>
              <a:solidFill>
                <a:srgbClr val="7ECAC4"/>
              </a:solidFill>
            </c:spPr>
          </c:dPt>
          <c:dPt>
            <c:idx val="399"/>
            <c:spPr>
              <a:solidFill>
                <a:srgbClr val="7ECAC4"/>
              </a:solidFill>
            </c:spPr>
          </c:dPt>
          <c:dPt>
            <c:idx val="400"/>
            <c:spPr>
              <a:solidFill>
                <a:srgbClr val="7ECAC4"/>
              </a:solidFill>
            </c:spPr>
          </c:dPt>
          <c:dPt>
            <c:idx val="401"/>
            <c:spPr>
              <a:solidFill>
                <a:srgbClr val="7ECAC4"/>
              </a:solidFill>
            </c:spPr>
          </c:dPt>
          <c:dPt>
            <c:idx val="402"/>
            <c:spPr>
              <a:solidFill>
                <a:srgbClr val="7ECAC4"/>
              </a:solidFill>
            </c:spPr>
          </c:dPt>
          <c:dPt>
            <c:idx val="403"/>
            <c:spPr>
              <a:solidFill>
                <a:srgbClr val="7ECAC4"/>
              </a:solidFill>
            </c:spPr>
          </c:dPt>
          <c:dPt>
            <c:idx val="404"/>
            <c:spPr>
              <a:solidFill>
                <a:srgbClr val="7ECAC4"/>
              </a:solidFill>
            </c:spPr>
          </c:dPt>
          <c:dPt>
            <c:idx val="405"/>
            <c:spPr>
              <a:solidFill>
                <a:srgbClr val="7ECAC4"/>
              </a:solidFill>
            </c:spPr>
          </c:dPt>
          <c:dPt>
            <c:idx val="406"/>
            <c:spPr>
              <a:solidFill>
                <a:srgbClr val="7ECAC4"/>
              </a:solidFill>
            </c:spPr>
          </c:dPt>
          <c:dPt>
            <c:idx val="407"/>
            <c:spPr>
              <a:solidFill>
                <a:srgbClr val="7ECAC4"/>
              </a:solidFill>
            </c:spPr>
          </c:dPt>
          <c:dPt>
            <c:idx val="408"/>
            <c:spPr>
              <a:solidFill>
                <a:srgbClr val="7ECAC4"/>
              </a:solidFill>
            </c:spPr>
          </c:dPt>
          <c:dPt>
            <c:idx val="409"/>
            <c:spPr>
              <a:solidFill>
                <a:srgbClr val="7ECAC4"/>
              </a:solidFill>
            </c:spPr>
          </c:dPt>
          <c:dPt>
            <c:idx val="410"/>
            <c:spPr>
              <a:solidFill>
                <a:srgbClr val="7ECAC4"/>
              </a:solidFill>
            </c:spPr>
          </c:dPt>
          <c:dPt>
            <c:idx val="411"/>
            <c:spPr>
              <a:solidFill>
                <a:srgbClr val="7ECAC4"/>
              </a:solidFill>
            </c:spPr>
          </c:dPt>
          <c:dPt>
            <c:idx val="412"/>
            <c:spPr>
              <a:solidFill>
                <a:srgbClr val="7ECAC4"/>
              </a:solidFill>
            </c:spPr>
          </c:dPt>
          <c:dPt>
            <c:idx val="413"/>
            <c:spPr>
              <a:solidFill>
                <a:srgbClr val="7ECAC4"/>
              </a:solidFill>
            </c:spPr>
          </c:dPt>
          <c:dPt>
            <c:idx val="414"/>
            <c:spPr>
              <a:solidFill>
                <a:srgbClr val="7ECAC4"/>
              </a:solidFill>
            </c:spPr>
          </c:dPt>
          <c:dPt>
            <c:idx val="415"/>
            <c:spPr>
              <a:solidFill>
                <a:srgbClr val="7ECAC4"/>
              </a:solidFill>
            </c:spPr>
          </c:dPt>
          <c:dPt>
            <c:idx val="416"/>
            <c:spPr>
              <a:solidFill>
                <a:srgbClr val="7ECAC4"/>
              </a:solidFill>
            </c:spPr>
          </c:dPt>
          <c:dPt>
            <c:idx val="417"/>
            <c:spPr>
              <a:solidFill>
                <a:srgbClr val="7ECAC4"/>
              </a:solidFill>
            </c:spPr>
          </c:dPt>
          <c:dPt>
            <c:idx val="418"/>
            <c:spPr>
              <a:solidFill>
                <a:srgbClr val="7ECAC4"/>
              </a:solidFill>
            </c:spPr>
          </c:dPt>
          <c:dPt>
            <c:idx val="419"/>
            <c:spPr>
              <a:solidFill>
                <a:srgbClr val="7ECAC4"/>
              </a:solidFill>
            </c:spPr>
          </c:dPt>
          <c:dPt>
            <c:idx val="420"/>
            <c:spPr>
              <a:solidFill>
                <a:srgbClr val="7ECAC4"/>
              </a:solidFill>
            </c:spPr>
          </c:dPt>
          <c:dPt>
            <c:idx val="421"/>
            <c:spPr>
              <a:solidFill>
                <a:srgbClr val="7ECAC4"/>
              </a:solidFill>
            </c:spPr>
          </c:dPt>
          <c:dPt>
            <c:idx val="422"/>
            <c:spPr>
              <a:solidFill>
                <a:srgbClr val="7ECAC4"/>
              </a:solidFill>
            </c:spPr>
          </c:dPt>
          <c:dPt>
            <c:idx val="423"/>
            <c:spPr>
              <a:solidFill>
                <a:srgbClr val="7ECAC4"/>
              </a:solidFill>
            </c:spPr>
          </c:dPt>
          <c:dPt>
            <c:idx val="424"/>
            <c:spPr>
              <a:solidFill>
                <a:srgbClr val="7ECAC4"/>
              </a:solidFill>
            </c:spPr>
          </c:dPt>
          <c:dPt>
            <c:idx val="425"/>
            <c:spPr>
              <a:solidFill>
                <a:srgbClr val="7ECAC4"/>
              </a:solidFill>
            </c:spPr>
          </c:dPt>
          <c:dPt>
            <c:idx val="426"/>
            <c:spPr>
              <a:solidFill>
                <a:srgbClr val="7ECAC4"/>
              </a:solidFill>
            </c:spPr>
          </c:dPt>
          <c:dPt>
            <c:idx val="427"/>
            <c:spPr>
              <a:solidFill>
                <a:srgbClr val="7ECAC4"/>
              </a:solidFill>
            </c:spPr>
          </c:dPt>
          <c:dPt>
            <c:idx val="428"/>
            <c:spPr>
              <a:solidFill>
                <a:srgbClr val="7ECAC4"/>
              </a:solidFill>
            </c:spPr>
          </c:dPt>
          <c:dPt>
            <c:idx val="429"/>
            <c:spPr>
              <a:solidFill>
                <a:srgbClr val="7ECAC4"/>
              </a:solidFill>
            </c:spPr>
          </c:dPt>
          <c:dPt>
            <c:idx val="430"/>
            <c:spPr>
              <a:solidFill>
                <a:srgbClr val="7ECAC4"/>
              </a:solidFill>
            </c:spPr>
          </c:dPt>
          <c:dPt>
            <c:idx val="431"/>
            <c:spPr>
              <a:solidFill>
                <a:srgbClr val="7ECAC4"/>
              </a:solidFill>
            </c:spPr>
          </c:dPt>
          <c:dPt>
            <c:idx val="432"/>
            <c:spPr>
              <a:solidFill>
                <a:srgbClr val="7ECAC4"/>
              </a:solidFill>
            </c:spPr>
          </c:dPt>
          <c:dPt>
            <c:idx val="433"/>
            <c:spPr>
              <a:solidFill>
                <a:srgbClr val="7ECAC4"/>
              </a:solidFill>
            </c:spPr>
          </c:dPt>
          <c:dPt>
            <c:idx val="434"/>
            <c:spPr>
              <a:solidFill>
                <a:srgbClr val="7ECAC4"/>
              </a:solidFill>
            </c:spPr>
          </c:dPt>
          <c:dPt>
            <c:idx val="435"/>
            <c:spPr>
              <a:solidFill>
                <a:srgbClr val="7ECAC4"/>
              </a:solidFill>
            </c:spPr>
          </c:dPt>
          <c:dPt>
            <c:idx val="436"/>
            <c:spPr>
              <a:solidFill>
                <a:srgbClr val="7ECAC4"/>
              </a:solidFill>
            </c:spPr>
          </c:dPt>
          <c:dPt>
            <c:idx val="437"/>
            <c:spPr>
              <a:solidFill>
                <a:srgbClr val="7ECAC4"/>
              </a:solidFill>
            </c:spPr>
          </c:dPt>
          <c:dPt>
            <c:idx val="438"/>
            <c:spPr>
              <a:solidFill>
                <a:srgbClr val="7ECAC4"/>
              </a:solidFill>
            </c:spPr>
          </c:dPt>
          <c:dPt>
            <c:idx val="439"/>
            <c:spPr>
              <a:solidFill>
                <a:srgbClr val="7ECAC4"/>
              </a:solidFill>
            </c:spPr>
          </c:dPt>
          <c:dPt>
            <c:idx val="440"/>
            <c:spPr>
              <a:solidFill>
                <a:srgbClr val="7ECAC4"/>
              </a:solidFill>
            </c:spPr>
          </c:dPt>
          <c:dPt>
            <c:idx val="441"/>
            <c:spPr>
              <a:solidFill>
                <a:srgbClr val="7ECAC4"/>
              </a:solidFill>
            </c:spPr>
          </c:dPt>
          <c:dPt>
            <c:idx val="442"/>
            <c:spPr>
              <a:solidFill>
                <a:srgbClr val="7ECAC4"/>
              </a:solidFill>
            </c:spPr>
          </c:dPt>
          <c:dPt>
            <c:idx val="443"/>
            <c:spPr>
              <a:solidFill>
                <a:srgbClr val="7ECAC4"/>
              </a:solidFill>
            </c:spPr>
          </c:dPt>
          <c:dPt>
            <c:idx val="444"/>
            <c:spPr>
              <a:solidFill>
                <a:srgbClr val="7ECAC4"/>
              </a:solidFill>
            </c:spPr>
          </c:dPt>
          <c:dPt>
            <c:idx val="445"/>
            <c:spPr>
              <a:solidFill>
                <a:srgbClr val="7ECAC4"/>
              </a:solidFill>
            </c:spPr>
          </c:dPt>
          <c:dPt>
            <c:idx val="446"/>
            <c:spPr>
              <a:solidFill>
                <a:srgbClr val="7ECAC4"/>
              </a:solidFill>
            </c:spPr>
          </c:dPt>
          <c:dPt>
            <c:idx val="447"/>
            <c:spPr>
              <a:solidFill>
                <a:srgbClr val="7ECAC4"/>
              </a:solidFill>
            </c:spPr>
          </c:dPt>
          <c:dPt>
            <c:idx val="448"/>
            <c:spPr>
              <a:solidFill>
                <a:srgbClr val="7ECAC4"/>
              </a:solidFill>
            </c:spPr>
          </c:dPt>
          <c:dPt>
            <c:idx val="449"/>
            <c:spPr>
              <a:solidFill>
                <a:srgbClr val="7ECAC4"/>
              </a:solidFill>
            </c:spPr>
          </c:dPt>
          <c:dPt>
            <c:idx val="450"/>
            <c:spPr>
              <a:solidFill>
                <a:srgbClr val="7ECAC4"/>
              </a:solidFill>
            </c:spPr>
          </c:dPt>
          <c:dPt>
            <c:idx val="451"/>
            <c:spPr>
              <a:solidFill>
                <a:srgbClr val="7ECAC4"/>
              </a:solidFill>
            </c:spPr>
          </c:dPt>
          <c:dPt>
            <c:idx val="452"/>
            <c:spPr>
              <a:solidFill>
                <a:srgbClr val="7ECAC4"/>
              </a:solidFill>
            </c:spPr>
          </c:dPt>
          <c:dPt>
            <c:idx val="453"/>
            <c:spPr>
              <a:solidFill>
                <a:srgbClr val="7ECAC4"/>
              </a:solidFill>
            </c:spPr>
          </c:dPt>
          <c:dPt>
            <c:idx val="454"/>
            <c:spPr>
              <a:solidFill>
                <a:srgbClr val="7ECAC4"/>
              </a:solidFill>
            </c:spPr>
          </c:dPt>
          <c:dPt>
            <c:idx val="455"/>
            <c:spPr>
              <a:solidFill>
                <a:srgbClr val="7ECAC4"/>
              </a:solidFill>
            </c:spPr>
          </c:dPt>
          <c:dPt>
            <c:idx val="456"/>
            <c:spPr>
              <a:solidFill>
                <a:srgbClr val="7ECAC4"/>
              </a:solidFill>
            </c:spPr>
          </c:dPt>
          <c:dPt>
            <c:idx val="457"/>
            <c:spPr>
              <a:solidFill>
                <a:srgbClr val="7ECAC4"/>
              </a:solidFill>
            </c:spPr>
          </c:dPt>
          <c:dPt>
            <c:idx val="458"/>
            <c:spPr>
              <a:solidFill>
                <a:srgbClr val="7ECAC4"/>
              </a:solidFill>
            </c:spPr>
          </c:dPt>
          <c:dPt>
            <c:idx val="459"/>
            <c:spPr>
              <a:solidFill>
                <a:srgbClr val="7ECAC4"/>
              </a:solidFill>
            </c:spPr>
          </c:dPt>
          <c:dPt>
            <c:idx val="460"/>
            <c:spPr>
              <a:solidFill>
                <a:srgbClr val="7ECAC4"/>
              </a:solidFill>
            </c:spPr>
          </c:dPt>
          <c:dPt>
            <c:idx val="461"/>
            <c:spPr>
              <a:solidFill>
                <a:srgbClr val="7ECAC4"/>
              </a:solidFill>
            </c:spPr>
          </c:dPt>
          <c:dPt>
            <c:idx val="462"/>
            <c:spPr>
              <a:solidFill>
                <a:srgbClr val="7ECAC4"/>
              </a:solidFill>
            </c:spPr>
          </c:dPt>
          <c:dPt>
            <c:idx val="463"/>
            <c:spPr>
              <a:solidFill>
                <a:srgbClr val="7ECAC4"/>
              </a:solidFill>
            </c:spPr>
          </c:dPt>
          <c:dPt>
            <c:idx val="464"/>
            <c:spPr>
              <a:solidFill>
                <a:srgbClr val="7ECAC4"/>
              </a:solidFill>
            </c:spPr>
          </c:dPt>
          <c:dPt>
            <c:idx val="465"/>
            <c:spPr>
              <a:solidFill>
                <a:srgbClr val="7ECAC4"/>
              </a:solidFill>
            </c:spPr>
          </c:dPt>
          <c:dPt>
            <c:idx val="466"/>
            <c:spPr>
              <a:solidFill>
                <a:srgbClr val="7ECAC4"/>
              </a:solidFill>
            </c:spPr>
          </c:dPt>
          <c:dPt>
            <c:idx val="467"/>
            <c:spPr>
              <a:solidFill>
                <a:srgbClr val="7ECAC4"/>
              </a:solidFill>
            </c:spPr>
          </c:dPt>
          <c:dPt>
            <c:idx val="468"/>
            <c:spPr>
              <a:solidFill>
                <a:srgbClr val="7ECAC4"/>
              </a:solidFill>
            </c:spPr>
          </c:dPt>
          <c:dPt>
            <c:idx val="469"/>
            <c:spPr>
              <a:solidFill>
                <a:srgbClr val="7ECAC4"/>
              </a:solidFill>
            </c:spPr>
          </c:dPt>
          <c:dPt>
            <c:idx val="470"/>
            <c:spPr>
              <a:solidFill>
                <a:srgbClr val="7ECAC4"/>
              </a:solidFill>
            </c:spPr>
          </c:dPt>
          <c:dPt>
            <c:idx val="471"/>
            <c:spPr>
              <a:solidFill>
                <a:srgbClr val="7ECAC4"/>
              </a:solidFill>
            </c:spPr>
          </c:dPt>
          <c:dPt>
            <c:idx val="472"/>
            <c:spPr>
              <a:solidFill>
                <a:srgbClr val="7ECAC4"/>
              </a:solidFill>
            </c:spPr>
          </c:dPt>
          <c:dPt>
            <c:idx val="473"/>
            <c:spPr>
              <a:solidFill>
                <a:srgbClr val="7ECAC4"/>
              </a:solidFill>
            </c:spPr>
          </c:dPt>
          <c:dPt>
            <c:idx val="474"/>
            <c:spPr>
              <a:solidFill>
                <a:srgbClr val="7ECAC4"/>
              </a:solidFill>
            </c:spPr>
          </c:dPt>
          <c:dPt>
            <c:idx val="475"/>
            <c:spPr>
              <a:solidFill>
                <a:srgbClr val="7ECAC4"/>
              </a:solidFill>
            </c:spPr>
          </c:dPt>
          <c:dPt>
            <c:idx val="476"/>
            <c:spPr>
              <a:solidFill>
                <a:srgbClr val="7ECAC4"/>
              </a:solidFill>
            </c:spPr>
          </c:dPt>
          <c:dPt>
            <c:idx val="477"/>
            <c:spPr>
              <a:solidFill>
                <a:srgbClr val="7ECAC4"/>
              </a:solidFill>
            </c:spPr>
          </c:dPt>
          <c:dPt>
            <c:idx val="478"/>
            <c:spPr>
              <a:solidFill>
                <a:srgbClr val="7ECAC4"/>
              </a:solidFill>
            </c:spPr>
          </c:dPt>
          <c:dPt>
            <c:idx val="479"/>
            <c:spPr>
              <a:solidFill>
                <a:srgbClr val="7ECAC4"/>
              </a:solidFill>
            </c:spPr>
          </c:dPt>
          <c:dPt>
            <c:idx val="480"/>
            <c:spPr>
              <a:solidFill>
                <a:srgbClr val="7ECAC4"/>
              </a:solidFill>
            </c:spPr>
          </c:dPt>
          <c:dPt>
            <c:idx val="481"/>
            <c:spPr>
              <a:solidFill>
                <a:srgbClr val="7ECAC4"/>
              </a:solidFill>
            </c:spPr>
          </c:dPt>
          <c:dPt>
            <c:idx val="482"/>
            <c:spPr>
              <a:solidFill>
                <a:srgbClr val="7ECAC4"/>
              </a:solidFill>
            </c:spPr>
          </c:dPt>
          <c:dPt>
            <c:idx val="483"/>
            <c:spPr>
              <a:solidFill>
                <a:srgbClr val="7ECAC4"/>
              </a:solidFill>
            </c:spPr>
          </c:dPt>
          <c:dPt>
            <c:idx val="484"/>
            <c:spPr>
              <a:solidFill>
                <a:srgbClr val="7ECAC4"/>
              </a:solidFill>
            </c:spPr>
          </c:dPt>
          <c:dPt>
            <c:idx val="485"/>
            <c:spPr>
              <a:solidFill>
                <a:srgbClr val="7ECAC4"/>
              </a:solidFill>
            </c:spPr>
          </c:dPt>
          <c:dPt>
            <c:idx val="486"/>
            <c:spPr>
              <a:solidFill>
                <a:srgbClr val="7ECAC4"/>
              </a:solidFill>
            </c:spPr>
          </c:dPt>
          <c:dPt>
            <c:idx val="487"/>
            <c:spPr>
              <a:solidFill>
                <a:srgbClr val="7ECAC4"/>
              </a:solidFill>
            </c:spPr>
          </c:dPt>
          <c:dPt>
            <c:idx val="488"/>
            <c:spPr>
              <a:solidFill>
                <a:srgbClr val="7ECAC4"/>
              </a:solidFill>
            </c:spPr>
          </c:dPt>
          <c:dPt>
            <c:idx val="489"/>
            <c:spPr>
              <a:solidFill>
                <a:srgbClr val="7ECAC4"/>
              </a:solidFill>
            </c:spPr>
          </c:dPt>
          <c:dPt>
            <c:idx val="490"/>
            <c:spPr>
              <a:solidFill>
                <a:srgbClr val="7ECAC4"/>
              </a:solidFill>
            </c:spPr>
          </c:dPt>
          <c:dPt>
            <c:idx val="491"/>
            <c:spPr>
              <a:solidFill>
                <a:srgbClr val="7ECAC4"/>
              </a:solidFill>
            </c:spPr>
          </c:dPt>
          <c:dPt>
            <c:idx val="492"/>
            <c:spPr>
              <a:solidFill>
                <a:srgbClr val="7ECAC4"/>
              </a:solidFill>
            </c:spPr>
          </c:dPt>
          <c:dPt>
            <c:idx val="493"/>
            <c:spPr>
              <a:solidFill>
                <a:srgbClr val="7ECAC4"/>
              </a:solidFill>
            </c:spPr>
          </c:dPt>
          <c:dPt>
            <c:idx val="494"/>
            <c:spPr>
              <a:solidFill>
                <a:srgbClr val="7ECAC4"/>
              </a:solidFill>
            </c:spPr>
          </c:dPt>
          <c:dPt>
            <c:idx val="495"/>
            <c:spPr>
              <a:solidFill>
                <a:srgbClr val="7ECAC4"/>
              </a:solidFill>
            </c:spPr>
          </c:dPt>
          <c:dPt>
            <c:idx val="496"/>
            <c:spPr>
              <a:solidFill>
                <a:srgbClr val="7ECAC4"/>
              </a:solidFill>
            </c:spPr>
          </c:dPt>
          <c:dPt>
            <c:idx val="497"/>
            <c:spPr>
              <a:solidFill>
                <a:srgbClr val="7ECAC4"/>
              </a:solidFill>
            </c:spPr>
          </c:dPt>
          <c:dPt>
            <c:idx val="498"/>
            <c:spPr>
              <a:solidFill>
                <a:srgbClr val="7ECAC4"/>
              </a:solidFill>
            </c:spPr>
          </c:dPt>
          <c:dPt>
            <c:idx val="499"/>
            <c:spPr>
              <a:solidFill>
                <a:srgbClr val="7ECAC4"/>
              </a:solidFill>
            </c:spPr>
          </c:dPt>
          <c:dPt>
            <c:idx val="500"/>
            <c:spPr>
              <a:solidFill>
                <a:srgbClr val="7ECAC4"/>
              </a:solidFill>
            </c:spPr>
          </c:dPt>
          <c:dPt>
            <c:idx val="501"/>
            <c:spPr>
              <a:solidFill>
                <a:srgbClr val="7ECAC4"/>
              </a:solidFill>
            </c:spPr>
          </c:dPt>
          <c:dPt>
            <c:idx val="502"/>
            <c:spPr>
              <a:solidFill>
                <a:srgbClr val="7ECAC4"/>
              </a:solidFill>
            </c:spPr>
          </c:dPt>
          <c:dPt>
            <c:idx val="503"/>
            <c:spPr>
              <a:solidFill>
                <a:srgbClr val="7ECAC4"/>
              </a:solidFill>
            </c:spPr>
          </c:dPt>
          <c:dPt>
            <c:idx val="504"/>
            <c:spPr>
              <a:solidFill>
                <a:srgbClr val="7ECAC4"/>
              </a:solidFill>
            </c:spPr>
          </c:dPt>
          <c:dPt>
            <c:idx val="505"/>
            <c:spPr>
              <a:solidFill>
                <a:srgbClr val="7ECAC4"/>
              </a:solidFill>
            </c:spPr>
          </c:dPt>
          <c:dPt>
            <c:idx val="506"/>
            <c:spPr>
              <a:solidFill>
                <a:srgbClr val="7ECAC4"/>
              </a:solidFill>
            </c:spPr>
          </c:dPt>
          <c:dPt>
            <c:idx val="507"/>
            <c:spPr>
              <a:solidFill>
                <a:srgbClr val="7ECAC4"/>
              </a:solidFill>
            </c:spPr>
          </c:dPt>
          <c:dPt>
            <c:idx val="508"/>
            <c:spPr>
              <a:solidFill>
                <a:srgbClr val="7ECAC4"/>
              </a:solidFill>
            </c:spPr>
          </c:dPt>
          <c:dPt>
            <c:idx val="509"/>
            <c:spPr>
              <a:solidFill>
                <a:srgbClr val="7ECAC4"/>
              </a:solidFill>
            </c:spPr>
          </c:dPt>
          <c:dPt>
            <c:idx val="510"/>
            <c:spPr>
              <a:solidFill>
                <a:srgbClr val="7ECAC4"/>
              </a:solidFill>
            </c:spPr>
          </c:dPt>
          <c:dPt>
            <c:idx val="511"/>
            <c:spPr>
              <a:solidFill>
                <a:srgbClr val="7ECAC4"/>
              </a:solidFill>
            </c:spPr>
          </c:dPt>
          <c:dPt>
            <c:idx val="512"/>
            <c:spPr>
              <a:solidFill>
                <a:srgbClr val="7ECAC4"/>
              </a:solidFill>
            </c:spPr>
          </c:dPt>
          <c:dPt>
            <c:idx val="513"/>
            <c:spPr>
              <a:solidFill>
                <a:srgbClr val="7ECAC4"/>
              </a:solidFill>
            </c:spPr>
          </c:dPt>
          <c:dPt>
            <c:idx val="514"/>
            <c:spPr>
              <a:solidFill>
                <a:srgbClr val="7ECAC4"/>
              </a:solidFill>
            </c:spPr>
          </c:dPt>
          <c:dPt>
            <c:idx val="515"/>
            <c:spPr>
              <a:solidFill>
                <a:srgbClr val="7ECAC4"/>
              </a:solidFill>
            </c:spPr>
          </c:dPt>
          <c:dPt>
            <c:idx val="516"/>
            <c:spPr>
              <a:solidFill>
                <a:srgbClr val="7ECAC4"/>
              </a:solidFill>
            </c:spPr>
          </c:dPt>
          <c:dPt>
            <c:idx val="517"/>
            <c:spPr>
              <a:solidFill>
                <a:srgbClr val="7ECAC4"/>
              </a:solidFill>
            </c:spPr>
          </c:dPt>
          <c:dPt>
            <c:idx val="518"/>
            <c:spPr>
              <a:solidFill>
                <a:srgbClr val="7ECAC4"/>
              </a:solidFill>
            </c:spPr>
          </c:dPt>
          <c:dPt>
            <c:idx val="519"/>
            <c:spPr>
              <a:solidFill>
                <a:srgbClr val="7ECAC4"/>
              </a:solidFill>
            </c:spPr>
          </c:dPt>
          <c:dPt>
            <c:idx val="520"/>
            <c:spPr>
              <a:solidFill>
                <a:srgbClr val="7ECAC4"/>
              </a:solidFill>
            </c:spPr>
          </c:dPt>
          <c:dPt>
            <c:idx val="521"/>
            <c:spPr>
              <a:solidFill>
                <a:srgbClr val="7ECAC4"/>
              </a:solidFill>
            </c:spPr>
          </c:dPt>
          <c:dPt>
            <c:idx val="522"/>
            <c:spPr>
              <a:solidFill>
                <a:srgbClr val="7ECAC4"/>
              </a:solidFill>
            </c:spPr>
          </c:dPt>
          <c:dPt>
            <c:idx val="523"/>
            <c:spPr>
              <a:solidFill>
                <a:srgbClr val="7ECAC4"/>
              </a:solidFill>
            </c:spPr>
          </c:dPt>
          <c:dPt>
            <c:idx val="524"/>
            <c:spPr>
              <a:solidFill>
                <a:srgbClr val="7ECAC4"/>
              </a:solidFill>
            </c:spPr>
          </c:dPt>
          <c:dPt>
            <c:idx val="525"/>
            <c:spPr>
              <a:solidFill>
                <a:srgbClr val="7ECAC4"/>
              </a:solidFill>
            </c:spPr>
          </c:dPt>
          <c:dPt>
            <c:idx val="526"/>
            <c:spPr>
              <a:solidFill>
                <a:srgbClr val="7ECAC4"/>
              </a:solidFill>
            </c:spPr>
          </c:dPt>
          <c:dPt>
            <c:idx val="527"/>
            <c:spPr>
              <a:solidFill>
                <a:srgbClr val="7ECAC4"/>
              </a:solidFill>
            </c:spPr>
          </c:dPt>
          <c:dPt>
            <c:idx val="528"/>
            <c:spPr>
              <a:solidFill>
                <a:srgbClr val="7ECAC4"/>
              </a:solidFill>
            </c:spPr>
          </c:dPt>
          <c:dPt>
            <c:idx val="529"/>
            <c:spPr>
              <a:solidFill>
                <a:srgbClr val="7ECAC4"/>
              </a:solidFill>
            </c:spPr>
          </c:dPt>
          <c:dPt>
            <c:idx val="530"/>
            <c:spPr>
              <a:solidFill>
                <a:srgbClr val="7ECAC4"/>
              </a:solidFill>
            </c:spPr>
          </c:dPt>
          <c:dPt>
            <c:idx val="531"/>
            <c:spPr>
              <a:solidFill>
                <a:srgbClr val="7ECAC4"/>
              </a:solidFill>
            </c:spPr>
          </c:dPt>
          <c:dPt>
            <c:idx val="532"/>
            <c:spPr>
              <a:solidFill>
                <a:srgbClr val="7ECAC4"/>
              </a:solidFill>
            </c:spPr>
          </c:dPt>
          <c:dPt>
            <c:idx val="533"/>
            <c:spPr>
              <a:solidFill>
                <a:srgbClr val="7ECAC4"/>
              </a:solidFill>
            </c:spPr>
          </c:dPt>
          <c:dPt>
            <c:idx val="534"/>
            <c:spPr>
              <a:solidFill>
                <a:srgbClr val="7ECAC4"/>
              </a:solidFill>
            </c:spPr>
          </c:dPt>
          <c:dPt>
            <c:idx val="535"/>
            <c:spPr>
              <a:solidFill>
                <a:srgbClr val="7ECAC4"/>
              </a:solidFill>
            </c:spPr>
          </c:dPt>
          <c:dPt>
            <c:idx val="536"/>
            <c:spPr>
              <a:solidFill>
                <a:srgbClr val="7ECAC4"/>
              </a:solidFill>
            </c:spPr>
          </c:dPt>
          <c:dPt>
            <c:idx val="537"/>
            <c:spPr>
              <a:solidFill>
                <a:srgbClr val="7ECAC4"/>
              </a:solidFill>
            </c:spPr>
          </c:dPt>
          <c:dPt>
            <c:idx val="538"/>
            <c:spPr>
              <a:solidFill>
                <a:srgbClr val="7ECAC4"/>
              </a:solidFill>
            </c:spPr>
          </c:dPt>
          <c:dPt>
            <c:idx val="539"/>
            <c:spPr>
              <a:solidFill>
                <a:srgbClr val="7ECAC4"/>
              </a:solidFill>
            </c:spPr>
          </c:dPt>
          <c:dPt>
            <c:idx val="540"/>
            <c:spPr>
              <a:solidFill>
                <a:srgbClr val="7ECAC4"/>
              </a:solidFill>
            </c:spPr>
          </c:dPt>
          <c:dPt>
            <c:idx val="541"/>
            <c:spPr>
              <a:solidFill>
                <a:srgbClr val="7ECAC4"/>
              </a:solidFill>
            </c:spPr>
          </c:dPt>
          <c:dPt>
            <c:idx val="542"/>
            <c:spPr>
              <a:solidFill>
                <a:srgbClr val="7ECAC4"/>
              </a:solidFill>
            </c:spPr>
          </c:dPt>
          <c:dPt>
            <c:idx val="543"/>
            <c:spPr>
              <a:solidFill>
                <a:srgbClr val="7ECAC4"/>
              </a:solidFill>
            </c:spPr>
          </c:dPt>
          <c:dPt>
            <c:idx val="544"/>
            <c:spPr>
              <a:solidFill>
                <a:srgbClr val="7ECAC4"/>
              </a:solidFill>
            </c:spPr>
          </c:dPt>
          <c:dPt>
            <c:idx val="545"/>
            <c:spPr>
              <a:solidFill>
                <a:srgbClr val="7ECAC4"/>
              </a:solidFill>
            </c:spPr>
          </c:dPt>
          <c:dPt>
            <c:idx val="546"/>
            <c:spPr>
              <a:solidFill>
                <a:srgbClr val="7ECAC4"/>
              </a:solidFill>
            </c:spPr>
          </c:dPt>
          <c:dPt>
            <c:idx val="547"/>
            <c:spPr>
              <a:solidFill>
                <a:srgbClr val="7ECAC4"/>
              </a:solidFill>
            </c:spPr>
          </c:dPt>
          <c:dPt>
            <c:idx val="548"/>
            <c:spPr>
              <a:solidFill>
                <a:srgbClr val="7ECAC4"/>
              </a:solidFill>
            </c:spPr>
          </c:dPt>
          <c:dPt>
            <c:idx val="549"/>
            <c:spPr>
              <a:solidFill>
                <a:srgbClr val="7ECAC4"/>
              </a:solidFill>
            </c:spPr>
          </c:dPt>
          <c:dPt>
            <c:idx val="550"/>
            <c:spPr>
              <a:solidFill>
                <a:srgbClr val="7ECAC4"/>
              </a:solidFill>
            </c:spPr>
          </c:dPt>
          <c:dPt>
            <c:idx val="551"/>
            <c:spPr>
              <a:solidFill>
                <a:srgbClr val="7ECAC4"/>
              </a:solidFill>
            </c:spPr>
          </c:dPt>
          <c:dPt>
            <c:idx val="552"/>
            <c:spPr>
              <a:solidFill>
                <a:srgbClr val="7ECAC4"/>
              </a:solidFill>
            </c:spPr>
          </c:dPt>
          <c:dPt>
            <c:idx val="553"/>
            <c:spPr>
              <a:solidFill>
                <a:srgbClr val="7ECAC4"/>
              </a:solidFill>
            </c:spPr>
          </c:dPt>
          <c:dPt>
            <c:idx val="554"/>
            <c:spPr>
              <a:solidFill>
                <a:srgbClr val="7ECAC4"/>
              </a:solidFill>
            </c:spPr>
          </c:dPt>
          <c:dPt>
            <c:idx val="555"/>
            <c:spPr>
              <a:solidFill>
                <a:srgbClr val="7ECAC4"/>
              </a:solidFill>
            </c:spPr>
          </c:dPt>
          <c:dPt>
            <c:idx val="556"/>
            <c:spPr>
              <a:solidFill>
                <a:srgbClr val="7ECAC4"/>
              </a:solidFill>
            </c:spPr>
          </c:dPt>
          <c:dPt>
            <c:idx val="557"/>
            <c:spPr>
              <a:solidFill>
                <a:srgbClr val="7ECAC4"/>
              </a:solidFill>
            </c:spPr>
          </c:dPt>
          <c:dPt>
            <c:idx val="558"/>
            <c:spPr>
              <a:solidFill>
                <a:srgbClr val="7ECAC4"/>
              </a:solidFill>
            </c:spPr>
          </c:dPt>
          <c:dPt>
            <c:idx val="559"/>
            <c:spPr>
              <a:solidFill>
                <a:srgbClr val="7ECAC4"/>
              </a:solidFill>
            </c:spPr>
          </c:dPt>
          <c:dPt>
            <c:idx val="560"/>
            <c:spPr>
              <a:solidFill>
                <a:srgbClr val="7ECAC4"/>
              </a:solidFill>
            </c:spPr>
          </c:dPt>
          <c:dPt>
            <c:idx val="561"/>
            <c:spPr>
              <a:solidFill>
                <a:srgbClr val="7ECAC4"/>
              </a:solidFill>
            </c:spPr>
          </c:dPt>
          <c:dPt>
            <c:idx val="562"/>
            <c:spPr>
              <a:solidFill>
                <a:srgbClr val="7ECAC4"/>
              </a:solidFill>
            </c:spPr>
          </c:dPt>
          <c:dPt>
            <c:idx val="563"/>
            <c:spPr>
              <a:solidFill>
                <a:srgbClr val="7ECAC4"/>
              </a:solidFill>
            </c:spPr>
          </c:dPt>
          <c:dPt>
            <c:idx val="564"/>
            <c:spPr>
              <a:solidFill>
                <a:srgbClr val="7ECAC4"/>
              </a:solidFill>
            </c:spPr>
          </c:dPt>
          <c:dPt>
            <c:idx val="565"/>
            <c:spPr>
              <a:solidFill>
                <a:srgbClr val="7ECAC4"/>
              </a:solidFill>
            </c:spPr>
          </c:dPt>
          <c:dPt>
            <c:idx val="566"/>
            <c:spPr>
              <a:solidFill>
                <a:srgbClr val="7ECAC4"/>
              </a:solidFill>
            </c:spPr>
          </c:dPt>
          <c:dPt>
            <c:idx val="567"/>
            <c:spPr>
              <a:solidFill>
                <a:srgbClr val="7ECAC4"/>
              </a:solidFill>
            </c:spPr>
          </c:dPt>
          <c:dPt>
            <c:idx val="568"/>
            <c:spPr>
              <a:solidFill>
                <a:srgbClr val="7ECAC4"/>
              </a:solidFill>
            </c:spPr>
          </c:dPt>
          <c:dPt>
            <c:idx val="569"/>
            <c:spPr>
              <a:solidFill>
                <a:srgbClr val="7ECAC4"/>
              </a:solidFill>
            </c:spPr>
          </c:dPt>
          <c:dPt>
            <c:idx val="570"/>
            <c:spPr>
              <a:solidFill>
                <a:srgbClr val="7ECAC4"/>
              </a:solidFill>
            </c:spPr>
          </c:dPt>
          <c:dPt>
            <c:idx val="571"/>
            <c:spPr>
              <a:solidFill>
                <a:srgbClr val="7ECAC4"/>
              </a:solidFill>
            </c:spPr>
          </c:dPt>
          <c:dPt>
            <c:idx val="572"/>
            <c:spPr>
              <a:solidFill>
                <a:srgbClr val="7ECAC4"/>
              </a:solidFill>
            </c:spPr>
          </c:dPt>
          <c:dPt>
            <c:idx val="573"/>
            <c:spPr>
              <a:solidFill>
                <a:srgbClr val="7ECAC4"/>
              </a:solidFill>
            </c:spPr>
          </c:dPt>
          <c:dPt>
            <c:idx val="574"/>
            <c:spPr>
              <a:solidFill>
                <a:srgbClr val="7ECAC4"/>
              </a:solidFill>
            </c:spPr>
          </c:dPt>
          <c:dPt>
            <c:idx val="575"/>
            <c:spPr>
              <a:solidFill>
                <a:srgbClr val="7ECAC4"/>
              </a:solidFill>
            </c:spPr>
          </c:dPt>
          <c:dPt>
            <c:idx val="576"/>
            <c:spPr>
              <a:solidFill>
                <a:srgbClr val="7ECAC4"/>
              </a:solidFill>
            </c:spPr>
          </c:dPt>
          <c:dPt>
            <c:idx val="577"/>
            <c:spPr>
              <a:solidFill>
                <a:srgbClr val="7ECAC4"/>
              </a:solidFill>
            </c:spPr>
          </c:dPt>
          <c:dPt>
            <c:idx val="578"/>
            <c:spPr>
              <a:solidFill>
                <a:srgbClr val="7ECAC4"/>
              </a:solidFill>
            </c:spPr>
          </c:dPt>
          <c:dPt>
            <c:idx val="579"/>
            <c:spPr>
              <a:solidFill>
                <a:srgbClr val="7ECAC4"/>
              </a:solidFill>
            </c:spPr>
          </c:dPt>
          <c:dPt>
            <c:idx val="580"/>
            <c:spPr>
              <a:solidFill>
                <a:srgbClr val="7ECAC4"/>
              </a:solidFill>
            </c:spPr>
          </c:dPt>
          <c:dPt>
            <c:idx val="581"/>
            <c:spPr>
              <a:solidFill>
                <a:srgbClr val="7ECAC4"/>
              </a:solidFill>
            </c:spPr>
          </c:dPt>
          <c:dPt>
            <c:idx val="582"/>
            <c:spPr>
              <a:solidFill>
                <a:srgbClr val="7ECAC4"/>
              </a:solidFill>
            </c:spPr>
          </c:dPt>
          <c:dPt>
            <c:idx val="583"/>
            <c:spPr>
              <a:solidFill>
                <a:srgbClr val="7ECAC4"/>
              </a:solidFill>
            </c:spPr>
          </c:dPt>
          <c:dPt>
            <c:idx val="584"/>
            <c:spPr>
              <a:solidFill>
                <a:srgbClr val="7ECAC4"/>
              </a:solidFill>
            </c:spPr>
          </c:dPt>
          <c:dPt>
            <c:idx val="585"/>
            <c:spPr>
              <a:solidFill>
                <a:srgbClr val="7ECAC4"/>
              </a:solidFill>
            </c:spPr>
          </c:dPt>
          <c:dPt>
            <c:idx val="586"/>
            <c:spPr>
              <a:solidFill>
                <a:srgbClr val="7ECAC4"/>
              </a:solidFill>
            </c:spPr>
          </c:dPt>
          <c:dPt>
            <c:idx val="587"/>
            <c:spPr>
              <a:solidFill>
                <a:srgbClr val="7ECAC4"/>
              </a:solidFill>
            </c:spPr>
          </c:dPt>
          <c:dPt>
            <c:idx val="588"/>
            <c:spPr>
              <a:solidFill>
                <a:srgbClr val="7ECAC4"/>
              </a:solidFill>
            </c:spPr>
          </c:dPt>
          <c:dPt>
            <c:idx val="589"/>
            <c:spPr>
              <a:solidFill>
                <a:srgbClr val="7ECAC4"/>
              </a:solidFill>
            </c:spPr>
          </c:dPt>
          <c:dPt>
            <c:idx val="590"/>
            <c:spPr>
              <a:solidFill>
                <a:srgbClr val="7ECAC4"/>
              </a:solidFill>
            </c:spPr>
          </c:dPt>
          <c:dPt>
            <c:idx val="591"/>
            <c:spPr>
              <a:solidFill>
                <a:srgbClr val="7ECAC4"/>
              </a:solidFill>
            </c:spPr>
          </c:dPt>
          <c:dPt>
            <c:idx val="592"/>
            <c:spPr>
              <a:solidFill>
                <a:srgbClr val="7ECAC4"/>
              </a:solidFill>
            </c:spPr>
          </c:dPt>
          <c:dPt>
            <c:idx val="593"/>
            <c:spPr>
              <a:solidFill>
                <a:srgbClr val="7ECAC4"/>
              </a:solidFill>
            </c:spPr>
          </c:dPt>
          <c:dPt>
            <c:idx val="594"/>
            <c:spPr>
              <a:solidFill>
                <a:srgbClr val="7ECAC4"/>
              </a:solidFill>
            </c:spPr>
          </c:dPt>
          <c:dPt>
            <c:idx val="595"/>
            <c:spPr>
              <a:solidFill>
                <a:srgbClr val="7ECAC4"/>
              </a:solidFill>
            </c:spPr>
          </c:dPt>
          <c:dPt>
            <c:idx val="596"/>
            <c:spPr>
              <a:solidFill>
                <a:srgbClr val="7ECAC4"/>
              </a:solidFill>
            </c:spPr>
          </c:dPt>
          <c:dPt>
            <c:idx val="597"/>
            <c:spPr>
              <a:solidFill>
                <a:srgbClr val="7ECAC4"/>
              </a:solidFill>
            </c:spPr>
          </c:dPt>
          <c:dPt>
            <c:idx val="598"/>
            <c:spPr>
              <a:solidFill>
                <a:srgbClr val="7ECAC4"/>
              </a:solidFill>
            </c:spPr>
          </c:dPt>
          <c:dPt>
            <c:idx val="599"/>
            <c:spPr>
              <a:solidFill>
                <a:srgbClr val="7ECAC4"/>
              </a:solidFill>
            </c:spPr>
          </c:dPt>
          <c:dPt>
            <c:idx val="600"/>
            <c:spPr>
              <a:solidFill>
                <a:srgbClr val="7ECAC4"/>
              </a:solidFill>
            </c:spPr>
          </c:dPt>
          <c:dPt>
            <c:idx val="601"/>
            <c:spPr>
              <a:solidFill>
                <a:srgbClr val="7ECAC4"/>
              </a:solidFill>
            </c:spPr>
          </c:dPt>
          <c:dPt>
            <c:idx val="602"/>
            <c:spPr>
              <a:solidFill>
                <a:srgbClr val="7ECAC4"/>
              </a:solidFill>
            </c:spPr>
          </c:dPt>
          <c:dPt>
            <c:idx val="603"/>
            <c:spPr>
              <a:solidFill>
                <a:srgbClr val="7ECAC4"/>
              </a:solidFill>
            </c:spPr>
          </c:dPt>
          <c:dPt>
            <c:idx val="604"/>
            <c:spPr>
              <a:solidFill>
                <a:srgbClr val="7ECAC4"/>
              </a:solidFill>
            </c:spPr>
          </c:dPt>
          <c:dPt>
            <c:idx val="605"/>
            <c:spPr>
              <a:solidFill>
                <a:srgbClr val="7ECAC4"/>
              </a:solidFill>
            </c:spPr>
          </c:dPt>
          <c:dPt>
            <c:idx val="606"/>
            <c:spPr>
              <a:solidFill>
                <a:srgbClr val="7ECAC4"/>
              </a:solidFill>
            </c:spPr>
          </c:dPt>
          <c:dPt>
            <c:idx val="607"/>
            <c:spPr>
              <a:solidFill>
                <a:srgbClr val="7ECAC4"/>
              </a:solidFill>
            </c:spPr>
          </c:dPt>
          <c:dPt>
            <c:idx val="608"/>
            <c:spPr>
              <a:solidFill>
                <a:srgbClr val="7ECAC4"/>
              </a:solidFill>
            </c:spPr>
          </c:dPt>
          <c:dPt>
            <c:idx val="609"/>
            <c:spPr>
              <a:solidFill>
                <a:srgbClr val="7ECAC4"/>
              </a:solidFill>
            </c:spPr>
          </c:dPt>
          <c:dPt>
            <c:idx val="610"/>
            <c:spPr>
              <a:solidFill>
                <a:srgbClr val="7ECAC4"/>
              </a:solidFill>
            </c:spPr>
          </c:dPt>
          <c:dPt>
            <c:idx val="611"/>
            <c:spPr>
              <a:solidFill>
                <a:srgbClr val="7ECAC4"/>
              </a:solidFill>
            </c:spPr>
          </c:dPt>
          <c:dPt>
            <c:idx val="612"/>
            <c:spPr>
              <a:solidFill>
                <a:srgbClr val="7ECAC4"/>
              </a:solidFill>
            </c:spPr>
          </c:dPt>
          <c:dPt>
            <c:idx val="613"/>
            <c:spPr>
              <a:solidFill>
                <a:srgbClr val="7ECAC4"/>
              </a:solidFill>
            </c:spPr>
          </c:dPt>
          <c:dPt>
            <c:idx val="614"/>
            <c:spPr>
              <a:solidFill>
                <a:srgbClr val="7ECAC4"/>
              </a:solidFill>
            </c:spPr>
          </c:dPt>
          <c:dPt>
            <c:idx val="615"/>
            <c:spPr>
              <a:solidFill>
                <a:srgbClr val="7ECAC4"/>
              </a:solidFill>
            </c:spPr>
          </c:dPt>
          <c:dPt>
            <c:idx val="616"/>
            <c:spPr>
              <a:solidFill>
                <a:srgbClr val="7ECAC4"/>
              </a:solidFill>
            </c:spPr>
          </c:dPt>
          <c:dPt>
            <c:idx val="617"/>
            <c:spPr>
              <a:solidFill>
                <a:srgbClr val="7ECAC4"/>
              </a:solidFill>
            </c:spPr>
          </c:dPt>
          <c:dPt>
            <c:idx val="618"/>
            <c:spPr>
              <a:solidFill>
                <a:srgbClr val="7ECAC4"/>
              </a:solidFill>
            </c:spPr>
          </c:dPt>
          <c:dPt>
            <c:idx val="619"/>
            <c:spPr>
              <a:solidFill>
                <a:srgbClr val="7ECAC4"/>
              </a:solidFill>
            </c:spPr>
          </c:dPt>
          <c:dPt>
            <c:idx val="620"/>
            <c:spPr>
              <a:solidFill>
                <a:srgbClr val="7ECAC4"/>
              </a:solidFill>
            </c:spPr>
          </c:dPt>
          <c:dPt>
            <c:idx val="621"/>
            <c:spPr>
              <a:solidFill>
                <a:srgbClr val="7ECAC4"/>
              </a:solidFill>
            </c:spPr>
          </c:dPt>
          <c:dPt>
            <c:idx val="622"/>
            <c:spPr>
              <a:solidFill>
                <a:srgbClr val="7ECAC4"/>
              </a:solidFill>
            </c:spPr>
          </c:dPt>
          <c:dPt>
            <c:idx val="623"/>
            <c:spPr>
              <a:solidFill>
                <a:srgbClr val="7ECAC4"/>
              </a:solidFill>
            </c:spPr>
          </c:dPt>
          <c:dPt>
            <c:idx val="624"/>
            <c:spPr>
              <a:solidFill>
                <a:srgbClr val="7ECAC4"/>
              </a:solidFill>
            </c:spPr>
          </c:dPt>
          <c:dPt>
            <c:idx val="625"/>
            <c:spPr>
              <a:solidFill>
                <a:srgbClr val="7ECAC4"/>
              </a:solidFill>
            </c:spPr>
          </c:dPt>
          <c:dPt>
            <c:idx val="626"/>
            <c:spPr>
              <a:solidFill>
                <a:srgbClr val="7ECAC4"/>
              </a:solidFill>
            </c:spPr>
          </c:dPt>
          <c:dPt>
            <c:idx val="627"/>
            <c:spPr>
              <a:solidFill>
                <a:srgbClr val="7ECAC4"/>
              </a:solidFill>
            </c:spPr>
          </c:dPt>
          <c:dPt>
            <c:idx val="628"/>
            <c:spPr>
              <a:solidFill>
                <a:srgbClr val="7ECAC4"/>
              </a:solidFill>
            </c:spPr>
          </c:dPt>
          <c:dPt>
            <c:idx val="629"/>
            <c:spPr>
              <a:solidFill>
                <a:srgbClr val="7ECAC4"/>
              </a:solidFill>
            </c:spPr>
          </c:dPt>
          <c:dPt>
            <c:idx val="630"/>
            <c:spPr>
              <a:solidFill>
                <a:srgbClr val="7ECAC4"/>
              </a:solidFill>
            </c:spPr>
          </c:dPt>
          <c:dPt>
            <c:idx val="631"/>
            <c:spPr>
              <a:solidFill>
                <a:srgbClr val="7ECAC4"/>
              </a:solidFill>
            </c:spPr>
          </c:dPt>
          <c:dPt>
            <c:idx val="632"/>
            <c:spPr>
              <a:solidFill>
                <a:srgbClr val="7ECAC4"/>
              </a:solidFill>
            </c:spPr>
          </c:dPt>
          <c:dPt>
            <c:idx val="633"/>
            <c:spPr>
              <a:solidFill>
                <a:srgbClr val="7ECAC4"/>
              </a:solidFill>
            </c:spPr>
          </c:dPt>
          <c:dPt>
            <c:idx val="634"/>
            <c:spPr>
              <a:solidFill>
                <a:srgbClr val="7ECAC4"/>
              </a:solidFill>
            </c:spPr>
          </c:dPt>
          <c:dPt>
            <c:idx val="635"/>
            <c:spPr>
              <a:solidFill>
                <a:srgbClr val="7ECAC4"/>
              </a:solidFill>
            </c:spPr>
          </c:dPt>
          <c:dPt>
            <c:idx val="636"/>
            <c:spPr>
              <a:solidFill>
                <a:srgbClr val="7ECAC4"/>
              </a:solidFill>
            </c:spPr>
          </c:dPt>
          <c:dPt>
            <c:idx val="637"/>
            <c:spPr>
              <a:solidFill>
                <a:srgbClr val="7ECAC4"/>
              </a:solidFill>
            </c:spPr>
          </c:dPt>
          <c:dPt>
            <c:idx val="638"/>
            <c:spPr>
              <a:solidFill>
                <a:srgbClr val="7ECAC4"/>
              </a:solidFill>
            </c:spPr>
          </c:dPt>
          <c:dPt>
            <c:idx val="639"/>
            <c:spPr>
              <a:solidFill>
                <a:srgbClr val="7ECAC4"/>
              </a:solidFill>
            </c:spPr>
          </c:dPt>
          <c:dPt>
            <c:idx val="640"/>
            <c:spPr>
              <a:solidFill>
                <a:srgbClr val="7ECAC4"/>
              </a:solidFill>
            </c:spPr>
          </c:dPt>
          <c:dPt>
            <c:idx val="641"/>
            <c:spPr>
              <a:solidFill>
                <a:srgbClr val="7ECAC4"/>
              </a:solidFill>
            </c:spPr>
          </c:dPt>
          <c:dPt>
            <c:idx val="642"/>
            <c:spPr>
              <a:solidFill>
                <a:srgbClr val="7ECAC4"/>
              </a:solidFill>
            </c:spPr>
          </c:dPt>
          <c:dPt>
            <c:idx val="643"/>
            <c:spPr>
              <a:solidFill>
                <a:srgbClr val="7ECAC4"/>
              </a:solidFill>
            </c:spPr>
          </c:dPt>
          <c:dPt>
            <c:idx val="644"/>
            <c:spPr>
              <a:solidFill>
                <a:srgbClr val="7ECAC4"/>
              </a:solidFill>
            </c:spPr>
          </c:dPt>
          <c:dPt>
            <c:idx val="645"/>
            <c:spPr>
              <a:solidFill>
                <a:srgbClr val="7ECAC4"/>
              </a:solidFill>
            </c:spPr>
          </c:dPt>
          <c:dPt>
            <c:idx val="646"/>
            <c:spPr>
              <a:solidFill>
                <a:srgbClr val="7ECAC4"/>
              </a:solidFill>
            </c:spPr>
          </c:dPt>
          <c:dPt>
            <c:idx val="647"/>
            <c:spPr>
              <a:solidFill>
                <a:srgbClr val="7ECAC4"/>
              </a:solidFill>
            </c:spPr>
          </c:dPt>
          <c:dPt>
            <c:idx val="648"/>
            <c:spPr>
              <a:solidFill>
                <a:srgbClr val="7ECAC4"/>
              </a:solidFill>
            </c:spPr>
          </c:dPt>
          <c:dPt>
            <c:idx val="649"/>
            <c:spPr>
              <a:solidFill>
                <a:srgbClr val="7ECAC4"/>
              </a:solidFill>
            </c:spPr>
          </c:dPt>
          <c:dPt>
            <c:idx val="650"/>
            <c:spPr>
              <a:solidFill>
                <a:srgbClr val="7ECAC4"/>
              </a:solidFill>
            </c:spPr>
          </c:dPt>
          <c:dPt>
            <c:idx val="651"/>
            <c:spPr>
              <a:solidFill>
                <a:srgbClr val="7ECAC4"/>
              </a:solidFill>
            </c:spPr>
          </c:dPt>
          <c:dPt>
            <c:idx val="652"/>
            <c:spPr>
              <a:solidFill>
                <a:srgbClr val="7ECAC4"/>
              </a:solidFill>
            </c:spPr>
          </c:dPt>
          <c:dPt>
            <c:idx val="653"/>
            <c:spPr>
              <a:solidFill>
                <a:srgbClr val="7ECAC4"/>
              </a:solidFill>
            </c:spPr>
          </c:dPt>
          <c:dPt>
            <c:idx val="654"/>
            <c:spPr>
              <a:solidFill>
                <a:srgbClr val="7ECAC4"/>
              </a:solidFill>
            </c:spPr>
          </c:dPt>
          <c:dPt>
            <c:idx val="655"/>
            <c:spPr>
              <a:solidFill>
                <a:srgbClr val="7ECAC4"/>
              </a:solidFill>
            </c:spPr>
          </c:dPt>
          <c:dPt>
            <c:idx val="656"/>
            <c:spPr>
              <a:solidFill>
                <a:srgbClr val="7ECAC4"/>
              </a:solidFill>
            </c:spPr>
          </c:dPt>
          <c:dPt>
            <c:idx val="657"/>
            <c:spPr>
              <a:solidFill>
                <a:srgbClr val="7ECAC4"/>
              </a:solidFill>
            </c:spPr>
          </c:dPt>
          <c:dPt>
            <c:idx val="658"/>
            <c:spPr>
              <a:solidFill>
                <a:srgbClr val="7ECAC4"/>
              </a:solidFill>
            </c:spPr>
          </c:dPt>
          <c:dPt>
            <c:idx val="659"/>
            <c:spPr>
              <a:solidFill>
                <a:srgbClr val="7ECAC4"/>
              </a:solidFill>
            </c:spPr>
          </c:dPt>
          <c:dPt>
            <c:idx val="660"/>
            <c:spPr>
              <a:solidFill>
                <a:srgbClr val="7ECAC4"/>
              </a:solidFill>
            </c:spPr>
          </c:dPt>
          <c:dPt>
            <c:idx val="661"/>
            <c:spPr>
              <a:solidFill>
                <a:srgbClr val="7ECAC4"/>
              </a:solidFill>
            </c:spPr>
          </c:dPt>
          <c:dPt>
            <c:idx val="662"/>
            <c:spPr>
              <a:solidFill>
                <a:srgbClr val="7ECAC4"/>
              </a:solidFill>
            </c:spPr>
          </c:dPt>
          <c:dPt>
            <c:idx val="663"/>
            <c:spPr>
              <a:solidFill>
                <a:srgbClr val="7ECAC4"/>
              </a:solidFill>
            </c:spPr>
          </c:dPt>
          <c:dPt>
            <c:idx val="664"/>
            <c:spPr>
              <a:solidFill>
                <a:srgbClr val="7ECAC4"/>
              </a:solidFill>
            </c:spPr>
          </c:dPt>
          <c:dPt>
            <c:idx val="665"/>
            <c:spPr>
              <a:solidFill>
                <a:srgbClr val="7ECAC4"/>
              </a:solidFill>
            </c:spPr>
          </c:dPt>
          <c:dPt>
            <c:idx val="666"/>
            <c:spPr>
              <a:solidFill>
                <a:srgbClr val="7ECAC4"/>
              </a:solidFill>
            </c:spPr>
          </c:dPt>
          <c:dPt>
            <c:idx val="667"/>
            <c:spPr>
              <a:solidFill>
                <a:srgbClr val="7ECAC4"/>
              </a:solidFill>
            </c:spPr>
          </c:dPt>
          <c:dPt>
            <c:idx val="668"/>
            <c:spPr>
              <a:solidFill>
                <a:srgbClr val="7ECAC4"/>
              </a:solidFill>
            </c:spPr>
          </c:dPt>
          <c:dPt>
            <c:idx val="669"/>
            <c:spPr>
              <a:solidFill>
                <a:srgbClr val="7ECAC4"/>
              </a:solidFill>
            </c:spPr>
          </c:dPt>
          <c:dPt>
            <c:idx val="670"/>
            <c:spPr>
              <a:solidFill>
                <a:srgbClr val="7ECAC4"/>
              </a:solidFill>
            </c:spPr>
          </c:dPt>
          <c:dPt>
            <c:idx val="671"/>
            <c:spPr>
              <a:solidFill>
                <a:srgbClr val="7ECAC4"/>
              </a:solidFill>
            </c:spPr>
          </c:dPt>
          <c:dPt>
            <c:idx val="672"/>
            <c:spPr>
              <a:solidFill>
                <a:srgbClr val="7ECAC4"/>
              </a:solidFill>
            </c:spPr>
          </c:dPt>
          <c:dPt>
            <c:idx val="673"/>
            <c:spPr>
              <a:solidFill>
                <a:srgbClr val="7ECAC4"/>
              </a:solidFill>
            </c:spPr>
          </c:dPt>
          <c:dPt>
            <c:idx val="674"/>
            <c:spPr>
              <a:solidFill>
                <a:srgbClr val="7ECAC4"/>
              </a:solidFill>
            </c:spPr>
          </c:dPt>
          <c:dPt>
            <c:idx val="675"/>
            <c:spPr>
              <a:solidFill>
                <a:srgbClr val="7ECAC4"/>
              </a:solidFill>
            </c:spPr>
          </c:dPt>
          <c:dPt>
            <c:idx val="676"/>
            <c:spPr>
              <a:solidFill>
                <a:srgbClr val="7ECAC4"/>
              </a:solidFill>
            </c:spPr>
          </c:dPt>
          <c:dPt>
            <c:idx val="677"/>
            <c:spPr>
              <a:solidFill>
                <a:srgbClr val="7ECAC4"/>
              </a:solidFill>
            </c:spPr>
          </c:dPt>
          <c:dPt>
            <c:idx val="678"/>
            <c:spPr>
              <a:solidFill>
                <a:srgbClr val="7ECAC4"/>
              </a:solidFill>
            </c:spPr>
          </c:dPt>
          <c:dPt>
            <c:idx val="679"/>
            <c:spPr>
              <a:solidFill>
                <a:srgbClr val="7ECAC4"/>
              </a:solidFill>
            </c:spPr>
          </c:dPt>
          <c:dPt>
            <c:idx val="680"/>
            <c:spPr>
              <a:solidFill>
                <a:srgbClr val="7ECAC4"/>
              </a:solidFill>
            </c:spPr>
          </c:dPt>
          <c:dPt>
            <c:idx val="681"/>
            <c:spPr>
              <a:solidFill>
                <a:srgbClr val="7ECAC4"/>
              </a:solidFill>
            </c:spPr>
          </c:dPt>
          <c:dPt>
            <c:idx val="682"/>
            <c:spPr>
              <a:solidFill>
                <a:srgbClr val="7ECAC4"/>
              </a:solidFill>
            </c:spPr>
          </c:dPt>
          <c:dPt>
            <c:idx val="683"/>
            <c:spPr>
              <a:solidFill>
                <a:srgbClr val="7ECAC4"/>
              </a:solidFill>
            </c:spPr>
          </c:dPt>
          <c:dPt>
            <c:idx val="684"/>
            <c:spPr>
              <a:solidFill>
                <a:srgbClr val="7ECAC4"/>
              </a:solidFill>
            </c:spPr>
          </c:dPt>
          <c:dPt>
            <c:idx val="685"/>
            <c:spPr>
              <a:solidFill>
                <a:srgbClr val="7ECAC4"/>
              </a:solidFill>
            </c:spPr>
          </c:dPt>
          <c:dPt>
            <c:idx val="686"/>
            <c:spPr>
              <a:solidFill>
                <a:srgbClr val="7ECAC4"/>
              </a:solidFill>
            </c:spPr>
          </c:dPt>
          <c:dPt>
            <c:idx val="687"/>
            <c:spPr>
              <a:solidFill>
                <a:srgbClr val="7ECAC4"/>
              </a:solidFill>
            </c:spPr>
          </c:dPt>
          <c:dPt>
            <c:idx val="688"/>
            <c:spPr>
              <a:solidFill>
                <a:srgbClr val="7ECAC4"/>
              </a:solidFill>
            </c:spPr>
          </c:dPt>
          <c:dPt>
            <c:idx val="689"/>
            <c:spPr>
              <a:solidFill>
                <a:srgbClr val="7ECAC4"/>
              </a:solidFill>
            </c:spPr>
          </c:dPt>
          <c:dPt>
            <c:idx val="690"/>
            <c:spPr>
              <a:solidFill>
                <a:srgbClr val="7ECAC4"/>
              </a:solidFill>
            </c:spPr>
          </c:dPt>
          <c:dPt>
            <c:idx val="691"/>
            <c:spPr>
              <a:solidFill>
                <a:srgbClr val="7ECAC4"/>
              </a:solidFill>
            </c:spPr>
          </c:dPt>
          <c:dPt>
            <c:idx val="692"/>
            <c:spPr>
              <a:solidFill>
                <a:srgbClr val="7ECAC4"/>
              </a:solidFill>
            </c:spPr>
          </c:dPt>
          <c:dPt>
            <c:idx val="693"/>
            <c:spPr>
              <a:solidFill>
                <a:srgbClr val="7ECAC4"/>
              </a:solidFill>
            </c:spPr>
          </c:dPt>
          <c:dPt>
            <c:idx val="694"/>
            <c:spPr>
              <a:solidFill>
                <a:srgbClr val="7ECAC4"/>
              </a:solidFill>
            </c:spPr>
          </c:dPt>
          <c:dPt>
            <c:idx val="695"/>
            <c:spPr>
              <a:solidFill>
                <a:srgbClr val="7ECAC4"/>
              </a:solidFill>
            </c:spPr>
          </c:dPt>
          <c:dPt>
            <c:idx val="696"/>
            <c:spPr>
              <a:solidFill>
                <a:srgbClr val="7ECAC4"/>
              </a:solidFill>
            </c:spPr>
          </c:dPt>
          <c:dPt>
            <c:idx val="697"/>
            <c:spPr>
              <a:solidFill>
                <a:srgbClr val="7ECAC4"/>
              </a:solidFill>
            </c:spPr>
          </c:dPt>
          <c:dPt>
            <c:idx val="698"/>
            <c:spPr>
              <a:solidFill>
                <a:srgbClr val="7ECAC4"/>
              </a:solidFill>
            </c:spPr>
          </c:dPt>
          <c:dPt>
            <c:idx val="699"/>
            <c:spPr>
              <a:solidFill>
                <a:srgbClr val="7ECAC4"/>
              </a:solidFill>
            </c:spPr>
          </c:dPt>
          <c:dPt>
            <c:idx val="700"/>
            <c:spPr>
              <a:solidFill>
                <a:srgbClr val="7ECAC4"/>
              </a:solidFill>
            </c:spPr>
          </c:dPt>
          <c:dPt>
            <c:idx val="701"/>
            <c:spPr>
              <a:solidFill>
                <a:srgbClr val="7ECAC4"/>
              </a:solidFill>
            </c:spPr>
          </c:dPt>
          <c:dPt>
            <c:idx val="702"/>
            <c:spPr>
              <a:solidFill>
                <a:srgbClr val="7ECAC4"/>
              </a:solidFill>
            </c:spPr>
          </c:dPt>
          <c:dPt>
            <c:idx val="703"/>
            <c:spPr>
              <a:solidFill>
                <a:srgbClr val="7ECAC4"/>
              </a:solidFill>
            </c:spPr>
          </c:dPt>
          <c:dPt>
            <c:idx val="704"/>
            <c:spPr>
              <a:solidFill>
                <a:srgbClr val="7ECAC4"/>
              </a:solidFill>
            </c:spPr>
          </c:dPt>
          <c:dPt>
            <c:idx val="705"/>
            <c:spPr>
              <a:solidFill>
                <a:srgbClr val="7ECAC4"/>
              </a:solidFill>
            </c:spPr>
          </c:dPt>
          <c:dPt>
            <c:idx val="706"/>
            <c:spPr>
              <a:solidFill>
                <a:srgbClr val="7ECAC4"/>
              </a:solidFill>
            </c:spPr>
          </c:dPt>
          <c:dPt>
            <c:idx val="707"/>
            <c:spPr>
              <a:solidFill>
                <a:srgbClr val="7ECAC4"/>
              </a:solidFill>
            </c:spPr>
          </c:dPt>
          <c:dPt>
            <c:idx val="708"/>
            <c:spPr>
              <a:solidFill>
                <a:srgbClr val="7ECAC4"/>
              </a:solidFill>
            </c:spPr>
          </c:dPt>
          <c:dPt>
            <c:idx val="709"/>
            <c:spPr>
              <a:solidFill>
                <a:srgbClr val="7ECAC4"/>
              </a:solidFill>
            </c:spPr>
          </c:dPt>
          <c:dPt>
            <c:idx val="710"/>
            <c:spPr>
              <a:solidFill>
                <a:srgbClr val="7ECAC4"/>
              </a:solidFill>
            </c:spPr>
          </c:dPt>
          <c:dPt>
            <c:idx val="711"/>
            <c:spPr>
              <a:solidFill>
                <a:srgbClr val="7ECAC4"/>
              </a:solidFill>
            </c:spPr>
          </c:dPt>
          <c:dPt>
            <c:idx val="712"/>
            <c:spPr>
              <a:solidFill>
                <a:srgbClr val="7ECAC4"/>
              </a:solidFill>
            </c:spPr>
          </c:dPt>
          <c:dPt>
            <c:idx val="713"/>
            <c:spPr>
              <a:solidFill>
                <a:srgbClr val="7ECAC4"/>
              </a:solidFill>
            </c:spPr>
          </c:dPt>
          <c:dPt>
            <c:idx val="714"/>
            <c:spPr>
              <a:solidFill>
                <a:srgbClr val="7ECAC4"/>
              </a:solidFill>
            </c:spPr>
          </c:dPt>
          <c:dPt>
            <c:idx val="715"/>
            <c:spPr>
              <a:solidFill>
                <a:srgbClr val="7ECAC4"/>
              </a:solidFill>
            </c:spPr>
          </c:dPt>
          <c:dPt>
            <c:idx val="716"/>
            <c:spPr>
              <a:solidFill>
                <a:srgbClr val="7ECAC4"/>
              </a:solidFill>
            </c:spPr>
          </c:dPt>
          <c:dPt>
            <c:idx val="717"/>
            <c:spPr>
              <a:solidFill>
                <a:srgbClr val="7ECAC4"/>
              </a:solidFill>
            </c:spPr>
          </c:dPt>
          <c:dPt>
            <c:idx val="718"/>
            <c:spPr>
              <a:solidFill>
                <a:srgbClr val="7ECAC4"/>
              </a:solidFill>
            </c:spPr>
          </c:dPt>
          <c:dPt>
            <c:idx val="719"/>
            <c:spPr>
              <a:solidFill>
                <a:srgbClr val="7ECAC4"/>
              </a:solidFill>
            </c:spPr>
          </c:dPt>
          <c:dPt>
            <c:idx val="720"/>
            <c:spPr>
              <a:solidFill>
                <a:srgbClr val="7ECAC4"/>
              </a:solidFill>
            </c:spPr>
          </c:dPt>
          <c:dPt>
            <c:idx val="721"/>
            <c:spPr>
              <a:solidFill>
                <a:srgbClr val="7ECAC4"/>
              </a:solidFill>
            </c:spPr>
          </c:dPt>
          <c:dPt>
            <c:idx val="722"/>
            <c:spPr>
              <a:solidFill>
                <a:srgbClr val="7ECAC4"/>
              </a:solidFill>
            </c:spPr>
          </c:dPt>
          <c:dPt>
            <c:idx val="723"/>
            <c:spPr>
              <a:solidFill>
                <a:srgbClr val="7ECAC4"/>
              </a:solidFill>
            </c:spPr>
          </c:dPt>
          <c:dPt>
            <c:idx val="724"/>
            <c:spPr>
              <a:solidFill>
                <a:srgbClr val="7ECAC4"/>
              </a:solidFill>
            </c:spPr>
          </c:dPt>
          <c:dPt>
            <c:idx val="725"/>
            <c:spPr>
              <a:solidFill>
                <a:srgbClr val="7ECAC4"/>
              </a:solidFill>
            </c:spPr>
          </c:dPt>
          <c:dPt>
            <c:idx val="726"/>
            <c:spPr>
              <a:solidFill>
                <a:srgbClr val="7ECAC4"/>
              </a:solidFill>
            </c:spPr>
          </c:dPt>
          <c:dPt>
            <c:idx val="727"/>
            <c:spPr>
              <a:solidFill>
                <a:srgbClr val="7ECAC4"/>
              </a:solidFill>
            </c:spPr>
          </c:dPt>
          <c:dPt>
            <c:idx val="728"/>
            <c:spPr>
              <a:solidFill>
                <a:srgbClr val="7ECAC4"/>
              </a:solidFill>
            </c:spPr>
          </c:dPt>
          <c:dPt>
            <c:idx val="729"/>
            <c:spPr>
              <a:solidFill>
                <a:srgbClr val="7ECAC4"/>
              </a:solidFill>
            </c:spPr>
          </c:dPt>
          <c:dPt>
            <c:idx val="730"/>
            <c:spPr>
              <a:solidFill>
                <a:srgbClr val="7ECAC4"/>
              </a:solidFill>
            </c:spPr>
          </c:dPt>
          <c:dPt>
            <c:idx val="731"/>
            <c:spPr>
              <a:solidFill>
                <a:srgbClr val="7ECAC4"/>
              </a:solidFill>
            </c:spPr>
          </c:dPt>
          <c:dPt>
            <c:idx val="732"/>
            <c:spPr>
              <a:solidFill>
                <a:srgbClr val="7ECAC4"/>
              </a:solidFill>
            </c:spPr>
          </c:dPt>
          <c:dPt>
            <c:idx val="733"/>
            <c:spPr>
              <a:solidFill>
                <a:srgbClr val="7ECAC4"/>
              </a:solidFill>
            </c:spPr>
          </c:dPt>
          <c:dPt>
            <c:idx val="734"/>
            <c:spPr>
              <a:solidFill>
                <a:srgbClr val="7ECAC4"/>
              </a:solidFill>
            </c:spPr>
          </c:dPt>
          <c:dPt>
            <c:idx val="735"/>
            <c:spPr>
              <a:solidFill>
                <a:srgbClr val="7ECAC4"/>
              </a:solidFill>
            </c:spPr>
          </c:dPt>
          <c:dPt>
            <c:idx val="736"/>
            <c:spPr>
              <a:solidFill>
                <a:srgbClr val="7ECAC4"/>
              </a:solidFill>
            </c:spPr>
          </c:dPt>
          <c:dPt>
            <c:idx val="737"/>
            <c:spPr>
              <a:solidFill>
                <a:srgbClr val="7ECAC4"/>
              </a:solidFill>
            </c:spPr>
          </c:dPt>
          <c:dPt>
            <c:idx val="738"/>
            <c:spPr>
              <a:solidFill>
                <a:srgbClr val="7ECAC4"/>
              </a:solidFill>
            </c:spPr>
          </c:dPt>
          <c:dPt>
            <c:idx val="739"/>
            <c:spPr>
              <a:solidFill>
                <a:srgbClr val="7ECAC4"/>
              </a:solidFill>
            </c:spPr>
          </c:dPt>
          <c:dPt>
            <c:idx val="740"/>
            <c:spPr>
              <a:solidFill>
                <a:srgbClr val="7ECAC4"/>
              </a:solidFill>
            </c:spPr>
          </c:dPt>
          <c:dPt>
            <c:idx val="741"/>
            <c:spPr>
              <a:solidFill>
                <a:srgbClr val="7ECAC4"/>
              </a:solidFill>
            </c:spPr>
          </c:dPt>
          <c:dPt>
            <c:idx val="742"/>
            <c:spPr>
              <a:solidFill>
                <a:srgbClr val="7ECAC4"/>
              </a:solidFill>
            </c:spPr>
          </c:dPt>
          <c:dPt>
            <c:idx val="743"/>
            <c:spPr>
              <a:solidFill>
                <a:srgbClr val="7ECAC4"/>
              </a:solidFill>
            </c:spPr>
          </c:dPt>
          <c:dPt>
            <c:idx val="744"/>
            <c:spPr>
              <a:solidFill>
                <a:srgbClr val="7ECAC4"/>
              </a:solidFill>
            </c:spPr>
          </c:dPt>
          <c:dPt>
            <c:idx val="745"/>
            <c:spPr>
              <a:solidFill>
                <a:srgbClr val="7ECAC4"/>
              </a:solidFill>
            </c:spPr>
          </c:dPt>
          <c:dPt>
            <c:idx val="746"/>
            <c:spPr>
              <a:solidFill>
                <a:srgbClr val="7ECAC4"/>
              </a:solidFill>
            </c:spPr>
          </c:dPt>
          <c:dPt>
            <c:idx val="747"/>
            <c:spPr>
              <a:solidFill>
                <a:srgbClr val="7ECAC4"/>
              </a:solidFill>
            </c:spPr>
          </c:dPt>
          <c:dPt>
            <c:idx val="748"/>
            <c:spPr>
              <a:solidFill>
                <a:srgbClr val="7ECAC4"/>
              </a:solidFill>
            </c:spPr>
          </c:dPt>
          <c:dPt>
            <c:idx val="749"/>
            <c:spPr>
              <a:solidFill>
                <a:srgbClr val="7ECAC4"/>
              </a:solidFill>
            </c:spPr>
          </c:dPt>
          <c:dPt>
            <c:idx val="750"/>
            <c:spPr>
              <a:solidFill>
                <a:srgbClr val="7ECAC4"/>
              </a:solidFill>
            </c:spPr>
          </c:dPt>
          <c:dPt>
            <c:idx val="751"/>
            <c:spPr>
              <a:solidFill>
                <a:srgbClr val="7ECAC4"/>
              </a:solidFill>
            </c:spPr>
          </c:dPt>
          <c:dPt>
            <c:idx val="752"/>
            <c:spPr>
              <a:solidFill>
                <a:srgbClr val="7ECAC4"/>
              </a:solidFill>
            </c:spPr>
          </c:dPt>
          <c:dPt>
            <c:idx val="753"/>
            <c:spPr>
              <a:solidFill>
                <a:srgbClr val="7ECAC4"/>
              </a:solidFill>
            </c:spPr>
          </c:dPt>
          <c:dPt>
            <c:idx val="754"/>
            <c:spPr>
              <a:solidFill>
                <a:srgbClr val="7ECAC4"/>
              </a:solidFill>
            </c:spPr>
          </c:dPt>
          <c:dPt>
            <c:idx val="755"/>
            <c:spPr>
              <a:solidFill>
                <a:srgbClr val="7ECAC4"/>
              </a:solidFill>
            </c:spPr>
          </c:dPt>
          <c:dPt>
            <c:idx val="756"/>
            <c:spPr>
              <a:solidFill>
                <a:srgbClr val="7ECAC4"/>
              </a:solidFill>
            </c:spPr>
          </c:dPt>
          <c:dPt>
            <c:idx val="757"/>
            <c:spPr>
              <a:solidFill>
                <a:srgbClr val="7ECAC4"/>
              </a:solidFill>
            </c:spPr>
          </c:dPt>
          <c:dPt>
            <c:idx val="758"/>
            <c:spPr>
              <a:solidFill>
                <a:srgbClr val="7ECAC4"/>
              </a:solidFill>
            </c:spPr>
          </c:dPt>
          <c:dPt>
            <c:idx val="759"/>
            <c:spPr>
              <a:solidFill>
                <a:srgbClr val="7ECAC4"/>
              </a:solidFill>
            </c:spPr>
          </c:dPt>
          <c:dPt>
            <c:idx val="760"/>
            <c:spPr>
              <a:solidFill>
                <a:srgbClr val="7ECAC4"/>
              </a:solidFill>
            </c:spPr>
          </c:dPt>
          <c:dPt>
            <c:idx val="761"/>
            <c:spPr>
              <a:solidFill>
                <a:srgbClr val="7ECAC4"/>
              </a:solidFill>
            </c:spPr>
          </c:dPt>
          <c:dPt>
            <c:idx val="762"/>
            <c:spPr>
              <a:solidFill>
                <a:srgbClr val="7ECAC4"/>
              </a:solidFill>
            </c:spPr>
          </c:dPt>
          <c:dPt>
            <c:idx val="763"/>
            <c:spPr>
              <a:solidFill>
                <a:srgbClr val="7ECAC4"/>
              </a:solidFill>
            </c:spPr>
          </c:dPt>
          <c:dPt>
            <c:idx val="764"/>
            <c:spPr>
              <a:solidFill>
                <a:srgbClr val="7ECAC4"/>
              </a:solidFill>
            </c:spPr>
          </c:dPt>
          <c:dPt>
            <c:idx val="765"/>
            <c:spPr>
              <a:solidFill>
                <a:srgbClr val="7ECAC4"/>
              </a:solidFill>
            </c:spPr>
          </c:dPt>
          <c:dPt>
            <c:idx val="766"/>
            <c:spPr>
              <a:solidFill>
                <a:srgbClr val="7ECAC4"/>
              </a:solidFill>
            </c:spPr>
          </c:dPt>
          <c:dPt>
            <c:idx val="767"/>
            <c:spPr>
              <a:solidFill>
                <a:srgbClr val="7ECAC4"/>
              </a:solidFill>
            </c:spPr>
          </c:dPt>
          <c:dPt>
            <c:idx val="768"/>
            <c:spPr>
              <a:solidFill>
                <a:srgbClr val="7ECAC4"/>
              </a:solidFill>
            </c:spPr>
          </c:dPt>
          <c:dPt>
            <c:idx val="769"/>
            <c:spPr>
              <a:solidFill>
                <a:srgbClr val="7ECAC4"/>
              </a:solidFill>
            </c:spPr>
          </c:dPt>
          <c:dPt>
            <c:idx val="770"/>
            <c:spPr>
              <a:solidFill>
                <a:srgbClr val="7ECAC4"/>
              </a:solidFill>
            </c:spPr>
          </c:dPt>
          <c:dPt>
            <c:idx val="771"/>
            <c:spPr>
              <a:solidFill>
                <a:srgbClr val="7ECAC4"/>
              </a:solidFill>
            </c:spPr>
          </c:dPt>
          <c:dPt>
            <c:idx val="772"/>
            <c:spPr>
              <a:solidFill>
                <a:srgbClr val="7ECAC4"/>
              </a:solidFill>
            </c:spPr>
          </c:dPt>
          <c:dPt>
            <c:idx val="773"/>
            <c:spPr>
              <a:solidFill>
                <a:srgbClr val="7ECAC4"/>
              </a:solidFill>
            </c:spPr>
          </c:dPt>
          <c:dPt>
            <c:idx val="774"/>
            <c:spPr>
              <a:solidFill>
                <a:srgbClr val="7ECAC4"/>
              </a:solidFill>
            </c:spPr>
          </c:dPt>
          <c:dPt>
            <c:idx val="775"/>
            <c:spPr>
              <a:solidFill>
                <a:srgbClr val="7ECAC4"/>
              </a:solidFill>
            </c:spPr>
          </c:dPt>
          <c:dPt>
            <c:idx val="776"/>
            <c:spPr>
              <a:solidFill>
                <a:srgbClr val="7ECAC4"/>
              </a:solidFill>
            </c:spPr>
          </c:dPt>
          <c:dPt>
            <c:idx val="777"/>
            <c:spPr>
              <a:solidFill>
                <a:srgbClr val="7ECAC4"/>
              </a:solidFill>
            </c:spPr>
          </c:dPt>
          <c:dPt>
            <c:idx val="778"/>
            <c:spPr>
              <a:solidFill>
                <a:srgbClr val="7ECAC4"/>
              </a:solidFill>
            </c:spPr>
          </c:dPt>
          <c:dPt>
            <c:idx val="779"/>
            <c:spPr>
              <a:solidFill>
                <a:srgbClr val="7ECAC4"/>
              </a:solidFill>
            </c:spPr>
          </c:dPt>
          <c:dPt>
            <c:idx val="780"/>
            <c:spPr>
              <a:solidFill>
                <a:srgbClr val="7ECAC4"/>
              </a:solidFill>
            </c:spPr>
          </c:dPt>
          <c:dPt>
            <c:idx val="781"/>
            <c:spPr>
              <a:solidFill>
                <a:srgbClr val="7ECAC4"/>
              </a:solidFill>
            </c:spPr>
          </c:dPt>
          <c:dPt>
            <c:idx val="782"/>
            <c:spPr>
              <a:solidFill>
                <a:srgbClr val="7ECAC4"/>
              </a:solidFill>
            </c:spPr>
          </c:dPt>
          <c:dPt>
            <c:idx val="783"/>
            <c:spPr>
              <a:solidFill>
                <a:srgbClr val="7ECAC4"/>
              </a:solidFill>
            </c:spPr>
          </c:dPt>
          <c:dPt>
            <c:idx val="784"/>
            <c:spPr>
              <a:solidFill>
                <a:srgbClr val="7ECAC4"/>
              </a:solidFill>
            </c:spPr>
          </c:dPt>
          <c:dPt>
            <c:idx val="785"/>
            <c:spPr>
              <a:solidFill>
                <a:srgbClr val="7ECAC4"/>
              </a:solidFill>
            </c:spPr>
          </c:dPt>
          <c:dPt>
            <c:idx val="786"/>
            <c:spPr>
              <a:solidFill>
                <a:srgbClr val="7ECAC4"/>
              </a:solidFill>
            </c:spPr>
          </c:dPt>
          <c:dPt>
            <c:idx val="787"/>
            <c:spPr>
              <a:solidFill>
                <a:srgbClr val="7ECAC4"/>
              </a:solidFill>
            </c:spPr>
          </c:dPt>
          <c:dPt>
            <c:idx val="788"/>
            <c:spPr>
              <a:solidFill>
                <a:srgbClr val="7ECAC4"/>
              </a:solidFill>
            </c:spPr>
          </c:dPt>
          <c:dPt>
            <c:idx val="789"/>
            <c:spPr>
              <a:solidFill>
                <a:srgbClr val="AEABAB"/>
              </a:solidFill>
            </c:spPr>
          </c:dPt>
          <c:dPt>
            <c:idx val="790"/>
            <c:spPr>
              <a:solidFill>
                <a:srgbClr val="AEABAB"/>
              </a:solidFill>
            </c:spPr>
          </c:dPt>
          <c:dPt>
            <c:idx val="791"/>
            <c:spPr>
              <a:solidFill>
                <a:srgbClr val="AEABAB"/>
              </a:solidFill>
            </c:spPr>
          </c:dPt>
          <c:dPt>
            <c:idx val="792"/>
            <c:spPr>
              <a:solidFill>
                <a:srgbClr val="AEABAB"/>
              </a:solidFill>
            </c:spPr>
          </c:dPt>
          <c:dPt>
            <c:idx val="793"/>
            <c:spPr>
              <a:solidFill>
                <a:srgbClr val="AEABAB"/>
              </a:solidFill>
            </c:spPr>
          </c:dPt>
          <c:dPt>
            <c:idx val="794"/>
            <c:spPr>
              <a:solidFill>
                <a:srgbClr val="AEABAB"/>
              </a:solidFill>
            </c:spPr>
          </c:dPt>
          <c:dPt>
            <c:idx val="795"/>
            <c:spPr>
              <a:solidFill>
                <a:srgbClr val="AEABAB"/>
              </a:solidFill>
            </c:spPr>
          </c:dPt>
          <c:dPt>
            <c:idx val="796"/>
            <c:spPr>
              <a:solidFill>
                <a:srgbClr val="AEABAB"/>
              </a:solidFill>
            </c:spPr>
          </c:dPt>
          <c:dPt>
            <c:idx val="797"/>
            <c:spPr>
              <a:solidFill>
                <a:srgbClr val="AEABAB"/>
              </a:solidFill>
            </c:spPr>
          </c:dPt>
          <c:dPt>
            <c:idx val="798"/>
            <c:spPr>
              <a:solidFill>
                <a:srgbClr val="AEABAB"/>
              </a:solidFill>
            </c:spPr>
          </c:dPt>
          <c:dPt>
            <c:idx val="799"/>
            <c:spPr>
              <a:solidFill>
                <a:srgbClr val="AEABAB"/>
              </a:solidFill>
            </c:spPr>
          </c:dPt>
          <c:dPt>
            <c:idx val="800"/>
            <c:spPr>
              <a:solidFill>
                <a:srgbClr val="AEABAB"/>
              </a:solidFill>
            </c:spPr>
          </c:dPt>
          <c:dPt>
            <c:idx val="801"/>
            <c:spPr>
              <a:solidFill>
                <a:srgbClr val="AEABAB"/>
              </a:solidFill>
            </c:spPr>
          </c:dPt>
          <c:dPt>
            <c:idx val="802"/>
            <c:spPr>
              <a:solidFill>
                <a:srgbClr val="AEABAB"/>
              </a:solidFill>
            </c:spPr>
          </c:dPt>
          <c:dPt>
            <c:idx val="803"/>
            <c:spPr>
              <a:solidFill>
                <a:srgbClr val="AEABAB"/>
              </a:solidFill>
            </c:spPr>
          </c:dPt>
          <c:dPt>
            <c:idx val="804"/>
            <c:spPr>
              <a:solidFill>
                <a:srgbClr val="AEABAB"/>
              </a:solidFill>
            </c:spPr>
          </c:dPt>
          <c:dPt>
            <c:idx val="805"/>
            <c:spPr>
              <a:solidFill>
                <a:srgbClr val="AEABAB"/>
              </a:solidFill>
            </c:spPr>
          </c:dPt>
          <c:dPt>
            <c:idx val="806"/>
            <c:spPr>
              <a:solidFill>
                <a:srgbClr val="AEABAB"/>
              </a:solidFill>
            </c:spPr>
          </c:dPt>
          <c:dPt>
            <c:idx val="807"/>
            <c:spPr>
              <a:solidFill>
                <a:srgbClr val="AEABAB"/>
              </a:solidFill>
            </c:spPr>
          </c:dPt>
          <c:dPt>
            <c:idx val="808"/>
            <c:spPr>
              <a:solidFill>
                <a:srgbClr val="AEABAB"/>
              </a:solidFill>
            </c:spPr>
          </c:dPt>
          <c:dPt>
            <c:idx val="809"/>
            <c:spPr>
              <a:solidFill>
                <a:srgbClr val="AEABAB"/>
              </a:solidFill>
            </c:spPr>
          </c:dPt>
          <c:dPt>
            <c:idx val="810"/>
            <c:spPr>
              <a:solidFill>
                <a:srgbClr val="AEABAB"/>
              </a:solidFill>
            </c:spPr>
          </c:dPt>
          <c:dPt>
            <c:idx val="811"/>
            <c:spPr>
              <a:solidFill>
                <a:srgbClr val="AEABAB"/>
              </a:solidFill>
            </c:spPr>
          </c:dPt>
          <c:dPt>
            <c:idx val="812"/>
            <c:spPr>
              <a:solidFill>
                <a:srgbClr val="AEABAB"/>
              </a:solidFill>
            </c:spPr>
          </c:dPt>
          <c:dPt>
            <c:idx val="813"/>
            <c:spPr>
              <a:solidFill>
                <a:srgbClr val="AEABAB"/>
              </a:solidFill>
            </c:spPr>
          </c:dPt>
          <c:dPt>
            <c:idx val="814"/>
            <c:spPr>
              <a:solidFill>
                <a:srgbClr val="AEABAB"/>
              </a:solidFill>
            </c:spPr>
          </c:dPt>
          <c:dPt>
            <c:idx val="815"/>
            <c:spPr>
              <a:solidFill>
                <a:srgbClr val="AEABAB"/>
              </a:solidFill>
            </c:spPr>
          </c:dPt>
          <c:dPt>
            <c:idx val="816"/>
            <c:spPr>
              <a:solidFill>
                <a:srgbClr val="AEABAB"/>
              </a:solidFill>
            </c:spPr>
          </c:dPt>
          <c:dPt>
            <c:idx val="817"/>
            <c:spPr>
              <a:solidFill>
                <a:srgbClr val="AEABAB"/>
              </a:solidFill>
            </c:spPr>
          </c:dPt>
          <c:dPt>
            <c:idx val="818"/>
            <c:spPr>
              <a:solidFill>
                <a:srgbClr val="AEABAB"/>
              </a:solidFill>
            </c:spPr>
          </c:dPt>
          <c:dPt>
            <c:idx val="819"/>
            <c:spPr>
              <a:solidFill>
                <a:srgbClr val="AEABAB"/>
              </a:solidFill>
            </c:spPr>
          </c:dPt>
          <c:dPt>
            <c:idx val="820"/>
            <c:spPr>
              <a:solidFill>
                <a:srgbClr val="AEABAB"/>
              </a:solidFill>
            </c:spPr>
          </c:dPt>
          <c:dPt>
            <c:idx val="821"/>
            <c:spPr>
              <a:solidFill>
                <a:srgbClr val="AEABAB"/>
              </a:solidFill>
            </c:spPr>
          </c:dPt>
          <c:dPt>
            <c:idx val="822"/>
            <c:spPr>
              <a:solidFill>
                <a:srgbClr val="AEABAB"/>
              </a:solidFill>
            </c:spPr>
          </c:dPt>
          <c:dPt>
            <c:idx val="823"/>
            <c:spPr>
              <a:solidFill>
                <a:srgbClr val="AEABAB"/>
              </a:solidFill>
            </c:spPr>
          </c:dPt>
          <c:dPt>
            <c:idx val="824"/>
            <c:spPr>
              <a:solidFill>
                <a:srgbClr val="AEABAB"/>
              </a:solidFill>
            </c:spPr>
          </c:dPt>
          <c:dPt>
            <c:idx val="825"/>
            <c:spPr>
              <a:solidFill>
                <a:srgbClr val="AEABAB"/>
              </a:solidFill>
            </c:spPr>
          </c:dPt>
          <c:dPt>
            <c:idx val="826"/>
            <c:spPr>
              <a:solidFill>
                <a:srgbClr val="AEABAB"/>
              </a:solidFill>
            </c:spPr>
          </c:dPt>
          <c:dPt>
            <c:idx val="827"/>
            <c:spPr>
              <a:solidFill>
                <a:srgbClr val="AEABAB"/>
              </a:solidFill>
            </c:spPr>
          </c:dPt>
          <c:dPt>
            <c:idx val="828"/>
            <c:spPr>
              <a:solidFill>
                <a:srgbClr val="AEABAB"/>
              </a:solidFill>
            </c:spPr>
          </c:dPt>
          <c:dPt>
            <c:idx val="829"/>
            <c:spPr>
              <a:solidFill>
                <a:srgbClr val="AEABAB"/>
              </a:solidFill>
            </c:spPr>
          </c:dPt>
          <c:dPt>
            <c:idx val="830"/>
            <c:spPr>
              <a:solidFill>
                <a:srgbClr val="AEABAB"/>
              </a:solidFill>
            </c:spPr>
          </c:dPt>
          <c:dPt>
            <c:idx val="831"/>
            <c:spPr>
              <a:solidFill>
                <a:srgbClr val="AEABAB"/>
              </a:solidFill>
            </c:spPr>
          </c:dPt>
          <c:dPt>
            <c:idx val="832"/>
            <c:spPr>
              <a:solidFill>
                <a:srgbClr val="AEABAB"/>
              </a:solidFill>
            </c:spPr>
          </c:dPt>
          <c:dPt>
            <c:idx val="833"/>
            <c:spPr>
              <a:solidFill>
                <a:srgbClr val="AEABAB"/>
              </a:solidFill>
            </c:spPr>
          </c:dPt>
          <c:dPt>
            <c:idx val="834"/>
            <c:spPr>
              <a:solidFill>
                <a:srgbClr val="AEABAB"/>
              </a:solidFill>
            </c:spPr>
          </c:dPt>
          <c:dPt>
            <c:idx val="835"/>
            <c:spPr>
              <a:solidFill>
                <a:srgbClr val="AEABAB"/>
              </a:solidFill>
            </c:spPr>
          </c:dPt>
          <c:dPt>
            <c:idx val="836"/>
            <c:spPr>
              <a:solidFill>
                <a:srgbClr val="AEABAB"/>
              </a:solidFill>
            </c:spPr>
          </c:dPt>
          <c:dPt>
            <c:idx val="837"/>
            <c:spPr>
              <a:solidFill>
                <a:srgbClr val="AEABAB"/>
              </a:solidFill>
            </c:spPr>
          </c:dPt>
          <c:dPt>
            <c:idx val="838"/>
            <c:spPr>
              <a:solidFill>
                <a:srgbClr val="AEABAB"/>
              </a:solidFill>
            </c:spPr>
          </c:dPt>
          <c:dPt>
            <c:idx val="839"/>
            <c:spPr>
              <a:solidFill>
                <a:srgbClr val="AEABAB"/>
              </a:solidFill>
            </c:spPr>
          </c:dPt>
          <c:dPt>
            <c:idx val="840"/>
            <c:spPr>
              <a:solidFill>
                <a:srgbClr val="AEABAB"/>
              </a:solidFill>
            </c:spPr>
          </c:dPt>
          <c:dPt>
            <c:idx val="841"/>
            <c:spPr>
              <a:solidFill>
                <a:srgbClr val="AEABAB"/>
              </a:solidFill>
            </c:spPr>
          </c:dPt>
          <c:dPt>
            <c:idx val="842"/>
            <c:spPr>
              <a:solidFill>
                <a:srgbClr val="AEABAB"/>
              </a:solidFill>
            </c:spPr>
          </c:dPt>
          <c:dPt>
            <c:idx val="843"/>
            <c:spPr>
              <a:solidFill>
                <a:srgbClr val="AEABAB"/>
              </a:solidFill>
            </c:spPr>
          </c:dPt>
          <c:dPt>
            <c:idx val="844"/>
            <c:spPr>
              <a:solidFill>
                <a:srgbClr val="AEABAB"/>
              </a:solidFill>
            </c:spPr>
          </c:dPt>
          <c:dPt>
            <c:idx val="845"/>
            <c:spPr>
              <a:solidFill>
                <a:srgbClr val="AEABAB"/>
              </a:solidFill>
            </c:spPr>
          </c:dPt>
          <c:dPt>
            <c:idx val="846"/>
            <c:spPr>
              <a:solidFill>
                <a:srgbClr val="AEABAB"/>
              </a:solidFill>
            </c:spPr>
          </c:dPt>
          <c:dPt>
            <c:idx val="847"/>
            <c:spPr>
              <a:solidFill>
                <a:srgbClr val="AEABAB"/>
              </a:solidFill>
            </c:spPr>
          </c:dPt>
          <c:dPt>
            <c:idx val="848"/>
            <c:spPr>
              <a:solidFill>
                <a:srgbClr val="AEABAB"/>
              </a:solidFill>
            </c:spPr>
          </c:dPt>
          <c:dPt>
            <c:idx val="849"/>
            <c:spPr>
              <a:solidFill>
                <a:srgbClr val="AEABAB"/>
              </a:solidFill>
            </c:spPr>
          </c:dPt>
          <c:dPt>
            <c:idx val="850"/>
            <c:spPr>
              <a:solidFill>
                <a:srgbClr val="AEABAB"/>
              </a:solidFill>
            </c:spPr>
          </c:dPt>
          <c:dPt>
            <c:idx val="851"/>
            <c:spPr>
              <a:solidFill>
                <a:srgbClr val="AEABAB"/>
              </a:solidFill>
            </c:spPr>
          </c:dPt>
          <c:dPt>
            <c:idx val="852"/>
            <c:spPr>
              <a:solidFill>
                <a:srgbClr val="AEABAB"/>
              </a:solidFill>
            </c:spPr>
          </c:dPt>
          <c:dPt>
            <c:idx val="853"/>
            <c:spPr>
              <a:solidFill>
                <a:srgbClr val="AEABAB"/>
              </a:solidFill>
            </c:spPr>
          </c:dPt>
          <c:dPt>
            <c:idx val="854"/>
            <c:spPr>
              <a:solidFill>
                <a:srgbClr val="AEABAB"/>
              </a:solidFill>
            </c:spPr>
          </c:dPt>
          <c:dPt>
            <c:idx val="855"/>
            <c:spPr>
              <a:solidFill>
                <a:srgbClr val="AEABAB"/>
              </a:solidFill>
            </c:spPr>
          </c:dPt>
          <c:dPt>
            <c:idx val="856"/>
            <c:spPr>
              <a:solidFill>
                <a:srgbClr val="AEABAB"/>
              </a:solidFill>
            </c:spPr>
          </c:dPt>
          <c:dPt>
            <c:idx val="857"/>
            <c:spPr>
              <a:solidFill>
                <a:srgbClr val="AEABAB"/>
              </a:solidFill>
            </c:spPr>
          </c:dPt>
          <c:dPt>
            <c:idx val="858"/>
            <c:spPr>
              <a:solidFill>
                <a:srgbClr val="AEABAB"/>
              </a:solidFill>
            </c:spPr>
          </c:dPt>
          <c:dPt>
            <c:idx val="859"/>
            <c:spPr>
              <a:solidFill>
                <a:srgbClr val="AEABAB"/>
              </a:solidFill>
            </c:spPr>
          </c:dPt>
          <c:dPt>
            <c:idx val="860"/>
            <c:spPr>
              <a:solidFill>
                <a:srgbClr val="AEABAB"/>
              </a:solidFill>
            </c:spPr>
          </c:dPt>
          <c:dPt>
            <c:idx val="861"/>
            <c:spPr>
              <a:solidFill>
                <a:srgbClr val="AEABAB"/>
              </a:solidFill>
            </c:spPr>
          </c:dPt>
          <c:dPt>
            <c:idx val="862"/>
            <c:spPr>
              <a:solidFill>
                <a:srgbClr val="AEABAB"/>
              </a:solidFill>
            </c:spPr>
          </c:dPt>
          <c:dPt>
            <c:idx val="863"/>
            <c:spPr>
              <a:solidFill>
                <a:srgbClr val="AEABAB"/>
              </a:solidFill>
            </c:spPr>
          </c:dPt>
          <c:dPt>
            <c:idx val="864"/>
            <c:spPr>
              <a:solidFill>
                <a:srgbClr val="AEABAB"/>
              </a:solidFill>
            </c:spPr>
          </c:dPt>
          <c:dPt>
            <c:idx val="865"/>
            <c:spPr>
              <a:solidFill>
                <a:srgbClr val="AEABAB"/>
              </a:solidFill>
            </c:spPr>
          </c:dPt>
          <c:dPt>
            <c:idx val="866"/>
            <c:spPr>
              <a:solidFill>
                <a:srgbClr val="AEABAB"/>
              </a:solidFill>
            </c:spPr>
          </c:dPt>
          <c:dPt>
            <c:idx val="867"/>
            <c:spPr>
              <a:solidFill>
                <a:srgbClr val="AEABAB"/>
              </a:solidFill>
            </c:spPr>
          </c:dPt>
          <c:dPt>
            <c:idx val="868"/>
            <c:spPr>
              <a:solidFill>
                <a:srgbClr val="AEABAB"/>
              </a:solidFill>
            </c:spPr>
          </c:dPt>
          <c:dPt>
            <c:idx val="869"/>
            <c:spPr>
              <a:solidFill>
                <a:srgbClr val="AEABAB"/>
              </a:solidFill>
            </c:spPr>
          </c:dPt>
          <c:dPt>
            <c:idx val="870"/>
            <c:spPr>
              <a:solidFill>
                <a:srgbClr val="AEABAB"/>
              </a:solidFill>
            </c:spPr>
          </c:dPt>
          <c:dPt>
            <c:idx val="871"/>
            <c:spPr>
              <a:solidFill>
                <a:srgbClr val="AEABAB"/>
              </a:solidFill>
            </c:spPr>
          </c:dPt>
          <c:dPt>
            <c:idx val="872"/>
            <c:spPr>
              <a:solidFill>
                <a:srgbClr val="AEABAB"/>
              </a:solidFill>
            </c:spPr>
          </c:dPt>
          <c:dPt>
            <c:idx val="873"/>
            <c:spPr>
              <a:solidFill>
                <a:srgbClr val="AEABAB"/>
              </a:solidFill>
            </c:spPr>
          </c:dPt>
          <c:dPt>
            <c:idx val="874"/>
            <c:spPr>
              <a:solidFill>
                <a:srgbClr val="AEABAB"/>
              </a:solidFill>
            </c:spPr>
          </c:dPt>
          <c:dPt>
            <c:idx val="875"/>
            <c:spPr>
              <a:solidFill>
                <a:srgbClr val="AEABAB"/>
              </a:solidFill>
            </c:spPr>
          </c:dPt>
          <c:dPt>
            <c:idx val="876"/>
            <c:spPr>
              <a:solidFill>
                <a:srgbClr val="AEABAB"/>
              </a:solidFill>
            </c:spPr>
          </c:dPt>
          <c:dPt>
            <c:idx val="877"/>
            <c:spPr>
              <a:solidFill>
                <a:srgbClr val="AEABAB"/>
              </a:solidFill>
            </c:spPr>
          </c:dPt>
          <c:dPt>
            <c:idx val="878"/>
            <c:spPr>
              <a:solidFill>
                <a:srgbClr val="AEABAB"/>
              </a:solidFill>
            </c:spPr>
          </c:dPt>
          <c:dPt>
            <c:idx val="879"/>
            <c:spPr>
              <a:solidFill>
                <a:srgbClr val="AEABAB"/>
              </a:solidFill>
            </c:spPr>
          </c:dPt>
          <c:dPt>
            <c:idx val="880"/>
            <c:spPr>
              <a:solidFill>
                <a:srgbClr val="AEABAB"/>
              </a:solidFill>
            </c:spPr>
          </c:dPt>
          <c:dPt>
            <c:idx val="881"/>
            <c:spPr>
              <a:solidFill>
                <a:srgbClr val="AEABAB"/>
              </a:solidFill>
            </c:spPr>
          </c:dPt>
          <c:dPt>
            <c:idx val="882"/>
            <c:spPr>
              <a:solidFill>
                <a:srgbClr val="AEABAB"/>
              </a:solidFill>
            </c:spPr>
          </c:dPt>
          <c:dPt>
            <c:idx val="883"/>
            <c:spPr>
              <a:solidFill>
                <a:srgbClr val="AEABAB"/>
              </a:solidFill>
            </c:spPr>
          </c:dPt>
          <c:dPt>
            <c:idx val="884"/>
            <c:spPr>
              <a:solidFill>
                <a:srgbClr val="AEABAB"/>
              </a:solidFill>
            </c:spPr>
          </c:dPt>
          <c:dPt>
            <c:idx val="885"/>
            <c:spPr>
              <a:solidFill>
                <a:srgbClr val="AEABAB"/>
              </a:solidFill>
            </c:spPr>
          </c:dPt>
          <c:dPt>
            <c:idx val="886"/>
            <c:spPr>
              <a:solidFill>
                <a:srgbClr val="AEABAB"/>
              </a:solidFill>
            </c:spPr>
          </c:dPt>
          <c:dPt>
            <c:idx val="887"/>
            <c:spPr>
              <a:solidFill>
                <a:srgbClr val="AEABAB"/>
              </a:solidFill>
            </c:spPr>
          </c:dPt>
          <c:dPt>
            <c:idx val="888"/>
            <c:spPr>
              <a:solidFill>
                <a:srgbClr val="AEABAB"/>
              </a:solidFill>
            </c:spPr>
          </c:dPt>
          <c:dPt>
            <c:idx val="889"/>
            <c:spPr>
              <a:solidFill>
                <a:srgbClr val="AEABAB"/>
              </a:solidFill>
            </c:spPr>
          </c:dPt>
          <c:dPt>
            <c:idx val="890"/>
            <c:spPr>
              <a:solidFill>
                <a:srgbClr val="AEABAB"/>
              </a:solidFill>
            </c:spPr>
          </c:dPt>
          <c:dPt>
            <c:idx val="891"/>
            <c:spPr>
              <a:solidFill>
                <a:srgbClr val="AEABAB"/>
              </a:solidFill>
            </c:spPr>
          </c:dPt>
          <c:dPt>
            <c:idx val="892"/>
            <c:spPr>
              <a:solidFill>
                <a:srgbClr val="AEABAB"/>
              </a:solidFill>
            </c:spPr>
          </c:dPt>
          <c:dPt>
            <c:idx val="893"/>
            <c:spPr>
              <a:solidFill>
                <a:srgbClr val="AEABAB"/>
              </a:solidFill>
            </c:spPr>
          </c:dPt>
          <c:dPt>
            <c:idx val="894"/>
            <c:spPr>
              <a:solidFill>
                <a:srgbClr val="AEABAB"/>
              </a:solidFill>
            </c:spPr>
          </c:dPt>
          <c:dPt>
            <c:idx val="895"/>
            <c:spPr>
              <a:solidFill>
                <a:srgbClr val="AEABAB"/>
              </a:solidFill>
            </c:spPr>
          </c:dPt>
          <c:dPt>
            <c:idx val="896"/>
            <c:spPr>
              <a:solidFill>
                <a:srgbClr val="AEABAB"/>
              </a:solidFill>
            </c:spPr>
          </c:dPt>
          <c:dPt>
            <c:idx val="897"/>
            <c:spPr>
              <a:solidFill>
                <a:srgbClr val="AEABAB"/>
              </a:solidFill>
            </c:spPr>
          </c:dPt>
          <c:dPt>
            <c:idx val="898"/>
            <c:spPr>
              <a:solidFill>
                <a:srgbClr val="AEABAB"/>
              </a:solidFill>
            </c:spPr>
          </c:dPt>
          <c:dPt>
            <c:idx val="899"/>
            <c:spPr>
              <a:solidFill>
                <a:srgbClr val="AEABAB"/>
              </a:solidFill>
            </c:spPr>
          </c:dPt>
          <c:dPt>
            <c:idx val="900"/>
            <c:spPr>
              <a:solidFill>
                <a:srgbClr val="AEABAB"/>
              </a:solidFill>
            </c:spPr>
          </c:dPt>
          <c:dPt>
            <c:idx val="901"/>
            <c:spPr>
              <a:solidFill>
                <a:srgbClr val="AEABAB"/>
              </a:solidFill>
            </c:spPr>
          </c:dPt>
          <c:dPt>
            <c:idx val="902"/>
            <c:spPr>
              <a:solidFill>
                <a:srgbClr val="AEABAB"/>
              </a:solidFill>
            </c:spPr>
          </c:dPt>
          <c:dPt>
            <c:idx val="903"/>
            <c:spPr>
              <a:solidFill>
                <a:srgbClr val="AEABAB"/>
              </a:solidFill>
            </c:spPr>
          </c:dPt>
          <c:dPt>
            <c:idx val="904"/>
            <c:spPr>
              <a:solidFill>
                <a:srgbClr val="AEABAB"/>
              </a:solidFill>
            </c:spPr>
          </c:dPt>
          <c:dPt>
            <c:idx val="905"/>
            <c:spPr>
              <a:solidFill>
                <a:srgbClr val="AEABAB"/>
              </a:solidFill>
            </c:spPr>
          </c:dPt>
          <c:dPt>
            <c:idx val="906"/>
            <c:spPr>
              <a:solidFill>
                <a:srgbClr val="AEABAB"/>
              </a:solidFill>
            </c:spPr>
          </c:dPt>
          <c:dPt>
            <c:idx val="907"/>
            <c:spPr>
              <a:solidFill>
                <a:srgbClr val="AEABAB"/>
              </a:solidFill>
            </c:spPr>
          </c:dPt>
          <c:dPt>
            <c:idx val="908"/>
            <c:spPr>
              <a:solidFill>
                <a:srgbClr val="AEABAB"/>
              </a:solidFill>
            </c:spPr>
          </c:dPt>
          <c:dPt>
            <c:idx val="909"/>
            <c:spPr>
              <a:solidFill>
                <a:srgbClr val="AEABAB"/>
              </a:solidFill>
            </c:spPr>
          </c:dPt>
          <c:dPt>
            <c:idx val="910"/>
            <c:spPr>
              <a:solidFill>
                <a:srgbClr val="AEABAB"/>
              </a:solidFill>
            </c:spPr>
          </c:dPt>
          <c:dPt>
            <c:idx val="911"/>
            <c:spPr>
              <a:solidFill>
                <a:srgbClr val="AEABAB"/>
              </a:solidFill>
            </c:spPr>
          </c:dPt>
          <c:dPt>
            <c:idx val="912"/>
            <c:spPr>
              <a:solidFill>
                <a:srgbClr val="AEABAB"/>
              </a:solidFill>
            </c:spPr>
          </c:dPt>
          <c:dPt>
            <c:idx val="913"/>
            <c:spPr>
              <a:solidFill>
                <a:srgbClr val="AEABAB"/>
              </a:solidFill>
            </c:spPr>
          </c:dPt>
          <c:dPt>
            <c:idx val="914"/>
            <c:spPr>
              <a:solidFill>
                <a:srgbClr val="AEABAB"/>
              </a:solidFill>
            </c:spPr>
          </c:dPt>
          <c:dPt>
            <c:idx val="915"/>
            <c:spPr>
              <a:solidFill>
                <a:srgbClr val="AEABAB"/>
              </a:solidFill>
            </c:spPr>
          </c:dPt>
          <c:dPt>
            <c:idx val="916"/>
            <c:spPr>
              <a:solidFill>
                <a:srgbClr val="AEABAB"/>
              </a:solidFill>
            </c:spPr>
          </c:dPt>
          <c:dPt>
            <c:idx val="917"/>
            <c:spPr>
              <a:solidFill>
                <a:srgbClr val="AEABAB"/>
              </a:solidFill>
            </c:spPr>
          </c:dPt>
          <c:dPt>
            <c:idx val="918"/>
            <c:spPr>
              <a:solidFill>
                <a:srgbClr val="AEABAB"/>
              </a:solidFill>
            </c:spPr>
          </c:dPt>
          <c:dPt>
            <c:idx val="919"/>
            <c:spPr>
              <a:solidFill>
                <a:srgbClr val="AEABAB"/>
              </a:solidFill>
            </c:spPr>
          </c:dPt>
          <c:dPt>
            <c:idx val="920"/>
            <c:spPr>
              <a:solidFill>
                <a:srgbClr val="AEABAB"/>
              </a:solidFill>
            </c:spPr>
          </c:dPt>
          <c:dPt>
            <c:idx val="921"/>
            <c:spPr>
              <a:solidFill>
                <a:srgbClr val="AEABAB"/>
              </a:solidFill>
            </c:spPr>
          </c:dPt>
          <c:dPt>
            <c:idx val="922"/>
            <c:spPr>
              <a:solidFill>
                <a:srgbClr val="AEABAB"/>
              </a:solidFill>
            </c:spPr>
          </c:dPt>
          <c:dPt>
            <c:idx val="923"/>
            <c:spPr>
              <a:solidFill>
                <a:srgbClr val="AEABAB"/>
              </a:solidFill>
            </c:spPr>
          </c:dPt>
          <c:dPt>
            <c:idx val="924"/>
            <c:spPr>
              <a:solidFill>
                <a:srgbClr val="AEABAB"/>
              </a:solidFill>
            </c:spPr>
          </c:dPt>
          <c:dPt>
            <c:idx val="925"/>
            <c:spPr>
              <a:solidFill>
                <a:srgbClr val="AEABAB"/>
              </a:solidFill>
            </c:spPr>
          </c:dPt>
          <c:dPt>
            <c:idx val="926"/>
            <c:spPr>
              <a:solidFill>
                <a:srgbClr val="AEABAB"/>
              </a:solidFill>
            </c:spPr>
          </c:dPt>
          <c:dPt>
            <c:idx val="927"/>
            <c:spPr>
              <a:solidFill>
                <a:srgbClr val="AEABAB"/>
              </a:solidFill>
            </c:spPr>
          </c:dPt>
          <c:dPt>
            <c:idx val="928"/>
            <c:spPr>
              <a:solidFill>
                <a:srgbClr val="AEABAB"/>
              </a:solidFill>
            </c:spPr>
          </c:dPt>
          <c:dPt>
            <c:idx val="929"/>
            <c:spPr>
              <a:solidFill>
                <a:srgbClr val="AEABAB"/>
              </a:solidFill>
            </c:spPr>
          </c:dPt>
          <c:dPt>
            <c:idx val="930"/>
            <c:spPr>
              <a:solidFill>
                <a:srgbClr val="AEABAB"/>
              </a:solidFill>
            </c:spPr>
          </c:dPt>
          <c:dPt>
            <c:idx val="931"/>
            <c:spPr>
              <a:solidFill>
                <a:srgbClr val="AEABAB"/>
              </a:solidFill>
            </c:spPr>
          </c:dPt>
          <c:dPt>
            <c:idx val="932"/>
            <c:spPr>
              <a:solidFill>
                <a:srgbClr val="AEABAB"/>
              </a:solidFill>
            </c:spPr>
          </c:dPt>
          <c:dPt>
            <c:idx val="933"/>
            <c:spPr>
              <a:solidFill>
                <a:srgbClr val="AEABAB"/>
              </a:solidFill>
            </c:spPr>
          </c:dPt>
          <c:dPt>
            <c:idx val="934"/>
            <c:spPr>
              <a:solidFill>
                <a:srgbClr val="AEABAB"/>
              </a:solidFill>
            </c:spPr>
          </c:dPt>
          <c:dPt>
            <c:idx val="935"/>
            <c:spPr>
              <a:solidFill>
                <a:srgbClr val="AEABAB"/>
              </a:solidFill>
            </c:spPr>
          </c:dPt>
          <c:dPt>
            <c:idx val="936"/>
            <c:spPr>
              <a:solidFill>
                <a:srgbClr val="AEABAB"/>
              </a:solidFill>
            </c:spPr>
          </c:dPt>
          <c:dPt>
            <c:idx val="937"/>
            <c:spPr>
              <a:solidFill>
                <a:srgbClr val="AEABAB"/>
              </a:solidFill>
            </c:spPr>
          </c:dPt>
          <c:dPt>
            <c:idx val="938"/>
            <c:spPr>
              <a:solidFill>
                <a:srgbClr val="AEABAB"/>
              </a:solidFill>
            </c:spPr>
          </c:dPt>
          <c:dPt>
            <c:idx val="939"/>
            <c:spPr>
              <a:solidFill>
                <a:srgbClr val="AEABAB"/>
              </a:solidFill>
            </c:spPr>
          </c:dPt>
          <c:dPt>
            <c:idx val="940"/>
            <c:spPr>
              <a:solidFill>
                <a:srgbClr val="AEABAB"/>
              </a:solidFill>
            </c:spPr>
          </c:dPt>
          <c:dPt>
            <c:idx val="941"/>
            <c:spPr>
              <a:solidFill>
                <a:srgbClr val="AEABAB"/>
              </a:solidFill>
            </c:spPr>
          </c:dPt>
          <c:dPt>
            <c:idx val="942"/>
            <c:spPr>
              <a:solidFill>
                <a:srgbClr val="AEABAB"/>
              </a:solidFill>
            </c:spPr>
          </c:dPt>
          <c:dPt>
            <c:idx val="943"/>
            <c:spPr>
              <a:solidFill>
                <a:srgbClr val="AEABAB"/>
              </a:solidFill>
            </c:spPr>
          </c:dPt>
          <c:dPt>
            <c:idx val="944"/>
            <c:spPr>
              <a:solidFill>
                <a:srgbClr val="AEABAB"/>
              </a:solidFill>
            </c:spPr>
          </c:dPt>
          <c:dPt>
            <c:idx val="945"/>
            <c:spPr>
              <a:solidFill>
                <a:srgbClr val="AEABAB"/>
              </a:solidFill>
            </c:spPr>
          </c:dPt>
          <c:dPt>
            <c:idx val="946"/>
            <c:spPr>
              <a:solidFill>
                <a:srgbClr val="AEABAB"/>
              </a:solidFill>
            </c:spPr>
          </c:dPt>
          <c:dPt>
            <c:idx val="947"/>
            <c:spPr>
              <a:solidFill>
                <a:srgbClr val="AEABAB"/>
              </a:solidFill>
            </c:spPr>
          </c:dPt>
          <c:dPt>
            <c:idx val="948"/>
            <c:spPr>
              <a:solidFill>
                <a:srgbClr val="AEABAB"/>
              </a:solidFill>
            </c:spPr>
          </c:dPt>
          <c:dPt>
            <c:idx val="949"/>
            <c:spPr>
              <a:solidFill>
                <a:srgbClr val="AEABAB"/>
              </a:solidFill>
            </c:spPr>
          </c:dPt>
          <c:dPt>
            <c:idx val="950"/>
            <c:spPr>
              <a:solidFill>
                <a:srgbClr val="AEABAB"/>
              </a:solidFill>
            </c:spPr>
          </c:dPt>
          <c:dPt>
            <c:idx val="951"/>
            <c:spPr>
              <a:solidFill>
                <a:srgbClr val="AEABAB"/>
              </a:solidFill>
            </c:spPr>
          </c:dPt>
          <c:dPt>
            <c:idx val="952"/>
            <c:spPr>
              <a:solidFill>
                <a:srgbClr val="AEABAB"/>
              </a:solidFill>
            </c:spPr>
          </c:dPt>
          <c:dPt>
            <c:idx val="953"/>
            <c:spPr>
              <a:solidFill>
                <a:srgbClr val="AEABAB"/>
              </a:solidFill>
            </c:spPr>
          </c:dPt>
          <c:dPt>
            <c:idx val="954"/>
            <c:spPr>
              <a:solidFill>
                <a:srgbClr val="AEABAB"/>
              </a:solidFill>
            </c:spPr>
          </c:dPt>
          <c:dPt>
            <c:idx val="955"/>
            <c:spPr>
              <a:solidFill>
                <a:srgbClr val="AEABAB"/>
              </a:solidFill>
            </c:spPr>
          </c:dPt>
          <c:dPt>
            <c:idx val="956"/>
            <c:spPr>
              <a:solidFill>
                <a:srgbClr val="AEABAB"/>
              </a:solidFill>
            </c:spPr>
          </c:dPt>
          <c:dPt>
            <c:idx val="957"/>
            <c:spPr>
              <a:solidFill>
                <a:srgbClr val="AEABAB"/>
              </a:solidFill>
            </c:spPr>
          </c:dPt>
          <c:dPt>
            <c:idx val="958"/>
            <c:spPr>
              <a:solidFill>
                <a:srgbClr val="AEABAB"/>
              </a:solidFill>
            </c:spPr>
          </c:dPt>
          <c:dPt>
            <c:idx val="959"/>
            <c:spPr>
              <a:solidFill>
                <a:srgbClr val="AEABAB"/>
              </a:solidFill>
            </c:spPr>
          </c:dPt>
          <c:dPt>
            <c:idx val="960"/>
            <c:spPr>
              <a:solidFill>
                <a:srgbClr val="AEABAB"/>
              </a:solidFill>
            </c:spPr>
          </c:dPt>
          <c:dPt>
            <c:idx val="961"/>
            <c:spPr>
              <a:solidFill>
                <a:srgbClr val="AEABAB"/>
              </a:solidFill>
            </c:spPr>
          </c:dPt>
          <c:dPt>
            <c:idx val="962"/>
            <c:spPr>
              <a:solidFill>
                <a:srgbClr val="AEABAB"/>
              </a:solidFill>
            </c:spPr>
          </c:dPt>
          <c:dPt>
            <c:idx val="963"/>
            <c:spPr>
              <a:solidFill>
                <a:srgbClr val="AEABAB"/>
              </a:solidFill>
            </c:spPr>
          </c:dPt>
          <c:dPt>
            <c:idx val="964"/>
            <c:spPr>
              <a:solidFill>
                <a:srgbClr val="AEABAB"/>
              </a:solidFill>
            </c:spPr>
          </c:dPt>
          <c:dPt>
            <c:idx val="965"/>
            <c:spPr>
              <a:solidFill>
                <a:srgbClr val="AEABAB"/>
              </a:solidFill>
            </c:spPr>
          </c:dPt>
          <c:dPt>
            <c:idx val="966"/>
            <c:spPr>
              <a:solidFill>
                <a:srgbClr val="AEABAB"/>
              </a:solidFill>
            </c:spPr>
          </c:dPt>
          <c:dPt>
            <c:idx val="967"/>
            <c:spPr>
              <a:solidFill>
                <a:srgbClr val="AEABAB"/>
              </a:solidFill>
            </c:spPr>
          </c:dPt>
          <c:dPt>
            <c:idx val="968"/>
            <c:spPr>
              <a:solidFill>
                <a:srgbClr val="AEABAB"/>
              </a:solidFill>
            </c:spPr>
          </c:dPt>
          <c:dPt>
            <c:idx val="969"/>
            <c:spPr>
              <a:solidFill>
                <a:srgbClr val="AEABAB"/>
              </a:solidFill>
            </c:spPr>
          </c:dPt>
          <c:dPt>
            <c:idx val="970"/>
            <c:spPr>
              <a:solidFill>
                <a:srgbClr val="AEABAB"/>
              </a:solidFill>
            </c:spPr>
          </c:dPt>
          <c:dPt>
            <c:idx val="971"/>
            <c:spPr>
              <a:solidFill>
                <a:srgbClr val="AEABAB"/>
              </a:solidFill>
            </c:spPr>
          </c:dPt>
          <c:dPt>
            <c:idx val="972"/>
            <c:spPr>
              <a:solidFill>
                <a:srgbClr val="AEABAB"/>
              </a:solidFill>
            </c:spPr>
          </c:dPt>
          <c:dPt>
            <c:idx val="973"/>
            <c:spPr>
              <a:solidFill>
                <a:srgbClr val="AEABAB"/>
              </a:solidFill>
            </c:spPr>
          </c:dPt>
          <c:dPt>
            <c:idx val="974"/>
            <c:spPr>
              <a:solidFill>
                <a:srgbClr val="AEABAB"/>
              </a:solidFill>
            </c:spPr>
          </c:dPt>
          <c:dPt>
            <c:idx val="975"/>
            <c:spPr>
              <a:solidFill>
                <a:srgbClr val="AEABAB"/>
              </a:solidFill>
            </c:spPr>
          </c:dPt>
          <c:dPt>
            <c:idx val="976"/>
            <c:spPr>
              <a:solidFill>
                <a:srgbClr val="AEABAB"/>
              </a:solidFill>
            </c:spPr>
          </c:dPt>
          <c:dPt>
            <c:idx val="977"/>
            <c:spPr>
              <a:solidFill>
                <a:srgbClr val="AEABAB"/>
              </a:solidFill>
            </c:spPr>
          </c:dPt>
          <c:dPt>
            <c:idx val="978"/>
            <c:spPr>
              <a:solidFill>
                <a:srgbClr val="AEABAB"/>
              </a:solidFill>
            </c:spPr>
          </c:dPt>
          <c:dPt>
            <c:idx val="979"/>
            <c:spPr>
              <a:solidFill>
                <a:srgbClr val="AEABAB"/>
              </a:solidFill>
            </c:spPr>
          </c:dPt>
          <c:dPt>
            <c:idx val="980"/>
            <c:spPr>
              <a:solidFill>
                <a:srgbClr val="AEABAB"/>
              </a:solidFill>
            </c:spPr>
          </c:dPt>
          <c:dPt>
            <c:idx val="981"/>
            <c:spPr>
              <a:solidFill>
                <a:srgbClr val="AEABAB"/>
              </a:solidFill>
            </c:spPr>
          </c:dPt>
          <c:dPt>
            <c:idx val="982"/>
            <c:spPr>
              <a:solidFill>
                <a:srgbClr val="AEABAB"/>
              </a:solidFill>
            </c:spPr>
          </c:dPt>
          <c:dPt>
            <c:idx val="983"/>
            <c:spPr>
              <a:solidFill>
                <a:srgbClr val="AEABAB"/>
              </a:solidFill>
            </c:spPr>
          </c:dPt>
          <c:dPt>
            <c:idx val="984"/>
            <c:spPr>
              <a:solidFill>
                <a:srgbClr val="AEABAB"/>
              </a:solidFill>
            </c:spPr>
          </c:dPt>
          <c:dPt>
            <c:idx val="985"/>
            <c:spPr>
              <a:solidFill>
                <a:srgbClr val="AEABAB"/>
              </a:solidFill>
            </c:spPr>
          </c:dPt>
          <c:dPt>
            <c:idx val="986"/>
            <c:spPr>
              <a:solidFill>
                <a:srgbClr val="AEABAB"/>
              </a:solidFill>
            </c:spPr>
          </c:dPt>
          <c:dPt>
            <c:idx val="987"/>
            <c:spPr>
              <a:solidFill>
                <a:srgbClr val="AEABAB"/>
              </a:solidFill>
            </c:spPr>
          </c:dPt>
          <c:dPt>
            <c:idx val="988"/>
            <c:spPr>
              <a:solidFill>
                <a:srgbClr val="AEABAB"/>
              </a:solidFill>
            </c:spPr>
          </c:dPt>
          <c:dPt>
            <c:idx val="989"/>
            <c:spPr>
              <a:solidFill>
                <a:srgbClr val="AEABAB"/>
              </a:solidFill>
            </c:spPr>
          </c:dPt>
          <c:dPt>
            <c:idx val="990"/>
            <c:spPr>
              <a:solidFill>
                <a:srgbClr val="AEABAB"/>
              </a:solidFill>
            </c:spPr>
          </c:dPt>
          <c:dPt>
            <c:idx val="991"/>
            <c:spPr>
              <a:solidFill>
                <a:srgbClr val="AEABAB"/>
              </a:solidFill>
            </c:spPr>
          </c:dPt>
          <c:dPt>
            <c:idx val="992"/>
            <c:spPr>
              <a:solidFill>
                <a:srgbClr val="AEABAB"/>
              </a:solidFill>
            </c:spPr>
          </c:dPt>
          <c:dPt>
            <c:idx val="993"/>
            <c:spPr>
              <a:solidFill>
                <a:srgbClr val="AEABAB"/>
              </a:solidFill>
            </c:spPr>
          </c:dPt>
          <c:dPt>
            <c:idx val="994"/>
            <c:spPr>
              <a:solidFill>
                <a:srgbClr val="AEABAB"/>
              </a:solidFill>
            </c:spPr>
          </c:dPt>
          <c:dPt>
            <c:idx val="995"/>
            <c:spPr>
              <a:solidFill>
                <a:srgbClr val="AEABAB"/>
              </a:solidFill>
            </c:spPr>
          </c:dPt>
          <c:dPt>
            <c:idx val="996"/>
            <c:spPr>
              <a:solidFill>
                <a:srgbClr val="AEABAB"/>
              </a:solidFill>
            </c:spPr>
          </c:dPt>
          <c:dPt>
            <c:idx val="997"/>
            <c:spPr>
              <a:solidFill>
                <a:srgbClr val="AEABAB"/>
              </a:solidFill>
            </c:spPr>
          </c:dPt>
          <c:dPt>
            <c:idx val="998"/>
            <c:spPr>
              <a:solidFill>
                <a:srgbClr val="AEABAB"/>
              </a:solidFill>
            </c:spPr>
          </c:dPt>
          <c:dPt>
            <c:idx val="999"/>
            <c:spPr>
              <a:solidFill>
                <a:srgbClr val="AEABAB"/>
              </a:solidFill>
            </c:spPr>
          </c:dPt>
          <c:dPt>
            <c:idx val="1000"/>
            <c:spPr>
              <a:solidFill>
                <a:srgbClr val="AEABAB"/>
              </a:solidFill>
            </c:spPr>
          </c:dPt>
          <c:dPt>
            <c:idx val="1001"/>
            <c:spPr>
              <a:solidFill>
                <a:srgbClr val="AEABAB"/>
              </a:solidFill>
            </c:spPr>
          </c:dPt>
          <c:dPt>
            <c:idx val="1002"/>
            <c:spPr>
              <a:solidFill>
                <a:srgbClr val="AEABAB"/>
              </a:solidFill>
            </c:spPr>
          </c:dPt>
          <c:dPt>
            <c:idx val="1003"/>
            <c:spPr>
              <a:solidFill>
                <a:srgbClr val="AEABAB"/>
              </a:solidFill>
            </c:spPr>
          </c:dPt>
          <c:dPt>
            <c:idx val="1004"/>
            <c:spPr>
              <a:solidFill>
                <a:srgbClr val="AEABAB"/>
              </a:solidFill>
            </c:spPr>
          </c:dPt>
          <c:dPt>
            <c:idx val="1005"/>
            <c:spPr>
              <a:solidFill>
                <a:srgbClr val="AEABAB"/>
              </a:solidFill>
            </c:spPr>
          </c:dPt>
          <c:dPt>
            <c:idx val="1006"/>
            <c:spPr>
              <a:solidFill>
                <a:srgbClr val="AEABAB"/>
              </a:solidFill>
            </c:spPr>
          </c:dPt>
          <c:dPt>
            <c:idx val="1007"/>
            <c:spPr>
              <a:solidFill>
                <a:srgbClr val="AEABAB"/>
              </a:solidFill>
            </c:spPr>
          </c:dPt>
          <c:dPt>
            <c:idx val="1008"/>
            <c:spPr>
              <a:solidFill>
                <a:srgbClr val="AEABAB"/>
              </a:solidFill>
            </c:spPr>
          </c:dPt>
          <c:dPt>
            <c:idx val="1009"/>
            <c:spPr>
              <a:solidFill>
                <a:srgbClr val="AEABAB"/>
              </a:solidFill>
            </c:spPr>
          </c:dPt>
          <c:dPt>
            <c:idx val="1010"/>
            <c:spPr>
              <a:solidFill>
                <a:srgbClr val="AEABAB"/>
              </a:solidFill>
            </c:spPr>
          </c:dPt>
          <c:dPt>
            <c:idx val="1011"/>
            <c:spPr>
              <a:solidFill>
                <a:srgbClr val="AEABAB"/>
              </a:solidFill>
            </c:spPr>
          </c:dPt>
          <c:dPt>
            <c:idx val="1012"/>
            <c:spPr>
              <a:solidFill>
                <a:srgbClr val="AEABAB"/>
              </a:solidFill>
            </c:spPr>
          </c:dPt>
          <c:dPt>
            <c:idx val="1013"/>
            <c:spPr>
              <a:solidFill>
                <a:srgbClr val="AEABAB"/>
              </a:solidFill>
            </c:spPr>
          </c:dPt>
          <c:dPt>
            <c:idx val="1014"/>
            <c:spPr>
              <a:solidFill>
                <a:srgbClr val="AEABAB"/>
              </a:solidFill>
            </c:spPr>
          </c:dPt>
          <c:dPt>
            <c:idx val="1015"/>
            <c:spPr>
              <a:solidFill>
                <a:srgbClr val="AEABAB"/>
              </a:solidFill>
            </c:spPr>
          </c:dPt>
          <c:dPt>
            <c:idx val="1016"/>
            <c:spPr>
              <a:solidFill>
                <a:srgbClr val="AEABAB"/>
              </a:solidFill>
            </c:spPr>
          </c:dPt>
          <c:dPt>
            <c:idx val="1017"/>
            <c:spPr>
              <a:solidFill>
                <a:srgbClr val="AEABAB"/>
              </a:solidFill>
            </c:spPr>
          </c:dPt>
          <c:dPt>
            <c:idx val="1018"/>
            <c:spPr>
              <a:solidFill>
                <a:srgbClr val="AEABAB"/>
              </a:solidFill>
            </c:spPr>
          </c:dPt>
          <c:dPt>
            <c:idx val="1019"/>
            <c:spPr>
              <a:solidFill>
                <a:srgbClr val="AEABAB"/>
              </a:solidFill>
            </c:spPr>
          </c:dPt>
          <c:dPt>
            <c:idx val="1020"/>
            <c:spPr>
              <a:solidFill>
                <a:srgbClr val="AEABAB"/>
              </a:solidFill>
            </c:spPr>
          </c:dPt>
          <c:dPt>
            <c:idx val="1021"/>
            <c:spPr>
              <a:solidFill>
                <a:srgbClr val="AEABAB"/>
              </a:solidFill>
            </c:spPr>
          </c:dPt>
          <c:dPt>
            <c:idx val="1022"/>
            <c:spPr>
              <a:solidFill>
                <a:srgbClr val="AEABAB"/>
              </a:solidFill>
            </c:spPr>
          </c:dPt>
          <c:dPt>
            <c:idx val="1023"/>
            <c:spPr>
              <a:solidFill>
                <a:srgbClr val="AEABAB"/>
              </a:solidFill>
            </c:spPr>
          </c:dPt>
          <c:dPt>
            <c:idx val="1024"/>
            <c:spPr>
              <a:solidFill>
                <a:srgbClr val="AEABAB"/>
              </a:solidFill>
            </c:spPr>
          </c:dPt>
          <c:dPt>
            <c:idx val="1025"/>
            <c:spPr>
              <a:solidFill>
                <a:srgbClr val="AEABAB"/>
              </a:solidFill>
            </c:spPr>
          </c:dPt>
          <c:dPt>
            <c:idx val="1026"/>
            <c:spPr>
              <a:solidFill>
                <a:srgbClr val="AEABAB"/>
              </a:solidFill>
            </c:spPr>
          </c:dPt>
          <c:dPt>
            <c:idx val="1027"/>
            <c:spPr>
              <a:solidFill>
                <a:srgbClr val="AEABAB"/>
              </a:solidFill>
            </c:spPr>
          </c:dPt>
          <c:dPt>
            <c:idx val="1028"/>
            <c:spPr>
              <a:solidFill>
                <a:srgbClr val="AEABAB"/>
              </a:solidFill>
            </c:spPr>
          </c:dPt>
          <c:dPt>
            <c:idx val="1029"/>
            <c:spPr>
              <a:solidFill>
                <a:srgbClr val="AEABAB"/>
              </a:solidFill>
            </c:spPr>
          </c:dPt>
          <c:dPt>
            <c:idx val="1030"/>
            <c:spPr>
              <a:solidFill>
                <a:srgbClr val="AEABAB"/>
              </a:solidFill>
            </c:spPr>
          </c:dPt>
          <c:dPt>
            <c:idx val="1031"/>
            <c:spPr>
              <a:solidFill>
                <a:srgbClr val="AEABAB"/>
              </a:solidFill>
            </c:spPr>
          </c:dPt>
          <c:dPt>
            <c:idx val="1032"/>
            <c:spPr>
              <a:solidFill>
                <a:srgbClr val="AEABAB"/>
              </a:solidFill>
            </c:spPr>
          </c:dPt>
          <c:dPt>
            <c:idx val="1033"/>
            <c:spPr>
              <a:solidFill>
                <a:srgbClr val="AEABAB"/>
              </a:solidFill>
            </c:spPr>
          </c:dPt>
          <c:dPt>
            <c:idx val="1034"/>
            <c:spPr>
              <a:solidFill>
                <a:srgbClr val="AEABAB"/>
              </a:solidFill>
            </c:spPr>
          </c:dPt>
          <c:dPt>
            <c:idx val="1035"/>
            <c:spPr>
              <a:solidFill>
                <a:srgbClr val="AEABAB"/>
              </a:solidFill>
            </c:spPr>
          </c:dPt>
          <c:dPt>
            <c:idx val="1036"/>
            <c:spPr>
              <a:solidFill>
                <a:srgbClr val="AEABAB"/>
              </a:solidFill>
            </c:spPr>
          </c:dPt>
          <c:dPt>
            <c:idx val="1037"/>
            <c:spPr>
              <a:solidFill>
                <a:srgbClr val="AEABAB"/>
              </a:solidFill>
            </c:spPr>
          </c:dPt>
          <c:dPt>
            <c:idx val="1038"/>
            <c:spPr>
              <a:solidFill>
                <a:srgbClr val="AEABAB"/>
              </a:solidFill>
            </c:spPr>
          </c:dPt>
          <c:dPt>
            <c:idx val="1039"/>
            <c:spPr>
              <a:solidFill>
                <a:srgbClr val="AEABAB"/>
              </a:solidFill>
            </c:spPr>
          </c:dPt>
          <c:dPt>
            <c:idx val="1040"/>
            <c:spPr>
              <a:solidFill>
                <a:srgbClr val="AEABAB"/>
              </a:solidFill>
            </c:spPr>
          </c:dPt>
          <c:dPt>
            <c:idx val="1041"/>
            <c:spPr>
              <a:solidFill>
                <a:srgbClr val="AEABAB"/>
              </a:solidFill>
            </c:spPr>
          </c:dPt>
          <c:dPt>
            <c:idx val="1042"/>
            <c:spPr>
              <a:solidFill>
                <a:srgbClr val="AEABAB"/>
              </a:solidFill>
            </c:spPr>
          </c:dPt>
          <c:dPt>
            <c:idx val="1043"/>
            <c:spPr>
              <a:solidFill>
                <a:srgbClr val="AEABAB"/>
              </a:solidFill>
            </c:spPr>
          </c:dPt>
          <c:dPt>
            <c:idx val="1044"/>
            <c:spPr>
              <a:solidFill>
                <a:srgbClr val="AEABAB"/>
              </a:solidFill>
            </c:spPr>
          </c:dPt>
          <c:dPt>
            <c:idx val="1045"/>
            <c:spPr>
              <a:solidFill>
                <a:srgbClr val="AEABAB"/>
              </a:solidFill>
            </c:spPr>
          </c:dPt>
          <c:dPt>
            <c:idx val="1046"/>
            <c:spPr>
              <a:solidFill>
                <a:srgbClr val="AEABAB"/>
              </a:solidFill>
            </c:spPr>
          </c:dPt>
          <c:dPt>
            <c:idx val="1047"/>
            <c:spPr>
              <a:solidFill>
                <a:srgbClr val="AEABAB"/>
              </a:solidFill>
            </c:spPr>
          </c:dPt>
          <c:dPt>
            <c:idx val="1048"/>
            <c:spPr>
              <a:solidFill>
                <a:srgbClr val="AEABAB"/>
              </a:solidFill>
            </c:spPr>
          </c:dPt>
          <c:dPt>
            <c:idx val="1049"/>
            <c:spPr>
              <a:solidFill>
                <a:srgbClr val="AEABAB"/>
              </a:solidFill>
            </c:spPr>
          </c:dPt>
          <c:dPt>
            <c:idx val="1050"/>
            <c:spPr>
              <a:solidFill>
                <a:srgbClr val="AEABAB"/>
              </a:solidFill>
            </c:spPr>
          </c:dPt>
          <c:dPt>
            <c:idx val="1051"/>
            <c:spPr>
              <a:solidFill>
                <a:srgbClr val="AEABAB"/>
              </a:solidFill>
            </c:spPr>
          </c:dPt>
          <c:dPt>
            <c:idx val="1052"/>
            <c:spPr>
              <a:solidFill>
                <a:srgbClr val="AEABAB"/>
              </a:solidFill>
            </c:spPr>
          </c:dPt>
          <c:dPt>
            <c:idx val="1053"/>
            <c:spPr>
              <a:solidFill>
                <a:srgbClr val="AEABAB"/>
              </a:solidFill>
            </c:spPr>
          </c:dPt>
          <c:dPt>
            <c:idx val="1054"/>
            <c:spPr>
              <a:solidFill>
                <a:srgbClr val="AEABAB"/>
              </a:solidFill>
            </c:spPr>
          </c:dPt>
          <c:dPt>
            <c:idx val="1055"/>
            <c:spPr>
              <a:solidFill>
                <a:srgbClr val="AEABAB"/>
              </a:solidFill>
            </c:spPr>
          </c:dPt>
          <c:dPt>
            <c:idx val="1056"/>
            <c:spPr>
              <a:solidFill>
                <a:srgbClr val="AEABAB"/>
              </a:solidFill>
            </c:spPr>
          </c:dPt>
          <c:dPt>
            <c:idx val="1057"/>
            <c:spPr>
              <a:solidFill>
                <a:srgbClr val="AEABAB"/>
              </a:solidFill>
            </c:spPr>
          </c:dPt>
          <c:dPt>
            <c:idx val="1058"/>
            <c:spPr>
              <a:solidFill>
                <a:srgbClr val="AEABAB"/>
              </a:solidFill>
            </c:spPr>
          </c:dPt>
          <c:dPt>
            <c:idx val="1059"/>
            <c:spPr>
              <a:solidFill>
                <a:srgbClr val="AEABAB"/>
              </a:solidFill>
            </c:spPr>
          </c:dPt>
          <c:dPt>
            <c:idx val="1060"/>
            <c:spPr>
              <a:solidFill>
                <a:srgbClr val="AEABAB"/>
              </a:solidFill>
            </c:spPr>
          </c:dPt>
          <c:dPt>
            <c:idx val="1061"/>
            <c:spPr>
              <a:solidFill>
                <a:srgbClr val="AEABAB"/>
              </a:solidFill>
            </c:spPr>
          </c:dPt>
          <c:dPt>
            <c:idx val="1062"/>
            <c:spPr>
              <a:solidFill>
                <a:srgbClr val="AEABAB"/>
              </a:solidFill>
            </c:spPr>
          </c:dPt>
          <c:dPt>
            <c:idx val="1063"/>
            <c:spPr>
              <a:solidFill>
                <a:srgbClr val="AEABAB"/>
              </a:solidFill>
            </c:spPr>
          </c:dPt>
          <c:dPt>
            <c:idx val="1064"/>
            <c:spPr>
              <a:solidFill>
                <a:srgbClr val="AEABAB"/>
              </a:solidFill>
            </c:spPr>
          </c:dPt>
          <c:dPt>
            <c:idx val="1065"/>
            <c:spPr>
              <a:solidFill>
                <a:srgbClr val="AEABAB"/>
              </a:solidFill>
            </c:spPr>
          </c:dPt>
          <c:dPt>
            <c:idx val="1066"/>
            <c:spPr>
              <a:solidFill>
                <a:srgbClr val="AEABAB"/>
              </a:solidFill>
            </c:spPr>
          </c:dPt>
          <c:dPt>
            <c:idx val="1067"/>
            <c:spPr>
              <a:solidFill>
                <a:srgbClr val="AEABAB"/>
              </a:solidFill>
            </c:spPr>
          </c:dPt>
          <c:dPt>
            <c:idx val="1068"/>
            <c:spPr>
              <a:solidFill>
                <a:srgbClr val="AEABAB"/>
              </a:solidFill>
            </c:spPr>
          </c:dPt>
          <c:dPt>
            <c:idx val="1069"/>
            <c:spPr>
              <a:solidFill>
                <a:srgbClr val="AEABAB"/>
              </a:solidFill>
            </c:spPr>
          </c:dPt>
          <c:dPt>
            <c:idx val="1070"/>
            <c:spPr>
              <a:solidFill>
                <a:srgbClr val="AEABAB"/>
              </a:solidFill>
            </c:spPr>
          </c:dPt>
          <c:dPt>
            <c:idx val="1071"/>
            <c:spPr>
              <a:solidFill>
                <a:srgbClr val="AEABAB"/>
              </a:solidFill>
            </c:spPr>
          </c:dPt>
          <c:dPt>
            <c:idx val="1072"/>
            <c:spPr>
              <a:solidFill>
                <a:srgbClr val="AEABAB"/>
              </a:solidFill>
            </c:spPr>
          </c:dPt>
          <c:dPt>
            <c:idx val="1073"/>
            <c:spPr>
              <a:solidFill>
                <a:srgbClr val="AEABAB"/>
              </a:solidFill>
            </c:spPr>
          </c:dPt>
          <c:dPt>
            <c:idx val="1074"/>
            <c:spPr>
              <a:solidFill>
                <a:srgbClr val="AEABAB"/>
              </a:solidFill>
            </c:spPr>
          </c:dPt>
          <c:dPt>
            <c:idx val="1075"/>
            <c:spPr>
              <a:solidFill>
                <a:srgbClr val="AEABAB"/>
              </a:solidFill>
            </c:spPr>
          </c:dPt>
          <c:dPt>
            <c:idx val="1076"/>
            <c:spPr>
              <a:solidFill>
                <a:srgbClr val="AEABAB"/>
              </a:solidFill>
            </c:spPr>
          </c:dPt>
          <c:dPt>
            <c:idx val="1077"/>
            <c:spPr>
              <a:solidFill>
                <a:srgbClr val="AEABAB"/>
              </a:solidFill>
            </c:spPr>
          </c:dPt>
          <c:dPt>
            <c:idx val="1078"/>
            <c:spPr>
              <a:solidFill>
                <a:srgbClr val="AEABAB"/>
              </a:solidFill>
            </c:spPr>
          </c:dPt>
          <c:dPt>
            <c:idx val="1079"/>
            <c:spPr>
              <a:solidFill>
                <a:srgbClr val="AEABAB"/>
              </a:solidFill>
            </c:spPr>
          </c:dPt>
          <c:dPt>
            <c:idx val="1080"/>
            <c:spPr>
              <a:solidFill>
                <a:srgbClr val="AEABAB"/>
              </a:solidFill>
            </c:spPr>
          </c:dPt>
          <c:dPt>
            <c:idx val="1081"/>
            <c:spPr>
              <a:solidFill>
                <a:srgbClr val="AEABAB"/>
              </a:solidFill>
            </c:spPr>
          </c:dPt>
          <c:dPt>
            <c:idx val="1082"/>
            <c:spPr>
              <a:solidFill>
                <a:srgbClr val="AEABAB"/>
              </a:solidFill>
            </c:spPr>
          </c:dPt>
          <c:dPt>
            <c:idx val="1083"/>
            <c:spPr>
              <a:solidFill>
                <a:srgbClr val="AEABAB"/>
              </a:solidFill>
            </c:spPr>
          </c:dPt>
          <c:dPt>
            <c:idx val="1084"/>
            <c:spPr>
              <a:solidFill>
                <a:srgbClr val="AEABAB"/>
              </a:solidFill>
            </c:spPr>
          </c:dPt>
          <c:dPt>
            <c:idx val="1085"/>
            <c:spPr>
              <a:solidFill>
                <a:srgbClr val="AEABAB"/>
              </a:solidFill>
            </c:spPr>
          </c:dPt>
          <c:dPt>
            <c:idx val="1086"/>
            <c:spPr>
              <a:solidFill>
                <a:srgbClr val="AEABAB"/>
              </a:solidFill>
            </c:spPr>
          </c:dPt>
          <c:dPt>
            <c:idx val="1087"/>
            <c:spPr>
              <a:solidFill>
                <a:srgbClr val="AEABAB"/>
              </a:solidFill>
            </c:spPr>
          </c:dPt>
          <c:dPt>
            <c:idx val="1088"/>
            <c:spPr>
              <a:solidFill>
                <a:srgbClr val="AEABAB"/>
              </a:solidFill>
            </c:spPr>
          </c:dPt>
          <c:dPt>
            <c:idx val="1089"/>
            <c:spPr>
              <a:solidFill>
                <a:srgbClr val="AEABAB"/>
              </a:solidFill>
            </c:spPr>
          </c:dPt>
          <c:dPt>
            <c:idx val="1090"/>
            <c:spPr>
              <a:solidFill>
                <a:srgbClr val="AEABAB"/>
              </a:solidFill>
            </c:spPr>
          </c:dPt>
          <c:dPt>
            <c:idx val="1091"/>
            <c:spPr>
              <a:solidFill>
                <a:srgbClr val="AEABAB"/>
              </a:solidFill>
            </c:spPr>
          </c:dPt>
          <c:dPt>
            <c:idx val="1092"/>
            <c:spPr>
              <a:solidFill>
                <a:srgbClr val="AEABAB"/>
              </a:solidFill>
            </c:spPr>
          </c:dPt>
          <c:dPt>
            <c:idx val="1093"/>
            <c:spPr>
              <a:solidFill>
                <a:srgbClr val="AEABAB"/>
              </a:solidFill>
            </c:spPr>
          </c:dPt>
          <c:dPt>
            <c:idx val="1094"/>
            <c:spPr>
              <a:solidFill>
                <a:srgbClr val="AEABAB"/>
              </a:solidFill>
            </c:spPr>
          </c:dPt>
          <c:dPt>
            <c:idx val="1095"/>
            <c:spPr>
              <a:solidFill>
                <a:srgbClr val="AEABAB"/>
              </a:solidFill>
            </c:spPr>
          </c:dPt>
          <c:dPt>
            <c:idx val="1096"/>
            <c:spPr>
              <a:solidFill>
                <a:srgbClr val="AEABAB"/>
              </a:solidFill>
            </c:spPr>
          </c:dPt>
          <c:dPt>
            <c:idx val="1097"/>
            <c:spPr>
              <a:solidFill>
                <a:srgbClr val="AEABAB"/>
              </a:solidFill>
            </c:spPr>
          </c:dPt>
          <c:dPt>
            <c:idx val="1098"/>
            <c:spPr>
              <a:solidFill>
                <a:srgbClr val="AEABAB"/>
              </a:solidFill>
            </c:spPr>
          </c:dPt>
          <c:dPt>
            <c:idx val="1099"/>
            <c:spPr>
              <a:solidFill>
                <a:srgbClr val="AEABAB"/>
              </a:solidFill>
            </c:spPr>
          </c:dPt>
          <c:dPt>
            <c:idx val="1100"/>
            <c:spPr>
              <a:solidFill>
                <a:srgbClr val="AEABAB"/>
              </a:solidFill>
            </c:spPr>
          </c:dPt>
          <c:dPt>
            <c:idx val="1101"/>
            <c:spPr>
              <a:solidFill>
                <a:srgbClr val="AEABAB"/>
              </a:solidFill>
            </c:spPr>
          </c:dPt>
          <c:dPt>
            <c:idx val="1102"/>
            <c:spPr>
              <a:solidFill>
                <a:srgbClr val="AEABAB"/>
              </a:solidFill>
            </c:spPr>
          </c:dPt>
          <c:dPt>
            <c:idx val="1103"/>
            <c:spPr>
              <a:solidFill>
                <a:srgbClr val="AEABAB"/>
              </a:solidFill>
            </c:spPr>
          </c:dPt>
          <c:dPt>
            <c:idx val="1104"/>
            <c:spPr>
              <a:solidFill>
                <a:srgbClr val="AEABAB"/>
              </a:solidFill>
            </c:spPr>
          </c:dPt>
          <c:dPt>
            <c:idx val="1105"/>
            <c:spPr>
              <a:solidFill>
                <a:srgbClr val="AEABAB"/>
              </a:solidFill>
            </c:spPr>
          </c:dPt>
          <c:dPt>
            <c:idx val="1106"/>
            <c:spPr>
              <a:solidFill>
                <a:srgbClr val="AEABAB"/>
              </a:solidFill>
            </c:spPr>
          </c:dPt>
          <c:dPt>
            <c:idx val="1107"/>
            <c:spPr>
              <a:solidFill>
                <a:srgbClr val="AEABAB"/>
              </a:solidFill>
            </c:spPr>
          </c:dPt>
          <c:dPt>
            <c:idx val="1108"/>
            <c:spPr>
              <a:solidFill>
                <a:srgbClr val="AEABAB"/>
              </a:solidFill>
            </c:spPr>
          </c:dPt>
          <c:dPt>
            <c:idx val="1109"/>
            <c:spPr>
              <a:solidFill>
                <a:srgbClr val="AEABAB"/>
              </a:solidFill>
            </c:spPr>
          </c:dPt>
          <c:dPt>
            <c:idx val="1110"/>
            <c:spPr>
              <a:solidFill>
                <a:srgbClr val="AEABAB"/>
              </a:solidFill>
            </c:spPr>
          </c:dPt>
          <c:dPt>
            <c:idx val="1111"/>
            <c:spPr>
              <a:solidFill>
                <a:srgbClr val="AEABAB"/>
              </a:solidFill>
            </c:spPr>
          </c:dPt>
          <c:dPt>
            <c:idx val="1112"/>
            <c:spPr>
              <a:solidFill>
                <a:srgbClr val="AEABAB"/>
              </a:solidFill>
            </c:spPr>
          </c:dPt>
          <c:dPt>
            <c:idx val="1113"/>
            <c:spPr>
              <a:solidFill>
                <a:srgbClr val="AEABAB"/>
              </a:solidFill>
            </c:spPr>
          </c:dPt>
          <c:dPt>
            <c:idx val="1114"/>
            <c:spPr>
              <a:solidFill>
                <a:srgbClr val="AEABAB"/>
              </a:solidFill>
            </c:spPr>
          </c:dPt>
          <c:dPt>
            <c:idx val="1115"/>
            <c:spPr>
              <a:solidFill>
                <a:srgbClr val="AEABAB"/>
              </a:solidFill>
            </c:spPr>
          </c:dPt>
          <c:dPt>
            <c:idx val="1116"/>
            <c:spPr>
              <a:solidFill>
                <a:srgbClr val="AEABAB"/>
              </a:solidFill>
            </c:spPr>
          </c:dPt>
          <c:dPt>
            <c:idx val="1117"/>
            <c:spPr>
              <a:solidFill>
                <a:srgbClr val="AEABAB"/>
              </a:solidFill>
            </c:spPr>
          </c:dPt>
          <c:dPt>
            <c:idx val="1118"/>
            <c:spPr>
              <a:solidFill>
                <a:srgbClr val="AEABAB"/>
              </a:solidFill>
            </c:spPr>
          </c:dPt>
          <c:dPt>
            <c:idx val="1119"/>
            <c:spPr>
              <a:solidFill>
                <a:srgbClr val="AEABAB"/>
              </a:solidFill>
            </c:spPr>
          </c:dPt>
          <c:dPt>
            <c:idx val="1120"/>
            <c:spPr>
              <a:solidFill>
                <a:srgbClr val="AEABAB"/>
              </a:solidFill>
            </c:spPr>
          </c:dPt>
          <c:dPt>
            <c:idx val="1121"/>
            <c:spPr>
              <a:solidFill>
                <a:srgbClr val="AEABAB"/>
              </a:solidFill>
            </c:spPr>
          </c:dPt>
          <c:dPt>
            <c:idx val="1122"/>
            <c:spPr>
              <a:solidFill>
                <a:srgbClr val="AEABAB"/>
              </a:solidFill>
            </c:spPr>
          </c:dPt>
          <c:dPt>
            <c:idx val="1123"/>
            <c:spPr>
              <a:solidFill>
                <a:srgbClr val="AEABAB"/>
              </a:solidFill>
            </c:spPr>
          </c:dPt>
          <c:dPt>
            <c:idx val="1124"/>
            <c:spPr>
              <a:solidFill>
                <a:srgbClr val="AEABAB"/>
              </a:solidFill>
            </c:spPr>
          </c:dPt>
          <c:dPt>
            <c:idx val="1125"/>
            <c:spPr>
              <a:solidFill>
                <a:srgbClr val="AEABAB"/>
              </a:solidFill>
            </c:spPr>
          </c:dPt>
          <c:dPt>
            <c:idx val="1126"/>
            <c:spPr>
              <a:solidFill>
                <a:srgbClr val="AEABAB"/>
              </a:solidFill>
            </c:spPr>
          </c:dPt>
          <c:dPt>
            <c:idx val="1127"/>
            <c:spPr>
              <a:solidFill>
                <a:srgbClr val="AEABAB"/>
              </a:solidFill>
            </c:spPr>
          </c:dPt>
          <c:dPt>
            <c:idx val="1128"/>
            <c:spPr>
              <a:solidFill>
                <a:srgbClr val="AEABAB"/>
              </a:solidFill>
            </c:spPr>
          </c:dPt>
          <c:dPt>
            <c:idx val="1129"/>
            <c:spPr>
              <a:solidFill>
                <a:srgbClr val="AEABAB"/>
              </a:solidFill>
            </c:spPr>
          </c:dPt>
          <c:dPt>
            <c:idx val="1130"/>
            <c:spPr>
              <a:solidFill>
                <a:srgbClr val="AEABAB"/>
              </a:solidFill>
            </c:spPr>
          </c:dPt>
          <c:dPt>
            <c:idx val="1131"/>
            <c:spPr>
              <a:solidFill>
                <a:srgbClr val="AEABAB"/>
              </a:solidFill>
            </c:spPr>
          </c:dPt>
          <c:dPt>
            <c:idx val="1132"/>
            <c:spPr>
              <a:solidFill>
                <a:srgbClr val="AEABAB"/>
              </a:solidFill>
            </c:spPr>
          </c:dPt>
          <c:dPt>
            <c:idx val="1133"/>
            <c:spPr>
              <a:solidFill>
                <a:srgbClr val="AEABAB"/>
              </a:solidFill>
            </c:spPr>
          </c:dPt>
          <c:dPt>
            <c:idx val="1134"/>
            <c:spPr>
              <a:solidFill>
                <a:srgbClr val="AEABAB"/>
              </a:solidFill>
            </c:spPr>
          </c:dPt>
          <c:dPt>
            <c:idx val="1135"/>
            <c:spPr>
              <a:solidFill>
                <a:srgbClr val="AEABAB"/>
              </a:solidFill>
            </c:spPr>
          </c:dPt>
          <c:dPt>
            <c:idx val="1136"/>
            <c:spPr>
              <a:solidFill>
                <a:srgbClr val="AEABAB"/>
              </a:solidFill>
            </c:spPr>
          </c:dPt>
          <c:dPt>
            <c:idx val="1137"/>
            <c:spPr>
              <a:solidFill>
                <a:srgbClr val="AEABAB"/>
              </a:solidFill>
            </c:spPr>
          </c:dPt>
          <c:dPt>
            <c:idx val="1138"/>
            <c:spPr>
              <a:solidFill>
                <a:srgbClr val="AEABAB"/>
              </a:solidFill>
            </c:spPr>
          </c:dPt>
          <c:dPt>
            <c:idx val="1139"/>
            <c:spPr>
              <a:solidFill>
                <a:srgbClr val="AEABAB"/>
              </a:solidFill>
            </c:spPr>
          </c:dPt>
          <c:dPt>
            <c:idx val="1140"/>
            <c:spPr>
              <a:solidFill>
                <a:srgbClr val="AEABAB"/>
              </a:solidFill>
            </c:spPr>
          </c:dPt>
          <c:dPt>
            <c:idx val="1141"/>
            <c:spPr>
              <a:solidFill>
                <a:srgbClr val="AEABAB"/>
              </a:solidFill>
            </c:spPr>
          </c:dPt>
          <c:dPt>
            <c:idx val="1142"/>
            <c:spPr>
              <a:solidFill>
                <a:srgbClr val="AEABAB"/>
              </a:solidFill>
            </c:spPr>
          </c:dPt>
          <c:dPt>
            <c:idx val="1143"/>
            <c:spPr>
              <a:solidFill>
                <a:srgbClr val="AEABAB"/>
              </a:solidFill>
            </c:spPr>
          </c:dPt>
          <c:dPt>
            <c:idx val="1144"/>
            <c:spPr>
              <a:solidFill>
                <a:srgbClr val="AEABAB"/>
              </a:solidFill>
            </c:spPr>
          </c:dPt>
          <c:dPt>
            <c:idx val="1145"/>
            <c:spPr>
              <a:solidFill>
                <a:srgbClr val="AEABAB"/>
              </a:solidFill>
            </c:spPr>
          </c:dPt>
          <c:dPt>
            <c:idx val="1146"/>
            <c:spPr>
              <a:solidFill>
                <a:srgbClr val="AEABAB"/>
              </a:solidFill>
            </c:spPr>
          </c:dPt>
          <c:dPt>
            <c:idx val="1147"/>
            <c:spPr>
              <a:solidFill>
                <a:srgbClr val="AEABAB"/>
              </a:solidFill>
            </c:spPr>
          </c:dPt>
          <c:dPt>
            <c:idx val="1148"/>
            <c:spPr>
              <a:solidFill>
                <a:srgbClr val="AEABAB"/>
              </a:solidFill>
            </c:spPr>
          </c:dPt>
          <c:dPt>
            <c:idx val="1149"/>
            <c:spPr>
              <a:solidFill>
                <a:srgbClr val="AEABAB"/>
              </a:solidFill>
            </c:spPr>
          </c:dPt>
          <c:dPt>
            <c:idx val="1150"/>
            <c:spPr>
              <a:solidFill>
                <a:srgbClr val="AEABAB"/>
              </a:solidFill>
            </c:spPr>
          </c:dPt>
          <c:dPt>
            <c:idx val="1151"/>
            <c:spPr>
              <a:solidFill>
                <a:srgbClr val="AEABAB"/>
              </a:solidFill>
            </c:spPr>
          </c:dPt>
          <c:dPt>
            <c:idx val="1152"/>
            <c:spPr>
              <a:solidFill>
                <a:srgbClr val="AEABAB"/>
              </a:solidFill>
            </c:spPr>
          </c:dPt>
          <c:dPt>
            <c:idx val="1153"/>
            <c:spPr>
              <a:solidFill>
                <a:srgbClr val="AEABAB"/>
              </a:solidFill>
            </c:spPr>
          </c:dPt>
          <c:dPt>
            <c:idx val="1154"/>
            <c:spPr>
              <a:solidFill>
                <a:srgbClr val="AEABAB"/>
              </a:solidFill>
            </c:spPr>
          </c:dPt>
          <c:dPt>
            <c:idx val="1155"/>
            <c:spPr>
              <a:solidFill>
                <a:srgbClr val="AEABAB"/>
              </a:solidFill>
            </c:spPr>
          </c:dPt>
          <c:dPt>
            <c:idx val="1156"/>
            <c:spPr>
              <a:solidFill>
                <a:srgbClr val="AEABAB"/>
              </a:solidFill>
            </c:spPr>
          </c:dPt>
          <c:dPt>
            <c:idx val="1157"/>
            <c:spPr>
              <a:solidFill>
                <a:srgbClr val="AEABAB"/>
              </a:solidFill>
            </c:spPr>
          </c:dPt>
          <c:dPt>
            <c:idx val="1158"/>
            <c:spPr>
              <a:solidFill>
                <a:srgbClr val="AEABAB"/>
              </a:solidFill>
            </c:spPr>
          </c:dPt>
          <c:dPt>
            <c:idx val="1159"/>
            <c:spPr>
              <a:solidFill>
                <a:srgbClr val="AEABAB"/>
              </a:solidFill>
            </c:spPr>
          </c:dPt>
          <c:dPt>
            <c:idx val="1160"/>
            <c:spPr>
              <a:solidFill>
                <a:srgbClr val="AEABAB"/>
              </a:solidFill>
            </c:spPr>
          </c:dPt>
          <c:dPt>
            <c:idx val="1161"/>
            <c:spPr>
              <a:solidFill>
                <a:srgbClr val="AEABAB"/>
              </a:solidFill>
            </c:spPr>
          </c:dPt>
          <c:dPt>
            <c:idx val="1162"/>
            <c:spPr>
              <a:solidFill>
                <a:srgbClr val="AEABAB"/>
              </a:solidFill>
            </c:spPr>
          </c:dPt>
          <c:dPt>
            <c:idx val="1163"/>
            <c:spPr>
              <a:solidFill>
                <a:srgbClr val="AEABAB"/>
              </a:solidFill>
            </c:spPr>
          </c:dPt>
          <c:dPt>
            <c:idx val="1164"/>
            <c:spPr>
              <a:solidFill>
                <a:srgbClr val="AEABAB"/>
              </a:solidFill>
            </c:spPr>
          </c:dPt>
          <c:dPt>
            <c:idx val="1165"/>
            <c:spPr>
              <a:solidFill>
                <a:srgbClr val="AEABAB"/>
              </a:solidFill>
            </c:spPr>
          </c:dPt>
          <c:dPt>
            <c:idx val="1166"/>
            <c:spPr>
              <a:solidFill>
                <a:srgbClr val="AEABAB"/>
              </a:solidFill>
            </c:spPr>
          </c:dPt>
          <c:dPt>
            <c:idx val="1167"/>
            <c:spPr>
              <a:solidFill>
                <a:srgbClr val="AEABAB"/>
              </a:solidFill>
            </c:spPr>
          </c:dPt>
          <c:dPt>
            <c:idx val="1168"/>
            <c:spPr>
              <a:solidFill>
                <a:srgbClr val="AEABAB"/>
              </a:solidFill>
            </c:spPr>
          </c:dPt>
          <c:dPt>
            <c:idx val="1169"/>
            <c:spPr>
              <a:solidFill>
                <a:srgbClr val="AEABAB"/>
              </a:solidFill>
            </c:spPr>
          </c:dPt>
          <c:dPt>
            <c:idx val="1170"/>
            <c:spPr>
              <a:solidFill>
                <a:srgbClr val="AEABAB"/>
              </a:solidFill>
            </c:spPr>
          </c:dPt>
          <c:dPt>
            <c:idx val="1171"/>
            <c:spPr>
              <a:solidFill>
                <a:srgbClr val="AEABAB"/>
              </a:solidFill>
            </c:spPr>
          </c:dPt>
          <c:dPt>
            <c:idx val="1172"/>
            <c:spPr>
              <a:solidFill>
                <a:srgbClr val="AEABAB"/>
              </a:solidFill>
            </c:spPr>
          </c:dPt>
          <c:dPt>
            <c:idx val="1173"/>
            <c:spPr>
              <a:solidFill>
                <a:srgbClr val="AEABAB"/>
              </a:solidFill>
            </c:spPr>
          </c:dPt>
          <c:dPt>
            <c:idx val="1174"/>
            <c:spPr>
              <a:solidFill>
                <a:srgbClr val="AEABAB"/>
              </a:solidFill>
            </c:spPr>
          </c:dPt>
          <c:dPt>
            <c:idx val="1175"/>
            <c:spPr>
              <a:solidFill>
                <a:srgbClr val="AEABAB"/>
              </a:solidFill>
            </c:spPr>
          </c:dPt>
          <c:dPt>
            <c:idx val="1176"/>
            <c:spPr>
              <a:solidFill>
                <a:srgbClr val="AEABAB"/>
              </a:solidFill>
            </c:spPr>
          </c:dPt>
          <c:dPt>
            <c:idx val="1177"/>
            <c:spPr>
              <a:solidFill>
                <a:srgbClr val="AEABAB"/>
              </a:solidFill>
            </c:spPr>
          </c:dPt>
          <c:dPt>
            <c:idx val="1178"/>
            <c:spPr>
              <a:solidFill>
                <a:srgbClr val="AEABAB"/>
              </a:solidFill>
            </c:spPr>
          </c:dPt>
          <c:dPt>
            <c:idx val="1179"/>
            <c:spPr>
              <a:solidFill>
                <a:srgbClr val="AEABAB"/>
              </a:solidFill>
            </c:spPr>
          </c:dPt>
          <c:dPt>
            <c:idx val="1180"/>
            <c:spPr>
              <a:solidFill>
                <a:srgbClr val="AEABAB"/>
              </a:solidFill>
            </c:spPr>
          </c:dPt>
          <c:dPt>
            <c:idx val="1181"/>
            <c:spPr>
              <a:solidFill>
                <a:srgbClr val="AEABAB"/>
              </a:solidFill>
            </c:spPr>
          </c:dPt>
          <c:dPt>
            <c:idx val="1182"/>
            <c:spPr>
              <a:solidFill>
                <a:srgbClr val="AEABAB"/>
              </a:solidFill>
            </c:spPr>
          </c:dPt>
          <c:dPt>
            <c:idx val="1183"/>
            <c:spPr>
              <a:solidFill>
                <a:srgbClr val="AEABAB"/>
              </a:solidFill>
            </c:spPr>
          </c:dPt>
          <c:dPt>
            <c:idx val="1184"/>
            <c:spPr>
              <a:solidFill>
                <a:srgbClr val="AEABAB"/>
              </a:solidFill>
            </c:spPr>
          </c:dPt>
          <c:dPt>
            <c:idx val="1185"/>
            <c:spPr>
              <a:solidFill>
                <a:srgbClr val="AEABAB"/>
              </a:solidFill>
            </c:spPr>
          </c:dPt>
          <c:dPt>
            <c:idx val="1186"/>
            <c:spPr>
              <a:solidFill>
                <a:srgbClr val="AEABAB"/>
              </a:solidFill>
            </c:spPr>
          </c:dPt>
          <c:dPt>
            <c:idx val="1187"/>
            <c:spPr>
              <a:solidFill>
                <a:srgbClr val="AEABAB"/>
              </a:solidFill>
            </c:spPr>
          </c:dPt>
          <c:dPt>
            <c:idx val="1188"/>
            <c:spPr>
              <a:solidFill>
                <a:srgbClr val="AEABAB"/>
              </a:solidFill>
            </c:spPr>
          </c:dPt>
          <c:dPt>
            <c:idx val="1189"/>
            <c:spPr>
              <a:solidFill>
                <a:srgbClr val="AEABAB"/>
              </a:solidFill>
            </c:spPr>
          </c:dPt>
          <c:dPt>
            <c:idx val="1190"/>
            <c:spPr>
              <a:solidFill>
                <a:srgbClr val="AEABAB"/>
              </a:solidFill>
            </c:spPr>
          </c:dPt>
          <c:dPt>
            <c:idx val="1191"/>
            <c:spPr>
              <a:solidFill>
                <a:srgbClr val="AEABAB"/>
              </a:solidFill>
            </c:spPr>
          </c:dPt>
          <c:dPt>
            <c:idx val="1192"/>
            <c:spPr>
              <a:solidFill>
                <a:srgbClr val="AEABAB"/>
              </a:solidFill>
            </c:spPr>
          </c:dPt>
          <c:dPt>
            <c:idx val="1193"/>
            <c:spPr>
              <a:solidFill>
                <a:srgbClr val="AEABAB"/>
              </a:solidFill>
            </c:spPr>
          </c:dPt>
          <c:dPt>
            <c:idx val="1194"/>
            <c:spPr>
              <a:solidFill>
                <a:srgbClr val="AEABAB"/>
              </a:solidFill>
            </c:spPr>
          </c:dPt>
          <c:dPt>
            <c:idx val="1195"/>
            <c:spPr>
              <a:solidFill>
                <a:srgbClr val="AEABAB"/>
              </a:solidFill>
            </c:spPr>
          </c:dPt>
          <c:dPt>
            <c:idx val="1196"/>
            <c:spPr>
              <a:solidFill>
                <a:srgbClr val="AEABAB"/>
              </a:solidFill>
            </c:spPr>
          </c:dPt>
          <c:dPt>
            <c:idx val="1197"/>
            <c:spPr>
              <a:solidFill>
                <a:srgbClr val="AEABAB"/>
              </a:solidFill>
            </c:spPr>
          </c:dPt>
          <c:dPt>
            <c:idx val="1198"/>
            <c:spPr>
              <a:solidFill>
                <a:srgbClr val="AEABAB"/>
              </a:solidFill>
            </c:spPr>
          </c:dPt>
          <c:dPt>
            <c:idx val="1199"/>
            <c:spPr>
              <a:solidFill>
                <a:srgbClr val="AEABAB"/>
              </a:solidFill>
            </c:spPr>
          </c:dPt>
          <c:dPt>
            <c:idx val="1200"/>
            <c:spPr>
              <a:solidFill>
                <a:srgbClr val="AEABAB"/>
              </a:solidFill>
            </c:spPr>
          </c:dPt>
          <c:dPt>
            <c:idx val="1201"/>
            <c:spPr>
              <a:solidFill>
                <a:srgbClr val="AEABAB"/>
              </a:solidFill>
            </c:spPr>
          </c:dPt>
          <c:dPt>
            <c:idx val="1202"/>
            <c:spPr>
              <a:solidFill>
                <a:srgbClr val="AEABAB"/>
              </a:solidFill>
            </c:spPr>
          </c:dPt>
          <c:dPt>
            <c:idx val="1203"/>
            <c:spPr>
              <a:solidFill>
                <a:srgbClr val="AEABAB"/>
              </a:solidFill>
            </c:spPr>
          </c:dPt>
          <c:dPt>
            <c:idx val="1204"/>
            <c:spPr>
              <a:solidFill>
                <a:srgbClr val="AEABAB"/>
              </a:solidFill>
            </c:spPr>
          </c:dPt>
          <c:dPt>
            <c:idx val="1205"/>
            <c:spPr>
              <a:solidFill>
                <a:srgbClr val="AEABAB"/>
              </a:solidFill>
            </c:spPr>
          </c:dPt>
          <c:dPt>
            <c:idx val="1206"/>
            <c:spPr>
              <a:solidFill>
                <a:srgbClr val="AEABAB"/>
              </a:solidFill>
            </c:spPr>
          </c:dPt>
          <c:dPt>
            <c:idx val="1207"/>
            <c:spPr>
              <a:solidFill>
                <a:srgbClr val="AEABAB"/>
              </a:solidFill>
            </c:spPr>
          </c:dPt>
          <c:dPt>
            <c:idx val="1208"/>
            <c:spPr>
              <a:solidFill>
                <a:srgbClr val="AEABAB"/>
              </a:solidFill>
            </c:spPr>
          </c:dPt>
          <c:dPt>
            <c:idx val="1209"/>
            <c:spPr>
              <a:solidFill>
                <a:srgbClr val="AEABAB"/>
              </a:solidFill>
            </c:spPr>
          </c:dPt>
          <c:dPt>
            <c:idx val="1210"/>
            <c:spPr>
              <a:solidFill>
                <a:srgbClr val="AEABAB"/>
              </a:solidFill>
            </c:spPr>
          </c:dPt>
          <c:dPt>
            <c:idx val="1211"/>
            <c:spPr>
              <a:solidFill>
                <a:srgbClr val="AEABAB"/>
              </a:solidFill>
            </c:spPr>
          </c:dPt>
          <c:dPt>
            <c:idx val="1212"/>
            <c:spPr>
              <a:solidFill>
                <a:srgbClr val="AEABAB"/>
              </a:solidFill>
            </c:spPr>
          </c:dPt>
          <c:dPt>
            <c:idx val="1213"/>
            <c:spPr>
              <a:solidFill>
                <a:srgbClr val="AEABAB"/>
              </a:solidFill>
            </c:spPr>
          </c:dPt>
          <c:dPt>
            <c:idx val="1214"/>
            <c:spPr>
              <a:solidFill>
                <a:srgbClr val="AEABAB"/>
              </a:solidFill>
            </c:spPr>
          </c:dPt>
          <c:dPt>
            <c:idx val="1215"/>
            <c:spPr>
              <a:solidFill>
                <a:srgbClr val="AEABAB"/>
              </a:solidFill>
            </c:spPr>
          </c:dPt>
          <c:dPt>
            <c:idx val="1216"/>
            <c:spPr>
              <a:solidFill>
                <a:srgbClr val="AEABAB"/>
              </a:solidFill>
            </c:spPr>
          </c:dPt>
          <c:dPt>
            <c:idx val="1217"/>
            <c:spPr>
              <a:solidFill>
                <a:srgbClr val="AEABAB"/>
              </a:solidFill>
            </c:spPr>
          </c:dPt>
          <c:dPt>
            <c:idx val="1218"/>
            <c:spPr>
              <a:solidFill>
                <a:srgbClr val="AEABAB"/>
              </a:solidFill>
            </c:spPr>
          </c:dPt>
          <c:dPt>
            <c:idx val="1219"/>
            <c:spPr>
              <a:solidFill>
                <a:srgbClr val="AEABAB"/>
              </a:solidFill>
            </c:spPr>
          </c:dPt>
          <c:dPt>
            <c:idx val="1220"/>
            <c:spPr>
              <a:solidFill>
                <a:srgbClr val="AEABAB"/>
              </a:solidFill>
            </c:spPr>
          </c:dPt>
          <c:dPt>
            <c:idx val="1221"/>
            <c:spPr>
              <a:solidFill>
                <a:srgbClr val="AEABAB"/>
              </a:solidFill>
            </c:spPr>
          </c:dPt>
          <c:dPt>
            <c:idx val="1222"/>
            <c:spPr>
              <a:solidFill>
                <a:srgbClr val="AEABAB"/>
              </a:solidFill>
            </c:spPr>
          </c:dPt>
          <c:dPt>
            <c:idx val="1223"/>
            <c:spPr>
              <a:solidFill>
                <a:srgbClr val="AEABAB"/>
              </a:solidFill>
            </c:spPr>
          </c:dPt>
          <c:dPt>
            <c:idx val="1224"/>
            <c:spPr>
              <a:solidFill>
                <a:srgbClr val="AEABAB"/>
              </a:solidFill>
            </c:spPr>
          </c:dPt>
          <c:dPt>
            <c:idx val="1225"/>
            <c:spPr>
              <a:solidFill>
                <a:srgbClr val="AEABAB"/>
              </a:solidFill>
            </c:spPr>
          </c:dPt>
          <c:dPt>
            <c:idx val="1226"/>
            <c:spPr>
              <a:solidFill>
                <a:srgbClr val="AEABAB"/>
              </a:solidFill>
            </c:spPr>
          </c:dPt>
          <c:dPt>
            <c:idx val="1227"/>
            <c:spPr>
              <a:solidFill>
                <a:srgbClr val="AEABAB"/>
              </a:solidFill>
            </c:spPr>
          </c:dPt>
          <c:dPt>
            <c:idx val="1228"/>
            <c:spPr>
              <a:solidFill>
                <a:srgbClr val="AEABAB"/>
              </a:solidFill>
            </c:spPr>
          </c:dPt>
          <c:dPt>
            <c:idx val="1229"/>
            <c:spPr>
              <a:solidFill>
                <a:srgbClr val="AEABAB"/>
              </a:solidFill>
            </c:spPr>
          </c:dPt>
          <c:dPt>
            <c:idx val="1230"/>
            <c:spPr>
              <a:solidFill>
                <a:srgbClr val="AEABAB"/>
              </a:solidFill>
            </c:spPr>
          </c:dPt>
          <c:dPt>
            <c:idx val="1231"/>
            <c:spPr>
              <a:solidFill>
                <a:srgbClr val="AEABAB"/>
              </a:solidFill>
            </c:spPr>
          </c:dPt>
          <c:dPt>
            <c:idx val="1232"/>
            <c:spPr>
              <a:solidFill>
                <a:srgbClr val="AEABAB"/>
              </a:solidFill>
            </c:spPr>
          </c:dPt>
          <c:dPt>
            <c:idx val="1233"/>
            <c:spPr>
              <a:solidFill>
                <a:srgbClr val="AEABAB"/>
              </a:solidFill>
            </c:spPr>
          </c:dPt>
          <c:dPt>
            <c:idx val="1234"/>
            <c:spPr>
              <a:solidFill>
                <a:srgbClr val="AEABAB"/>
              </a:solidFill>
            </c:spPr>
          </c:dPt>
          <c:dPt>
            <c:idx val="1235"/>
            <c:spPr>
              <a:solidFill>
                <a:srgbClr val="AEABAB"/>
              </a:solidFill>
            </c:spPr>
          </c:dPt>
          <c:dPt>
            <c:idx val="1236"/>
            <c:spPr>
              <a:solidFill>
                <a:srgbClr val="AEABAB"/>
              </a:solidFill>
            </c:spPr>
          </c:dPt>
          <c:dPt>
            <c:idx val="1237"/>
            <c:spPr>
              <a:solidFill>
                <a:srgbClr val="AEABAB"/>
              </a:solidFill>
            </c:spPr>
          </c:dPt>
          <c:dPt>
            <c:idx val="1238"/>
            <c:spPr>
              <a:solidFill>
                <a:srgbClr val="AEABAB"/>
              </a:solidFill>
            </c:spPr>
          </c:dPt>
          <c:dPt>
            <c:idx val="1239"/>
            <c:spPr>
              <a:solidFill>
                <a:srgbClr val="AEABAB"/>
              </a:solidFill>
            </c:spPr>
          </c:dPt>
          <c:dPt>
            <c:idx val="1240"/>
            <c:spPr>
              <a:solidFill>
                <a:srgbClr val="AEABAB"/>
              </a:solidFill>
            </c:spPr>
          </c:dPt>
          <c:dPt>
            <c:idx val="1241"/>
            <c:spPr>
              <a:solidFill>
                <a:srgbClr val="AEABAB"/>
              </a:solidFill>
            </c:spPr>
          </c:dPt>
          <c:dPt>
            <c:idx val="1242"/>
            <c:spPr>
              <a:solidFill>
                <a:srgbClr val="AEABAB"/>
              </a:solidFill>
            </c:spPr>
          </c:dPt>
          <c:dPt>
            <c:idx val="1243"/>
            <c:spPr>
              <a:solidFill>
                <a:srgbClr val="AEABAB"/>
              </a:solidFill>
            </c:spPr>
          </c:dPt>
          <c:dPt>
            <c:idx val="1244"/>
            <c:spPr>
              <a:solidFill>
                <a:srgbClr val="AEABAB"/>
              </a:solidFill>
            </c:spPr>
          </c:dPt>
          <c:dPt>
            <c:idx val="1245"/>
            <c:spPr>
              <a:solidFill>
                <a:srgbClr val="AEABAB"/>
              </a:solidFill>
            </c:spPr>
          </c:dPt>
          <c:dPt>
            <c:idx val="1246"/>
            <c:spPr>
              <a:solidFill>
                <a:srgbClr val="AEABAB"/>
              </a:solidFill>
            </c:spPr>
          </c:dPt>
          <c:dPt>
            <c:idx val="1247"/>
            <c:spPr>
              <a:solidFill>
                <a:srgbClr val="AEABAB"/>
              </a:solidFill>
            </c:spPr>
          </c:dPt>
          <c:dPt>
            <c:idx val="1248"/>
            <c:spPr>
              <a:solidFill>
                <a:srgbClr val="AEABAB"/>
              </a:solidFill>
            </c:spPr>
          </c:dPt>
          <c:dPt>
            <c:idx val="1249"/>
            <c:spPr>
              <a:solidFill>
                <a:srgbClr val="AEABAB"/>
              </a:solidFill>
            </c:spPr>
          </c:dPt>
          <c:dPt>
            <c:idx val="1250"/>
            <c:spPr>
              <a:solidFill>
                <a:srgbClr val="AEABAB"/>
              </a:solidFill>
            </c:spPr>
          </c:dPt>
          <c:dPt>
            <c:idx val="1251"/>
            <c:spPr>
              <a:solidFill>
                <a:srgbClr val="AEABAB"/>
              </a:solidFill>
            </c:spPr>
          </c:dPt>
          <c:dPt>
            <c:idx val="1252"/>
            <c:spPr>
              <a:solidFill>
                <a:srgbClr val="AEABAB"/>
              </a:solidFill>
            </c:spPr>
          </c:dPt>
          <c:dPt>
            <c:idx val="1253"/>
            <c:spPr>
              <a:solidFill>
                <a:srgbClr val="AEABAB"/>
              </a:solidFill>
            </c:spPr>
          </c:dPt>
          <c:dPt>
            <c:idx val="1254"/>
            <c:spPr>
              <a:solidFill>
                <a:srgbClr val="AEABAB"/>
              </a:solidFill>
            </c:spPr>
          </c:dPt>
          <c:dPt>
            <c:idx val="1255"/>
            <c:spPr>
              <a:solidFill>
                <a:srgbClr val="AEABAB"/>
              </a:solidFill>
            </c:spPr>
          </c:dPt>
          <c:dPt>
            <c:idx val="1256"/>
            <c:spPr>
              <a:solidFill>
                <a:srgbClr val="AEABAB"/>
              </a:solidFill>
            </c:spPr>
          </c:dPt>
          <c:dPt>
            <c:idx val="1257"/>
            <c:spPr>
              <a:solidFill>
                <a:srgbClr val="AEABAB"/>
              </a:solidFill>
            </c:spPr>
          </c:dPt>
          <c:dPt>
            <c:idx val="1258"/>
            <c:spPr>
              <a:solidFill>
                <a:srgbClr val="AEABAB"/>
              </a:solidFill>
            </c:spPr>
          </c:dPt>
          <c:dPt>
            <c:idx val="1259"/>
            <c:spPr>
              <a:solidFill>
                <a:srgbClr val="AEABAB"/>
              </a:solidFill>
            </c:spPr>
          </c:dPt>
          <c:dPt>
            <c:idx val="1260"/>
            <c:spPr>
              <a:solidFill>
                <a:srgbClr val="AEABAB"/>
              </a:solidFill>
            </c:spPr>
          </c:dPt>
          <c:dPt>
            <c:idx val="1261"/>
            <c:spPr>
              <a:solidFill>
                <a:srgbClr val="AEABAB"/>
              </a:solidFill>
            </c:spPr>
          </c:dPt>
          <c:dPt>
            <c:idx val="1262"/>
            <c:spPr>
              <a:solidFill>
                <a:srgbClr val="AEABAB"/>
              </a:solidFill>
            </c:spPr>
          </c:dPt>
          <c:dPt>
            <c:idx val="1263"/>
            <c:spPr>
              <a:solidFill>
                <a:srgbClr val="AEABAB"/>
              </a:solidFill>
            </c:spPr>
          </c:dPt>
          <c:dPt>
            <c:idx val="1264"/>
            <c:spPr>
              <a:solidFill>
                <a:srgbClr val="AEABAB"/>
              </a:solidFill>
            </c:spPr>
          </c:dPt>
          <c:dPt>
            <c:idx val="1265"/>
            <c:spPr>
              <a:solidFill>
                <a:srgbClr val="AEABAB"/>
              </a:solidFill>
            </c:spPr>
          </c:dPt>
          <c:dPt>
            <c:idx val="1266"/>
            <c:spPr>
              <a:solidFill>
                <a:srgbClr val="AEABAB"/>
              </a:solidFill>
            </c:spPr>
          </c:dPt>
          <c:dPt>
            <c:idx val="1267"/>
            <c:spPr>
              <a:solidFill>
                <a:srgbClr val="AEABAB"/>
              </a:solidFill>
            </c:spPr>
          </c:dPt>
          <c:dPt>
            <c:idx val="1268"/>
            <c:spPr>
              <a:solidFill>
                <a:srgbClr val="AEABAB"/>
              </a:solidFill>
            </c:spPr>
          </c:dPt>
          <c:dPt>
            <c:idx val="1269"/>
            <c:spPr>
              <a:solidFill>
                <a:srgbClr val="AEABAB"/>
              </a:solidFill>
            </c:spPr>
          </c:dPt>
          <c:dPt>
            <c:idx val="1270"/>
            <c:spPr>
              <a:solidFill>
                <a:srgbClr val="AEABAB"/>
              </a:solidFill>
            </c:spPr>
          </c:dPt>
          <c:dPt>
            <c:idx val="1271"/>
            <c:spPr>
              <a:solidFill>
                <a:srgbClr val="AEABAB"/>
              </a:solidFill>
            </c:spPr>
          </c:dPt>
          <c:dPt>
            <c:idx val="1272"/>
            <c:spPr>
              <a:solidFill>
                <a:srgbClr val="AEABAB"/>
              </a:solidFill>
            </c:spPr>
          </c:dPt>
          <c:dPt>
            <c:idx val="1273"/>
            <c:spPr>
              <a:solidFill>
                <a:srgbClr val="AEABAB"/>
              </a:solidFill>
            </c:spPr>
          </c:dPt>
          <c:dPt>
            <c:idx val="1274"/>
            <c:spPr>
              <a:solidFill>
                <a:srgbClr val="AEABAB"/>
              </a:solidFill>
            </c:spPr>
          </c:dPt>
          <c:dPt>
            <c:idx val="1275"/>
            <c:spPr>
              <a:solidFill>
                <a:srgbClr val="AEABAB"/>
              </a:solidFill>
            </c:spPr>
          </c:dPt>
          <c:dPt>
            <c:idx val="1276"/>
            <c:spPr>
              <a:solidFill>
                <a:srgbClr val="AEABAB"/>
              </a:solidFill>
            </c:spPr>
          </c:dPt>
          <c:dPt>
            <c:idx val="1277"/>
            <c:spPr>
              <a:solidFill>
                <a:srgbClr val="AEABAB"/>
              </a:solidFill>
            </c:spPr>
          </c:dPt>
          <c:dPt>
            <c:idx val="1278"/>
            <c:spPr>
              <a:solidFill>
                <a:srgbClr val="AEABAB"/>
              </a:solidFill>
            </c:spPr>
          </c:dPt>
          <c:dPt>
            <c:idx val="1279"/>
            <c:spPr>
              <a:solidFill>
                <a:srgbClr val="AEABAB"/>
              </a:solidFill>
            </c:spPr>
          </c:dPt>
          <c:dPt>
            <c:idx val="1280"/>
            <c:spPr>
              <a:solidFill>
                <a:srgbClr val="AEABAB"/>
              </a:solidFill>
            </c:spPr>
          </c:dPt>
          <c:dPt>
            <c:idx val="1281"/>
            <c:spPr>
              <a:solidFill>
                <a:srgbClr val="AEABAB"/>
              </a:solidFill>
            </c:spPr>
          </c:dPt>
          <c:dPt>
            <c:idx val="1282"/>
            <c:spPr>
              <a:solidFill>
                <a:srgbClr val="AEABAB"/>
              </a:solidFill>
            </c:spPr>
          </c:dPt>
          <c:dPt>
            <c:idx val="1283"/>
            <c:spPr>
              <a:solidFill>
                <a:srgbClr val="AEABAB"/>
              </a:solidFill>
            </c:spPr>
          </c:dPt>
          <c:dPt>
            <c:idx val="1284"/>
            <c:spPr>
              <a:solidFill>
                <a:srgbClr val="AEABAB"/>
              </a:solidFill>
            </c:spPr>
          </c:dPt>
          <c:dPt>
            <c:idx val="1285"/>
            <c:spPr>
              <a:solidFill>
                <a:srgbClr val="AEABAB"/>
              </a:solidFill>
            </c:spPr>
          </c:dPt>
          <c:dPt>
            <c:idx val="1286"/>
            <c:spPr>
              <a:solidFill>
                <a:srgbClr val="AEABAB"/>
              </a:solidFill>
            </c:spPr>
          </c:dPt>
          <c:dPt>
            <c:idx val="1287"/>
            <c:spPr>
              <a:solidFill>
                <a:srgbClr val="AEABAB"/>
              </a:solidFill>
            </c:spPr>
          </c:dPt>
          <c:dPt>
            <c:idx val="1288"/>
            <c:spPr>
              <a:solidFill>
                <a:srgbClr val="AEABAB"/>
              </a:solidFill>
            </c:spPr>
          </c:dPt>
          <c:dPt>
            <c:idx val="1289"/>
            <c:spPr>
              <a:solidFill>
                <a:srgbClr val="AEABAB"/>
              </a:solidFill>
            </c:spPr>
          </c:dPt>
          <c:dPt>
            <c:idx val="1290"/>
            <c:spPr>
              <a:solidFill>
                <a:srgbClr val="AEABAB"/>
              </a:solidFill>
            </c:spPr>
          </c:dPt>
          <c:dPt>
            <c:idx val="1291"/>
            <c:spPr>
              <a:solidFill>
                <a:srgbClr val="AEABAB"/>
              </a:solidFill>
            </c:spPr>
          </c:dPt>
          <c:dPt>
            <c:idx val="1292"/>
            <c:spPr>
              <a:solidFill>
                <a:srgbClr val="AEABAB"/>
              </a:solidFill>
            </c:spPr>
          </c:dPt>
          <c:dPt>
            <c:idx val="1293"/>
            <c:spPr>
              <a:solidFill>
                <a:srgbClr val="AEABAB"/>
              </a:solidFill>
            </c:spPr>
          </c:dPt>
          <c:dPt>
            <c:idx val="1294"/>
            <c:spPr>
              <a:solidFill>
                <a:srgbClr val="AEABAB"/>
              </a:solidFill>
            </c:spPr>
          </c:dPt>
          <c:dPt>
            <c:idx val="1295"/>
            <c:spPr>
              <a:solidFill>
                <a:srgbClr val="AEABAB"/>
              </a:solidFill>
            </c:spPr>
          </c:dPt>
          <c:dPt>
            <c:idx val="1296"/>
            <c:spPr>
              <a:solidFill>
                <a:srgbClr val="AEABAB"/>
              </a:solidFill>
            </c:spPr>
          </c:dPt>
          <c:dPt>
            <c:idx val="1297"/>
            <c:spPr>
              <a:solidFill>
                <a:srgbClr val="AEABAB"/>
              </a:solidFill>
            </c:spPr>
          </c:dPt>
          <c:dPt>
            <c:idx val="1298"/>
            <c:spPr>
              <a:solidFill>
                <a:srgbClr val="AEABAB"/>
              </a:solidFill>
            </c:spPr>
          </c:dPt>
          <c:dPt>
            <c:idx val="1299"/>
            <c:spPr>
              <a:solidFill>
                <a:srgbClr val="AEABAB"/>
              </a:solidFill>
            </c:spPr>
          </c:dPt>
          <c:dPt>
            <c:idx val="1300"/>
            <c:spPr>
              <a:solidFill>
                <a:srgbClr val="AEABAB"/>
              </a:solidFill>
            </c:spPr>
          </c:dPt>
          <c:dPt>
            <c:idx val="1301"/>
            <c:spPr>
              <a:solidFill>
                <a:srgbClr val="AEABAB"/>
              </a:solidFill>
            </c:spPr>
          </c:dPt>
          <c:dPt>
            <c:idx val="1302"/>
            <c:spPr>
              <a:solidFill>
                <a:srgbClr val="AEABAB"/>
              </a:solidFill>
            </c:spPr>
          </c:dPt>
          <c:dPt>
            <c:idx val="1303"/>
            <c:spPr>
              <a:solidFill>
                <a:srgbClr val="AEABAB"/>
              </a:solidFill>
            </c:spPr>
          </c:dPt>
          <c:dPt>
            <c:idx val="1304"/>
            <c:spPr>
              <a:solidFill>
                <a:srgbClr val="AEABAB"/>
              </a:solidFill>
            </c:spPr>
          </c:dPt>
          <c:dPt>
            <c:idx val="1305"/>
            <c:spPr>
              <a:solidFill>
                <a:srgbClr val="AEABAB"/>
              </a:solidFill>
            </c:spPr>
          </c:dPt>
          <c:dPt>
            <c:idx val="1306"/>
            <c:spPr>
              <a:solidFill>
                <a:srgbClr val="AEABAB"/>
              </a:solidFill>
            </c:spPr>
          </c:dPt>
          <c:dPt>
            <c:idx val="1307"/>
            <c:spPr>
              <a:solidFill>
                <a:srgbClr val="AEABAB"/>
              </a:solidFill>
            </c:spPr>
          </c:dPt>
          <c:dPt>
            <c:idx val="1308"/>
            <c:spPr>
              <a:solidFill>
                <a:srgbClr val="AEABAB"/>
              </a:solidFill>
            </c:spPr>
          </c:dPt>
          <c:dPt>
            <c:idx val="1309"/>
            <c:spPr>
              <a:solidFill>
                <a:srgbClr val="AEABAB"/>
              </a:solidFill>
            </c:spPr>
          </c:dPt>
          <c:dPt>
            <c:idx val="1310"/>
            <c:spPr>
              <a:solidFill>
                <a:srgbClr val="AEABAB"/>
              </a:solidFill>
            </c:spPr>
          </c:dPt>
          <c:dPt>
            <c:idx val="1311"/>
            <c:spPr>
              <a:solidFill>
                <a:srgbClr val="AEABAB"/>
              </a:solidFill>
            </c:spPr>
          </c:dPt>
          <c:dPt>
            <c:idx val="1312"/>
            <c:spPr>
              <a:solidFill>
                <a:srgbClr val="AEABAB"/>
              </a:solidFill>
            </c:spPr>
          </c:dPt>
          <c:dPt>
            <c:idx val="1313"/>
            <c:spPr>
              <a:solidFill>
                <a:srgbClr val="AEABAB"/>
              </a:solidFill>
            </c:spPr>
          </c:dPt>
          <c:dPt>
            <c:idx val="1314"/>
            <c:spPr>
              <a:solidFill>
                <a:srgbClr val="AEABAB"/>
              </a:solidFill>
            </c:spPr>
          </c:dPt>
          <c:dPt>
            <c:idx val="1315"/>
            <c:spPr>
              <a:solidFill>
                <a:srgbClr val="AEABAB"/>
              </a:solidFill>
            </c:spPr>
          </c:dPt>
          <c:dPt>
            <c:idx val="1316"/>
            <c:spPr>
              <a:solidFill>
                <a:srgbClr val="AEABAB"/>
              </a:solidFill>
            </c:spPr>
          </c:dPt>
          <c:dPt>
            <c:idx val="1317"/>
            <c:spPr>
              <a:solidFill>
                <a:srgbClr val="AEABAB"/>
              </a:solidFill>
            </c:spPr>
          </c:dPt>
          <c:dPt>
            <c:idx val="1318"/>
            <c:spPr>
              <a:solidFill>
                <a:srgbClr val="AEABAB"/>
              </a:solidFill>
            </c:spPr>
          </c:dPt>
          <c:dPt>
            <c:idx val="1319"/>
            <c:spPr>
              <a:solidFill>
                <a:srgbClr val="AEABAB"/>
              </a:solidFill>
            </c:spPr>
          </c:dPt>
          <c:dPt>
            <c:idx val="1320"/>
            <c:spPr>
              <a:solidFill>
                <a:srgbClr val="AEABAB"/>
              </a:solidFill>
            </c:spPr>
          </c:dPt>
          <c:dPt>
            <c:idx val="1321"/>
            <c:spPr>
              <a:solidFill>
                <a:srgbClr val="AEABAB"/>
              </a:solidFill>
            </c:spPr>
          </c:dPt>
          <c:dPt>
            <c:idx val="1322"/>
            <c:spPr>
              <a:solidFill>
                <a:srgbClr val="AEABAB"/>
              </a:solidFill>
            </c:spPr>
          </c:dPt>
          <c:dPt>
            <c:idx val="1323"/>
            <c:spPr>
              <a:solidFill>
                <a:srgbClr val="AEABAB"/>
              </a:solidFill>
            </c:spPr>
          </c:dPt>
          <c:dPt>
            <c:idx val="1324"/>
            <c:spPr>
              <a:solidFill>
                <a:srgbClr val="AEABAB"/>
              </a:solidFill>
            </c:spPr>
          </c:dPt>
          <c:dPt>
            <c:idx val="1325"/>
            <c:spPr>
              <a:solidFill>
                <a:srgbClr val="AEABAB"/>
              </a:solidFill>
            </c:spPr>
          </c:dPt>
          <c:dPt>
            <c:idx val="1326"/>
            <c:spPr>
              <a:solidFill>
                <a:srgbClr val="AEABAB"/>
              </a:solidFill>
            </c:spPr>
          </c:dPt>
          <c:dPt>
            <c:idx val="1327"/>
            <c:spPr>
              <a:solidFill>
                <a:srgbClr val="AEABAB"/>
              </a:solidFill>
            </c:spPr>
          </c:dPt>
          <c:dPt>
            <c:idx val="1328"/>
            <c:spPr>
              <a:solidFill>
                <a:srgbClr val="AEABAB"/>
              </a:solidFill>
            </c:spPr>
          </c:dPt>
          <c:dPt>
            <c:idx val="1329"/>
            <c:spPr>
              <a:solidFill>
                <a:srgbClr val="AEABAB"/>
              </a:solidFill>
            </c:spPr>
          </c:dPt>
          <c:dPt>
            <c:idx val="1330"/>
            <c:spPr>
              <a:solidFill>
                <a:srgbClr val="AEABAB"/>
              </a:solidFill>
            </c:spPr>
          </c:dPt>
          <c:dPt>
            <c:idx val="1331"/>
            <c:spPr>
              <a:solidFill>
                <a:srgbClr val="AEABAB"/>
              </a:solidFill>
            </c:spPr>
          </c:dPt>
          <c:dPt>
            <c:idx val="1332"/>
            <c:spPr>
              <a:solidFill>
                <a:srgbClr val="AEABAB"/>
              </a:solidFill>
            </c:spPr>
          </c:dPt>
          <c:dPt>
            <c:idx val="1333"/>
            <c:spPr>
              <a:solidFill>
                <a:srgbClr val="AEABAB"/>
              </a:solidFill>
            </c:spPr>
          </c:dPt>
          <c:dPt>
            <c:idx val="1334"/>
            <c:spPr>
              <a:solidFill>
                <a:srgbClr val="AEABAB"/>
              </a:solidFill>
            </c:spPr>
          </c:dPt>
          <c:dPt>
            <c:idx val="1335"/>
            <c:spPr>
              <a:solidFill>
                <a:srgbClr val="AEABAB"/>
              </a:solidFill>
            </c:spPr>
          </c:dPt>
          <c:dPt>
            <c:idx val="1336"/>
            <c:spPr>
              <a:solidFill>
                <a:srgbClr val="AEABAB"/>
              </a:solidFill>
            </c:spPr>
          </c:dPt>
          <c:dPt>
            <c:idx val="1337"/>
            <c:spPr>
              <a:solidFill>
                <a:srgbClr val="AEABAB"/>
              </a:solidFill>
            </c:spPr>
          </c:dPt>
          <c:dPt>
            <c:idx val="1338"/>
            <c:spPr>
              <a:solidFill>
                <a:srgbClr val="AEABAB"/>
              </a:solidFill>
            </c:spPr>
          </c:dPt>
          <c:dPt>
            <c:idx val="1339"/>
            <c:spPr>
              <a:solidFill>
                <a:srgbClr val="AEABAB"/>
              </a:solidFill>
            </c:spPr>
          </c:dPt>
          <c:dPt>
            <c:idx val="1340"/>
            <c:spPr>
              <a:solidFill>
                <a:srgbClr val="AEABAB"/>
              </a:solidFill>
            </c:spPr>
          </c:dPt>
          <c:dPt>
            <c:idx val="1341"/>
            <c:spPr>
              <a:solidFill>
                <a:srgbClr val="AEABAB"/>
              </a:solidFill>
            </c:spPr>
          </c:dPt>
          <c:dPt>
            <c:idx val="1342"/>
            <c:spPr>
              <a:solidFill>
                <a:srgbClr val="AEABAB"/>
              </a:solidFill>
            </c:spPr>
          </c:dPt>
          <c:dPt>
            <c:idx val="1343"/>
            <c:spPr>
              <a:solidFill>
                <a:srgbClr val="AEABAB"/>
              </a:solidFill>
            </c:spPr>
          </c:dPt>
          <c:dPt>
            <c:idx val="1344"/>
            <c:spPr>
              <a:solidFill>
                <a:srgbClr val="AEABAB"/>
              </a:solidFill>
            </c:spPr>
          </c:dPt>
          <c:dPt>
            <c:idx val="1345"/>
            <c:spPr>
              <a:solidFill>
                <a:srgbClr val="AEABAB"/>
              </a:solidFill>
            </c:spPr>
          </c:dPt>
          <c:dPt>
            <c:idx val="1346"/>
            <c:spPr>
              <a:solidFill>
                <a:srgbClr val="AEABAB"/>
              </a:solidFill>
            </c:spPr>
          </c:dPt>
          <c:dPt>
            <c:idx val="1347"/>
            <c:spPr>
              <a:solidFill>
                <a:srgbClr val="AEABAB"/>
              </a:solidFill>
            </c:spPr>
          </c:dPt>
          <c:dPt>
            <c:idx val="1348"/>
            <c:spPr>
              <a:solidFill>
                <a:srgbClr val="AEABAB"/>
              </a:solidFill>
            </c:spPr>
          </c:dPt>
          <c:dPt>
            <c:idx val="1349"/>
            <c:spPr>
              <a:solidFill>
                <a:srgbClr val="AEABAB"/>
              </a:solidFill>
            </c:spPr>
          </c:dPt>
          <c:dPt>
            <c:idx val="1350"/>
            <c:spPr>
              <a:solidFill>
                <a:srgbClr val="AEABAB"/>
              </a:solidFill>
            </c:spPr>
          </c:dPt>
          <c:dPt>
            <c:idx val="1351"/>
            <c:spPr>
              <a:solidFill>
                <a:srgbClr val="AEABAB"/>
              </a:solidFill>
            </c:spPr>
          </c:dPt>
          <c:dPt>
            <c:idx val="1352"/>
            <c:spPr>
              <a:solidFill>
                <a:srgbClr val="AEABAB"/>
              </a:solidFill>
            </c:spPr>
          </c:dPt>
          <c:dPt>
            <c:idx val="1353"/>
            <c:spPr>
              <a:solidFill>
                <a:srgbClr val="AEABAB"/>
              </a:solidFill>
            </c:spPr>
          </c:dPt>
          <c:dPt>
            <c:idx val="1354"/>
            <c:spPr>
              <a:solidFill>
                <a:srgbClr val="AEABAB"/>
              </a:solidFill>
            </c:spPr>
          </c:dPt>
          <c:dPt>
            <c:idx val="1355"/>
            <c:spPr>
              <a:solidFill>
                <a:srgbClr val="AEABAB"/>
              </a:solidFill>
            </c:spPr>
          </c:dPt>
          <c:dPt>
            <c:idx val="1356"/>
            <c:spPr>
              <a:solidFill>
                <a:srgbClr val="AEABAB"/>
              </a:solidFill>
            </c:spPr>
          </c:dPt>
          <c:dPt>
            <c:idx val="1357"/>
            <c:spPr>
              <a:solidFill>
                <a:srgbClr val="AEABAB"/>
              </a:solidFill>
            </c:spPr>
          </c:dPt>
          <c:dPt>
            <c:idx val="1358"/>
            <c:spPr>
              <a:solidFill>
                <a:srgbClr val="AEABAB"/>
              </a:solidFill>
            </c:spPr>
          </c:dPt>
          <c:dPt>
            <c:idx val="1359"/>
            <c:spPr>
              <a:solidFill>
                <a:srgbClr val="AEABAB"/>
              </a:solidFill>
            </c:spPr>
          </c:dPt>
          <c:dPt>
            <c:idx val="1360"/>
            <c:spPr>
              <a:solidFill>
                <a:srgbClr val="AEABAB"/>
              </a:solidFill>
            </c:spPr>
          </c:dPt>
          <c:dPt>
            <c:idx val="1361"/>
            <c:spPr>
              <a:solidFill>
                <a:srgbClr val="AEABAB"/>
              </a:solidFill>
            </c:spPr>
          </c:dPt>
          <c:dPt>
            <c:idx val="1362"/>
            <c:spPr>
              <a:solidFill>
                <a:srgbClr val="AEABAB"/>
              </a:solidFill>
            </c:spPr>
          </c:dPt>
          <c:dPt>
            <c:idx val="1363"/>
            <c:spPr>
              <a:solidFill>
                <a:srgbClr val="AEABAB"/>
              </a:solidFill>
            </c:spPr>
          </c:dPt>
          <c:dPt>
            <c:idx val="1364"/>
            <c:spPr>
              <a:solidFill>
                <a:srgbClr val="AEABAB"/>
              </a:solidFill>
            </c:spPr>
          </c:dPt>
          <c:dPt>
            <c:idx val="1365"/>
            <c:spPr>
              <a:solidFill>
                <a:srgbClr val="AEABAB"/>
              </a:solidFill>
            </c:spPr>
          </c:dPt>
          <c:dPt>
            <c:idx val="1366"/>
            <c:spPr>
              <a:solidFill>
                <a:srgbClr val="AEABAB"/>
              </a:solidFill>
            </c:spPr>
          </c:dPt>
          <c:dPt>
            <c:idx val="1367"/>
            <c:spPr>
              <a:solidFill>
                <a:srgbClr val="AEABAB"/>
              </a:solidFill>
            </c:spPr>
          </c:dPt>
          <c:dPt>
            <c:idx val="1368"/>
            <c:spPr>
              <a:solidFill>
                <a:srgbClr val="AEABAB"/>
              </a:solidFill>
            </c:spPr>
          </c:dPt>
          <c:dPt>
            <c:idx val="1369"/>
            <c:spPr>
              <a:solidFill>
                <a:srgbClr val="AEABAB"/>
              </a:solidFill>
            </c:spPr>
          </c:dPt>
          <c:dPt>
            <c:idx val="1370"/>
            <c:spPr>
              <a:solidFill>
                <a:srgbClr val="AEABAB"/>
              </a:solidFill>
            </c:spPr>
          </c:dPt>
          <c:dPt>
            <c:idx val="1371"/>
            <c:spPr>
              <a:solidFill>
                <a:srgbClr val="AEABAB"/>
              </a:solidFill>
            </c:spPr>
          </c:dPt>
          <c:dPt>
            <c:idx val="1372"/>
            <c:spPr>
              <a:solidFill>
                <a:srgbClr val="AEABAB"/>
              </a:solidFill>
            </c:spPr>
          </c:dPt>
          <c:dPt>
            <c:idx val="1373"/>
            <c:spPr>
              <a:solidFill>
                <a:srgbClr val="AEABAB"/>
              </a:solidFill>
            </c:spPr>
          </c:dPt>
          <c:dPt>
            <c:idx val="1374"/>
            <c:spPr>
              <a:solidFill>
                <a:srgbClr val="AEABAB"/>
              </a:solidFill>
            </c:spPr>
          </c:dPt>
          <c:dPt>
            <c:idx val="1375"/>
            <c:spPr>
              <a:solidFill>
                <a:srgbClr val="AEABAB"/>
              </a:solidFill>
            </c:spPr>
          </c:dPt>
          <c:dPt>
            <c:idx val="1376"/>
            <c:spPr>
              <a:solidFill>
                <a:srgbClr val="AEABAB"/>
              </a:solidFill>
            </c:spPr>
          </c:dPt>
          <c:dPt>
            <c:idx val="1377"/>
            <c:spPr>
              <a:solidFill>
                <a:srgbClr val="AEABAB"/>
              </a:solidFill>
            </c:spPr>
          </c:dPt>
          <c:dPt>
            <c:idx val="1378"/>
            <c:spPr>
              <a:solidFill>
                <a:srgbClr val="AEABAB"/>
              </a:solidFill>
            </c:spPr>
          </c:dPt>
          <c:dPt>
            <c:idx val="1379"/>
            <c:spPr>
              <a:solidFill>
                <a:srgbClr val="AEABAB"/>
              </a:solidFill>
            </c:spPr>
          </c:dPt>
          <c:dPt>
            <c:idx val="1380"/>
            <c:spPr>
              <a:solidFill>
                <a:srgbClr val="AEABAB"/>
              </a:solidFill>
            </c:spPr>
          </c:dPt>
          <c:dPt>
            <c:idx val="1381"/>
            <c:spPr>
              <a:solidFill>
                <a:srgbClr val="AEABAB"/>
              </a:solidFill>
            </c:spPr>
          </c:dPt>
          <c:dPt>
            <c:idx val="1382"/>
            <c:spPr>
              <a:solidFill>
                <a:srgbClr val="AEABAB"/>
              </a:solidFill>
            </c:spPr>
          </c:dPt>
          <c:dPt>
            <c:idx val="1383"/>
            <c:spPr>
              <a:solidFill>
                <a:srgbClr val="AEABAB"/>
              </a:solidFill>
            </c:spPr>
          </c:dPt>
          <c:dPt>
            <c:idx val="1384"/>
            <c:spPr>
              <a:solidFill>
                <a:srgbClr val="AEABAB"/>
              </a:solidFill>
            </c:spPr>
          </c:dPt>
          <c:dPt>
            <c:idx val="1385"/>
            <c:spPr>
              <a:solidFill>
                <a:srgbClr val="AEABAB"/>
              </a:solidFill>
            </c:spPr>
          </c:dPt>
          <c:dPt>
            <c:idx val="1386"/>
            <c:spPr>
              <a:solidFill>
                <a:srgbClr val="AEABAB"/>
              </a:solidFill>
            </c:spPr>
          </c:dPt>
          <c:dPt>
            <c:idx val="1387"/>
            <c:spPr>
              <a:solidFill>
                <a:srgbClr val="AEABAB"/>
              </a:solidFill>
            </c:spPr>
          </c:dPt>
          <c:dPt>
            <c:idx val="1388"/>
            <c:spPr>
              <a:solidFill>
                <a:srgbClr val="AEABAB"/>
              </a:solidFill>
            </c:spPr>
          </c:dPt>
          <c:dPt>
            <c:idx val="1389"/>
            <c:spPr>
              <a:solidFill>
                <a:srgbClr val="AEABAB"/>
              </a:solidFill>
            </c:spPr>
          </c:dPt>
          <c:dPt>
            <c:idx val="1390"/>
            <c:spPr>
              <a:solidFill>
                <a:srgbClr val="AEABAB"/>
              </a:solidFill>
            </c:spPr>
          </c:dPt>
          <c:dPt>
            <c:idx val="1391"/>
            <c:spPr>
              <a:solidFill>
                <a:srgbClr val="AEABAB"/>
              </a:solidFill>
            </c:spPr>
          </c:dPt>
          <c:dPt>
            <c:idx val="1392"/>
            <c:spPr>
              <a:solidFill>
                <a:srgbClr val="AEABAB"/>
              </a:solidFill>
            </c:spPr>
          </c:dPt>
          <c:dPt>
            <c:idx val="1393"/>
            <c:spPr>
              <a:solidFill>
                <a:srgbClr val="AEABAB"/>
              </a:solidFill>
            </c:spPr>
          </c:dPt>
          <c:dPt>
            <c:idx val="1394"/>
            <c:spPr>
              <a:solidFill>
                <a:srgbClr val="AEABAB"/>
              </a:solidFill>
            </c:spPr>
          </c:dPt>
          <c:dPt>
            <c:idx val="1395"/>
            <c:spPr>
              <a:solidFill>
                <a:srgbClr val="AEABAB"/>
              </a:solidFill>
            </c:spPr>
          </c:dPt>
          <c:dPt>
            <c:idx val="1396"/>
            <c:spPr>
              <a:solidFill>
                <a:srgbClr val="AEABAB"/>
              </a:solidFill>
            </c:spPr>
          </c:dPt>
          <c:dPt>
            <c:idx val="1397"/>
            <c:spPr>
              <a:solidFill>
                <a:srgbClr val="AEABAB"/>
              </a:solidFill>
            </c:spPr>
          </c:dPt>
          <c:dPt>
            <c:idx val="1398"/>
            <c:spPr>
              <a:solidFill>
                <a:srgbClr val="AEABAB"/>
              </a:solidFill>
            </c:spPr>
          </c:dPt>
          <c:dPt>
            <c:idx val="1399"/>
            <c:spPr>
              <a:solidFill>
                <a:srgbClr val="AEABAB"/>
              </a:solidFill>
            </c:spPr>
          </c:dPt>
          <c:dPt>
            <c:idx val="1400"/>
            <c:spPr>
              <a:solidFill>
                <a:srgbClr val="AEABAB"/>
              </a:solidFill>
            </c:spPr>
          </c:dPt>
          <c:dPt>
            <c:idx val="1401"/>
            <c:spPr>
              <a:solidFill>
                <a:srgbClr val="AEABAB"/>
              </a:solidFill>
            </c:spPr>
          </c:dPt>
          <c:dPt>
            <c:idx val="1402"/>
            <c:spPr>
              <a:solidFill>
                <a:srgbClr val="AEABAB"/>
              </a:solidFill>
            </c:spPr>
          </c:dPt>
          <c:dPt>
            <c:idx val="1403"/>
            <c:spPr>
              <a:solidFill>
                <a:srgbClr val="AEABAB"/>
              </a:solidFill>
            </c:spPr>
          </c:dPt>
          <c:dPt>
            <c:idx val="1404"/>
            <c:spPr>
              <a:solidFill>
                <a:srgbClr val="AEABAB"/>
              </a:solidFill>
            </c:spPr>
          </c:dPt>
          <c:dPt>
            <c:idx val="1405"/>
            <c:spPr>
              <a:solidFill>
                <a:srgbClr val="AEABAB"/>
              </a:solidFill>
            </c:spPr>
          </c:dPt>
          <c:dPt>
            <c:idx val="1406"/>
            <c:spPr>
              <a:solidFill>
                <a:srgbClr val="AEABAB"/>
              </a:solidFill>
            </c:spPr>
          </c:dPt>
          <c:dPt>
            <c:idx val="1407"/>
            <c:spPr>
              <a:solidFill>
                <a:srgbClr val="AEABAB"/>
              </a:solidFill>
            </c:spPr>
          </c:dPt>
          <c:dPt>
            <c:idx val="1408"/>
            <c:spPr>
              <a:solidFill>
                <a:srgbClr val="AEABAB"/>
              </a:solidFill>
            </c:spPr>
          </c:dPt>
          <c:dPt>
            <c:idx val="1409"/>
            <c:spPr>
              <a:solidFill>
                <a:srgbClr val="AEABAB"/>
              </a:solidFill>
            </c:spPr>
          </c:dPt>
          <c:dPt>
            <c:idx val="1410"/>
            <c:spPr>
              <a:solidFill>
                <a:srgbClr val="AEABAB"/>
              </a:solidFill>
            </c:spPr>
          </c:dPt>
          <c:dPt>
            <c:idx val="1411"/>
            <c:spPr>
              <a:solidFill>
                <a:srgbClr val="AEABAB"/>
              </a:solidFill>
            </c:spPr>
          </c:dPt>
          <c:dPt>
            <c:idx val="1412"/>
            <c:spPr>
              <a:solidFill>
                <a:srgbClr val="AEABAB"/>
              </a:solidFill>
            </c:spPr>
          </c:dPt>
          <c:dPt>
            <c:idx val="1413"/>
            <c:spPr>
              <a:solidFill>
                <a:srgbClr val="AEABAB"/>
              </a:solidFill>
            </c:spPr>
          </c:dPt>
          <c:dPt>
            <c:idx val="1414"/>
            <c:spPr>
              <a:solidFill>
                <a:srgbClr val="AEABAB"/>
              </a:solidFill>
            </c:spPr>
          </c:dPt>
          <c:dPt>
            <c:idx val="1415"/>
            <c:spPr>
              <a:solidFill>
                <a:srgbClr val="AEABAB"/>
              </a:solidFill>
            </c:spPr>
          </c:dPt>
          <c:dPt>
            <c:idx val="1416"/>
            <c:spPr>
              <a:solidFill>
                <a:srgbClr val="AEABAB"/>
              </a:solidFill>
            </c:spPr>
          </c:dPt>
          <c:dPt>
            <c:idx val="1417"/>
            <c:spPr>
              <a:solidFill>
                <a:srgbClr val="AEABAB"/>
              </a:solidFill>
            </c:spPr>
          </c:dPt>
          <c:dPt>
            <c:idx val="1418"/>
            <c:spPr>
              <a:solidFill>
                <a:srgbClr val="AEABAB"/>
              </a:solidFill>
            </c:spPr>
          </c:dPt>
          <c:dPt>
            <c:idx val="1419"/>
            <c:spPr>
              <a:solidFill>
                <a:srgbClr val="AEABAB"/>
              </a:solidFill>
            </c:spPr>
          </c:dPt>
          <c:dPt>
            <c:idx val="1420"/>
            <c:spPr>
              <a:solidFill>
                <a:srgbClr val="AEABAB"/>
              </a:solidFill>
            </c:spPr>
          </c:dPt>
          <c:dPt>
            <c:idx val="1421"/>
            <c:spPr>
              <a:solidFill>
                <a:srgbClr val="AEABAB"/>
              </a:solidFill>
            </c:spPr>
          </c:dPt>
          <c:dPt>
            <c:idx val="1422"/>
            <c:spPr>
              <a:solidFill>
                <a:srgbClr val="AEABAB"/>
              </a:solidFill>
            </c:spPr>
          </c:dPt>
          <c:dPt>
            <c:idx val="1423"/>
            <c:spPr>
              <a:solidFill>
                <a:srgbClr val="AEABAB"/>
              </a:solidFill>
            </c:spPr>
          </c:dPt>
          <c:dPt>
            <c:idx val="1424"/>
            <c:spPr>
              <a:solidFill>
                <a:srgbClr val="AEABAB"/>
              </a:solidFill>
            </c:spPr>
          </c:dPt>
          <c:dPt>
            <c:idx val="1425"/>
            <c:spPr>
              <a:solidFill>
                <a:srgbClr val="AEABAB"/>
              </a:solidFill>
            </c:spPr>
          </c:dPt>
          <c:dPt>
            <c:idx val="1426"/>
            <c:spPr>
              <a:solidFill>
                <a:srgbClr val="AEABAB"/>
              </a:solidFill>
            </c:spPr>
          </c:dPt>
          <c:dPt>
            <c:idx val="1427"/>
            <c:spPr>
              <a:solidFill>
                <a:srgbClr val="AEABAB"/>
              </a:solidFill>
            </c:spPr>
          </c:dPt>
          <c:dPt>
            <c:idx val="1428"/>
            <c:spPr>
              <a:solidFill>
                <a:srgbClr val="AEABAB"/>
              </a:solidFill>
            </c:spPr>
          </c:dPt>
          <c:dPt>
            <c:idx val="1429"/>
            <c:spPr>
              <a:solidFill>
                <a:srgbClr val="AEABAB"/>
              </a:solidFill>
            </c:spPr>
          </c:dPt>
          <c:dPt>
            <c:idx val="1430"/>
            <c:spPr>
              <a:solidFill>
                <a:srgbClr val="AEABAB"/>
              </a:solidFill>
            </c:spPr>
          </c:dPt>
          <c:dPt>
            <c:idx val="1431"/>
            <c:spPr>
              <a:solidFill>
                <a:srgbClr val="AEABAB"/>
              </a:solidFill>
            </c:spPr>
          </c:dPt>
          <c:dPt>
            <c:idx val="1432"/>
            <c:spPr>
              <a:solidFill>
                <a:srgbClr val="AEABAB"/>
              </a:solidFill>
            </c:spPr>
          </c:dPt>
          <c:dPt>
            <c:idx val="1433"/>
            <c:spPr>
              <a:solidFill>
                <a:srgbClr val="AEABAB"/>
              </a:solidFill>
            </c:spPr>
          </c:dPt>
          <c:dPt>
            <c:idx val="1434"/>
            <c:spPr>
              <a:solidFill>
                <a:srgbClr val="AEABAB"/>
              </a:solidFill>
            </c:spPr>
          </c:dPt>
          <c:dPt>
            <c:idx val="1435"/>
            <c:spPr>
              <a:solidFill>
                <a:srgbClr val="AEABAB"/>
              </a:solidFill>
            </c:spPr>
          </c:dPt>
          <c:dPt>
            <c:idx val="1436"/>
            <c:spPr>
              <a:solidFill>
                <a:srgbClr val="AEABAB"/>
              </a:solidFill>
            </c:spPr>
          </c:dPt>
          <c:dPt>
            <c:idx val="1437"/>
            <c:spPr>
              <a:solidFill>
                <a:srgbClr val="AEABAB"/>
              </a:solidFill>
            </c:spPr>
          </c:dPt>
          <c:dPt>
            <c:idx val="1438"/>
            <c:spPr>
              <a:solidFill>
                <a:srgbClr val="AEABAB"/>
              </a:solidFill>
            </c:spPr>
          </c:dPt>
          <c:dPt>
            <c:idx val="1439"/>
            <c:spPr>
              <a:solidFill>
                <a:srgbClr val="AEABAB"/>
              </a:solidFill>
            </c:spPr>
          </c:dPt>
          <c:dPt>
            <c:idx val="1440"/>
            <c:spPr>
              <a:solidFill>
                <a:srgbClr val="AEABAB"/>
              </a:solidFill>
            </c:spPr>
          </c:dPt>
          <c:dPt>
            <c:idx val="1441"/>
            <c:spPr>
              <a:solidFill>
                <a:srgbClr val="AEABAB"/>
              </a:solidFill>
            </c:spPr>
          </c:dPt>
          <c:dPt>
            <c:idx val="1442"/>
            <c:spPr>
              <a:solidFill>
                <a:srgbClr val="AEABAB"/>
              </a:solidFill>
            </c:spPr>
          </c:dPt>
          <c:dPt>
            <c:idx val="1443"/>
            <c:spPr>
              <a:solidFill>
                <a:srgbClr val="AEABAB"/>
              </a:solidFill>
            </c:spPr>
          </c:dPt>
          <c:dPt>
            <c:idx val="1444"/>
            <c:spPr>
              <a:solidFill>
                <a:srgbClr val="AEABAB"/>
              </a:solidFill>
            </c:spPr>
          </c:dPt>
          <c:dPt>
            <c:idx val="1445"/>
            <c:spPr>
              <a:solidFill>
                <a:srgbClr val="AEABAB"/>
              </a:solidFill>
            </c:spPr>
          </c:dPt>
          <c:dPt>
            <c:idx val="1446"/>
            <c:spPr>
              <a:solidFill>
                <a:srgbClr val="AEABAB"/>
              </a:solidFill>
            </c:spPr>
          </c:dPt>
          <c:dPt>
            <c:idx val="1447"/>
            <c:spPr>
              <a:solidFill>
                <a:srgbClr val="AEABAB"/>
              </a:solidFill>
            </c:spPr>
          </c:dPt>
          <c:dPt>
            <c:idx val="1448"/>
            <c:spPr>
              <a:solidFill>
                <a:srgbClr val="AEABAB"/>
              </a:solidFill>
            </c:spPr>
          </c:dPt>
          <c:dPt>
            <c:idx val="1449"/>
            <c:spPr>
              <a:solidFill>
                <a:srgbClr val="AEABAB"/>
              </a:solidFill>
            </c:spPr>
          </c:dPt>
          <c:dPt>
            <c:idx val="1450"/>
            <c:spPr>
              <a:solidFill>
                <a:srgbClr val="AEABAB"/>
              </a:solidFill>
            </c:spPr>
          </c:dPt>
          <c:dPt>
            <c:idx val="1451"/>
            <c:spPr>
              <a:solidFill>
                <a:srgbClr val="AEABAB"/>
              </a:solidFill>
            </c:spPr>
          </c:dPt>
          <c:dPt>
            <c:idx val="1452"/>
            <c:spPr>
              <a:solidFill>
                <a:srgbClr val="AEABAB"/>
              </a:solidFill>
            </c:spPr>
          </c:dPt>
          <c:dPt>
            <c:idx val="1453"/>
            <c:spPr>
              <a:solidFill>
                <a:srgbClr val="AEABAB"/>
              </a:solidFill>
            </c:spPr>
          </c:dPt>
          <c:dPt>
            <c:idx val="1454"/>
            <c:spPr>
              <a:solidFill>
                <a:srgbClr val="AEABAB"/>
              </a:solidFill>
            </c:spPr>
          </c:dPt>
          <c:dPt>
            <c:idx val="1455"/>
            <c:spPr>
              <a:solidFill>
                <a:srgbClr val="AEABAB"/>
              </a:solidFill>
            </c:spPr>
          </c:dPt>
          <c:dPt>
            <c:idx val="1456"/>
            <c:spPr>
              <a:solidFill>
                <a:srgbClr val="AEABAB"/>
              </a:solidFill>
            </c:spPr>
          </c:dPt>
          <c:dPt>
            <c:idx val="1457"/>
            <c:spPr>
              <a:solidFill>
                <a:srgbClr val="AEABAB"/>
              </a:solidFill>
            </c:spPr>
          </c:dPt>
          <c:dPt>
            <c:idx val="1458"/>
            <c:spPr>
              <a:solidFill>
                <a:srgbClr val="AEABAB"/>
              </a:solidFill>
            </c:spPr>
          </c:dPt>
          <c:dPt>
            <c:idx val="1459"/>
            <c:spPr>
              <a:solidFill>
                <a:srgbClr val="AEABAB"/>
              </a:solidFill>
            </c:spPr>
          </c:dPt>
          <c:dPt>
            <c:idx val="1460"/>
            <c:spPr>
              <a:solidFill>
                <a:srgbClr val="AEABAB"/>
              </a:solidFill>
            </c:spPr>
          </c:dPt>
          <c:dPt>
            <c:idx val="1461"/>
            <c:spPr>
              <a:solidFill>
                <a:srgbClr val="AEABAB"/>
              </a:solidFill>
            </c:spPr>
          </c:dPt>
          <c:dPt>
            <c:idx val="1462"/>
            <c:spPr>
              <a:solidFill>
                <a:srgbClr val="AEABAB"/>
              </a:solidFill>
            </c:spPr>
          </c:dPt>
          <c:dPt>
            <c:idx val="1463"/>
            <c:spPr>
              <a:solidFill>
                <a:srgbClr val="AEABAB"/>
              </a:solidFill>
            </c:spPr>
          </c:dPt>
          <c:dPt>
            <c:idx val="1464"/>
            <c:spPr>
              <a:solidFill>
                <a:srgbClr val="AEABAB"/>
              </a:solidFill>
            </c:spPr>
          </c:dPt>
          <c:dPt>
            <c:idx val="1465"/>
            <c:spPr>
              <a:solidFill>
                <a:srgbClr val="AEABAB"/>
              </a:solidFill>
            </c:spPr>
          </c:dPt>
          <c:dPt>
            <c:idx val="1466"/>
            <c:spPr>
              <a:solidFill>
                <a:srgbClr val="AEABAB"/>
              </a:solidFill>
            </c:spPr>
          </c:dPt>
          <c:dPt>
            <c:idx val="1467"/>
            <c:spPr>
              <a:solidFill>
                <a:srgbClr val="AEABAB"/>
              </a:solidFill>
            </c:spPr>
          </c:dPt>
          <c:dPt>
            <c:idx val="1468"/>
            <c:spPr>
              <a:solidFill>
                <a:srgbClr val="AEABAB"/>
              </a:solidFill>
            </c:spPr>
          </c:dPt>
          <c:dPt>
            <c:idx val="1469"/>
            <c:spPr>
              <a:solidFill>
                <a:srgbClr val="AEABAB"/>
              </a:solidFill>
            </c:spPr>
          </c:dPt>
          <c:dPt>
            <c:idx val="1470"/>
            <c:spPr>
              <a:solidFill>
                <a:srgbClr val="AEABAB"/>
              </a:solidFill>
            </c:spPr>
          </c:dPt>
          <c:dPt>
            <c:idx val="1471"/>
            <c:spPr>
              <a:solidFill>
                <a:srgbClr val="AEABAB"/>
              </a:solidFill>
            </c:spPr>
          </c:dPt>
          <c:dPt>
            <c:idx val="1472"/>
            <c:spPr>
              <a:solidFill>
                <a:srgbClr val="AEABAB"/>
              </a:solidFill>
            </c:spPr>
          </c:dPt>
          <c:dPt>
            <c:idx val="1473"/>
            <c:spPr>
              <a:solidFill>
                <a:srgbClr val="AEABAB"/>
              </a:solidFill>
            </c:spPr>
          </c:dPt>
          <c:dPt>
            <c:idx val="1474"/>
            <c:spPr>
              <a:solidFill>
                <a:srgbClr val="AEABAB"/>
              </a:solidFill>
            </c:spPr>
          </c:dPt>
          <c:dPt>
            <c:idx val="1475"/>
            <c:spPr>
              <a:solidFill>
                <a:srgbClr val="AEABAB"/>
              </a:solidFill>
            </c:spPr>
          </c:dPt>
          <c:dPt>
            <c:idx val="1476"/>
            <c:spPr>
              <a:solidFill>
                <a:srgbClr val="AEABAB"/>
              </a:solidFill>
            </c:spPr>
          </c:dPt>
          <c:dPt>
            <c:idx val="1477"/>
            <c:spPr>
              <a:solidFill>
                <a:srgbClr val="AEABAB"/>
              </a:solidFill>
            </c:spPr>
          </c:dPt>
          <c:dPt>
            <c:idx val="1478"/>
            <c:spPr>
              <a:solidFill>
                <a:srgbClr val="AEABAB"/>
              </a:solidFill>
            </c:spPr>
          </c:dPt>
          <c:dPt>
            <c:idx val="1479"/>
            <c:spPr>
              <a:solidFill>
                <a:srgbClr val="AEABAB"/>
              </a:solidFill>
            </c:spPr>
          </c:dPt>
          <c:dPt>
            <c:idx val="1480"/>
            <c:spPr>
              <a:solidFill>
                <a:srgbClr val="AEABAB"/>
              </a:solidFill>
            </c:spPr>
          </c:dPt>
          <c:dPt>
            <c:idx val="1481"/>
            <c:spPr>
              <a:solidFill>
                <a:srgbClr val="AEABAB"/>
              </a:solidFill>
            </c:spPr>
          </c:dPt>
          <c:dPt>
            <c:idx val="1482"/>
            <c:spPr>
              <a:solidFill>
                <a:srgbClr val="AEABAB"/>
              </a:solidFill>
            </c:spPr>
          </c:dPt>
          <c:dPt>
            <c:idx val="1483"/>
            <c:spPr>
              <a:solidFill>
                <a:srgbClr val="AEABAB"/>
              </a:solidFill>
            </c:spPr>
          </c:dPt>
          <c:dPt>
            <c:idx val="1484"/>
            <c:spPr>
              <a:solidFill>
                <a:srgbClr val="AEABAB"/>
              </a:solidFill>
            </c:spPr>
          </c:dPt>
          <c:dPt>
            <c:idx val="1485"/>
            <c:spPr>
              <a:solidFill>
                <a:srgbClr val="AEABAB"/>
              </a:solidFill>
            </c:spPr>
          </c:dPt>
          <c:dPt>
            <c:idx val="1486"/>
            <c:spPr>
              <a:solidFill>
                <a:srgbClr val="AEABAB"/>
              </a:solidFill>
            </c:spPr>
          </c:dPt>
          <c:dPt>
            <c:idx val="1487"/>
            <c:spPr>
              <a:solidFill>
                <a:srgbClr val="AEABAB"/>
              </a:solidFill>
            </c:spPr>
          </c:dPt>
          <c:dPt>
            <c:idx val="1488"/>
            <c:spPr>
              <a:solidFill>
                <a:srgbClr val="AEABAB"/>
              </a:solidFill>
            </c:spPr>
          </c:dPt>
          <c:dPt>
            <c:idx val="1489"/>
            <c:spPr>
              <a:solidFill>
                <a:srgbClr val="AEABAB"/>
              </a:solidFill>
            </c:spPr>
          </c:dPt>
          <c:dPt>
            <c:idx val="1490"/>
            <c:spPr>
              <a:solidFill>
                <a:srgbClr val="AEABAB"/>
              </a:solidFill>
            </c:spPr>
          </c:dPt>
          <c:dPt>
            <c:idx val="1491"/>
            <c:spPr>
              <a:solidFill>
                <a:srgbClr val="AEABAB"/>
              </a:solidFill>
            </c:spPr>
          </c:dPt>
          <c:dPt>
            <c:idx val="1492"/>
            <c:spPr>
              <a:solidFill>
                <a:srgbClr val="AEABAB"/>
              </a:solidFill>
            </c:spPr>
          </c:dPt>
          <c:dPt>
            <c:idx val="1493"/>
            <c:spPr>
              <a:solidFill>
                <a:srgbClr val="AEABAB"/>
              </a:solidFill>
            </c:spPr>
          </c:dPt>
          <c:dPt>
            <c:idx val="1494"/>
            <c:spPr>
              <a:solidFill>
                <a:srgbClr val="AEABAB"/>
              </a:solidFill>
            </c:spPr>
          </c:dPt>
          <c:dPt>
            <c:idx val="1495"/>
            <c:spPr>
              <a:solidFill>
                <a:srgbClr val="AEABAB"/>
              </a:solidFill>
            </c:spPr>
          </c:dPt>
          <c:dPt>
            <c:idx val="1496"/>
            <c:spPr>
              <a:solidFill>
                <a:srgbClr val="AEABAB"/>
              </a:solidFill>
            </c:spPr>
          </c:dPt>
          <c:dPt>
            <c:idx val="1497"/>
            <c:spPr>
              <a:solidFill>
                <a:srgbClr val="AEABAB"/>
              </a:solidFill>
            </c:spPr>
          </c:dPt>
          <c:dPt>
            <c:idx val="1498"/>
            <c:spPr>
              <a:solidFill>
                <a:srgbClr val="AEABAB"/>
              </a:solidFill>
            </c:spPr>
          </c:dPt>
          <c:dPt>
            <c:idx val="1499"/>
            <c:spPr>
              <a:solidFill>
                <a:srgbClr val="AEABAB"/>
              </a:solidFill>
            </c:spPr>
          </c:dPt>
          <c:dPt>
            <c:idx val="1500"/>
            <c:spPr>
              <a:solidFill>
                <a:srgbClr val="AEABAB"/>
              </a:solidFill>
            </c:spPr>
          </c:dPt>
          <c:dPt>
            <c:idx val="1501"/>
            <c:spPr>
              <a:solidFill>
                <a:srgbClr val="AEABAB"/>
              </a:solidFill>
            </c:spPr>
          </c:dPt>
          <c:dPt>
            <c:idx val="1502"/>
            <c:spPr>
              <a:solidFill>
                <a:srgbClr val="AEABAB"/>
              </a:solidFill>
            </c:spPr>
          </c:dPt>
          <c:dPt>
            <c:idx val="1503"/>
            <c:spPr>
              <a:solidFill>
                <a:srgbClr val="AEABAB"/>
              </a:solidFill>
            </c:spPr>
          </c:dPt>
          <c:dPt>
            <c:idx val="1504"/>
            <c:spPr>
              <a:solidFill>
                <a:srgbClr val="AEABAB"/>
              </a:solidFill>
            </c:spPr>
          </c:dPt>
          <c:dPt>
            <c:idx val="1505"/>
            <c:spPr>
              <a:solidFill>
                <a:srgbClr val="AEABAB"/>
              </a:solidFill>
            </c:spPr>
          </c:dPt>
          <c:dPt>
            <c:idx val="1506"/>
            <c:spPr>
              <a:solidFill>
                <a:srgbClr val="AEABAB"/>
              </a:solidFill>
            </c:spPr>
          </c:dPt>
          <c:dPt>
            <c:idx val="1507"/>
            <c:spPr>
              <a:solidFill>
                <a:srgbClr val="AEABAB"/>
              </a:solidFill>
            </c:spPr>
          </c:dPt>
          <c:dPt>
            <c:idx val="1508"/>
            <c:spPr>
              <a:solidFill>
                <a:srgbClr val="AEABAB"/>
              </a:solidFill>
            </c:spPr>
          </c:dPt>
          <c:dPt>
            <c:idx val="1509"/>
            <c:spPr>
              <a:solidFill>
                <a:srgbClr val="AEABAB"/>
              </a:solidFill>
            </c:spPr>
          </c:dPt>
          <c:dPt>
            <c:idx val="1510"/>
            <c:spPr>
              <a:solidFill>
                <a:srgbClr val="AEABAB"/>
              </a:solidFill>
            </c:spPr>
          </c:dPt>
          <c:dPt>
            <c:idx val="1511"/>
            <c:spPr>
              <a:solidFill>
                <a:srgbClr val="AEABAB"/>
              </a:solidFill>
            </c:spPr>
          </c:dPt>
          <c:dPt>
            <c:idx val="1512"/>
            <c:spPr>
              <a:solidFill>
                <a:srgbClr val="AEABAB"/>
              </a:solidFill>
            </c:spPr>
          </c:dPt>
          <c:dPt>
            <c:idx val="1513"/>
            <c:spPr>
              <a:solidFill>
                <a:srgbClr val="AEABAB"/>
              </a:solidFill>
            </c:spPr>
          </c:dPt>
          <c:dPt>
            <c:idx val="1514"/>
            <c:spPr>
              <a:solidFill>
                <a:srgbClr val="AEABAB"/>
              </a:solidFill>
            </c:spPr>
          </c:dPt>
          <c:dPt>
            <c:idx val="1515"/>
            <c:spPr>
              <a:solidFill>
                <a:srgbClr val="AEABAB"/>
              </a:solidFill>
            </c:spPr>
          </c:dPt>
          <c:dPt>
            <c:idx val="1516"/>
            <c:spPr>
              <a:solidFill>
                <a:srgbClr val="AEABAB"/>
              </a:solidFill>
            </c:spPr>
          </c:dPt>
          <c:dPt>
            <c:idx val="1517"/>
            <c:spPr>
              <a:solidFill>
                <a:srgbClr val="AEABAB"/>
              </a:solidFill>
            </c:spPr>
          </c:dPt>
          <c:dPt>
            <c:idx val="1518"/>
            <c:spPr>
              <a:solidFill>
                <a:srgbClr val="AEABAB"/>
              </a:solidFill>
            </c:spPr>
          </c:dPt>
          <c:dPt>
            <c:idx val="1519"/>
            <c:spPr>
              <a:solidFill>
                <a:srgbClr val="AEABAB"/>
              </a:solidFill>
            </c:spPr>
          </c:dPt>
          <c:dPt>
            <c:idx val="1520"/>
            <c:spPr>
              <a:solidFill>
                <a:srgbClr val="AEABAB"/>
              </a:solidFill>
            </c:spPr>
          </c:dPt>
          <c:dPt>
            <c:idx val="1521"/>
            <c:spPr>
              <a:solidFill>
                <a:srgbClr val="AEABAB"/>
              </a:solidFill>
            </c:spPr>
          </c:dPt>
          <c:dPt>
            <c:idx val="1522"/>
            <c:spPr>
              <a:solidFill>
                <a:srgbClr val="AEABAB"/>
              </a:solidFill>
            </c:spPr>
          </c:dPt>
          <c:dPt>
            <c:idx val="1523"/>
            <c:spPr>
              <a:solidFill>
                <a:srgbClr val="AEABAB"/>
              </a:solidFill>
            </c:spPr>
          </c:dPt>
          <c:dPt>
            <c:idx val="1524"/>
            <c:spPr>
              <a:solidFill>
                <a:srgbClr val="AEABAB"/>
              </a:solidFill>
            </c:spPr>
          </c:dPt>
          <c:dPt>
            <c:idx val="1525"/>
            <c:spPr>
              <a:solidFill>
                <a:srgbClr val="AEABAB"/>
              </a:solidFill>
            </c:spPr>
          </c:dPt>
          <c:dPt>
            <c:idx val="1526"/>
            <c:spPr>
              <a:solidFill>
                <a:srgbClr val="AEABAB"/>
              </a:solidFill>
            </c:spPr>
          </c:dPt>
          <c:dPt>
            <c:idx val="1527"/>
            <c:spPr>
              <a:solidFill>
                <a:srgbClr val="AEABAB"/>
              </a:solidFill>
            </c:spPr>
          </c:dPt>
          <c:dPt>
            <c:idx val="1528"/>
            <c:spPr>
              <a:solidFill>
                <a:srgbClr val="AEABAB"/>
              </a:solidFill>
            </c:spPr>
          </c:dPt>
          <c:dPt>
            <c:idx val="1529"/>
            <c:spPr>
              <a:solidFill>
                <a:srgbClr val="AEABAB"/>
              </a:solidFill>
            </c:spPr>
          </c:dPt>
          <c:dPt>
            <c:idx val="1530"/>
            <c:spPr>
              <a:solidFill>
                <a:srgbClr val="AEABAB"/>
              </a:solidFill>
            </c:spPr>
          </c:dPt>
          <c:dPt>
            <c:idx val="1531"/>
            <c:spPr>
              <a:solidFill>
                <a:srgbClr val="AEABAB"/>
              </a:solidFill>
            </c:spPr>
          </c:dPt>
          <c:dPt>
            <c:idx val="1532"/>
            <c:spPr>
              <a:solidFill>
                <a:srgbClr val="AEABAB"/>
              </a:solidFill>
            </c:spPr>
          </c:dPt>
          <c:dPt>
            <c:idx val="1533"/>
            <c:spPr>
              <a:solidFill>
                <a:srgbClr val="AEABAB"/>
              </a:solidFill>
            </c:spPr>
          </c:dPt>
          <c:dPt>
            <c:idx val="1534"/>
            <c:spPr>
              <a:solidFill>
                <a:srgbClr val="AEABAB"/>
              </a:solidFill>
            </c:spPr>
          </c:dPt>
          <c:dPt>
            <c:idx val="1535"/>
            <c:spPr>
              <a:solidFill>
                <a:srgbClr val="AEABAB"/>
              </a:solidFill>
            </c:spPr>
          </c:dPt>
          <c:dPt>
            <c:idx val="1536"/>
            <c:spPr>
              <a:solidFill>
                <a:srgbClr val="AEABAB"/>
              </a:solidFill>
            </c:spPr>
          </c:dPt>
          <c:dPt>
            <c:idx val="1537"/>
            <c:spPr>
              <a:solidFill>
                <a:srgbClr val="AEABAB"/>
              </a:solidFill>
            </c:spPr>
          </c:dPt>
          <c:dPt>
            <c:idx val="1538"/>
            <c:spPr>
              <a:solidFill>
                <a:srgbClr val="AEABAB"/>
              </a:solidFill>
            </c:spPr>
          </c:dPt>
          <c:dPt>
            <c:idx val="1539"/>
            <c:spPr>
              <a:solidFill>
                <a:srgbClr val="AEABAB"/>
              </a:solidFill>
            </c:spPr>
          </c:dPt>
          <c:dPt>
            <c:idx val="1540"/>
            <c:spPr>
              <a:solidFill>
                <a:srgbClr val="AEABAB"/>
              </a:solidFill>
            </c:spPr>
          </c:dPt>
          <c:dPt>
            <c:idx val="1541"/>
            <c:spPr>
              <a:solidFill>
                <a:srgbClr val="AEABAB"/>
              </a:solidFill>
            </c:spPr>
          </c:dPt>
          <c:dPt>
            <c:idx val="1542"/>
            <c:spPr>
              <a:solidFill>
                <a:srgbClr val="AEABAB"/>
              </a:solidFill>
            </c:spPr>
          </c:dPt>
          <c:dPt>
            <c:idx val="1543"/>
            <c:spPr>
              <a:solidFill>
                <a:srgbClr val="AEABAB"/>
              </a:solidFill>
            </c:spPr>
          </c:dPt>
          <c:dPt>
            <c:idx val="1544"/>
            <c:spPr>
              <a:solidFill>
                <a:srgbClr val="AEABAB"/>
              </a:solidFill>
            </c:spPr>
          </c:dPt>
          <c:dPt>
            <c:idx val="1545"/>
            <c:spPr>
              <a:solidFill>
                <a:srgbClr val="AEABAB"/>
              </a:solidFill>
            </c:spPr>
          </c:dPt>
          <c:dPt>
            <c:idx val="1546"/>
            <c:spPr>
              <a:solidFill>
                <a:srgbClr val="AEABAB"/>
              </a:solidFill>
            </c:spPr>
          </c:dPt>
          <c:dPt>
            <c:idx val="1547"/>
            <c:spPr>
              <a:solidFill>
                <a:srgbClr val="AEABAB"/>
              </a:solidFill>
            </c:spPr>
          </c:dPt>
          <c:dPt>
            <c:idx val="1548"/>
            <c:spPr>
              <a:solidFill>
                <a:srgbClr val="AEABAB"/>
              </a:solidFill>
            </c:spPr>
          </c:dPt>
          <c:dPt>
            <c:idx val="1549"/>
            <c:spPr>
              <a:solidFill>
                <a:srgbClr val="AEABAB"/>
              </a:solidFill>
            </c:spPr>
          </c:dPt>
          <c:dPt>
            <c:idx val="1550"/>
            <c:spPr>
              <a:solidFill>
                <a:srgbClr val="AEABAB"/>
              </a:solidFill>
            </c:spPr>
          </c:dPt>
          <c:dPt>
            <c:idx val="1551"/>
            <c:spPr>
              <a:solidFill>
                <a:srgbClr val="AEABAB"/>
              </a:solidFill>
            </c:spPr>
          </c:dPt>
          <c:dPt>
            <c:idx val="1552"/>
            <c:spPr>
              <a:solidFill>
                <a:srgbClr val="AEABAB"/>
              </a:solidFill>
            </c:spPr>
          </c:dPt>
          <c:dPt>
            <c:idx val="1553"/>
            <c:spPr>
              <a:solidFill>
                <a:srgbClr val="AEABAB"/>
              </a:solidFill>
            </c:spPr>
          </c:dPt>
          <c:dPt>
            <c:idx val="1554"/>
            <c:spPr>
              <a:solidFill>
                <a:srgbClr val="AEABAB"/>
              </a:solidFill>
            </c:spPr>
          </c:dPt>
          <c:dPt>
            <c:idx val="1555"/>
            <c:spPr>
              <a:solidFill>
                <a:srgbClr val="AEABAB"/>
              </a:solidFill>
            </c:spPr>
          </c:dPt>
          <c:dPt>
            <c:idx val="1556"/>
            <c:spPr>
              <a:solidFill>
                <a:srgbClr val="AEABAB"/>
              </a:solidFill>
            </c:spPr>
          </c:dPt>
          <c:dPt>
            <c:idx val="1557"/>
            <c:spPr>
              <a:solidFill>
                <a:srgbClr val="AEABAB"/>
              </a:solidFill>
            </c:spPr>
          </c:dPt>
          <c:dPt>
            <c:idx val="1558"/>
            <c:spPr>
              <a:solidFill>
                <a:srgbClr val="AEABAB"/>
              </a:solidFill>
            </c:spPr>
          </c:dPt>
          <c:dPt>
            <c:idx val="1559"/>
            <c:spPr>
              <a:solidFill>
                <a:srgbClr val="AEABAB"/>
              </a:solidFill>
            </c:spPr>
          </c:dPt>
          <c:dPt>
            <c:idx val="1560"/>
            <c:spPr>
              <a:solidFill>
                <a:srgbClr val="AEABAB"/>
              </a:solidFill>
            </c:spPr>
          </c:dPt>
          <c:dPt>
            <c:idx val="1561"/>
            <c:spPr>
              <a:solidFill>
                <a:srgbClr val="AEABAB"/>
              </a:solidFill>
            </c:spPr>
          </c:dPt>
          <c:dPt>
            <c:idx val="1562"/>
            <c:spPr>
              <a:solidFill>
                <a:srgbClr val="AEABAB"/>
              </a:solidFill>
            </c:spPr>
          </c:dPt>
          <c:dPt>
            <c:idx val="1563"/>
            <c:spPr>
              <a:solidFill>
                <a:srgbClr val="AEABAB"/>
              </a:solidFill>
            </c:spPr>
          </c:dPt>
          <c:dPt>
            <c:idx val="1564"/>
            <c:spPr>
              <a:solidFill>
                <a:srgbClr val="AEABAB"/>
              </a:solidFill>
            </c:spPr>
          </c:dPt>
          <c:dPt>
            <c:idx val="1565"/>
            <c:spPr>
              <a:solidFill>
                <a:srgbClr val="AEABAB"/>
              </a:solidFill>
            </c:spPr>
          </c:dPt>
          <c:dPt>
            <c:idx val="1566"/>
            <c:spPr>
              <a:solidFill>
                <a:srgbClr val="AEABAB"/>
              </a:solidFill>
            </c:spPr>
          </c:dPt>
          <c:dPt>
            <c:idx val="1567"/>
            <c:spPr>
              <a:solidFill>
                <a:srgbClr val="AEABAB"/>
              </a:solidFill>
            </c:spPr>
          </c:dPt>
          <c:dPt>
            <c:idx val="1568"/>
            <c:spPr>
              <a:solidFill>
                <a:srgbClr val="AEABAB"/>
              </a:solidFill>
            </c:spPr>
          </c:dPt>
          <c:dPt>
            <c:idx val="1569"/>
            <c:spPr>
              <a:solidFill>
                <a:srgbClr val="AEABAB"/>
              </a:solidFill>
            </c:spPr>
          </c:dPt>
          <c:dPt>
            <c:idx val="1570"/>
            <c:spPr>
              <a:solidFill>
                <a:srgbClr val="AEABAB"/>
              </a:solidFill>
            </c:spPr>
          </c:dPt>
          <c:dPt>
            <c:idx val="1571"/>
            <c:spPr>
              <a:solidFill>
                <a:srgbClr val="AEABAB"/>
              </a:solidFill>
            </c:spPr>
          </c:dPt>
          <c:dPt>
            <c:idx val="1572"/>
            <c:spPr>
              <a:solidFill>
                <a:srgbClr val="AEABAB"/>
              </a:solidFill>
            </c:spPr>
          </c:dPt>
          <c:dPt>
            <c:idx val="1573"/>
            <c:spPr>
              <a:solidFill>
                <a:srgbClr val="AEABAB"/>
              </a:solidFill>
            </c:spPr>
          </c:dPt>
          <c:dPt>
            <c:idx val="1574"/>
            <c:spPr>
              <a:solidFill>
                <a:srgbClr val="AEABAB"/>
              </a:solidFill>
            </c:spPr>
          </c:dPt>
          <c:dPt>
            <c:idx val="1575"/>
            <c:spPr>
              <a:solidFill>
                <a:srgbClr val="AEABAB"/>
              </a:solidFill>
            </c:spPr>
          </c:dPt>
          <c:dPt>
            <c:idx val="1576"/>
            <c:spPr>
              <a:solidFill>
                <a:srgbClr val="AEABAB"/>
              </a:solidFill>
            </c:spPr>
          </c:dPt>
          <c:dPt>
            <c:idx val="1577"/>
            <c:spPr>
              <a:solidFill>
                <a:srgbClr val="AEABAB"/>
              </a:solidFill>
            </c:spPr>
          </c:dPt>
          <c:dPt>
            <c:idx val="1578"/>
            <c:spPr>
              <a:solidFill>
                <a:srgbClr val="AEABAB"/>
              </a:solidFill>
            </c:spPr>
          </c:dPt>
          <c:dPt>
            <c:idx val="1579"/>
            <c:spPr>
              <a:solidFill>
                <a:srgbClr val="AEABAB"/>
              </a:solidFill>
            </c:spPr>
          </c:dPt>
          <c:dPt>
            <c:idx val="1580"/>
            <c:spPr>
              <a:solidFill>
                <a:srgbClr val="AEABAB"/>
              </a:solidFill>
            </c:spPr>
          </c:dPt>
          <c:dPt>
            <c:idx val="1581"/>
            <c:spPr>
              <a:solidFill>
                <a:srgbClr val="AEABAB"/>
              </a:solidFill>
            </c:spPr>
          </c:dPt>
          <c:dPt>
            <c:idx val="1582"/>
            <c:spPr>
              <a:solidFill>
                <a:srgbClr val="AEABAB"/>
              </a:solidFill>
            </c:spPr>
          </c:dPt>
          <c:dPt>
            <c:idx val="1583"/>
            <c:spPr>
              <a:solidFill>
                <a:srgbClr val="AEABAB"/>
              </a:solidFill>
            </c:spPr>
          </c:dPt>
          <c:dPt>
            <c:idx val="1584"/>
            <c:spPr>
              <a:solidFill>
                <a:srgbClr val="AEABAB"/>
              </a:solidFill>
            </c:spPr>
          </c:dPt>
          <c:dPt>
            <c:idx val="1585"/>
            <c:spPr>
              <a:solidFill>
                <a:srgbClr val="AEABAB"/>
              </a:solidFill>
            </c:spPr>
          </c:dPt>
          <c:dPt>
            <c:idx val="1586"/>
            <c:spPr>
              <a:solidFill>
                <a:srgbClr val="AEABAB"/>
              </a:solidFill>
            </c:spPr>
          </c:dPt>
          <c:dPt>
            <c:idx val="1587"/>
            <c:spPr>
              <a:solidFill>
                <a:srgbClr val="AEABAB"/>
              </a:solidFill>
            </c:spPr>
          </c:dPt>
          <c:dPt>
            <c:idx val="1588"/>
            <c:spPr>
              <a:solidFill>
                <a:srgbClr val="AEABAB"/>
              </a:solidFill>
            </c:spPr>
          </c:dPt>
          <c:dPt>
            <c:idx val="1589"/>
            <c:spPr>
              <a:solidFill>
                <a:srgbClr val="AEABAB"/>
              </a:solidFill>
            </c:spPr>
          </c:dPt>
          <c:dPt>
            <c:idx val="1590"/>
            <c:spPr>
              <a:solidFill>
                <a:srgbClr val="AEABAB"/>
              </a:solidFill>
            </c:spPr>
          </c:dPt>
          <c:dPt>
            <c:idx val="1591"/>
            <c:spPr>
              <a:solidFill>
                <a:srgbClr val="AEABAB"/>
              </a:solidFill>
            </c:spPr>
          </c:dPt>
          <c:dPt>
            <c:idx val="1592"/>
            <c:spPr>
              <a:solidFill>
                <a:srgbClr val="AEABAB"/>
              </a:solidFill>
            </c:spPr>
          </c:dPt>
          <c:dPt>
            <c:idx val="1593"/>
            <c:spPr>
              <a:solidFill>
                <a:srgbClr val="AEABAB"/>
              </a:solidFill>
            </c:spPr>
          </c:dPt>
          <c:dPt>
            <c:idx val="1594"/>
            <c:spPr>
              <a:solidFill>
                <a:srgbClr val="AEABAB"/>
              </a:solidFill>
            </c:spPr>
          </c:dPt>
          <c:dPt>
            <c:idx val="1595"/>
            <c:spPr>
              <a:solidFill>
                <a:srgbClr val="AEABAB"/>
              </a:solidFill>
            </c:spPr>
          </c:dPt>
          <c:dPt>
            <c:idx val="1596"/>
            <c:spPr>
              <a:solidFill>
                <a:srgbClr val="AEABAB"/>
              </a:solidFill>
            </c:spPr>
          </c:dPt>
          <c:dPt>
            <c:idx val="1597"/>
            <c:spPr>
              <a:solidFill>
                <a:srgbClr val="AEABAB"/>
              </a:solidFill>
            </c:spPr>
          </c:dPt>
          <c:dPt>
            <c:idx val="1598"/>
            <c:spPr>
              <a:solidFill>
                <a:srgbClr val="AEABAB"/>
              </a:solidFill>
            </c:spPr>
          </c:dPt>
          <c:dPt>
            <c:idx val="1599"/>
            <c:spPr>
              <a:solidFill>
                <a:srgbClr val="AEABAB"/>
              </a:solidFill>
            </c:spPr>
          </c:dPt>
          <c:dPt>
            <c:idx val="1600"/>
            <c:spPr>
              <a:solidFill>
                <a:srgbClr val="AEABAB"/>
              </a:solidFill>
            </c:spPr>
          </c:dPt>
          <c:dPt>
            <c:idx val="1601"/>
            <c:spPr>
              <a:solidFill>
                <a:srgbClr val="AEABAB"/>
              </a:solidFill>
            </c:spPr>
          </c:dPt>
          <c:dPt>
            <c:idx val="1602"/>
            <c:spPr>
              <a:solidFill>
                <a:srgbClr val="AEABAB"/>
              </a:solidFill>
            </c:spPr>
          </c:dPt>
          <c:dPt>
            <c:idx val="1603"/>
            <c:spPr>
              <a:solidFill>
                <a:srgbClr val="AEABAB"/>
              </a:solidFill>
            </c:spPr>
          </c:dPt>
          <c:dPt>
            <c:idx val="1604"/>
            <c:spPr>
              <a:solidFill>
                <a:srgbClr val="AEABAB"/>
              </a:solidFill>
            </c:spPr>
          </c:dPt>
          <c:dPt>
            <c:idx val="1605"/>
            <c:spPr>
              <a:solidFill>
                <a:srgbClr val="AEABAB"/>
              </a:solidFill>
            </c:spPr>
          </c:dPt>
          <c:dPt>
            <c:idx val="1606"/>
            <c:spPr>
              <a:solidFill>
                <a:srgbClr val="AEABAB"/>
              </a:solidFill>
            </c:spPr>
          </c:dPt>
          <c:dPt>
            <c:idx val="1607"/>
            <c:spPr>
              <a:solidFill>
                <a:srgbClr val="AEABAB"/>
              </a:solidFill>
            </c:spPr>
          </c:dPt>
          <c:dPt>
            <c:idx val="1608"/>
            <c:spPr>
              <a:solidFill>
                <a:srgbClr val="AEABAB"/>
              </a:solidFill>
            </c:spPr>
          </c:dPt>
          <c:dPt>
            <c:idx val="1609"/>
            <c:spPr>
              <a:solidFill>
                <a:srgbClr val="AEABAB"/>
              </a:solidFill>
            </c:spPr>
          </c:dPt>
          <c:dPt>
            <c:idx val="1610"/>
            <c:spPr>
              <a:solidFill>
                <a:srgbClr val="AEABAB"/>
              </a:solidFill>
            </c:spPr>
          </c:dPt>
          <c:dPt>
            <c:idx val="1611"/>
            <c:spPr>
              <a:solidFill>
                <a:srgbClr val="AEABAB"/>
              </a:solidFill>
            </c:spPr>
          </c:dPt>
          <c:dPt>
            <c:idx val="1612"/>
            <c:spPr>
              <a:solidFill>
                <a:srgbClr val="AEABAB"/>
              </a:solidFill>
            </c:spPr>
          </c:dPt>
          <c:dPt>
            <c:idx val="1613"/>
            <c:spPr>
              <a:solidFill>
                <a:srgbClr val="AEABAB"/>
              </a:solidFill>
            </c:spPr>
          </c:dPt>
          <c:dPt>
            <c:idx val="1614"/>
            <c:spPr>
              <a:solidFill>
                <a:srgbClr val="AEABAB"/>
              </a:solidFill>
            </c:spPr>
          </c:dPt>
          <c:dPt>
            <c:idx val="1615"/>
            <c:spPr>
              <a:solidFill>
                <a:srgbClr val="AEABAB"/>
              </a:solidFill>
            </c:spPr>
          </c:dPt>
          <c:dPt>
            <c:idx val="1616"/>
            <c:spPr>
              <a:solidFill>
                <a:srgbClr val="AEABAB"/>
              </a:solidFill>
            </c:spPr>
          </c:dPt>
          <c:dPt>
            <c:idx val="1617"/>
            <c:spPr>
              <a:solidFill>
                <a:srgbClr val="AEABAB"/>
              </a:solidFill>
            </c:spPr>
          </c:dPt>
          <c:dPt>
            <c:idx val="1618"/>
            <c:spPr>
              <a:solidFill>
                <a:srgbClr val="AEABAB"/>
              </a:solidFill>
            </c:spPr>
          </c:dPt>
          <c:dPt>
            <c:idx val="1619"/>
            <c:spPr>
              <a:solidFill>
                <a:srgbClr val="AEABAB"/>
              </a:solidFill>
            </c:spPr>
          </c:dPt>
          <c:dPt>
            <c:idx val="1620"/>
            <c:spPr>
              <a:solidFill>
                <a:srgbClr val="AEABAB"/>
              </a:solidFill>
            </c:spPr>
          </c:dPt>
          <c:dPt>
            <c:idx val="1621"/>
            <c:spPr>
              <a:solidFill>
                <a:srgbClr val="AEABAB"/>
              </a:solidFill>
            </c:spPr>
          </c:dPt>
          <c:dPt>
            <c:idx val="1622"/>
            <c:spPr>
              <a:solidFill>
                <a:srgbClr val="AEABAB"/>
              </a:solidFill>
            </c:spPr>
          </c:dPt>
          <c:dPt>
            <c:idx val="1623"/>
            <c:spPr>
              <a:solidFill>
                <a:srgbClr val="AEABAB"/>
              </a:solidFill>
            </c:spPr>
          </c:dPt>
          <c:dPt>
            <c:idx val="1624"/>
            <c:spPr>
              <a:solidFill>
                <a:srgbClr val="AEABAB"/>
              </a:solidFill>
            </c:spPr>
          </c:dPt>
          <c:dPt>
            <c:idx val="1625"/>
            <c:spPr>
              <a:solidFill>
                <a:srgbClr val="AEABAB"/>
              </a:solidFill>
            </c:spPr>
          </c:dPt>
          <c:dPt>
            <c:idx val="1626"/>
            <c:spPr>
              <a:solidFill>
                <a:srgbClr val="AEABAB"/>
              </a:solidFill>
            </c:spPr>
          </c:dPt>
          <c:dPt>
            <c:idx val="1627"/>
            <c:spPr>
              <a:solidFill>
                <a:srgbClr val="AEABAB"/>
              </a:solidFill>
            </c:spPr>
          </c:dPt>
          <c:dPt>
            <c:idx val="1628"/>
            <c:spPr>
              <a:solidFill>
                <a:srgbClr val="AEABAB"/>
              </a:solidFill>
            </c:spPr>
          </c:dPt>
          <c:dPt>
            <c:idx val="1629"/>
            <c:spPr>
              <a:solidFill>
                <a:srgbClr val="AEABAB"/>
              </a:solidFill>
            </c:spPr>
          </c:dPt>
          <c:dPt>
            <c:idx val="1630"/>
            <c:spPr>
              <a:solidFill>
                <a:srgbClr val="AEABAB"/>
              </a:solidFill>
            </c:spPr>
          </c:dPt>
          <c:dPt>
            <c:idx val="1631"/>
            <c:spPr>
              <a:solidFill>
                <a:srgbClr val="AEABAB"/>
              </a:solidFill>
            </c:spPr>
          </c:dPt>
          <c:dPt>
            <c:idx val="1632"/>
            <c:spPr>
              <a:solidFill>
                <a:srgbClr val="AEABAB"/>
              </a:solidFill>
            </c:spPr>
          </c:dPt>
          <c:dPt>
            <c:idx val="1633"/>
            <c:spPr>
              <a:solidFill>
                <a:srgbClr val="AEABAB"/>
              </a:solidFill>
            </c:spPr>
          </c:dPt>
          <c:dPt>
            <c:idx val="1634"/>
            <c:spPr>
              <a:solidFill>
                <a:srgbClr val="AEABAB"/>
              </a:solidFill>
            </c:spPr>
          </c:dPt>
          <c:dPt>
            <c:idx val="1635"/>
            <c:spPr>
              <a:solidFill>
                <a:srgbClr val="AEABAB"/>
              </a:solidFill>
            </c:spPr>
          </c:dPt>
          <c:dPt>
            <c:idx val="1636"/>
            <c:spPr>
              <a:solidFill>
                <a:srgbClr val="AEABAB"/>
              </a:solidFill>
            </c:spPr>
          </c:dPt>
          <c:dPt>
            <c:idx val="1637"/>
            <c:spPr>
              <a:solidFill>
                <a:srgbClr val="AEABAB"/>
              </a:solidFill>
            </c:spPr>
          </c:dPt>
          <c:dPt>
            <c:idx val="1638"/>
            <c:spPr>
              <a:solidFill>
                <a:srgbClr val="AEABAB"/>
              </a:solidFill>
            </c:spPr>
          </c:dPt>
          <c:dPt>
            <c:idx val="1639"/>
            <c:spPr>
              <a:solidFill>
                <a:srgbClr val="AEABAB"/>
              </a:solidFill>
            </c:spPr>
          </c:dPt>
          <c:dPt>
            <c:idx val="1640"/>
            <c:spPr>
              <a:solidFill>
                <a:srgbClr val="AEABAB"/>
              </a:solidFill>
            </c:spPr>
          </c:dPt>
          <c:dPt>
            <c:idx val="1641"/>
            <c:spPr>
              <a:solidFill>
                <a:srgbClr val="AEABAB"/>
              </a:solidFill>
            </c:spPr>
          </c:dPt>
          <c:dPt>
            <c:idx val="1642"/>
            <c:spPr>
              <a:solidFill>
                <a:srgbClr val="AEABAB"/>
              </a:solidFill>
            </c:spPr>
          </c:dPt>
          <c:dPt>
            <c:idx val="1643"/>
            <c:spPr>
              <a:solidFill>
                <a:srgbClr val="AEABAB"/>
              </a:solidFill>
            </c:spPr>
          </c:dPt>
          <c:dPt>
            <c:idx val="1644"/>
            <c:spPr>
              <a:solidFill>
                <a:srgbClr val="AEABAB"/>
              </a:solidFill>
            </c:spPr>
          </c:dPt>
          <c:dPt>
            <c:idx val="1645"/>
            <c:spPr>
              <a:solidFill>
                <a:srgbClr val="AEABAB"/>
              </a:solidFill>
            </c:spPr>
          </c:dPt>
          <c:dPt>
            <c:idx val="1646"/>
            <c:spPr>
              <a:solidFill>
                <a:srgbClr val="AEABAB"/>
              </a:solidFill>
            </c:spPr>
          </c:dPt>
          <c:dPt>
            <c:idx val="1647"/>
            <c:spPr>
              <a:solidFill>
                <a:srgbClr val="AEABAB"/>
              </a:solidFill>
            </c:spPr>
          </c:dPt>
          <c:dPt>
            <c:idx val="1648"/>
            <c:spPr>
              <a:solidFill>
                <a:srgbClr val="AEABAB"/>
              </a:solidFill>
            </c:spPr>
          </c:dPt>
          <c:dPt>
            <c:idx val="1649"/>
            <c:spPr>
              <a:solidFill>
                <a:srgbClr val="AEABAB"/>
              </a:solidFill>
            </c:spPr>
          </c:dPt>
          <c:dPt>
            <c:idx val="1650"/>
            <c:spPr>
              <a:solidFill>
                <a:srgbClr val="AEABAB"/>
              </a:solidFill>
            </c:spPr>
          </c:dPt>
          <c:dPt>
            <c:idx val="1651"/>
            <c:spPr>
              <a:solidFill>
                <a:srgbClr val="AEABAB"/>
              </a:solidFill>
            </c:spPr>
          </c:dPt>
          <c:dPt>
            <c:idx val="1652"/>
            <c:spPr>
              <a:solidFill>
                <a:srgbClr val="AEABAB"/>
              </a:solidFill>
            </c:spPr>
          </c:dPt>
          <c:dPt>
            <c:idx val="1653"/>
            <c:spPr>
              <a:solidFill>
                <a:srgbClr val="AEABAB"/>
              </a:solidFill>
            </c:spPr>
          </c:dPt>
          <c:dPt>
            <c:idx val="1654"/>
            <c:spPr>
              <a:solidFill>
                <a:srgbClr val="AEABAB"/>
              </a:solidFill>
            </c:spPr>
          </c:dPt>
          <c:dPt>
            <c:idx val="1655"/>
            <c:spPr>
              <a:solidFill>
                <a:srgbClr val="AEABAB"/>
              </a:solidFill>
            </c:spPr>
          </c:dPt>
          <c:dPt>
            <c:idx val="1656"/>
            <c:spPr>
              <a:solidFill>
                <a:srgbClr val="AEABAB"/>
              </a:solidFill>
            </c:spPr>
          </c:dPt>
          <c:dPt>
            <c:idx val="1657"/>
            <c:spPr>
              <a:solidFill>
                <a:srgbClr val="AEABAB"/>
              </a:solidFill>
            </c:spPr>
          </c:dPt>
          <c:dPt>
            <c:idx val="1658"/>
            <c:spPr>
              <a:solidFill>
                <a:srgbClr val="AEABAB"/>
              </a:solidFill>
            </c:spPr>
          </c:dPt>
          <c:dPt>
            <c:idx val="1659"/>
            <c:spPr>
              <a:solidFill>
                <a:srgbClr val="AEABAB"/>
              </a:solidFill>
            </c:spPr>
          </c:dPt>
          <c:dPt>
            <c:idx val="1660"/>
            <c:spPr>
              <a:solidFill>
                <a:srgbClr val="AEABAB"/>
              </a:solidFill>
            </c:spPr>
          </c:dPt>
          <c:dPt>
            <c:idx val="1661"/>
            <c:spPr>
              <a:solidFill>
                <a:srgbClr val="AEABAB"/>
              </a:solidFill>
            </c:spPr>
          </c:dPt>
          <c:dPt>
            <c:idx val="1662"/>
            <c:spPr>
              <a:solidFill>
                <a:srgbClr val="AEABAB"/>
              </a:solidFill>
            </c:spPr>
          </c:dPt>
          <c:dPt>
            <c:idx val="1663"/>
            <c:spPr>
              <a:solidFill>
                <a:srgbClr val="AEABAB"/>
              </a:solidFill>
            </c:spPr>
          </c:dPt>
          <c:dPt>
            <c:idx val="1664"/>
            <c:spPr>
              <a:solidFill>
                <a:srgbClr val="AEABAB"/>
              </a:solidFill>
            </c:spPr>
          </c:dPt>
          <c:dPt>
            <c:idx val="1665"/>
            <c:spPr>
              <a:solidFill>
                <a:srgbClr val="AEABAB"/>
              </a:solidFill>
            </c:spPr>
          </c:dPt>
          <c:dPt>
            <c:idx val="1666"/>
            <c:spPr>
              <a:solidFill>
                <a:srgbClr val="AEABAB"/>
              </a:solidFill>
            </c:spPr>
          </c:dPt>
          <c:dPt>
            <c:idx val="1667"/>
            <c:spPr>
              <a:solidFill>
                <a:srgbClr val="AEABAB"/>
              </a:solidFill>
            </c:spPr>
          </c:dPt>
          <c:dPt>
            <c:idx val="1668"/>
            <c:spPr>
              <a:solidFill>
                <a:srgbClr val="AEABAB"/>
              </a:solidFill>
            </c:spPr>
          </c:dPt>
          <c:dPt>
            <c:idx val="1669"/>
            <c:spPr>
              <a:solidFill>
                <a:srgbClr val="AEABAB"/>
              </a:solidFill>
            </c:spPr>
          </c:dPt>
          <c:dPt>
            <c:idx val="1670"/>
            <c:spPr>
              <a:solidFill>
                <a:srgbClr val="AEABAB"/>
              </a:solidFill>
            </c:spPr>
          </c:dPt>
          <c:dPt>
            <c:idx val="1671"/>
            <c:spPr>
              <a:solidFill>
                <a:srgbClr val="AEABAB"/>
              </a:solidFill>
            </c:spPr>
          </c:dPt>
          <c:dPt>
            <c:idx val="1672"/>
            <c:spPr>
              <a:solidFill>
                <a:srgbClr val="AEABAB"/>
              </a:solidFill>
            </c:spPr>
          </c:dPt>
          <c:dPt>
            <c:idx val="1673"/>
            <c:spPr>
              <a:solidFill>
                <a:srgbClr val="AEABAB"/>
              </a:solidFill>
            </c:spPr>
          </c:dPt>
          <c:dPt>
            <c:idx val="1674"/>
            <c:spPr>
              <a:solidFill>
                <a:srgbClr val="AEABAB"/>
              </a:solidFill>
            </c:spPr>
          </c:dPt>
          <c:dPt>
            <c:idx val="1675"/>
            <c:spPr>
              <a:solidFill>
                <a:srgbClr val="AEABAB"/>
              </a:solidFill>
            </c:spPr>
          </c:dPt>
          <c:dPt>
            <c:idx val="1676"/>
            <c:spPr>
              <a:solidFill>
                <a:srgbClr val="AEABAB"/>
              </a:solidFill>
            </c:spPr>
          </c:dPt>
          <c:dPt>
            <c:idx val="1677"/>
            <c:spPr>
              <a:solidFill>
                <a:srgbClr val="AEABAB"/>
              </a:solidFill>
            </c:spPr>
          </c:dPt>
          <c:dPt>
            <c:idx val="1678"/>
            <c:spPr>
              <a:solidFill>
                <a:srgbClr val="AEABAB"/>
              </a:solidFill>
            </c:spPr>
          </c:dPt>
          <c:dPt>
            <c:idx val="1679"/>
            <c:spPr>
              <a:solidFill>
                <a:srgbClr val="AEABAB"/>
              </a:solidFill>
            </c:spPr>
          </c:dPt>
          <c:dPt>
            <c:idx val="1680"/>
            <c:spPr>
              <a:solidFill>
                <a:srgbClr val="AEABAB"/>
              </a:solidFill>
            </c:spPr>
          </c:dPt>
          <c:dPt>
            <c:idx val="1681"/>
            <c:spPr>
              <a:solidFill>
                <a:srgbClr val="AEABAB"/>
              </a:solidFill>
            </c:spPr>
          </c:dPt>
          <c:dPt>
            <c:idx val="1682"/>
            <c:spPr>
              <a:solidFill>
                <a:srgbClr val="AEABAB"/>
              </a:solidFill>
            </c:spPr>
          </c:dPt>
          <c:dPt>
            <c:idx val="1683"/>
            <c:spPr>
              <a:solidFill>
                <a:srgbClr val="AEABAB"/>
              </a:solidFill>
            </c:spPr>
          </c:dPt>
          <c:dPt>
            <c:idx val="1684"/>
            <c:spPr>
              <a:solidFill>
                <a:srgbClr val="AEABAB"/>
              </a:solidFill>
            </c:spPr>
          </c:dPt>
          <c:dPt>
            <c:idx val="1685"/>
            <c:spPr>
              <a:solidFill>
                <a:srgbClr val="AEABAB"/>
              </a:solidFill>
            </c:spPr>
          </c:dPt>
          <c:dPt>
            <c:idx val="1686"/>
            <c:spPr>
              <a:solidFill>
                <a:srgbClr val="AEABAB"/>
              </a:solidFill>
            </c:spPr>
          </c:dPt>
          <c:dPt>
            <c:idx val="1687"/>
            <c:spPr>
              <a:solidFill>
                <a:srgbClr val="AEABAB"/>
              </a:solidFill>
            </c:spPr>
          </c:dPt>
          <c:dPt>
            <c:idx val="1688"/>
            <c:spPr>
              <a:solidFill>
                <a:srgbClr val="AEABAB"/>
              </a:solidFill>
            </c:spPr>
          </c:dPt>
          <c:dPt>
            <c:idx val="1689"/>
            <c:spPr>
              <a:solidFill>
                <a:srgbClr val="AEABAB"/>
              </a:solidFill>
            </c:spPr>
          </c:dPt>
          <c:dPt>
            <c:idx val="1690"/>
            <c:spPr>
              <a:solidFill>
                <a:srgbClr val="AEABAB"/>
              </a:solidFill>
            </c:spPr>
          </c:dPt>
          <c:dPt>
            <c:idx val="1691"/>
            <c:spPr>
              <a:solidFill>
                <a:srgbClr val="AEABAB"/>
              </a:solidFill>
            </c:spPr>
          </c:dPt>
          <c:dPt>
            <c:idx val="1692"/>
            <c:spPr>
              <a:solidFill>
                <a:srgbClr val="AEABAB"/>
              </a:solidFill>
            </c:spPr>
          </c:dPt>
          <c:dPt>
            <c:idx val="1693"/>
            <c:spPr>
              <a:solidFill>
                <a:srgbClr val="AEABAB"/>
              </a:solidFill>
            </c:spPr>
          </c:dPt>
          <c:dPt>
            <c:idx val="1694"/>
            <c:spPr>
              <a:solidFill>
                <a:srgbClr val="AEABAB"/>
              </a:solidFill>
            </c:spPr>
          </c:dPt>
          <c:dPt>
            <c:idx val="1695"/>
            <c:spPr>
              <a:solidFill>
                <a:srgbClr val="AEABAB"/>
              </a:solidFill>
            </c:spPr>
          </c:dPt>
          <c:dPt>
            <c:idx val="1696"/>
            <c:spPr>
              <a:solidFill>
                <a:srgbClr val="AEABAB"/>
              </a:solidFill>
            </c:spPr>
          </c:dPt>
          <c:dPt>
            <c:idx val="1697"/>
            <c:spPr>
              <a:solidFill>
                <a:srgbClr val="AEABAB"/>
              </a:solidFill>
            </c:spPr>
          </c:dPt>
          <c:dPt>
            <c:idx val="1698"/>
            <c:spPr>
              <a:solidFill>
                <a:srgbClr val="AEABAB"/>
              </a:solidFill>
            </c:spPr>
          </c:dPt>
          <c:dPt>
            <c:idx val="1699"/>
            <c:spPr>
              <a:solidFill>
                <a:srgbClr val="AEABAB"/>
              </a:solidFill>
            </c:spPr>
          </c:dPt>
          <c:dPt>
            <c:idx val="1700"/>
            <c:spPr>
              <a:solidFill>
                <a:srgbClr val="AEABAB"/>
              </a:solidFill>
            </c:spPr>
          </c:dPt>
          <c:dPt>
            <c:idx val="1701"/>
            <c:spPr>
              <a:solidFill>
                <a:srgbClr val="AEABAB"/>
              </a:solidFill>
            </c:spPr>
          </c:dPt>
          <c:dPt>
            <c:idx val="1702"/>
            <c:spPr>
              <a:solidFill>
                <a:srgbClr val="AEABAB"/>
              </a:solidFill>
            </c:spPr>
          </c:dPt>
          <c:dPt>
            <c:idx val="1703"/>
            <c:spPr>
              <a:solidFill>
                <a:srgbClr val="AEABAB"/>
              </a:solidFill>
            </c:spPr>
          </c:dPt>
          <c:dPt>
            <c:idx val="1704"/>
            <c:spPr>
              <a:solidFill>
                <a:srgbClr val="AEABAB"/>
              </a:solidFill>
            </c:spPr>
          </c:dPt>
          <c:dPt>
            <c:idx val="1705"/>
            <c:spPr>
              <a:solidFill>
                <a:srgbClr val="AEABAB"/>
              </a:solidFill>
            </c:spPr>
          </c:dPt>
          <c:dPt>
            <c:idx val="1706"/>
            <c:spPr>
              <a:solidFill>
                <a:srgbClr val="AEABAB"/>
              </a:solidFill>
            </c:spPr>
          </c:dPt>
          <c:dPt>
            <c:idx val="1707"/>
            <c:spPr>
              <a:solidFill>
                <a:srgbClr val="AEABAB"/>
              </a:solidFill>
            </c:spPr>
          </c:dPt>
          <c:dPt>
            <c:idx val="1708"/>
            <c:spPr>
              <a:solidFill>
                <a:srgbClr val="AEABAB"/>
              </a:solidFill>
            </c:spPr>
          </c:dPt>
          <c:dPt>
            <c:idx val="1709"/>
            <c:spPr>
              <a:solidFill>
                <a:srgbClr val="AEABAB"/>
              </a:solidFill>
            </c:spPr>
          </c:dPt>
          <c:dPt>
            <c:idx val="1710"/>
            <c:spPr>
              <a:solidFill>
                <a:srgbClr val="AEABAB"/>
              </a:solidFill>
            </c:spPr>
          </c:dPt>
          <c:dPt>
            <c:idx val="1711"/>
            <c:spPr>
              <a:solidFill>
                <a:srgbClr val="AEABAB"/>
              </a:solidFill>
            </c:spPr>
          </c:dPt>
          <c:dPt>
            <c:idx val="1712"/>
            <c:spPr>
              <a:solidFill>
                <a:srgbClr val="AEABAB"/>
              </a:solidFill>
            </c:spPr>
          </c:dPt>
          <c:dPt>
            <c:idx val="1713"/>
            <c:spPr>
              <a:solidFill>
                <a:srgbClr val="AEABAB"/>
              </a:solidFill>
            </c:spPr>
          </c:dPt>
          <c:dPt>
            <c:idx val="1714"/>
            <c:spPr>
              <a:solidFill>
                <a:srgbClr val="AEABAB"/>
              </a:solidFill>
            </c:spPr>
          </c:dPt>
          <c:dPt>
            <c:idx val="1715"/>
            <c:spPr>
              <a:solidFill>
                <a:srgbClr val="AEABAB"/>
              </a:solidFill>
            </c:spPr>
          </c:dPt>
          <c:dPt>
            <c:idx val="1716"/>
            <c:spPr>
              <a:solidFill>
                <a:srgbClr val="AEABAB"/>
              </a:solidFill>
            </c:spPr>
          </c:dPt>
          <c:dPt>
            <c:idx val="1717"/>
            <c:spPr>
              <a:solidFill>
                <a:srgbClr val="AEABAB"/>
              </a:solidFill>
            </c:spPr>
          </c:dPt>
          <c:dPt>
            <c:idx val="1718"/>
            <c:spPr>
              <a:solidFill>
                <a:srgbClr val="AEABAB"/>
              </a:solidFill>
            </c:spPr>
          </c:dPt>
          <c:dPt>
            <c:idx val="1719"/>
            <c:spPr>
              <a:solidFill>
                <a:srgbClr val="AEABAB"/>
              </a:solidFill>
            </c:spPr>
          </c:dPt>
          <c:dPt>
            <c:idx val="1720"/>
            <c:spPr>
              <a:solidFill>
                <a:srgbClr val="AEABAB"/>
              </a:solidFill>
            </c:spPr>
          </c:dPt>
          <c:dPt>
            <c:idx val="1721"/>
            <c:spPr>
              <a:solidFill>
                <a:srgbClr val="AEABAB"/>
              </a:solidFill>
            </c:spPr>
          </c:dPt>
          <c:dPt>
            <c:idx val="1722"/>
            <c:spPr>
              <a:solidFill>
                <a:srgbClr val="AEABAB"/>
              </a:solidFill>
            </c:spPr>
          </c:dPt>
          <c:dPt>
            <c:idx val="1723"/>
            <c:spPr>
              <a:solidFill>
                <a:srgbClr val="AEABAB"/>
              </a:solidFill>
            </c:spPr>
          </c:dPt>
          <c:dPt>
            <c:idx val="1724"/>
            <c:spPr>
              <a:solidFill>
                <a:srgbClr val="AEABAB"/>
              </a:solidFill>
            </c:spPr>
          </c:dPt>
          <c:dPt>
            <c:idx val="1725"/>
            <c:spPr>
              <a:solidFill>
                <a:srgbClr val="AEABAB"/>
              </a:solidFill>
            </c:spPr>
          </c:dPt>
          <c:dPt>
            <c:idx val="1726"/>
            <c:spPr>
              <a:solidFill>
                <a:srgbClr val="AEABAB"/>
              </a:solidFill>
            </c:spPr>
          </c:dPt>
          <c:dPt>
            <c:idx val="1727"/>
            <c:spPr>
              <a:solidFill>
                <a:srgbClr val="AEABAB"/>
              </a:solidFill>
            </c:spPr>
          </c:dPt>
          <c:dPt>
            <c:idx val="1728"/>
            <c:spPr>
              <a:solidFill>
                <a:srgbClr val="AEABAB"/>
              </a:solidFill>
            </c:spPr>
          </c:dPt>
          <c:dPt>
            <c:idx val="1729"/>
            <c:spPr>
              <a:solidFill>
                <a:srgbClr val="AEABAB"/>
              </a:solidFill>
            </c:spPr>
          </c:dPt>
          <c:dPt>
            <c:idx val="1730"/>
            <c:spPr>
              <a:solidFill>
                <a:srgbClr val="AEABAB"/>
              </a:solidFill>
            </c:spPr>
          </c:dPt>
          <c:dPt>
            <c:idx val="1731"/>
            <c:spPr>
              <a:solidFill>
                <a:srgbClr val="AEABAB"/>
              </a:solidFill>
            </c:spPr>
          </c:dPt>
          <c:dPt>
            <c:idx val="1732"/>
            <c:spPr>
              <a:solidFill>
                <a:srgbClr val="AEABAB"/>
              </a:solidFill>
            </c:spPr>
          </c:dPt>
          <c:dPt>
            <c:idx val="1733"/>
            <c:spPr>
              <a:solidFill>
                <a:srgbClr val="AEABAB"/>
              </a:solidFill>
            </c:spPr>
          </c:dPt>
          <c:dPt>
            <c:idx val="1734"/>
            <c:spPr>
              <a:solidFill>
                <a:srgbClr val="AEABAB"/>
              </a:solidFill>
            </c:spPr>
          </c:dPt>
          <c:dPt>
            <c:idx val="1735"/>
            <c:spPr>
              <a:solidFill>
                <a:srgbClr val="AEABAB"/>
              </a:solidFill>
            </c:spPr>
          </c:dPt>
          <c:dPt>
            <c:idx val="1736"/>
            <c:spPr>
              <a:solidFill>
                <a:srgbClr val="AEABAB"/>
              </a:solidFill>
            </c:spPr>
          </c:dPt>
          <c:dPt>
            <c:idx val="1737"/>
            <c:spPr>
              <a:solidFill>
                <a:srgbClr val="AEABAB"/>
              </a:solidFill>
            </c:spPr>
          </c:dPt>
          <c:dPt>
            <c:idx val="1738"/>
            <c:spPr>
              <a:solidFill>
                <a:srgbClr val="AEABAB"/>
              </a:solidFill>
            </c:spPr>
          </c:dPt>
          <c:dPt>
            <c:idx val="1739"/>
            <c:spPr>
              <a:solidFill>
                <a:srgbClr val="AEABAB"/>
              </a:solidFill>
            </c:spPr>
          </c:dPt>
          <c:dPt>
            <c:idx val="1740"/>
            <c:spPr>
              <a:solidFill>
                <a:srgbClr val="AEABAB"/>
              </a:solidFill>
            </c:spPr>
          </c:dPt>
          <c:dPt>
            <c:idx val="1741"/>
            <c:spPr>
              <a:solidFill>
                <a:srgbClr val="AEABAB"/>
              </a:solidFill>
            </c:spPr>
          </c:dPt>
          <c:dPt>
            <c:idx val="1742"/>
            <c:spPr>
              <a:solidFill>
                <a:srgbClr val="AEABAB"/>
              </a:solidFill>
            </c:spPr>
          </c:dPt>
          <c:dPt>
            <c:idx val="1743"/>
            <c:spPr>
              <a:solidFill>
                <a:srgbClr val="AEABAB"/>
              </a:solidFill>
            </c:spPr>
          </c:dPt>
          <c:dPt>
            <c:idx val="1744"/>
            <c:spPr>
              <a:solidFill>
                <a:srgbClr val="AEABAB"/>
              </a:solidFill>
            </c:spPr>
          </c:dPt>
          <c:dPt>
            <c:idx val="1745"/>
            <c:spPr>
              <a:solidFill>
                <a:srgbClr val="AEABAB"/>
              </a:solidFill>
            </c:spPr>
          </c:dPt>
          <c:dPt>
            <c:idx val="1746"/>
            <c:spPr>
              <a:solidFill>
                <a:srgbClr val="AEABAB"/>
              </a:solidFill>
            </c:spPr>
          </c:dPt>
          <c:dPt>
            <c:idx val="1747"/>
            <c:spPr>
              <a:solidFill>
                <a:srgbClr val="AEABAB"/>
              </a:solidFill>
            </c:spPr>
          </c:dPt>
          <c:dPt>
            <c:idx val="1748"/>
            <c:spPr>
              <a:solidFill>
                <a:srgbClr val="AEABAB"/>
              </a:solidFill>
            </c:spPr>
          </c:dPt>
          <c:dPt>
            <c:idx val="1749"/>
            <c:spPr>
              <a:solidFill>
                <a:srgbClr val="AEABAB"/>
              </a:solidFill>
            </c:spPr>
          </c:dPt>
          <c:dPt>
            <c:idx val="1750"/>
            <c:spPr>
              <a:solidFill>
                <a:srgbClr val="AEABAB"/>
              </a:solidFill>
            </c:spPr>
          </c:dPt>
          <c:dPt>
            <c:idx val="1751"/>
            <c:spPr>
              <a:solidFill>
                <a:srgbClr val="AEABAB"/>
              </a:solidFill>
            </c:spPr>
          </c:dPt>
          <c:dPt>
            <c:idx val="1752"/>
            <c:spPr>
              <a:solidFill>
                <a:srgbClr val="AEABAB"/>
              </a:solidFill>
            </c:spPr>
          </c:dPt>
          <c:dPt>
            <c:idx val="1753"/>
            <c:spPr>
              <a:solidFill>
                <a:srgbClr val="AEABAB"/>
              </a:solidFill>
            </c:spPr>
          </c:dPt>
          <c:dPt>
            <c:idx val="1754"/>
            <c:spPr>
              <a:solidFill>
                <a:srgbClr val="AEABAB"/>
              </a:solidFill>
            </c:spPr>
          </c:dPt>
          <c:dPt>
            <c:idx val="1755"/>
            <c:spPr>
              <a:solidFill>
                <a:srgbClr val="AEABAB"/>
              </a:solidFill>
            </c:spPr>
          </c:dPt>
          <c:dPt>
            <c:idx val="1756"/>
            <c:spPr>
              <a:solidFill>
                <a:srgbClr val="AEABAB"/>
              </a:solidFill>
            </c:spPr>
          </c:dPt>
          <c:dPt>
            <c:idx val="1757"/>
            <c:spPr>
              <a:solidFill>
                <a:srgbClr val="AEABAB"/>
              </a:solidFill>
            </c:spPr>
          </c:dPt>
          <c:dPt>
            <c:idx val="1758"/>
            <c:spPr>
              <a:solidFill>
                <a:srgbClr val="AEABAB"/>
              </a:solidFill>
            </c:spPr>
          </c:dPt>
          <c:dPt>
            <c:idx val="1759"/>
            <c:spPr>
              <a:solidFill>
                <a:srgbClr val="AEABAB"/>
              </a:solidFill>
            </c:spPr>
          </c:dPt>
          <c:dPt>
            <c:idx val="1760"/>
            <c:spPr>
              <a:solidFill>
                <a:srgbClr val="AEABAB"/>
              </a:solidFill>
            </c:spPr>
          </c:dPt>
          <c:dPt>
            <c:idx val="1761"/>
            <c:spPr>
              <a:solidFill>
                <a:srgbClr val="AEABAB"/>
              </a:solidFill>
            </c:spPr>
          </c:dPt>
          <c:dPt>
            <c:idx val="1762"/>
            <c:spPr>
              <a:solidFill>
                <a:srgbClr val="AEABAB"/>
              </a:solidFill>
            </c:spPr>
          </c:dPt>
          <c:dPt>
            <c:idx val="1763"/>
            <c:spPr>
              <a:solidFill>
                <a:srgbClr val="AEABAB"/>
              </a:solidFill>
            </c:spPr>
          </c:dPt>
          <c:dPt>
            <c:idx val="1764"/>
            <c:spPr>
              <a:solidFill>
                <a:srgbClr val="AEABAB"/>
              </a:solidFill>
            </c:spPr>
          </c:dPt>
          <c:dPt>
            <c:idx val="1765"/>
            <c:spPr>
              <a:solidFill>
                <a:srgbClr val="AEABAB"/>
              </a:solidFill>
            </c:spPr>
          </c:dPt>
          <c:dPt>
            <c:idx val="1766"/>
            <c:spPr>
              <a:solidFill>
                <a:srgbClr val="AEABAB"/>
              </a:solidFill>
            </c:spPr>
          </c:dPt>
          <c:dPt>
            <c:idx val="1767"/>
            <c:spPr>
              <a:solidFill>
                <a:srgbClr val="AEABAB"/>
              </a:solidFill>
            </c:spPr>
          </c:dPt>
          <c:dPt>
            <c:idx val="1768"/>
            <c:spPr>
              <a:solidFill>
                <a:srgbClr val="AEABAB"/>
              </a:solidFill>
            </c:spPr>
          </c:dPt>
          <c:dPt>
            <c:idx val="1769"/>
            <c:spPr>
              <a:solidFill>
                <a:srgbClr val="AEABAB"/>
              </a:solidFill>
            </c:spPr>
          </c:dPt>
          <c:dPt>
            <c:idx val="1770"/>
            <c:spPr>
              <a:solidFill>
                <a:srgbClr val="AEABAB"/>
              </a:solidFill>
            </c:spPr>
          </c:dPt>
          <c:dPt>
            <c:idx val="1771"/>
            <c:spPr>
              <a:solidFill>
                <a:srgbClr val="AEABAB"/>
              </a:solidFill>
            </c:spPr>
          </c:dPt>
          <c:dPt>
            <c:idx val="1772"/>
            <c:spPr>
              <a:solidFill>
                <a:srgbClr val="AEABAB"/>
              </a:solidFill>
            </c:spPr>
          </c:dPt>
          <c:dPt>
            <c:idx val="1773"/>
            <c:spPr>
              <a:solidFill>
                <a:srgbClr val="AEABAB"/>
              </a:solidFill>
            </c:spPr>
          </c:dPt>
          <c:dPt>
            <c:idx val="1774"/>
            <c:spPr>
              <a:solidFill>
                <a:srgbClr val="AEABAB"/>
              </a:solidFill>
            </c:spPr>
          </c:dPt>
          <c:dPt>
            <c:idx val="1775"/>
            <c:spPr>
              <a:solidFill>
                <a:srgbClr val="AEABAB"/>
              </a:solidFill>
            </c:spPr>
          </c:dPt>
          <c:dPt>
            <c:idx val="1776"/>
            <c:spPr>
              <a:solidFill>
                <a:srgbClr val="AEABAB"/>
              </a:solidFill>
            </c:spPr>
          </c:dPt>
          <c:dPt>
            <c:idx val="1777"/>
            <c:spPr>
              <a:solidFill>
                <a:srgbClr val="AEABAB"/>
              </a:solidFill>
            </c:spPr>
          </c:dPt>
          <c:dPt>
            <c:idx val="1778"/>
            <c:spPr>
              <a:solidFill>
                <a:srgbClr val="AEABAB"/>
              </a:solidFill>
            </c:spPr>
          </c:dPt>
          <c:dPt>
            <c:idx val="1779"/>
            <c:spPr>
              <a:solidFill>
                <a:srgbClr val="AEABAB"/>
              </a:solidFill>
            </c:spPr>
          </c:dPt>
          <c:dPt>
            <c:idx val="1780"/>
            <c:spPr>
              <a:solidFill>
                <a:srgbClr val="AEABAB"/>
              </a:solidFill>
            </c:spPr>
          </c:dPt>
          <c:dPt>
            <c:idx val="1781"/>
            <c:spPr>
              <a:solidFill>
                <a:srgbClr val="AEABAB"/>
              </a:solidFill>
            </c:spPr>
          </c:dPt>
          <c:dPt>
            <c:idx val="1782"/>
            <c:spPr>
              <a:solidFill>
                <a:srgbClr val="AEABAB"/>
              </a:solidFill>
            </c:spPr>
          </c:dPt>
          <c:dPt>
            <c:idx val="1783"/>
            <c:spPr>
              <a:solidFill>
                <a:srgbClr val="AEABAB"/>
              </a:solidFill>
            </c:spPr>
          </c:dPt>
          <c:dPt>
            <c:idx val="1784"/>
            <c:spPr>
              <a:solidFill>
                <a:srgbClr val="AEABAB"/>
              </a:solidFill>
            </c:spPr>
          </c:dPt>
          <c:dPt>
            <c:idx val="1785"/>
            <c:spPr>
              <a:solidFill>
                <a:srgbClr val="AEABAB"/>
              </a:solidFill>
            </c:spPr>
          </c:dPt>
          <c:dPt>
            <c:idx val="1786"/>
            <c:spPr>
              <a:solidFill>
                <a:srgbClr val="AEABAB"/>
              </a:solidFill>
            </c:spPr>
          </c:dPt>
          <c:dPt>
            <c:idx val="1787"/>
            <c:spPr>
              <a:solidFill>
                <a:srgbClr val="AEABAB"/>
              </a:solidFill>
            </c:spPr>
          </c:dPt>
          <c:dPt>
            <c:idx val="1788"/>
            <c:spPr>
              <a:solidFill>
                <a:srgbClr val="AEABAB"/>
              </a:solidFill>
            </c:spPr>
          </c:dPt>
          <c:dPt>
            <c:idx val="1789"/>
            <c:spPr>
              <a:solidFill>
                <a:srgbClr val="AEABAB"/>
              </a:solidFill>
            </c:spPr>
          </c:dPt>
          <c:dPt>
            <c:idx val="1790"/>
            <c:spPr>
              <a:solidFill>
                <a:srgbClr val="AEABAB"/>
              </a:solidFill>
            </c:spPr>
          </c:dPt>
          <c:dPt>
            <c:idx val="1791"/>
            <c:spPr>
              <a:solidFill>
                <a:srgbClr val="AEABAB"/>
              </a:solidFill>
            </c:spPr>
          </c:dPt>
          <c:dPt>
            <c:idx val="1792"/>
            <c:spPr>
              <a:solidFill>
                <a:srgbClr val="AEABAB"/>
              </a:solidFill>
            </c:spPr>
          </c:dPt>
          <c:dPt>
            <c:idx val="1793"/>
            <c:spPr>
              <a:solidFill>
                <a:srgbClr val="AEABAB"/>
              </a:solidFill>
            </c:spPr>
          </c:dPt>
          <c:dPt>
            <c:idx val="1794"/>
            <c:spPr>
              <a:solidFill>
                <a:srgbClr val="AEABAB"/>
              </a:solidFill>
            </c:spPr>
          </c:dPt>
          <c:dPt>
            <c:idx val="1795"/>
            <c:spPr>
              <a:solidFill>
                <a:srgbClr val="AEABAB"/>
              </a:solidFill>
            </c:spPr>
          </c:dPt>
          <c:dPt>
            <c:idx val="1796"/>
            <c:spPr>
              <a:solidFill>
                <a:srgbClr val="AEABAB"/>
              </a:solidFill>
            </c:spPr>
          </c:dPt>
          <c:dPt>
            <c:idx val="1797"/>
            <c:spPr>
              <a:solidFill>
                <a:srgbClr val="AEABAB"/>
              </a:solidFill>
            </c:spPr>
          </c:dPt>
          <c:dPt>
            <c:idx val="1798"/>
            <c:spPr>
              <a:solidFill>
                <a:srgbClr val="AEABAB"/>
              </a:solidFill>
            </c:spPr>
          </c:dPt>
          <c:dPt>
            <c:idx val="1799"/>
            <c:spPr>
              <a:solidFill>
                <a:srgbClr val="AEABAB"/>
              </a:solidFill>
            </c:spPr>
          </c:dPt>
          <c:dPt>
            <c:idx val="1800"/>
            <c:spPr>
              <a:solidFill>
                <a:srgbClr val="AEABAB"/>
              </a:solidFill>
            </c:spPr>
          </c:dPt>
          <c:dPt>
            <c:idx val="1801"/>
            <c:spPr>
              <a:solidFill>
                <a:srgbClr val="AEABAB"/>
              </a:solidFill>
            </c:spPr>
          </c:dPt>
          <c:dPt>
            <c:idx val="1802"/>
            <c:spPr>
              <a:solidFill>
                <a:srgbClr val="AEABAB"/>
              </a:solidFill>
            </c:spPr>
          </c:dPt>
          <c:dPt>
            <c:idx val="1803"/>
            <c:spPr>
              <a:solidFill>
                <a:srgbClr val="AEABAB"/>
              </a:solidFill>
            </c:spPr>
          </c:dPt>
          <c:dPt>
            <c:idx val="1804"/>
            <c:spPr>
              <a:solidFill>
                <a:srgbClr val="AEABAB"/>
              </a:solidFill>
            </c:spPr>
          </c:dPt>
          <c:dPt>
            <c:idx val="1805"/>
            <c:spPr>
              <a:solidFill>
                <a:srgbClr val="AEABAB"/>
              </a:solidFill>
            </c:spPr>
          </c:dPt>
          <c:dPt>
            <c:idx val="1806"/>
            <c:spPr>
              <a:solidFill>
                <a:srgbClr val="AEABAB"/>
              </a:solidFill>
            </c:spPr>
          </c:dPt>
          <c:dPt>
            <c:idx val="1807"/>
            <c:spPr>
              <a:solidFill>
                <a:srgbClr val="AEABAB"/>
              </a:solidFill>
            </c:spPr>
          </c:dPt>
          <c:dPt>
            <c:idx val="1808"/>
            <c:spPr>
              <a:solidFill>
                <a:srgbClr val="AEABAB"/>
              </a:solidFill>
            </c:spPr>
          </c:dPt>
          <c:dPt>
            <c:idx val="1809"/>
            <c:spPr>
              <a:solidFill>
                <a:srgbClr val="AEABAB"/>
              </a:solidFill>
            </c:spPr>
          </c:dPt>
          <c:dPt>
            <c:idx val="1810"/>
            <c:spPr>
              <a:solidFill>
                <a:srgbClr val="AEABAB"/>
              </a:solidFill>
            </c:spPr>
          </c:dPt>
          <c:dPt>
            <c:idx val="1811"/>
            <c:spPr>
              <a:solidFill>
                <a:srgbClr val="AEABAB"/>
              </a:solidFill>
            </c:spPr>
          </c:dPt>
          <c:dPt>
            <c:idx val="1812"/>
            <c:spPr>
              <a:solidFill>
                <a:srgbClr val="AEABAB"/>
              </a:solidFill>
            </c:spPr>
          </c:dPt>
          <c:dPt>
            <c:idx val="1813"/>
            <c:spPr>
              <a:solidFill>
                <a:srgbClr val="AEABAB"/>
              </a:solidFill>
            </c:spPr>
          </c:dPt>
          <c:dPt>
            <c:idx val="1814"/>
            <c:spPr>
              <a:solidFill>
                <a:srgbClr val="AEABAB"/>
              </a:solidFill>
            </c:spPr>
          </c:dPt>
          <c:dPt>
            <c:idx val="1815"/>
            <c:spPr>
              <a:solidFill>
                <a:srgbClr val="AEABAB"/>
              </a:solidFill>
            </c:spPr>
          </c:dPt>
          <c:dPt>
            <c:idx val="1816"/>
            <c:spPr>
              <a:solidFill>
                <a:srgbClr val="AEABAB"/>
              </a:solidFill>
            </c:spPr>
          </c:dPt>
          <c:dPt>
            <c:idx val="1817"/>
            <c:spPr>
              <a:solidFill>
                <a:srgbClr val="AEABAB"/>
              </a:solidFill>
            </c:spPr>
          </c:dPt>
          <c:dPt>
            <c:idx val="1818"/>
            <c:spPr>
              <a:solidFill>
                <a:srgbClr val="AEABAB"/>
              </a:solidFill>
            </c:spPr>
          </c:dPt>
          <c:dPt>
            <c:idx val="1819"/>
            <c:spPr>
              <a:solidFill>
                <a:srgbClr val="AEABAB"/>
              </a:solidFill>
            </c:spPr>
          </c:dPt>
          <c:dPt>
            <c:idx val="1820"/>
            <c:spPr>
              <a:solidFill>
                <a:srgbClr val="AEABAB"/>
              </a:solidFill>
            </c:spPr>
          </c:dPt>
          <c:dPt>
            <c:idx val="1821"/>
            <c:spPr>
              <a:solidFill>
                <a:srgbClr val="AEABAB"/>
              </a:solidFill>
            </c:spPr>
          </c:dPt>
          <c:dPt>
            <c:idx val="1822"/>
            <c:spPr>
              <a:solidFill>
                <a:srgbClr val="AEABAB"/>
              </a:solidFill>
            </c:spPr>
          </c:dPt>
          <c:dPt>
            <c:idx val="1823"/>
            <c:spPr>
              <a:solidFill>
                <a:srgbClr val="AEABAB"/>
              </a:solidFill>
            </c:spPr>
          </c:dPt>
          <c:dPt>
            <c:idx val="1824"/>
            <c:spPr>
              <a:solidFill>
                <a:srgbClr val="AEABAB"/>
              </a:solidFill>
            </c:spPr>
          </c:dPt>
          <c:dPt>
            <c:idx val="1825"/>
            <c:spPr>
              <a:solidFill>
                <a:srgbClr val="AEABAB"/>
              </a:solidFill>
            </c:spPr>
          </c:dPt>
          <c:dPt>
            <c:idx val="1826"/>
            <c:spPr>
              <a:solidFill>
                <a:srgbClr val="AEABAB"/>
              </a:solidFill>
            </c:spPr>
          </c:dPt>
          <c:dPt>
            <c:idx val="1827"/>
            <c:spPr>
              <a:solidFill>
                <a:srgbClr val="AEABAB"/>
              </a:solidFill>
            </c:spPr>
          </c:dPt>
          <c:dPt>
            <c:idx val="1828"/>
            <c:spPr>
              <a:solidFill>
                <a:srgbClr val="AEABAB"/>
              </a:solidFill>
            </c:spPr>
          </c:dPt>
          <c:dPt>
            <c:idx val="1829"/>
            <c:spPr>
              <a:solidFill>
                <a:srgbClr val="AEABAB"/>
              </a:solidFill>
            </c:spPr>
          </c:dPt>
          <c:dPt>
            <c:idx val="1830"/>
            <c:spPr>
              <a:solidFill>
                <a:srgbClr val="AEABAB"/>
              </a:solidFill>
            </c:spPr>
          </c:dPt>
          <c:dPt>
            <c:idx val="1831"/>
            <c:spPr>
              <a:solidFill>
                <a:srgbClr val="AEABAB"/>
              </a:solidFill>
            </c:spPr>
          </c:dPt>
          <c:dPt>
            <c:idx val="1832"/>
            <c:spPr>
              <a:solidFill>
                <a:srgbClr val="AEABAB"/>
              </a:solidFill>
            </c:spPr>
          </c:dPt>
          <c:dPt>
            <c:idx val="1833"/>
            <c:spPr>
              <a:solidFill>
                <a:srgbClr val="AEABAB"/>
              </a:solidFill>
            </c:spPr>
          </c:dPt>
          <c:dPt>
            <c:idx val="1834"/>
            <c:spPr>
              <a:solidFill>
                <a:srgbClr val="AEABAB"/>
              </a:solidFill>
            </c:spPr>
          </c:dPt>
          <c:dPt>
            <c:idx val="1835"/>
            <c:spPr>
              <a:solidFill>
                <a:srgbClr val="AEABAB"/>
              </a:solidFill>
            </c:spPr>
          </c:dPt>
          <c:dPt>
            <c:idx val="1836"/>
            <c:spPr>
              <a:solidFill>
                <a:srgbClr val="AEABAB"/>
              </a:solidFill>
            </c:spPr>
          </c:dPt>
          <c:dPt>
            <c:idx val="1837"/>
            <c:spPr>
              <a:solidFill>
                <a:srgbClr val="AEABAB"/>
              </a:solidFill>
            </c:spPr>
          </c:dPt>
          <c:dPt>
            <c:idx val="1838"/>
            <c:spPr>
              <a:solidFill>
                <a:srgbClr val="AEABAB"/>
              </a:solidFill>
            </c:spPr>
          </c:dPt>
          <c:dPt>
            <c:idx val="1839"/>
            <c:spPr>
              <a:solidFill>
                <a:srgbClr val="AEABAB"/>
              </a:solidFill>
            </c:spPr>
          </c:dPt>
          <c:dPt>
            <c:idx val="1840"/>
            <c:spPr>
              <a:solidFill>
                <a:srgbClr val="AEABAB"/>
              </a:solidFill>
            </c:spPr>
          </c:dPt>
          <c:dPt>
            <c:idx val="1841"/>
            <c:spPr>
              <a:solidFill>
                <a:srgbClr val="AEABAB"/>
              </a:solidFill>
            </c:spPr>
          </c:dPt>
          <c:dPt>
            <c:idx val="1842"/>
            <c:spPr>
              <a:solidFill>
                <a:srgbClr val="AEABAB"/>
              </a:solidFill>
            </c:spPr>
          </c:dPt>
          <c:dPt>
            <c:idx val="1843"/>
            <c:spPr>
              <a:solidFill>
                <a:srgbClr val="AEABAB"/>
              </a:solidFill>
            </c:spPr>
          </c:dPt>
          <c:dPt>
            <c:idx val="1844"/>
            <c:spPr>
              <a:solidFill>
                <a:srgbClr val="AEABAB"/>
              </a:solidFill>
            </c:spPr>
          </c:dPt>
          <c:dPt>
            <c:idx val="1845"/>
            <c:spPr>
              <a:solidFill>
                <a:srgbClr val="AEABAB"/>
              </a:solidFill>
            </c:spPr>
          </c:dPt>
          <c:dPt>
            <c:idx val="1846"/>
            <c:spPr>
              <a:solidFill>
                <a:srgbClr val="AEABAB"/>
              </a:solidFill>
            </c:spPr>
          </c:dPt>
          <c:dPt>
            <c:idx val="1847"/>
            <c:spPr>
              <a:solidFill>
                <a:srgbClr val="AEABAB"/>
              </a:solidFill>
            </c:spPr>
          </c:dPt>
          <c:dPt>
            <c:idx val="1848"/>
            <c:spPr>
              <a:solidFill>
                <a:srgbClr val="AEABAB"/>
              </a:solidFill>
            </c:spPr>
          </c:dPt>
          <c:dPt>
            <c:idx val="1849"/>
            <c:spPr>
              <a:solidFill>
                <a:srgbClr val="AEABAB"/>
              </a:solidFill>
            </c:spPr>
          </c:dPt>
          <c:dPt>
            <c:idx val="1850"/>
            <c:spPr>
              <a:solidFill>
                <a:srgbClr val="AEABAB"/>
              </a:solidFill>
            </c:spPr>
          </c:dPt>
          <c:dPt>
            <c:idx val="1851"/>
            <c:spPr>
              <a:solidFill>
                <a:srgbClr val="AEABAB"/>
              </a:solidFill>
            </c:spPr>
          </c:dPt>
          <c:dPt>
            <c:idx val="1852"/>
            <c:spPr>
              <a:solidFill>
                <a:srgbClr val="AEABAB"/>
              </a:solidFill>
            </c:spPr>
          </c:dPt>
          <c:dPt>
            <c:idx val="1853"/>
            <c:spPr>
              <a:solidFill>
                <a:srgbClr val="AEABAB"/>
              </a:solidFill>
            </c:spPr>
          </c:dPt>
          <c:dPt>
            <c:idx val="1854"/>
            <c:spPr>
              <a:solidFill>
                <a:srgbClr val="AEABAB"/>
              </a:solidFill>
            </c:spPr>
          </c:dPt>
          <c:dPt>
            <c:idx val="1855"/>
            <c:spPr>
              <a:solidFill>
                <a:srgbClr val="AEABAB"/>
              </a:solidFill>
            </c:spPr>
          </c:dPt>
          <c:dPt>
            <c:idx val="1856"/>
            <c:spPr>
              <a:solidFill>
                <a:srgbClr val="AEABAB"/>
              </a:solidFill>
            </c:spPr>
          </c:dPt>
          <c:dPt>
            <c:idx val="1857"/>
            <c:spPr>
              <a:solidFill>
                <a:srgbClr val="AEABAB"/>
              </a:solidFill>
            </c:spPr>
          </c:dPt>
          <c:dPt>
            <c:idx val="1858"/>
            <c:spPr>
              <a:solidFill>
                <a:srgbClr val="AEABAB"/>
              </a:solidFill>
            </c:spPr>
          </c:dPt>
          <c:dPt>
            <c:idx val="1859"/>
            <c:spPr>
              <a:solidFill>
                <a:srgbClr val="AEABAB"/>
              </a:solidFill>
            </c:spPr>
          </c:dPt>
          <c:dPt>
            <c:idx val="1860"/>
            <c:spPr>
              <a:solidFill>
                <a:srgbClr val="AEABAB"/>
              </a:solidFill>
            </c:spPr>
          </c:dPt>
          <c:dPt>
            <c:idx val="1861"/>
            <c:spPr>
              <a:solidFill>
                <a:srgbClr val="AEABAB"/>
              </a:solidFill>
            </c:spPr>
          </c:dPt>
          <c:dPt>
            <c:idx val="1862"/>
            <c:spPr>
              <a:solidFill>
                <a:srgbClr val="AEABAB"/>
              </a:solidFill>
            </c:spPr>
          </c:dPt>
          <c:dPt>
            <c:idx val="1863"/>
            <c:spPr>
              <a:solidFill>
                <a:srgbClr val="AEABAB"/>
              </a:solidFill>
            </c:spPr>
          </c:dPt>
          <c:dPt>
            <c:idx val="1864"/>
            <c:spPr>
              <a:solidFill>
                <a:srgbClr val="AEABAB"/>
              </a:solidFill>
            </c:spPr>
          </c:dPt>
          <c:dPt>
            <c:idx val="1865"/>
            <c:spPr>
              <a:solidFill>
                <a:srgbClr val="AEABAB"/>
              </a:solidFill>
            </c:spPr>
          </c:dPt>
          <c:dPt>
            <c:idx val="1866"/>
            <c:spPr>
              <a:solidFill>
                <a:srgbClr val="AEABAB"/>
              </a:solidFill>
            </c:spPr>
          </c:dPt>
          <c:dPt>
            <c:idx val="1867"/>
            <c:spPr>
              <a:solidFill>
                <a:srgbClr val="AEABAB"/>
              </a:solidFill>
            </c:spPr>
          </c:dPt>
          <c:dPt>
            <c:idx val="1868"/>
            <c:spPr>
              <a:solidFill>
                <a:srgbClr val="AEABAB"/>
              </a:solidFill>
            </c:spPr>
          </c:dPt>
          <c:dPt>
            <c:idx val="1869"/>
            <c:spPr>
              <a:solidFill>
                <a:srgbClr val="AEABAB"/>
              </a:solidFill>
            </c:spPr>
          </c:dPt>
          <c:dPt>
            <c:idx val="1870"/>
            <c:spPr>
              <a:solidFill>
                <a:srgbClr val="AEABAB"/>
              </a:solidFill>
            </c:spPr>
          </c:dPt>
          <c:dPt>
            <c:idx val="1871"/>
            <c:spPr>
              <a:solidFill>
                <a:srgbClr val="AEABAB"/>
              </a:solidFill>
            </c:spPr>
          </c:dPt>
          <c:dPt>
            <c:idx val="1872"/>
            <c:spPr>
              <a:solidFill>
                <a:srgbClr val="AEABAB"/>
              </a:solidFill>
            </c:spPr>
          </c:dPt>
          <c:dPt>
            <c:idx val="1873"/>
            <c:spPr>
              <a:solidFill>
                <a:srgbClr val="AEABAB"/>
              </a:solidFill>
            </c:spPr>
          </c:dPt>
          <c:dPt>
            <c:idx val="1874"/>
            <c:spPr>
              <a:solidFill>
                <a:srgbClr val="AEABAB"/>
              </a:solidFill>
            </c:spPr>
          </c:dPt>
          <c:dPt>
            <c:idx val="1875"/>
            <c:spPr>
              <a:solidFill>
                <a:srgbClr val="AEABAB"/>
              </a:solidFill>
            </c:spPr>
          </c:dPt>
          <c:dPt>
            <c:idx val="1876"/>
            <c:spPr>
              <a:solidFill>
                <a:srgbClr val="AEABAB"/>
              </a:solidFill>
            </c:spPr>
          </c:dPt>
          <c:dPt>
            <c:idx val="1877"/>
            <c:spPr>
              <a:solidFill>
                <a:srgbClr val="AEABAB"/>
              </a:solidFill>
            </c:spPr>
          </c:dPt>
          <c:dPt>
            <c:idx val="1878"/>
            <c:spPr>
              <a:solidFill>
                <a:srgbClr val="AEABAB"/>
              </a:solidFill>
            </c:spPr>
          </c:dPt>
          <c:dPt>
            <c:idx val="1879"/>
            <c:spPr>
              <a:solidFill>
                <a:srgbClr val="AEABAB"/>
              </a:solidFill>
            </c:spPr>
          </c:dPt>
          <c:dPt>
            <c:idx val="1880"/>
            <c:spPr>
              <a:solidFill>
                <a:srgbClr val="AEABAB"/>
              </a:solidFill>
            </c:spPr>
          </c:dPt>
          <c:dPt>
            <c:idx val="1881"/>
            <c:spPr>
              <a:solidFill>
                <a:srgbClr val="AEABAB"/>
              </a:solidFill>
            </c:spPr>
          </c:dPt>
          <c:dPt>
            <c:idx val="1882"/>
            <c:spPr>
              <a:solidFill>
                <a:srgbClr val="AEABAB"/>
              </a:solidFill>
            </c:spPr>
          </c:dPt>
          <c:dPt>
            <c:idx val="1883"/>
            <c:spPr>
              <a:solidFill>
                <a:srgbClr val="AEABAB"/>
              </a:solidFill>
            </c:spPr>
          </c:dPt>
          <c:dPt>
            <c:idx val="1884"/>
            <c:spPr>
              <a:solidFill>
                <a:srgbClr val="AEABAB"/>
              </a:solidFill>
            </c:spPr>
          </c:dPt>
          <c:dPt>
            <c:idx val="1885"/>
            <c:spPr>
              <a:solidFill>
                <a:srgbClr val="AEABAB"/>
              </a:solidFill>
            </c:spPr>
          </c:dPt>
          <c:dPt>
            <c:idx val="1886"/>
            <c:spPr>
              <a:solidFill>
                <a:srgbClr val="AEABAB"/>
              </a:solidFill>
            </c:spPr>
          </c:dPt>
          <c:dPt>
            <c:idx val="1887"/>
            <c:spPr>
              <a:solidFill>
                <a:srgbClr val="AEABAB"/>
              </a:solidFill>
            </c:spPr>
          </c:dPt>
          <c:dPt>
            <c:idx val="1888"/>
            <c:spPr>
              <a:solidFill>
                <a:srgbClr val="AEABAB"/>
              </a:solidFill>
            </c:spPr>
          </c:dPt>
          <c:dPt>
            <c:idx val="1889"/>
            <c:spPr>
              <a:solidFill>
                <a:srgbClr val="AEABAB"/>
              </a:solidFill>
            </c:spPr>
          </c:dPt>
          <c:dPt>
            <c:idx val="1890"/>
            <c:spPr>
              <a:solidFill>
                <a:srgbClr val="AEABAB"/>
              </a:solidFill>
            </c:spPr>
          </c:dPt>
          <c:dPt>
            <c:idx val="1891"/>
            <c:spPr>
              <a:solidFill>
                <a:srgbClr val="AEABAB"/>
              </a:solidFill>
            </c:spPr>
          </c:dPt>
          <c:dPt>
            <c:idx val="1892"/>
            <c:spPr>
              <a:solidFill>
                <a:srgbClr val="AEABAB"/>
              </a:solidFill>
            </c:spPr>
          </c:dPt>
          <c:dPt>
            <c:idx val="1893"/>
            <c:spPr>
              <a:solidFill>
                <a:srgbClr val="AEABAB"/>
              </a:solidFill>
            </c:spPr>
          </c:dPt>
          <c:dPt>
            <c:idx val="1894"/>
            <c:spPr>
              <a:solidFill>
                <a:srgbClr val="AEABAB"/>
              </a:solidFill>
            </c:spPr>
          </c:dPt>
          <c:dPt>
            <c:idx val="1895"/>
            <c:spPr>
              <a:solidFill>
                <a:srgbClr val="AEABAB"/>
              </a:solidFill>
            </c:spPr>
          </c:dPt>
          <c:dPt>
            <c:idx val="1896"/>
            <c:spPr>
              <a:solidFill>
                <a:srgbClr val="AEABAB"/>
              </a:solidFill>
            </c:spPr>
          </c:dPt>
          <c:dPt>
            <c:idx val="1897"/>
            <c:spPr>
              <a:solidFill>
                <a:srgbClr val="AEABAB"/>
              </a:solidFill>
            </c:spPr>
          </c:dPt>
          <c:dPt>
            <c:idx val="1898"/>
            <c:spPr>
              <a:solidFill>
                <a:srgbClr val="AEABAB"/>
              </a:solidFill>
            </c:spPr>
          </c:dPt>
          <c:dPt>
            <c:idx val="1899"/>
            <c:spPr>
              <a:solidFill>
                <a:srgbClr val="AEABAB"/>
              </a:solidFill>
            </c:spPr>
          </c:dPt>
          <c:dPt>
            <c:idx val="1900"/>
            <c:spPr>
              <a:solidFill>
                <a:srgbClr val="AEABAB"/>
              </a:solidFill>
            </c:spPr>
          </c:dPt>
          <c:dPt>
            <c:idx val="1901"/>
            <c:spPr>
              <a:solidFill>
                <a:srgbClr val="AEABAB"/>
              </a:solidFill>
            </c:spPr>
          </c:dPt>
          <c:dPt>
            <c:idx val="1902"/>
            <c:spPr>
              <a:solidFill>
                <a:srgbClr val="AEABAB"/>
              </a:solidFill>
            </c:spPr>
          </c:dPt>
          <c:dPt>
            <c:idx val="1903"/>
            <c:spPr>
              <a:solidFill>
                <a:srgbClr val="AEABAB"/>
              </a:solidFill>
            </c:spPr>
          </c:dPt>
          <c:dPt>
            <c:idx val="1904"/>
            <c:spPr>
              <a:solidFill>
                <a:srgbClr val="AEABAB"/>
              </a:solidFill>
            </c:spPr>
          </c:dPt>
          <c:dPt>
            <c:idx val="1905"/>
            <c:spPr>
              <a:solidFill>
                <a:srgbClr val="AEABAB"/>
              </a:solidFill>
            </c:spPr>
          </c:dPt>
          <c:dPt>
            <c:idx val="1906"/>
            <c:spPr>
              <a:solidFill>
                <a:srgbClr val="AEABAB"/>
              </a:solidFill>
            </c:spPr>
          </c:dPt>
          <c:dPt>
            <c:idx val="1907"/>
            <c:spPr>
              <a:solidFill>
                <a:srgbClr val="AEABAB"/>
              </a:solidFill>
            </c:spPr>
          </c:dPt>
          <c:dPt>
            <c:idx val="1908"/>
            <c:spPr>
              <a:solidFill>
                <a:srgbClr val="AEABAB"/>
              </a:solidFill>
            </c:spPr>
          </c:dPt>
          <c:dPt>
            <c:idx val="1909"/>
            <c:spPr>
              <a:solidFill>
                <a:srgbClr val="AEABAB"/>
              </a:solidFill>
            </c:spPr>
          </c:dPt>
          <c:dPt>
            <c:idx val="1910"/>
            <c:spPr>
              <a:solidFill>
                <a:srgbClr val="AEABAB"/>
              </a:solidFill>
            </c:spPr>
          </c:dPt>
          <c:dPt>
            <c:idx val="1911"/>
            <c:spPr>
              <a:solidFill>
                <a:srgbClr val="AEABAB"/>
              </a:solidFill>
            </c:spPr>
          </c:dPt>
          <c:dPt>
            <c:idx val="1912"/>
            <c:spPr>
              <a:solidFill>
                <a:srgbClr val="AEABAB"/>
              </a:solidFill>
            </c:spPr>
          </c:dPt>
          <c:dPt>
            <c:idx val="1913"/>
            <c:spPr>
              <a:solidFill>
                <a:srgbClr val="AEABAB"/>
              </a:solidFill>
            </c:spPr>
          </c:dPt>
          <c:dPt>
            <c:idx val="1914"/>
            <c:spPr>
              <a:solidFill>
                <a:srgbClr val="AEABAB"/>
              </a:solidFill>
            </c:spPr>
          </c:dPt>
          <c:dPt>
            <c:idx val="1915"/>
            <c:spPr>
              <a:solidFill>
                <a:srgbClr val="AEABAB"/>
              </a:solidFill>
            </c:spPr>
          </c:dPt>
          <c:dPt>
            <c:idx val="1916"/>
            <c:spPr>
              <a:solidFill>
                <a:srgbClr val="AEABAB"/>
              </a:solidFill>
            </c:spPr>
          </c:dPt>
          <c:dPt>
            <c:idx val="1917"/>
            <c:spPr>
              <a:solidFill>
                <a:srgbClr val="AEABAB"/>
              </a:solidFill>
            </c:spPr>
          </c:dPt>
          <c:dPt>
            <c:idx val="1918"/>
            <c:spPr>
              <a:solidFill>
                <a:srgbClr val="AEABAB"/>
              </a:solidFill>
            </c:spPr>
          </c:dPt>
          <c:dPt>
            <c:idx val="1919"/>
            <c:spPr>
              <a:solidFill>
                <a:srgbClr val="AEABAB"/>
              </a:solidFill>
            </c:spPr>
          </c:dPt>
          <c:dPt>
            <c:idx val="1920"/>
            <c:spPr>
              <a:solidFill>
                <a:srgbClr val="AEABAB"/>
              </a:solidFill>
            </c:spPr>
          </c:dPt>
          <c:dPt>
            <c:idx val="1921"/>
            <c:spPr>
              <a:solidFill>
                <a:srgbClr val="AEABAB"/>
              </a:solidFill>
            </c:spPr>
          </c:dPt>
          <c:dPt>
            <c:idx val="1922"/>
            <c:spPr>
              <a:solidFill>
                <a:srgbClr val="AEABAB"/>
              </a:solidFill>
            </c:spPr>
          </c:dPt>
          <c:dPt>
            <c:idx val="1923"/>
            <c:spPr>
              <a:solidFill>
                <a:srgbClr val="AEABAB"/>
              </a:solidFill>
            </c:spPr>
          </c:dPt>
          <c:dPt>
            <c:idx val="1924"/>
            <c:spPr>
              <a:solidFill>
                <a:srgbClr val="AEABAB"/>
              </a:solidFill>
            </c:spPr>
          </c:dPt>
          <c:dPt>
            <c:idx val="1925"/>
            <c:spPr>
              <a:solidFill>
                <a:srgbClr val="AEABAB"/>
              </a:solidFill>
            </c:spPr>
          </c:dPt>
          <c:dPt>
            <c:idx val="1926"/>
            <c:spPr>
              <a:solidFill>
                <a:srgbClr val="AEABAB"/>
              </a:solidFill>
            </c:spPr>
          </c:dPt>
          <c:dPt>
            <c:idx val="1927"/>
            <c:spPr>
              <a:solidFill>
                <a:srgbClr val="AEABAB"/>
              </a:solidFill>
            </c:spPr>
          </c:dPt>
          <c:dPt>
            <c:idx val="1928"/>
            <c:spPr>
              <a:solidFill>
                <a:srgbClr val="AEABAB"/>
              </a:solidFill>
            </c:spPr>
          </c:dPt>
          <c:dPt>
            <c:idx val="1929"/>
            <c:spPr>
              <a:solidFill>
                <a:srgbClr val="AEABAB"/>
              </a:solidFill>
            </c:spPr>
          </c:dPt>
          <c:dPt>
            <c:idx val="1930"/>
            <c:spPr>
              <a:solidFill>
                <a:srgbClr val="AEABAB"/>
              </a:solidFill>
            </c:spPr>
          </c:dPt>
          <c:dPt>
            <c:idx val="1931"/>
            <c:spPr>
              <a:solidFill>
                <a:srgbClr val="AEABAB"/>
              </a:solidFill>
            </c:spPr>
          </c:dPt>
          <c:dPt>
            <c:idx val="1932"/>
            <c:spPr>
              <a:solidFill>
                <a:srgbClr val="AEABAB"/>
              </a:solidFill>
            </c:spPr>
          </c:dPt>
          <c:dPt>
            <c:idx val="1933"/>
            <c:spPr>
              <a:solidFill>
                <a:srgbClr val="AEABAB"/>
              </a:solidFill>
            </c:spPr>
          </c:dPt>
          <c:dPt>
            <c:idx val="1934"/>
            <c:spPr>
              <a:solidFill>
                <a:srgbClr val="AEABAB"/>
              </a:solidFill>
            </c:spPr>
          </c:dPt>
          <c:dPt>
            <c:idx val="1935"/>
            <c:spPr>
              <a:solidFill>
                <a:srgbClr val="AEABAB"/>
              </a:solidFill>
            </c:spPr>
          </c:dPt>
          <c:dPt>
            <c:idx val="1936"/>
            <c:spPr>
              <a:solidFill>
                <a:srgbClr val="AEABAB"/>
              </a:solidFill>
            </c:spPr>
          </c:dPt>
          <c:dPt>
            <c:idx val="1937"/>
            <c:spPr>
              <a:solidFill>
                <a:srgbClr val="AEABAB"/>
              </a:solidFill>
            </c:spPr>
          </c:dPt>
          <c:dPt>
            <c:idx val="1938"/>
            <c:spPr>
              <a:solidFill>
                <a:srgbClr val="AEABAB"/>
              </a:solidFill>
            </c:spPr>
          </c:dPt>
          <c:dPt>
            <c:idx val="1939"/>
            <c:spPr>
              <a:solidFill>
                <a:srgbClr val="AEABAB"/>
              </a:solidFill>
            </c:spPr>
          </c:dPt>
          <c:dPt>
            <c:idx val="1940"/>
            <c:spPr>
              <a:solidFill>
                <a:srgbClr val="AEABAB"/>
              </a:solidFill>
            </c:spPr>
          </c:dPt>
          <c:dPt>
            <c:idx val="1941"/>
            <c:spPr>
              <a:solidFill>
                <a:srgbClr val="AEABAB"/>
              </a:solidFill>
            </c:spPr>
          </c:dPt>
          <c:dPt>
            <c:idx val="1942"/>
            <c:spPr>
              <a:solidFill>
                <a:srgbClr val="AEABAB"/>
              </a:solidFill>
            </c:spPr>
          </c:dPt>
          <c:dPt>
            <c:idx val="1943"/>
            <c:spPr>
              <a:solidFill>
                <a:srgbClr val="AEABAB"/>
              </a:solidFill>
            </c:spPr>
          </c:dPt>
          <c:dPt>
            <c:idx val="1944"/>
            <c:spPr>
              <a:solidFill>
                <a:srgbClr val="AEABAB"/>
              </a:solidFill>
            </c:spPr>
          </c:dPt>
          <c:dPt>
            <c:idx val="1945"/>
            <c:spPr>
              <a:solidFill>
                <a:srgbClr val="AEABAB"/>
              </a:solidFill>
            </c:spPr>
          </c:dPt>
          <c:dPt>
            <c:idx val="1946"/>
            <c:spPr>
              <a:solidFill>
                <a:srgbClr val="AEABAB"/>
              </a:solidFill>
            </c:spPr>
          </c:dPt>
          <c:dPt>
            <c:idx val="1947"/>
            <c:spPr>
              <a:solidFill>
                <a:srgbClr val="AEABAB"/>
              </a:solidFill>
            </c:spPr>
          </c:dPt>
          <c:dPt>
            <c:idx val="1948"/>
            <c:spPr>
              <a:solidFill>
                <a:srgbClr val="AEABAB"/>
              </a:solidFill>
            </c:spPr>
          </c:dPt>
          <c:dPt>
            <c:idx val="1949"/>
            <c:spPr>
              <a:solidFill>
                <a:srgbClr val="AEABAB"/>
              </a:solidFill>
            </c:spPr>
          </c:dPt>
          <c:dPt>
            <c:idx val="1950"/>
            <c:spPr>
              <a:solidFill>
                <a:srgbClr val="AEABAB"/>
              </a:solidFill>
            </c:spPr>
          </c:dPt>
          <c:dPt>
            <c:idx val="1951"/>
            <c:spPr>
              <a:solidFill>
                <a:srgbClr val="AEABAB"/>
              </a:solidFill>
            </c:spPr>
          </c:dPt>
          <c:dPt>
            <c:idx val="1952"/>
            <c:spPr>
              <a:solidFill>
                <a:srgbClr val="AEABAB"/>
              </a:solidFill>
            </c:spPr>
          </c:dPt>
          <c:dPt>
            <c:idx val="1953"/>
            <c:spPr>
              <a:solidFill>
                <a:srgbClr val="AEABAB"/>
              </a:solidFill>
            </c:spPr>
          </c:dPt>
          <c:dPt>
            <c:idx val="1954"/>
            <c:spPr>
              <a:solidFill>
                <a:srgbClr val="AEABAB"/>
              </a:solidFill>
            </c:spPr>
          </c:dPt>
          <c:dPt>
            <c:idx val="1955"/>
            <c:spPr>
              <a:solidFill>
                <a:srgbClr val="AEABAB"/>
              </a:solidFill>
            </c:spPr>
          </c:dPt>
          <c:dPt>
            <c:idx val="1956"/>
            <c:spPr>
              <a:solidFill>
                <a:srgbClr val="AEABAB"/>
              </a:solidFill>
            </c:spPr>
          </c:dPt>
          <c:dPt>
            <c:idx val="1957"/>
            <c:spPr>
              <a:solidFill>
                <a:srgbClr val="AEABAB"/>
              </a:solidFill>
            </c:spPr>
          </c:dPt>
          <c:dPt>
            <c:idx val="1958"/>
            <c:spPr>
              <a:solidFill>
                <a:srgbClr val="AEABAB"/>
              </a:solidFill>
            </c:spPr>
          </c:dPt>
          <c:dPt>
            <c:idx val="1959"/>
            <c:spPr>
              <a:solidFill>
                <a:srgbClr val="AEABAB"/>
              </a:solidFill>
            </c:spPr>
          </c:dPt>
          <c:dPt>
            <c:idx val="1960"/>
            <c:spPr>
              <a:solidFill>
                <a:srgbClr val="AEABAB"/>
              </a:solidFill>
            </c:spPr>
          </c:dPt>
          <c:dPt>
            <c:idx val="1961"/>
            <c:spPr>
              <a:solidFill>
                <a:srgbClr val="AEABAB"/>
              </a:solidFill>
            </c:spPr>
          </c:dPt>
          <c:dPt>
            <c:idx val="1962"/>
            <c:spPr>
              <a:solidFill>
                <a:srgbClr val="AEABAB"/>
              </a:solidFill>
            </c:spPr>
          </c:dPt>
          <c:dPt>
            <c:idx val="1963"/>
            <c:spPr>
              <a:solidFill>
                <a:srgbClr val="AEABAB"/>
              </a:solidFill>
            </c:spPr>
          </c:dPt>
          <c:dPt>
            <c:idx val="1964"/>
            <c:spPr>
              <a:solidFill>
                <a:srgbClr val="AEABAB"/>
              </a:solidFill>
            </c:spPr>
          </c:dPt>
          <c:dPt>
            <c:idx val="1965"/>
            <c:spPr>
              <a:solidFill>
                <a:srgbClr val="AEABAB"/>
              </a:solidFill>
            </c:spPr>
          </c:dPt>
          <c:dPt>
            <c:idx val="1966"/>
            <c:spPr>
              <a:solidFill>
                <a:srgbClr val="AEABAB"/>
              </a:solidFill>
            </c:spPr>
          </c:dPt>
          <c:dPt>
            <c:idx val="1967"/>
            <c:spPr>
              <a:solidFill>
                <a:srgbClr val="AEABAB"/>
              </a:solidFill>
            </c:spPr>
          </c:dPt>
          <c:dPt>
            <c:idx val="1968"/>
            <c:spPr>
              <a:solidFill>
                <a:srgbClr val="AEABAB"/>
              </a:solidFill>
            </c:spPr>
          </c:dPt>
          <c:dPt>
            <c:idx val="1969"/>
            <c:spPr>
              <a:solidFill>
                <a:srgbClr val="AEABAB"/>
              </a:solidFill>
            </c:spPr>
          </c:dPt>
          <c:dPt>
            <c:idx val="1970"/>
            <c:spPr>
              <a:solidFill>
                <a:srgbClr val="AEABAB"/>
              </a:solidFill>
            </c:spPr>
          </c:dPt>
          <c:dPt>
            <c:idx val="1971"/>
            <c:spPr>
              <a:solidFill>
                <a:srgbClr val="AEABAB"/>
              </a:solidFill>
            </c:spPr>
          </c:dPt>
          <c:dPt>
            <c:idx val="1972"/>
            <c:spPr>
              <a:solidFill>
                <a:srgbClr val="AEABAB"/>
              </a:solidFill>
            </c:spPr>
          </c:dPt>
          <c:dPt>
            <c:idx val="1973"/>
            <c:spPr>
              <a:solidFill>
                <a:srgbClr val="AEABAB"/>
              </a:solidFill>
            </c:spPr>
          </c:dPt>
          <c:dPt>
            <c:idx val="1974"/>
            <c:spPr>
              <a:solidFill>
                <a:srgbClr val="AEABAB"/>
              </a:solidFill>
            </c:spPr>
          </c:dPt>
          <c:dPt>
            <c:idx val="1975"/>
            <c:spPr>
              <a:solidFill>
                <a:srgbClr val="AEABAB"/>
              </a:solidFill>
            </c:spPr>
          </c:dPt>
          <c:dPt>
            <c:idx val="1976"/>
            <c:spPr>
              <a:solidFill>
                <a:srgbClr val="AEABAB"/>
              </a:solidFill>
            </c:spPr>
          </c:dPt>
          <c:dPt>
            <c:idx val="1977"/>
            <c:spPr>
              <a:solidFill>
                <a:srgbClr val="AEABAB"/>
              </a:solidFill>
            </c:spPr>
          </c:dPt>
          <c:dPt>
            <c:idx val="1978"/>
            <c:spPr>
              <a:solidFill>
                <a:srgbClr val="AEABAB"/>
              </a:solidFill>
            </c:spPr>
          </c:dPt>
          <c:dPt>
            <c:idx val="1979"/>
            <c:spPr>
              <a:solidFill>
                <a:srgbClr val="AEABAB"/>
              </a:solidFill>
            </c:spPr>
          </c:dPt>
          <c:dPt>
            <c:idx val="1980"/>
            <c:spPr>
              <a:solidFill>
                <a:srgbClr val="AEABAB"/>
              </a:solidFill>
            </c:spPr>
          </c:dPt>
          <c:dPt>
            <c:idx val="1981"/>
            <c:spPr>
              <a:solidFill>
                <a:srgbClr val="AEABAB"/>
              </a:solidFill>
            </c:spPr>
          </c:dPt>
          <c:dPt>
            <c:idx val="1982"/>
            <c:spPr>
              <a:solidFill>
                <a:srgbClr val="AEABAB"/>
              </a:solidFill>
            </c:spPr>
          </c:dPt>
          <c:dPt>
            <c:idx val="1983"/>
            <c:spPr>
              <a:solidFill>
                <a:srgbClr val="AEABAB"/>
              </a:solidFill>
            </c:spPr>
          </c:dPt>
          <c:dPt>
            <c:idx val="1984"/>
            <c:spPr>
              <a:solidFill>
                <a:srgbClr val="AEABAB"/>
              </a:solidFill>
            </c:spPr>
          </c:dPt>
          <c:dPt>
            <c:idx val="1985"/>
            <c:spPr>
              <a:solidFill>
                <a:srgbClr val="AEABAB"/>
              </a:solidFill>
            </c:spPr>
          </c:dPt>
          <c:dPt>
            <c:idx val="1986"/>
            <c:spPr>
              <a:solidFill>
                <a:srgbClr val="AEABAB"/>
              </a:solidFill>
            </c:spPr>
          </c:dPt>
          <c:dPt>
            <c:idx val="1987"/>
            <c:spPr>
              <a:solidFill>
                <a:srgbClr val="AEABAB"/>
              </a:solidFill>
            </c:spPr>
          </c:dPt>
          <c:dPt>
            <c:idx val="1988"/>
            <c:spPr>
              <a:solidFill>
                <a:srgbClr val="AEABAB"/>
              </a:solidFill>
            </c:spPr>
          </c:dPt>
          <c:dPt>
            <c:idx val="1989"/>
            <c:spPr>
              <a:solidFill>
                <a:srgbClr val="AEABAB"/>
              </a:solidFill>
            </c:spPr>
          </c:dPt>
          <c:dPt>
            <c:idx val="1990"/>
            <c:spPr>
              <a:solidFill>
                <a:srgbClr val="AEABAB"/>
              </a:solidFill>
            </c:spPr>
          </c:dPt>
          <c:dPt>
            <c:idx val="1991"/>
            <c:spPr>
              <a:solidFill>
                <a:srgbClr val="AEABAB"/>
              </a:solidFill>
            </c:spPr>
          </c:dPt>
          <c:dPt>
            <c:idx val="1992"/>
            <c:spPr>
              <a:solidFill>
                <a:srgbClr val="AEABAB"/>
              </a:solidFill>
            </c:spPr>
          </c:dPt>
          <c:dPt>
            <c:idx val="1993"/>
            <c:spPr>
              <a:solidFill>
                <a:srgbClr val="AEABAB"/>
              </a:solidFill>
            </c:spPr>
          </c:dPt>
          <c:dPt>
            <c:idx val="1994"/>
            <c:spPr>
              <a:solidFill>
                <a:srgbClr val="AEABAB"/>
              </a:solidFill>
            </c:spPr>
          </c:dPt>
          <c:dPt>
            <c:idx val="1995"/>
            <c:spPr>
              <a:solidFill>
                <a:srgbClr val="AEABAB"/>
              </a:solidFill>
            </c:spPr>
          </c:dPt>
          <c:dPt>
            <c:idx val="1996"/>
            <c:spPr>
              <a:solidFill>
                <a:srgbClr val="AEABAB"/>
              </a:solidFill>
            </c:spPr>
          </c:dPt>
          <c:dPt>
            <c:idx val="1997"/>
            <c:spPr>
              <a:solidFill>
                <a:srgbClr val="AEABAB"/>
              </a:solidFill>
            </c:spPr>
          </c:dPt>
          <c:dPt>
            <c:idx val="1998"/>
            <c:spPr>
              <a:solidFill>
                <a:srgbClr val="AEABAB"/>
              </a:solidFill>
            </c:spPr>
          </c:dPt>
          <c:dPt>
            <c:idx val="1999"/>
            <c:spPr>
              <a:solidFill>
                <a:srgbClr val="AEABAB"/>
              </a:solidFill>
            </c:spPr>
          </c:dPt>
          <c:dPt>
            <c:idx val="2000"/>
            <c:spPr>
              <a:solidFill>
                <a:srgbClr val="AEABAB"/>
              </a:solidFill>
            </c:spPr>
          </c:dPt>
          <c:dPt>
            <c:idx val="2001"/>
            <c:spPr>
              <a:solidFill>
                <a:srgbClr val="AEABAB"/>
              </a:solidFill>
            </c:spPr>
          </c:dPt>
          <c:dPt>
            <c:idx val="2002"/>
            <c:spPr>
              <a:solidFill>
                <a:srgbClr val="AEABAB"/>
              </a:solidFill>
            </c:spPr>
          </c:dPt>
          <c:dPt>
            <c:idx val="2003"/>
            <c:spPr>
              <a:solidFill>
                <a:srgbClr val="AEABAB"/>
              </a:solidFill>
            </c:spPr>
          </c:dPt>
          <c:dPt>
            <c:idx val="2004"/>
            <c:spPr>
              <a:solidFill>
                <a:srgbClr val="AEABAB"/>
              </a:solidFill>
            </c:spPr>
          </c:dPt>
          <c:dPt>
            <c:idx val="2005"/>
            <c:spPr>
              <a:solidFill>
                <a:srgbClr val="AEABAB"/>
              </a:solidFill>
            </c:spPr>
          </c:dPt>
          <c:dPt>
            <c:idx val="2006"/>
            <c:spPr>
              <a:solidFill>
                <a:srgbClr val="AEABAB"/>
              </a:solidFill>
            </c:spPr>
          </c:dPt>
          <c:dPt>
            <c:idx val="2007"/>
            <c:spPr>
              <a:solidFill>
                <a:srgbClr val="AEABAB"/>
              </a:solidFill>
            </c:spPr>
          </c:dPt>
          <c:dPt>
            <c:idx val="2008"/>
            <c:spPr>
              <a:solidFill>
                <a:srgbClr val="AEABAB"/>
              </a:solidFill>
            </c:spPr>
          </c:dPt>
          <c:dPt>
            <c:idx val="2009"/>
            <c:spPr>
              <a:solidFill>
                <a:srgbClr val="AEABAB"/>
              </a:solidFill>
            </c:spPr>
          </c:dPt>
          <c:dPt>
            <c:idx val="2010"/>
            <c:spPr>
              <a:solidFill>
                <a:srgbClr val="AEABAB"/>
              </a:solidFill>
            </c:spPr>
          </c:dPt>
          <c:dPt>
            <c:idx val="2011"/>
            <c:spPr>
              <a:solidFill>
                <a:srgbClr val="AEABAB"/>
              </a:solidFill>
            </c:spPr>
          </c:dPt>
          <c:dPt>
            <c:idx val="2012"/>
            <c:spPr>
              <a:solidFill>
                <a:srgbClr val="AEABAB"/>
              </a:solidFill>
            </c:spPr>
          </c:dPt>
          <c:dPt>
            <c:idx val="2013"/>
            <c:spPr>
              <a:solidFill>
                <a:srgbClr val="AEABAB"/>
              </a:solidFill>
            </c:spPr>
          </c:dPt>
          <c:dPt>
            <c:idx val="2014"/>
            <c:spPr>
              <a:solidFill>
                <a:srgbClr val="AEABAB"/>
              </a:solidFill>
            </c:spPr>
          </c:dPt>
          <c:dPt>
            <c:idx val="2015"/>
            <c:spPr>
              <a:solidFill>
                <a:srgbClr val="AEABAB"/>
              </a:solidFill>
            </c:spPr>
          </c:dPt>
          <c:dPt>
            <c:idx val="2016"/>
            <c:spPr>
              <a:solidFill>
                <a:srgbClr val="AEABAB"/>
              </a:solidFill>
            </c:spPr>
          </c:dPt>
          <c:dPt>
            <c:idx val="2017"/>
            <c:spPr>
              <a:solidFill>
                <a:srgbClr val="AEABAB"/>
              </a:solidFill>
            </c:spPr>
          </c:dPt>
          <c:dPt>
            <c:idx val="2018"/>
            <c:spPr>
              <a:solidFill>
                <a:srgbClr val="AEABAB"/>
              </a:solidFill>
            </c:spPr>
          </c:dPt>
          <c:dPt>
            <c:idx val="2019"/>
            <c:spPr>
              <a:solidFill>
                <a:srgbClr val="AEABAB"/>
              </a:solidFill>
            </c:spPr>
          </c:dPt>
          <c:dPt>
            <c:idx val="2020"/>
            <c:spPr>
              <a:solidFill>
                <a:srgbClr val="AEABAB"/>
              </a:solidFill>
            </c:spPr>
          </c:dPt>
          <c:dPt>
            <c:idx val="2021"/>
            <c:spPr>
              <a:solidFill>
                <a:srgbClr val="AEABAB"/>
              </a:solidFill>
            </c:spPr>
          </c:dPt>
          <c:dPt>
            <c:idx val="2022"/>
            <c:spPr>
              <a:solidFill>
                <a:srgbClr val="AEABAB"/>
              </a:solidFill>
            </c:spPr>
          </c:dPt>
          <c:dPt>
            <c:idx val="2023"/>
            <c:spPr>
              <a:solidFill>
                <a:srgbClr val="AEABAB"/>
              </a:solidFill>
            </c:spPr>
          </c:dPt>
          <c:dPt>
            <c:idx val="2024"/>
            <c:spPr>
              <a:solidFill>
                <a:srgbClr val="AEABAB"/>
              </a:solidFill>
            </c:spPr>
          </c:dPt>
          <c:dPt>
            <c:idx val="2025"/>
            <c:spPr>
              <a:solidFill>
                <a:srgbClr val="AEABAB"/>
              </a:solidFill>
            </c:spPr>
          </c:dPt>
          <c:dPt>
            <c:idx val="2026"/>
            <c:spPr>
              <a:solidFill>
                <a:srgbClr val="AEABAB"/>
              </a:solidFill>
            </c:spPr>
          </c:dPt>
          <c:dPt>
            <c:idx val="2027"/>
            <c:spPr>
              <a:solidFill>
                <a:srgbClr val="AEABAB"/>
              </a:solidFill>
            </c:spPr>
          </c:dPt>
          <c:dPt>
            <c:idx val="2028"/>
            <c:spPr>
              <a:solidFill>
                <a:srgbClr val="AEABAB"/>
              </a:solidFill>
            </c:spPr>
          </c:dPt>
          <c:dPt>
            <c:idx val="2029"/>
            <c:spPr>
              <a:solidFill>
                <a:srgbClr val="AEABAB"/>
              </a:solidFill>
            </c:spPr>
          </c:dPt>
          <c:dPt>
            <c:idx val="2030"/>
            <c:spPr>
              <a:solidFill>
                <a:srgbClr val="AEABAB"/>
              </a:solidFill>
            </c:spPr>
          </c:dPt>
          <c:dPt>
            <c:idx val="2031"/>
            <c:spPr>
              <a:solidFill>
                <a:srgbClr val="AEABAB"/>
              </a:solidFill>
            </c:spPr>
          </c:dPt>
          <c:dPt>
            <c:idx val="2032"/>
            <c:spPr>
              <a:solidFill>
                <a:srgbClr val="AEABAB"/>
              </a:solidFill>
            </c:spPr>
          </c:dPt>
          <c:dPt>
            <c:idx val="2033"/>
            <c:spPr>
              <a:solidFill>
                <a:srgbClr val="AEABAB"/>
              </a:solidFill>
            </c:spPr>
          </c:dPt>
          <c:dPt>
            <c:idx val="2034"/>
            <c:spPr>
              <a:solidFill>
                <a:srgbClr val="AEABAB"/>
              </a:solidFill>
            </c:spPr>
          </c:dPt>
          <c:dPt>
            <c:idx val="2035"/>
            <c:spPr>
              <a:solidFill>
                <a:srgbClr val="AEABAB"/>
              </a:solidFill>
            </c:spPr>
          </c:dPt>
          <c:dPt>
            <c:idx val="2036"/>
            <c:spPr>
              <a:solidFill>
                <a:srgbClr val="AEABAB"/>
              </a:solidFill>
            </c:spPr>
          </c:dPt>
          <c:dPt>
            <c:idx val="2037"/>
            <c:spPr>
              <a:solidFill>
                <a:srgbClr val="AEABAB"/>
              </a:solidFill>
            </c:spPr>
          </c:dPt>
          <c:dPt>
            <c:idx val="2038"/>
            <c:spPr>
              <a:solidFill>
                <a:srgbClr val="AEABAB"/>
              </a:solidFill>
            </c:spPr>
          </c:dPt>
          <c:dPt>
            <c:idx val="2039"/>
            <c:spPr>
              <a:solidFill>
                <a:srgbClr val="AEABAB"/>
              </a:solidFill>
            </c:spPr>
          </c:dPt>
          <c:dPt>
            <c:idx val="2040"/>
            <c:spPr>
              <a:solidFill>
                <a:srgbClr val="AEABAB"/>
              </a:solidFill>
            </c:spPr>
          </c:dPt>
          <c:dPt>
            <c:idx val="2041"/>
            <c:spPr>
              <a:solidFill>
                <a:srgbClr val="AEABAB"/>
              </a:solidFill>
            </c:spPr>
          </c:dPt>
          <c:dPt>
            <c:idx val="2042"/>
            <c:spPr>
              <a:solidFill>
                <a:srgbClr val="AEABAB"/>
              </a:solidFill>
            </c:spPr>
          </c:dPt>
          <c:dPt>
            <c:idx val="2043"/>
            <c:spPr>
              <a:solidFill>
                <a:srgbClr val="AEABAB"/>
              </a:solidFill>
            </c:spPr>
          </c:dPt>
          <c:dPt>
            <c:idx val="2044"/>
            <c:spPr>
              <a:solidFill>
                <a:srgbClr val="AEABAB"/>
              </a:solidFill>
            </c:spPr>
          </c:dPt>
          <c:dPt>
            <c:idx val="2045"/>
            <c:spPr>
              <a:solidFill>
                <a:srgbClr val="AEABAB"/>
              </a:solidFill>
            </c:spPr>
          </c:dPt>
          <c:dPt>
            <c:idx val="2046"/>
            <c:spPr>
              <a:solidFill>
                <a:srgbClr val="AEABAB"/>
              </a:solidFill>
            </c:spPr>
          </c:dPt>
          <c:dPt>
            <c:idx val="2047"/>
            <c:spPr>
              <a:solidFill>
                <a:srgbClr val="AEABAB"/>
              </a:solidFill>
            </c:spPr>
          </c:dPt>
          <c:dPt>
            <c:idx val="2048"/>
            <c:spPr>
              <a:solidFill>
                <a:srgbClr val="AEABAB"/>
              </a:solidFill>
            </c:spPr>
          </c:dPt>
          <c:dPt>
            <c:idx val="2049"/>
            <c:spPr>
              <a:solidFill>
                <a:srgbClr val="AEABAB"/>
              </a:solidFill>
            </c:spPr>
          </c:dPt>
          <c:dPt>
            <c:idx val="2050"/>
            <c:spPr>
              <a:solidFill>
                <a:srgbClr val="AEABAB"/>
              </a:solidFill>
            </c:spPr>
          </c:dPt>
          <c:dPt>
            <c:idx val="2051"/>
            <c:spPr>
              <a:solidFill>
                <a:srgbClr val="AEABAB"/>
              </a:solidFill>
            </c:spPr>
          </c:dPt>
          <c:dPt>
            <c:idx val="2052"/>
            <c:spPr>
              <a:solidFill>
                <a:srgbClr val="AEABAB"/>
              </a:solidFill>
            </c:spPr>
          </c:dPt>
          <c:dPt>
            <c:idx val="2053"/>
            <c:spPr>
              <a:solidFill>
                <a:srgbClr val="AEABAB"/>
              </a:solidFill>
            </c:spPr>
          </c:dPt>
          <c:dPt>
            <c:idx val="2054"/>
            <c:spPr>
              <a:solidFill>
                <a:srgbClr val="AEABAB"/>
              </a:solidFill>
            </c:spPr>
          </c:dPt>
          <c:dPt>
            <c:idx val="2055"/>
            <c:spPr>
              <a:solidFill>
                <a:srgbClr val="AEABAB"/>
              </a:solidFill>
            </c:spPr>
          </c:dPt>
          <c:dPt>
            <c:idx val="2056"/>
            <c:spPr>
              <a:solidFill>
                <a:srgbClr val="AEABAB"/>
              </a:solidFill>
            </c:spPr>
          </c:dPt>
          <c:dPt>
            <c:idx val="2057"/>
            <c:spPr>
              <a:solidFill>
                <a:srgbClr val="AEABAB"/>
              </a:solidFill>
            </c:spPr>
          </c:dPt>
          <c:dPt>
            <c:idx val="2058"/>
            <c:spPr>
              <a:solidFill>
                <a:srgbClr val="AEABAB"/>
              </a:solidFill>
            </c:spPr>
          </c:dPt>
          <c:dPt>
            <c:idx val="2059"/>
            <c:spPr>
              <a:solidFill>
                <a:srgbClr val="AEABAB"/>
              </a:solidFill>
            </c:spPr>
          </c:dPt>
          <c:dPt>
            <c:idx val="2060"/>
            <c:spPr>
              <a:solidFill>
                <a:srgbClr val="AEABAB"/>
              </a:solidFill>
            </c:spPr>
          </c:dPt>
          <c:dPt>
            <c:idx val="2061"/>
            <c:spPr>
              <a:solidFill>
                <a:srgbClr val="AEABAB"/>
              </a:solidFill>
            </c:spPr>
          </c:dPt>
          <c:dPt>
            <c:idx val="2062"/>
            <c:spPr>
              <a:solidFill>
                <a:srgbClr val="AEABAB"/>
              </a:solidFill>
            </c:spPr>
          </c:dPt>
          <c:dPt>
            <c:idx val="2063"/>
            <c:spPr>
              <a:solidFill>
                <a:srgbClr val="AEABAB"/>
              </a:solidFill>
            </c:spPr>
          </c:dPt>
          <c:dPt>
            <c:idx val="2064"/>
            <c:spPr>
              <a:solidFill>
                <a:srgbClr val="AEABAB"/>
              </a:solidFill>
            </c:spPr>
          </c:dPt>
          <c:dPt>
            <c:idx val="2065"/>
            <c:spPr>
              <a:solidFill>
                <a:srgbClr val="AEABAB"/>
              </a:solidFill>
            </c:spPr>
          </c:dPt>
          <c:dPt>
            <c:idx val="2066"/>
            <c:spPr>
              <a:solidFill>
                <a:srgbClr val="AEABAB"/>
              </a:solidFill>
            </c:spPr>
          </c:dPt>
          <c:dPt>
            <c:idx val="2067"/>
            <c:spPr>
              <a:solidFill>
                <a:srgbClr val="AEABAB"/>
              </a:solidFill>
            </c:spPr>
          </c:dPt>
          <c:dPt>
            <c:idx val="2068"/>
            <c:spPr>
              <a:solidFill>
                <a:srgbClr val="AEABAB"/>
              </a:solidFill>
            </c:spPr>
          </c:dPt>
          <c:dPt>
            <c:idx val="2069"/>
            <c:spPr>
              <a:solidFill>
                <a:srgbClr val="AEABAB"/>
              </a:solidFill>
            </c:spPr>
          </c:dPt>
          <c:dPt>
            <c:idx val="2070"/>
            <c:spPr>
              <a:solidFill>
                <a:srgbClr val="AEABAB"/>
              </a:solidFill>
            </c:spPr>
          </c:dPt>
          <c:dPt>
            <c:idx val="2071"/>
            <c:spPr>
              <a:solidFill>
                <a:srgbClr val="AEABAB"/>
              </a:solidFill>
            </c:spPr>
          </c:dPt>
          <c:dPt>
            <c:idx val="2072"/>
            <c:spPr>
              <a:solidFill>
                <a:srgbClr val="AEABAB"/>
              </a:solidFill>
            </c:spPr>
          </c:dPt>
          <c:dPt>
            <c:idx val="2073"/>
            <c:spPr>
              <a:solidFill>
                <a:srgbClr val="AEABAB"/>
              </a:solidFill>
            </c:spPr>
          </c:dPt>
          <c:dPt>
            <c:idx val="2074"/>
            <c:spPr>
              <a:solidFill>
                <a:srgbClr val="AEABAB"/>
              </a:solidFill>
            </c:spPr>
          </c:dPt>
          <c:dPt>
            <c:idx val="2075"/>
            <c:spPr>
              <a:solidFill>
                <a:srgbClr val="AEABAB"/>
              </a:solidFill>
            </c:spPr>
          </c:dPt>
          <c:dPt>
            <c:idx val="2076"/>
            <c:spPr>
              <a:solidFill>
                <a:srgbClr val="AEABAB"/>
              </a:solidFill>
            </c:spPr>
          </c:dPt>
          <c:dPt>
            <c:idx val="2077"/>
            <c:spPr>
              <a:solidFill>
                <a:srgbClr val="AEABAB"/>
              </a:solidFill>
            </c:spPr>
          </c:dPt>
          <c:dPt>
            <c:idx val="2078"/>
            <c:spPr>
              <a:solidFill>
                <a:srgbClr val="AEABAB"/>
              </a:solidFill>
            </c:spPr>
          </c:dPt>
          <c:dPt>
            <c:idx val="2079"/>
            <c:spPr>
              <a:solidFill>
                <a:srgbClr val="AEABAB"/>
              </a:solidFill>
            </c:spPr>
          </c:dPt>
          <c:dPt>
            <c:idx val="2080"/>
            <c:spPr>
              <a:solidFill>
                <a:srgbClr val="AEABAB"/>
              </a:solidFill>
            </c:spPr>
          </c:dPt>
          <c:dPt>
            <c:idx val="2081"/>
            <c:spPr>
              <a:solidFill>
                <a:srgbClr val="AEABAB"/>
              </a:solidFill>
            </c:spPr>
          </c:dPt>
          <c:dPt>
            <c:idx val="2082"/>
            <c:spPr>
              <a:solidFill>
                <a:srgbClr val="AEABAB"/>
              </a:solidFill>
            </c:spPr>
          </c:dPt>
          <c:dPt>
            <c:idx val="2083"/>
            <c:spPr>
              <a:solidFill>
                <a:srgbClr val="AEABAB"/>
              </a:solidFill>
            </c:spPr>
          </c:dPt>
          <c:dPt>
            <c:idx val="2084"/>
            <c:spPr>
              <a:solidFill>
                <a:srgbClr val="AEABAB"/>
              </a:solidFill>
            </c:spPr>
          </c:dPt>
          <c:dPt>
            <c:idx val="2085"/>
            <c:spPr>
              <a:solidFill>
                <a:srgbClr val="AEABAB"/>
              </a:solidFill>
            </c:spPr>
          </c:dPt>
          <c:dPt>
            <c:idx val="2086"/>
            <c:spPr>
              <a:solidFill>
                <a:srgbClr val="AEABAB"/>
              </a:solidFill>
            </c:spPr>
          </c:dPt>
          <c:dPt>
            <c:idx val="2087"/>
            <c:spPr>
              <a:solidFill>
                <a:srgbClr val="AEABAB"/>
              </a:solidFill>
            </c:spPr>
          </c:dPt>
          <c:dPt>
            <c:idx val="2088"/>
            <c:spPr>
              <a:solidFill>
                <a:srgbClr val="AEABAB"/>
              </a:solidFill>
            </c:spPr>
          </c:dPt>
          <c:dPt>
            <c:idx val="2089"/>
            <c:spPr>
              <a:solidFill>
                <a:srgbClr val="AEABAB"/>
              </a:solidFill>
            </c:spPr>
          </c:dPt>
          <c:dPt>
            <c:idx val="2090"/>
            <c:spPr>
              <a:solidFill>
                <a:srgbClr val="AEABAB"/>
              </a:solidFill>
            </c:spPr>
          </c:dPt>
          <c:dPt>
            <c:idx val="2091"/>
            <c:spPr>
              <a:solidFill>
                <a:srgbClr val="AEABAB"/>
              </a:solidFill>
            </c:spPr>
          </c:dPt>
          <c:dPt>
            <c:idx val="2092"/>
            <c:spPr>
              <a:solidFill>
                <a:srgbClr val="AEABAB"/>
              </a:solidFill>
            </c:spPr>
          </c:dPt>
          <c:dPt>
            <c:idx val="2093"/>
            <c:spPr>
              <a:solidFill>
                <a:srgbClr val="AEABAB"/>
              </a:solidFill>
            </c:spPr>
          </c:dPt>
          <c:dPt>
            <c:idx val="2094"/>
            <c:spPr>
              <a:solidFill>
                <a:srgbClr val="AEABAB"/>
              </a:solidFill>
            </c:spPr>
          </c:dPt>
          <c:dPt>
            <c:idx val="2095"/>
            <c:spPr>
              <a:solidFill>
                <a:srgbClr val="AEABAB"/>
              </a:solidFill>
            </c:spPr>
          </c:dPt>
          <c:dPt>
            <c:idx val="2096"/>
            <c:spPr>
              <a:solidFill>
                <a:srgbClr val="AEABAB"/>
              </a:solidFill>
            </c:spPr>
          </c:dPt>
          <c:dPt>
            <c:idx val="2097"/>
            <c:spPr>
              <a:solidFill>
                <a:srgbClr val="AEABAB"/>
              </a:solidFill>
            </c:spPr>
          </c:dPt>
          <c:dPt>
            <c:idx val="2098"/>
            <c:spPr>
              <a:solidFill>
                <a:srgbClr val="AEABAB"/>
              </a:solidFill>
            </c:spPr>
          </c:dPt>
          <c:dPt>
            <c:idx val="2099"/>
            <c:spPr>
              <a:solidFill>
                <a:srgbClr val="AEABAB"/>
              </a:solidFill>
            </c:spPr>
          </c:dPt>
          <c:dPt>
            <c:idx val="2100"/>
            <c:spPr>
              <a:solidFill>
                <a:srgbClr val="AEABAB"/>
              </a:solidFill>
            </c:spPr>
          </c:dPt>
          <c:dPt>
            <c:idx val="2101"/>
            <c:spPr>
              <a:solidFill>
                <a:srgbClr val="AEABAB"/>
              </a:solidFill>
            </c:spPr>
          </c:dPt>
          <c:dPt>
            <c:idx val="2102"/>
            <c:spPr>
              <a:solidFill>
                <a:srgbClr val="AEABAB"/>
              </a:solidFill>
            </c:spPr>
          </c:dPt>
          <c:dPt>
            <c:idx val="2103"/>
            <c:spPr>
              <a:solidFill>
                <a:srgbClr val="AEABAB"/>
              </a:solidFill>
            </c:spPr>
          </c:dPt>
          <c:dPt>
            <c:idx val="2104"/>
            <c:spPr>
              <a:solidFill>
                <a:srgbClr val="AEABAB"/>
              </a:solidFill>
            </c:spPr>
          </c:dPt>
          <c:dPt>
            <c:idx val="2105"/>
            <c:spPr>
              <a:solidFill>
                <a:srgbClr val="AEABAB"/>
              </a:solidFill>
            </c:spPr>
          </c:dPt>
          <c:dPt>
            <c:idx val="2106"/>
            <c:spPr>
              <a:solidFill>
                <a:srgbClr val="AEABAB"/>
              </a:solidFill>
            </c:spPr>
          </c:dPt>
          <c:dPt>
            <c:idx val="2107"/>
            <c:spPr>
              <a:solidFill>
                <a:srgbClr val="AEABAB"/>
              </a:solidFill>
            </c:spPr>
          </c:dPt>
          <c:dPt>
            <c:idx val="2108"/>
            <c:spPr>
              <a:solidFill>
                <a:srgbClr val="AEABAB"/>
              </a:solidFill>
            </c:spPr>
          </c:dPt>
          <c:dPt>
            <c:idx val="2109"/>
            <c:spPr>
              <a:solidFill>
                <a:srgbClr val="AEABAB"/>
              </a:solidFill>
            </c:spPr>
          </c:dPt>
          <c:dPt>
            <c:idx val="2110"/>
            <c:spPr>
              <a:solidFill>
                <a:srgbClr val="AEABAB"/>
              </a:solidFill>
            </c:spPr>
          </c:dPt>
          <c:dPt>
            <c:idx val="2111"/>
            <c:spPr>
              <a:solidFill>
                <a:srgbClr val="AEABAB"/>
              </a:solidFill>
            </c:spPr>
          </c:dPt>
          <c:dPt>
            <c:idx val="2112"/>
            <c:spPr>
              <a:solidFill>
                <a:srgbClr val="AEABAB"/>
              </a:solidFill>
            </c:spPr>
          </c:dPt>
          <c:dPt>
            <c:idx val="2113"/>
            <c:spPr>
              <a:solidFill>
                <a:srgbClr val="AEABAB"/>
              </a:solidFill>
            </c:spPr>
          </c:dPt>
          <c:dPt>
            <c:idx val="2114"/>
            <c:spPr>
              <a:solidFill>
                <a:srgbClr val="AEABAB"/>
              </a:solidFill>
            </c:spPr>
          </c:dPt>
          <c:dPt>
            <c:idx val="2115"/>
            <c:spPr>
              <a:solidFill>
                <a:srgbClr val="AEABAB"/>
              </a:solidFill>
            </c:spPr>
          </c:dPt>
          <c:dPt>
            <c:idx val="2116"/>
            <c:spPr>
              <a:solidFill>
                <a:srgbClr val="AEABAB"/>
              </a:solidFill>
            </c:spPr>
          </c:dPt>
          <c:dPt>
            <c:idx val="2117"/>
            <c:spPr>
              <a:solidFill>
                <a:srgbClr val="AEABAB"/>
              </a:solidFill>
            </c:spPr>
          </c:dPt>
          <c:dPt>
            <c:idx val="2118"/>
            <c:spPr>
              <a:solidFill>
                <a:srgbClr val="AEABAB"/>
              </a:solidFill>
            </c:spPr>
          </c:dPt>
          <c:dPt>
            <c:idx val="2119"/>
            <c:spPr>
              <a:solidFill>
                <a:srgbClr val="AEABAB"/>
              </a:solidFill>
            </c:spPr>
          </c:dPt>
          <c:dPt>
            <c:idx val="2120"/>
            <c:spPr>
              <a:solidFill>
                <a:srgbClr val="AEABAB"/>
              </a:solidFill>
            </c:spPr>
          </c:dPt>
          <c:dPt>
            <c:idx val="2121"/>
            <c:spPr>
              <a:solidFill>
                <a:srgbClr val="AEABAB"/>
              </a:solidFill>
            </c:spPr>
          </c:dPt>
          <c:dPt>
            <c:idx val="2122"/>
            <c:spPr>
              <a:solidFill>
                <a:srgbClr val="AEABAB"/>
              </a:solidFill>
            </c:spPr>
          </c:dPt>
          <c:dPt>
            <c:idx val="2123"/>
            <c:spPr>
              <a:solidFill>
                <a:srgbClr val="AEABAB"/>
              </a:solidFill>
            </c:spPr>
          </c:dPt>
          <c:dPt>
            <c:idx val="2124"/>
            <c:spPr>
              <a:solidFill>
                <a:srgbClr val="AEABAB"/>
              </a:solidFill>
            </c:spPr>
          </c:dPt>
          <c:dPt>
            <c:idx val="2125"/>
            <c:spPr>
              <a:solidFill>
                <a:srgbClr val="AEABAB"/>
              </a:solidFill>
            </c:spPr>
          </c:dPt>
          <c:dPt>
            <c:idx val="2126"/>
            <c:spPr>
              <a:solidFill>
                <a:srgbClr val="AEABAB"/>
              </a:solidFill>
            </c:spPr>
          </c:dPt>
          <c:dPt>
            <c:idx val="2127"/>
            <c:spPr>
              <a:solidFill>
                <a:srgbClr val="AEABAB"/>
              </a:solidFill>
            </c:spPr>
          </c:dPt>
          <c:dPt>
            <c:idx val="2128"/>
            <c:spPr>
              <a:solidFill>
                <a:srgbClr val="AEABAB"/>
              </a:solidFill>
            </c:spPr>
          </c:dPt>
          <c:dPt>
            <c:idx val="2129"/>
            <c:spPr>
              <a:solidFill>
                <a:srgbClr val="AEABAB"/>
              </a:solidFill>
            </c:spPr>
          </c:dPt>
          <c:dPt>
            <c:idx val="2130"/>
            <c:spPr>
              <a:solidFill>
                <a:srgbClr val="AEABAB"/>
              </a:solidFill>
            </c:spPr>
          </c:dPt>
          <c:dPt>
            <c:idx val="2131"/>
            <c:spPr>
              <a:solidFill>
                <a:srgbClr val="AEABAB"/>
              </a:solidFill>
            </c:spPr>
          </c:dPt>
          <c:dPt>
            <c:idx val="2132"/>
            <c:spPr>
              <a:solidFill>
                <a:srgbClr val="AEABAB"/>
              </a:solidFill>
            </c:spPr>
          </c:dPt>
          <c:dPt>
            <c:idx val="2133"/>
            <c:spPr>
              <a:solidFill>
                <a:srgbClr val="AEABAB"/>
              </a:solidFill>
            </c:spPr>
          </c:dPt>
          <c:dPt>
            <c:idx val="2134"/>
            <c:spPr>
              <a:solidFill>
                <a:srgbClr val="AEABAB"/>
              </a:solidFill>
            </c:spPr>
          </c:dPt>
          <c:dPt>
            <c:idx val="2135"/>
            <c:spPr>
              <a:solidFill>
                <a:srgbClr val="AEABAB"/>
              </a:solidFill>
            </c:spPr>
          </c:dPt>
          <c:dPt>
            <c:idx val="2136"/>
            <c:spPr>
              <a:solidFill>
                <a:srgbClr val="AEABAB"/>
              </a:solidFill>
            </c:spPr>
          </c:dPt>
          <c:dPt>
            <c:idx val="2137"/>
            <c:spPr>
              <a:solidFill>
                <a:srgbClr val="AEABAB"/>
              </a:solidFill>
            </c:spPr>
          </c:dPt>
          <c:dPt>
            <c:idx val="2138"/>
            <c:spPr>
              <a:solidFill>
                <a:srgbClr val="AEABAB"/>
              </a:solidFill>
            </c:spPr>
          </c:dPt>
          <c:dPt>
            <c:idx val="2139"/>
            <c:spPr>
              <a:solidFill>
                <a:srgbClr val="AEABAB"/>
              </a:solidFill>
            </c:spPr>
          </c:dPt>
          <c:dPt>
            <c:idx val="2140"/>
            <c:spPr>
              <a:solidFill>
                <a:srgbClr val="AEABAB"/>
              </a:solidFill>
            </c:spPr>
          </c:dPt>
          <c:dPt>
            <c:idx val="2141"/>
            <c:spPr>
              <a:solidFill>
                <a:srgbClr val="AEABAB"/>
              </a:solidFill>
            </c:spPr>
          </c:dPt>
          <c:dPt>
            <c:idx val="2142"/>
            <c:spPr>
              <a:solidFill>
                <a:srgbClr val="AEABAB"/>
              </a:solidFill>
            </c:spPr>
          </c:dPt>
          <c:dPt>
            <c:idx val="2143"/>
            <c:spPr>
              <a:solidFill>
                <a:srgbClr val="AEABAB"/>
              </a:solidFill>
            </c:spPr>
          </c:dPt>
          <c:dPt>
            <c:idx val="2144"/>
            <c:spPr>
              <a:solidFill>
                <a:srgbClr val="AEABAB"/>
              </a:solidFill>
            </c:spPr>
          </c:dPt>
          <c:dPt>
            <c:idx val="2145"/>
            <c:spPr>
              <a:solidFill>
                <a:srgbClr val="AEABAB"/>
              </a:solidFill>
            </c:spPr>
          </c:dPt>
          <c:dPt>
            <c:idx val="2146"/>
            <c:spPr>
              <a:solidFill>
                <a:srgbClr val="AEABAB"/>
              </a:solidFill>
            </c:spPr>
          </c:dPt>
          <c:dPt>
            <c:idx val="2147"/>
            <c:spPr>
              <a:solidFill>
                <a:srgbClr val="AEABAB"/>
              </a:solidFill>
            </c:spPr>
          </c:dPt>
          <c:dPt>
            <c:idx val="2148"/>
            <c:spPr>
              <a:solidFill>
                <a:srgbClr val="AEABAB"/>
              </a:solidFill>
            </c:spPr>
          </c:dPt>
          <c:dPt>
            <c:idx val="2149"/>
            <c:spPr>
              <a:solidFill>
                <a:srgbClr val="AEABAB"/>
              </a:solidFill>
            </c:spPr>
          </c:dPt>
          <c:dPt>
            <c:idx val="2150"/>
            <c:spPr>
              <a:solidFill>
                <a:srgbClr val="AEABAB"/>
              </a:solidFill>
            </c:spPr>
          </c:dPt>
          <c:dPt>
            <c:idx val="2151"/>
            <c:spPr>
              <a:solidFill>
                <a:srgbClr val="AEABAB"/>
              </a:solidFill>
            </c:spPr>
          </c:dPt>
          <c:dPt>
            <c:idx val="2152"/>
            <c:spPr>
              <a:solidFill>
                <a:srgbClr val="AEABAB"/>
              </a:solidFill>
            </c:spPr>
          </c:dPt>
          <c:dPt>
            <c:idx val="2153"/>
            <c:spPr>
              <a:solidFill>
                <a:srgbClr val="AEABAB"/>
              </a:solidFill>
            </c:spPr>
          </c:dPt>
          <c:dPt>
            <c:idx val="2154"/>
            <c:spPr>
              <a:solidFill>
                <a:srgbClr val="AEABAB"/>
              </a:solidFill>
            </c:spPr>
          </c:dPt>
          <c:dPt>
            <c:idx val="2155"/>
            <c:spPr>
              <a:solidFill>
                <a:srgbClr val="AEABAB"/>
              </a:solidFill>
            </c:spPr>
          </c:dPt>
          <c:dPt>
            <c:idx val="2156"/>
            <c:spPr>
              <a:solidFill>
                <a:srgbClr val="AEABAB"/>
              </a:solidFill>
            </c:spPr>
          </c:dPt>
          <c:dPt>
            <c:idx val="2157"/>
            <c:spPr>
              <a:solidFill>
                <a:srgbClr val="AEABAB"/>
              </a:solidFill>
            </c:spPr>
          </c:dPt>
          <c:dPt>
            <c:idx val="2158"/>
            <c:spPr>
              <a:solidFill>
                <a:srgbClr val="AEABAB"/>
              </a:solidFill>
            </c:spPr>
          </c:dPt>
          <c:dPt>
            <c:idx val="2159"/>
            <c:spPr>
              <a:solidFill>
                <a:srgbClr val="AEABAB"/>
              </a:solidFill>
            </c:spPr>
          </c:dPt>
          <c:dPt>
            <c:idx val="2160"/>
            <c:spPr>
              <a:solidFill>
                <a:srgbClr val="AEABAB"/>
              </a:solidFill>
            </c:spPr>
          </c:dPt>
          <c:dPt>
            <c:idx val="2161"/>
            <c:spPr>
              <a:solidFill>
                <a:srgbClr val="AEABAB"/>
              </a:solidFill>
            </c:spPr>
          </c:dPt>
          <c:dPt>
            <c:idx val="2162"/>
            <c:spPr>
              <a:solidFill>
                <a:srgbClr val="AEABAB"/>
              </a:solidFill>
            </c:spPr>
          </c:dPt>
          <c:dPt>
            <c:idx val="2163"/>
            <c:spPr>
              <a:solidFill>
                <a:srgbClr val="AEABAB"/>
              </a:solidFill>
            </c:spPr>
          </c:dPt>
          <c:dPt>
            <c:idx val="2164"/>
            <c:spPr>
              <a:solidFill>
                <a:srgbClr val="AEABAB"/>
              </a:solidFill>
            </c:spPr>
          </c:dPt>
          <c:dPt>
            <c:idx val="2165"/>
            <c:spPr>
              <a:solidFill>
                <a:srgbClr val="AEABAB"/>
              </a:solidFill>
            </c:spPr>
          </c:dPt>
          <c:dPt>
            <c:idx val="2166"/>
            <c:spPr>
              <a:solidFill>
                <a:srgbClr val="AEABAB"/>
              </a:solidFill>
            </c:spPr>
          </c:dPt>
          <c:dPt>
            <c:idx val="2167"/>
            <c:spPr>
              <a:solidFill>
                <a:srgbClr val="AEABAB"/>
              </a:solidFill>
            </c:spPr>
          </c:dPt>
          <c:dPt>
            <c:idx val="2168"/>
            <c:spPr>
              <a:solidFill>
                <a:srgbClr val="AEABAB"/>
              </a:solidFill>
            </c:spPr>
          </c:dPt>
          <c:dPt>
            <c:idx val="2169"/>
            <c:spPr>
              <a:solidFill>
                <a:srgbClr val="AEABAB"/>
              </a:solidFill>
            </c:spPr>
          </c:dPt>
          <c:dPt>
            <c:idx val="2170"/>
            <c:spPr>
              <a:solidFill>
                <a:srgbClr val="AEABAB"/>
              </a:solidFill>
            </c:spPr>
          </c:dPt>
          <c:dPt>
            <c:idx val="2171"/>
            <c:spPr>
              <a:solidFill>
                <a:srgbClr val="AEABAB"/>
              </a:solidFill>
            </c:spPr>
          </c:dPt>
          <c:dPt>
            <c:idx val="2172"/>
            <c:spPr>
              <a:solidFill>
                <a:srgbClr val="AEABAB"/>
              </a:solidFill>
            </c:spPr>
          </c:dPt>
          <c:dPt>
            <c:idx val="2173"/>
            <c:spPr>
              <a:solidFill>
                <a:srgbClr val="AEABAB"/>
              </a:solidFill>
            </c:spPr>
          </c:dPt>
          <c:dPt>
            <c:idx val="2174"/>
            <c:spPr>
              <a:solidFill>
                <a:srgbClr val="AEABAB"/>
              </a:solidFill>
            </c:spPr>
          </c:dPt>
          <c:dPt>
            <c:idx val="2175"/>
            <c:spPr>
              <a:solidFill>
                <a:srgbClr val="AEABAB"/>
              </a:solidFill>
            </c:spPr>
          </c:dPt>
          <c:dPt>
            <c:idx val="2176"/>
            <c:spPr>
              <a:solidFill>
                <a:srgbClr val="AEABAB"/>
              </a:solidFill>
            </c:spPr>
          </c:dPt>
          <c:dPt>
            <c:idx val="2177"/>
            <c:spPr>
              <a:solidFill>
                <a:srgbClr val="AEABAB"/>
              </a:solidFill>
            </c:spPr>
          </c:dPt>
          <c:dPt>
            <c:idx val="2178"/>
            <c:spPr>
              <a:solidFill>
                <a:srgbClr val="AEABAB"/>
              </a:solidFill>
            </c:spPr>
          </c:dPt>
          <c:dPt>
            <c:idx val="2179"/>
            <c:spPr>
              <a:solidFill>
                <a:srgbClr val="AEABAB"/>
              </a:solidFill>
            </c:spPr>
          </c:dPt>
          <c:dPt>
            <c:idx val="2180"/>
            <c:spPr>
              <a:solidFill>
                <a:srgbClr val="AEABAB"/>
              </a:solidFill>
            </c:spPr>
          </c:dPt>
          <c:dPt>
            <c:idx val="2181"/>
            <c:spPr>
              <a:solidFill>
                <a:srgbClr val="AEABAB"/>
              </a:solidFill>
            </c:spPr>
          </c:dPt>
          <c:dPt>
            <c:idx val="2182"/>
            <c:spPr>
              <a:solidFill>
                <a:srgbClr val="AEABAB"/>
              </a:solidFill>
            </c:spPr>
          </c:dPt>
          <c:dPt>
            <c:idx val="2183"/>
            <c:spPr>
              <a:solidFill>
                <a:srgbClr val="AEABAB"/>
              </a:solidFill>
            </c:spPr>
          </c:dPt>
          <c:dPt>
            <c:idx val="2184"/>
            <c:spPr>
              <a:solidFill>
                <a:srgbClr val="AEABAB"/>
              </a:solidFill>
            </c:spPr>
          </c:dPt>
          <c:dPt>
            <c:idx val="2185"/>
            <c:spPr>
              <a:solidFill>
                <a:srgbClr val="AEABAB"/>
              </a:solidFill>
            </c:spPr>
          </c:dPt>
          <c:dPt>
            <c:idx val="2186"/>
            <c:spPr>
              <a:solidFill>
                <a:srgbClr val="AEABAB"/>
              </a:solidFill>
            </c:spPr>
          </c:dPt>
          <c:dPt>
            <c:idx val="2187"/>
            <c:spPr>
              <a:solidFill>
                <a:srgbClr val="AEABAB"/>
              </a:solidFill>
            </c:spPr>
          </c:dPt>
          <c:dPt>
            <c:idx val="2188"/>
            <c:spPr>
              <a:solidFill>
                <a:srgbClr val="AEABAB"/>
              </a:solidFill>
            </c:spPr>
          </c:dPt>
          <c:dPt>
            <c:idx val="2189"/>
            <c:spPr>
              <a:solidFill>
                <a:srgbClr val="AEABAB"/>
              </a:solidFill>
            </c:spPr>
          </c:dPt>
          <c:dPt>
            <c:idx val="2190"/>
            <c:spPr>
              <a:solidFill>
                <a:srgbClr val="AEABAB"/>
              </a:solidFill>
            </c:spPr>
          </c:dPt>
          <c:dPt>
            <c:idx val="2191"/>
            <c:spPr>
              <a:solidFill>
                <a:srgbClr val="AEABAB"/>
              </a:solidFill>
            </c:spPr>
          </c:dPt>
          <c:dPt>
            <c:idx val="2192"/>
            <c:spPr>
              <a:solidFill>
                <a:srgbClr val="AEABAB"/>
              </a:solidFill>
            </c:spPr>
          </c:dPt>
          <c:dPt>
            <c:idx val="2193"/>
            <c:spPr>
              <a:solidFill>
                <a:srgbClr val="AEABAB"/>
              </a:solidFill>
            </c:spPr>
          </c:dPt>
          <c:dPt>
            <c:idx val="2194"/>
            <c:spPr>
              <a:solidFill>
                <a:srgbClr val="AEABAB"/>
              </a:solidFill>
            </c:spPr>
          </c:dPt>
          <c:dPt>
            <c:idx val="2195"/>
            <c:spPr>
              <a:solidFill>
                <a:srgbClr val="AEABAB"/>
              </a:solidFill>
            </c:spPr>
          </c:dPt>
          <c:dPt>
            <c:idx val="2196"/>
            <c:spPr>
              <a:solidFill>
                <a:srgbClr val="AEABAB"/>
              </a:solidFill>
            </c:spPr>
          </c:dPt>
          <c:dPt>
            <c:idx val="2197"/>
            <c:spPr>
              <a:solidFill>
                <a:srgbClr val="AEABAB"/>
              </a:solidFill>
            </c:spPr>
          </c:dPt>
          <c:dPt>
            <c:idx val="2198"/>
            <c:spPr>
              <a:solidFill>
                <a:srgbClr val="AEABAB"/>
              </a:solidFill>
            </c:spPr>
          </c:dPt>
          <c:dPt>
            <c:idx val="2199"/>
            <c:spPr>
              <a:solidFill>
                <a:srgbClr val="AEABAB"/>
              </a:solidFill>
            </c:spPr>
          </c:dPt>
          <c:dPt>
            <c:idx val="2200"/>
            <c:spPr>
              <a:solidFill>
                <a:srgbClr val="AEABAB"/>
              </a:solidFill>
            </c:spPr>
          </c:dPt>
          <c:dPt>
            <c:idx val="2201"/>
            <c:spPr>
              <a:solidFill>
                <a:srgbClr val="AEABAB"/>
              </a:solidFill>
            </c:spPr>
          </c:dPt>
          <c:dPt>
            <c:idx val="2202"/>
            <c:spPr>
              <a:solidFill>
                <a:srgbClr val="AEABAB"/>
              </a:solidFill>
            </c:spPr>
          </c:dPt>
          <c:dPt>
            <c:idx val="2203"/>
            <c:spPr>
              <a:solidFill>
                <a:srgbClr val="AEABAB"/>
              </a:solidFill>
            </c:spPr>
          </c:dPt>
          <c:dPt>
            <c:idx val="2204"/>
            <c:spPr>
              <a:solidFill>
                <a:srgbClr val="AEABAB"/>
              </a:solidFill>
            </c:spPr>
          </c:dPt>
          <c:dPt>
            <c:idx val="2205"/>
            <c:spPr>
              <a:solidFill>
                <a:srgbClr val="AEABAB"/>
              </a:solidFill>
            </c:spPr>
          </c:dPt>
          <c:dPt>
            <c:idx val="2206"/>
            <c:spPr>
              <a:solidFill>
                <a:srgbClr val="AEABAB"/>
              </a:solidFill>
            </c:spPr>
          </c:dPt>
          <c:dPt>
            <c:idx val="2207"/>
            <c:spPr>
              <a:solidFill>
                <a:srgbClr val="AEABAB"/>
              </a:solidFill>
            </c:spPr>
          </c:dPt>
          <c:dPt>
            <c:idx val="2208"/>
            <c:spPr>
              <a:solidFill>
                <a:srgbClr val="AEABAB"/>
              </a:solidFill>
            </c:spPr>
          </c:dPt>
          <c:dPt>
            <c:idx val="2209"/>
            <c:spPr>
              <a:solidFill>
                <a:srgbClr val="AEABAB"/>
              </a:solidFill>
            </c:spPr>
          </c:dPt>
          <c:dPt>
            <c:idx val="2210"/>
            <c:spPr>
              <a:solidFill>
                <a:srgbClr val="AEABAB"/>
              </a:solidFill>
            </c:spPr>
          </c:dPt>
          <c:dPt>
            <c:idx val="2211"/>
            <c:spPr>
              <a:solidFill>
                <a:srgbClr val="AEABAB"/>
              </a:solidFill>
            </c:spPr>
          </c:dPt>
          <c:dPt>
            <c:idx val="2212"/>
            <c:spPr>
              <a:solidFill>
                <a:srgbClr val="AEABAB"/>
              </a:solidFill>
            </c:spPr>
          </c:dPt>
          <c:dPt>
            <c:idx val="2213"/>
            <c:spPr>
              <a:solidFill>
                <a:srgbClr val="AEABAB"/>
              </a:solidFill>
            </c:spPr>
          </c:dPt>
          <c:dPt>
            <c:idx val="2214"/>
            <c:spPr>
              <a:solidFill>
                <a:srgbClr val="AEABAB"/>
              </a:solidFill>
            </c:spPr>
          </c:dPt>
          <c:dPt>
            <c:idx val="2215"/>
            <c:spPr>
              <a:solidFill>
                <a:srgbClr val="AEABAB"/>
              </a:solidFill>
            </c:spPr>
          </c:dPt>
          <c:dPt>
            <c:idx val="2216"/>
            <c:spPr>
              <a:solidFill>
                <a:srgbClr val="AEABAB"/>
              </a:solidFill>
            </c:spPr>
          </c:dPt>
          <c:dPt>
            <c:idx val="2217"/>
            <c:spPr>
              <a:solidFill>
                <a:srgbClr val="AEABAB"/>
              </a:solidFill>
            </c:spPr>
          </c:dPt>
          <c:dPt>
            <c:idx val="2218"/>
            <c:spPr>
              <a:solidFill>
                <a:srgbClr val="AEABAB"/>
              </a:solidFill>
            </c:spPr>
          </c:dPt>
          <c:dPt>
            <c:idx val="2219"/>
            <c:spPr>
              <a:solidFill>
                <a:srgbClr val="AEABAB"/>
              </a:solidFill>
            </c:spPr>
          </c:dPt>
          <c:dPt>
            <c:idx val="2220"/>
            <c:spPr>
              <a:solidFill>
                <a:srgbClr val="AEABAB"/>
              </a:solidFill>
            </c:spPr>
          </c:dPt>
          <c:dPt>
            <c:idx val="2221"/>
            <c:spPr>
              <a:solidFill>
                <a:srgbClr val="AEABAB"/>
              </a:solidFill>
            </c:spPr>
          </c:dPt>
          <c:dPt>
            <c:idx val="2222"/>
            <c:spPr>
              <a:solidFill>
                <a:srgbClr val="AEABAB"/>
              </a:solidFill>
            </c:spPr>
          </c:dPt>
          <c:dPt>
            <c:idx val="2223"/>
            <c:spPr>
              <a:solidFill>
                <a:srgbClr val="AEABAB"/>
              </a:solidFill>
            </c:spPr>
          </c:dPt>
          <c:dPt>
            <c:idx val="2224"/>
            <c:spPr>
              <a:solidFill>
                <a:srgbClr val="AEABAB"/>
              </a:solidFill>
            </c:spPr>
          </c:dPt>
          <c:dPt>
            <c:idx val="2225"/>
            <c:spPr>
              <a:solidFill>
                <a:srgbClr val="AEABAB"/>
              </a:solidFill>
            </c:spPr>
          </c:dPt>
          <c:dPt>
            <c:idx val="2226"/>
            <c:spPr>
              <a:solidFill>
                <a:srgbClr val="AEABAB"/>
              </a:solidFill>
            </c:spPr>
          </c:dPt>
          <c:dPt>
            <c:idx val="2227"/>
            <c:spPr>
              <a:solidFill>
                <a:srgbClr val="AEABAB"/>
              </a:solidFill>
            </c:spPr>
          </c:dPt>
          <c:dPt>
            <c:idx val="2228"/>
            <c:spPr>
              <a:solidFill>
                <a:srgbClr val="AEABAB"/>
              </a:solidFill>
            </c:spPr>
          </c:dPt>
          <c:dPt>
            <c:idx val="2229"/>
            <c:spPr>
              <a:solidFill>
                <a:srgbClr val="AEABAB"/>
              </a:solidFill>
            </c:spPr>
          </c:dPt>
          <c:dPt>
            <c:idx val="2230"/>
            <c:spPr>
              <a:solidFill>
                <a:srgbClr val="AEABAB"/>
              </a:solidFill>
            </c:spPr>
          </c:dPt>
          <c:dPt>
            <c:idx val="2231"/>
            <c:spPr>
              <a:solidFill>
                <a:srgbClr val="AEABAB"/>
              </a:solidFill>
            </c:spPr>
          </c:dPt>
          <c:dPt>
            <c:idx val="2232"/>
            <c:spPr>
              <a:solidFill>
                <a:srgbClr val="AEABAB"/>
              </a:solidFill>
            </c:spPr>
          </c:dPt>
          <c:dPt>
            <c:idx val="2233"/>
            <c:spPr>
              <a:solidFill>
                <a:srgbClr val="AEABAB"/>
              </a:solidFill>
            </c:spPr>
          </c:dPt>
          <c:dPt>
            <c:idx val="2234"/>
            <c:spPr>
              <a:solidFill>
                <a:srgbClr val="AEABAB"/>
              </a:solidFill>
            </c:spPr>
          </c:dPt>
          <c:dPt>
            <c:idx val="2235"/>
            <c:spPr>
              <a:solidFill>
                <a:srgbClr val="AEABAB"/>
              </a:solidFill>
            </c:spPr>
          </c:dPt>
          <c:dPt>
            <c:idx val="2236"/>
            <c:spPr>
              <a:solidFill>
                <a:srgbClr val="AEABAB"/>
              </a:solidFill>
            </c:spPr>
          </c:dPt>
          <c:dPt>
            <c:idx val="2237"/>
            <c:spPr>
              <a:solidFill>
                <a:srgbClr val="AEABAB"/>
              </a:solidFill>
            </c:spPr>
          </c:dPt>
          <c:dPt>
            <c:idx val="2238"/>
            <c:spPr>
              <a:solidFill>
                <a:srgbClr val="AEABAB"/>
              </a:solidFill>
            </c:spPr>
          </c:dPt>
          <c:dPt>
            <c:idx val="2239"/>
            <c:spPr>
              <a:solidFill>
                <a:srgbClr val="AEABAB"/>
              </a:solidFill>
            </c:spPr>
          </c:dPt>
          <c:dPt>
            <c:idx val="2240"/>
            <c:spPr>
              <a:solidFill>
                <a:srgbClr val="AEABAB"/>
              </a:solidFill>
            </c:spPr>
          </c:dPt>
          <c:dPt>
            <c:idx val="2241"/>
            <c:spPr>
              <a:solidFill>
                <a:srgbClr val="AEABAB"/>
              </a:solidFill>
            </c:spPr>
          </c:dPt>
          <c:dPt>
            <c:idx val="2242"/>
            <c:spPr>
              <a:solidFill>
                <a:srgbClr val="AEABAB"/>
              </a:solidFill>
            </c:spPr>
          </c:dPt>
          <c:dPt>
            <c:idx val="2243"/>
            <c:spPr>
              <a:solidFill>
                <a:srgbClr val="AEABAB"/>
              </a:solidFill>
            </c:spPr>
          </c:dPt>
          <c:dPt>
            <c:idx val="2244"/>
            <c:spPr>
              <a:solidFill>
                <a:srgbClr val="AEABAB"/>
              </a:solidFill>
            </c:spPr>
          </c:dPt>
          <c:dPt>
            <c:idx val="2245"/>
            <c:spPr>
              <a:solidFill>
                <a:srgbClr val="AEABAB"/>
              </a:solidFill>
            </c:spPr>
          </c:dPt>
          <c:dPt>
            <c:idx val="2246"/>
            <c:spPr>
              <a:solidFill>
                <a:srgbClr val="AEABAB"/>
              </a:solidFill>
            </c:spPr>
          </c:dPt>
          <c:dPt>
            <c:idx val="2247"/>
            <c:spPr>
              <a:solidFill>
                <a:srgbClr val="AEABAB"/>
              </a:solidFill>
            </c:spPr>
          </c:dPt>
          <c:dPt>
            <c:idx val="2248"/>
            <c:spPr>
              <a:solidFill>
                <a:srgbClr val="AEABAB"/>
              </a:solidFill>
            </c:spPr>
          </c:dPt>
          <c:dPt>
            <c:idx val="2249"/>
            <c:spPr>
              <a:solidFill>
                <a:srgbClr val="AEABAB"/>
              </a:solidFill>
            </c:spPr>
          </c:dPt>
          <c:dPt>
            <c:idx val="2250"/>
            <c:spPr>
              <a:solidFill>
                <a:srgbClr val="AEABAB"/>
              </a:solidFill>
            </c:spPr>
          </c:dPt>
          <c:dPt>
            <c:idx val="2251"/>
            <c:spPr>
              <a:solidFill>
                <a:srgbClr val="AEABAB"/>
              </a:solidFill>
            </c:spPr>
          </c:dPt>
          <c:dPt>
            <c:idx val="2252"/>
            <c:spPr>
              <a:solidFill>
                <a:srgbClr val="AEABAB"/>
              </a:solidFill>
            </c:spPr>
          </c:dPt>
          <c:dPt>
            <c:idx val="2253"/>
            <c:spPr>
              <a:solidFill>
                <a:srgbClr val="AEABAB"/>
              </a:solidFill>
            </c:spPr>
          </c:dPt>
          <c:dPt>
            <c:idx val="2254"/>
            <c:spPr>
              <a:solidFill>
                <a:srgbClr val="AEABAB"/>
              </a:solidFill>
            </c:spPr>
          </c:dPt>
          <c:dPt>
            <c:idx val="2255"/>
            <c:spPr>
              <a:solidFill>
                <a:srgbClr val="AEABAB"/>
              </a:solidFill>
            </c:spPr>
          </c:dPt>
          <c:dPt>
            <c:idx val="2256"/>
            <c:spPr>
              <a:solidFill>
                <a:srgbClr val="AEABAB"/>
              </a:solidFill>
            </c:spPr>
          </c:dPt>
          <c:dPt>
            <c:idx val="2257"/>
            <c:spPr>
              <a:solidFill>
                <a:srgbClr val="AEABAB"/>
              </a:solidFill>
            </c:spPr>
          </c:dPt>
          <c:dPt>
            <c:idx val="2258"/>
            <c:spPr>
              <a:solidFill>
                <a:srgbClr val="AEABAB"/>
              </a:solidFill>
            </c:spPr>
          </c:dPt>
          <c:dPt>
            <c:idx val="2259"/>
            <c:spPr>
              <a:solidFill>
                <a:srgbClr val="AEABAB"/>
              </a:solidFill>
            </c:spPr>
          </c:dPt>
          <c:dPt>
            <c:idx val="2260"/>
            <c:spPr>
              <a:solidFill>
                <a:srgbClr val="AEABAB"/>
              </a:solidFill>
            </c:spPr>
          </c:dPt>
          <c:dPt>
            <c:idx val="2261"/>
            <c:spPr>
              <a:solidFill>
                <a:srgbClr val="AEABAB"/>
              </a:solidFill>
            </c:spPr>
          </c:dPt>
          <c:dPt>
            <c:idx val="2262"/>
            <c:spPr>
              <a:solidFill>
                <a:srgbClr val="AEABAB"/>
              </a:solidFill>
            </c:spPr>
          </c:dPt>
          <c:dPt>
            <c:idx val="2263"/>
            <c:spPr>
              <a:solidFill>
                <a:srgbClr val="AEABAB"/>
              </a:solidFill>
            </c:spPr>
          </c:dPt>
          <c:dPt>
            <c:idx val="2264"/>
            <c:spPr>
              <a:solidFill>
                <a:srgbClr val="AEABAB"/>
              </a:solidFill>
            </c:spPr>
          </c:dPt>
          <c:dPt>
            <c:idx val="2265"/>
            <c:spPr>
              <a:solidFill>
                <a:srgbClr val="AEABAB"/>
              </a:solidFill>
            </c:spPr>
          </c:dPt>
          <c:dPt>
            <c:idx val="2266"/>
            <c:spPr>
              <a:solidFill>
                <a:srgbClr val="AEABAB"/>
              </a:solidFill>
            </c:spPr>
          </c:dPt>
          <c:dPt>
            <c:idx val="2267"/>
            <c:spPr>
              <a:solidFill>
                <a:srgbClr val="AEABAB"/>
              </a:solidFill>
            </c:spPr>
          </c:dPt>
          <c:dPt>
            <c:idx val="2268"/>
            <c:spPr>
              <a:solidFill>
                <a:srgbClr val="AEABAB"/>
              </a:solidFill>
            </c:spPr>
          </c:dPt>
          <c:dPt>
            <c:idx val="2269"/>
            <c:spPr>
              <a:solidFill>
                <a:srgbClr val="AEABAB"/>
              </a:solidFill>
            </c:spPr>
          </c:dPt>
          <c:dPt>
            <c:idx val="2270"/>
            <c:spPr>
              <a:solidFill>
                <a:srgbClr val="AEABAB"/>
              </a:solidFill>
            </c:spPr>
          </c:dPt>
          <c:dPt>
            <c:idx val="2271"/>
            <c:spPr>
              <a:solidFill>
                <a:srgbClr val="AEABAB"/>
              </a:solidFill>
            </c:spPr>
          </c:dPt>
          <c:dPt>
            <c:idx val="2272"/>
            <c:spPr>
              <a:solidFill>
                <a:srgbClr val="AEABAB"/>
              </a:solidFill>
            </c:spPr>
          </c:dPt>
          <c:dPt>
            <c:idx val="2273"/>
            <c:spPr>
              <a:solidFill>
                <a:srgbClr val="AEABAB"/>
              </a:solidFill>
            </c:spPr>
          </c:dPt>
          <c:dPt>
            <c:idx val="2274"/>
            <c:spPr>
              <a:solidFill>
                <a:srgbClr val="AEABAB"/>
              </a:solidFill>
            </c:spPr>
          </c:dPt>
          <c:dPt>
            <c:idx val="2275"/>
            <c:spPr>
              <a:solidFill>
                <a:srgbClr val="AEABAB"/>
              </a:solidFill>
            </c:spPr>
          </c:dPt>
          <c:dPt>
            <c:idx val="2276"/>
            <c:spPr>
              <a:solidFill>
                <a:srgbClr val="AEABAB"/>
              </a:solidFill>
            </c:spPr>
          </c:dPt>
          <c:dPt>
            <c:idx val="2277"/>
            <c:spPr>
              <a:solidFill>
                <a:srgbClr val="AEABAB"/>
              </a:solidFill>
            </c:spPr>
          </c:dPt>
          <c:dPt>
            <c:idx val="2278"/>
            <c:spPr>
              <a:solidFill>
                <a:srgbClr val="AEABAB"/>
              </a:solidFill>
            </c:spPr>
          </c:dPt>
          <c:dPt>
            <c:idx val="2279"/>
            <c:spPr>
              <a:solidFill>
                <a:srgbClr val="AEABAB"/>
              </a:solidFill>
            </c:spPr>
          </c:dPt>
          <c:dPt>
            <c:idx val="2280"/>
            <c:spPr>
              <a:solidFill>
                <a:srgbClr val="AEABAB"/>
              </a:solidFill>
            </c:spPr>
          </c:dPt>
          <c:dPt>
            <c:idx val="2281"/>
            <c:spPr>
              <a:solidFill>
                <a:srgbClr val="AEABAB"/>
              </a:solidFill>
            </c:spPr>
          </c:dPt>
          <c:dPt>
            <c:idx val="2282"/>
            <c:spPr>
              <a:solidFill>
                <a:srgbClr val="AEABAB"/>
              </a:solidFill>
            </c:spPr>
          </c:dPt>
          <c:dPt>
            <c:idx val="2283"/>
            <c:spPr>
              <a:solidFill>
                <a:srgbClr val="AEABAB"/>
              </a:solidFill>
            </c:spPr>
          </c:dPt>
          <c:dPt>
            <c:idx val="2284"/>
            <c:spPr>
              <a:solidFill>
                <a:srgbClr val="AEABAB"/>
              </a:solidFill>
            </c:spPr>
          </c:dPt>
          <c:dPt>
            <c:idx val="2285"/>
            <c:spPr>
              <a:solidFill>
                <a:srgbClr val="AEABAB"/>
              </a:solidFill>
            </c:spPr>
          </c:dPt>
          <c:dPt>
            <c:idx val="2286"/>
            <c:spPr>
              <a:solidFill>
                <a:srgbClr val="AEABAB"/>
              </a:solidFill>
            </c:spPr>
          </c:dPt>
          <c:dPt>
            <c:idx val="2287"/>
            <c:spPr>
              <a:solidFill>
                <a:srgbClr val="AEABAB"/>
              </a:solidFill>
            </c:spPr>
          </c:dPt>
          <c:dPt>
            <c:idx val="2288"/>
            <c:spPr>
              <a:solidFill>
                <a:srgbClr val="AEABAB"/>
              </a:solidFill>
            </c:spPr>
          </c:dPt>
          <c:dPt>
            <c:idx val="2289"/>
            <c:spPr>
              <a:solidFill>
                <a:srgbClr val="AEABAB"/>
              </a:solidFill>
            </c:spPr>
          </c:dPt>
          <c:dPt>
            <c:idx val="2290"/>
            <c:spPr>
              <a:solidFill>
                <a:srgbClr val="AEABAB"/>
              </a:solidFill>
            </c:spPr>
          </c:dPt>
          <c:dPt>
            <c:idx val="2291"/>
            <c:spPr>
              <a:solidFill>
                <a:srgbClr val="AEABAB"/>
              </a:solidFill>
            </c:spPr>
          </c:dPt>
          <c:dPt>
            <c:idx val="2292"/>
            <c:spPr>
              <a:solidFill>
                <a:srgbClr val="AEABAB"/>
              </a:solidFill>
            </c:spPr>
          </c:dPt>
          <c:dPt>
            <c:idx val="2293"/>
            <c:spPr>
              <a:solidFill>
                <a:srgbClr val="AEABAB"/>
              </a:solidFill>
            </c:spPr>
          </c:dPt>
          <c:dPt>
            <c:idx val="2294"/>
            <c:spPr>
              <a:solidFill>
                <a:srgbClr val="AEABAB"/>
              </a:solidFill>
            </c:spPr>
          </c:dPt>
          <c:dPt>
            <c:idx val="2295"/>
            <c:spPr>
              <a:solidFill>
                <a:srgbClr val="AEABAB"/>
              </a:solidFill>
            </c:spPr>
          </c:dPt>
          <c:dPt>
            <c:idx val="2296"/>
            <c:spPr>
              <a:solidFill>
                <a:srgbClr val="AEABAB"/>
              </a:solidFill>
            </c:spPr>
          </c:dPt>
          <c:dPt>
            <c:idx val="2297"/>
            <c:spPr>
              <a:solidFill>
                <a:srgbClr val="AEABAB"/>
              </a:solidFill>
            </c:spPr>
          </c:dPt>
          <c:dPt>
            <c:idx val="2298"/>
            <c:spPr>
              <a:solidFill>
                <a:srgbClr val="AEABAB"/>
              </a:solidFill>
            </c:spPr>
          </c:dPt>
          <c:dPt>
            <c:idx val="2299"/>
            <c:spPr>
              <a:solidFill>
                <a:srgbClr val="AEABAB"/>
              </a:solidFill>
            </c:spPr>
          </c:dPt>
          <c:dPt>
            <c:idx val="2300"/>
            <c:spPr>
              <a:solidFill>
                <a:srgbClr val="AEABAB"/>
              </a:solidFill>
            </c:spPr>
          </c:dPt>
          <c:dPt>
            <c:idx val="2301"/>
            <c:spPr>
              <a:solidFill>
                <a:srgbClr val="AEABAB"/>
              </a:solidFill>
            </c:spPr>
          </c:dPt>
          <c:dPt>
            <c:idx val="2302"/>
            <c:spPr>
              <a:solidFill>
                <a:srgbClr val="AEABAB"/>
              </a:solidFill>
            </c:spPr>
          </c:dPt>
          <c:dPt>
            <c:idx val="2303"/>
            <c:spPr>
              <a:solidFill>
                <a:srgbClr val="AEABAB"/>
              </a:solidFill>
            </c:spPr>
          </c:dPt>
          <c:dPt>
            <c:idx val="2304"/>
            <c:spPr>
              <a:solidFill>
                <a:srgbClr val="AEABAB"/>
              </a:solidFill>
            </c:spPr>
          </c:dPt>
          <c:dPt>
            <c:idx val="2305"/>
            <c:spPr>
              <a:solidFill>
                <a:srgbClr val="AEABAB"/>
              </a:solidFill>
            </c:spPr>
          </c:dPt>
          <c:dPt>
            <c:idx val="2306"/>
            <c:spPr>
              <a:solidFill>
                <a:srgbClr val="AEABAB"/>
              </a:solidFill>
            </c:spPr>
          </c:dPt>
          <c:dPt>
            <c:idx val="2307"/>
            <c:spPr>
              <a:solidFill>
                <a:srgbClr val="AEABAB"/>
              </a:solidFill>
            </c:spPr>
          </c:dPt>
          <c:dPt>
            <c:idx val="2308"/>
            <c:spPr>
              <a:solidFill>
                <a:srgbClr val="AEABAB"/>
              </a:solidFill>
            </c:spPr>
          </c:dPt>
          <c:dPt>
            <c:idx val="2309"/>
            <c:spPr>
              <a:solidFill>
                <a:srgbClr val="AEABAB"/>
              </a:solidFill>
            </c:spPr>
          </c:dPt>
          <c:dPt>
            <c:idx val="2310"/>
            <c:spPr>
              <a:solidFill>
                <a:srgbClr val="AEABAB"/>
              </a:solidFill>
            </c:spPr>
          </c:dPt>
          <c:dPt>
            <c:idx val="2311"/>
            <c:spPr>
              <a:solidFill>
                <a:srgbClr val="AEABAB"/>
              </a:solidFill>
            </c:spPr>
          </c:dPt>
          <c:dPt>
            <c:idx val="2312"/>
            <c:spPr>
              <a:solidFill>
                <a:srgbClr val="AEABAB"/>
              </a:solidFill>
            </c:spPr>
          </c:dPt>
          <c:dPt>
            <c:idx val="2313"/>
            <c:spPr>
              <a:solidFill>
                <a:srgbClr val="AEABAB"/>
              </a:solidFill>
            </c:spPr>
          </c:dPt>
          <c:dPt>
            <c:idx val="2314"/>
            <c:spPr>
              <a:solidFill>
                <a:srgbClr val="AEABAB"/>
              </a:solidFill>
            </c:spPr>
          </c:dPt>
          <c:dPt>
            <c:idx val="2315"/>
            <c:spPr>
              <a:solidFill>
                <a:srgbClr val="AEABAB"/>
              </a:solidFill>
            </c:spPr>
          </c:dPt>
          <c:dPt>
            <c:idx val="2316"/>
            <c:spPr>
              <a:solidFill>
                <a:srgbClr val="AEABAB"/>
              </a:solidFill>
            </c:spPr>
          </c:dPt>
          <c:dPt>
            <c:idx val="2317"/>
            <c:spPr>
              <a:solidFill>
                <a:srgbClr val="AEABAB"/>
              </a:solidFill>
            </c:spPr>
          </c:dPt>
          <c:dPt>
            <c:idx val="2318"/>
            <c:spPr>
              <a:solidFill>
                <a:srgbClr val="AEABAB"/>
              </a:solidFill>
            </c:spPr>
          </c:dPt>
          <c:dPt>
            <c:idx val="2319"/>
            <c:spPr>
              <a:solidFill>
                <a:srgbClr val="AEABAB"/>
              </a:solidFill>
            </c:spPr>
          </c:dPt>
          <c:dPt>
            <c:idx val="2320"/>
            <c:spPr>
              <a:solidFill>
                <a:srgbClr val="AEABAB"/>
              </a:solidFill>
            </c:spPr>
          </c:dPt>
          <c:dPt>
            <c:idx val="2321"/>
            <c:spPr>
              <a:solidFill>
                <a:srgbClr val="AEABAB"/>
              </a:solidFill>
            </c:spPr>
          </c:dPt>
          <c:dPt>
            <c:idx val="2322"/>
            <c:spPr>
              <a:solidFill>
                <a:srgbClr val="AEABAB"/>
              </a:solidFill>
            </c:spPr>
          </c:dPt>
          <c:dPt>
            <c:idx val="2323"/>
            <c:spPr>
              <a:solidFill>
                <a:srgbClr val="AEABAB"/>
              </a:solidFill>
            </c:spPr>
          </c:dPt>
          <c:dPt>
            <c:idx val="2324"/>
            <c:spPr>
              <a:solidFill>
                <a:srgbClr val="AEABAB"/>
              </a:solidFill>
            </c:spPr>
          </c:dPt>
          <c:dPt>
            <c:idx val="2325"/>
            <c:spPr>
              <a:solidFill>
                <a:srgbClr val="AEABAB"/>
              </a:solidFill>
            </c:spPr>
          </c:dPt>
          <c:dPt>
            <c:idx val="2326"/>
            <c:spPr>
              <a:solidFill>
                <a:srgbClr val="AEABAB"/>
              </a:solidFill>
            </c:spPr>
          </c:dPt>
          <c:dPt>
            <c:idx val="2327"/>
            <c:spPr>
              <a:solidFill>
                <a:srgbClr val="AEABAB"/>
              </a:solidFill>
            </c:spPr>
          </c:dPt>
          <c:dPt>
            <c:idx val="2328"/>
            <c:spPr>
              <a:solidFill>
                <a:srgbClr val="AEABAB"/>
              </a:solidFill>
            </c:spPr>
          </c:dPt>
          <c:dPt>
            <c:idx val="2329"/>
            <c:spPr>
              <a:solidFill>
                <a:srgbClr val="AEABAB"/>
              </a:solidFill>
            </c:spPr>
          </c:dPt>
          <c:dPt>
            <c:idx val="2330"/>
            <c:spPr>
              <a:solidFill>
                <a:srgbClr val="AEABAB"/>
              </a:solidFill>
            </c:spPr>
          </c:dPt>
          <c:dPt>
            <c:idx val="2331"/>
            <c:spPr>
              <a:solidFill>
                <a:srgbClr val="AEABAB"/>
              </a:solidFill>
            </c:spPr>
          </c:dPt>
          <c:dPt>
            <c:idx val="2332"/>
            <c:spPr>
              <a:solidFill>
                <a:srgbClr val="AEABAB"/>
              </a:solidFill>
            </c:spPr>
          </c:dPt>
          <c:dPt>
            <c:idx val="2333"/>
            <c:spPr>
              <a:solidFill>
                <a:srgbClr val="AEABAB"/>
              </a:solidFill>
            </c:spPr>
          </c:dPt>
          <c:dPt>
            <c:idx val="2334"/>
            <c:spPr>
              <a:solidFill>
                <a:srgbClr val="AEABAB"/>
              </a:solidFill>
            </c:spPr>
          </c:dPt>
          <c:dPt>
            <c:idx val="2335"/>
            <c:spPr>
              <a:solidFill>
                <a:srgbClr val="AEABAB"/>
              </a:solidFill>
            </c:spPr>
          </c:dPt>
          <c:dPt>
            <c:idx val="2336"/>
            <c:spPr>
              <a:solidFill>
                <a:srgbClr val="AEABAB"/>
              </a:solidFill>
            </c:spPr>
          </c:dPt>
          <c:dPt>
            <c:idx val="2337"/>
            <c:spPr>
              <a:solidFill>
                <a:srgbClr val="AEABAB"/>
              </a:solidFill>
            </c:spPr>
          </c:dPt>
          <c:dPt>
            <c:idx val="2338"/>
            <c:spPr>
              <a:solidFill>
                <a:srgbClr val="AEABAB"/>
              </a:solidFill>
            </c:spPr>
          </c:dPt>
          <c:dPt>
            <c:idx val="2339"/>
            <c:spPr>
              <a:solidFill>
                <a:srgbClr val="AEABAB"/>
              </a:solidFill>
            </c:spPr>
          </c:dPt>
          <c:dPt>
            <c:idx val="2340"/>
            <c:spPr>
              <a:solidFill>
                <a:srgbClr val="AEABAB"/>
              </a:solidFill>
            </c:spPr>
          </c:dPt>
          <c:dPt>
            <c:idx val="2341"/>
            <c:spPr>
              <a:solidFill>
                <a:srgbClr val="AEABAB"/>
              </a:solidFill>
            </c:spPr>
          </c:dPt>
          <c:dPt>
            <c:idx val="2342"/>
            <c:spPr>
              <a:solidFill>
                <a:srgbClr val="AEABAB"/>
              </a:solidFill>
            </c:spPr>
          </c:dPt>
          <c:dPt>
            <c:idx val="2343"/>
            <c:spPr>
              <a:solidFill>
                <a:srgbClr val="AEABAB"/>
              </a:solidFill>
            </c:spPr>
          </c:dPt>
          <c:dPt>
            <c:idx val="2344"/>
            <c:spPr>
              <a:solidFill>
                <a:srgbClr val="AEABAB"/>
              </a:solidFill>
            </c:spPr>
          </c:dPt>
          <c:dPt>
            <c:idx val="2345"/>
            <c:spPr>
              <a:solidFill>
                <a:srgbClr val="AEABAB"/>
              </a:solidFill>
            </c:spPr>
          </c:dPt>
          <c:dPt>
            <c:idx val="2346"/>
            <c:spPr>
              <a:solidFill>
                <a:srgbClr val="AEABAB"/>
              </a:solidFill>
            </c:spPr>
          </c:dPt>
          <c:dPt>
            <c:idx val="2347"/>
            <c:spPr>
              <a:solidFill>
                <a:srgbClr val="AEABAB"/>
              </a:solidFill>
            </c:spPr>
          </c:dPt>
          <c:dPt>
            <c:idx val="2348"/>
            <c:spPr>
              <a:solidFill>
                <a:srgbClr val="AEABAB"/>
              </a:solidFill>
            </c:spPr>
          </c:dPt>
          <c:dPt>
            <c:idx val="2349"/>
            <c:spPr>
              <a:solidFill>
                <a:srgbClr val="AEABAB"/>
              </a:solidFill>
            </c:spPr>
          </c:dPt>
          <c:dPt>
            <c:idx val="2350"/>
            <c:spPr>
              <a:solidFill>
                <a:srgbClr val="AEABAB"/>
              </a:solidFill>
            </c:spPr>
          </c:dPt>
          <c:dPt>
            <c:idx val="2351"/>
            <c:spPr>
              <a:solidFill>
                <a:srgbClr val="AEABAB"/>
              </a:solidFill>
            </c:spPr>
          </c:dPt>
          <c:dPt>
            <c:idx val="2352"/>
            <c:spPr>
              <a:solidFill>
                <a:srgbClr val="AEABAB"/>
              </a:solidFill>
            </c:spPr>
          </c:dPt>
          <c:dPt>
            <c:idx val="2353"/>
            <c:spPr>
              <a:solidFill>
                <a:srgbClr val="AEABAB"/>
              </a:solidFill>
            </c:spPr>
          </c:dPt>
          <c:dPt>
            <c:idx val="2354"/>
            <c:spPr>
              <a:solidFill>
                <a:srgbClr val="AEABAB"/>
              </a:solidFill>
            </c:spPr>
          </c:dPt>
          <c:dPt>
            <c:idx val="2355"/>
            <c:spPr>
              <a:solidFill>
                <a:srgbClr val="AEABAB"/>
              </a:solidFill>
            </c:spPr>
          </c:dPt>
          <c:dPt>
            <c:idx val="2356"/>
            <c:spPr>
              <a:solidFill>
                <a:srgbClr val="AEABAB"/>
              </a:solidFill>
            </c:spPr>
          </c:dPt>
          <c:dPt>
            <c:idx val="2357"/>
            <c:spPr>
              <a:solidFill>
                <a:srgbClr val="AEABAB"/>
              </a:solidFill>
            </c:spPr>
          </c:dPt>
          <c:dPt>
            <c:idx val="2358"/>
            <c:spPr>
              <a:solidFill>
                <a:srgbClr val="AEABAB"/>
              </a:solidFill>
            </c:spPr>
          </c:dPt>
          <c:dPt>
            <c:idx val="2359"/>
            <c:spPr>
              <a:solidFill>
                <a:srgbClr val="AEABAB"/>
              </a:solidFill>
            </c:spPr>
          </c:dPt>
          <c:dPt>
            <c:idx val="2360"/>
            <c:spPr>
              <a:solidFill>
                <a:srgbClr val="AEABAB"/>
              </a:solidFill>
            </c:spPr>
          </c:dPt>
          <c:dPt>
            <c:idx val="2361"/>
            <c:spPr>
              <a:solidFill>
                <a:srgbClr val="AEABAB"/>
              </a:solidFill>
            </c:spPr>
          </c:dPt>
          <c:dPt>
            <c:idx val="2362"/>
            <c:spPr>
              <a:solidFill>
                <a:srgbClr val="AEABAB"/>
              </a:solidFill>
            </c:spPr>
          </c:dPt>
          <c:dPt>
            <c:idx val="2363"/>
            <c:spPr>
              <a:solidFill>
                <a:srgbClr val="AEABAB"/>
              </a:solidFill>
            </c:spPr>
          </c:dPt>
          <c:dPt>
            <c:idx val="2364"/>
            <c:spPr>
              <a:solidFill>
                <a:srgbClr val="AEABAB"/>
              </a:solidFill>
            </c:spPr>
          </c:dPt>
          <c:dPt>
            <c:idx val="2365"/>
            <c:spPr>
              <a:solidFill>
                <a:srgbClr val="AEABAB"/>
              </a:solidFill>
            </c:spPr>
          </c:dPt>
          <c:dPt>
            <c:idx val="2366"/>
            <c:spPr>
              <a:solidFill>
                <a:srgbClr val="AEABAB"/>
              </a:solidFill>
            </c:spPr>
          </c:dPt>
          <c:dPt>
            <c:idx val="2367"/>
            <c:spPr>
              <a:solidFill>
                <a:srgbClr val="AEABAB"/>
              </a:solidFill>
            </c:spPr>
          </c:dPt>
          <c:dPt>
            <c:idx val="2368"/>
            <c:spPr>
              <a:solidFill>
                <a:srgbClr val="AEABAB"/>
              </a:solidFill>
            </c:spPr>
          </c:dPt>
          <c:dPt>
            <c:idx val="2369"/>
            <c:spPr>
              <a:solidFill>
                <a:srgbClr val="AEABAB"/>
              </a:solidFill>
            </c:spPr>
          </c:dPt>
          <c:dPt>
            <c:idx val="2370"/>
            <c:spPr>
              <a:solidFill>
                <a:srgbClr val="AEABAB"/>
              </a:solidFill>
            </c:spPr>
          </c:dPt>
          <c:dPt>
            <c:idx val="2371"/>
            <c:spPr>
              <a:solidFill>
                <a:srgbClr val="AEABAB"/>
              </a:solidFill>
            </c:spPr>
          </c:dPt>
          <c:dPt>
            <c:idx val="2372"/>
            <c:spPr>
              <a:solidFill>
                <a:srgbClr val="AEABAB"/>
              </a:solidFill>
            </c:spPr>
          </c:dPt>
          <c:dPt>
            <c:idx val="2373"/>
            <c:spPr>
              <a:solidFill>
                <a:srgbClr val="AEABAB"/>
              </a:solidFill>
            </c:spPr>
          </c:dPt>
          <c:dPt>
            <c:idx val="2374"/>
            <c:spPr>
              <a:solidFill>
                <a:srgbClr val="AEABAB"/>
              </a:solidFill>
            </c:spPr>
          </c:dPt>
          <c:dPt>
            <c:idx val="2375"/>
            <c:spPr>
              <a:solidFill>
                <a:srgbClr val="AEABAB"/>
              </a:solidFill>
            </c:spPr>
          </c:dPt>
          <c:dPt>
            <c:idx val="2376"/>
            <c:spPr>
              <a:solidFill>
                <a:srgbClr val="AEABAB"/>
              </a:solidFill>
            </c:spPr>
          </c:dPt>
          <c:dPt>
            <c:idx val="2377"/>
            <c:spPr>
              <a:solidFill>
                <a:srgbClr val="AEABAB"/>
              </a:solidFill>
            </c:spPr>
          </c:dPt>
          <c:dPt>
            <c:idx val="2378"/>
            <c:spPr>
              <a:solidFill>
                <a:srgbClr val="AEABAB"/>
              </a:solidFill>
            </c:spPr>
          </c:dPt>
          <c:dPt>
            <c:idx val="2379"/>
            <c:spPr>
              <a:solidFill>
                <a:srgbClr val="AEABAB"/>
              </a:solidFill>
            </c:spPr>
          </c:dPt>
          <c:dPt>
            <c:idx val="2380"/>
            <c:spPr>
              <a:solidFill>
                <a:srgbClr val="AEABAB"/>
              </a:solidFill>
            </c:spPr>
          </c:dPt>
          <c:dPt>
            <c:idx val="2381"/>
            <c:spPr>
              <a:solidFill>
                <a:srgbClr val="AEABAB"/>
              </a:solidFill>
            </c:spPr>
          </c:dPt>
          <c:dPt>
            <c:idx val="2382"/>
            <c:spPr>
              <a:solidFill>
                <a:srgbClr val="AEABAB"/>
              </a:solidFill>
            </c:spPr>
          </c:dPt>
          <c:dPt>
            <c:idx val="2383"/>
            <c:spPr>
              <a:solidFill>
                <a:srgbClr val="AEABAB"/>
              </a:solidFill>
            </c:spPr>
          </c:dPt>
          <c:dPt>
            <c:idx val="2384"/>
            <c:spPr>
              <a:solidFill>
                <a:srgbClr val="AEABAB"/>
              </a:solidFill>
            </c:spPr>
          </c:dPt>
          <c:dPt>
            <c:idx val="2385"/>
            <c:spPr>
              <a:solidFill>
                <a:srgbClr val="AEABAB"/>
              </a:solidFill>
            </c:spPr>
          </c:dPt>
          <c:dPt>
            <c:idx val="2386"/>
            <c:spPr>
              <a:solidFill>
                <a:srgbClr val="AEABAB"/>
              </a:solidFill>
            </c:spPr>
          </c:dPt>
          <c:dPt>
            <c:idx val="2387"/>
            <c:spPr>
              <a:solidFill>
                <a:srgbClr val="AEABAB"/>
              </a:solidFill>
            </c:spPr>
          </c:dPt>
          <c:dPt>
            <c:idx val="2388"/>
            <c:spPr>
              <a:solidFill>
                <a:srgbClr val="AEABAB"/>
              </a:solidFill>
            </c:spPr>
          </c:dPt>
          <c:dPt>
            <c:idx val="2389"/>
            <c:spPr>
              <a:solidFill>
                <a:srgbClr val="AEABAB"/>
              </a:solidFill>
            </c:spPr>
          </c:dPt>
          <c:dPt>
            <c:idx val="2390"/>
            <c:spPr>
              <a:solidFill>
                <a:srgbClr val="AEABAB"/>
              </a:solidFill>
            </c:spPr>
          </c:dPt>
          <c:dPt>
            <c:idx val="2391"/>
            <c:spPr>
              <a:solidFill>
                <a:srgbClr val="AEABAB"/>
              </a:solidFill>
            </c:spPr>
          </c:dPt>
          <c:dPt>
            <c:idx val="2392"/>
            <c:spPr>
              <a:solidFill>
                <a:srgbClr val="AEABAB"/>
              </a:solidFill>
            </c:spPr>
          </c:dPt>
          <c:dPt>
            <c:idx val="2393"/>
            <c:spPr>
              <a:solidFill>
                <a:srgbClr val="AEABAB"/>
              </a:solidFill>
            </c:spPr>
          </c:dPt>
          <c:dPt>
            <c:idx val="2394"/>
            <c:spPr>
              <a:solidFill>
                <a:srgbClr val="AEABAB"/>
              </a:solidFill>
            </c:spPr>
          </c:dPt>
          <c:dPt>
            <c:idx val="2395"/>
            <c:spPr>
              <a:solidFill>
                <a:srgbClr val="AEABAB"/>
              </a:solidFill>
            </c:spPr>
          </c:dPt>
          <c:dPt>
            <c:idx val="2396"/>
            <c:spPr>
              <a:solidFill>
                <a:srgbClr val="AEABAB"/>
              </a:solidFill>
            </c:spPr>
          </c:dPt>
          <c:dPt>
            <c:idx val="2397"/>
            <c:spPr>
              <a:solidFill>
                <a:srgbClr val="AEABAB"/>
              </a:solidFill>
            </c:spPr>
          </c:dPt>
          <c:dPt>
            <c:idx val="2398"/>
            <c:spPr>
              <a:solidFill>
                <a:srgbClr val="AEABAB"/>
              </a:solidFill>
            </c:spPr>
          </c:dPt>
          <c:dPt>
            <c:idx val="2399"/>
            <c:spPr>
              <a:solidFill>
                <a:srgbClr val="AEABAB"/>
              </a:solidFill>
            </c:spPr>
          </c:dPt>
          <c:dPt>
            <c:idx val="2400"/>
            <c:spPr>
              <a:solidFill>
                <a:srgbClr val="AEABAB"/>
              </a:solidFill>
            </c:spPr>
          </c:dPt>
          <c:dPt>
            <c:idx val="2401"/>
            <c:spPr>
              <a:solidFill>
                <a:srgbClr val="AEABAB"/>
              </a:solidFill>
            </c:spPr>
          </c:dPt>
          <c:dPt>
            <c:idx val="2402"/>
            <c:spPr>
              <a:solidFill>
                <a:srgbClr val="AEABAB"/>
              </a:solidFill>
            </c:spPr>
          </c:dPt>
          <c:dPt>
            <c:idx val="2403"/>
            <c:spPr>
              <a:solidFill>
                <a:srgbClr val="AEABAB"/>
              </a:solidFill>
            </c:spPr>
          </c:dPt>
          <c:dPt>
            <c:idx val="2404"/>
            <c:spPr>
              <a:solidFill>
                <a:srgbClr val="AEABAB"/>
              </a:solidFill>
            </c:spPr>
          </c:dPt>
          <c:dPt>
            <c:idx val="2405"/>
            <c:spPr>
              <a:solidFill>
                <a:srgbClr val="AEABAB"/>
              </a:solidFill>
            </c:spPr>
          </c:dPt>
          <c:dPt>
            <c:idx val="2406"/>
            <c:spPr>
              <a:solidFill>
                <a:srgbClr val="AEABAB"/>
              </a:solidFill>
            </c:spPr>
          </c:dPt>
          <c:dPt>
            <c:idx val="2407"/>
            <c:spPr>
              <a:solidFill>
                <a:srgbClr val="AEABAB"/>
              </a:solidFill>
            </c:spPr>
          </c:dPt>
          <c:dPt>
            <c:idx val="2408"/>
            <c:spPr>
              <a:solidFill>
                <a:srgbClr val="AEABAB"/>
              </a:solidFill>
            </c:spPr>
          </c:dPt>
          <c:dPt>
            <c:idx val="2409"/>
            <c:spPr>
              <a:solidFill>
                <a:srgbClr val="AEABAB"/>
              </a:solidFill>
            </c:spPr>
          </c:dPt>
          <c:dPt>
            <c:idx val="2410"/>
            <c:spPr>
              <a:solidFill>
                <a:srgbClr val="AEABAB"/>
              </a:solidFill>
            </c:spPr>
          </c:dPt>
          <c:dPt>
            <c:idx val="2411"/>
            <c:spPr>
              <a:solidFill>
                <a:srgbClr val="AEABAB"/>
              </a:solidFill>
            </c:spPr>
          </c:dPt>
          <c:dPt>
            <c:idx val="2412"/>
            <c:spPr>
              <a:solidFill>
                <a:srgbClr val="AEABAB"/>
              </a:solidFill>
            </c:spPr>
          </c:dPt>
          <c:dPt>
            <c:idx val="2413"/>
            <c:spPr>
              <a:solidFill>
                <a:srgbClr val="AEABAB"/>
              </a:solidFill>
            </c:spPr>
          </c:dPt>
          <c:dPt>
            <c:idx val="2414"/>
            <c:spPr>
              <a:solidFill>
                <a:srgbClr val="AEABAB"/>
              </a:solidFill>
            </c:spPr>
          </c:dPt>
          <c:dPt>
            <c:idx val="2415"/>
            <c:spPr>
              <a:solidFill>
                <a:srgbClr val="AEABAB"/>
              </a:solidFill>
            </c:spPr>
          </c:dPt>
          <c:dPt>
            <c:idx val="2416"/>
            <c:spPr>
              <a:solidFill>
                <a:srgbClr val="AEABAB"/>
              </a:solidFill>
            </c:spPr>
          </c:dPt>
          <c:dPt>
            <c:idx val="2417"/>
            <c:spPr>
              <a:solidFill>
                <a:srgbClr val="AEABAB"/>
              </a:solidFill>
            </c:spPr>
          </c:dPt>
          <c:dPt>
            <c:idx val="2418"/>
            <c:spPr>
              <a:solidFill>
                <a:srgbClr val="AEABAB"/>
              </a:solidFill>
            </c:spPr>
          </c:dPt>
          <c:dPt>
            <c:idx val="2419"/>
            <c:spPr>
              <a:solidFill>
                <a:srgbClr val="AEABAB"/>
              </a:solidFill>
            </c:spPr>
          </c:dPt>
          <c:dPt>
            <c:idx val="2420"/>
            <c:spPr>
              <a:solidFill>
                <a:srgbClr val="AEABAB"/>
              </a:solidFill>
            </c:spPr>
          </c:dPt>
          <c:dPt>
            <c:idx val="2421"/>
            <c:spPr>
              <a:solidFill>
                <a:srgbClr val="AEABAB"/>
              </a:solidFill>
            </c:spPr>
          </c:dPt>
          <c:dPt>
            <c:idx val="2422"/>
            <c:spPr>
              <a:solidFill>
                <a:srgbClr val="AEABAB"/>
              </a:solidFill>
            </c:spPr>
          </c:dPt>
          <c:dPt>
            <c:idx val="2423"/>
            <c:spPr>
              <a:solidFill>
                <a:srgbClr val="AEABAB"/>
              </a:solidFill>
            </c:spPr>
          </c:dPt>
          <c:dPt>
            <c:idx val="2424"/>
            <c:spPr>
              <a:solidFill>
                <a:srgbClr val="AEABAB"/>
              </a:solidFill>
            </c:spPr>
          </c:dPt>
          <c:dPt>
            <c:idx val="2425"/>
            <c:spPr>
              <a:solidFill>
                <a:srgbClr val="AEABAB"/>
              </a:solidFill>
            </c:spPr>
          </c:dPt>
          <c:dPt>
            <c:idx val="2426"/>
            <c:spPr>
              <a:solidFill>
                <a:srgbClr val="AEABAB"/>
              </a:solidFill>
            </c:spPr>
          </c:dPt>
          <c:dPt>
            <c:idx val="2427"/>
            <c:spPr>
              <a:solidFill>
                <a:srgbClr val="AEABAB"/>
              </a:solidFill>
            </c:spPr>
          </c:dPt>
          <c:dPt>
            <c:idx val="2428"/>
            <c:spPr>
              <a:solidFill>
                <a:srgbClr val="AEABAB"/>
              </a:solidFill>
            </c:spPr>
          </c:dPt>
          <c:dPt>
            <c:idx val="2429"/>
            <c:spPr>
              <a:solidFill>
                <a:srgbClr val="AEABAB"/>
              </a:solidFill>
            </c:spPr>
          </c:dPt>
          <c:dPt>
            <c:idx val="2430"/>
            <c:spPr>
              <a:solidFill>
                <a:srgbClr val="AEABAB"/>
              </a:solidFill>
            </c:spPr>
          </c:dPt>
          <c:dPt>
            <c:idx val="2431"/>
            <c:spPr>
              <a:solidFill>
                <a:srgbClr val="AEABAB"/>
              </a:solidFill>
            </c:spPr>
          </c:dPt>
          <c:dPt>
            <c:idx val="2432"/>
            <c:spPr>
              <a:solidFill>
                <a:srgbClr val="AEABAB"/>
              </a:solidFill>
            </c:spPr>
          </c:dPt>
          <c:dPt>
            <c:idx val="2433"/>
            <c:spPr>
              <a:solidFill>
                <a:srgbClr val="AEABAB"/>
              </a:solidFill>
            </c:spPr>
          </c:dPt>
          <c:dPt>
            <c:idx val="2434"/>
            <c:spPr>
              <a:solidFill>
                <a:srgbClr val="AEABAB"/>
              </a:solidFill>
            </c:spPr>
          </c:dPt>
          <c:dPt>
            <c:idx val="2435"/>
            <c:spPr>
              <a:solidFill>
                <a:srgbClr val="AEABAB"/>
              </a:solidFill>
            </c:spPr>
          </c:dPt>
          <c:dPt>
            <c:idx val="2436"/>
            <c:spPr>
              <a:solidFill>
                <a:srgbClr val="AEABAB"/>
              </a:solidFill>
            </c:spPr>
          </c:dPt>
          <c:dPt>
            <c:idx val="2437"/>
            <c:spPr>
              <a:solidFill>
                <a:srgbClr val="AEABAB"/>
              </a:solidFill>
            </c:spPr>
          </c:dPt>
          <c:dPt>
            <c:idx val="2438"/>
            <c:spPr>
              <a:solidFill>
                <a:srgbClr val="AEABAB"/>
              </a:solidFill>
            </c:spPr>
          </c:dPt>
          <c:dPt>
            <c:idx val="2439"/>
            <c:spPr>
              <a:solidFill>
                <a:srgbClr val="AEABAB"/>
              </a:solidFill>
            </c:spPr>
          </c:dPt>
          <c:dPt>
            <c:idx val="2440"/>
            <c:spPr>
              <a:solidFill>
                <a:srgbClr val="AEABAB"/>
              </a:solidFill>
            </c:spPr>
          </c:dPt>
          <c:dPt>
            <c:idx val="2441"/>
            <c:spPr>
              <a:solidFill>
                <a:srgbClr val="AEABAB"/>
              </a:solidFill>
            </c:spPr>
          </c:dPt>
          <c:dPt>
            <c:idx val="2442"/>
            <c:spPr>
              <a:solidFill>
                <a:srgbClr val="AEABAB"/>
              </a:solidFill>
            </c:spPr>
          </c:dPt>
          <c:dPt>
            <c:idx val="2443"/>
            <c:spPr>
              <a:solidFill>
                <a:srgbClr val="AEABAB"/>
              </a:solidFill>
            </c:spPr>
          </c:dPt>
          <c:dPt>
            <c:idx val="2444"/>
            <c:spPr>
              <a:solidFill>
                <a:srgbClr val="AEABAB"/>
              </a:solidFill>
            </c:spPr>
          </c:dPt>
          <c:dPt>
            <c:idx val="2445"/>
            <c:spPr>
              <a:solidFill>
                <a:srgbClr val="AEABAB"/>
              </a:solidFill>
            </c:spPr>
          </c:dPt>
          <c:dPt>
            <c:idx val="2446"/>
            <c:spPr>
              <a:solidFill>
                <a:srgbClr val="AEABAB"/>
              </a:solidFill>
            </c:spPr>
          </c:dPt>
          <c:dPt>
            <c:idx val="2447"/>
            <c:spPr>
              <a:solidFill>
                <a:srgbClr val="AEABAB"/>
              </a:solidFill>
            </c:spPr>
          </c:dPt>
          <c:dPt>
            <c:idx val="2448"/>
            <c:spPr>
              <a:solidFill>
                <a:srgbClr val="AEABAB"/>
              </a:solidFill>
            </c:spPr>
          </c:dPt>
          <c:dPt>
            <c:idx val="2449"/>
            <c:spPr>
              <a:solidFill>
                <a:srgbClr val="AEABAB"/>
              </a:solidFill>
            </c:spPr>
          </c:dPt>
          <c:dPt>
            <c:idx val="2450"/>
            <c:spPr>
              <a:solidFill>
                <a:srgbClr val="AEABAB"/>
              </a:solidFill>
            </c:spPr>
          </c:dPt>
          <c:dPt>
            <c:idx val="2451"/>
            <c:spPr>
              <a:solidFill>
                <a:srgbClr val="AEABAB"/>
              </a:solidFill>
            </c:spPr>
          </c:dPt>
          <c:dPt>
            <c:idx val="2452"/>
            <c:spPr>
              <a:solidFill>
                <a:srgbClr val="AEABAB"/>
              </a:solidFill>
            </c:spPr>
          </c:dPt>
          <c:dPt>
            <c:idx val="2453"/>
            <c:spPr>
              <a:solidFill>
                <a:srgbClr val="AEABAB"/>
              </a:solidFill>
            </c:spPr>
          </c:dPt>
          <c:dPt>
            <c:idx val="2454"/>
            <c:spPr>
              <a:solidFill>
                <a:srgbClr val="AEABAB"/>
              </a:solidFill>
            </c:spPr>
          </c:dPt>
          <c:dPt>
            <c:idx val="2455"/>
            <c:spPr>
              <a:solidFill>
                <a:srgbClr val="AEABAB"/>
              </a:solidFill>
            </c:spPr>
          </c:dPt>
          <c:dPt>
            <c:idx val="2456"/>
            <c:spPr>
              <a:solidFill>
                <a:srgbClr val="AEABAB"/>
              </a:solidFill>
            </c:spPr>
          </c:dPt>
          <c:dPt>
            <c:idx val="2457"/>
            <c:spPr>
              <a:solidFill>
                <a:srgbClr val="AEABAB"/>
              </a:solidFill>
            </c:spPr>
          </c:dPt>
          <c:dPt>
            <c:idx val="2458"/>
            <c:spPr>
              <a:solidFill>
                <a:srgbClr val="AEABAB"/>
              </a:solidFill>
            </c:spPr>
          </c:dPt>
          <c:dPt>
            <c:idx val="2459"/>
            <c:spPr>
              <a:solidFill>
                <a:srgbClr val="AEABAB"/>
              </a:solidFill>
            </c:spPr>
          </c:dPt>
          <c:dPt>
            <c:idx val="2460"/>
            <c:spPr>
              <a:solidFill>
                <a:srgbClr val="AEABAB"/>
              </a:solidFill>
            </c:spPr>
          </c:dPt>
          <c:dPt>
            <c:idx val="2461"/>
            <c:spPr>
              <a:solidFill>
                <a:srgbClr val="AEABAB"/>
              </a:solidFill>
            </c:spPr>
          </c:dPt>
          <c:dPt>
            <c:idx val="2462"/>
            <c:spPr>
              <a:solidFill>
                <a:srgbClr val="AEABAB"/>
              </a:solidFill>
            </c:spPr>
          </c:dPt>
          <c:dPt>
            <c:idx val="2463"/>
            <c:spPr>
              <a:solidFill>
                <a:srgbClr val="AEABAB"/>
              </a:solidFill>
            </c:spPr>
          </c:dPt>
          <c:dPt>
            <c:idx val="2464"/>
            <c:spPr>
              <a:solidFill>
                <a:srgbClr val="AEABAB"/>
              </a:solidFill>
            </c:spPr>
          </c:dPt>
          <c:dPt>
            <c:idx val="2465"/>
            <c:spPr>
              <a:solidFill>
                <a:srgbClr val="AEABAB"/>
              </a:solidFill>
            </c:spPr>
          </c:dPt>
          <c:dPt>
            <c:idx val="2466"/>
            <c:spPr>
              <a:solidFill>
                <a:srgbClr val="AEABAB"/>
              </a:solidFill>
            </c:spPr>
          </c:dPt>
          <c:dPt>
            <c:idx val="2467"/>
            <c:spPr>
              <a:solidFill>
                <a:srgbClr val="AEABAB"/>
              </a:solidFill>
            </c:spPr>
          </c:dPt>
          <c:dPt>
            <c:idx val="2468"/>
            <c:spPr>
              <a:solidFill>
                <a:srgbClr val="AEABAB"/>
              </a:solidFill>
            </c:spPr>
          </c:dPt>
          <c:dPt>
            <c:idx val="2469"/>
            <c:spPr>
              <a:solidFill>
                <a:srgbClr val="AEABAB"/>
              </a:solidFill>
            </c:spPr>
          </c:dPt>
          <c:dPt>
            <c:idx val="2470"/>
            <c:spPr>
              <a:solidFill>
                <a:srgbClr val="AEABAB"/>
              </a:solidFill>
            </c:spPr>
          </c:dPt>
          <c:dPt>
            <c:idx val="2471"/>
            <c:spPr>
              <a:solidFill>
                <a:srgbClr val="AEABAB"/>
              </a:solidFill>
            </c:spPr>
          </c:dPt>
          <c:dPt>
            <c:idx val="2472"/>
            <c:spPr>
              <a:solidFill>
                <a:srgbClr val="AEABAB"/>
              </a:solidFill>
            </c:spPr>
          </c:dPt>
          <c:dPt>
            <c:idx val="2473"/>
            <c:spPr>
              <a:solidFill>
                <a:srgbClr val="AEABAB"/>
              </a:solidFill>
            </c:spPr>
          </c:dPt>
          <c:dPt>
            <c:idx val="2474"/>
            <c:spPr>
              <a:solidFill>
                <a:srgbClr val="AEABAB"/>
              </a:solidFill>
            </c:spPr>
          </c:dPt>
          <c:dPt>
            <c:idx val="2475"/>
            <c:spPr>
              <a:solidFill>
                <a:srgbClr val="AEABAB"/>
              </a:solidFill>
            </c:spPr>
          </c:dPt>
          <c:dPt>
            <c:idx val="2476"/>
            <c:spPr>
              <a:solidFill>
                <a:srgbClr val="AEABAB"/>
              </a:solidFill>
            </c:spPr>
          </c:dPt>
          <c:dPt>
            <c:idx val="2477"/>
            <c:spPr>
              <a:solidFill>
                <a:srgbClr val="AEABAB"/>
              </a:solidFill>
            </c:spPr>
          </c:dPt>
          <c:dPt>
            <c:idx val="2478"/>
            <c:spPr>
              <a:solidFill>
                <a:srgbClr val="AEABAB"/>
              </a:solidFill>
            </c:spPr>
          </c:dPt>
          <c:dPt>
            <c:idx val="2479"/>
            <c:spPr>
              <a:solidFill>
                <a:srgbClr val="AEABAB"/>
              </a:solidFill>
            </c:spPr>
          </c:dPt>
          <c:dPt>
            <c:idx val="2480"/>
            <c:spPr>
              <a:solidFill>
                <a:srgbClr val="AEABAB"/>
              </a:solidFill>
            </c:spPr>
          </c:dPt>
          <c:dPt>
            <c:idx val="2481"/>
            <c:spPr>
              <a:solidFill>
                <a:srgbClr val="AEABAB"/>
              </a:solidFill>
            </c:spPr>
          </c:dPt>
          <c:dPt>
            <c:idx val="2482"/>
            <c:spPr>
              <a:solidFill>
                <a:srgbClr val="AEABAB"/>
              </a:solidFill>
            </c:spPr>
          </c:dPt>
          <c:dPt>
            <c:idx val="2483"/>
            <c:spPr>
              <a:solidFill>
                <a:srgbClr val="AEABAB"/>
              </a:solidFill>
            </c:spPr>
          </c:dPt>
          <c:dPt>
            <c:idx val="2484"/>
            <c:spPr>
              <a:solidFill>
                <a:srgbClr val="AEABAB"/>
              </a:solidFill>
            </c:spPr>
          </c:dPt>
          <c:dPt>
            <c:idx val="2485"/>
            <c:spPr>
              <a:solidFill>
                <a:srgbClr val="AEABAB"/>
              </a:solidFill>
            </c:spPr>
          </c:dPt>
          <c:dPt>
            <c:idx val="2486"/>
            <c:spPr>
              <a:solidFill>
                <a:srgbClr val="AEABAB"/>
              </a:solidFill>
            </c:spPr>
          </c:dPt>
          <c:dPt>
            <c:idx val="2487"/>
            <c:spPr>
              <a:solidFill>
                <a:srgbClr val="AEABAB"/>
              </a:solidFill>
            </c:spPr>
          </c:dPt>
          <c:dPt>
            <c:idx val="2488"/>
            <c:spPr>
              <a:solidFill>
                <a:srgbClr val="AEABAB"/>
              </a:solidFill>
            </c:spPr>
          </c:dPt>
          <c:dPt>
            <c:idx val="2489"/>
            <c:spPr>
              <a:solidFill>
                <a:srgbClr val="AEABAB"/>
              </a:solidFill>
            </c:spPr>
          </c:dPt>
          <c:dPt>
            <c:idx val="2490"/>
            <c:spPr>
              <a:solidFill>
                <a:srgbClr val="AEABAB"/>
              </a:solidFill>
            </c:spPr>
          </c:dPt>
          <c:dPt>
            <c:idx val="2491"/>
            <c:spPr>
              <a:solidFill>
                <a:srgbClr val="AEABAB"/>
              </a:solidFill>
            </c:spPr>
          </c:dPt>
          <c:dPt>
            <c:idx val="2492"/>
            <c:spPr>
              <a:solidFill>
                <a:srgbClr val="AEABAB"/>
              </a:solidFill>
            </c:spPr>
          </c:dPt>
          <c:dPt>
            <c:idx val="2493"/>
            <c:spPr>
              <a:solidFill>
                <a:srgbClr val="AEABAB"/>
              </a:solidFill>
            </c:spPr>
          </c:dPt>
          <c:dPt>
            <c:idx val="2494"/>
            <c:spPr>
              <a:solidFill>
                <a:srgbClr val="AEABAB"/>
              </a:solidFill>
            </c:spPr>
          </c:dPt>
          <c:dPt>
            <c:idx val="2495"/>
            <c:spPr>
              <a:solidFill>
                <a:srgbClr val="AEABAB"/>
              </a:solidFill>
            </c:spPr>
          </c:dPt>
          <c:dPt>
            <c:idx val="2496"/>
            <c:spPr>
              <a:solidFill>
                <a:srgbClr val="AEABAB"/>
              </a:solidFill>
            </c:spPr>
          </c:dPt>
          <c:dPt>
            <c:idx val="2497"/>
            <c:spPr>
              <a:solidFill>
                <a:srgbClr val="AEABAB"/>
              </a:solidFill>
            </c:spPr>
          </c:dPt>
          <c:dPt>
            <c:idx val="2498"/>
            <c:spPr>
              <a:solidFill>
                <a:srgbClr val="AEABAB"/>
              </a:solidFill>
            </c:spPr>
          </c:dPt>
          <c:dPt>
            <c:idx val="2499"/>
            <c:spPr>
              <a:solidFill>
                <a:srgbClr val="AEABAB"/>
              </a:solidFill>
            </c:spPr>
          </c:dPt>
          <c:dPt>
            <c:idx val="2500"/>
            <c:spPr>
              <a:solidFill>
                <a:srgbClr val="AEABAB"/>
              </a:solidFill>
            </c:spPr>
          </c:dPt>
          <c:dPt>
            <c:idx val="2501"/>
            <c:spPr>
              <a:solidFill>
                <a:srgbClr val="AEABAB"/>
              </a:solidFill>
            </c:spPr>
          </c:dPt>
          <c:dPt>
            <c:idx val="2502"/>
            <c:spPr>
              <a:solidFill>
                <a:srgbClr val="AEABAB"/>
              </a:solidFill>
            </c:spPr>
          </c:dPt>
          <c:dPt>
            <c:idx val="2503"/>
            <c:spPr>
              <a:solidFill>
                <a:srgbClr val="AEABAB"/>
              </a:solidFill>
            </c:spPr>
          </c:dPt>
          <c:dPt>
            <c:idx val="2504"/>
            <c:spPr>
              <a:solidFill>
                <a:srgbClr val="AEABAB"/>
              </a:solidFill>
            </c:spPr>
          </c:dPt>
          <c:dPt>
            <c:idx val="2505"/>
            <c:spPr>
              <a:solidFill>
                <a:srgbClr val="AEABAB"/>
              </a:solidFill>
            </c:spPr>
          </c:dPt>
          <c:dPt>
            <c:idx val="2506"/>
            <c:spPr>
              <a:solidFill>
                <a:srgbClr val="AEABAB"/>
              </a:solidFill>
            </c:spPr>
          </c:dPt>
          <c:dPt>
            <c:idx val="2507"/>
            <c:spPr>
              <a:solidFill>
                <a:srgbClr val="AEABAB"/>
              </a:solidFill>
            </c:spPr>
          </c:dPt>
          <c:dPt>
            <c:idx val="2508"/>
            <c:spPr>
              <a:solidFill>
                <a:srgbClr val="AEABAB"/>
              </a:solidFill>
            </c:spPr>
          </c:dPt>
          <c:dPt>
            <c:idx val="2509"/>
            <c:spPr>
              <a:solidFill>
                <a:srgbClr val="AEABAB"/>
              </a:solidFill>
            </c:spPr>
          </c:dPt>
          <c:dPt>
            <c:idx val="2510"/>
            <c:spPr>
              <a:solidFill>
                <a:srgbClr val="AEABAB"/>
              </a:solidFill>
            </c:spPr>
          </c:dPt>
          <c:dPt>
            <c:idx val="2511"/>
            <c:spPr>
              <a:solidFill>
                <a:srgbClr val="AEABAB"/>
              </a:solidFill>
            </c:spPr>
          </c:dPt>
          <c:dPt>
            <c:idx val="2512"/>
            <c:spPr>
              <a:solidFill>
                <a:srgbClr val="AEABAB"/>
              </a:solidFill>
            </c:spPr>
          </c:dPt>
          <c:dPt>
            <c:idx val="2513"/>
            <c:spPr>
              <a:solidFill>
                <a:srgbClr val="AEABAB"/>
              </a:solidFill>
            </c:spPr>
          </c:dPt>
          <c:dPt>
            <c:idx val="2514"/>
            <c:spPr>
              <a:solidFill>
                <a:srgbClr val="AEABAB"/>
              </a:solidFill>
            </c:spPr>
          </c:dPt>
          <c:dPt>
            <c:idx val="2515"/>
            <c:spPr>
              <a:solidFill>
                <a:srgbClr val="AEABAB"/>
              </a:solidFill>
            </c:spPr>
          </c:dPt>
          <c:dPt>
            <c:idx val="2516"/>
            <c:spPr>
              <a:solidFill>
                <a:srgbClr val="AEABAB"/>
              </a:solidFill>
            </c:spPr>
          </c:dPt>
          <c:dPt>
            <c:idx val="2517"/>
            <c:spPr>
              <a:solidFill>
                <a:srgbClr val="AEABAB"/>
              </a:solidFill>
            </c:spPr>
          </c:dPt>
          <c:dPt>
            <c:idx val="2518"/>
            <c:spPr>
              <a:solidFill>
                <a:srgbClr val="AEABAB"/>
              </a:solidFill>
            </c:spPr>
          </c:dPt>
          <c:dPt>
            <c:idx val="2519"/>
            <c:spPr>
              <a:solidFill>
                <a:srgbClr val="AEABAB"/>
              </a:solidFill>
            </c:spPr>
          </c:dPt>
          <c:dPt>
            <c:idx val="2520"/>
            <c:spPr>
              <a:solidFill>
                <a:srgbClr val="AEABAB"/>
              </a:solidFill>
            </c:spPr>
          </c:dPt>
          <c:dPt>
            <c:idx val="2521"/>
            <c:spPr>
              <a:solidFill>
                <a:srgbClr val="AEABAB"/>
              </a:solidFill>
            </c:spPr>
          </c:dPt>
          <c:dPt>
            <c:idx val="2522"/>
            <c:spPr>
              <a:solidFill>
                <a:srgbClr val="AEABAB"/>
              </a:solidFill>
            </c:spPr>
          </c:dPt>
          <c:dPt>
            <c:idx val="2523"/>
            <c:spPr>
              <a:solidFill>
                <a:srgbClr val="AEABAB"/>
              </a:solidFill>
            </c:spPr>
          </c:dPt>
          <c:dPt>
            <c:idx val="2524"/>
            <c:spPr>
              <a:solidFill>
                <a:srgbClr val="AEABAB"/>
              </a:solidFill>
            </c:spPr>
          </c:dPt>
          <c:dPt>
            <c:idx val="2525"/>
            <c:spPr>
              <a:solidFill>
                <a:srgbClr val="AEABAB"/>
              </a:solidFill>
            </c:spPr>
          </c:dPt>
          <c:dPt>
            <c:idx val="2526"/>
            <c:spPr>
              <a:solidFill>
                <a:srgbClr val="AEABAB"/>
              </a:solidFill>
            </c:spPr>
          </c:dPt>
          <c:dPt>
            <c:idx val="2527"/>
            <c:spPr>
              <a:solidFill>
                <a:srgbClr val="AEABAB"/>
              </a:solidFill>
            </c:spPr>
          </c:dPt>
          <c:dPt>
            <c:idx val="2528"/>
            <c:spPr>
              <a:solidFill>
                <a:srgbClr val="AEABAB"/>
              </a:solidFill>
            </c:spPr>
          </c:dPt>
          <c:dPt>
            <c:idx val="2529"/>
            <c:spPr>
              <a:solidFill>
                <a:srgbClr val="AEABAB"/>
              </a:solidFill>
            </c:spPr>
          </c:dPt>
          <c:dPt>
            <c:idx val="2530"/>
            <c:spPr>
              <a:solidFill>
                <a:srgbClr val="AEABAB"/>
              </a:solidFill>
            </c:spPr>
          </c:dPt>
          <c:dPt>
            <c:idx val="2531"/>
            <c:spPr>
              <a:solidFill>
                <a:srgbClr val="AEABAB"/>
              </a:solidFill>
            </c:spPr>
          </c:dPt>
          <c:dPt>
            <c:idx val="2532"/>
            <c:spPr>
              <a:solidFill>
                <a:srgbClr val="AEABAB"/>
              </a:solidFill>
            </c:spPr>
          </c:dPt>
          <c:dPt>
            <c:idx val="2533"/>
            <c:spPr>
              <a:solidFill>
                <a:srgbClr val="AEABAB"/>
              </a:solidFill>
            </c:spPr>
          </c:dPt>
          <c:dPt>
            <c:idx val="2534"/>
            <c:spPr>
              <a:solidFill>
                <a:srgbClr val="AEABAB"/>
              </a:solidFill>
            </c:spPr>
          </c:dPt>
          <c:dPt>
            <c:idx val="2535"/>
            <c:spPr>
              <a:solidFill>
                <a:srgbClr val="AEABAB"/>
              </a:solidFill>
            </c:spPr>
          </c:dPt>
          <c:dPt>
            <c:idx val="2536"/>
            <c:spPr>
              <a:solidFill>
                <a:srgbClr val="AEABAB"/>
              </a:solidFill>
            </c:spPr>
          </c:dPt>
          <c:dPt>
            <c:idx val="2537"/>
            <c:spPr>
              <a:solidFill>
                <a:srgbClr val="AEABAB"/>
              </a:solidFill>
            </c:spPr>
          </c:dPt>
          <c:dPt>
            <c:idx val="2538"/>
            <c:spPr>
              <a:solidFill>
                <a:srgbClr val="AEABAB"/>
              </a:solidFill>
            </c:spPr>
          </c:dPt>
          <c:dPt>
            <c:idx val="2539"/>
            <c:spPr>
              <a:solidFill>
                <a:srgbClr val="AEABAB"/>
              </a:solidFill>
            </c:spPr>
          </c:dPt>
          <c:dPt>
            <c:idx val="2540"/>
            <c:spPr>
              <a:solidFill>
                <a:srgbClr val="AEABAB"/>
              </a:solidFill>
            </c:spPr>
          </c:dPt>
          <c:dPt>
            <c:idx val="2541"/>
            <c:spPr>
              <a:solidFill>
                <a:srgbClr val="AEABAB"/>
              </a:solidFill>
            </c:spPr>
          </c:dPt>
          <c:dPt>
            <c:idx val="2542"/>
            <c:spPr>
              <a:solidFill>
                <a:srgbClr val="AEABAB"/>
              </a:solidFill>
            </c:spPr>
          </c:dPt>
          <c:dPt>
            <c:idx val="2543"/>
            <c:spPr>
              <a:solidFill>
                <a:srgbClr val="AEABAB"/>
              </a:solidFill>
            </c:spPr>
          </c:dPt>
          <c:dPt>
            <c:idx val="2544"/>
            <c:spPr>
              <a:solidFill>
                <a:srgbClr val="AEABAB"/>
              </a:solidFill>
            </c:spPr>
          </c:dPt>
          <c:dPt>
            <c:idx val="2545"/>
            <c:spPr>
              <a:solidFill>
                <a:srgbClr val="AEABAB"/>
              </a:solidFill>
            </c:spPr>
          </c:dPt>
          <c:dPt>
            <c:idx val="2546"/>
            <c:spPr>
              <a:solidFill>
                <a:srgbClr val="AEABAB"/>
              </a:solidFill>
            </c:spPr>
          </c:dPt>
          <c:dPt>
            <c:idx val="2547"/>
            <c:spPr>
              <a:solidFill>
                <a:srgbClr val="AEABAB"/>
              </a:solidFill>
            </c:spPr>
          </c:dPt>
          <c:dPt>
            <c:idx val="2548"/>
            <c:spPr>
              <a:solidFill>
                <a:srgbClr val="AEABAB"/>
              </a:solidFill>
            </c:spPr>
          </c:dPt>
          <c:dPt>
            <c:idx val="2549"/>
            <c:spPr>
              <a:solidFill>
                <a:srgbClr val="AEABAB"/>
              </a:solidFill>
            </c:spPr>
          </c:dPt>
          <c:dPt>
            <c:idx val="2550"/>
            <c:spPr>
              <a:solidFill>
                <a:srgbClr val="AEABAB"/>
              </a:solidFill>
            </c:spPr>
          </c:dPt>
          <c:dPt>
            <c:idx val="2551"/>
            <c:spPr>
              <a:solidFill>
                <a:srgbClr val="AEABAB"/>
              </a:solidFill>
            </c:spPr>
          </c:dPt>
          <c:dPt>
            <c:idx val="2552"/>
            <c:spPr>
              <a:solidFill>
                <a:srgbClr val="AEABAB"/>
              </a:solidFill>
            </c:spPr>
          </c:dPt>
          <c:dPt>
            <c:idx val="2553"/>
            <c:spPr>
              <a:solidFill>
                <a:srgbClr val="AEABAB"/>
              </a:solidFill>
            </c:spPr>
          </c:dPt>
          <c:dPt>
            <c:idx val="2554"/>
            <c:spPr>
              <a:solidFill>
                <a:srgbClr val="AEABAB"/>
              </a:solidFill>
            </c:spPr>
          </c:dPt>
          <c:dPt>
            <c:idx val="2555"/>
            <c:spPr>
              <a:solidFill>
                <a:srgbClr val="AEABAB"/>
              </a:solidFill>
            </c:spPr>
          </c:dPt>
          <c:dPt>
            <c:idx val="2556"/>
            <c:spPr>
              <a:solidFill>
                <a:srgbClr val="AEABAB"/>
              </a:solidFill>
            </c:spPr>
          </c:dPt>
          <c:dPt>
            <c:idx val="2557"/>
            <c:spPr>
              <a:solidFill>
                <a:srgbClr val="AEABAB"/>
              </a:solidFill>
            </c:spPr>
          </c:dPt>
          <c:dPt>
            <c:idx val="2558"/>
            <c:spPr>
              <a:solidFill>
                <a:srgbClr val="AEABAB"/>
              </a:solidFill>
            </c:spPr>
          </c:dPt>
          <c:dPt>
            <c:idx val="2559"/>
            <c:spPr>
              <a:solidFill>
                <a:srgbClr val="AEABAB"/>
              </a:solidFill>
            </c:spPr>
          </c:dPt>
          <c:dPt>
            <c:idx val="2560"/>
            <c:spPr>
              <a:solidFill>
                <a:srgbClr val="AEABAB"/>
              </a:solidFill>
            </c:spPr>
          </c:dPt>
          <c:dPt>
            <c:idx val="2561"/>
            <c:spPr>
              <a:solidFill>
                <a:srgbClr val="AEABAB"/>
              </a:solidFill>
            </c:spPr>
          </c:dPt>
          <c:dPt>
            <c:idx val="2562"/>
            <c:spPr>
              <a:solidFill>
                <a:srgbClr val="AEABAB"/>
              </a:solidFill>
            </c:spPr>
          </c:dPt>
          <c:dPt>
            <c:idx val="2563"/>
            <c:spPr>
              <a:solidFill>
                <a:srgbClr val="AEABAB"/>
              </a:solidFill>
            </c:spPr>
          </c:dPt>
          <c:dPt>
            <c:idx val="2564"/>
            <c:spPr>
              <a:solidFill>
                <a:srgbClr val="AEABAB"/>
              </a:solidFill>
            </c:spPr>
          </c:dPt>
          <c:dPt>
            <c:idx val="2565"/>
            <c:spPr>
              <a:solidFill>
                <a:srgbClr val="AEABAB"/>
              </a:solidFill>
            </c:spPr>
          </c:dPt>
          <c:dPt>
            <c:idx val="2566"/>
            <c:spPr>
              <a:solidFill>
                <a:srgbClr val="AEABAB"/>
              </a:solidFill>
            </c:spPr>
          </c:dPt>
          <c:dPt>
            <c:idx val="2567"/>
            <c:spPr>
              <a:solidFill>
                <a:srgbClr val="AEABAB"/>
              </a:solidFill>
            </c:spPr>
          </c:dPt>
          <c:dPt>
            <c:idx val="2568"/>
            <c:spPr>
              <a:solidFill>
                <a:srgbClr val="AEABAB"/>
              </a:solidFill>
            </c:spPr>
          </c:dPt>
          <c:dPt>
            <c:idx val="2569"/>
            <c:spPr>
              <a:solidFill>
                <a:srgbClr val="AEABAB"/>
              </a:solidFill>
            </c:spPr>
          </c:dPt>
          <c:dPt>
            <c:idx val="2570"/>
            <c:spPr>
              <a:solidFill>
                <a:srgbClr val="AEABAB"/>
              </a:solidFill>
            </c:spPr>
          </c:dPt>
          <c:dPt>
            <c:idx val="2571"/>
            <c:spPr>
              <a:solidFill>
                <a:srgbClr val="AEABAB"/>
              </a:solidFill>
            </c:spPr>
          </c:dPt>
          <c:dPt>
            <c:idx val="2572"/>
            <c:spPr>
              <a:solidFill>
                <a:srgbClr val="AEABAB"/>
              </a:solidFill>
            </c:spPr>
          </c:dPt>
          <c:dPt>
            <c:idx val="2573"/>
            <c:spPr>
              <a:solidFill>
                <a:srgbClr val="AEABAB"/>
              </a:solidFill>
            </c:spPr>
          </c:dPt>
          <c:dPt>
            <c:idx val="2574"/>
            <c:spPr>
              <a:solidFill>
                <a:srgbClr val="AEABAB"/>
              </a:solidFill>
            </c:spPr>
          </c:dPt>
          <c:dPt>
            <c:idx val="2575"/>
            <c:spPr>
              <a:solidFill>
                <a:srgbClr val="AEABAB"/>
              </a:solidFill>
            </c:spPr>
          </c:dPt>
          <c:dPt>
            <c:idx val="2576"/>
            <c:spPr>
              <a:solidFill>
                <a:srgbClr val="AEABAB"/>
              </a:solidFill>
            </c:spPr>
          </c:dPt>
          <c:dPt>
            <c:idx val="2577"/>
            <c:spPr>
              <a:solidFill>
                <a:srgbClr val="AEABAB"/>
              </a:solidFill>
            </c:spPr>
          </c:dPt>
          <c:dPt>
            <c:idx val="2578"/>
            <c:spPr>
              <a:solidFill>
                <a:srgbClr val="AEABAB"/>
              </a:solidFill>
            </c:spPr>
          </c:dPt>
          <c:dPt>
            <c:idx val="2579"/>
            <c:spPr>
              <a:solidFill>
                <a:srgbClr val="AEABAB"/>
              </a:solidFill>
            </c:spPr>
          </c:dPt>
          <c:dPt>
            <c:idx val="2580"/>
            <c:spPr>
              <a:solidFill>
                <a:srgbClr val="AEABAB"/>
              </a:solidFill>
            </c:spPr>
          </c:dPt>
          <c:dPt>
            <c:idx val="2581"/>
            <c:spPr>
              <a:solidFill>
                <a:srgbClr val="AEABAB"/>
              </a:solidFill>
            </c:spPr>
          </c:dPt>
          <c:dPt>
            <c:idx val="2582"/>
            <c:spPr>
              <a:solidFill>
                <a:srgbClr val="AEABAB"/>
              </a:solidFill>
            </c:spPr>
          </c:dPt>
          <c:dPt>
            <c:idx val="2583"/>
            <c:spPr>
              <a:solidFill>
                <a:srgbClr val="AEABAB"/>
              </a:solidFill>
            </c:spPr>
          </c:dPt>
          <c:dPt>
            <c:idx val="2584"/>
            <c:spPr>
              <a:solidFill>
                <a:srgbClr val="AEABAB"/>
              </a:solidFill>
            </c:spPr>
          </c:dPt>
          <c:dPt>
            <c:idx val="2585"/>
            <c:spPr>
              <a:solidFill>
                <a:srgbClr val="AEABAB"/>
              </a:solidFill>
            </c:spPr>
          </c:dPt>
          <c:dPt>
            <c:idx val="2586"/>
            <c:spPr>
              <a:solidFill>
                <a:srgbClr val="AEABAB"/>
              </a:solidFill>
            </c:spPr>
          </c:dPt>
          <c:dPt>
            <c:idx val="2587"/>
            <c:spPr>
              <a:solidFill>
                <a:srgbClr val="AEABAB"/>
              </a:solidFill>
            </c:spPr>
          </c:dPt>
          <c:dPt>
            <c:idx val="2588"/>
            <c:spPr>
              <a:solidFill>
                <a:srgbClr val="AEABAB"/>
              </a:solidFill>
            </c:spPr>
          </c:dPt>
          <c:dPt>
            <c:idx val="2589"/>
            <c:spPr>
              <a:solidFill>
                <a:srgbClr val="AEABAB"/>
              </a:solidFill>
            </c:spPr>
          </c:dPt>
          <c:dPt>
            <c:idx val="2590"/>
            <c:spPr>
              <a:solidFill>
                <a:srgbClr val="AEABAB"/>
              </a:solidFill>
            </c:spPr>
          </c:dPt>
          <c:dPt>
            <c:idx val="2591"/>
            <c:spPr>
              <a:solidFill>
                <a:srgbClr val="AEABAB"/>
              </a:solidFill>
            </c:spPr>
          </c:dPt>
          <c:dPt>
            <c:idx val="2592"/>
            <c:spPr>
              <a:solidFill>
                <a:srgbClr val="AEABAB"/>
              </a:solidFill>
            </c:spPr>
          </c:dPt>
          <c:dPt>
            <c:idx val="2593"/>
            <c:spPr>
              <a:solidFill>
                <a:srgbClr val="AEABAB"/>
              </a:solidFill>
            </c:spPr>
          </c:dPt>
          <c:dPt>
            <c:idx val="2594"/>
            <c:spPr>
              <a:solidFill>
                <a:srgbClr val="AEABAB"/>
              </a:solidFill>
            </c:spPr>
          </c:dPt>
          <c:dPt>
            <c:idx val="2595"/>
            <c:spPr>
              <a:solidFill>
                <a:srgbClr val="AEABAB"/>
              </a:solidFill>
            </c:spPr>
          </c:dPt>
          <c:dPt>
            <c:idx val="2596"/>
            <c:spPr>
              <a:solidFill>
                <a:srgbClr val="AEABAB"/>
              </a:solidFill>
            </c:spPr>
          </c:dPt>
          <c:dPt>
            <c:idx val="2597"/>
            <c:spPr>
              <a:solidFill>
                <a:srgbClr val="AEABAB"/>
              </a:solidFill>
            </c:spPr>
          </c:dPt>
          <c:dPt>
            <c:idx val="2598"/>
            <c:spPr>
              <a:solidFill>
                <a:srgbClr val="AEABAB"/>
              </a:solidFill>
            </c:spPr>
          </c:dPt>
          <c:dPt>
            <c:idx val="2599"/>
            <c:spPr>
              <a:solidFill>
                <a:srgbClr val="AEABAB"/>
              </a:solidFill>
            </c:spPr>
          </c:dPt>
          <c:dPt>
            <c:idx val="2600"/>
            <c:spPr>
              <a:solidFill>
                <a:srgbClr val="AEABAB"/>
              </a:solidFill>
            </c:spPr>
          </c:dPt>
          <c:dPt>
            <c:idx val="2601"/>
            <c:spPr>
              <a:solidFill>
                <a:srgbClr val="AEABAB"/>
              </a:solidFill>
            </c:spPr>
          </c:dPt>
          <c:dPt>
            <c:idx val="2602"/>
            <c:spPr>
              <a:solidFill>
                <a:srgbClr val="AEABAB"/>
              </a:solidFill>
            </c:spPr>
          </c:dPt>
          <c:dPt>
            <c:idx val="2603"/>
            <c:spPr>
              <a:solidFill>
                <a:srgbClr val="AEABAB"/>
              </a:solidFill>
            </c:spPr>
          </c:dPt>
          <c:dPt>
            <c:idx val="2604"/>
            <c:spPr>
              <a:solidFill>
                <a:srgbClr val="AEABAB"/>
              </a:solidFill>
            </c:spPr>
          </c:dPt>
          <c:dPt>
            <c:idx val="2605"/>
            <c:spPr>
              <a:solidFill>
                <a:srgbClr val="AEABAB"/>
              </a:solidFill>
            </c:spPr>
          </c:dPt>
          <c:dPt>
            <c:idx val="2606"/>
            <c:spPr>
              <a:solidFill>
                <a:srgbClr val="AEABAB"/>
              </a:solidFill>
            </c:spPr>
          </c:dPt>
          <c:dPt>
            <c:idx val="2607"/>
            <c:spPr>
              <a:solidFill>
                <a:srgbClr val="AEABAB"/>
              </a:solidFill>
            </c:spPr>
          </c:dPt>
          <c:dPt>
            <c:idx val="2608"/>
            <c:spPr>
              <a:solidFill>
                <a:srgbClr val="AEABAB"/>
              </a:solidFill>
            </c:spPr>
          </c:dPt>
          <c:dPt>
            <c:idx val="2609"/>
            <c:spPr>
              <a:solidFill>
                <a:srgbClr val="AEABAB"/>
              </a:solidFill>
            </c:spPr>
          </c:dPt>
          <c:dPt>
            <c:idx val="2610"/>
            <c:spPr>
              <a:solidFill>
                <a:srgbClr val="AEABAB"/>
              </a:solidFill>
            </c:spPr>
          </c:dPt>
          <c:dPt>
            <c:idx val="2611"/>
            <c:spPr>
              <a:solidFill>
                <a:srgbClr val="AEABAB"/>
              </a:solidFill>
            </c:spPr>
          </c:dPt>
          <c:dPt>
            <c:idx val="2612"/>
            <c:spPr>
              <a:solidFill>
                <a:srgbClr val="AEABAB"/>
              </a:solidFill>
            </c:spPr>
          </c:dPt>
          <c:dPt>
            <c:idx val="2613"/>
            <c:spPr>
              <a:solidFill>
                <a:srgbClr val="AEABAB"/>
              </a:solidFill>
            </c:spPr>
          </c:dPt>
          <c:dPt>
            <c:idx val="2614"/>
            <c:spPr>
              <a:solidFill>
                <a:srgbClr val="AEABAB"/>
              </a:solidFill>
            </c:spPr>
          </c:dPt>
          <c:dPt>
            <c:idx val="2615"/>
            <c:spPr>
              <a:solidFill>
                <a:srgbClr val="AEABAB"/>
              </a:solidFill>
            </c:spPr>
          </c:dPt>
          <c:dPt>
            <c:idx val="2616"/>
            <c:spPr>
              <a:solidFill>
                <a:srgbClr val="AEABAB"/>
              </a:solidFill>
            </c:spPr>
          </c:dPt>
          <c:dPt>
            <c:idx val="2617"/>
            <c:spPr>
              <a:solidFill>
                <a:srgbClr val="AEABAB"/>
              </a:solidFill>
            </c:spPr>
          </c:dPt>
          <c:dPt>
            <c:idx val="2618"/>
            <c:spPr>
              <a:solidFill>
                <a:srgbClr val="AEABAB"/>
              </a:solidFill>
            </c:spPr>
          </c:dPt>
          <c:dPt>
            <c:idx val="2619"/>
            <c:spPr>
              <a:solidFill>
                <a:srgbClr val="AEABAB"/>
              </a:solidFill>
            </c:spPr>
          </c:dPt>
          <c:dPt>
            <c:idx val="2620"/>
            <c:spPr>
              <a:solidFill>
                <a:srgbClr val="AEABAB"/>
              </a:solidFill>
            </c:spPr>
          </c:dPt>
          <c:dPt>
            <c:idx val="2621"/>
            <c:spPr>
              <a:solidFill>
                <a:srgbClr val="AEABAB"/>
              </a:solidFill>
            </c:spPr>
          </c:dPt>
          <c:dPt>
            <c:idx val="2622"/>
            <c:spPr>
              <a:solidFill>
                <a:srgbClr val="AEABAB"/>
              </a:solidFill>
            </c:spPr>
          </c:dPt>
          <c:dPt>
            <c:idx val="2623"/>
            <c:spPr>
              <a:solidFill>
                <a:srgbClr val="AEABAB"/>
              </a:solidFill>
            </c:spPr>
          </c:dPt>
          <c:dPt>
            <c:idx val="2624"/>
            <c:spPr>
              <a:solidFill>
                <a:srgbClr val="AEABAB"/>
              </a:solidFill>
            </c:spPr>
          </c:dPt>
          <c:dPt>
            <c:idx val="2625"/>
            <c:spPr>
              <a:solidFill>
                <a:srgbClr val="AEABAB"/>
              </a:solidFill>
            </c:spPr>
          </c:dPt>
          <c:dPt>
            <c:idx val="2626"/>
            <c:spPr>
              <a:solidFill>
                <a:srgbClr val="AEABAB"/>
              </a:solidFill>
            </c:spPr>
          </c:dPt>
          <c:dPt>
            <c:idx val="2627"/>
            <c:spPr>
              <a:solidFill>
                <a:srgbClr val="AEABAB"/>
              </a:solidFill>
            </c:spPr>
          </c:dPt>
          <c:dPt>
            <c:idx val="2628"/>
            <c:spPr>
              <a:solidFill>
                <a:srgbClr val="AEABAB"/>
              </a:solidFill>
            </c:spPr>
          </c:dPt>
          <c:dPt>
            <c:idx val="2629"/>
            <c:spPr>
              <a:solidFill>
                <a:srgbClr val="AEABAB"/>
              </a:solidFill>
            </c:spPr>
          </c:dPt>
          <c:dPt>
            <c:idx val="2630"/>
            <c:spPr>
              <a:solidFill>
                <a:srgbClr val="AEABAB"/>
              </a:solidFill>
            </c:spPr>
          </c:dPt>
          <c:dPt>
            <c:idx val="2631"/>
            <c:spPr>
              <a:solidFill>
                <a:srgbClr val="AEABAB"/>
              </a:solidFill>
            </c:spPr>
          </c:dPt>
          <c:dPt>
            <c:idx val="2632"/>
            <c:spPr>
              <a:solidFill>
                <a:srgbClr val="AEABAB"/>
              </a:solidFill>
            </c:spPr>
          </c:dPt>
          <c:dPt>
            <c:idx val="2633"/>
            <c:spPr>
              <a:solidFill>
                <a:srgbClr val="AEABAB"/>
              </a:solidFill>
            </c:spPr>
          </c:dPt>
          <c:dPt>
            <c:idx val="2634"/>
            <c:spPr>
              <a:solidFill>
                <a:srgbClr val="AEABAB"/>
              </a:solidFill>
            </c:spPr>
          </c:dPt>
          <c:dPt>
            <c:idx val="2635"/>
            <c:spPr>
              <a:solidFill>
                <a:srgbClr val="AEABAB"/>
              </a:solidFill>
            </c:spPr>
          </c:dPt>
          <c:dPt>
            <c:idx val="2636"/>
            <c:spPr>
              <a:solidFill>
                <a:srgbClr val="AEABAB"/>
              </a:solidFill>
            </c:spPr>
          </c:dPt>
          <c:dPt>
            <c:idx val="2637"/>
            <c:spPr>
              <a:solidFill>
                <a:srgbClr val="AEABAB"/>
              </a:solidFill>
            </c:spPr>
          </c:dPt>
          <c:dPt>
            <c:idx val="2638"/>
            <c:spPr>
              <a:solidFill>
                <a:srgbClr val="AEABAB"/>
              </a:solidFill>
            </c:spPr>
          </c:dPt>
          <c:dPt>
            <c:idx val="2639"/>
            <c:spPr>
              <a:solidFill>
                <a:srgbClr val="AEABAB"/>
              </a:solidFill>
            </c:spPr>
          </c:dPt>
          <c:dPt>
            <c:idx val="2640"/>
            <c:spPr>
              <a:solidFill>
                <a:srgbClr val="AEABAB"/>
              </a:solidFill>
            </c:spPr>
          </c:dPt>
          <c:dPt>
            <c:idx val="2641"/>
            <c:spPr>
              <a:solidFill>
                <a:srgbClr val="AEABAB"/>
              </a:solidFill>
            </c:spPr>
          </c:dPt>
          <c:dPt>
            <c:idx val="2642"/>
            <c:spPr>
              <a:solidFill>
                <a:srgbClr val="AEABAB"/>
              </a:solidFill>
            </c:spPr>
          </c:dPt>
          <c:dPt>
            <c:idx val="2643"/>
            <c:spPr>
              <a:solidFill>
                <a:srgbClr val="AEABAB"/>
              </a:solidFill>
            </c:spPr>
          </c:dPt>
          <c:dPt>
            <c:idx val="2644"/>
            <c:spPr>
              <a:solidFill>
                <a:srgbClr val="AEABAB"/>
              </a:solidFill>
            </c:spPr>
          </c:dPt>
          <c:dPt>
            <c:idx val="2645"/>
            <c:spPr>
              <a:solidFill>
                <a:srgbClr val="AEABAB"/>
              </a:solidFill>
            </c:spPr>
          </c:dPt>
          <c:dPt>
            <c:idx val="2646"/>
            <c:spPr>
              <a:solidFill>
                <a:srgbClr val="AEABAB"/>
              </a:solidFill>
            </c:spPr>
          </c:dPt>
          <c:dPt>
            <c:idx val="2647"/>
            <c:spPr>
              <a:solidFill>
                <a:srgbClr val="AEABAB"/>
              </a:solidFill>
            </c:spPr>
          </c:dPt>
          <c:dPt>
            <c:idx val="2648"/>
            <c:spPr>
              <a:solidFill>
                <a:srgbClr val="AEABAB"/>
              </a:solidFill>
            </c:spPr>
          </c:dPt>
          <c:dPt>
            <c:idx val="2649"/>
            <c:spPr>
              <a:solidFill>
                <a:srgbClr val="AEABAB"/>
              </a:solidFill>
            </c:spPr>
          </c:dPt>
          <c:dPt>
            <c:idx val="2650"/>
            <c:spPr>
              <a:solidFill>
                <a:srgbClr val="AEABAB"/>
              </a:solidFill>
            </c:spPr>
          </c:dPt>
          <c:dPt>
            <c:idx val="2651"/>
            <c:spPr>
              <a:solidFill>
                <a:srgbClr val="AEABAB"/>
              </a:solidFill>
            </c:spPr>
          </c:dPt>
          <c:dPt>
            <c:idx val="2652"/>
            <c:spPr>
              <a:solidFill>
                <a:srgbClr val="AEABAB"/>
              </a:solidFill>
            </c:spPr>
          </c:dPt>
          <c:dPt>
            <c:idx val="2653"/>
            <c:spPr>
              <a:solidFill>
                <a:srgbClr val="AEABAB"/>
              </a:solidFill>
            </c:spPr>
          </c:dPt>
          <c:dPt>
            <c:idx val="2654"/>
            <c:spPr>
              <a:solidFill>
                <a:srgbClr val="AEABAB"/>
              </a:solidFill>
            </c:spPr>
          </c:dPt>
          <c:dPt>
            <c:idx val="2655"/>
            <c:spPr>
              <a:solidFill>
                <a:srgbClr val="AEABAB"/>
              </a:solidFill>
            </c:spPr>
          </c:dPt>
          <c:dPt>
            <c:idx val="2656"/>
            <c:spPr>
              <a:solidFill>
                <a:srgbClr val="AEABAB"/>
              </a:solidFill>
            </c:spPr>
          </c:dPt>
          <c:dPt>
            <c:idx val="2657"/>
            <c:spPr>
              <a:solidFill>
                <a:srgbClr val="AEABAB"/>
              </a:solidFill>
            </c:spPr>
          </c:dPt>
          <c:dPt>
            <c:idx val="2658"/>
            <c:spPr>
              <a:solidFill>
                <a:srgbClr val="AEABAB"/>
              </a:solidFill>
            </c:spPr>
          </c:dPt>
          <c:dPt>
            <c:idx val="2659"/>
            <c:spPr>
              <a:solidFill>
                <a:srgbClr val="AEABAB"/>
              </a:solidFill>
            </c:spPr>
          </c:dPt>
          <c:dPt>
            <c:idx val="2660"/>
            <c:spPr>
              <a:solidFill>
                <a:srgbClr val="AEABAB"/>
              </a:solidFill>
            </c:spPr>
          </c:dPt>
          <c:dPt>
            <c:idx val="2661"/>
            <c:spPr>
              <a:solidFill>
                <a:srgbClr val="AEABAB"/>
              </a:solidFill>
            </c:spPr>
          </c:dPt>
          <c:dPt>
            <c:idx val="2662"/>
            <c:spPr>
              <a:solidFill>
                <a:srgbClr val="AEABAB"/>
              </a:solidFill>
            </c:spPr>
          </c:dPt>
          <c:dPt>
            <c:idx val="2663"/>
            <c:spPr>
              <a:solidFill>
                <a:srgbClr val="AEABAB"/>
              </a:solidFill>
            </c:spPr>
          </c:dPt>
          <c:dPt>
            <c:idx val="2664"/>
            <c:spPr>
              <a:solidFill>
                <a:srgbClr val="AEABAB"/>
              </a:solidFill>
            </c:spPr>
          </c:dPt>
          <c:dPt>
            <c:idx val="2665"/>
            <c:spPr>
              <a:solidFill>
                <a:srgbClr val="AEABAB"/>
              </a:solidFill>
            </c:spPr>
          </c:dPt>
          <c:dPt>
            <c:idx val="2666"/>
            <c:spPr>
              <a:solidFill>
                <a:srgbClr val="AEABAB"/>
              </a:solidFill>
            </c:spPr>
          </c:dPt>
          <c:dPt>
            <c:idx val="2667"/>
            <c:spPr>
              <a:solidFill>
                <a:srgbClr val="AEABAB"/>
              </a:solidFill>
            </c:spPr>
          </c:dPt>
          <c:dPt>
            <c:idx val="2668"/>
            <c:spPr>
              <a:solidFill>
                <a:srgbClr val="AEABAB"/>
              </a:solidFill>
            </c:spPr>
          </c:dPt>
          <c:dPt>
            <c:idx val="2669"/>
            <c:spPr>
              <a:solidFill>
                <a:srgbClr val="AEABAB"/>
              </a:solidFill>
            </c:spPr>
          </c:dPt>
          <c:dPt>
            <c:idx val="2670"/>
            <c:spPr>
              <a:solidFill>
                <a:srgbClr val="AEABAB"/>
              </a:solidFill>
            </c:spPr>
          </c:dPt>
          <c:dPt>
            <c:idx val="2671"/>
            <c:spPr>
              <a:solidFill>
                <a:srgbClr val="AEABAB"/>
              </a:solidFill>
            </c:spPr>
          </c:dPt>
          <c:dPt>
            <c:idx val="2672"/>
            <c:spPr>
              <a:solidFill>
                <a:srgbClr val="AEABAB"/>
              </a:solidFill>
            </c:spPr>
          </c:dPt>
          <c:dPt>
            <c:idx val="2673"/>
            <c:spPr>
              <a:solidFill>
                <a:srgbClr val="AEABAB"/>
              </a:solidFill>
            </c:spPr>
          </c:dPt>
          <c:dPt>
            <c:idx val="2674"/>
            <c:spPr>
              <a:solidFill>
                <a:srgbClr val="AEABAB"/>
              </a:solidFill>
            </c:spPr>
          </c:dPt>
          <c:dPt>
            <c:idx val="2675"/>
            <c:spPr>
              <a:solidFill>
                <a:srgbClr val="AEABAB"/>
              </a:solidFill>
            </c:spPr>
          </c:dPt>
          <c:dPt>
            <c:idx val="2676"/>
            <c:spPr>
              <a:solidFill>
                <a:srgbClr val="AEABAB"/>
              </a:solidFill>
            </c:spPr>
          </c:dPt>
          <c:dPt>
            <c:idx val="2677"/>
            <c:spPr>
              <a:solidFill>
                <a:srgbClr val="AEABAB"/>
              </a:solidFill>
            </c:spPr>
          </c:dPt>
          <c:dPt>
            <c:idx val="2678"/>
            <c:spPr>
              <a:solidFill>
                <a:srgbClr val="AEABAB"/>
              </a:solidFill>
            </c:spPr>
          </c:dPt>
          <c:dPt>
            <c:idx val="2679"/>
            <c:spPr>
              <a:solidFill>
                <a:srgbClr val="AEABAB"/>
              </a:solidFill>
            </c:spPr>
          </c:dPt>
          <c:dPt>
            <c:idx val="2680"/>
            <c:spPr>
              <a:solidFill>
                <a:srgbClr val="AEABAB"/>
              </a:solidFill>
            </c:spPr>
          </c:dPt>
          <c:dPt>
            <c:idx val="2681"/>
            <c:spPr>
              <a:solidFill>
                <a:srgbClr val="AEABAB"/>
              </a:solidFill>
            </c:spPr>
          </c:dPt>
          <c:dPt>
            <c:idx val="2682"/>
            <c:spPr>
              <a:solidFill>
                <a:srgbClr val="AEABAB"/>
              </a:solidFill>
            </c:spPr>
          </c:dPt>
          <c:dPt>
            <c:idx val="2683"/>
            <c:spPr>
              <a:solidFill>
                <a:srgbClr val="AEABAB"/>
              </a:solidFill>
            </c:spPr>
          </c:dPt>
          <c:dPt>
            <c:idx val="2684"/>
            <c:spPr>
              <a:solidFill>
                <a:srgbClr val="AEABAB"/>
              </a:solidFill>
            </c:spPr>
          </c:dPt>
          <c:dPt>
            <c:idx val="2685"/>
            <c:spPr>
              <a:solidFill>
                <a:srgbClr val="AEABAB"/>
              </a:solidFill>
            </c:spPr>
          </c:dPt>
          <c:dPt>
            <c:idx val="2686"/>
            <c:spPr>
              <a:solidFill>
                <a:srgbClr val="AEABAB"/>
              </a:solidFill>
            </c:spPr>
          </c:dPt>
          <c:dPt>
            <c:idx val="2687"/>
            <c:spPr>
              <a:solidFill>
                <a:srgbClr val="AEABAB"/>
              </a:solidFill>
            </c:spPr>
          </c:dPt>
          <c:dPt>
            <c:idx val="2688"/>
            <c:spPr>
              <a:solidFill>
                <a:srgbClr val="AEABAB"/>
              </a:solidFill>
            </c:spPr>
          </c:dPt>
          <c:dPt>
            <c:idx val="2689"/>
            <c:spPr>
              <a:solidFill>
                <a:srgbClr val="AEABAB"/>
              </a:solidFill>
            </c:spPr>
          </c:dPt>
          <c:dPt>
            <c:idx val="2690"/>
            <c:spPr>
              <a:solidFill>
                <a:srgbClr val="AEABAB"/>
              </a:solidFill>
            </c:spPr>
          </c:dPt>
          <c:dPt>
            <c:idx val="2691"/>
            <c:spPr>
              <a:solidFill>
                <a:srgbClr val="AEABAB"/>
              </a:solidFill>
            </c:spPr>
          </c:dPt>
          <c:dPt>
            <c:idx val="2692"/>
            <c:spPr>
              <a:solidFill>
                <a:srgbClr val="AEABAB"/>
              </a:solidFill>
            </c:spPr>
          </c:dPt>
          <c:dPt>
            <c:idx val="2693"/>
            <c:spPr>
              <a:solidFill>
                <a:srgbClr val="AEABAB"/>
              </a:solidFill>
            </c:spPr>
          </c:dPt>
          <c:dPt>
            <c:idx val="2694"/>
            <c:spPr>
              <a:solidFill>
                <a:srgbClr val="AEABAB"/>
              </a:solidFill>
            </c:spPr>
          </c:dPt>
          <c:dPt>
            <c:idx val="2695"/>
            <c:spPr>
              <a:solidFill>
                <a:srgbClr val="AEABAB"/>
              </a:solidFill>
            </c:spPr>
          </c:dPt>
          <c:dPt>
            <c:idx val="2696"/>
            <c:spPr>
              <a:solidFill>
                <a:srgbClr val="AEABAB"/>
              </a:solidFill>
            </c:spPr>
          </c:dPt>
          <c:dPt>
            <c:idx val="2697"/>
            <c:spPr>
              <a:solidFill>
                <a:srgbClr val="AEABAB"/>
              </a:solidFill>
            </c:spPr>
          </c:dPt>
          <c:dPt>
            <c:idx val="2698"/>
            <c:spPr>
              <a:solidFill>
                <a:srgbClr val="AEABAB"/>
              </a:solidFill>
            </c:spPr>
          </c:dPt>
          <c:dPt>
            <c:idx val="2699"/>
            <c:spPr>
              <a:solidFill>
                <a:srgbClr val="AEABAB"/>
              </a:solidFill>
            </c:spPr>
          </c:dPt>
          <c:dPt>
            <c:idx val="2700"/>
            <c:spPr>
              <a:solidFill>
                <a:srgbClr val="AEABAB"/>
              </a:solidFill>
            </c:spPr>
          </c:dPt>
          <c:dPt>
            <c:idx val="2701"/>
            <c:spPr>
              <a:solidFill>
                <a:srgbClr val="AEABAB"/>
              </a:solidFill>
            </c:spPr>
          </c:dPt>
          <c:dPt>
            <c:idx val="2702"/>
            <c:spPr>
              <a:solidFill>
                <a:srgbClr val="AEABAB"/>
              </a:solidFill>
            </c:spPr>
          </c:dPt>
          <c:dPt>
            <c:idx val="2703"/>
            <c:spPr>
              <a:solidFill>
                <a:srgbClr val="AEABAB"/>
              </a:solidFill>
            </c:spPr>
          </c:dPt>
          <c:dPt>
            <c:idx val="2704"/>
            <c:spPr>
              <a:solidFill>
                <a:srgbClr val="AEABAB"/>
              </a:solidFill>
            </c:spPr>
          </c:dPt>
          <c:dPt>
            <c:idx val="2705"/>
            <c:spPr>
              <a:solidFill>
                <a:srgbClr val="AEABAB"/>
              </a:solidFill>
            </c:spPr>
          </c:dPt>
          <c:dPt>
            <c:idx val="2706"/>
            <c:spPr>
              <a:solidFill>
                <a:srgbClr val="AEABAB"/>
              </a:solidFill>
            </c:spPr>
          </c:dPt>
          <c:dPt>
            <c:idx val="2707"/>
            <c:spPr>
              <a:solidFill>
                <a:srgbClr val="AEABAB"/>
              </a:solidFill>
            </c:spPr>
          </c:dPt>
          <c:dPt>
            <c:idx val="2708"/>
            <c:spPr>
              <a:solidFill>
                <a:srgbClr val="AEABAB"/>
              </a:solidFill>
            </c:spPr>
          </c:dPt>
          <c:dPt>
            <c:idx val="2709"/>
            <c:spPr>
              <a:solidFill>
                <a:srgbClr val="AEABAB"/>
              </a:solidFill>
            </c:spPr>
          </c:dPt>
          <c:dPt>
            <c:idx val="2710"/>
            <c:spPr>
              <a:solidFill>
                <a:srgbClr val="AEABAB"/>
              </a:solidFill>
            </c:spPr>
          </c:dPt>
          <c:dPt>
            <c:idx val="2711"/>
            <c:spPr>
              <a:solidFill>
                <a:srgbClr val="AEABAB"/>
              </a:solidFill>
            </c:spPr>
          </c:dPt>
          <c:dPt>
            <c:idx val="2712"/>
            <c:spPr>
              <a:solidFill>
                <a:srgbClr val="AEABAB"/>
              </a:solidFill>
            </c:spPr>
          </c:dPt>
          <c:dPt>
            <c:idx val="2713"/>
            <c:spPr>
              <a:solidFill>
                <a:srgbClr val="AEABAB"/>
              </a:solidFill>
            </c:spPr>
          </c:dPt>
          <c:dPt>
            <c:idx val="2714"/>
            <c:spPr>
              <a:solidFill>
                <a:srgbClr val="AEABAB"/>
              </a:solidFill>
            </c:spPr>
          </c:dPt>
          <c:dPt>
            <c:idx val="2715"/>
            <c:spPr>
              <a:solidFill>
                <a:srgbClr val="AEABAB"/>
              </a:solidFill>
            </c:spPr>
          </c:dPt>
          <c:dPt>
            <c:idx val="2716"/>
            <c:spPr>
              <a:solidFill>
                <a:srgbClr val="AEABAB"/>
              </a:solidFill>
            </c:spPr>
          </c:dPt>
          <c:dPt>
            <c:idx val="2717"/>
            <c:spPr>
              <a:solidFill>
                <a:srgbClr val="AEABAB"/>
              </a:solidFill>
            </c:spPr>
          </c:dPt>
          <c:dPt>
            <c:idx val="2718"/>
            <c:spPr>
              <a:solidFill>
                <a:srgbClr val="AEABAB"/>
              </a:solidFill>
            </c:spPr>
          </c:dPt>
          <c:dPt>
            <c:idx val="2719"/>
            <c:spPr>
              <a:solidFill>
                <a:srgbClr val="AEABAB"/>
              </a:solidFill>
            </c:spPr>
          </c:dPt>
          <c:dPt>
            <c:idx val="2720"/>
            <c:spPr>
              <a:solidFill>
                <a:srgbClr val="AEABAB"/>
              </a:solidFill>
            </c:spPr>
          </c:dPt>
          <c:dPt>
            <c:idx val="2721"/>
            <c:spPr>
              <a:solidFill>
                <a:srgbClr val="AEABAB"/>
              </a:solidFill>
            </c:spPr>
          </c:dPt>
          <c:dPt>
            <c:idx val="2722"/>
            <c:spPr>
              <a:solidFill>
                <a:srgbClr val="AEABAB"/>
              </a:solidFill>
            </c:spPr>
          </c:dPt>
          <c:dPt>
            <c:idx val="2723"/>
            <c:spPr>
              <a:solidFill>
                <a:srgbClr val="AEABAB"/>
              </a:solidFill>
            </c:spPr>
          </c:dPt>
          <c:dPt>
            <c:idx val="2724"/>
            <c:spPr>
              <a:solidFill>
                <a:srgbClr val="AEABAB"/>
              </a:solidFill>
            </c:spPr>
          </c:dPt>
          <c:dPt>
            <c:idx val="2725"/>
            <c:spPr>
              <a:solidFill>
                <a:srgbClr val="AEABAB"/>
              </a:solidFill>
            </c:spPr>
          </c:dPt>
          <c:dPt>
            <c:idx val="2726"/>
            <c:spPr>
              <a:solidFill>
                <a:srgbClr val="AEABAB"/>
              </a:solidFill>
            </c:spPr>
          </c:dPt>
          <c:dPt>
            <c:idx val="2727"/>
            <c:spPr>
              <a:solidFill>
                <a:srgbClr val="AEABAB"/>
              </a:solidFill>
            </c:spPr>
          </c:dPt>
          <c:dPt>
            <c:idx val="2728"/>
            <c:spPr>
              <a:solidFill>
                <a:srgbClr val="AEABAB"/>
              </a:solidFill>
            </c:spPr>
          </c:dPt>
          <c:dPt>
            <c:idx val="2729"/>
            <c:spPr>
              <a:solidFill>
                <a:srgbClr val="AEABAB"/>
              </a:solidFill>
            </c:spPr>
          </c:dPt>
          <c:dPt>
            <c:idx val="2730"/>
            <c:spPr>
              <a:solidFill>
                <a:srgbClr val="AEABAB"/>
              </a:solidFill>
            </c:spPr>
          </c:dPt>
          <c:dPt>
            <c:idx val="2731"/>
            <c:spPr>
              <a:solidFill>
                <a:srgbClr val="AEABAB"/>
              </a:solidFill>
            </c:spPr>
          </c:dPt>
          <c:dPt>
            <c:idx val="2732"/>
            <c:spPr>
              <a:solidFill>
                <a:srgbClr val="AEABAB"/>
              </a:solidFill>
            </c:spPr>
          </c:dPt>
          <c:dPt>
            <c:idx val="2733"/>
            <c:spPr>
              <a:solidFill>
                <a:srgbClr val="AEABAB"/>
              </a:solidFill>
            </c:spPr>
          </c:dPt>
          <c:dPt>
            <c:idx val="2734"/>
            <c:spPr>
              <a:solidFill>
                <a:srgbClr val="AEABAB"/>
              </a:solidFill>
            </c:spPr>
          </c:dPt>
          <c:dPt>
            <c:idx val="2735"/>
            <c:spPr>
              <a:solidFill>
                <a:srgbClr val="AEABAB"/>
              </a:solidFill>
            </c:spPr>
          </c:dPt>
          <c:dPt>
            <c:idx val="2736"/>
            <c:spPr>
              <a:solidFill>
                <a:srgbClr val="AEABAB"/>
              </a:solidFill>
            </c:spPr>
          </c:dPt>
          <c:dPt>
            <c:idx val="2737"/>
            <c:spPr>
              <a:solidFill>
                <a:srgbClr val="AEABAB"/>
              </a:solidFill>
            </c:spPr>
          </c:dPt>
          <c:dPt>
            <c:idx val="2738"/>
            <c:spPr>
              <a:solidFill>
                <a:srgbClr val="AEABAB"/>
              </a:solidFill>
            </c:spPr>
          </c:dPt>
          <c:dPt>
            <c:idx val="2739"/>
            <c:spPr>
              <a:solidFill>
                <a:srgbClr val="AEABAB"/>
              </a:solidFill>
            </c:spPr>
          </c:dPt>
          <c:dPt>
            <c:idx val="2740"/>
            <c:spPr>
              <a:solidFill>
                <a:srgbClr val="AEABAB"/>
              </a:solidFill>
            </c:spPr>
          </c:dPt>
          <c:dPt>
            <c:idx val="2741"/>
            <c:spPr>
              <a:solidFill>
                <a:srgbClr val="AEABAB"/>
              </a:solidFill>
            </c:spPr>
          </c:dPt>
          <c:dPt>
            <c:idx val="2742"/>
            <c:spPr>
              <a:solidFill>
                <a:srgbClr val="AEABAB"/>
              </a:solidFill>
            </c:spPr>
          </c:dPt>
          <c:dPt>
            <c:idx val="2743"/>
            <c:spPr>
              <a:solidFill>
                <a:srgbClr val="AEABAB"/>
              </a:solidFill>
            </c:spPr>
          </c:dPt>
          <c:dPt>
            <c:idx val="2744"/>
            <c:spPr>
              <a:solidFill>
                <a:srgbClr val="AEABAB"/>
              </a:solidFill>
            </c:spPr>
          </c:dPt>
          <c:dPt>
            <c:idx val="2745"/>
            <c:spPr>
              <a:solidFill>
                <a:srgbClr val="AEABAB"/>
              </a:solidFill>
            </c:spPr>
          </c:dPt>
          <c:dPt>
            <c:idx val="2746"/>
            <c:spPr>
              <a:solidFill>
                <a:srgbClr val="AEABAB"/>
              </a:solidFill>
            </c:spPr>
          </c:dPt>
          <c:dPt>
            <c:idx val="2747"/>
            <c:spPr>
              <a:solidFill>
                <a:srgbClr val="AEABAB"/>
              </a:solidFill>
            </c:spPr>
          </c:dPt>
          <c:dPt>
            <c:idx val="2748"/>
            <c:spPr>
              <a:solidFill>
                <a:srgbClr val="AEABAB"/>
              </a:solidFill>
            </c:spPr>
          </c:dPt>
          <c:dPt>
            <c:idx val="2749"/>
            <c:spPr>
              <a:solidFill>
                <a:srgbClr val="AEABAB"/>
              </a:solidFill>
            </c:spPr>
          </c:dPt>
          <c:dPt>
            <c:idx val="2750"/>
            <c:spPr>
              <a:solidFill>
                <a:srgbClr val="AEABAB"/>
              </a:solidFill>
            </c:spPr>
          </c:dPt>
          <c:dPt>
            <c:idx val="2751"/>
            <c:spPr>
              <a:solidFill>
                <a:srgbClr val="AEABAB"/>
              </a:solidFill>
            </c:spPr>
          </c:dPt>
          <c:dPt>
            <c:idx val="2752"/>
            <c:spPr>
              <a:solidFill>
                <a:srgbClr val="AEABAB"/>
              </a:solidFill>
            </c:spPr>
          </c:dPt>
          <c:dPt>
            <c:idx val="2753"/>
            <c:spPr>
              <a:solidFill>
                <a:srgbClr val="AEABAB"/>
              </a:solidFill>
            </c:spPr>
          </c:dPt>
          <c:dPt>
            <c:idx val="2754"/>
            <c:spPr>
              <a:solidFill>
                <a:srgbClr val="AEABAB"/>
              </a:solidFill>
            </c:spPr>
          </c:dPt>
          <c:dPt>
            <c:idx val="2755"/>
            <c:spPr>
              <a:solidFill>
                <a:srgbClr val="AEABAB"/>
              </a:solidFill>
            </c:spPr>
          </c:dPt>
          <c:dPt>
            <c:idx val="2756"/>
            <c:spPr>
              <a:solidFill>
                <a:srgbClr val="AEABAB"/>
              </a:solidFill>
            </c:spPr>
          </c:dPt>
          <c:dPt>
            <c:idx val="2757"/>
            <c:spPr>
              <a:solidFill>
                <a:srgbClr val="AEABAB"/>
              </a:solidFill>
            </c:spPr>
          </c:dPt>
          <c:dPt>
            <c:idx val="2758"/>
            <c:spPr>
              <a:solidFill>
                <a:srgbClr val="AEABAB"/>
              </a:solidFill>
            </c:spPr>
          </c:dPt>
          <c:dPt>
            <c:idx val="2759"/>
            <c:spPr>
              <a:solidFill>
                <a:srgbClr val="AEABAB"/>
              </a:solidFill>
            </c:spPr>
          </c:dPt>
          <c:dPt>
            <c:idx val="2760"/>
            <c:spPr>
              <a:solidFill>
                <a:srgbClr val="AEABAB"/>
              </a:solidFill>
            </c:spPr>
          </c:dPt>
          <c:dPt>
            <c:idx val="2761"/>
            <c:spPr>
              <a:solidFill>
                <a:srgbClr val="AEABAB"/>
              </a:solidFill>
            </c:spPr>
          </c:dPt>
          <c:dPt>
            <c:idx val="2762"/>
            <c:spPr>
              <a:solidFill>
                <a:srgbClr val="AEABAB"/>
              </a:solidFill>
            </c:spPr>
          </c:dPt>
          <c:dPt>
            <c:idx val="2763"/>
            <c:spPr>
              <a:solidFill>
                <a:srgbClr val="AEABAB"/>
              </a:solidFill>
            </c:spPr>
          </c:dPt>
          <c:dPt>
            <c:idx val="2764"/>
            <c:spPr>
              <a:solidFill>
                <a:srgbClr val="AEABAB"/>
              </a:solidFill>
            </c:spPr>
          </c:dPt>
          <c:dPt>
            <c:idx val="2765"/>
            <c:spPr>
              <a:solidFill>
                <a:srgbClr val="AEABAB"/>
              </a:solidFill>
            </c:spPr>
          </c:dPt>
          <c:dPt>
            <c:idx val="2766"/>
            <c:spPr>
              <a:solidFill>
                <a:srgbClr val="AEABAB"/>
              </a:solidFill>
            </c:spPr>
          </c:dPt>
          <c:dPt>
            <c:idx val="2767"/>
            <c:spPr>
              <a:solidFill>
                <a:srgbClr val="AEABAB"/>
              </a:solidFill>
            </c:spPr>
          </c:dPt>
          <c:dPt>
            <c:idx val="2768"/>
            <c:spPr>
              <a:solidFill>
                <a:srgbClr val="AEABAB"/>
              </a:solidFill>
            </c:spPr>
          </c:dPt>
          <c:dPt>
            <c:idx val="2769"/>
            <c:spPr>
              <a:solidFill>
                <a:srgbClr val="AEABAB"/>
              </a:solidFill>
            </c:spPr>
          </c:dPt>
          <c:dPt>
            <c:idx val="2770"/>
            <c:spPr>
              <a:solidFill>
                <a:srgbClr val="AEABAB"/>
              </a:solidFill>
            </c:spPr>
          </c:dPt>
          <c:dPt>
            <c:idx val="2771"/>
            <c:spPr>
              <a:solidFill>
                <a:srgbClr val="AEABAB"/>
              </a:solidFill>
            </c:spPr>
          </c:dPt>
          <c:dPt>
            <c:idx val="2772"/>
            <c:spPr>
              <a:solidFill>
                <a:srgbClr val="AEABAB"/>
              </a:solidFill>
            </c:spPr>
          </c:dPt>
          <c:dPt>
            <c:idx val="2773"/>
            <c:spPr>
              <a:solidFill>
                <a:srgbClr val="AEABAB"/>
              </a:solidFill>
            </c:spPr>
          </c:dPt>
          <c:dPt>
            <c:idx val="2774"/>
            <c:spPr>
              <a:solidFill>
                <a:srgbClr val="AEABAB"/>
              </a:solidFill>
            </c:spPr>
          </c:dPt>
          <c:dPt>
            <c:idx val="2775"/>
            <c:spPr>
              <a:solidFill>
                <a:srgbClr val="AEABAB"/>
              </a:solidFill>
            </c:spPr>
          </c:dPt>
          <c:dPt>
            <c:idx val="2776"/>
            <c:spPr>
              <a:solidFill>
                <a:srgbClr val="AEABAB"/>
              </a:solidFill>
            </c:spPr>
          </c:dPt>
          <c:dPt>
            <c:idx val="2777"/>
            <c:spPr>
              <a:solidFill>
                <a:srgbClr val="AEABAB"/>
              </a:solidFill>
            </c:spPr>
          </c:dPt>
          <c:dPt>
            <c:idx val="2778"/>
            <c:spPr>
              <a:solidFill>
                <a:srgbClr val="AEABAB"/>
              </a:solidFill>
            </c:spPr>
          </c:dPt>
          <c:dPt>
            <c:idx val="2779"/>
            <c:spPr>
              <a:solidFill>
                <a:srgbClr val="AEABAB"/>
              </a:solidFill>
            </c:spPr>
          </c:dPt>
          <c:dPt>
            <c:idx val="2780"/>
            <c:spPr>
              <a:solidFill>
                <a:srgbClr val="AEABAB"/>
              </a:solidFill>
            </c:spPr>
          </c:dPt>
          <c:dPt>
            <c:idx val="2781"/>
            <c:spPr>
              <a:solidFill>
                <a:srgbClr val="AEABAB"/>
              </a:solidFill>
            </c:spPr>
          </c:dPt>
          <c:dPt>
            <c:idx val="2782"/>
            <c:spPr>
              <a:solidFill>
                <a:srgbClr val="AEABAB"/>
              </a:solidFill>
            </c:spPr>
          </c:dPt>
          <c:dPt>
            <c:idx val="2783"/>
            <c:spPr>
              <a:solidFill>
                <a:srgbClr val="AEABAB"/>
              </a:solidFill>
            </c:spPr>
          </c:dPt>
          <c:dPt>
            <c:idx val="2784"/>
            <c:spPr>
              <a:solidFill>
                <a:srgbClr val="AEABAB"/>
              </a:solidFill>
            </c:spPr>
          </c:dPt>
          <c:dPt>
            <c:idx val="2785"/>
            <c:spPr>
              <a:solidFill>
                <a:srgbClr val="AEABAB"/>
              </a:solidFill>
            </c:spPr>
          </c:dPt>
          <c:dPt>
            <c:idx val="2786"/>
            <c:spPr>
              <a:solidFill>
                <a:srgbClr val="AEABAB"/>
              </a:solidFill>
            </c:spPr>
          </c:dPt>
          <c:dPt>
            <c:idx val="2787"/>
            <c:spPr>
              <a:solidFill>
                <a:srgbClr val="AEABAB"/>
              </a:solidFill>
            </c:spPr>
          </c:dPt>
          <c:dPt>
            <c:idx val="2788"/>
            <c:spPr>
              <a:solidFill>
                <a:srgbClr val="AEABAB"/>
              </a:solidFill>
            </c:spPr>
          </c:dPt>
          <c:dPt>
            <c:idx val="2789"/>
            <c:spPr>
              <a:solidFill>
                <a:srgbClr val="AEABAB"/>
              </a:solidFill>
            </c:spPr>
          </c:dPt>
          <c:dPt>
            <c:idx val="2790"/>
            <c:spPr>
              <a:solidFill>
                <a:srgbClr val="AEABAB"/>
              </a:solidFill>
            </c:spPr>
          </c:dPt>
          <c:dPt>
            <c:idx val="2791"/>
            <c:spPr>
              <a:solidFill>
                <a:srgbClr val="AEABAB"/>
              </a:solidFill>
            </c:spPr>
          </c:dPt>
          <c:dPt>
            <c:idx val="2792"/>
            <c:spPr>
              <a:solidFill>
                <a:srgbClr val="AEABAB"/>
              </a:solidFill>
            </c:spPr>
          </c:dPt>
          <c:dPt>
            <c:idx val="2793"/>
            <c:spPr>
              <a:solidFill>
                <a:srgbClr val="AEABAB"/>
              </a:solidFill>
            </c:spPr>
          </c:dPt>
          <c:dPt>
            <c:idx val="2794"/>
            <c:spPr>
              <a:solidFill>
                <a:srgbClr val="AEABAB"/>
              </a:solidFill>
            </c:spPr>
          </c:dPt>
          <c:dPt>
            <c:idx val="2795"/>
            <c:spPr>
              <a:solidFill>
                <a:srgbClr val="AEABAB"/>
              </a:solidFill>
            </c:spPr>
          </c:dPt>
          <c:dPt>
            <c:idx val="2796"/>
            <c:spPr>
              <a:solidFill>
                <a:srgbClr val="AEABAB"/>
              </a:solidFill>
            </c:spPr>
          </c:dPt>
          <c:dPt>
            <c:idx val="2797"/>
            <c:spPr>
              <a:solidFill>
                <a:srgbClr val="AEABAB"/>
              </a:solidFill>
            </c:spPr>
          </c:dPt>
          <c:dPt>
            <c:idx val="2798"/>
            <c:spPr>
              <a:solidFill>
                <a:srgbClr val="AEABAB"/>
              </a:solidFill>
            </c:spPr>
          </c:dPt>
          <c:dPt>
            <c:idx val="2799"/>
            <c:spPr>
              <a:solidFill>
                <a:srgbClr val="AEABAB"/>
              </a:solidFill>
            </c:spPr>
          </c:dPt>
          <c:dPt>
            <c:idx val="2800"/>
            <c:spPr>
              <a:solidFill>
                <a:srgbClr val="AEABAB"/>
              </a:solidFill>
            </c:spPr>
          </c:dPt>
          <c:dPt>
            <c:idx val="2801"/>
            <c:spPr>
              <a:solidFill>
                <a:srgbClr val="AEABAB"/>
              </a:solidFill>
            </c:spPr>
          </c:dPt>
          <c:dPt>
            <c:idx val="2802"/>
            <c:spPr>
              <a:solidFill>
                <a:srgbClr val="AEABAB"/>
              </a:solidFill>
            </c:spPr>
          </c:dPt>
          <c:dPt>
            <c:idx val="2803"/>
            <c:spPr>
              <a:solidFill>
                <a:srgbClr val="AEABAB"/>
              </a:solidFill>
            </c:spPr>
          </c:dPt>
          <c:dPt>
            <c:idx val="2804"/>
            <c:spPr>
              <a:solidFill>
                <a:srgbClr val="AEABAB"/>
              </a:solidFill>
            </c:spPr>
          </c:dPt>
          <c:dPt>
            <c:idx val="2805"/>
            <c:spPr>
              <a:solidFill>
                <a:srgbClr val="AEABAB"/>
              </a:solidFill>
            </c:spPr>
          </c:dPt>
          <c:dPt>
            <c:idx val="2806"/>
            <c:spPr>
              <a:solidFill>
                <a:srgbClr val="AEABAB"/>
              </a:solidFill>
            </c:spPr>
          </c:dPt>
          <c:dPt>
            <c:idx val="2807"/>
            <c:spPr>
              <a:solidFill>
                <a:srgbClr val="AEABAB"/>
              </a:solidFill>
            </c:spPr>
          </c:dPt>
          <c:dPt>
            <c:idx val="2808"/>
            <c:spPr>
              <a:solidFill>
                <a:srgbClr val="AEABAB"/>
              </a:solidFill>
            </c:spPr>
          </c:dPt>
          <c:dPt>
            <c:idx val="2809"/>
            <c:spPr>
              <a:solidFill>
                <a:srgbClr val="AEABAB"/>
              </a:solidFill>
            </c:spPr>
          </c:dPt>
          <c:dPt>
            <c:idx val="2810"/>
            <c:spPr>
              <a:solidFill>
                <a:srgbClr val="AEABAB"/>
              </a:solidFill>
            </c:spPr>
          </c:dPt>
          <c:dPt>
            <c:idx val="2811"/>
            <c:spPr>
              <a:solidFill>
                <a:srgbClr val="AEABAB"/>
              </a:solidFill>
            </c:spPr>
          </c:dPt>
          <c:dPt>
            <c:idx val="2812"/>
            <c:spPr>
              <a:solidFill>
                <a:srgbClr val="AEABAB"/>
              </a:solidFill>
            </c:spPr>
          </c:dPt>
          <c:dPt>
            <c:idx val="2813"/>
            <c:spPr>
              <a:solidFill>
                <a:srgbClr val="AEABAB"/>
              </a:solidFill>
            </c:spPr>
          </c:dPt>
          <c:dPt>
            <c:idx val="2814"/>
            <c:spPr>
              <a:solidFill>
                <a:srgbClr val="AEABAB"/>
              </a:solidFill>
            </c:spPr>
          </c:dPt>
          <c:dPt>
            <c:idx val="2815"/>
            <c:spPr>
              <a:solidFill>
                <a:srgbClr val="AEABAB"/>
              </a:solidFill>
            </c:spPr>
          </c:dPt>
          <c:dPt>
            <c:idx val="2816"/>
            <c:spPr>
              <a:solidFill>
                <a:srgbClr val="AEABAB"/>
              </a:solidFill>
            </c:spPr>
          </c:dPt>
          <c:dPt>
            <c:idx val="2817"/>
            <c:spPr>
              <a:solidFill>
                <a:srgbClr val="AEABAB"/>
              </a:solidFill>
            </c:spPr>
          </c:dPt>
          <c:dPt>
            <c:idx val="2818"/>
            <c:spPr>
              <a:solidFill>
                <a:srgbClr val="AEABAB"/>
              </a:solidFill>
            </c:spPr>
          </c:dPt>
          <c:dPt>
            <c:idx val="2819"/>
            <c:spPr>
              <a:solidFill>
                <a:srgbClr val="AEABAB"/>
              </a:solidFill>
            </c:spPr>
          </c:dPt>
          <c:dPt>
            <c:idx val="2820"/>
            <c:spPr>
              <a:solidFill>
                <a:srgbClr val="AEABAB"/>
              </a:solidFill>
            </c:spPr>
          </c:dPt>
          <c:dPt>
            <c:idx val="2821"/>
            <c:spPr>
              <a:solidFill>
                <a:srgbClr val="AEABAB"/>
              </a:solidFill>
            </c:spPr>
          </c:dPt>
          <c:dPt>
            <c:idx val="2822"/>
            <c:spPr>
              <a:solidFill>
                <a:srgbClr val="AEABAB"/>
              </a:solidFill>
            </c:spPr>
          </c:dPt>
          <c:dPt>
            <c:idx val="2823"/>
            <c:spPr>
              <a:solidFill>
                <a:srgbClr val="AEABAB"/>
              </a:solidFill>
            </c:spPr>
          </c:dPt>
          <c:dPt>
            <c:idx val="2824"/>
            <c:spPr>
              <a:solidFill>
                <a:srgbClr val="AEABAB"/>
              </a:solidFill>
            </c:spPr>
          </c:dPt>
          <c:dPt>
            <c:idx val="2825"/>
            <c:spPr>
              <a:solidFill>
                <a:srgbClr val="AEABAB"/>
              </a:solidFill>
            </c:spPr>
          </c:dPt>
          <c:dPt>
            <c:idx val="2826"/>
            <c:spPr>
              <a:solidFill>
                <a:srgbClr val="AEABAB"/>
              </a:solidFill>
            </c:spPr>
          </c:dPt>
          <c:dPt>
            <c:idx val="2827"/>
            <c:spPr>
              <a:solidFill>
                <a:srgbClr val="AEABAB"/>
              </a:solidFill>
            </c:spPr>
          </c:dPt>
          <c:dPt>
            <c:idx val="2828"/>
            <c:spPr>
              <a:solidFill>
                <a:srgbClr val="AEABAB"/>
              </a:solidFill>
            </c:spPr>
          </c:dPt>
          <c:dPt>
            <c:idx val="2829"/>
            <c:spPr>
              <a:solidFill>
                <a:srgbClr val="AEABAB"/>
              </a:solidFill>
            </c:spPr>
          </c:dPt>
          <c:dPt>
            <c:idx val="2830"/>
            <c:spPr>
              <a:solidFill>
                <a:srgbClr val="AEABAB"/>
              </a:solidFill>
            </c:spPr>
          </c:dPt>
          <c:dPt>
            <c:idx val="2831"/>
            <c:spPr>
              <a:solidFill>
                <a:srgbClr val="AEABAB"/>
              </a:solidFill>
            </c:spPr>
          </c:dPt>
          <c:dPt>
            <c:idx val="2832"/>
            <c:spPr>
              <a:solidFill>
                <a:srgbClr val="AEABAB"/>
              </a:solidFill>
            </c:spPr>
          </c:dPt>
          <c:dPt>
            <c:idx val="2833"/>
            <c:spPr>
              <a:solidFill>
                <a:srgbClr val="AEABAB"/>
              </a:solidFill>
            </c:spPr>
          </c:dPt>
          <c:dPt>
            <c:idx val="2834"/>
            <c:spPr>
              <a:solidFill>
                <a:srgbClr val="AEABAB"/>
              </a:solidFill>
            </c:spPr>
          </c:dPt>
          <c:dPt>
            <c:idx val="2835"/>
            <c:spPr>
              <a:solidFill>
                <a:srgbClr val="AEABAB"/>
              </a:solidFill>
            </c:spPr>
          </c:dPt>
          <c:dPt>
            <c:idx val="2836"/>
            <c:spPr>
              <a:solidFill>
                <a:srgbClr val="AEABAB"/>
              </a:solidFill>
            </c:spPr>
          </c:dPt>
          <c:dPt>
            <c:idx val="2837"/>
            <c:spPr>
              <a:solidFill>
                <a:srgbClr val="AEABAB"/>
              </a:solidFill>
            </c:spPr>
          </c:dPt>
          <c:dPt>
            <c:idx val="2838"/>
            <c:spPr>
              <a:solidFill>
                <a:srgbClr val="AEABAB"/>
              </a:solidFill>
            </c:spPr>
          </c:dPt>
          <c:dPt>
            <c:idx val="2839"/>
            <c:spPr>
              <a:solidFill>
                <a:srgbClr val="AEABAB"/>
              </a:solidFill>
            </c:spPr>
          </c:dPt>
          <c:dPt>
            <c:idx val="2840"/>
            <c:spPr>
              <a:solidFill>
                <a:srgbClr val="AEABAB"/>
              </a:solidFill>
            </c:spPr>
          </c:dPt>
          <c:dPt>
            <c:idx val="2841"/>
            <c:spPr>
              <a:solidFill>
                <a:srgbClr val="AEABAB"/>
              </a:solidFill>
            </c:spPr>
          </c:dPt>
          <c:dPt>
            <c:idx val="2842"/>
            <c:spPr>
              <a:solidFill>
                <a:srgbClr val="AEABAB"/>
              </a:solidFill>
            </c:spPr>
          </c:dPt>
          <c:dPt>
            <c:idx val="2843"/>
            <c:spPr>
              <a:solidFill>
                <a:srgbClr val="AEABAB"/>
              </a:solidFill>
            </c:spPr>
          </c:dPt>
          <c:dPt>
            <c:idx val="2844"/>
            <c:spPr>
              <a:solidFill>
                <a:srgbClr val="AEABAB"/>
              </a:solidFill>
            </c:spPr>
          </c:dPt>
          <c:dPt>
            <c:idx val="2845"/>
            <c:spPr>
              <a:solidFill>
                <a:srgbClr val="AEABAB"/>
              </a:solidFill>
            </c:spPr>
          </c:dPt>
          <c:dPt>
            <c:idx val="2846"/>
            <c:spPr>
              <a:solidFill>
                <a:srgbClr val="AEABAB"/>
              </a:solidFill>
            </c:spPr>
          </c:dPt>
          <c:dPt>
            <c:idx val="2847"/>
            <c:spPr>
              <a:solidFill>
                <a:srgbClr val="AEABAB"/>
              </a:solidFill>
            </c:spPr>
          </c:dPt>
          <c:dPt>
            <c:idx val="2848"/>
            <c:spPr>
              <a:solidFill>
                <a:srgbClr val="AEABAB"/>
              </a:solidFill>
            </c:spPr>
          </c:dPt>
          <c:dPt>
            <c:idx val="2849"/>
            <c:spPr>
              <a:solidFill>
                <a:srgbClr val="AEABAB"/>
              </a:solidFill>
            </c:spPr>
          </c:dPt>
          <c:dPt>
            <c:idx val="2850"/>
            <c:spPr>
              <a:solidFill>
                <a:srgbClr val="AEABAB"/>
              </a:solidFill>
            </c:spPr>
          </c:dPt>
          <c:dPt>
            <c:idx val="2851"/>
            <c:spPr>
              <a:solidFill>
                <a:srgbClr val="AEABAB"/>
              </a:solidFill>
            </c:spPr>
          </c:dPt>
          <c:dPt>
            <c:idx val="2852"/>
            <c:spPr>
              <a:solidFill>
                <a:srgbClr val="AEABAB"/>
              </a:solidFill>
            </c:spPr>
          </c:dPt>
          <c:dPt>
            <c:idx val="2853"/>
            <c:spPr>
              <a:solidFill>
                <a:srgbClr val="AEABAB"/>
              </a:solidFill>
            </c:spPr>
          </c:dPt>
          <c:dPt>
            <c:idx val="2854"/>
            <c:spPr>
              <a:solidFill>
                <a:srgbClr val="AEABAB"/>
              </a:solidFill>
            </c:spPr>
          </c:dPt>
          <c:dPt>
            <c:idx val="2855"/>
            <c:spPr>
              <a:solidFill>
                <a:srgbClr val="AEABAB"/>
              </a:solidFill>
            </c:spPr>
          </c:dPt>
          <c:dPt>
            <c:idx val="2856"/>
            <c:spPr>
              <a:solidFill>
                <a:srgbClr val="AEABAB"/>
              </a:solidFill>
            </c:spPr>
          </c:dPt>
          <c:dPt>
            <c:idx val="2857"/>
            <c:spPr>
              <a:solidFill>
                <a:srgbClr val="AEABAB"/>
              </a:solidFill>
            </c:spPr>
          </c:dPt>
          <c:dPt>
            <c:idx val="2858"/>
            <c:spPr>
              <a:solidFill>
                <a:srgbClr val="AEABAB"/>
              </a:solidFill>
            </c:spPr>
          </c:dPt>
          <c:dPt>
            <c:idx val="2859"/>
            <c:spPr>
              <a:solidFill>
                <a:srgbClr val="AEABAB"/>
              </a:solidFill>
            </c:spPr>
          </c:dPt>
          <c:dPt>
            <c:idx val="2860"/>
            <c:spPr>
              <a:solidFill>
                <a:srgbClr val="AEABAB"/>
              </a:solidFill>
            </c:spPr>
          </c:dPt>
          <c:dPt>
            <c:idx val="2861"/>
            <c:spPr>
              <a:solidFill>
                <a:srgbClr val="AEABAB"/>
              </a:solidFill>
            </c:spPr>
          </c:dPt>
          <c:dPt>
            <c:idx val="2862"/>
            <c:spPr>
              <a:solidFill>
                <a:srgbClr val="AEABAB"/>
              </a:solidFill>
            </c:spPr>
          </c:dPt>
          <c:dPt>
            <c:idx val="2863"/>
            <c:spPr>
              <a:solidFill>
                <a:srgbClr val="AEABAB"/>
              </a:solidFill>
            </c:spPr>
          </c:dPt>
          <c:dPt>
            <c:idx val="2864"/>
            <c:spPr>
              <a:solidFill>
                <a:srgbClr val="AEABAB"/>
              </a:solidFill>
            </c:spPr>
          </c:dPt>
          <c:dPt>
            <c:idx val="2865"/>
            <c:spPr>
              <a:solidFill>
                <a:srgbClr val="AEABAB"/>
              </a:solidFill>
            </c:spPr>
          </c:dPt>
          <c:dPt>
            <c:idx val="2866"/>
            <c:spPr>
              <a:solidFill>
                <a:srgbClr val="AEABAB"/>
              </a:solidFill>
            </c:spPr>
          </c:dPt>
          <c:dPt>
            <c:idx val="2867"/>
            <c:spPr>
              <a:solidFill>
                <a:srgbClr val="AEABAB"/>
              </a:solidFill>
            </c:spPr>
          </c:dPt>
          <c:dPt>
            <c:idx val="2868"/>
            <c:spPr>
              <a:solidFill>
                <a:srgbClr val="AEABAB"/>
              </a:solidFill>
            </c:spPr>
          </c:dPt>
          <c:dPt>
            <c:idx val="2869"/>
            <c:spPr>
              <a:solidFill>
                <a:srgbClr val="AEABAB"/>
              </a:solidFill>
            </c:spPr>
          </c:dPt>
          <c:dPt>
            <c:idx val="2870"/>
            <c:spPr>
              <a:solidFill>
                <a:srgbClr val="AEABAB"/>
              </a:solidFill>
            </c:spPr>
          </c:dPt>
          <c:dPt>
            <c:idx val="2871"/>
            <c:spPr>
              <a:solidFill>
                <a:srgbClr val="AEABAB"/>
              </a:solidFill>
            </c:spPr>
          </c:dPt>
          <c:dPt>
            <c:idx val="2872"/>
            <c:spPr>
              <a:solidFill>
                <a:srgbClr val="AEABAB"/>
              </a:solidFill>
            </c:spPr>
          </c:dPt>
          <c:dPt>
            <c:idx val="2873"/>
            <c:spPr>
              <a:solidFill>
                <a:srgbClr val="AEABAB"/>
              </a:solidFill>
            </c:spPr>
          </c:dPt>
          <c:dPt>
            <c:idx val="2874"/>
            <c:spPr>
              <a:solidFill>
                <a:srgbClr val="AEABAB"/>
              </a:solidFill>
            </c:spPr>
          </c:dPt>
          <c:dPt>
            <c:idx val="2875"/>
            <c:spPr>
              <a:solidFill>
                <a:srgbClr val="AEABAB"/>
              </a:solidFill>
            </c:spPr>
          </c:dPt>
          <c:dPt>
            <c:idx val="2876"/>
            <c:spPr>
              <a:solidFill>
                <a:srgbClr val="AEABAB"/>
              </a:solidFill>
            </c:spPr>
          </c:dPt>
          <c:dPt>
            <c:idx val="2877"/>
            <c:spPr>
              <a:solidFill>
                <a:srgbClr val="AEABAB"/>
              </a:solidFill>
            </c:spPr>
          </c:dPt>
          <c:dPt>
            <c:idx val="2878"/>
            <c:spPr>
              <a:solidFill>
                <a:srgbClr val="AEABAB"/>
              </a:solidFill>
            </c:spPr>
          </c:dPt>
          <c:dPt>
            <c:idx val="2879"/>
            <c:spPr>
              <a:solidFill>
                <a:srgbClr val="AEABAB"/>
              </a:solidFill>
            </c:spPr>
          </c:dPt>
          <c:dPt>
            <c:idx val="2880"/>
            <c:spPr>
              <a:solidFill>
                <a:srgbClr val="AEABAB"/>
              </a:solidFill>
            </c:spPr>
          </c:dPt>
          <c:dPt>
            <c:idx val="2881"/>
            <c:spPr>
              <a:solidFill>
                <a:srgbClr val="AEABAB"/>
              </a:solidFill>
            </c:spPr>
          </c:dPt>
          <c:dPt>
            <c:idx val="2882"/>
            <c:spPr>
              <a:solidFill>
                <a:srgbClr val="AEABAB"/>
              </a:solidFill>
            </c:spPr>
          </c:dPt>
          <c:dPt>
            <c:idx val="2883"/>
            <c:spPr>
              <a:solidFill>
                <a:srgbClr val="AEABAB"/>
              </a:solidFill>
            </c:spPr>
          </c:dPt>
          <c:dPt>
            <c:idx val="2884"/>
            <c:spPr>
              <a:solidFill>
                <a:srgbClr val="AEABAB"/>
              </a:solidFill>
            </c:spPr>
          </c:dPt>
          <c:dPt>
            <c:idx val="2885"/>
            <c:spPr>
              <a:solidFill>
                <a:srgbClr val="AEABAB"/>
              </a:solidFill>
            </c:spPr>
          </c:dPt>
          <c:dPt>
            <c:idx val="2886"/>
            <c:spPr>
              <a:solidFill>
                <a:srgbClr val="AEABAB"/>
              </a:solidFill>
            </c:spPr>
          </c:dPt>
          <c:dPt>
            <c:idx val="2887"/>
            <c:spPr>
              <a:solidFill>
                <a:srgbClr val="AEABAB"/>
              </a:solidFill>
            </c:spPr>
          </c:dPt>
          <c:dPt>
            <c:idx val="2888"/>
            <c:spPr>
              <a:solidFill>
                <a:srgbClr val="AEABAB"/>
              </a:solidFill>
            </c:spPr>
          </c:dPt>
          <c:dPt>
            <c:idx val="2889"/>
            <c:spPr>
              <a:solidFill>
                <a:srgbClr val="AEABAB"/>
              </a:solidFill>
            </c:spPr>
          </c:dPt>
          <c:dPt>
            <c:idx val="2890"/>
            <c:spPr>
              <a:solidFill>
                <a:srgbClr val="AEABAB"/>
              </a:solidFill>
            </c:spPr>
          </c:dPt>
          <c:dPt>
            <c:idx val="2891"/>
            <c:spPr>
              <a:solidFill>
                <a:srgbClr val="AEABAB"/>
              </a:solidFill>
            </c:spPr>
          </c:dPt>
          <c:dPt>
            <c:idx val="2892"/>
            <c:spPr>
              <a:solidFill>
                <a:srgbClr val="AEABAB"/>
              </a:solidFill>
            </c:spPr>
          </c:dPt>
          <c:dPt>
            <c:idx val="2893"/>
            <c:spPr>
              <a:solidFill>
                <a:srgbClr val="AEABAB"/>
              </a:solidFill>
            </c:spPr>
          </c:dPt>
          <c:dPt>
            <c:idx val="2894"/>
            <c:spPr>
              <a:solidFill>
                <a:srgbClr val="AEABAB"/>
              </a:solidFill>
            </c:spPr>
          </c:dPt>
          <c:dPt>
            <c:idx val="2895"/>
            <c:spPr>
              <a:solidFill>
                <a:srgbClr val="AEABAB"/>
              </a:solidFill>
            </c:spPr>
          </c:dPt>
          <c:dPt>
            <c:idx val="2896"/>
            <c:spPr>
              <a:solidFill>
                <a:srgbClr val="AEABAB"/>
              </a:solidFill>
            </c:spPr>
          </c:dPt>
          <c:dPt>
            <c:idx val="2897"/>
            <c:spPr>
              <a:solidFill>
                <a:srgbClr val="AEABAB"/>
              </a:solidFill>
            </c:spPr>
          </c:dPt>
          <c:dPt>
            <c:idx val="2898"/>
            <c:spPr>
              <a:solidFill>
                <a:srgbClr val="AEABAB"/>
              </a:solidFill>
            </c:spPr>
          </c:dPt>
          <c:dPt>
            <c:idx val="2899"/>
            <c:spPr>
              <a:solidFill>
                <a:srgbClr val="AEABAB"/>
              </a:solidFill>
            </c:spPr>
          </c:dPt>
          <c:dPt>
            <c:idx val="2900"/>
            <c:spPr>
              <a:solidFill>
                <a:srgbClr val="AEABAB"/>
              </a:solidFill>
            </c:spPr>
          </c:dPt>
          <c:dPt>
            <c:idx val="2901"/>
            <c:spPr>
              <a:solidFill>
                <a:srgbClr val="AEABAB"/>
              </a:solidFill>
            </c:spPr>
          </c:dPt>
          <c:dPt>
            <c:idx val="2902"/>
            <c:spPr>
              <a:solidFill>
                <a:srgbClr val="AEABAB"/>
              </a:solidFill>
            </c:spPr>
          </c:dPt>
          <c:dPt>
            <c:idx val="2903"/>
            <c:spPr>
              <a:solidFill>
                <a:srgbClr val="AEABAB"/>
              </a:solidFill>
            </c:spPr>
          </c:dPt>
          <c:dPt>
            <c:idx val="2904"/>
            <c:spPr>
              <a:solidFill>
                <a:srgbClr val="AEABAB"/>
              </a:solidFill>
            </c:spPr>
          </c:dPt>
          <c:dPt>
            <c:idx val="2905"/>
            <c:spPr>
              <a:solidFill>
                <a:srgbClr val="AEABAB"/>
              </a:solidFill>
            </c:spPr>
          </c:dPt>
          <c:dPt>
            <c:idx val="2906"/>
            <c:spPr>
              <a:solidFill>
                <a:srgbClr val="AEABAB"/>
              </a:solidFill>
            </c:spPr>
          </c:dPt>
          <c:dPt>
            <c:idx val="2907"/>
            <c:spPr>
              <a:solidFill>
                <a:srgbClr val="AEABAB"/>
              </a:solidFill>
            </c:spPr>
          </c:dPt>
          <c:dPt>
            <c:idx val="2908"/>
            <c:spPr>
              <a:solidFill>
                <a:srgbClr val="AEABAB"/>
              </a:solidFill>
            </c:spPr>
          </c:dPt>
          <c:dPt>
            <c:idx val="2909"/>
            <c:spPr>
              <a:solidFill>
                <a:srgbClr val="AEABAB"/>
              </a:solidFill>
            </c:spPr>
          </c:dPt>
          <c:dPt>
            <c:idx val="2910"/>
            <c:spPr>
              <a:solidFill>
                <a:srgbClr val="AEABAB"/>
              </a:solidFill>
            </c:spPr>
          </c:dPt>
          <c:dPt>
            <c:idx val="2911"/>
            <c:spPr>
              <a:solidFill>
                <a:srgbClr val="AEABAB"/>
              </a:solidFill>
            </c:spPr>
          </c:dPt>
          <c:dPt>
            <c:idx val="2912"/>
            <c:spPr>
              <a:solidFill>
                <a:srgbClr val="AEABAB"/>
              </a:solidFill>
            </c:spPr>
          </c:dPt>
          <c:dPt>
            <c:idx val="2913"/>
            <c:spPr>
              <a:solidFill>
                <a:srgbClr val="AEABAB"/>
              </a:solidFill>
            </c:spPr>
          </c:dPt>
          <c:dPt>
            <c:idx val="2914"/>
            <c:spPr>
              <a:solidFill>
                <a:srgbClr val="AEABAB"/>
              </a:solidFill>
            </c:spPr>
          </c:dPt>
          <c:dPt>
            <c:idx val="2915"/>
            <c:spPr>
              <a:solidFill>
                <a:srgbClr val="AEABAB"/>
              </a:solidFill>
            </c:spPr>
          </c:dPt>
          <c:dPt>
            <c:idx val="2916"/>
            <c:spPr>
              <a:solidFill>
                <a:srgbClr val="AEABAB"/>
              </a:solidFill>
            </c:spPr>
          </c:dPt>
          <c:dPt>
            <c:idx val="2917"/>
            <c:spPr>
              <a:solidFill>
                <a:srgbClr val="AEABAB"/>
              </a:solidFill>
            </c:spPr>
          </c:dPt>
          <c:dPt>
            <c:idx val="2918"/>
            <c:spPr>
              <a:solidFill>
                <a:srgbClr val="AEABAB"/>
              </a:solidFill>
            </c:spPr>
          </c:dPt>
          <c:dPt>
            <c:idx val="2919"/>
            <c:spPr>
              <a:solidFill>
                <a:srgbClr val="AEABAB"/>
              </a:solidFill>
            </c:spPr>
          </c:dPt>
          <c:dPt>
            <c:idx val="2920"/>
            <c:spPr>
              <a:solidFill>
                <a:srgbClr val="AEABAB"/>
              </a:solidFill>
            </c:spPr>
          </c:dPt>
          <c:dPt>
            <c:idx val="2921"/>
            <c:spPr>
              <a:solidFill>
                <a:srgbClr val="AEABAB"/>
              </a:solidFill>
            </c:spPr>
          </c:dPt>
          <c:dPt>
            <c:idx val="2922"/>
            <c:spPr>
              <a:solidFill>
                <a:srgbClr val="AEABAB"/>
              </a:solidFill>
            </c:spPr>
          </c:dPt>
          <c:dPt>
            <c:idx val="2923"/>
            <c:spPr>
              <a:solidFill>
                <a:srgbClr val="AEABAB"/>
              </a:solidFill>
            </c:spPr>
          </c:dPt>
          <c:dPt>
            <c:idx val="2924"/>
            <c:spPr>
              <a:solidFill>
                <a:srgbClr val="AEABAB"/>
              </a:solidFill>
            </c:spPr>
          </c:dPt>
          <c:dPt>
            <c:idx val="2925"/>
            <c:spPr>
              <a:solidFill>
                <a:srgbClr val="AEABAB"/>
              </a:solidFill>
            </c:spPr>
          </c:dPt>
          <c:dPt>
            <c:idx val="2926"/>
            <c:spPr>
              <a:solidFill>
                <a:srgbClr val="AEABAB"/>
              </a:solidFill>
            </c:spPr>
          </c:dPt>
          <c:dPt>
            <c:idx val="2927"/>
            <c:spPr>
              <a:solidFill>
                <a:srgbClr val="AEABAB"/>
              </a:solidFill>
            </c:spPr>
          </c:dPt>
          <c:dPt>
            <c:idx val="2928"/>
            <c:spPr>
              <a:solidFill>
                <a:srgbClr val="AEABAB"/>
              </a:solidFill>
            </c:spPr>
          </c:dPt>
          <c:dPt>
            <c:idx val="2929"/>
            <c:spPr>
              <a:solidFill>
                <a:srgbClr val="AEABAB"/>
              </a:solidFill>
            </c:spPr>
          </c:dPt>
          <c:dPt>
            <c:idx val="2930"/>
            <c:spPr>
              <a:solidFill>
                <a:srgbClr val="AEABAB"/>
              </a:solidFill>
            </c:spPr>
          </c:dPt>
          <c:dPt>
            <c:idx val="2931"/>
            <c:spPr>
              <a:solidFill>
                <a:srgbClr val="AEABAB"/>
              </a:solidFill>
            </c:spPr>
          </c:dPt>
          <c:dPt>
            <c:idx val="2932"/>
            <c:spPr>
              <a:solidFill>
                <a:srgbClr val="AEABAB"/>
              </a:solidFill>
            </c:spPr>
          </c:dPt>
          <c:dPt>
            <c:idx val="2933"/>
            <c:spPr>
              <a:solidFill>
                <a:srgbClr val="AEABAB"/>
              </a:solidFill>
            </c:spPr>
          </c:dPt>
          <c:dPt>
            <c:idx val="2934"/>
            <c:spPr>
              <a:solidFill>
                <a:srgbClr val="AEABAB"/>
              </a:solidFill>
            </c:spPr>
          </c:dPt>
          <c:dPt>
            <c:idx val="2935"/>
            <c:spPr>
              <a:solidFill>
                <a:srgbClr val="AEABAB"/>
              </a:solidFill>
            </c:spPr>
          </c:dPt>
          <c:dPt>
            <c:idx val="2936"/>
            <c:spPr>
              <a:solidFill>
                <a:srgbClr val="AEABAB"/>
              </a:solidFill>
            </c:spPr>
          </c:dPt>
          <c:dPt>
            <c:idx val="2937"/>
            <c:spPr>
              <a:solidFill>
                <a:srgbClr val="AEABAB"/>
              </a:solidFill>
            </c:spPr>
          </c:dPt>
          <c:dPt>
            <c:idx val="2938"/>
            <c:spPr>
              <a:solidFill>
                <a:srgbClr val="AEABAB"/>
              </a:solidFill>
            </c:spPr>
          </c:dPt>
          <c:dPt>
            <c:idx val="2939"/>
            <c:spPr>
              <a:solidFill>
                <a:srgbClr val="AEABAB"/>
              </a:solidFill>
            </c:spPr>
          </c:dPt>
          <c:dPt>
            <c:idx val="2940"/>
            <c:spPr>
              <a:solidFill>
                <a:srgbClr val="AEABAB"/>
              </a:solidFill>
            </c:spPr>
          </c:dPt>
          <c:dPt>
            <c:idx val="2941"/>
            <c:spPr>
              <a:solidFill>
                <a:srgbClr val="AEABAB"/>
              </a:solidFill>
            </c:spPr>
          </c:dPt>
          <c:dPt>
            <c:idx val="2942"/>
            <c:spPr>
              <a:solidFill>
                <a:srgbClr val="AEABAB"/>
              </a:solidFill>
            </c:spPr>
          </c:dPt>
          <c:dPt>
            <c:idx val="2943"/>
            <c:spPr>
              <a:solidFill>
                <a:srgbClr val="AEABAB"/>
              </a:solidFill>
            </c:spPr>
          </c:dPt>
          <c:dPt>
            <c:idx val="2944"/>
            <c:spPr>
              <a:solidFill>
                <a:srgbClr val="AEABAB"/>
              </a:solidFill>
            </c:spPr>
          </c:dPt>
          <c:dPt>
            <c:idx val="2945"/>
            <c:spPr>
              <a:solidFill>
                <a:srgbClr val="AEABAB"/>
              </a:solidFill>
            </c:spPr>
          </c:dPt>
          <c:dPt>
            <c:idx val="2946"/>
            <c:spPr>
              <a:solidFill>
                <a:srgbClr val="AEABAB"/>
              </a:solidFill>
            </c:spPr>
          </c:dPt>
          <c:dPt>
            <c:idx val="2947"/>
            <c:spPr>
              <a:solidFill>
                <a:srgbClr val="AEABAB"/>
              </a:solidFill>
            </c:spPr>
          </c:dPt>
          <c:dPt>
            <c:idx val="2948"/>
            <c:spPr>
              <a:solidFill>
                <a:srgbClr val="AEABAB"/>
              </a:solidFill>
            </c:spPr>
          </c:dPt>
          <c:dPt>
            <c:idx val="2949"/>
            <c:spPr>
              <a:solidFill>
                <a:srgbClr val="AEABAB"/>
              </a:solidFill>
            </c:spPr>
          </c:dPt>
          <c:dPt>
            <c:idx val="2950"/>
            <c:spPr>
              <a:solidFill>
                <a:srgbClr val="AEABAB"/>
              </a:solidFill>
            </c:spPr>
          </c:dPt>
          <c:dPt>
            <c:idx val="2951"/>
            <c:spPr>
              <a:solidFill>
                <a:srgbClr val="AEABAB"/>
              </a:solidFill>
            </c:spPr>
          </c:dPt>
          <c:dPt>
            <c:idx val="2952"/>
            <c:spPr>
              <a:solidFill>
                <a:srgbClr val="AEABAB"/>
              </a:solidFill>
            </c:spPr>
          </c:dPt>
          <c:dPt>
            <c:idx val="2953"/>
            <c:spPr>
              <a:solidFill>
                <a:srgbClr val="AEABAB"/>
              </a:solidFill>
            </c:spPr>
          </c:dPt>
          <c:dPt>
            <c:idx val="2954"/>
            <c:spPr>
              <a:solidFill>
                <a:srgbClr val="AEABAB"/>
              </a:solidFill>
            </c:spPr>
          </c:dPt>
          <c:dPt>
            <c:idx val="2955"/>
            <c:spPr>
              <a:solidFill>
                <a:srgbClr val="AEABAB"/>
              </a:solidFill>
            </c:spPr>
          </c:dPt>
          <c:dPt>
            <c:idx val="2956"/>
            <c:spPr>
              <a:solidFill>
                <a:srgbClr val="AEABAB"/>
              </a:solidFill>
            </c:spPr>
          </c:dPt>
          <c:dPt>
            <c:idx val="2957"/>
            <c:spPr>
              <a:solidFill>
                <a:srgbClr val="AEABAB"/>
              </a:solidFill>
            </c:spPr>
          </c:dPt>
          <c:dPt>
            <c:idx val="2958"/>
            <c:spPr>
              <a:solidFill>
                <a:srgbClr val="AEABAB"/>
              </a:solidFill>
            </c:spPr>
          </c:dPt>
          <c:dPt>
            <c:idx val="2959"/>
            <c:spPr>
              <a:solidFill>
                <a:srgbClr val="AEABAB"/>
              </a:solidFill>
            </c:spPr>
          </c:dPt>
          <c:dPt>
            <c:idx val="2960"/>
            <c:spPr>
              <a:solidFill>
                <a:srgbClr val="AEABAB"/>
              </a:solidFill>
            </c:spPr>
          </c:dPt>
          <c:dPt>
            <c:idx val="2961"/>
            <c:spPr>
              <a:solidFill>
                <a:srgbClr val="AEABAB"/>
              </a:solidFill>
            </c:spPr>
          </c:dPt>
          <c:dPt>
            <c:idx val="2962"/>
            <c:spPr>
              <a:solidFill>
                <a:srgbClr val="AEABAB"/>
              </a:solidFill>
            </c:spPr>
          </c:dPt>
          <c:dPt>
            <c:idx val="2963"/>
            <c:spPr>
              <a:solidFill>
                <a:srgbClr val="AEABAB"/>
              </a:solidFill>
            </c:spPr>
          </c:dPt>
          <c:dPt>
            <c:idx val="2964"/>
            <c:spPr>
              <a:solidFill>
                <a:srgbClr val="AEABAB"/>
              </a:solidFill>
            </c:spPr>
          </c:dPt>
          <c:dPt>
            <c:idx val="2965"/>
            <c:spPr>
              <a:solidFill>
                <a:srgbClr val="AEABAB"/>
              </a:solidFill>
            </c:spPr>
          </c:dPt>
          <c:dPt>
            <c:idx val="2966"/>
            <c:spPr>
              <a:solidFill>
                <a:srgbClr val="AEABAB"/>
              </a:solidFill>
            </c:spPr>
          </c:dPt>
          <c:dPt>
            <c:idx val="2967"/>
            <c:spPr>
              <a:solidFill>
                <a:srgbClr val="AEABAB"/>
              </a:solidFill>
            </c:spPr>
          </c:dPt>
          <c:dPt>
            <c:idx val="2968"/>
            <c:spPr>
              <a:solidFill>
                <a:srgbClr val="AEABAB"/>
              </a:solidFill>
            </c:spPr>
          </c:dPt>
          <c:dPt>
            <c:idx val="2969"/>
            <c:spPr>
              <a:solidFill>
                <a:srgbClr val="AEABAB"/>
              </a:solidFill>
            </c:spPr>
          </c:dPt>
          <c:dPt>
            <c:idx val="2970"/>
            <c:spPr>
              <a:solidFill>
                <a:srgbClr val="AEABAB"/>
              </a:solidFill>
            </c:spPr>
          </c:dPt>
          <c:dPt>
            <c:idx val="2971"/>
            <c:spPr>
              <a:solidFill>
                <a:srgbClr val="AEABAB"/>
              </a:solidFill>
            </c:spPr>
          </c:dPt>
          <c:dPt>
            <c:idx val="2972"/>
            <c:spPr>
              <a:solidFill>
                <a:srgbClr val="AEABAB"/>
              </a:solidFill>
            </c:spPr>
          </c:dPt>
          <c:dPt>
            <c:idx val="2973"/>
            <c:spPr>
              <a:solidFill>
                <a:srgbClr val="AEABAB"/>
              </a:solidFill>
            </c:spPr>
          </c:dPt>
          <c:dPt>
            <c:idx val="2974"/>
            <c:spPr>
              <a:solidFill>
                <a:srgbClr val="AEABAB"/>
              </a:solidFill>
            </c:spPr>
          </c:dPt>
          <c:dPt>
            <c:idx val="2975"/>
            <c:spPr>
              <a:solidFill>
                <a:srgbClr val="AEABAB"/>
              </a:solidFill>
            </c:spPr>
          </c:dPt>
          <c:dPt>
            <c:idx val="2976"/>
            <c:spPr>
              <a:solidFill>
                <a:srgbClr val="AEABAB"/>
              </a:solidFill>
            </c:spPr>
          </c:dPt>
          <c:dPt>
            <c:idx val="2977"/>
            <c:spPr>
              <a:solidFill>
                <a:srgbClr val="AEABAB"/>
              </a:solidFill>
            </c:spPr>
          </c:dPt>
          <c:dPt>
            <c:idx val="2978"/>
            <c:spPr>
              <a:solidFill>
                <a:srgbClr val="AEABAB"/>
              </a:solidFill>
            </c:spPr>
          </c:dPt>
          <c:dPt>
            <c:idx val="2979"/>
            <c:spPr>
              <a:solidFill>
                <a:srgbClr val="AEABAB"/>
              </a:solidFill>
            </c:spPr>
          </c:dPt>
          <c:dPt>
            <c:idx val="2980"/>
            <c:spPr>
              <a:solidFill>
                <a:srgbClr val="AEABAB"/>
              </a:solidFill>
            </c:spPr>
          </c:dPt>
          <c:dPt>
            <c:idx val="2981"/>
            <c:spPr>
              <a:solidFill>
                <a:srgbClr val="AEABAB"/>
              </a:solidFill>
            </c:spPr>
          </c:dPt>
          <c:dPt>
            <c:idx val="2982"/>
            <c:spPr>
              <a:solidFill>
                <a:srgbClr val="AEABAB"/>
              </a:solidFill>
            </c:spPr>
          </c:dPt>
          <c:dPt>
            <c:idx val="2983"/>
            <c:spPr>
              <a:solidFill>
                <a:srgbClr val="AEABAB"/>
              </a:solidFill>
            </c:spPr>
          </c:dPt>
          <c:dPt>
            <c:idx val="2984"/>
            <c:spPr>
              <a:solidFill>
                <a:srgbClr val="AEABAB"/>
              </a:solidFill>
            </c:spPr>
          </c:dPt>
          <c:dPt>
            <c:idx val="2985"/>
            <c:spPr>
              <a:solidFill>
                <a:srgbClr val="AEABAB"/>
              </a:solidFill>
            </c:spPr>
          </c:dPt>
          <c:dPt>
            <c:idx val="2986"/>
            <c:spPr>
              <a:solidFill>
                <a:srgbClr val="AEABAB"/>
              </a:solidFill>
            </c:spPr>
          </c:dPt>
          <c:dPt>
            <c:idx val="2987"/>
            <c:spPr>
              <a:solidFill>
                <a:srgbClr val="AEABAB"/>
              </a:solidFill>
            </c:spPr>
          </c:dPt>
          <c:dPt>
            <c:idx val="2988"/>
            <c:spPr>
              <a:solidFill>
                <a:srgbClr val="AEABAB"/>
              </a:solidFill>
            </c:spPr>
          </c:dPt>
          <c:dPt>
            <c:idx val="2989"/>
            <c:spPr>
              <a:solidFill>
                <a:srgbClr val="AEABAB"/>
              </a:solidFill>
            </c:spPr>
          </c:dPt>
          <c:dPt>
            <c:idx val="2990"/>
            <c:spPr>
              <a:solidFill>
                <a:srgbClr val="AEABAB"/>
              </a:solidFill>
            </c:spPr>
          </c:dPt>
          <c:dPt>
            <c:idx val="2991"/>
            <c:spPr>
              <a:solidFill>
                <a:srgbClr val="AEABAB"/>
              </a:solidFill>
            </c:spPr>
          </c:dPt>
          <c:dPt>
            <c:idx val="2992"/>
            <c:spPr>
              <a:solidFill>
                <a:srgbClr val="AEABAB"/>
              </a:solidFill>
            </c:spPr>
          </c:dPt>
          <c:dPt>
            <c:idx val="2993"/>
            <c:spPr>
              <a:solidFill>
                <a:srgbClr val="AEABAB"/>
              </a:solidFill>
            </c:spPr>
          </c:dPt>
          <c:dPt>
            <c:idx val="2994"/>
            <c:spPr>
              <a:solidFill>
                <a:srgbClr val="AEABAB"/>
              </a:solidFill>
            </c:spPr>
          </c:dPt>
          <c:dPt>
            <c:idx val="2995"/>
            <c:spPr>
              <a:solidFill>
                <a:srgbClr val="AEABAB"/>
              </a:solidFill>
            </c:spPr>
          </c:dPt>
          <c:dPt>
            <c:idx val="2996"/>
            <c:spPr>
              <a:solidFill>
                <a:srgbClr val="AEABAB"/>
              </a:solidFill>
            </c:spPr>
          </c:dPt>
          <c:dPt>
            <c:idx val="2997"/>
            <c:spPr>
              <a:solidFill>
                <a:srgbClr val="AEABAB"/>
              </a:solidFill>
            </c:spPr>
          </c:dPt>
          <c:dPt>
            <c:idx val="2998"/>
            <c:spPr>
              <a:solidFill>
                <a:srgbClr val="AEABAB"/>
              </a:solidFill>
            </c:spPr>
          </c:dPt>
          <c:dPt>
            <c:idx val="2999"/>
            <c:spPr>
              <a:solidFill>
                <a:srgbClr val="AEABAB"/>
              </a:solidFill>
            </c:spPr>
          </c:dPt>
          <c:dPt>
            <c:idx val="3000"/>
            <c:spPr>
              <a:solidFill>
                <a:srgbClr val="AEABAB"/>
              </a:solidFill>
            </c:spPr>
          </c:dPt>
          <c:dPt>
            <c:idx val="3001"/>
            <c:spPr>
              <a:solidFill>
                <a:srgbClr val="AEABAB"/>
              </a:solidFill>
            </c:spPr>
          </c:dPt>
          <c:dPt>
            <c:idx val="3002"/>
            <c:spPr>
              <a:solidFill>
                <a:srgbClr val="AEABAB"/>
              </a:solidFill>
            </c:spPr>
          </c:dPt>
          <c:dPt>
            <c:idx val="3003"/>
            <c:spPr>
              <a:solidFill>
                <a:srgbClr val="AEABAB"/>
              </a:solidFill>
            </c:spPr>
          </c:dPt>
          <c:dPt>
            <c:idx val="3004"/>
            <c:spPr>
              <a:solidFill>
                <a:srgbClr val="AEABAB"/>
              </a:solidFill>
            </c:spPr>
          </c:dPt>
          <c:dPt>
            <c:idx val="3005"/>
            <c:spPr>
              <a:solidFill>
                <a:srgbClr val="AEABAB"/>
              </a:solidFill>
            </c:spPr>
          </c:dPt>
          <c:dPt>
            <c:idx val="3006"/>
            <c:spPr>
              <a:solidFill>
                <a:srgbClr val="AEABAB"/>
              </a:solidFill>
            </c:spPr>
          </c:dPt>
          <c:dPt>
            <c:idx val="3007"/>
            <c:spPr>
              <a:solidFill>
                <a:srgbClr val="AEABAB"/>
              </a:solidFill>
            </c:spPr>
          </c:dPt>
          <c:dPt>
            <c:idx val="3008"/>
            <c:spPr>
              <a:solidFill>
                <a:srgbClr val="AEABAB"/>
              </a:solidFill>
            </c:spPr>
          </c:dPt>
          <c:dPt>
            <c:idx val="3009"/>
            <c:spPr>
              <a:solidFill>
                <a:srgbClr val="AEABAB"/>
              </a:solidFill>
            </c:spPr>
          </c:dPt>
          <c:dPt>
            <c:idx val="3010"/>
            <c:spPr>
              <a:solidFill>
                <a:srgbClr val="AEABAB"/>
              </a:solidFill>
            </c:spPr>
          </c:dPt>
          <c:dPt>
            <c:idx val="3011"/>
            <c:spPr>
              <a:solidFill>
                <a:srgbClr val="AEABAB"/>
              </a:solidFill>
            </c:spPr>
          </c:dPt>
          <c:dPt>
            <c:idx val="3012"/>
            <c:spPr>
              <a:solidFill>
                <a:srgbClr val="AEABAB"/>
              </a:solidFill>
            </c:spPr>
          </c:dPt>
          <c:dPt>
            <c:idx val="3013"/>
            <c:spPr>
              <a:solidFill>
                <a:srgbClr val="AEABAB"/>
              </a:solidFill>
            </c:spPr>
          </c:dPt>
          <c:dPt>
            <c:idx val="3014"/>
            <c:spPr>
              <a:solidFill>
                <a:srgbClr val="AEABAB"/>
              </a:solidFill>
            </c:spPr>
          </c:dPt>
          <c:dPt>
            <c:idx val="3015"/>
            <c:spPr>
              <a:solidFill>
                <a:srgbClr val="AEABAB"/>
              </a:solidFill>
            </c:spPr>
          </c:dPt>
          <c:dPt>
            <c:idx val="3016"/>
            <c:spPr>
              <a:solidFill>
                <a:srgbClr val="AEABAB"/>
              </a:solidFill>
            </c:spPr>
          </c:dPt>
          <c:dPt>
            <c:idx val="3017"/>
            <c:spPr>
              <a:solidFill>
                <a:srgbClr val="AEABAB"/>
              </a:solidFill>
            </c:spPr>
          </c:dPt>
          <c:dPt>
            <c:idx val="3018"/>
            <c:spPr>
              <a:solidFill>
                <a:srgbClr val="AEABAB"/>
              </a:solidFill>
            </c:spPr>
          </c:dPt>
          <c:dPt>
            <c:idx val="3019"/>
            <c:spPr>
              <a:solidFill>
                <a:srgbClr val="AEABAB"/>
              </a:solidFill>
            </c:spPr>
          </c:dPt>
          <c:dPt>
            <c:idx val="3020"/>
            <c:spPr>
              <a:solidFill>
                <a:srgbClr val="AEABAB"/>
              </a:solidFill>
            </c:spPr>
          </c:dPt>
          <c:dPt>
            <c:idx val="3021"/>
            <c:spPr>
              <a:solidFill>
                <a:srgbClr val="AEABAB"/>
              </a:solidFill>
            </c:spPr>
          </c:dPt>
          <c:dPt>
            <c:idx val="3022"/>
            <c:spPr>
              <a:solidFill>
                <a:srgbClr val="AEABAB"/>
              </a:solidFill>
            </c:spPr>
          </c:dPt>
          <c:dPt>
            <c:idx val="3023"/>
            <c:spPr>
              <a:solidFill>
                <a:srgbClr val="AEABAB"/>
              </a:solidFill>
            </c:spPr>
          </c:dPt>
          <c:dPt>
            <c:idx val="3024"/>
            <c:spPr>
              <a:solidFill>
                <a:srgbClr val="AEABAB"/>
              </a:solidFill>
            </c:spPr>
          </c:dPt>
          <c:dPt>
            <c:idx val="3025"/>
            <c:spPr>
              <a:solidFill>
                <a:srgbClr val="AEABAB"/>
              </a:solidFill>
            </c:spPr>
          </c:dPt>
          <c:dPt>
            <c:idx val="3026"/>
            <c:spPr>
              <a:solidFill>
                <a:srgbClr val="AEABAB"/>
              </a:solidFill>
            </c:spPr>
          </c:dPt>
          <c:dPt>
            <c:idx val="3027"/>
            <c:spPr>
              <a:solidFill>
                <a:srgbClr val="AEABAB"/>
              </a:solidFill>
            </c:spPr>
          </c:dPt>
          <c:dPt>
            <c:idx val="3028"/>
            <c:spPr>
              <a:solidFill>
                <a:srgbClr val="AEABAB"/>
              </a:solidFill>
            </c:spPr>
          </c:dPt>
          <c:dPt>
            <c:idx val="3029"/>
            <c:spPr>
              <a:solidFill>
                <a:srgbClr val="AEABAB"/>
              </a:solidFill>
            </c:spPr>
          </c:dPt>
          <c:dPt>
            <c:idx val="3030"/>
            <c:spPr>
              <a:solidFill>
                <a:srgbClr val="AEABAB"/>
              </a:solidFill>
            </c:spPr>
          </c:dPt>
          <c:dPt>
            <c:idx val="3031"/>
            <c:spPr>
              <a:solidFill>
                <a:srgbClr val="AEABAB"/>
              </a:solidFill>
            </c:spPr>
          </c:dPt>
          <c:dPt>
            <c:idx val="3032"/>
            <c:spPr>
              <a:solidFill>
                <a:srgbClr val="AEABAB"/>
              </a:solidFill>
            </c:spPr>
          </c:dPt>
          <c:dPt>
            <c:idx val="3033"/>
            <c:spPr>
              <a:solidFill>
                <a:srgbClr val="AEABAB"/>
              </a:solidFill>
            </c:spPr>
          </c:dPt>
          <c:dPt>
            <c:idx val="3034"/>
            <c:spPr>
              <a:solidFill>
                <a:srgbClr val="AEABAB"/>
              </a:solidFill>
            </c:spPr>
          </c:dPt>
          <c:dPt>
            <c:idx val="3035"/>
            <c:spPr>
              <a:solidFill>
                <a:srgbClr val="AEABAB"/>
              </a:solidFill>
            </c:spPr>
          </c:dPt>
          <c:dPt>
            <c:idx val="3036"/>
            <c:spPr>
              <a:solidFill>
                <a:srgbClr val="AEABAB"/>
              </a:solidFill>
            </c:spPr>
          </c:dPt>
          <c:dPt>
            <c:idx val="3037"/>
            <c:spPr>
              <a:solidFill>
                <a:srgbClr val="AEABAB"/>
              </a:solidFill>
            </c:spPr>
          </c:dPt>
          <c:dPt>
            <c:idx val="3038"/>
            <c:spPr>
              <a:solidFill>
                <a:srgbClr val="AEABAB"/>
              </a:solidFill>
            </c:spPr>
          </c:dPt>
          <c:dPt>
            <c:idx val="3039"/>
            <c:spPr>
              <a:solidFill>
                <a:srgbClr val="AEABAB"/>
              </a:solidFill>
            </c:spPr>
          </c:dPt>
          <c:dPt>
            <c:idx val="3040"/>
            <c:spPr>
              <a:solidFill>
                <a:srgbClr val="AEABAB"/>
              </a:solidFill>
            </c:spPr>
          </c:dPt>
          <c:dPt>
            <c:idx val="3041"/>
            <c:spPr>
              <a:solidFill>
                <a:srgbClr val="AEABAB"/>
              </a:solidFill>
            </c:spPr>
          </c:dPt>
          <c:dPt>
            <c:idx val="3042"/>
            <c:spPr>
              <a:solidFill>
                <a:srgbClr val="AEABAB"/>
              </a:solidFill>
            </c:spPr>
          </c:dPt>
          <c:dPt>
            <c:idx val="3043"/>
            <c:spPr>
              <a:solidFill>
                <a:srgbClr val="AEABAB"/>
              </a:solidFill>
            </c:spPr>
          </c:dPt>
          <c:dPt>
            <c:idx val="3044"/>
            <c:spPr>
              <a:solidFill>
                <a:srgbClr val="AEABAB"/>
              </a:solidFill>
            </c:spPr>
          </c:dPt>
          <c:dPt>
            <c:idx val="3045"/>
            <c:spPr>
              <a:solidFill>
                <a:srgbClr val="AEABAB"/>
              </a:solidFill>
            </c:spPr>
          </c:dPt>
          <c:dPt>
            <c:idx val="3046"/>
            <c:spPr>
              <a:solidFill>
                <a:srgbClr val="AEABAB"/>
              </a:solidFill>
            </c:spPr>
          </c:dPt>
          <c:dPt>
            <c:idx val="3047"/>
            <c:spPr>
              <a:solidFill>
                <a:srgbClr val="AEABAB"/>
              </a:solidFill>
            </c:spPr>
          </c:dPt>
          <c:dPt>
            <c:idx val="3048"/>
            <c:spPr>
              <a:solidFill>
                <a:srgbClr val="AEABAB"/>
              </a:solidFill>
            </c:spPr>
          </c:dPt>
          <c:dPt>
            <c:idx val="3049"/>
            <c:spPr>
              <a:solidFill>
                <a:srgbClr val="AEABAB"/>
              </a:solidFill>
            </c:spPr>
          </c:dPt>
          <c:dPt>
            <c:idx val="3050"/>
            <c:spPr>
              <a:solidFill>
                <a:srgbClr val="AEABAB"/>
              </a:solidFill>
            </c:spPr>
          </c:dPt>
          <c:dPt>
            <c:idx val="3051"/>
            <c:spPr>
              <a:solidFill>
                <a:srgbClr val="AEABAB"/>
              </a:solidFill>
            </c:spPr>
          </c:dPt>
          <c:dPt>
            <c:idx val="3052"/>
            <c:spPr>
              <a:solidFill>
                <a:srgbClr val="AEABAB"/>
              </a:solidFill>
            </c:spPr>
          </c:dPt>
          <c:dPt>
            <c:idx val="3053"/>
            <c:spPr>
              <a:solidFill>
                <a:srgbClr val="AEABAB"/>
              </a:solidFill>
            </c:spPr>
          </c:dPt>
          <c:dPt>
            <c:idx val="3054"/>
            <c:spPr>
              <a:solidFill>
                <a:srgbClr val="AEABAB"/>
              </a:solidFill>
            </c:spPr>
          </c:dPt>
          <c:dPt>
            <c:idx val="3055"/>
            <c:spPr>
              <a:solidFill>
                <a:srgbClr val="AEABAB"/>
              </a:solidFill>
            </c:spPr>
          </c:dPt>
          <c:dPt>
            <c:idx val="3056"/>
            <c:spPr>
              <a:solidFill>
                <a:srgbClr val="AEABAB"/>
              </a:solidFill>
            </c:spPr>
          </c:dPt>
          <c:dPt>
            <c:idx val="3057"/>
            <c:spPr>
              <a:solidFill>
                <a:srgbClr val="AEABAB"/>
              </a:solidFill>
            </c:spPr>
          </c:dPt>
          <c:dPt>
            <c:idx val="3058"/>
            <c:spPr>
              <a:solidFill>
                <a:srgbClr val="AEABAB"/>
              </a:solidFill>
            </c:spPr>
          </c:dPt>
          <c:dPt>
            <c:idx val="3059"/>
            <c:spPr>
              <a:solidFill>
                <a:srgbClr val="AEABAB"/>
              </a:solidFill>
            </c:spPr>
          </c:dPt>
          <c:dPt>
            <c:idx val="3060"/>
            <c:spPr>
              <a:solidFill>
                <a:srgbClr val="AEABAB"/>
              </a:solidFill>
            </c:spPr>
          </c:dPt>
          <c:dPt>
            <c:idx val="3061"/>
            <c:spPr>
              <a:solidFill>
                <a:srgbClr val="AEABAB"/>
              </a:solidFill>
            </c:spPr>
          </c:dPt>
          <c:dPt>
            <c:idx val="3062"/>
            <c:spPr>
              <a:solidFill>
                <a:srgbClr val="AEABAB"/>
              </a:solidFill>
            </c:spPr>
          </c:dPt>
          <c:dPt>
            <c:idx val="3063"/>
            <c:spPr>
              <a:solidFill>
                <a:srgbClr val="AEABAB"/>
              </a:solidFill>
            </c:spPr>
          </c:dPt>
          <c:dPt>
            <c:idx val="3064"/>
            <c:spPr>
              <a:solidFill>
                <a:srgbClr val="AEABAB"/>
              </a:solidFill>
            </c:spPr>
          </c:dPt>
          <c:dPt>
            <c:idx val="3065"/>
            <c:spPr>
              <a:solidFill>
                <a:srgbClr val="AEABAB"/>
              </a:solidFill>
            </c:spPr>
          </c:dPt>
          <c:dPt>
            <c:idx val="3066"/>
            <c:spPr>
              <a:solidFill>
                <a:srgbClr val="AEABAB"/>
              </a:solidFill>
            </c:spPr>
          </c:dPt>
          <c:dPt>
            <c:idx val="3067"/>
            <c:spPr>
              <a:solidFill>
                <a:srgbClr val="AEABAB"/>
              </a:solidFill>
            </c:spPr>
          </c:dPt>
          <c:dPt>
            <c:idx val="3068"/>
            <c:spPr>
              <a:solidFill>
                <a:srgbClr val="AEABAB"/>
              </a:solidFill>
            </c:spPr>
          </c:dPt>
          <c:dPt>
            <c:idx val="3069"/>
            <c:spPr>
              <a:solidFill>
                <a:srgbClr val="AEABAB"/>
              </a:solidFill>
            </c:spPr>
          </c:dPt>
          <c:dPt>
            <c:idx val="3070"/>
            <c:spPr>
              <a:solidFill>
                <a:srgbClr val="AEABAB"/>
              </a:solidFill>
            </c:spPr>
          </c:dPt>
          <c:dPt>
            <c:idx val="3071"/>
            <c:spPr>
              <a:solidFill>
                <a:srgbClr val="AEABAB"/>
              </a:solidFill>
            </c:spPr>
          </c:dPt>
          <c:dPt>
            <c:idx val="3072"/>
            <c:spPr>
              <a:solidFill>
                <a:srgbClr val="AEABAB"/>
              </a:solidFill>
            </c:spPr>
          </c:dPt>
          <c:dPt>
            <c:idx val="3073"/>
            <c:spPr>
              <a:solidFill>
                <a:srgbClr val="AEABAB"/>
              </a:solidFill>
            </c:spPr>
          </c:dPt>
          <c:dPt>
            <c:idx val="3074"/>
            <c:spPr>
              <a:solidFill>
                <a:srgbClr val="AEABAB"/>
              </a:solidFill>
            </c:spPr>
          </c:dPt>
          <c:dPt>
            <c:idx val="3075"/>
            <c:spPr>
              <a:solidFill>
                <a:srgbClr val="AEABAB"/>
              </a:solidFill>
            </c:spPr>
          </c:dPt>
          <c:dPt>
            <c:idx val="3076"/>
            <c:spPr>
              <a:solidFill>
                <a:srgbClr val="AEABAB"/>
              </a:solidFill>
            </c:spPr>
          </c:dPt>
          <c:dPt>
            <c:idx val="3077"/>
            <c:spPr>
              <a:solidFill>
                <a:srgbClr val="AEABAB"/>
              </a:solidFill>
            </c:spPr>
          </c:dPt>
          <c:dPt>
            <c:idx val="3078"/>
            <c:spPr>
              <a:solidFill>
                <a:srgbClr val="AEABAB"/>
              </a:solidFill>
            </c:spPr>
          </c:dPt>
          <c:dPt>
            <c:idx val="3079"/>
            <c:spPr>
              <a:solidFill>
                <a:srgbClr val="AEABAB"/>
              </a:solidFill>
            </c:spPr>
          </c:dPt>
          <c:dPt>
            <c:idx val="3080"/>
            <c:spPr>
              <a:solidFill>
                <a:srgbClr val="AEABAB"/>
              </a:solidFill>
            </c:spPr>
          </c:dPt>
          <c:dPt>
            <c:idx val="3081"/>
            <c:spPr>
              <a:solidFill>
                <a:srgbClr val="AEABAB"/>
              </a:solidFill>
            </c:spPr>
          </c:dPt>
          <c:dPt>
            <c:idx val="3082"/>
            <c:spPr>
              <a:solidFill>
                <a:srgbClr val="AEABAB"/>
              </a:solidFill>
            </c:spPr>
          </c:dPt>
          <c:dPt>
            <c:idx val="3083"/>
            <c:spPr>
              <a:solidFill>
                <a:srgbClr val="AEABAB"/>
              </a:solidFill>
            </c:spPr>
          </c:dPt>
          <c:dPt>
            <c:idx val="3084"/>
            <c:spPr>
              <a:solidFill>
                <a:srgbClr val="AEABAB"/>
              </a:solidFill>
            </c:spPr>
          </c:dPt>
          <c:dPt>
            <c:idx val="3085"/>
            <c:spPr>
              <a:solidFill>
                <a:srgbClr val="AEABAB"/>
              </a:solidFill>
            </c:spPr>
          </c:dPt>
          <c:dPt>
            <c:idx val="3086"/>
            <c:spPr>
              <a:solidFill>
                <a:srgbClr val="AEABAB"/>
              </a:solidFill>
            </c:spPr>
          </c:dPt>
          <c:dPt>
            <c:idx val="3087"/>
            <c:spPr>
              <a:solidFill>
                <a:srgbClr val="AEABAB"/>
              </a:solidFill>
            </c:spPr>
          </c:dPt>
          <c:dPt>
            <c:idx val="3088"/>
            <c:spPr>
              <a:solidFill>
                <a:srgbClr val="AEABAB"/>
              </a:solidFill>
            </c:spPr>
          </c:dPt>
          <c:dPt>
            <c:idx val="3089"/>
            <c:spPr>
              <a:solidFill>
                <a:srgbClr val="AEABAB"/>
              </a:solidFill>
            </c:spPr>
          </c:dPt>
          <c:dPt>
            <c:idx val="3090"/>
            <c:spPr>
              <a:solidFill>
                <a:srgbClr val="AEABAB"/>
              </a:solidFill>
            </c:spPr>
          </c:dPt>
          <c:dPt>
            <c:idx val="3091"/>
            <c:spPr>
              <a:solidFill>
                <a:srgbClr val="AEABAB"/>
              </a:solidFill>
            </c:spPr>
          </c:dPt>
          <c:dPt>
            <c:idx val="3092"/>
            <c:spPr>
              <a:solidFill>
                <a:srgbClr val="AEABAB"/>
              </a:solidFill>
            </c:spPr>
          </c:dPt>
          <c:dPt>
            <c:idx val="3093"/>
            <c:spPr>
              <a:solidFill>
                <a:srgbClr val="AEABAB"/>
              </a:solidFill>
            </c:spPr>
          </c:dPt>
          <c:dPt>
            <c:idx val="3094"/>
            <c:spPr>
              <a:solidFill>
                <a:srgbClr val="AEABAB"/>
              </a:solidFill>
            </c:spPr>
          </c:dPt>
          <c:dPt>
            <c:idx val="3095"/>
            <c:spPr>
              <a:solidFill>
                <a:srgbClr val="AEABAB"/>
              </a:solidFill>
            </c:spPr>
          </c:dPt>
          <c:dPt>
            <c:idx val="3096"/>
            <c:spPr>
              <a:solidFill>
                <a:srgbClr val="AEABAB"/>
              </a:solidFill>
            </c:spPr>
          </c:dPt>
          <c:dPt>
            <c:idx val="3097"/>
            <c:spPr>
              <a:solidFill>
                <a:srgbClr val="AEABAB"/>
              </a:solidFill>
            </c:spPr>
          </c:dPt>
          <c:dPt>
            <c:idx val="3098"/>
            <c:spPr>
              <a:solidFill>
                <a:srgbClr val="AEABAB"/>
              </a:solidFill>
            </c:spPr>
          </c:dPt>
          <c:dPt>
            <c:idx val="3099"/>
            <c:spPr>
              <a:solidFill>
                <a:srgbClr val="AEABAB"/>
              </a:solidFill>
            </c:spPr>
          </c:dPt>
          <c:dPt>
            <c:idx val="3100"/>
            <c:spPr>
              <a:solidFill>
                <a:srgbClr val="AEABAB"/>
              </a:solidFill>
            </c:spPr>
          </c:dPt>
          <c:dPt>
            <c:idx val="3101"/>
            <c:spPr>
              <a:solidFill>
                <a:srgbClr val="AEABAB"/>
              </a:solidFill>
            </c:spPr>
          </c:dPt>
          <c:dPt>
            <c:idx val="3102"/>
            <c:spPr>
              <a:solidFill>
                <a:srgbClr val="AEABAB"/>
              </a:solidFill>
            </c:spPr>
          </c:dPt>
          <c:dPt>
            <c:idx val="3103"/>
            <c:spPr>
              <a:solidFill>
                <a:srgbClr val="AEABAB"/>
              </a:solidFill>
            </c:spPr>
          </c:dPt>
          <c:dPt>
            <c:idx val="3104"/>
            <c:spPr>
              <a:solidFill>
                <a:srgbClr val="AEABAB"/>
              </a:solidFill>
            </c:spPr>
          </c:dPt>
          <c:dPt>
            <c:idx val="3105"/>
            <c:spPr>
              <a:solidFill>
                <a:srgbClr val="AEABAB"/>
              </a:solidFill>
            </c:spPr>
          </c:dPt>
          <c:dPt>
            <c:idx val="3106"/>
            <c:spPr>
              <a:solidFill>
                <a:srgbClr val="AEABAB"/>
              </a:solidFill>
            </c:spPr>
          </c:dPt>
          <c:dPt>
            <c:idx val="3107"/>
            <c:spPr>
              <a:solidFill>
                <a:srgbClr val="AEABAB"/>
              </a:solidFill>
            </c:spPr>
          </c:dPt>
          <c:dPt>
            <c:idx val="3108"/>
            <c:spPr>
              <a:solidFill>
                <a:srgbClr val="AEABAB"/>
              </a:solidFill>
            </c:spPr>
          </c:dPt>
          <c:dPt>
            <c:idx val="3109"/>
            <c:spPr>
              <a:solidFill>
                <a:srgbClr val="AEABAB"/>
              </a:solidFill>
            </c:spPr>
          </c:dPt>
          <c:dPt>
            <c:idx val="3110"/>
            <c:spPr>
              <a:solidFill>
                <a:srgbClr val="AEABAB"/>
              </a:solidFill>
            </c:spPr>
          </c:dPt>
          <c:dPt>
            <c:idx val="3111"/>
            <c:spPr>
              <a:solidFill>
                <a:srgbClr val="AEABAB"/>
              </a:solidFill>
            </c:spPr>
          </c:dPt>
          <c:dPt>
            <c:idx val="3112"/>
            <c:spPr>
              <a:solidFill>
                <a:srgbClr val="AEABAB"/>
              </a:solidFill>
            </c:spPr>
          </c:dPt>
          <c:dPt>
            <c:idx val="3113"/>
            <c:spPr>
              <a:solidFill>
                <a:srgbClr val="AEABAB"/>
              </a:solidFill>
            </c:spPr>
          </c:dPt>
          <c:dPt>
            <c:idx val="3114"/>
            <c:spPr>
              <a:solidFill>
                <a:srgbClr val="AEABAB"/>
              </a:solidFill>
            </c:spPr>
          </c:dPt>
          <c:dPt>
            <c:idx val="3115"/>
            <c:spPr>
              <a:solidFill>
                <a:srgbClr val="AEABAB"/>
              </a:solidFill>
            </c:spPr>
          </c:dPt>
          <c:dPt>
            <c:idx val="3116"/>
            <c:spPr>
              <a:solidFill>
                <a:srgbClr val="AEABAB"/>
              </a:solidFill>
            </c:spPr>
          </c:dPt>
          <c:dPt>
            <c:idx val="3117"/>
            <c:spPr>
              <a:solidFill>
                <a:srgbClr val="AEABAB"/>
              </a:solidFill>
            </c:spPr>
          </c:dPt>
          <c:dPt>
            <c:idx val="3118"/>
            <c:spPr>
              <a:solidFill>
                <a:srgbClr val="AEABAB"/>
              </a:solidFill>
            </c:spPr>
          </c:dPt>
          <c:dPt>
            <c:idx val="3119"/>
            <c:spPr>
              <a:solidFill>
                <a:srgbClr val="AEABAB"/>
              </a:solidFill>
            </c:spPr>
          </c:dPt>
          <c:dPt>
            <c:idx val="3120"/>
            <c:spPr>
              <a:solidFill>
                <a:srgbClr val="AEABAB"/>
              </a:solidFill>
            </c:spPr>
          </c:dPt>
          <c:dPt>
            <c:idx val="3121"/>
            <c:spPr>
              <a:solidFill>
                <a:srgbClr val="AEABAB"/>
              </a:solidFill>
            </c:spPr>
          </c:dPt>
          <c:dPt>
            <c:idx val="3122"/>
            <c:spPr>
              <a:solidFill>
                <a:srgbClr val="AEABAB"/>
              </a:solidFill>
            </c:spPr>
          </c:dPt>
          <c:dPt>
            <c:idx val="3123"/>
            <c:spPr>
              <a:solidFill>
                <a:srgbClr val="AEABAB"/>
              </a:solidFill>
            </c:spPr>
          </c:dPt>
          <c:dPt>
            <c:idx val="3124"/>
            <c:spPr>
              <a:solidFill>
                <a:srgbClr val="AEABAB"/>
              </a:solidFill>
            </c:spPr>
          </c:dPt>
          <c:dPt>
            <c:idx val="3125"/>
            <c:spPr>
              <a:solidFill>
                <a:srgbClr val="AEABAB"/>
              </a:solidFill>
            </c:spPr>
          </c:dPt>
          <c:dPt>
            <c:idx val="3126"/>
            <c:spPr>
              <a:solidFill>
                <a:srgbClr val="AEABAB"/>
              </a:solidFill>
            </c:spPr>
          </c:dPt>
          <c:dPt>
            <c:idx val="3127"/>
            <c:spPr>
              <a:solidFill>
                <a:srgbClr val="AEABAB"/>
              </a:solidFill>
            </c:spPr>
          </c:dPt>
          <c:dPt>
            <c:idx val="3128"/>
            <c:spPr>
              <a:solidFill>
                <a:srgbClr val="AEABAB"/>
              </a:solidFill>
            </c:spPr>
          </c:dPt>
          <c:dPt>
            <c:idx val="3129"/>
            <c:spPr>
              <a:solidFill>
                <a:srgbClr val="AEABAB"/>
              </a:solidFill>
            </c:spPr>
          </c:dPt>
          <c:dPt>
            <c:idx val="3130"/>
            <c:spPr>
              <a:solidFill>
                <a:srgbClr val="AEABAB"/>
              </a:solidFill>
            </c:spPr>
          </c:dPt>
          <c:dPt>
            <c:idx val="3131"/>
            <c:spPr>
              <a:solidFill>
                <a:srgbClr val="AEABAB"/>
              </a:solidFill>
            </c:spPr>
          </c:dPt>
          <c:dPt>
            <c:idx val="3132"/>
            <c:spPr>
              <a:solidFill>
                <a:srgbClr val="AEABAB"/>
              </a:solidFill>
            </c:spPr>
          </c:dPt>
          <c:dPt>
            <c:idx val="3133"/>
            <c:spPr>
              <a:solidFill>
                <a:srgbClr val="AEABAB"/>
              </a:solidFill>
            </c:spPr>
          </c:dPt>
          <c:dPt>
            <c:idx val="3134"/>
            <c:spPr>
              <a:solidFill>
                <a:srgbClr val="AEABAB"/>
              </a:solidFill>
            </c:spPr>
          </c:dPt>
          <c:dPt>
            <c:idx val="3135"/>
            <c:spPr>
              <a:solidFill>
                <a:srgbClr val="AEABAB"/>
              </a:solidFill>
            </c:spPr>
          </c:dPt>
          <c:dPt>
            <c:idx val="3136"/>
            <c:spPr>
              <a:solidFill>
                <a:srgbClr val="AEABAB"/>
              </a:solidFill>
            </c:spPr>
          </c:dPt>
          <c:dPt>
            <c:idx val="3137"/>
            <c:spPr>
              <a:solidFill>
                <a:srgbClr val="AEABAB"/>
              </a:solidFill>
            </c:spPr>
          </c:dPt>
          <c:dPt>
            <c:idx val="3138"/>
            <c:spPr>
              <a:solidFill>
                <a:srgbClr val="AEABAB"/>
              </a:solidFill>
            </c:spPr>
          </c:dPt>
          <c:dPt>
            <c:idx val="3139"/>
            <c:spPr>
              <a:solidFill>
                <a:srgbClr val="AEABAB"/>
              </a:solidFill>
            </c:spPr>
          </c:dPt>
          <c:dPt>
            <c:idx val="3140"/>
            <c:spPr>
              <a:solidFill>
                <a:srgbClr val="AEABAB"/>
              </a:solidFill>
            </c:spPr>
          </c:dPt>
          <c:dPt>
            <c:idx val="3141"/>
            <c:spPr>
              <a:solidFill>
                <a:srgbClr val="AEABAB"/>
              </a:solidFill>
            </c:spPr>
          </c:dPt>
          <c:dPt>
            <c:idx val="3142"/>
            <c:spPr>
              <a:solidFill>
                <a:srgbClr val="AEABAB"/>
              </a:solidFill>
            </c:spPr>
          </c:dPt>
          <c:dPt>
            <c:idx val="3143"/>
            <c:spPr>
              <a:solidFill>
                <a:srgbClr val="AEABAB"/>
              </a:solidFill>
            </c:spPr>
          </c:dPt>
          <c:dPt>
            <c:idx val="3144"/>
            <c:spPr>
              <a:solidFill>
                <a:srgbClr val="AEABAB"/>
              </a:solidFill>
            </c:spPr>
          </c:dPt>
          <c:dPt>
            <c:idx val="3145"/>
            <c:spPr>
              <a:solidFill>
                <a:srgbClr val="AEABAB"/>
              </a:solidFill>
            </c:spPr>
          </c:dPt>
          <c:dPt>
            <c:idx val="3146"/>
            <c:spPr>
              <a:solidFill>
                <a:srgbClr val="AEABAB"/>
              </a:solidFill>
            </c:spPr>
          </c:dPt>
          <c:dPt>
            <c:idx val="3147"/>
            <c:spPr>
              <a:solidFill>
                <a:srgbClr val="AEABAB"/>
              </a:solidFill>
            </c:spPr>
          </c:dPt>
          <c:dPt>
            <c:idx val="3148"/>
            <c:spPr>
              <a:solidFill>
                <a:srgbClr val="AEABAB"/>
              </a:solidFill>
            </c:spPr>
          </c:dPt>
          <c:dPt>
            <c:idx val="3149"/>
            <c:spPr>
              <a:solidFill>
                <a:srgbClr val="AEABAB"/>
              </a:solidFill>
            </c:spPr>
          </c:dPt>
          <c:dPt>
            <c:idx val="3150"/>
            <c:spPr>
              <a:solidFill>
                <a:srgbClr val="AEABAB"/>
              </a:solidFill>
            </c:spPr>
          </c:dPt>
          <c:dPt>
            <c:idx val="3151"/>
            <c:spPr>
              <a:solidFill>
                <a:srgbClr val="AEABAB"/>
              </a:solidFill>
            </c:spPr>
          </c:dPt>
          <c:dPt>
            <c:idx val="3152"/>
            <c:spPr>
              <a:solidFill>
                <a:srgbClr val="AEABAB"/>
              </a:solidFill>
            </c:spPr>
          </c:dPt>
          <c:dPt>
            <c:idx val="3153"/>
            <c:spPr>
              <a:solidFill>
                <a:srgbClr val="AEABAB"/>
              </a:solidFill>
            </c:spPr>
          </c:dPt>
          <c:dPt>
            <c:idx val="3154"/>
            <c:spPr>
              <a:solidFill>
                <a:srgbClr val="AEABAB"/>
              </a:solidFill>
            </c:spPr>
          </c:dPt>
          <c:dPt>
            <c:idx val="3155"/>
            <c:spPr>
              <a:solidFill>
                <a:srgbClr val="AEABAB"/>
              </a:solidFill>
            </c:spPr>
          </c:dPt>
          <c:dPt>
            <c:idx val="3156"/>
            <c:spPr>
              <a:solidFill>
                <a:srgbClr val="AEABAB"/>
              </a:solidFill>
            </c:spPr>
          </c:dPt>
          <c:dPt>
            <c:idx val="3157"/>
            <c:spPr>
              <a:solidFill>
                <a:srgbClr val="AEABAB"/>
              </a:solidFill>
            </c:spPr>
          </c:dPt>
          <c:dPt>
            <c:idx val="3158"/>
            <c:spPr>
              <a:solidFill>
                <a:srgbClr val="AEABAB"/>
              </a:solidFill>
            </c:spPr>
          </c:dPt>
          <c:dPt>
            <c:idx val="3159"/>
            <c:spPr>
              <a:solidFill>
                <a:srgbClr val="AEABAB"/>
              </a:solidFill>
            </c:spPr>
          </c:dPt>
          <c:dPt>
            <c:idx val="3160"/>
            <c:spPr>
              <a:solidFill>
                <a:srgbClr val="AEABAB"/>
              </a:solidFill>
            </c:spPr>
          </c:dPt>
          <c:dPt>
            <c:idx val="3161"/>
            <c:spPr>
              <a:solidFill>
                <a:srgbClr val="AEABAB"/>
              </a:solidFill>
            </c:spPr>
          </c:dPt>
          <c:dPt>
            <c:idx val="3162"/>
            <c:spPr>
              <a:solidFill>
                <a:srgbClr val="AEABAB"/>
              </a:solidFill>
            </c:spPr>
          </c:dPt>
          <c:dPt>
            <c:idx val="3163"/>
            <c:spPr>
              <a:solidFill>
                <a:srgbClr val="AEABAB"/>
              </a:solidFill>
            </c:spPr>
          </c:dPt>
          <c:dPt>
            <c:idx val="3164"/>
            <c:spPr>
              <a:solidFill>
                <a:srgbClr val="AEABAB"/>
              </a:solidFill>
            </c:spPr>
          </c:dPt>
          <c:dPt>
            <c:idx val="3165"/>
            <c:spPr>
              <a:solidFill>
                <a:srgbClr val="AEABAB"/>
              </a:solidFill>
            </c:spPr>
          </c:dPt>
          <c:dPt>
            <c:idx val="3166"/>
            <c:spPr>
              <a:solidFill>
                <a:srgbClr val="AEABAB"/>
              </a:solidFill>
            </c:spPr>
          </c:dPt>
          <c:dPt>
            <c:idx val="3167"/>
            <c:spPr>
              <a:solidFill>
                <a:srgbClr val="AEABAB"/>
              </a:solidFill>
            </c:spPr>
          </c:dPt>
          <c:dPt>
            <c:idx val="3168"/>
            <c:spPr>
              <a:solidFill>
                <a:srgbClr val="AEABAB"/>
              </a:solidFill>
            </c:spPr>
          </c:dPt>
          <c:dPt>
            <c:idx val="3169"/>
            <c:spPr>
              <a:solidFill>
                <a:srgbClr val="AEABAB"/>
              </a:solidFill>
            </c:spPr>
          </c:dPt>
          <c:dPt>
            <c:idx val="3170"/>
            <c:spPr>
              <a:solidFill>
                <a:srgbClr val="AEABAB"/>
              </a:solidFill>
            </c:spPr>
          </c:dPt>
          <c:dPt>
            <c:idx val="3171"/>
            <c:spPr>
              <a:solidFill>
                <a:srgbClr val="AEABAB"/>
              </a:solidFill>
            </c:spPr>
          </c:dPt>
          <c:dPt>
            <c:idx val="3172"/>
            <c:spPr>
              <a:solidFill>
                <a:srgbClr val="AEABAB"/>
              </a:solidFill>
            </c:spPr>
          </c:dPt>
          <c:dPt>
            <c:idx val="3173"/>
            <c:spPr>
              <a:solidFill>
                <a:srgbClr val="AEABAB"/>
              </a:solidFill>
            </c:spPr>
          </c:dPt>
          <c:dPt>
            <c:idx val="3174"/>
            <c:spPr>
              <a:solidFill>
                <a:srgbClr val="AEABAB"/>
              </a:solidFill>
            </c:spPr>
          </c:dPt>
          <c:dPt>
            <c:idx val="3175"/>
            <c:spPr>
              <a:solidFill>
                <a:srgbClr val="AEABAB"/>
              </a:solidFill>
            </c:spPr>
          </c:dPt>
          <c:dPt>
            <c:idx val="3176"/>
            <c:spPr>
              <a:solidFill>
                <a:srgbClr val="AEABAB"/>
              </a:solidFill>
            </c:spPr>
          </c:dPt>
          <c:dPt>
            <c:idx val="3177"/>
            <c:spPr>
              <a:solidFill>
                <a:srgbClr val="AEABAB"/>
              </a:solidFill>
            </c:spPr>
          </c:dPt>
          <c:dPt>
            <c:idx val="3178"/>
            <c:spPr>
              <a:solidFill>
                <a:srgbClr val="AEABAB"/>
              </a:solidFill>
            </c:spPr>
          </c:dPt>
          <c:dPt>
            <c:idx val="3179"/>
            <c:spPr>
              <a:solidFill>
                <a:srgbClr val="AEABAB"/>
              </a:solidFill>
            </c:spPr>
          </c:dPt>
          <c:dPt>
            <c:idx val="3180"/>
            <c:spPr>
              <a:solidFill>
                <a:srgbClr val="AEABAB"/>
              </a:solidFill>
            </c:spPr>
          </c:dPt>
          <c:dPt>
            <c:idx val="3181"/>
            <c:spPr>
              <a:solidFill>
                <a:srgbClr val="AEABAB"/>
              </a:solidFill>
            </c:spPr>
          </c:dPt>
          <c:dPt>
            <c:idx val="3182"/>
            <c:spPr>
              <a:solidFill>
                <a:srgbClr val="AEABAB"/>
              </a:solidFill>
            </c:spPr>
          </c:dPt>
          <c:dPt>
            <c:idx val="3183"/>
            <c:spPr>
              <a:solidFill>
                <a:srgbClr val="AEABAB"/>
              </a:solidFill>
            </c:spPr>
          </c:dPt>
          <c:dPt>
            <c:idx val="3184"/>
            <c:spPr>
              <a:solidFill>
                <a:srgbClr val="AEABAB"/>
              </a:solidFill>
            </c:spPr>
          </c:dPt>
          <c:dPt>
            <c:idx val="3185"/>
            <c:spPr>
              <a:solidFill>
                <a:srgbClr val="AEABAB"/>
              </a:solidFill>
            </c:spPr>
          </c:dPt>
          <c:dPt>
            <c:idx val="3186"/>
            <c:spPr>
              <a:solidFill>
                <a:srgbClr val="AEABAB"/>
              </a:solidFill>
            </c:spPr>
          </c:dPt>
          <c:dPt>
            <c:idx val="3187"/>
            <c:spPr>
              <a:solidFill>
                <a:srgbClr val="AEABAB"/>
              </a:solidFill>
            </c:spPr>
          </c:dPt>
          <c:dPt>
            <c:idx val="3188"/>
            <c:spPr>
              <a:solidFill>
                <a:srgbClr val="AEABAB"/>
              </a:solidFill>
            </c:spPr>
          </c:dPt>
          <c:dPt>
            <c:idx val="3189"/>
            <c:spPr>
              <a:solidFill>
                <a:srgbClr val="AEABAB"/>
              </a:solidFill>
            </c:spPr>
          </c:dPt>
          <c:dPt>
            <c:idx val="3190"/>
            <c:spPr>
              <a:solidFill>
                <a:srgbClr val="AEABAB"/>
              </a:solidFill>
            </c:spPr>
          </c:dPt>
          <c:dPt>
            <c:idx val="3191"/>
            <c:spPr>
              <a:solidFill>
                <a:srgbClr val="AEABAB"/>
              </a:solidFill>
            </c:spPr>
          </c:dPt>
          <c:dPt>
            <c:idx val="3192"/>
            <c:spPr>
              <a:solidFill>
                <a:srgbClr val="AEABAB"/>
              </a:solidFill>
            </c:spPr>
          </c:dPt>
          <c:dPt>
            <c:idx val="3193"/>
            <c:spPr>
              <a:solidFill>
                <a:srgbClr val="AEABAB"/>
              </a:solidFill>
            </c:spPr>
          </c:dPt>
          <c:dPt>
            <c:idx val="3194"/>
            <c:spPr>
              <a:solidFill>
                <a:srgbClr val="AEABAB"/>
              </a:solidFill>
            </c:spPr>
          </c:dPt>
          <c:dPt>
            <c:idx val="3195"/>
            <c:spPr>
              <a:solidFill>
                <a:srgbClr val="AEABAB"/>
              </a:solidFill>
            </c:spPr>
          </c:dPt>
          <c:dPt>
            <c:idx val="3196"/>
            <c:spPr>
              <a:solidFill>
                <a:srgbClr val="AEABAB"/>
              </a:solidFill>
            </c:spPr>
          </c:dPt>
          <c:dPt>
            <c:idx val="3197"/>
            <c:spPr>
              <a:solidFill>
                <a:srgbClr val="AEABAB"/>
              </a:solidFill>
            </c:spPr>
          </c:dPt>
          <c:dPt>
            <c:idx val="3198"/>
            <c:spPr>
              <a:solidFill>
                <a:srgbClr val="AEABAB"/>
              </a:solidFill>
            </c:spPr>
          </c:dPt>
          <c:dPt>
            <c:idx val="3199"/>
            <c:spPr>
              <a:solidFill>
                <a:srgbClr val="AEABAB"/>
              </a:solidFill>
            </c:spPr>
          </c:dPt>
          <c:dPt>
            <c:idx val="3200"/>
            <c:spPr>
              <a:solidFill>
                <a:srgbClr val="AEABAB"/>
              </a:solidFill>
            </c:spPr>
          </c:dPt>
          <c:dPt>
            <c:idx val="3201"/>
            <c:spPr>
              <a:solidFill>
                <a:srgbClr val="AEABAB"/>
              </a:solidFill>
            </c:spPr>
          </c:dPt>
          <c:dPt>
            <c:idx val="3202"/>
            <c:spPr>
              <a:solidFill>
                <a:srgbClr val="AEABAB"/>
              </a:solidFill>
            </c:spPr>
          </c:dPt>
          <c:dPt>
            <c:idx val="3203"/>
            <c:spPr>
              <a:solidFill>
                <a:srgbClr val="AEABAB"/>
              </a:solidFill>
            </c:spPr>
          </c:dPt>
          <c:dPt>
            <c:idx val="3204"/>
            <c:spPr>
              <a:solidFill>
                <a:srgbClr val="AEABAB"/>
              </a:solidFill>
            </c:spPr>
          </c:dPt>
          <c:dPt>
            <c:idx val="3205"/>
            <c:spPr>
              <a:solidFill>
                <a:srgbClr val="AEABAB"/>
              </a:solidFill>
            </c:spPr>
          </c:dPt>
          <c:dPt>
            <c:idx val="3206"/>
            <c:spPr>
              <a:solidFill>
                <a:srgbClr val="AEABAB"/>
              </a:solidFill>
            </c:spPr>
          </c:dPt>
          <c:dPt>
            <c:idx val="3207"/>
            <c:spPr>
              <a:solidFill>
                <a:srgbClr val="AEABAB"/>
              </a:solidFill>
            </c:spPr>
          </c:dPt>
          <c:dPt>
            <c:idx val="3208"/>
            <c:spPr>
              <a:solidFill>
                <a:srgbClr val="AEABAB"/>
              </a:solidFill>
            </c:spPr>
          </c:dPt>
          <c:dPt>
            <c:idx val="3209"/>
            <c:spPr>
              <a:solidFill>
                <a:srgbClr val="AEABAB"/>
              </a:solidFill>
            </c:spPr>
          </c:dPt>
          <c:dPt>
            <c:idx val="3210"/>
            <c:spPr>
              <a:solidFill>
                <a:srgbClr val="AEABAB"/>
              </a:solidFill>
            </c:spPr>
          </c:dPt>
          <c:dPt>
            <c:idx val="3211"/>
            <c:spPr>
              <a:solidFill>
                <a:srgbClr val="AEABAB"/>
              </a:solidFill>
            </c:spPr>
          </c:dPt>
          <c:dPt>
            <c:idx val="3212"/>
            <c:spPr>
              <a:solidFill>
                <a:srgbClr val="AEABAB"/>
              </a:solidFill>
            </c:spPr>
          </c:dPt>
          <c:dPt>
            <c:idx val="3213"/>
            <c:spPr>
              <a:solidFill>
                <a:srgbClr val="AEABAB"/>
              </a:solidFill>
            </c:spPr>
          </c:dPt>
          <c:dPt>
            <c:idx val="3214"/>
            <c:spPr>
              <a:solidFill>
                <a:srgbClr val="AEABAB"/>
              </a:solidFill>
            </c:spPr>
          </c:dPt>
          <c:dPt>
            <c:idx val="3215"/>
            <c:spPr>
              <a:solidFill>
                <a:srgbClr val="AEABAB"/>
              </a:solidFill>
            </c:spPr>
          </c:dPt>
          <c:dPt>
            <c:idx val="3216"/>
            <c:spPr>
              <a:solidFill>
                <a:srgbClr val="AEABAB"/>
              </a:solidFill>
            </c:spPr>
          </c:dPt>
          <c:dPt>
            <c:idx val="3217"/>
            <c:spPr>
              <a:solidFill>
                <a:srgbClr val="AEABAB"/>
              </a:solidFill>
            </c:spPr>
          </c:dPt>
          <c:dPt>
            <c:idx val="3218"/>
            <c:spPr>
              <a:solidFill>
                <a:srgbClr val="AEABAB"/>
              </a:solidFill>
            </c:spPr>
          </c:dPt>
          <c:dPt>
            <c:idx val="3219"/>
            <c:spPr>
              <a:solidFill>
                <a:srgbClr val="AEABAB"/>
              </a:solidFill>
            </c:spPr>
          </c:dPt>
          <c:dPt>
            <c:idx val="3220"/>
            <c:spPr>
              <a:solidFill>
                <a:srgbClr val="AEABAB"/>
              </a:solidFill>
            </c:spPr>
          </c:dPt>
          <c:dPt>
            <c:idx val="3221"/>
            <c:spPr>
              <a:solidFill>
                <a:srgbClr val="AEABAB"/>
              </a:solidFill>
            </c:spPr>
          </c:dPt>
          <c:dPt>
            <c:idx val="3222"/>
            <c:spPr>
              <a:solidFill>
                <a:srgbClr val="AEABAB"/>
              </a:solidFill>
            </c:spPr>
          </c:dPt>
          <c:dPt>
            <c:idx val="3223"/>
            <c:spPr>
              <a:solidFill>
                <a:srgbClr val="AEABAB"/>
              </a:solidFill>
            </c:spPr>
          </c:dPt>
          <c:dPt>
            <c:idx val="3224"/>
            <c:spPr>
              <a:solidFill>
                <a:srgbClr val="AEABAB"/>
              </a:solidFill>
            </c:spPr>
          </c:dPt>
          <c:dPt>
            <c:idx val="3225"/>
            <c:spPr>
              <a:solidFill>
                <a:srgbClr val="AEABAB"/>
              </a:solidFill>
            </c:spPr>
          </c:dPt>
          <c:dPt>
            <c:idx val="3226"/>
            <c:spPr>
              <a:solidFill>
                <a:srgbClr val="AEABAB"/>
              </a:solidFill>
            </c:spPr>
          </c:dPt>
          <c:dPt>
            <c:idx val="3227"/>
            <c:spPr>
              <a:solidFill>
                <a:srgbClr val="AEABAB"/>
              </a:solidFill>
            </c:spPr>
          </c:dPt>
          <c:dPt>
            <c:idx val="3228"/>
            <c:spPr>
              <a:solidFill>
                <a:srgbClr val="AEABAB"/>
              </a:solidFill>
            </c:spPr>
          </c:dPt>
          <c:dPt>
            <c:idx val="3229"/>
            <c:spPr>
              <a:solidFill>
                <a:srgbClr val="AEABAB"/>
              </a:solidFill>
            </c:spPr>
          </c:dPt>
          <c:dPt>
            <c:idx val="3230"/>
            <c:spPr>
              <a:solidFill>
                <a:srgbClr val="AEABAB"/>
              </a:solidFill>
            </c:spPr>
          </c:dPt>
          <c:dPt>
            <c:idx val="3231"/>
            <c:spPr>
              <a:solidFill>
                <a:srgbClr val="AEABAB"/>
              </a:solidFill>
            </c:spPr>
          </c:dPt>
          <c:dPt>
            <c:idx val="3232"/>
            <c:spPr>
              <a:solidFill>
                <a:srgbClr val="AEABAB"/>
              </a:solidFill>
            </c:spPr>
          </c:dPt>
          <c:dPt>
            <c:idx val="3233"/>
            <c:spPr>
              <a:solidFill>
                <a:srgbClr val="AEABAB"/>
              </a:solidFill>
            </c:spPr>
          </c:dPt>
          <c:dPt>
            <c:idx val="3234"/>
            <c:spPr>
              <a:solidFill>
                <a:srgbClr val="AEABAB"/>
              </a:solidFill>
            </c:spPr>
          </c:dPt>
          <c:dPt>
            <c:idx val="3235"/>
            <c:spPr>
              <a:solidFill>
                <a:srgbClr val="AEABAB"/>
              </a:solidFill>
            </c:spPr>
          </c:dPt>
          <c:dPt>
            <c:idx val="3236"/>
            <c:spPr>
              <a:solidFill>
                <a:srgbClr val="AEABAB"/>
              </a:solidFill>
            </c:spPr>
          </c:dPt>
          <c:dPt>
            <c:idx val="3237"/>
            <c:spPr>
              <a:solidFill>
                <a:srgbClr val="AEABAB"/>
              </a:solidFill>
            </c:spPr>
          </c:dPt>
          <c:dPt>
            <c:idx val="3238"/>
            <c:spPr>
              <a:solidFill>
                <a:srgbClr val="AEABAB"/>
              </a:solidFill>
            </c:spPr>
          </c:dPt>
          <c:dPt>
            <c:idx val="3239"/>
            <c:spPr>
              <a:solidFill>
                <a:srgbClr val="AEABAB"/>
              </a:solidFill>
            </c:spPr>
          </c:dPt>
          <c:dPt>
            <c:idx val="3240"/>
            <c:spPr>
              <a:solidFill>
                <a:srgbClr val="AEABAB"/>
              </a:solidFill>
            </c:spPr>
          </c:dPt>
          <c:dPt>
            <c:idx val="3241"/>
            <c:spPr>
              <a:solidFill>
                <a:srgbClr val="AEABAB"/>
              </a:solidFill>
            </c:spPr>
          </c:dPt>
          <c:dPt>
            <c:idx val="3242"/>
            <c:spPr>
              <a:solidFill>
                <a:srgbClr val="AEABAB"/>
              </a:solidFill>
            </c:spPr>
          </c:dPt>
          <c:dPt>
            <c:idx val="3243"/>
            <c:spPr>
              <a:solidFill>
                <a:srgbClr val="AEABAB"/>
              </a:solidFill>
            </c:spPr>
          </c:dPt>
          <c:dPt>
            <c:idx val="3244"/>
            <c:spPr>
              <a:solidFill>
                <a:srgbClr val="AEABAB"/>
              </a:solidFill>
            </c:spPr>
          </c:dPt>
          <c:dPt>
            <c:idx val="3245"/>
            <c:spPr>
              <a:solidFill>
                <a:srgbClr val="AEABAB"/>
              </a:solidFill>
            </c:spPr>
          </c:dPt>
          <c:dPt>
            <c:idx val="3246"/>
            <c:spPr>
              <a:solidFill>
                <a:srgbClr val="AEABAB"/>
              </a:solidFill>
            </c:spPr>
          </c:dPt>
          <c:dPt>
            <c:idx val="3247"/>
            <c:spPr>
              <a:solidFill>
                <a:srgbClr val="AEABAB"/>
              </a:solidFill>
            </c:spPr>
          </c:dPt>
          <c:dPt>
            <c:idx val="3248"/>
            <c:spPr>
              <a:solidFill>
                <a:srgbClr val="AEABAB"/>
              </a:solidFill>
            </c:spPr>
          </c:dPt>
          <c:dPt>
            <c:idx val="3249"/>
            <c:spPr>
              <a:solidFill>
                <a:srgbClr val="AEABAB"/>
              </a:solidFill>
            </c:spPr>
          </c:dPt>
          <c:dPt>
            <c:idx val="3250"/>
            <c:spPr>
              <a:solidFill>
                <a:srgbClr val="AEABAB"/>
              </a:solidFill>
            </c:spPr>
          </c:dPt>
          <c:dPt>
            <c:idx val="3251"/>
            <c:spPr>
              <a:solidFill>
                <a:srgbClr val="AEABAB"/>
              </a:solidFill>
            </c:spPr>
          </c:dPt>
          <c:dPt>
            <c:idx val="3252"/>
            <c:spPr>
              <a:solidFill>
                <a:srgbClr val="AEABAB"/>
              </a:solidFill>
            </c:spPr>
          </c:dPt>
          <c:dPt>
            <c:idx val="3253"/>
            <c:spPr>
              <a:solidFill>
                <a:srgbClr val="AEABAB"/>
              </a:solidFill>
            </c:spPr>
          </c:dPt>
          <c:dPt>
            <c:idx val="3254"/>
            <c:spPr>
              <a:solidFill>
                <a:srgbClr val="AEABAB"/>
              </a:solidFill>
            </c:spPr>
          </c:dPt>
          <c:dPt>
            <c:idx val="3255"/>
            <c:spPr>
              <a:solidFill>
                <a:srgbClr val="AEABAB"/>
              </a:solidFill>
            </c:spPr>
          </c:dPt>
          <c:dPt>
            <c:idx val="3256"/>
            <c:spPr>
              <a:solidFill>
                <a:srgbClr val="AEABAB"/>
              </a:solidFill>
            </c:spPr>
          </c:dPt>
          <c:dPt>
            <c:idx val="3257"/>
            <c:spPr>
              <a:solidFill>
                <a:srgbClr val="AEABAB"/>
              </a:solidFill>
            </c:spPr>
          </c:dPt>
          <c:dPt>
            <c:idx val="3258"/>
            <c:spPr>
              <a:solidFill>
                <a:srgbClr val="AEABAB"/>
              </a:solidFill>
            </c:spPr>
          </c:dPt>
          <c:dPt>
            <c:idx val="3259"/>
            <c:spPr>
              <a:solidFill>
                <a:srgbClr val="AEABAB"/>
              </a:solidFill>
            </c:spPr>
          </c:dPt>
          <c:dPt>
            <c:idx val="3260"/>
            <c:spPr>
              <a:solidFill>
                <a:srgbClr val="AEABAB"/>
              </a:solidFill>
            </c:spPr>
          </c:dPt>
          <c:dPt>
            <c:idx val="3261"/>
            <c:spPr>
              <a:solidFill>
                <a:srgbClr val="AEABAB"/>
              </a:solidFill>
            </c:spPr>
          </c:dPt>
          <c:dPt>
            <c:idx val="3262"/>
            <c:spPr>
              <a:solidFill>
                <a:srgbClr val="AEABAB"/>
              </a:solidFill>
            </c:spPr>
          </c:dPt>
          <c:dPt>
            <c:idx val="3263"/>
            <c:spPr>
              <a:solidFill>
                <a:srgbClr val="AEABAB"/>
              </a:solidFill>
            </c:spPr>
          </c:dPt>
          <c:dPt>
            <c:idx val="3264"/>
            <c:spPr>
              <a:solidFill>
                <a:srgbClr val="AEABAB"/>
              </a:solidFill>
            </c:spPr>
          </c:dPt>
          <c:dPt>
            <c:idx val="3265"/>
            <c:spPr>
              <a:solidFill>
                <a:srgbClr val="AEABAB"/>
              </a:solidFill>
            </c:spPr>
          </c:dPt>
          <c:dPt>
            <c:idx val="3266"/>
            <c:spPr>
              <a:solidFill>
                <a:srgbClr val="AEABAB"/>
              </a:solidFill>
            </c:spPr>
          </c:dPt>
          <c:dPt>
            <c:idx val="3267"/>
            <c:spPr>
              <a:solidFill>
                <a:srgbClr val="AEABAB"/>
              </a:solidFill>
            </c:spPr>
          </c:dPt>
          <c:dPt>
            <c:idx val="3268"/>
            <c:spPr>
              <a:solidFill>
                <a:srgbClr val="AEABAB"/>
              </a:solidFill>
            </c:spPr>
          </c:dPt>
          <c:dPt>
            <c:idx val="3269"/>
            <c:spPr>
              <a:solidFill>
                <a:srgbClr val="AEABAB"/>
              </a:solidFill>
            </c:spPr>
          </c:dPt>
          <c:dPt>
            <c:idx val="3270"/>
            <c:spPr>
              <a:solidFill>
                <a:srgbClr val="AEABAB"/>
              </a:solidFill>
            </c:spPr>
          </c:dPt>
          <c:dPt>
            <c:idx val="3271"/>
            <c:spPr>
              <a:solidFill>
                <a:srgbClr val="AEABAB"/>
              </a:solidFill>
            </c:spPr>
          </c:dPt>
          <c:dPt>
            <c:idx val="3272"/>
            <c:spPr>
              <a:solidFill>
                <a:srgbClr val="AEABAB"/>
              </a:solidFill>
            </c:spPr>
          </c:dPt>
          <c:dPt>
            <c:idx val="3273"/>
            <c:spPr>
              <a:solidFill>
                <a:srgbClr val="AEABAB"/>
              </a:solidFill>
            </c:spPr>
          </c:dPt>
          <c:dPt>
            <c:idx val="3274"/>
            <c:spPr>
              <a:solidFill>
                <a:srgbClr val="AEABAB"/>
              </a:solidFill>
            </c:spPr>
          </c:dPt>
          <c:dPt>
            <c:idx val="3275"/>
            <c:spPr>
              <a:solidFill>
                <a:srgbClr val="AEABAB"/>
              </a:solidFill>
            </c:spPr>
          </c:dPt>
          <c:dPt>
            <c:idx val="3276"/>
            <c:spPr>
              <a:solidFill>
                <a:srgbClr val="AEABAB"/>
              </a:solidFill>
            </c:spPr>
          </c:dPt>
          <c:dPt>
            <c:idx val="3277"/>
            <c:spPr>
              <a:solidFill>
                <a:srgbClr val="AEABAB"/>
              </a:solidFill>
            </c:spPr>
          </c:dPt>
          <c:dPt>
            <c:idx val="3278"/>
            <c:spPr>
              <a:solidFill>
                <a:srgbClr val="AEABAB"/>
              </a:solidFill>
            </c:spPr>
          </c:dPt>
          <c:dPt>
            <c:idx val="3279"/>
            <c:spPr>
              <a:solidFill>
                <a:srgbClr val="AEABAB"/>
              </a:solidFill>
            </c:spPr>
          </c:dPt>
          <c:dPt>
            <c:idx val="3280"/>
            <c:spPr>
              <a:solidFill>
                <a:srgbClr val="AEABAB"/>
              </a:solidFill>
            </c:spPr>
          </c:dPt>
          <c:dPt>
            <c:idx val="3281"/>
            <c:spPr>
              <a:solidFill>
                <a:srgbClr val="AEABAB"/>
              </a:solidFill>
            </c:spPr>
          </c:dPt>
          <c:dPt>
            <c:idx val="3282"/>
            <c:spPr>
              <a:solidFill>
                <a:srgbClr val="AEABAB"/>
              </a:solidFill>
            </c:spPr>
          </c:dPt>
          <c:dPt>
            <c:idx val="3283"/>
            <c:spPr>
              <a:solidFill>
                <a:srgbClr val="AEABAB"/>
              </a:solidFill>
            </c:spPr>
          </c:dPt>
          <c:dPt>
            <c:idx val="3284"/>
            <c:spPr>
              <a:solidFill>
                <a:srgbClr val="AEABAB"/>
              </a:solidFill>
            </c:spPr>
          </c:dPt>
          <c:dPt>
            <c:idx val="3285"/>
            <c:spPr>
              <a:solidFill>
                <a:srgbClr val="AEABAB"/>
              </a:solidFill>
            </c:spPr>
          </c:dPt>
          <c:dPt>
            <c:idx val="3286"/>
            <c:spPr>
              <a:solidFill>
                <a:srgbClr val="AEABAB"/>
              </a:solidFill>
            </c:spPr>
          </c:dPt>
          <c:dPt>
            <c:idx val="3287"/>
            <c:spPr>
              <a:solidFill>
                <a:srgbClr val="AEABAB"/>
              </a:solidFill>
            </c:spPr>
          </c:dPt>
          <c:dPt>
            <c:idx val="3288"/>
            <c:spPr>
              <a:solidFill>
                <a:srgbClr val="AEABAB"/>
              </a:solidFill>
            </c:spPr>
          </c:dPt>
          <c:dPt>
            <c:idx val="3289"/>
            <c:spPr>
              <a:solidFill>
                <a:srgbClr val="AEABAB"/>
              </a:solidFill>
            </c:spPr>
          </c:dPt>
          <c:dPt>
            <c:idx val="3290"/>
            <c:spPr>
              <a:solidFill>
                <a:srgbClr val="AEABAB"/>
              </a:solidFill>
            </c:spPr>
          </c:dPt>
          <c:dPt>
            <c:idx val="3291"/>
            <c:spPr>
              <a:solidFill>
                <a:srgbClr val="AEABAB"/>
              </a:solidFill>
            </c:spPr>
          </c:dPt>
          <c:dPt>
            <c:idx val="3292"/>
            <c:spPr>
              <a:solidFill>
                <a:srgbClr val="AEABAB"/>
              </a:solidFill>
            </c:spPr>
          </c:dPt>
          <c:dPt>
            <c:idx val="3293"/>
            <c:spPr>
              <a:solidFill>
                <a:srgbClr val="AEABAB"/>
              </a:solidFill>
            </c:spPr>
          </c:dPt>
          <c:dPt>
            <c:idx val="3294"/>
            <c:spPr>
              <a:solidFill>
                <a:srgbClr val="AEABAB"/>
              </a:solidFill>
            </c:spPr>
          </c:dPt>
          <c:dPt>
            <c:idx val="3295"/>
            <c:spPr>
              <a:solidFill>
                <a:srgbClr val="AEABAB"/>
              </a:solidFill>
            </c:spPr>
          </c:dPt>
          <c:dPt>
            <c:idx val="3296"/>
            <c:spPr>
              <a:solidFill>
                <a:srgbClr val="AEABAB"/>
              </a:solidFill>
            </c:spPr>
          </c:dPt>
          <c:dPt>
            <c:idx val="3297"/>
            <c:spPr>
              <a:solidFill>
                <a:srgbClr val="AEABAB"/>
              </a:solidFill>
            </c:spPr>
          </c:dPt>
          <c:dPt>
            <c:idx val="3298"/>
            <c:spPr>
              <a:solidFill>
                <a:srgbClr val="AEABAB"/>
              </a:solidFill>
            </c:spPr>
          </c:dPt>
          <c:dPt>
            <c:idx val="3299"/>
            <c:spPr>
              <a:solidFill>
                <a:srgbClr val="AEABAB"/>
              </a:solidFill>
            </c:spPr>
          </c:dPt>
          <c:dPt>
            <c:idx val="3300"/>
            <c:spPr>
              <a:solidFill>
                <a:srgbClr val="AEABAB"/>
              </a:solidFill>
            </c:spPr>
          </c:dPt>
          <c:dPt>
            <c:idx val="3301"/>
            <c:spPr>
              <a:solidFill>
                <a:srgbClr val="AEABAB"/>
              </a:solidFill>
            </c:spPr>
          </c:dPt>
          <c:dPt>
            <c:idx val="3302"/>
            <c:spPr>
              <a:solidFill>
                <a:srgbClr val="AEABAB"/>
              </a:solidFill>
            </c:spPr>
          </c:dPt>
          <c:dPt>
            <c:idx val="3303"/>
            <c:spPr>
              <a:solidFill>
                <a:srgbClr val="AEABAB"/>
              </a:solidFill>
            </c:spPr>
          </c:dPt>
          <c:dPt>
            <c:idx val="3304"/>
            <c:spPr>
              <a:solidFill>
                <a:srgbClr val="AEABAB"/>
              </a:solidFill>
            </c:spPr>
          </c:dPt>
          <c:dPt>
            <c:idx val="3305"/>
            <c:spPr>
              <a:solidFill>
                <a:srgbClr val="AEABAB"/>
              </a:solidFill>
            </c:spPr>
          </c:dPt>
          <c:dPt>
            <c:idx val="3306"/>
            <c:spPr>
              <a:solidFill>
                <a:srgbClr val="AEABAB"/>
              </a:solidFill>
            </c:spPr>
          </c:dPt>
          <c:dPt>
            <c:idx val="3307"/>
            <c:spPr>
              <a:solidFill>
                <a:srgbClr val="AEABAB"/>
              </a:solidFill>
            </c:spPr>
          </c:dPt>
          <c:dPt>
            <c:idx val="3308"/>
            <c:spPr>
              <a:solidFill>
                <a:srgbClr val="AEABAB"/>
              </a:solidFill>
            </c:spPr>
          </c:dPt>
          <c:dPt>
            <c:idx val="3309"/>
            <c:spPr>
              <a:solidFill>
                <a:srgbClr val="AEABAB"/>
              </a:solidFill>
            </c:spPr>
          </c:dPt>
          <c:dPt>
            <c:idx val="3310"/>
            <c:spPr>
              <a:solidFill>
                <a:srgbClr val="AEABAB"/>
              </a:solidFill>
            </c:spPr>
          </c:dPt>
          <c:dPt>
            <c:idx val="3311"/>
            <c:spPr>
              <a:solidFill>
                <a:srgbClr val="AEABAB"/>
              </a:solidFill>
            </c:spPr>
          </c:dPt>
          <c:dPt>
            <c:idx val="3312"/>
            <c:spPr>
              <a:solidFill>
                <a:srgbClr val="AEABAB"/>
              </a:solidFill>
            </c:spPr>
          </c:dPt>
          <c:dPt>
            <c:idx val="3313"/>
            <c:spPr>
              <a:solidFill>
                <a:srgbClr val="AEABAB"/>
              </a:solidFill>
            </c:spPr>
          </c:dPt>
          <c:dPt>
            <c:idx val="3314"/>
            <c:spPr>
              <a:solidFill>
                <a:srgbClr val="AEABAB"/>
              </a:solidFill>
            </c:spPr>
          </c:dPt>
          <c:dPt>
            <c:idx val="3315"/>
            <c:spPr>
              <a:solidFill>
                <a:srgbClr val="AEABAB"/>
              </a:solidFill>
            </c:spPr>
          </c:dPt>
          <c:dPt>
            <c:idx val="3316"/>
            <c:spPr>
              <a:solidFill>
                <a:srgbClr val="AEABAB"/>
              </a:solidFill>
            </c:spPr>
          </c:dPt>
          <c:dPt>
            <c:idx val="3317"/>
            <c:spPr>
              <a:solidFill>
                <a:srgbClr val="AEABAB"/>
              </a:solidFill>
            </c:spPr>
          </c:dPt>
          <c:dPt>
            <c:idx val="3318"/>
            <c:spPr>
              <a:solidFill>
                <a:srgbClr val="AEABAB"/>
              </a:solidFill>
            </c:spPr>
          </c:dPt>
          <c:dPt>
            <c:idx val="3319"/>
            <c:spPr>
              <a:solidFill>
                <a:srgbClr val="AEABAB"/>
              </a:solidFill>
            </c:spPr>
          </c:dPt>
          <c:dPt>
            <c:idx val="3320"/>
            <c:spPr>
              <a:solidFill>
                <a:srgbClr val="AEABAB"/>
              </a:solidFill>
            </c:spPr>
          </c:dPt>
          <c:dPt>
            <c:idx val="3321"/>
            <c:spPr>
              <a:solidFill>
                <a:srgbClr val="AEABAB"/>
              </a:solidFill>
            </c:spPr>
          </c:dPt>
          <c:dPt>
            <c:idx val="3322"/>
            <c:spPr>
              <a:solidFill>
                <a:srgbClr val="AEABAB"/>
              </a:solidFill>
            </c:spPr>
          </c:dPt>
          <c:dPt>
            <c:idx val="3323"/>
            <c:spPr>
              <a:solidFill>
                <a:srgbClr val="AEABAB"/>
              </a:solidFill>
            </c:spPr>
          </c:dPt>
          <c:dPt>
            <c:idx val="3324"/>
            <c:spPr>
              <a:solidFill>
                <a:srgbClr val="AEABAB"/>
              </a:solidFill>
            </c:spPr>
          </c:dPt>
          <c:dPt>
            <c:idx val="3325"/>
            <c:spPr>
              <a:solidFill>
                <a:srgbClr val="AEABAB"/>
              </a:solidFill>
            </c:spPr>
          </c:dPt>
          <c:dPt>
            <c:idx val="3326"/>
            <c:spPr>
              <a:solidFill>
                <a:srgbClr val="AEABAB"/>
              </a:solidFill>
            </c:spPr>
          </c:dPt>
          <c:dPt>
            <c:idx val="3327"/>
            <c:spPr>
              <a:solidFill>
                <a:srgbClr val="AEABAB"/>
              </a:solidFill>
            </c:spPr>
          </c:dPt>
          <c:dPt>
            <c:idx val="3328"/>
            <c:spPr>
              <a:solidFill>
                <a:srgbClr val="AEABAB"/>
              </a:solidFill>
            </c:spPr>
          </c:dPt>
          <c:dPt>
            <c:idx val="3329"/>
            <c:spPr>
              <a:solidFill>
                <a:srgbClr val="AEABAB"/>
              </a:solidFill>
            </c:spPr>
          </c:dPt>
          <c:dPt>
            <c:idx val="3330"/>
            <c:spPr>
              <a:solidFill>
                <a:srgbClr val="AEABAB"/>
              </a:solidFill>
            </c:spPr>
          </c:dPt>
          <c:dPt>
            <c:idx val="3331"/>
            <c:spPr>
              <a:solidFill>
                <a:srgbClr val="AEABAB"/>
              </a:solidFill>
            </c:spPr>
          </c:dPt>
          <c:dPt>
            <c:idx val="3332"/>
            <c:spPr>
              <a:solidFill>
                <a:srgbClr val="AEABAB"/>
              </a:solidFill>
            </c:spPr>
          </c:dPt>
          <c:dPt>
            <c:idx val="3333"/>
            <c:spPr>
              <a:solidFill>
                <a:srgbClr val="AEABAB"/>
              </a:solidFill>
            </c:spPr>
          </c:dPt>
          <c:dPt>
            <c:idx val="3334"/>
            <c:spPr>
              <a:solidFill>
                <a:srgbClr val="AEABAB"/>
              </a:solidFill>
            </c:spPr>
          </c:dPt>
          <c:dPt>
            <c:idx val="3335"/>
            <c:spPr>
              <a:solidFill>
                <a:srgbClr val="AEABAB"/>
              </a:solidFill>
            </c:spPr>
          </c:dPt>
          <c:dPt>
            <c:idx val="3336"/>
            <c:spPr>
              <a:solidFill>
                <a:srgbClr val="AEABAB"/>
              </a:solidFill>
            </c:spPr>
          </c:dPt>
          <c:dPt>
            <c:idx val="3337"/>
            <c:spPr>
              <a:solidFill>
                <a:srgbClr val="AEABAB"/>
              </a:solidFill>
            </c:spPr>
          </c:dPt>
          <c:dPt>
            <c:idx val="3338"/>
            <c:spPr>
              <a:solidFill>
                <a:srgbClr val="AEABAB"/>
              </a:solidFill>
            </c:spPr>
          </c:dPt>
          <c:dPt>
            <c:idx val="3339"/>
            <c:spPr>
              <a:solidFill>
                <a:srgbClr val="AEABAB"/>
              </a:solidFill>
            </c:spPr>
          </c:dPt>
          <c:dPt>
            <c:idx val="3340"/>
            <c:spPr>
              <a:solidFill>
                <a:srgbClr val="AEABAB"/>
              </a:solidFill>
            </c:spPr>
          </c:dPt>
          <c:dPt>
            <c:idx val="3341"/>
            <c:spPr>
              <a:solidFill>
                <a:srgbClr val="AEABAB"/>
              </a:solidFill>
            </c:spPr>
          </c:dPt>
          <c:dPt>
            <c:idx val="3342"/>
            <c:spPr>
              <a:solidFill>
                <a:srgbClr val="AEABAB"/>
              </a:solidFill>
            </c:spPr>
          </c:dPt>
          <c:dPt>
            <c:idx val="3343"/>
            <c:spPr>
              <a:solidFill>
                <a:srgbClr val="AEABAB"/>
              </a:solidFill>
            </c:spPr>
          </c:dPt>
          <c:dPt>
            <c:idx val="3344"/>
            <c:spPr>
              <a:solidFill>
                <a:srgbClr val="AEABAB"/>
              </a:solidFill>
            </c:spPr>
          </c:dPt>
          <c:dPt>
            <c:idx val="3345"/>
            <c:spPr>
              <a:solidFill>
                <a:srgbClr val="AEABAB"/>
              </a:solidFill>
            </c:spPr>
          </c:dPt>
          <c:dPt>
            <c:idx val="3346"/>
            <c:spPr>
              <a:solidFill>
                <a:srgbClr val="AEABAB"/>
              </a:solidFill>
            </c:spPr>
          </c:dPt>
          <c:dPt>
            <c:idx val="3347"/>
            <c:spPr>
              <a:solidFill>
                <a:srgbClr val="AEABAB"/>
              </a:solidFill>
            </c:spPr>
          </c:dPt>
          <c:dPt>
            <c:idx val="3348"/>
            <c:spPr>
              <a:solidFill>
                <a:srgbClr val="AEABAB"/>
              </a:solidFill>
            </c:spPr>
          </c:dPt>
          <c:dPt>
            <c:idx val="3349"/>
            <c:spPr>
              <a:solidFill>
                <a:srgbClr val="AEABAB"/>
              </a:solidFill>
            </c:spPr>
          </c:dPt>
          <c:dPt>
            <c:idx val="3350"/>
            <c:spPr>
              <a:solidFill>
                <a:srgbClr val="AEABAB"/>
              </a:solidFill>
            </c:spPr>
          </c:dPt>
          <c:dPt>
            <c:idx val="3351"/>
            <c:spPr>
              <a:solidFill>
                <a:srgbClr val="AEABAB"/>
              </a:solidFill>
            </c:spPr>
          </c:dPt>
          <c:dPt>
            <c:idx val="3352"/>
            <c:spPr>
              <a:solidFill>
                <a:srgbClr val="AEABAB"/>
              </a:solidFill>
            </c:spPr>
          </c:dPt>
          <c:dPt>
            <c:idx val="3353"/>
            <c:spPr>
              <a:solidFill>
                <a:srgbClr val="AEABAB"/>
              </a:solidFill>
            </c:spPr>
          </c:dPt>
          <c:dPt>
            <c:idx val="3354"/>
            <c:spPr>
              <a:solidFill>
                <a:srgbClr val="AEABAB"/>
              </a:solidFill>
            </c:spPr>
          </c:dPt>
          <c:dPt>
            <c:idx val="3355"/>
            <c:spPr>
              <a:solidFill>
                <a:srgbClr val="AEABAB"/>
              </a:solidFill>
            </c:spPr>
          </c:dPt>
          <c:dPt>
            <c:idx val="3356"/>
            <c:spPr>
              <a:solidFill>
                <a:srgbClr val="AEABAB"/>
              </a:solidFill>
            </c:spPr>
          </c:dPt>
          <c:dPt>
            <c:idx val="3357"/>
            <c:spPr>
              <a:solidFill>
                <a:srgbClr val="AEABAB"/>
              </a:solidFill>
            </c:spPr>
          </c:dPt>
          <c:dPt>
            <c:idx val="3358"/>
            <c:spPr>
              <a:solidFill>
                <a:srgbClr val="AEABAB"/>
              </a:solidFill>
            </c:spPr>
          </c:dPt>
          <c:dPt>
            <c:idx val="3359"/>
            <c:spPr>
              <a:solidFill>
                <a:srgbClr val="AEABAB"/>
              </a:solidFill>
            </c:spPr>
          </c:dPt>
          <c:dPt>
            <c:idx val="3360"/>
            <c:spPr>
              <a:solidFill>
                <a:srgbClr val="AEABAB"/>
              </a:solidFill>
            </c:spPr>
          </c:dPt>
          <c:dPt>
            <c:idx val="3361"/>
            <c:spPr>
              <a:solidFill>
                <a:srgbClr val="AEABAB"/>
              </a:solidFill>
            </c:spPr>
          </c:dPt>
          <c:dPt>
            <c:idx val="3362"/>
            <c:spPr>
              <a:solidFill>
                <a:srgbClr val="AEABAB"/>
              </a:solidFill>
            </c:spPr>
          </c:dPt>
          <c:dPt>
            <c:idx val="3363"/>
            <c:spPr>
              <a:solidFill>
                <a:srgbClr val="AEABAB"/>
              </a:solidFill>
            </c:spPr>
          </c:dPt>
          <c:dPt>
            <c:idx val="3364"/>
            <c:spPr>
              <a:solidFill>
                <a:srgbClr val="AEABAB"/>
              </a:solidFill>
            </c:spPr>
          </c:dPt>
          <c:dPt>
            <c:idx val="3365"/>
            <c:spPr>
              <a:solidFill>
                <a:srgbClr val="AEABAB"/>
              </a:solidFill>
            </c:spPr>
          </c:dPt>
          <c:dPt>
            <c:idx val="3366"/>
            <c:spPr>
              <a:solidFill>
                <a:srgbClr val="AEABAB"/>
              </a:solidFill>
            </c:spPr>
          </c:dPt>
          <c:dPt>
            <c:idx val="3367"/>
            <c:spPr>
              <a:solidFill>
                <a:srgbClr val="AEABAB"/>
              </a:solidFill>
            </c:spPr>
          </c:dPt>
          <c:dPt>
            <c:idx val="3368"/>
            <c:spPr>
              <a:solidFill>
                <a:srgbClr val="AEABAB"/>
              </a:solidFill>
            </c:spPr>
          </c:dPt>
          <c:dPt>
            <c:idx val="3369"/>
            <c:spPr>
              <a:solidFill>
                <a:srgbClr val="AEABAB"/>
              </a:solidFill>
            </c:spPr>
          </c:dPt>
          <c:dPt>
            <c:idx val="3370"/>
            <c:spPr>
              <a:solidFill>
                <a:srgbClr val="AEABAB"/>
              </a:solidFill>
            </c:spPr>
          </c:dPt>
          <c:dPt>
            <c:idx val="3371"/>
            <c:spPr>
              <a:solidFill>
                <a:srgbClr val="AEABAB"/>
              </a:solidFill>
            </c:spPr>
          </c:dPt>
          <c:dPt>
            <c:idx val="3372"/>
            <c:spPr>
              <a:solidFill>
                <a:srgbClr val="AEABAB"/>
              </a:solidFill>
            </c:spPr>
          </c:dPt>
          <c:dPt>
            <c:idx val="3373"/>
            <c:spPr>
              <a:solidFill>
                <a:srgbClr val="AEABAB"/>
              </a:solidFill>
            </c:spPr>
          </c:dPt>
          <c:dPt>
            <c:idx val="3374"/>
            <c:spPr>
              <a:solidFill>
                <a:srgbClr val="AEABAB"/>
              </a:solidFill>
            </c:spPr>
          </c:dPt>
          <c:dPt>
            <c:idx val="3375"/>
            <c:spPr>
              <a:solidFill>
                <a:srgbClr val="AEABAB"/>
              </a:solidFill>
            </c:spPr>
          </c:dPt>
          <c:dPt>
            <c:idx val="3376"/>
            <c:spPr>
              <a:solidFill>
                <a:srgbClr val="AEABAB"/>
              </a:solidFill>
            </c:spPr>
          </c:dPt>
          <c:dPt>
            <c:idx val="3377"/>
            <c:spPr>
              <a:solidFill>
                <a:srgbClr val="AEABAB"/>
              </a:solidFill>
            </c:spPr>
          </c:dPt>
          <c:dPt>
            <c:idx val="3378"/>
            <c:spPr>
              <a:solidFill>
                <a:srgbClr val="AEABAB"/>
              </a:solidFill>
            </c:spPr>
          </c:dPt>
          <c:dPt>
            <c:idx val="3379"/>
            <c:spPr>
              <a:solidFill>
                <a:srgbClr val="AEABAB"/>
              </a:solidFill>
            </c:spPr>
          </c:dPt>
          <c:dPt>
            <c:idx val="3380"/>
            <c:spPr>
              <a:solidFill>
                <a:srgbClr val="AEABAB"/>
              </a:solidFill>
            </c:spPr>
          </c:dPt>
          <c:dPt>
            <c:idx val="3381"/>
            <c:spPr>
              <a:solidFill>
                <a:srgbClr val="AEABAB"/>
              </a:solidFill>
            </c:spPr>
          </c:dPt>
          <c:dPt>
            <c:idx val="3382"/>
            <c:spPr>
              <a:solidFill>
                <a:srgbClr val="AEABAB"/>
              </a:solidFill>
            </c:spPr>
          </c:dPt>
          <c:dPt>
            <c:idx val="3383"/>
            <c:spPr>
              <a:solidFill>
                <a:srgbClr val="AEABAB"/>
              </a:solidFill>
            </c:spPr>
          </c:dPt>
          <c:dPt>
            <c:idx val="3384"/>
            <c:spPr>
              <a:solidFill>
                <a:srgbClr val="AEABAB"/>
              </a:solidFill>
            </c:spPr>
          </c:dPt>
          <c:dPt>
            <c:idx val="3385"/>
            <c:spPr>
              <a:solidFill>
                <a:srgbClr val="AEABAB"/>
              </a:solidFill>
            </c:spPr>
          </c:dPt>
          <c:dPt>
            <c:idx val="3386"/>
            <c:spPr>
              <a:solidFill>
                <a:srgbClr val="AEABAB"/>
              </a:solidFill>
            </c:spPr>
          </c:dPt>
          <c:dPt>
            <c:idx val="3387"/>
            <c:spPr>
              <a:solidFill>
                <a:srgbClr val="AEABAB"/>
              </a:solidFill>
            </c:spPr>
          </c:dPt>
          <c:dPt>
            <c:idx val="3388"/>
            <c:spPr>
              <a:solidFill>
                <a:srgbClr val="AEABAB"/>
              </a:solidFill>
            </c:spPr>
          </c:dPt>
          <c:dPt>
            <c:idx val="3389"/>
            <c:spPr>
              <a:solidFill>
                <a:srgbClr val="AEABAB"/>
              </a:solidFill>
            </c:spPr>
          </c:dPt>
          <c:dPt>
            <c:idx val="3390"/>
            <c:spPr>
              <a:solidFill>
                <a:srgbClr val="AEABAB"/>
              </a:solidFill>
            </c:spPr>
          </c:dPt>
          <c:dPt>
            <c:idx val="3391"/>
            <c:spPr>
              <a:solidFill>
                <a:srgbClr val="AEABAB"/>
              </a:solidFill>
            </c:spPr>
          </c:dPt>
          <c:dPt>
            <c:idx val="3392"/>
            <c:spPr>
              <a:solidFill>
                <a:srgbClr val="AEABAB"/>
              </a:solidFill>
            </c:spPr>
          </c:dPt>
          <c:dPt>
            <c:idx val="3393"/>
            <c:spPr>
              <a:solidFill>
                <a:srgbClr val="AEABAB"/>
              </a:solidFill>
            </c:spPr>
          </c:dPt>
          <c:dPt>
            <c:idx val="3394"/>
            <c:spPr>
              <a:solidFill>
                <a:srgbClr val="AEABAB"/>
              </a:solidFill>
            </c:spPr>
          </c:dPt>
          <c:dPt>
            <c:idx val="3395"/>
            <c:spPr>
              <a:solidFill>
                <a:srgbClr val="AEABAB"/>
              </a:solidFill>
            </c:spPr>
          </c:dPt>
          <c:dPt>
            <c:idx val="3396"/>
            <c:spPr>
              <a:solidFill>
                <a:srgbClr val="AEABAB"/>
              </a:solidFill>
            </c:spPr>
          </c:dPt>
          <c:dPt>
            <c:idx val="3397"/>
            <c:spPr>
              <a:solidFill>
                <a:srgbClr val="AEABAB"/>
              </a:solidFill>
            </c:spPr>
          </c:dPt>
          <c:dPt>
            <c:idx val="3398"/>
            <c:spPr>
              <a:solidFill>
                <a:srgbClr val="AEABAB"/>
              </a:solidFill>
            </c:spPr>
          </c:dPt>
          <c:dPt>
            <c:idx val="3399"/>
            <c:spPr>
              <a:solidFill>
                <a:srgbClr val="AEABAB"/>
              </a:solidFill>
            </c:spPr>
          </c:dPt>
          <c:dPt>
            <c:idx val="3400"/>
            <c:spPr>
              <a:solidFill>
                <a:srgbClr val="AEABAB"/>
              </a:solidFill>
            </c:spPr>
          </c:dPt>
          <c:dPt>
            <c:idx val="3401"/>
            <c:spPr>
              <a:solidFill>
                <a:srgbClr val="AEABAB"/>
              </a:solidFill>
            </c:spPr>
          </c:dPt>
          <c:dPt>
            <c:idx val="3402"/>
            <c:spPr>
              <a:solidFill>
                <a:srgbClr val="AEABAB"/>
              </a:solidFill>
            </c:spPr>
          </c:dPt>
          <c:dPt>
            <c:idx val="3403"/>
            <c:spPr>
              <a:solidFill>
                <a:srgbClr val="AEABAB"/>
              </a:solidFill>
            </c:spPr>
          </c:dPt>
          <c:dPt>
            <c:idx val="3404"/>
            <c:spPr>
              <a:solidFill>
                <a:srgbClr val="AEABAB"/>
              </a:solidFill>
            </c:spPr>
          </c:dPt>
          <c:dPt>
            <c:idx val="3405"/>
            <c:spPr>
              <a:solidFill>
                <a:srgbClr val="AEABAB"/>
              </a:solidFill>
            </c:spPr>
          </c:dPt>
          <c:dPt>
            <c:idx val="3406"/>
            <c:spPr>
              <a:solidFill>
                <a:srgbClr val="AEABAB"/>
              </a:solidFill>
            </c:spPr>
          </c:dPt>
          <c:dPt>
            <c:idx val="3407"/>
            <c:spPr>
              <a:solidFill>
                <a:srgbClr val="AEABAB"/>
              </a:solidFill>
            </c:spPr>
          </c:dPt>
          <c:dPt>
            <c:idx val="3408"/>
            <c:spPr>
              <a:solidFill>
                <a:srgbClr val="AEABAB"/>
              </a:solidFill>
            </c:spPr>
          </c:dPt>
          <c:dPt>
            <c:idx val="3409"/>
            <c:spPr>
              <a:solidFill>
                <a:srgbClr val="AEABAB"/>
              </a:solidFill>
            </c:spPr>
          </c:dPt>
          <c:dPt>
            <c:idx val="3410"/>
            <c:spPr>
              <a:solidFill>
                <a:srgbClr val="AEABAB"/>
              </a:solidFill>
            </c:spPr>
          </c:dPt>
          <c:dPt>
            <c:idx val="3411"/>
            <c:spPr>
              <a:solidFill>
                <a:srgbClr val="AEABAB"/>
              </a:solidFill>
            </c:spPr>
          </c:dPt>
          <c:dPt>
            <c:idx val="3412"/>
            <c:spPr>
              <a:solidFill>
                <a:srgbClr val="AEABAB"/>
              </a:solidFill>
            </c:spPr>
          </c:dPt>
          <c:dPt>
            <c:idx val="3413"/>
            <c:spPr>
              <a:solidFill>
                <a:srgbClr val="AEABAB"/>
              </a:solidFill>
            </c:spPr>
          </c:dPt>
          <c:dPt>
            <c:idx val="3414"/>
            <c:spPr>
              <a:solidFill>
                <a:srgbClr val="AEABAB"/>
              </a:solidFill>
            </c:spPr>
          </c:dPt>
          <c:dPt>
            <c:idx val="3415"/>
            <c:spPr>
              <a:solidFill>
                <a:srgbClr val="AEABAB"/>
              </a:solidFill>
            </c:spPr>
          </c:dPt>
          <c:dPt>
            <c:idx val="3416"/>
            <c:spPr>
              <a:solidFill>
                <a:srgbClr val="AEABAB"/>
              </a:solidFill>
            </c:spPr>
          </c:dPt>
          <c:dPt>
            <c:idx val="3417"/>
            <c:spPr>
              <a:solidFill>
                <a:srgbClr val="AEABAB"/>
              </a:solidFill>
            </c:spPr>
          </c:dPt>
          <c:dPt>
            <c:idx val="3418"/>
            <c:spPr>
              <a:solidFill>
                <a:srgbClr val="AEABAB"/>
              </a:solidFill>
            </c:spPr>
          </c:dPt>
          <c:dPt>
            <c:idx val="3419"/>
            <c:spPr>
              <a:solidFill>
                <a:srgbClr val="AEABAB"/>
              </a:solidFill>
            </c:spPr>
          </c:dPt>
          <c:dPt>
            <c:idx val="3420"/>
            <c:spPr>
              <a:solidFill>
                <a:srgbClr val="AEABAB"/>
              </a:solidFill>
            </c:spPr>
          </c:dPt>
          <c:dPt>
            <c:idx val="3421"/>
            <c:spPr>
              <a:solidFill>
                <a:srgbClr val="AEABAB"/>
              </a:solidFill>
            </c:spPr>
          </c:dPt>
          <c:dPt>
            <c:idx val="3422"/>
            <c:spPr>
              <a:solidFill>
                <a:srgbClr val="AEABAB"/>
              </a:solidFill>
            </c:spPr>
          </c:dPt>
          <c:dPt>
            <c:idx val="3423"/>
            <c:spPr>
              <a:solidFill>
                <a:srgbClr val="AEABAB"/>
              </a:solidFill>
            </c:spPr>
          </c:dPt>
          <c:dPt>
            <c:idx val="3424"/>
            <c:spPr>
              <a:solidFill>
                <a:srgbClr val="AEABAB"/>
              </a:solidFill>
            </c:spPr>
          </c:dPt>
          <c:dPt>
            <c:idx val="3425"/>
            <c:spPr>
              <a:solidFill>
                <a:srgbClr val="AEABAB"/>
              </a:solidFill>
            </c:spPr>
          </c:dPt>
          <c:dPt>
            <c:idx val="3426"/>
            <c:spPr>
              <a:solidFill>
                <a:srgbClr val="AEABAB"/>
              </a:solidFill>
            </c:spPr>
          </c:dPt>
          <c:dPt>
            <c:idx val="3427"/>
            <c:spPr>
              <a:solidFill>
                <a:srgbClr val="AEABAB"/>
              </a:solidFill>
            </c:spPr>
          </c:dPt>
          <c:dPt>
            <c:idx val="3428"/>
            <c:spPr>
              <a:solidFill>
                <a:srgbClr val="AEABAB"/>
              </a:solidFill>
            </c:spPr>
          </c:dPt>
          <c:dPt>
            <c:idx val="3429"/>
            <c:spPr>
              <a:solidFill>
                <a:srgbClr val="AEABAB"/>
              </a:solidFill>
            </c:spPr>
          </c:dPt>
          <c:dPt>
            <c:idx val="3430"/>
            <c:spPr>
              <a:solidFill>
                <a:srgbClr val="AEABAB"/>
              </a:solidFill>
            </c:spPr>
          </c:dPt>
          <c:dPt>
            <c:idx val="3431"/>
            <c:spPr>
              <a:solidFill>
                <a:srgbClr val="AEABAB"/>
              </a:solidFill>
            </c:spPr>
          </c:dPt>
          <c:dPt>
            <c:idx val="3432"/>
            <c:spPr>
              <a:solidFill>
                <a:srgbClr val="AEABAB"/>
              </a:solidFill>
            </c:spPr>
          </c:dPt>
          <c:dPt>
            <c:idx val="3433"/>
            <c:spPr>
              <a:solidFill>
                <a:srgbClr val="AEABAB"/>
              </a:solidFill>
            </c:spPr>
          </c:dPt>
          <c:dPt>
            <c:idx val="3434"/>
            <c:spPr>
              <a:solidFill>
                <a:srgbClr val="AEABAB"/>
              </a:solidFill>
            </c:spPr>
          </c:dPt>
          <c:dPt>
            <c:idx val="3435"/>
            <c:spPr>
              <a:solidFill>
                <a:srgbClr val="AEABAB"/>
              </a:solidFill>
            </c:spPr>
          </c:dPt>
          <c:dPt>
            <c:idx val="3436"/>
            <c:spPr>
              <a:solidFill>
                <a:srgbClr val="AEABAB"/>
              </a:solidFill>
            </c:spPr>
          </c:dPt>
          <c:dPt>
            <c:idx val="3437"/>
            <c:spPr>
              <a:solidFill>
                <a:srgbClr val="AEABAB"/>
              </a:solidFill>
            </c:spPr>
          </c:dPt>
          <c:dPt>
            <c:idx val="3438"/>
            <c:spPr>
              <a:solidFill>
                <a:srgbClr val="AEABAB"/>
              </a:solidFill>
            </c:spPr>
          </c:dPt>
          <c:dPt>
            <c:idx val="3439"/>
            <c:spPr>
              <a:solidFill>
                <a:srgbClr val="AEABAB"/>
              </a:solidFill>
            </c:spPr>
          </c:dPt>
          <c:dPt>
            <c:idx val="3440"/>
            <c:spPr>
              <a:solidFill>
                <a:srgbClr val="AEABAB"/>
              </a:solidFill>
            </c:spPr>
          </c:dPt>
          <c:dPt>
            <c:idx val="3441"/>
            <c:spPr>
              <a:solidFill>
                <a:srgbClr val="AEABAB"/>
              </a:solidFill>
            </c:spPr>
          </c:dPt>
          <c:dPt>
            <c:idx val="3442"/>
            <c:spPr>
              <a:solidFill>
                <a:srgbClr val="AEABAB"/>
              </a:solidFill>
            </c:spPr>
          </c:dPt>
          <c:dPt>
            <c:idx val="3443"/>
            <c:spPr>
              <a:solidFill>
                <a:srgbClr val="AEABAB"/>
              </a:solidFill>
            </c:spPr>
          </c:dPt>
          <c:dPt>
            <c:idx val="3444"/>
            <c:spPr>
              <a:solidFill>
                <a:srgbClr val="AEABAB"/>
              </a:solidFill>
            </c:spPr>
          </c:dPt>
          <c:dPt>
            <c:idx val="3445"/>
            <c:spPr>
              <a:solidFill>
                <a:srgbClr val="AEABAB"/>
              </a:solidFill>
            </c:spPr>
          </c:dPt>
          <c:dPt>
            <c:idx val="3446"/>
            <c:spPr>
              <a:solidFill>
                <a:srgbClr val="AEABAB"/>
              </a:solidFill>
            </c:spPr>
          </c:dPt>
          <c:dPt>
            <c:idx val="3447"/>
            <c:spPr>
              <a:solidFill>
                <a:srgbClr val="AEABAB"/>
              </a:solidFill>
            </c:spPr>
          </c:dPt>
          <c:dPt>
            <c:idx val="3448"/>
            <c:spPr>
              <a:solidFill>
                <a:srgbClr val="AEABAB"/>
              </a:solidFill>
            </c:spPr>
          </c:dPt>
          <c:dPt>
            <c:idx val="3449"/>
            <c:spPr>
              <a:solidFill>
                <a:srgbClr val="AEABAB"/>
              </a:solidFill>
            </c:spPr>
          </c:dPt>
          <c:dPt>
            <c:idx val="3450"/>
            <c:spPr>
              <a:solidFill>
                <a:srgbClr val="AEABAB"/>
              </a:solidFill>
            </c:spPr>
          </c:dPt>
          <c:dPt>
            <c:idx val="3451"/>
            <c:spPr>
              <a:solidFill>
                <a:srgbClr val="AEABAB"/>
              </a:solidFill>
            </c:spPr>
          </c:dPt>
          <c:dPt>
            <c:idx val="3452"/>
            <c:spPr>
              <a:solidFill>
                <a:srgbClr val="AEABAB"/>
              </a:solidFill>
            </c:spPr>
          </c:dPt>
          <c:dPt>
            <c:idx val="3453"/>
            <c:spPr>
              <a:solidFill>
                <a:srgbClr val="AEABAB"/>
              </a:solidFill>
            </c:spPr>
          </c:dPt>
          <c:dPt>
            <c:idx val="3454"/>
            <c:spPr>
              <a:solidFill>
                <a:srgbClr val="AEABAB"/>
              </a:solidFill>
            </c:spPr>
          </c:dPt>
          <c:dPt>
            <c:idx val="3455"/>
            <c:spPr>
              <a:solidFill>
                <a:srgbClr val="AEABAB"/>
              </a:solidFill>
            </c:spPr>
          </c:dPt>
          <c:dPt>
            <c:idx val="3456"/>
            <c:spPr>
              <a:solidFill>
                <a:srgbClr val="AEABAB"/>
              </a:solidFill>
            </c:spPr>
          </c:dPt>
          <c:dPt>
            <c:idx val="3457"/>
            <c:spPr>
              <a:solidFill>
                <a:srgbClr val="AEABAB"/>
              </a:solidFill>
            </c:spPr>
          </c:dPt>
          <c:dPt>
            <c:idx val="3458"/>
            <c:spPr>
              <a:solidFill>
                <a:srgbClr val="AEABAB"/>
              </a:solidFill>
            </c:spPr>
          </c:dPt>
          <c:dPt>
            <c:idx val="3459"/>
            <c:spPr>
              <a:solidFill>
                <a:srgbClr val="AEABAB"/>
              </a:solidFill>
            </c:spPr>
          </c:dPt>
          <c:dPt>
            <c:idx val="3460"/>
            <c:spPr>
              <a:solidFill>
                <a:srgbClr val="AEABAB"/>
              </a:solidFill>
            </c:spPr>
          </c:dPt>
          <c:dPt>
            <c:idx val="3461"/>
            <c:spPr>
              <a:solidFill>
                <a:srgbClr val="AEABAB"/>
              </a:solidFill>
            </c:spPr>
          </c:dPt>
          <c:dPt>
            <c:idx val="3462"/>
            <c:spPr>
              <a:solidFill>
                <a:srgbClr val="AEABAB"/>
              </a:solidFill>
            </c:spPr>
          </c:dPt>
          <c:dPt>
            <c:idx val="3463"/>
            <c:spPr>
              <a:solidFill>
                <a:srgbClr val="AEABAB"/>
              </a:solidFill>
            </c:spPr>
          </c:dPt>
          <c:dPt>
            <c:idx val="3464"/>
            <c:spPr>
              <a:solidFill>
                <a:srgbClr val="AEABAB"/>
              </a:solidFill>
            </c:spPr>
          </c:dPt>
          <c:dPt>
            <c:idx val="3465"/>
            <c:spPr>
              <a:solidFill>
                <a:srgbClr val="AEABAB"/>
              </a:solidFill>
            </c:spPr>
          </c:dPt>
          <c:dPt>
            <c:idx val="3466"/>
            <c:spPr>
              <a:solidFill>
                <a:srgbClr val="AEABAB"/>
              </a:solidFill>
            </c:spPr>
          </c:dPt>
          <c:dPt>
            <c:idx val="3467"/>
            <c:spPr>
              <a:solidFill>
                <a:srgbClr val="AEABAB"/>
              </a:solidFill>
            </c:spPr>
          </c:dPt>
          <c:dPt>
            <c:idx val="3468"/>
            <c:spPr>
              <a:solidFill>
                <a:srgbClr val="AEABAB"/>
              </a:solidFill>
            </c:spPr>
          </c:dPt>
          <c:dPt>
            <c:idx val="3469"/>
            <c:spPr>
              <a:solidFill>
                <a:srgbClr val="AEABAB"/>
              </a:solidFill>
            </c:spPr>
          </c:dPt>
          <c:dPt>
            <c:idx val="3470"/>
            <c:spPr>
              <a:solidFill>
                <a:srgbClr val="AEABAB"/>
              </a:solidFill>
            </c:spPr>
          </c:dPt>
          <c:dPt>
            <c:idx val="3471"/>
            <c:spPr>
              <a:solidFill>
                <a:srgbClr val="AEABAB"/>
              </a:solidFill>
            </c:spPr>
          </c:dPt>
          <c:dPt>
            <c:idx val="3472"/>
            <c:spPr>
              <a:solidFill>
                <a:srgbClr val="AEABAB"/>
              </a:solidFill>
            </c:spPr>
          </c:dPt>
          <c:dPt>
            <c:idx val="3473"/>
            <c:spPr>
              <a:solidFill>
                <a:srgbClr val="AEABAB"/>
              </a:solidFill>
            </c:spPr>
          </c:dPt>
          <c:dPt>
            <c:idx val="3474"/>
            <c:spPr>
              <a:solidFill>
                <a:srgbClr val="AEABAB"/>
              </a:solidFill>
            </c:spPr>
          </c:dPt>
          <c:dPt>
            <c:idx val="3475"/>
            <c:spPr>
              <a:solidFill>
                <a:srgbClr val="AEABAB"/>
              </a:solidFill>
            </c:spPr>
          </c:dPt>
          <c:dPt>
            <c:idx val="3476"/>
            <c:spPr>
              <a:solidFill>
                <a:srgbClr val="AEABAB"/>
              </a:solidFill>
            </c:spPr>
          </c:dPt>
          <c:dPt>
            <c:idx val="3477"/>
            <c:spPr>
              <a:solidFill>
                <a:srgbClr val="AEABAB"/>
              </a:solidFill>
            </c:spPr>
          </c:dPt>
          <c:dPt>
            <c:idx val="3478"/>
            <c:spPr>
              <a:solidFill>
                <a:srgbClr val="AEABAB"/>
              </a:solidFill>
            </c:spPr>
          </c:dPt>
          <c:dPt>
            <c:idx val="3479"/>
            <c:spPr>
              <a:solidFill>
                <a:srgbClr val="AEABAB"/>
              </a:solidFill>
            </c:spPr>
          </c:dPt>
          <c:dPt>
            <c:idx val="3480"/>
            <c:spPr>
              <a:solidFill>
                <a:srgbClr val="AEABAB"/>
              </a:solidFill>
            </c:spPr>
          </c:dPt>
          <c:dPt>
            <c:idx val="3481"/>
            <c:spPr>
              <a:solidFill>
                <a:srgbClr val="AEABAB"/>
              </a:solidFill>
            </c:spPr>
          </c:dPt>
          <c:dPt>
            <c:idx val="3482"/>
            <c:spPr>
              <a:solidFill>
                <a:srgbClr val="AEABAB"/>
              </a:solidFill>
            </c:spPr>
          </c:dPt>
          <c:dPt>
            <c:idx val="3483"/>
            <c:spPr>
              <a:solidFill>
                <a:srgbClr val="AEABAB"/>
              </a:solidFill>
            </c:spPr>
          </c:dPt>
          <c:dPt>
            <c:idx val="3484"/>
            <c:spPr>
              <a:solidFill>
                <a:srgbClr val="AEABAB"/>
              </a:solidFill>
            </c:spPr>
          </c:dPt>
          <c:dPt>
            <c:idx val="3485"/>
            <c:spPr>
              <a:solidFill>
                <a:srgbClr val="AEABAB"/>
              </a:solidFill>
            </c:spPr>
          </c:dPt>
          <c:dPt>
            <c:idx val="3486"/>
            <c:spPr>
              <a:solidFill>
                <a:srgbClr val="AEABAB"/>
              </a:solidFill>
            </c:spPr>
          </c:dPt>
          <c:dPt>
            <c:idx val="3487"/>
            <c:spPr>
              <a:solidFill>
                <a:srgbClr val="AEABAB"/>
              </a:solidFill>
            </c:spPr>
          </c:dPt>
          <c:dPt>
            <c:idx val="3488"/>
            <c:spPr>
              <a:solidFill>
                <a:srgbClr val="AEABAB"/>
              </a:solidFill>
            </c:spPr>
          </c:dPt>
          <c:dPt>
            <c:idx val="3489"/>
            <c:spPr>
              <a:solidFill>
                <a:srgbClr val="AEABAB"/>
              </a:solidFill>
            </c:spPr>
          </c:dPt>
          <c:dPt>
            <c:idx val="3490"/>
            <c:spPr>
              <a:solidFill>
                <a:srgbClr val="AEABAB"/>
              </a:solidFill>
            </c:spPr>
          </c:dPt>
          <c:dPt>
            <c:idx val="3491"/>
            <c:spPr>
              <a:solidFill>
                <a:srgbClr val="AEABAB"/>
              </a:solidFill>
            </c:spPr>
          </c:dPt>
          <c:dPt>
            <c:idx val="3492"/>
            <c:spPr>
              <a:solidFill>
                <a:srgbClr val="AEABAB"/>
              </a:solidFill>
            </c:spPr>
          </c:dPt>
          <c:dPt>
            <c:idx val="3493"/>
            <c:spPr>
              <a:solidFill>
                <a:srgbClr val="AEABAB"/>
              </a:solidFill>
            </c:spPr>
          </c:dPt>
          <c:dPt>
            <c:idx val="3494"/>
            <c:spPr>
              <a:solidFill>
                <a:srgbClr val="AEABAB"/>
              </a:solidFill>
            </c:spPr>
          </c:dPt>
          <c:dPt>
            <c:idx val="3495"/>
            <c:spPr>
              <a:solidFill>
                <a:srgbClr val="AEABAB"/>
              </a:solidFill>
            </c:spPr>
          </c:dPt>
          <c:dPt>
            <c:idx val="3496"/>
            <c:spPr>
              <a:solidFill>
                <a:srgbClr val="AEABAB"/>
              </a:solidFill>
            </c:spPr>
          </c:dPt>
          <c:dPt>
            <c:idx val="3497"/>
            <c:spPr>
              <a:solidFill>
                <a:srgbClr val="AEABAB"/>
              </a:solidFill>
            </c:spPr>
          </c:dPt>
          <c:dPt>
            <c:idx val="3498"/>
            <c:spPr>
              <a:solidFill>
                <a:srgbClr val="AEABAB"/>
              </a:solidFill>
            </c:spPr>
          </c:dPt>
          <c:dPt>
            <c:idx val="3499"/>
            <c:spPr>
              <a:solidFill>
                <a:srgbClr val="AEABAB"/>
              </a:solidFill>
            </c:spPr>
          </c:dPt>
          <c:dPt>
            <c:idx val="3500"/>
            <c:spPr>
              <a:solidFill>
                <a:srgbClr val="AEABAB"/>
              </a:solidFill>
            </c:spPr>
          </c:dPt>
          <c:dPt>
            <c:idx val="3501"/>
            <c:spPr>
              <a:solidFill>
                <a:srgbClr val="AEABAB"/>
              </a:solidFill>
            </c:spPr>
          </c:dPt>
          <c:dPt>
            <c:idx val="3502"/>
            <c:spPr>
              <a:solidFill>
                <a:srgbClr val="AEABAB"/>
              </a:solidFill>
            </c:spPr>
          </c:dPt>
          <c:dPt>
            <c:idx val="3503"/>
            <c:spPr>
              <a:solidFill>
                <a:srgbClr val="AEABAB"/>
              </a:solidFill>
            </c:spPr>
          </c:dPt>
          <c:dPt>
            <c:idx val="3504"/>
            <c:spPr>
              <a:solidFill>
                <a:srgbClr val="AEABAB"/>
              </a:solidFill>
            </c:spPr>
          </c:dPt>
          <c:dPt>
            <c:idx val="3505"/>
            <c:spPr>
              <a:solidFill>
                <a:srgbClr val="AEABAB"/>
              </a:solidFill>
            </c:spPr>
          </c:dPt>
          <c:dPt>
            <c:idx val="3506"/>
            <c:spPr>
              <a:solidFill>
                <a:srgbClr val="AEABAB"/>
              </a:solidFill>
            </c:spPr>
          </c:dPt>
          <c:dPt>
            <c:idx val="3507"/>
            <c:spPr>
              <a:solidFill>
                <a:srgbClr val="AEABAB"/>
              </a:solidFill>
            </c:spPr>
          </c:dPt>
          <c:dPt>
            <c:idx val="3508"/>
            <c:spPr>
              <a:solidFill>
                <a:srgbClr val="AEABAB"/>
              </a:solidFill>
            </c:spPr>
          </c:dPt>
          <c:dPt>
            <c:idx val="3509"/>
            <c:spPr>
              <a:solidFill>
                <a:srgbClr val="AEABAB"/>
              </a:solidFill>
            </c:spPr>
          </c:dPt>
          <c:dPt>
            <c:idx val="3510"/>
            <c:spPr>
              <a:solidFill>
                <a:srgbClr val="AEABAB"/>
              </a:solidFill>
            </c:spPr>
          </c:dPt>
          <c:dPt>
            <c:idx val="3511"/>
            <c:spPr>
              <a:solidFill>
                <a:srgbClr val="AEABAB"/>
              </a:solidFill>
            </c:spPr>
          </c:dPt>
          <c:dPt>
            <c:idx val="3512"/>
            <c:spPr>
              <a:solidFill>
                <a:srgbClr val="AEABAB"/>
              </a:solidFill>
            </c:spPr>
          </c:dPt>
          <c:dPt>
            <c:idx val="3513"/>
            <c:spPr>
              <a:solidFill>
                <a:srgbClr val="AEABAB"/>
              </a:solidFill>
            </c:spPr>
          </c:dPt>
          <c:dPt>
            <c:idx val="3514"/>
            <c:spPr>
              <a:solidFill>
                <a:srgbClr val="AEABAB"/>
              </a:solidFill>
            </c:spPr>
          </c:dPt>
          <c:dPt>
            <c:idx val="3515"/>
            <c:spPr>
              <a:solidFill>
                <a:srgbClr val="AEABAB"/>
              </a:solidFill>
            </c:spPr>
          </c:dPt>
          <c:dPt>
            <c:idx val="3516"/>
            <c:spPr>
              <a:solidFill>
                <a:srgbClr val="AEABAB"/>
              </a:solidFill>
            </c:spPr>
          </c:dPt>
          <c:dPt>
            <c:idx val="3517"/>
            <c:spPr>
              <a:solidFill>
                <a:srgbClr val="AEABAB"/>
              </a:solidFill>
            </c:spPr>
          </c:dPt>
          <c:dPt>
            <c:idx val="3518"/>
            <c:spPr>
              <a:solidFill>
                <a:srgbClr val="AEABAB"/>
              </a:solidFill>
            </c:spPr>
          </c:dPt>
          <c:dPt>
            <c:idx val="3519"/>
            <c:spPr>
              <a:solidFill>
                <a:srgbClr val="AEABAB"/>
              </a:solidFill>
            </c:spPr>
          </c:dPt>
          <c:dPt>
            <c:idx val="3520"/>
            <c:spPr>
              <a:solidFill>
                <a:srgbClr val="AEABAB"/>
              </a:solidFill>
            </c:spPr>
          </c:dPt>
          <c:dPt>
            <c:idx val="3521"/>
            <c:spPr>
              <a:solidFill>
                <a:srgbClr val="AEABAB"/>
              </a:solidFill>
            </c:spPr>
          </c:dPt>
          <c:dPt>
            <c:idx val="3522"/>
            <c:spPr>
              <a:solidFill>
                <a:srgbClr val="AEABAB"/>
              </a:solidFill>
            </c:spPr>
          </c:dPt>
          <c:dPt>
            <c:idx val="3523"/>
            <c:spPr>
              <a:solidFill>
                <a:srgbClr val="AEABAB"/>
              </a:solidFill>
            </c:spPr>
          </c:dPt>
          <c:dPt>
            <c:idx val="3524"/>
            <c:spPr>
              <a:solidFill>
                <a:srgbClr val="AEABAB"/>
              </a:solidFill>
            </c:spPr>
          </c:dPt>
          <c:dPt>
            <c:idx val="3525"/>
            <c:spPr>
              <a:solidFill>
                <a:srgbClr val="AEABAB"/>
              </a:solidFill>
            </c:spPr>
          </c:dPt>
          <c:dPt>
            <c:idx val="3526"/>
            <c:spPr>
              <a:solidFill>
                <a:srgbClr val="AEABAB"/>
              </a:solidFill>
            </c:spPr>
          </c:dPt>
          <c:dPt>
            <c:idx val="3527"/>
            <c:spPr>
              <a:solidFill>
                <a:srgbClr val="AEABAB"/>
              </a:solidFill>
            </c:spPr>
          </c:dPt>
          <c:dPt>
            <c:idx val="3528"/>
            <c:spPr>
              <a:solidFill>
                <a:srgbClr val="AEABAB"/>
              </a:solidFill>
            </c:spPr>
          </c:dPt>
          <c:dPt>
            <c:idx val="3529"/>
            <c:spPr>
              <a:solidFill>
                <a:srgbClr val="AEABAB"/>
              </a:solidFill>
            </c:spPr>
          </c:dPt>
          <c:dPt>
            <c:idx val="3530"/>
            <c:spPr>
              <a:solidFill>
                <a:srgbClr val="AEABAB"/>
              </a:solidFill>
            </c:spPr>
          </c:dPt>
          <c:dPt>
            <c:idx val="3531"/>
            <c:spPr>
              <a:solidFill>
                <a:srgbClr val="AEABAB"/>
              </a:solidFill>
            </c:spPr>
          </c:dPt>
          <c:dPt>
            <c:idx val="3532"/>
            <c:spPr>
              <a:solidFill>
                <a:srgbClr val="AEABAB"/>
              </a:solidFill>
            </c:spPr>
          </c:dPt>
          <c:dPt>
            <c:idx val="3533"/>
            <c:spPr>
              <a:solidFill>
                <a:srgbClr val="AEABAB"/>
              </a:solidFill>
            </c:spPr>
          </c:dPt>
          <c:dPt>
            <c:idx val="3534"/>
            <c:spPr>
              <a:solidFill>
                <a:srgbClr val="AEABAB"/>
              </a:solidFill>
            </c:spPr>
          </c:dPt>
          <c:dPt>
            <c:idx val="3535"/>
            <c:spPr>
              <a:solidFill>
                <a:srgbClr val="AEABAB"/>
              </a:solidFill>
            </c:spPr>
          </c:dPt>
          <c:dPt>
            <c:idx val="3536"/>
            <c:spPr>
              <a:solidFill>
                <a:srgbClr val="AEABAB"/>
              </a:solidFill>
            </c:spPr>
          </c:dPt>
          <c:dPt>
            <c:idx val="3537"/>
            <c:spPr>
              <a:solidFill>
                <a:srgbClr val="AEABAB"/>
              </a:solidFill>
            </c:spPr>
          </c:dPt>
          <c:dPt>
            <c:idx val="3538"/>
            <c:spPr>
              <a:solidFill>
                <a:srgbClr val="AEABAB"/>
              </a:solidFill>
            </c:spPr>
          </c:dPt>
          <c:dPt>
            <c:idx val="3539"/>
            <c:spPr>
              <a:solidFill>
                <a:srgbClr val="AEABAB"/>
              </a:solidFill>
            </c:spPr>
          </c:dPt>
          <c:dPt>
            <c:idx val="3540"/>
            <c:spPr>
              <a:solidFill>
                <a:srgbClr val="AEABAB"/>
              </a:solidFill>
            </c:spPr>
          </c:dPt>
          <c:dPt>
            <c:idx val="3541"/>
            <c:spPr>
              <a:solidFill>
                <a:srgbClr val="AEABAB"/>
              </a:solidFill>
            </c:spPr>
          </c:dPt>
          <c:dPt>
            <c:idx val="3542"/>
            <c:spPr>
              <a:solidFill>
                <a:srgbClr val="AEABAB"/>
              </a:solidFill>
            </c:spPr>
          </c:dPt>
          <c:dPt>
            <c:idx val="3543"/>
            <c:spPr>
              <a:solidFill>
                <a:srgbClr val="AEABAB"/>
              </a:solidFill>
            </c:spPr>
          </c:dPt>
          <c:dPt>
            <c:idx val="3544"/>
            <c:spPr>
              <a:solidFill>
                <a:srgbClr val="AEABAB"/>
              </a:solidFill>
            </c:spPr>
          </c:dPt>
          <c:dPt>
            <c:idx val="3545"/>
            <c:spPr>
              <a:solidFill>
                <a:srgbClr val="AEABAB"/>
              </a:solidFill>
            </c:spPr>
          </c:dPt>
          <c:cat>
            <c:strRef>
              <c:f>Sheet1!$A$2:$A$3547</c:f>
              <c:strCache>
                <c:ptCount val="3546"/>
                <c:pt idx="0">
                  <c:v>Private Lab</c:v>
                </c:pt>
                <c:pt idx="1">
                  <c:v>Caprice Des</c:v>
                </c:pt>
                <c:pt idx="2">
                  <c:v>Private Lab</c:v>
                </c:pt>
                <c:pt idx="3">
                  <c:v>Private Lab</c:v>
                </c:pt>
                <c:pt idx="4">
                  <c:v>Private Lab</c:v>
                </c:pt>
                <c:pt idx="5">
                  <c:v>La Vache Qu</c:v>
                </c:pt>
                <c:pt idx="6">
                  <c:v>Coeur De Li</c:v>
                </c:pt>
                <c:pt idx="7">
                  <c:v>Private Lab</c:v>
                </c:pt>
                <c:pt idx="8">
                  <c:v>Private Lab</c:v>
                </c:pt>
                <c:pt idx="9">
                  <c:v>Private Lab</c:v>
                </c:pt>
                <c:pt idx="10">
                  <c:v>Caprice Des</c:v>
                </c:pt>
                <c:pt idx="11">
                  <c:v>Soignon</c:v>
                </c:pt>
                <c:pt idx="12">
                  <c:v>President</c:v>
                </c:pt>
                <c:pt idx="13">
                  <c:v>Private Lab</c:v>
                </c:pt>
                <c:pt idx="14">
                  <c:v>Private Lab</c:v>
                </c:pt>
                <c:pt idx="15">
                  <c:v>Mini Babybe</c:v>
                </c:pt>
                <c:pt idx="16">
                  <c:v>Private Lab</c:v>
                </c:pt>
                <c:pt idx="17">
                  <c:v>Private Lab</c:v>
                </c:pt>
                <c:pt idx="18">
                  <c:v>Le Rustique</c:v>
                </c:pt>
                <c:pt idx="19">
                  <c:v>Coeur De Li</c:v>
                </c:pt>
                <c:pt idx="20">
                  <c:v>Galbani</c:v>
                </c:pt>
                <c:pt idx="21">
                  <c:v>Mini Babybe</c:v>
                </c:pt>
                <c:pt idx="22">
                  <c:v>Soignon</c:v>
                </c:pt>
                <c:pt idx="23">
                  <c:v>St Moret</c:v>
                </c:pt>
                <c:pt idx="24">
                  <c:v>La Vache Qu</c:v>
                </c:pt>
                <c:pt idx="25">
                  <c:v>La Vache Qu</c:v>
                </c:pt>
                <c:pt idx="26">
                  <c:v>Private Lab</c:v>
                </c:pt>
                <c:pt idx="27">
                  <c:v>Kiri</c:v>
                </c:pt>
                <c:pt idx="28">
                  <c:v>Private Lab</c:v>
                </c:pt>
                <c:pt idx="29">
                  <c:v>Private Lab</c:v>
                </c:pt>
                <c:pt idx="30">
                  <c:v>President</c:v>
                </c:pt>
                <c:pt idx="31">
                  <c:v>Tartare</c:v>
                </c:pt>
                <c:pt idx="32">
                  <c:v>Salakis</c:v>
                </c:pt>
                <c:pt idx="33">
                  <c:v>St Moret</c:v>
                </c:pt>
                <c:pt idx="34">
                  <c:v>President</c:v>
                </c:pt>
                <c:pt idx="35">
                  <c:v>Paysan Bret</c:v>
                </c:pt>
                <c:pt idx="36">
                  <c:v>President</c:v>
                </c:pt>
                <c:pt idx="37">
                  <c:v>Kiri</c:v>
                </c:pt>
                <c:pt idx="38">
                  <c:v>St Moret</c:v>
                </c:pt>
                <c:pt idx="39">
                  <c:v>All Others</c:v>
                </c:pt>
                <c:pt idx="40">
                  <c:v>Private Lab</c:v>
                </c:pt>
                <c:pt idx="41">
                  <c:v>Soignon</c:v>
                </c:pt>
                <c:pt idx="42">
                  <c:v>Apericube</c:v>
                </c:pt>
                <c:pt idx="43">
                  <c:v>Private Lab</c:v>
                </c:pt>
                <c:pt idx="44">
                  <c:v>Private Lab</c:v>
                </c:pt>
                <c:pt idx="45">
                  <c:v>Ficello</c:v>
                </c:pt>
                <c:pt idx="46">
                  <c:v>Richesmonts</c:v>
                </c:pt>
                <c:pt idx="47">
                  <c:v>Private Lab</c:v>
                </c:pt>
                <c:pt idx="48">
                  <c:v>Private Lab</c:v>
                </c:pt>
                <c:pt idx="49">
                  <c:v>Chaussee Au</c:v>
                </c:pt>
                <c:pt idx="50">
                  <c:v>Philadelphi</c:v>
                </c:pt>
                <c:pt idx="51">
                  <c:v>President</c:v>
                </c:pt>
                <c:pt idx="52">
                  <c:v>Private Lab</c:v>
                </c:pt>
                <c:pt idx="53">
                  <c:v>Kiri</c:v>
                </c:pt>
                <c:pt idx="54">
                  <c:v>Carre Frais</c:v>
                </c:pt>
                <c:pt idx="55">
                  <c:v>Apericube</c:v>
                </c:pt>
                <c:pt idx="56">
                  <c:v>Carre Frais</c:v>
                </c:pt>
                <c:pt idx="57">
                  <c:v>Paysan Bret</c:v>
                </c:pt>
                <c:pt idx="58">
                  <c:v>Boursin</c:v>
                </c:pt>
                <c:pt idx="59">
                  <c:v>Petit Billy</c:v>
                </c:pt>
                <c:pt idx="60">
                  <c:v>Boursin</c:v>
                </c:pt>
                <c:pt idx="61">
                  <c:v>Private Lab</c:v>
                </c:pt>
                <c:pt idx="62">
                  <c:v>Islos</c:v>
                </c:pt>
                <c:pt idx="63">
                  <c:v>Kiri</c:v>
                </c:pt>
                <c:pt idx="64">
                  <c:v>Private Lab</c:v>
                </c:pt>
                <c:pt idx="65">
                  <c:v>Private Lab</c:v>
                </c:pt>
                <c:pt idx="66">
                  <c:v>Private Lab</c:v>
                </c:pt>
                <c:pt idx="67">
                  <c:v>Lepetit</c:v>
                </c:pt>
                <c:pt idx="68">
                  <c:v>President</c:v>
                </c:pt>
                <c:pt idx="69">
                  <c:v>Private Lab</c:v>
                </c:pt>
                <c:pt idx="70">
                  <c:v>Ficello</c:v>
                </c:pt>
                <c:pt idx="71">
                  <c:v>Societe</c:v>
                </c:pt>
                <c:pt idx="72">
                  <c:v>Private Lab</c:v>
                </c:pt>
                <c:pt idx="73">
                  <c:v>Apericube</c:v>
                </c:pt>
                <c:pt idx="74">
                  <c:v>Leerdammer</c:v>
                </c:pt>
                <c:pt idx="75">
                  <c:v>Philadelphi</c:v>
                </c:pt>
                <c:pt idx="76">
                  <c:v>Private Lab</c:v>
                </c:pt>
                <c:pt idx="77">
                  <c:v>Istara</c:v>
                </c:pt>
                <c:pt idx="78">
                  <c:v>St Moret</c:v>
                </c:pt>
                <c:pt idx="79">
                  <c:v>Caprice Des</c:v>
                </c:pt>
                <c:pt idx="80">
                  <c:v>Coeur De Li</c:v>
                </c:pt>
                <c:pt idx="81">
                  <c:v>Private Lab</c:v>
                </c:pt>
                <c:pt idx="82">
                  <c:v>Private Lab</c:v>
                </c:pt>
                <c:pt idx="83">
                  <c:v>Entremont</c:v>
                </c:pt>
                <c:pt idx="84">
                  <c:v>Private Lab</c:v>
                </c:pt>
                <c:pt idx="85">
                  <c:v>All Others</c:v>
                </c:pt>
                <c:pt idx="86">
                  <c:v>St Moret</c:v>
                </c:pt>
                <c:pt idx="87">
                  <c:v>Private Lab</c:v>
                </c:pt>
                <c:pt idx="88">
                  <c:v>Private Lab</c:v>
                </c:pt>
                <c:pt idx="89">
                  <c:v>Galbani</c:v>
                </c:pt>
                <c:pt idx="90">
                  <c:v>Entremont</c:v>
                </c:pt>
                <c:pt idx="91">
                  <c:v>Lou Perac</c:v>
                </c:pt>
                <c:pt idx="92">
                  <c:v>Salakis</c:v>
                </c:pt>
                <c:pt idx="93">
                  <c:v>Private Lab</c:v>
                </c:pt>
                <c:pt idx="94">
                  <c:v>Soignon</c:v>
                </c:pt>
                <c:pt idx="95">
                  <c:v>All Others</c:v>
                </c:pt>
                <c:pt idx="96">
                  <c:v>Private Lab</c:v>
                </c:pt>
                <c:pt idx="97">
                  <c:v>Boursin</c:v>
                </c:pt>
                <c:pt idx="98">
                  <c:v>Galbani</c:v>
                </c:pt>
                <c:pt idx="99">
                  <c:v>President</c:v>
                </c:pt>
                <c:pt idx="100">
                  <c:v>Casa Azzurr</c:v>
                </c:pt>
                <c:pt idx="101">
                  <c:v>Private Lab</c:v>
                </c:pt>
                <c:pt idx="102">
                  <c:v>Private Lab</c:v>
                </c:pt>
                <c:pt idx="103">
                  <c:v>Tartare</c:v>
                </c:pt>
                <c:pt idx="104">
                  <c:v>Juraflore</c:v>
                </c:pt>
                <c:pt idx="105">
                  <c:v>Private Lab</c:v>
                </c:pt>
                <c:pt idx="106">
                  <c:v>All Others</c:v>
                </c:pt>
                <c:pt idx="107">
                  <c:v>Private Lab</c:v>
                </c:pt>
                <c:pt idx="108">
                  <c:v>Soignon</c:v>
                </c:pt>
                <c:pt idx="109">
                  <c:v>Private Lab</c:v>
                </c:pt>
                <c:pt idx="110">
                  <c:v>Private Lab</c:v>
                </c:pt>
                <c:pt idx="111">
                  <c:v>Tartare</c:v>
                </c:pt>
                <c:pt idx="112">
                  <c:v>President</c:v>
                </c:pt>
                <c:pt idx="113">
                  <c:v>Private Lab</c:v>
                </c:pt>
                <c:pt idx="114">
                  <c:v>Aperivrais</c:v>
                </c:pt>
                <c:pt idx="115">
                  <c:v>Saint Agur</c:v>
                </c:pt>
                <c:pt idx="116">
                  <c:v>Le Brebiou</c:v>
                </c:pt>
                <c:pt idx="117">
                  <c:v>Private Lab</c:v>
                </c:pt>
                <c:pt idx="118">
                  <c:v>Private Lab</c:v>
                </c:pt>
                <c:pt idx="119">
                  <c:v>President</c:v>
                </c:pt>
                <c:pt idx="120">
                  <c:v>Boursin</c:v>
                </c:pt>
                <c:pt idx="121">
                  <c:v>Private Lab</c:v>
                </c:pt>
                <c:pt idx="122">
                  <c:v>Private Lab</c:v>
                </c:pt>
                <c:pt idx="123">
                  <c:v>Coeur De Li</c:v>
                </c:pt>
                <c:pt idx="124">
                  <c:v>Etorki</c:v>
                </c:pt>
                <c:pt idx="125">
                  <c:v>President</c:v>
                </c:pt>
                <c:pt idx="126">
                  <c:v>Casa Azzurr</c:v>
                </c:pt>
                <c:pt idx="127">
                  <c:v>President</c:v>
                </c:pt>
                <c:pt idx="128">
                  <c:v>St Moret</c:v>
                </c:pt>
                <c:pt idx="129">
                  <c:v>St Moret</c:v>
                </c:pt>
                <c:pt idx="130">
                  <c:v>Galbani</c:v>
                </c:pt>
                <c:pt idx="131">
                  <c:v>Boursin</c:v>
                </c:pt>
                <c:pt idx="132">
                  <c:v>Entremont</c:v>
                </c:pt>
                <c:pt idx="133">
                  <c:v>President</c:v>
                </c:pt>
                <c:pt idx="134">
                  <c:v>Richesmonts</c:v>
                </c:pt>
                <c:pt idx="135">
                  <c:v>All Others</c:v>
                </c:pt>
                <c:pt idx="136">
                  <c:v>President</c:v>
                </c:pt>
                <c:pt idx="137">
                  <c:v>Richesmonts</c:v>
                </c:pt>
                <c:pt idx="138">
                  <c:v>Entremont</c:v>
                </c:pt>
                <c:pt idx="139">
                  <c:v>Paysan Bret</c:v>
                </c:pt>
                <c:pt idx="140">
                  <c:v>St Moret</c:v>
                </c:pt>
                <c:pt idx="141">
                  <c:v>Private Lab</c:v>
                </c:pt>
                <c:pt idx="142">
                  <c:v>Private Lab</c:v>
                </c:pt>
                <c:pt idx="143">
                  <c:v>Aperivrais</c:v>
                </c:pt>
                <c:pt idx="144">
                  <c:v>Casa Azzurr</c:v>
                </c:pt>
                <c:pt idx="145">
                  <c:v>Chavroux</c:v>
                </c:pt>
                <c:pt idx="146">
                  <c:v>Private Lab</c:v>
                </c:pt>
                <c:pt idx="147">
                  <c:v>Kiri</c:v>
                </c:pt>
                <c:pt idx="148">
                  <c:v>Paysan Bret</c:v>
                </c:pt>
                <c:pt idx="149">
                  <c:v>L'Ortolan</c:v>
                </c:pt>
                <c:pt idx="150">
                  <c:v>All Others</c:v>
                </c:pt>
                <c:pt idx="151">
                  <c:v>Chaussee Au</c:v>
                </c:pt>
                <c:pt idx="152">
                  <c:v>Private Lab</c:v>
                </c:pt>
                <c:pt idx="153">
                  <c:v>Pochat</c:v>
                </c:pt>
                <c:pt idx="154">
                  <c:v>Apericube</c:v>
                </c:pt>
                <c:pt idx="155">
                  <c:v>La Vache Qu</c:v>
                </c:pt>
                <c:pt idx="156">
                  <c:v>Casa Azzurr</c:v>
                </c:pt>
                <c:pt idx="157">
                  <c:v>All Others</c:v>
                </c:pt>
                <c:pt idx="158">
                  <c:v>Saint Albra</c:v>
                </c:pt>
                <c:pt idx="159">
                  <c:v>Private Lab</c:v>
                </c:pt>
                <c:pt idx="160">
                  <c:v>Entremont</c:v>
                </c:pt>
                <c:pt idx="161">
                  <c:v>Private Lab</c:v>
                </c:pt>
                <c:pt idx="162">
                  <c:v>St Moret</c:v>
                </c:pt>
                <c:pt idx="163">
                  <c:v>Mini Babybe</c:v>
                </c:pt>
                <c:pt idx="164">
                  <c:v>President</c:v>
                </c:pt>
                <c:pt idx="165">
                  <c:v>Apericube</c:v>
                </c:pt>
                <c:pt idx="166">
                  <c:v>Private Lab</c:v>
                </c:pt>
                <c:pt idx="167">
                  <c:v>Private Lab</c:v>
                </c:pt>
                <c:pt idx="168">
                  <c:v>President</c:v>
                </c:pt>
                <c:pt idx="169">
                  <c:v>Soignon</c:v>
                </c:pt>
                <c:pt idx="170">
                  <c:v>Private Lab</c:v>
                </c:pt>
                <c:pt idx="171">
                  <c:v>Private Lab</c:v>
                </c:pt>
                <c:pt idx="172">
                  <c:v>President</c:v>
                </c:pt>
                <c:pt idx="173">
                  <c:v>Private Lab</c:v>
                </c:pt>
                <c:pt idx="174">
                  <c:v>Apericube</c:v>
                </c:pt>
                <c:pt idx="175">
                  <c:v>La Vache Qu</c:v>
                </c:pt>
                <c:pt idx="176">
                  <c:v>Private Lab</c:v>
                </c:pt>
                <c:pt idx="177">
                  <c:v>Le Rustique</c:v>
                </c:pt>
                <c:pt idx="178">
                  <c:v>Entremont</c:v>
                </c:pt>
                <c:pt idx="179">
                  <c:v>Private Lab</c:v>
                </c:pt>
                <c:pt idx="180">
                  <c:v>Mini Babybe</c:v>
                </c:pt>
                <c:pt idx="181">
                  <c:v>Istara</c:v>
                </c:pt>
                <c:pt idx="182">
                  <c:v>Private Lab</c:v>
                </c:pt>
                <c:pt idx="183">
                  <c:v>Private Lab</c:v>
                </c:pt>
                <c:pt idx="184">
                  <c:v>Private Lab</c:v>
                </c:pt>
                <c:pt idx="185">
                  <c:v>President</c:v>
                </c:pt>
                <c:pt idx="186">
                  <c:v>Salakis</c:v>
                </c:pt>
                <c:pt idx="187">
                  <c:v>Private Lab</c:v>
                </c:pt>
                <c:pt idx="188">
                  <c:v>Casa Azzurr</c:v>
                </c:pt>
                <c:pt idx="189">
                  <c:v>Private Lab</c:v>
                </c:pt>
                <c:pt idx="190">
                  <c:v>Private Lab</c:v>
                </c:pt>
                <c:pt idx="191">
                  <c:v>Private Lab</c:v>
                </c:pt>
                <c:pt idx="192">
                  <c:v>Private Lab</c:v>
                </c:pt>
                <c:pt idx="193">
                  <c:v>Leerdammer</c:v>
                </c:pt>
                <c:pt idx="194">
                  <c:v>Richesmonts</c:v>
                </c:pt>
                <c:pt idx="195">
                  <c:v>La Vache Qu</c:v>
                </c:pt>
                <c:pt idx="196">
                  <c:v>Coeur De Li</c:v>
                </c:pt>
                <c:pt idx="197">
                  <c:v>Richesmonts</c:v>
                </c:pt>
                <c:pt idx="198">
                  <c:v>Casa Azzurr</c:v>
                </c:pt>
                <c:pt idx="199">
                  <c:v>Lactalis: A</c:v>
                </c:pt>
                <c:pt idx="200">
                  <c:v>President</c:v>
                </c:pt>
                <c:pt idx="201">
                  <c:v>Leerdammer</c:v>
                </c:pt>
                <c:pt idx="202">
                  <c:v>Lactalis: A</c:v>
                </c:pt>
                <c:pt idx="203">
                  <c:v>Private Lab</c:v>
                </c:pt>
                <c:pt idx="204">
                  <c:v>Private Lab</c:v>
                </c:pt>
                <c:pt idx="205">
                  <c:v>Casa Azzurr</c:v>
                </c:pt>
                <c:pt idx="206">
                  <c:v>All Others</c:v>
                </c:pt>
                <c:pt idx="207">
                  <c:v>Caprice Des</c:v>
                </c:pt>
                <c:pt idx="208">
                  <c:v>Leerdammer</c:v>
                </c:pt>
                <c:pt idx="209">
                  <c:v>Private Lab</c:v>
                </c:pt>
                <c:pt idx="210">
                  <c:v>Saint Agur</c:v>
                </c:pt>
                <c:pt idx="211">
                  <c:v>Private Lab</c:v>
                </c:pt>
                <c:pt idx="212">
                  <c:v>All Others</c:v>
                </c:pt>
                <c:pt idx="213">
                  <c:v>Casa Azzurr</c:v>
                </c:pt>
                <c:pt idx="214">
                  <c:v>Lactalis: A</c:v>
                </c:pt>
                <c:pt idx="215">
                  <c:v>Private Lab</c:v>
                </c:pt>
                <c:pt idx="216">
                  <c:v>Bresse Bleu</c:v>
                </c:pt>
                <c:pt idx="217">
                  <c:v>Private Lab</c:v>
                </c:pt>
                <c:pt idx="218">
                  <c:v>Private Lab</c:v>
                </c:pt>
                <c:pt idx="219">
                  <c:v>Soignon</c:v>
                </c:pt>
                <c:pt idx="220">
                  <c:v>President</c:v>
                </c:pt>
                <c:pt idx="221">
                  <c:v>Private Lab</c:v>
                </c:pt>
                <c:pt idx="222">
                  <c:v>Kiri</c:v>
                </c:pt>
                <c:pt idx="223">
                  <c:v>Le Rustique</c:v>
                </c:pt>
                <c:pt idx="224">
                  <c:v>Salakis</c:v>
                </c:pt>
                <c:pt idx="225">
                  <c:v>Richesmonts</c:v>
                </c:pt>
                <c:pt idx="226">
                  <c:v>All Others</c:v>
                </c:pt>
                <c:pt idx="227">
                  <c:v>Lou Perac</c:v>
                </c:pt>
                <c:pt idx="228">
                  <c:v>Casa Azzurr</c:v>
                </c:pt>
                <c:pt idx="229">
                  <c:v>Private Lab</c:v>
                </c:pt>
                <c:pt idx="230">
                  <c:v>All Others</c:v>
                </c:pt>
                <c:pt idx="231">
                  <c:v>Leerdammer</c:v>
                </c:pt>
                <c:pt idx="232">
                  <c:v>Entremont</c:v>
                </c:pt>
                <c:pt idx="233">
                  <c:v>Private Lab</c:v>
                </c:pt>
                <c:pt idx="234">
                  <c:v>Tartare</c:v>
                </c:pt>
                <c:pt idx="235">
                  <c:v>Private Lab</c:v>
                </c:pt>
                <c:pt idx="236">
                  <c:v>Private Lab</c:v>
                </c:pt>
                <c:pt idx="237">
                  <c:v>Apericube</c:v>
                </c:pt>
                <c:pt idx="238">
                  <c:v>Parmareggio</c:v>
                </c:pt>
                <c:pt idx="239">
                  <c:v>Entremont</c:v>
                </c:pt>
                <c:pt idx="240">
                  <c:v>Leerdammer</c:v>
                </c:pt>
                <c:pt idx="241">
                  <c:v>Private Lab</c:v>
                </c:pt>
                <c:pt idx="242">
                  <c:v>Private Lab</c:v>
                </c:pt>
                <c:pt idx="243">
                  <c:v>Le Rustique</c:v>
                </c:pt>
                <c:pt idx="244">
                  <c:v>Private Lab</c:v>
                </c:pt>
                <c:pt idx="245">
                  <c:v>President</c:v>
                </c:pt>
                <c:pt idx="246">
                  <c:v>Saint Agur</c:v>
                </c:pt>
                <c:pt idx="247">
                  <c:v>Entremont</c:v>
                </c:pt>
                <c:pt idx="248">
                  <c:v>Babybel</c:v>
                </c:pt>
                <c:pt idx="249">
                  <c:v>President</c:v>
                </c:pt>
                <c:pt idx="250">
                  <c:v>Paysan Bret</c:v>
                </c:pt>
                <c:pt idx="251">
                  <c:v>P'Tit Louis</c:v>
                </c:pt>
                <c:pt idx="252">
                  <c:v>All Others</c:v>
                </c:pt>
                <c:pt idx="253">
                  <c:v>Galbani</c:v>
                </c:pt>
                <c:pt idx="254">
                  <c:v>Private Lab</c:v>
                </c:pt>
                <c:pt idx="255">
                  <c:v>Entremont</c:v>
                </c:pt>
                <c:pt idx="256">
                  <c:v>Carre Frais</c:v>
                </c:pt>
                <c:pt idx="257">
                  <c:v>Philadelphi</c:v>
                </c:pt>
                <c:pt idx="258">
                  <c:v>Boursin</c:v>
                </c:pt>
                <c:pt idx="259">
                  <c:v>Private Lab</c:v>
                </c:pt>
                <c:pt idx="260">
                  <c:v>Mini Babybe</c:v>
                </c:pt>
                <c:pt idx="261">
                  <c:v>Private Lab</c:v>
                </c:pt>
                <c:pt idx="262">
                  <c:v>Private Lab</c:v>
                </c:pt>
                <c:pt idx="263">
                  <c:v>Richesmonts</c:v>
                </c:pt>
                <c:pt idx="264">
                  <c:v>Private Lab</c:v>
                </c:pt>
                <c:pt idx="265">
                  <c:v>Chavroux</c:v>
                </c:pt>
                <c:pt idx="266">
                  <c:v>Private Lab</c:v>
                </c:pt>
                <c:pt idx="267">
                  <c:v>Private Lab</c:v>
                </c:pt>
                <c:pt idx="268">
                  <c:v>Paysan Bret</c:v>
                </c:pt>
                <c:pt idx="269">
                  <c:v>Boursin</c:v>
                </c:pt>
                <c:pt idx="270">
                  <c:v>All Others</c:v>
                </c:pt>
                <c:pt idx="271">
                  <c:v>Soignon</c:v>
                </c:pt>
                <c:pt idx="272">
                  <c:v>Rondele</c:v>
                </c:pt>
                <c:pt idx="273">
                  <c:v>Private Lab</c:v>
                </c:pt>
                <c:pt idx="274">
                  <c:v>Private Lab</c:v>
                </c:pt>
                <c:pt idx="275">
                  <c:v>Saint Agur</c:v>
                </c:pt>
                <c:pt idx="276">
                  <c:v>Galbani</c:v>
                </c:pt>
                <c:pt idx="277">
                  <c:v>Entremont</c:v>
                </c:pt>
                <c:pt idx="278">
                  <c:v>Private Lab</c:v>
                </c:pt>
                <c:pt idx="279">
                  <c:v>Fol Epi</c:v>
                </c:pt>
                <c:pt idx="280">
                  <c:v>Private Lab</c:v>
                </c:pt>
                <c:pt idx="281">
                  <c:v>All Others</c:v>
                </c:pt>
                <c:pt idx="282">
                  <c:v>All Others</c:v>
                </c:pt>
                <c:pt idx="283">
                  <c:v>Private Lab</c:v>
                </c:pt>
                <c:pt idx="284">
                  <c:v>Private Lab</c:v>
                </c:pt>
                <c:pt idx="285">
                  <c:v>Port Salut</c:v>
                </c:pt>
                <c:pt idx="286">
                  <c:v>Private Lab</c:v>
                </c:pt>
                <c:pt idx="287">
                  <c:v>Private Lab</c:v>
                </c:pt>
                <c:pt idx="288">
                  <c:v>All Others</c:v>
                </c:pt>
                <c:pt idx="289">
                  <c:v>Societe</c:v>
                </c:pt>
                <c:pt idx="290">
                  <c:v>All Others</c:v>
                </c:pt>
                <c:pt idx="291">
                  <c:v>Salakis</c:v>
                </c:pt>
                <c:pt idx="292">
                  <c:v>Private Lab</c:v>
                </c:pt>
                <c:pt idx="293">
                  <c:v>Apericube</c:v>
                </c:pt>
                <c:pt idx="294">
                  <c:v>All Others</c:v>
                </c:pt>
                <c:pt idx="295">
                  <c:v>Savencia: A</c:v>
                </c:pt>
                <c:pt idx="296">
                  <c:v>Soignon</c:v>
                </c:pt>
                <c:pt idx="297">
                  <c:v>Private Lab</c:v>
                </c:pt>
                <c:pt idx="298">
                  <c:v>Apericube</c:v>
                </c:pt>
                <c:pt idx="299">
                  <c:v>Pochat</c:v>
                </c:pt>
                <c:pt idx="300">
                  <c:v>Private Lab</c:v>
                </c:pt>
                <c:pt idx="301">
                  <c:v>Lactalis: A</c:v>
                </c:pt>
                <c:pt idx="302">
                  <c:v>All Others</c:v>
                </c:pt>
                <c:pt idx="303">
                  <c:v>Apericube</c:v>
                </c:pt>
                <c:pt idx="304">
                  <c:v>Mini Babybe</c:v>
                </c:pt>
                <c:pt idx="305">
                  <c:v>L'Ortolan</c:v>
                </c:pt>
                <c:pt idx="306">
                  <c:v>Soignon</c:v>
                </c:pt>
                <c:pt idx="307">
                  <c:v>Private Lab</c:v>
                </c:pt>
                <c:pt idx="308">
                  <c:v>Savencia: A</c:v>
                </c:pt>
                <c:pt idx="309">
                  <c:v>All Others</c:v>
                </c:pt>
                <c:pt idx="310">
                  <c:v>Richesmonts</c:v>
                </c:pt>
                <c:pt idx="311">
                  <c:v>President</c:v>
                </c:pt>
                <c:pt idx="312">
                  <c:v>All Others</c:v>
                </c:pt>
                <c:pt idx="313">
                  <c:v>La Vache Qu</c:v>
                </c:pt>
                <c:pt idx="314">
                  <c:v>Salakis</c:v>
                </c:pt>
                <c:pt idx="315">
                  <c:v>All Others</c:v>
                </c:pt>
                <c:pt idx="316">
                  <c:v>All Others</c:v>
                </c:pt>
                <c:pt idx="317">
                  <c:v>All Others</c:v>
                </c:pt>
                <c:pt idx="318">
                  <c:v>Soignon</c:v>
                </c:pt>
                <c:pt idx="319">
                  <c:v>Galbani</c:v>
                </c:pt>
                <c:pt idx="320">
                  <c:v>Bresse Bleu</c:v>
                </c:pt>
                <c:pt idx="321">
                  <c:v>All Others</c:v>
                </c:pt>
                <c:pt idx="322">
                  <c:v>Private Lab</c:v>
                </c:pt>
                <c:pt idx="323">
                  <c:v>Galbani</c:v>
                </c:pt>
                <c:pt idx="324">
                  <c:v>Paysan Bret</c:v>
                </c:pt>
                <c:pt idx="325">
                  <c:v>Richesmonts</c:v>
                </c:pt>
                <c:pt idx="326">
                  <c:v>All Others</c:v>
                </c:pt>
                <c:pt idx="327">
                  <c:v>Private Lab</c:v>
                </c:pt>
                <c:pt idx="328">
                  <c:v>Private Lab</c:v>
                </c:pt>
                <c:pt idx="329">
                  <c:v>All Others</c:v>
                </c:pt>
                <c:pt idx="330">
                  <c:v>Galbani</c:v>
                </c:pt>
                <c:pt idx="331">
                  <c:v>Caprice Des</c:v>
                </c:pt>
                <c:pt idx="332">
                  <c:v>Saint Albra</c:v>
                </c:pt>
                <c:pt idx="333">
                  <c:v>Private Lab</c:v>
                </c:pt>
                <c:pt idx="334">
                  <c:v>Entremont</c:v>
                </c:pt>
                <c:pt idx="335">
                  <c:v>President</c:v>
                </c:pt>
                <c:pt idx="336">
                  <c:v>President</c:v>
                </c:pt>
                <c:pt idx="337">
                  <c:v>President</c:v>
                </c:pt>
                <c:pt idx="338">
                  <c:v>Private Lab</c:v>
                </c:pt>
                <c:pt idx="339">
                  <c:v>All Others</c:v>
                </c:pt>
                <c:pt idx="340">
                  <c:v>Private Lab</c:v>
                </c:pt>
                <c:pt idx="341">
                  <c:v>Laita: All </c:v>
                </c:pt>
                <c:pt idx="342">
                  <c:v>La Vache Qu</c:v>
                </c:pt>
                <c:pt idx="343">
                  <c:v>All Others</c:v>
                </c:pt>
                <c:pt idx="344">
                  <c:v>Private Lab</c:v>
                </c:pt>
                <c:pt idx="345">
                  <c:v>Aperivrais</c:v>
                </c:pt>
                <c:pt idx="346">
                  <c:v>All Others</c:v>
                </c:pt>
                <c:pt idx="347">
                  <c:v>Cousteron</c:v>
                </c:pt>
                <c:pt idx="348">
                  <c:v>Private Lab</c:v>
                </c:pt>
                <c:pt idx="349">
                  <c:v>Kiri</c:v>
                </c:pt>
                <c:pt idx="350">
                  <c:v>All Others</c:v>
                </c:pt>
                <c:pt idx="351">
                  <c:v>Casa Azzurr</c:v>
                </c:pt>
                <c:pt idx="352">
                  <c:v>Private Lab</c:v>
                </c:pt>
                <c:pt idx="353">
                  <c:v>All Others</c:v>
                </c:pt>
                <c:pt idx="354">
                  <c:v>Fauquet</c:v>
                </c:pt>
                <c:pt idx="355">
                  <c:v>All Others</c:v>
                </c:pt>
                <c:pt idx="356">
                  <c:v>Private Lab</c:v>
                </c:pt>
                <c:pt idx="357">
                  <c:v>Entremont</c:v>
                </c:pt>
                <c:pt idx="358">
                  <c:v>All Others</c:v>
                </c:pt>
                <c:pt idx="359">
                  <c:v>President</c:v>
                </c:pt>
                <c:pt idx="360">
                  <c:v>Chavroux</c:v>
                </c:pt>
                <c:pt idx="361">
                  <c:v>President</c:v>
                </c:pt>
                <c:pt idx="362">
                  <c:v>Private Lab</c:v>
                </c:pt>
                <c:pt idx="363">
                  <c:v>Galbani</c:v>
                </c:pt>
                <c:pt idx="364">
                  <c:v>Soignon</c:v>
                </c:pt>
                <c:pt idx="365">
                  <c:v>Boursin</c:v>
                </c:pt>
                <c:pt idx="366">
                  <c:v>Entremont</c:v>
                </c:pt>
                <c:pt idx="367">
                  <c:v>All Others</c:v>
                </c:pt>
                <c:pt idx="368">
                  <c:v>Leerdammer</c:v>
                </c:pt>
                <c:pt idx="369">
                  <c:v>Private Lab</c:v>
                </c:pt>
                <c:pt idx="370">
                  <c:v>All Others</c:v>
                </c:pt>
                <c:pt idx="371">
                  <c:v>Private Lab</c:v>
                </c:pt>
                <c:pt idx="372">
                  <c:v>Casa Azzurr</c:v>
                </c:pt>
                <c:pt idx="373">
                  <c:v>President</c:v>
                </c:pt>
                <c:pt idx="374">
                  <c:v>Apericube</c:v>
                </c:pt>
                <c:pt idx="375">
                  <c:v>All Others</c:v>
                </c:pt>
                <c:pt idx="376">
                  <c:v>All Others</c:v>
                </c:pt>
                <c:pt idx="377">
                  <c:v>Entremont</c:v>
                </c:pt>
                <c:pt idx="378">
                  <c:v>All Others</c:v>
                </c:pt>
                <c:pt idx="379">
                  <c:v>St Moret</c:v>
                </c:pt>
                <c:pt idx="380">
                  <c:v>Private Lab</c:v>
                </c:pt>
                <c:pt idx="381">
                  <c:v>Casa Azzurr</c:v>
                </c:pt>
                <c:pt idx="382">
                  <c:v>Private Lab</c:v>
                </c:pt>
                <c:pt idx="383">
                  <c:v>Private Lab</c:v>
                </c:pt>
                <c:pt idx="384">
                  <c:v>Richesmonts</c:v>
                </c:pt>
                <c:pt idx="385">
                  <c:v>Societe</c:v>
                </c:pt>
                <c:pt idx="386">
                  <c:v>All Others</c:v>
                </c:pt>
                <c:pt idx="387">
                  <c:v>Private Lab</c:v>
                </c:pt>
                <c:pt idx="388">
                  <c:v>Private Lab</c:v>
                </c:pt>
                <c:pt idx="389">
                  <c:v>Societe</c:v>
                </c:pt>
                <c:pt idx="390">
                  <c:v>All Others</c:v>
                </c:pt>
                <c:pt idx="391">
                  <c:v>Private Lab</c:v>
                </c:pt>
                <c:pt idx="392">
                  <c:v>Violife</c:v>
                </c:pt>
                <c:pt idx="393">
                  <c:v>Private Lab</c:v>
                </c:pt>
                <c:pt idx="394">
                  <c:v>All Others</c:v>
                </c:pt>
                <c:pt idx="395">
                  <c:v>Apericube</c:v>
                </c:pt>
                <c:pt idx="396">
                  <c:v>Leerdammer</c:v>
                </c:pt>
                <c:pt idx="397">
                  <c:v>Soignon</c:v>
                </c:pt>
                <c:pt idx="398">
                  <c:v>All Others</c:v>
                </c:pt>
                <c:pt idx="399">
                  <c:v>Private Lab</c:v>
                </c:pt>
                <c:pt idx="400">
                  <c:v>La Pointe P</c:v>
                </c:pt>
                <c:pt idx="401">
                  <c:v>La Pointe P</c:v>
                </c:pt>
                <c:pt idx="402">
                  <c:v>Boursin</c:v>
                </c:pt>
                <c:pt idx="403">
                  <c:v>Soignon</c:v>
                </c:pt>
                <c:pt idx="404">
                  <c:v>All Others</c:v>
                </c:pt>
                <c:pt idx="405">
                  <c:v>Casa Azzurr</c:v>
                </c:pt>
                <c:pt idx="406">
                  <c:v>Private Lab</c:v>
                </c:pt>
                <c:pt idx="407">
                  <c:v>Caprice Des</c:v>
                </c:pt>
                <c:pt idx="408">
                  <c:v>Private Lab</c:v>
                </c:pt>
                <c:pt idx="409">
                  <c:v>Private Lab</c:v>
                </c:pt>
                <c:pt idx="410">
                  <c:v>Pave D'Affi</c:v>
                </c:pt>
                <c:pt idx="411">
                  <c:v>All Others</c:v>
                </c:pt>
                <c:pt idx="412">
                  <c:v>All Others</c:v>
                </c:pt>
                <c:pt idx="413">
                  <c:v>Private Lab</c:v>
                </c:pt>
                <c:pt idx="414">
                  <c:v>Ficello</c:v>
                </c:pt>
                <c:pt idx="415">
                  <c:v>All Others</c:v>
                </c:pt>
                <c:pt idx="416">
                  <c:v>All Others</c:v>
                </c:pt>
                <c:pt idx="417">
                  <c:v>Pave D'Affi</c:v>
                </c:pt>
                <c:pt idx="418">
                  <c:v>Private Lab</c:v>
                </c:pt>
                <c:pt idx="419">
                  <c:v>Casa Azzurr</c:v>
                </c:pt>
                <c:pt idx="420">
                  <c:v>Mini Babybe</c:v>
                </c:pt>
                <c:pt idx="421">
                  <c:v>President</c:v>
                </c:pt>
                <c:pt idx="422">
                  <c:v>Etoile Du V</c:v>
                </c:pt>
                <c:pt idx="423">
                  <c:v>Lou Perac</c:v>
                </c:pt>
                <c:pt idx="424">
                  <c:v>Private Lab</c:v>
                </c:pt>
                <c:pt idx="425">
                  <c:v>Coeur De Li</c:v>
                </c:pt>
                <c:pt idx="426">
                  <c:v>Private Lab</c:v>
                </c:pt>
                <c:pt idx="427">
                  <c:v>Private Lab</c:v>
                </c:pt>
                <c:pt idx="428">
                  <c:v>Lou Perac</c:v>
                </c:pt>
                <c:pt idx="429">
                  <c:v>All Others</c:v>
                </c:pt>
                <c:pt idx="430">
                  <c:v>Private Lab</c:v>
                </c:pt>
                <c:pt idx="431">
                  <c:v>All Others</c:v>
                </c:pt>
                <c:pt idx="432">
                  <c:v>Vieux Pane</c:v>
                </c:pt>
                <c:pt idx="433">
                  <c:v>Apericube</c:v>
                </c:pt>
                <c:pt idx="434">
                  <c:v>All Others</c:v>
                </c:pt>
                <c:pt idx="435">
                  <c:v>Saint Agur</c:v>
                </c:pt>
                <c:pt idx="436">
                  <c:v>Paysan Bret</c:v>
                </c:pt>
                <c:pt idx="437">
                  <c:v>Private Lab</c:v>
                </c:pt>
                <c:pt idx="438">
                  <c:v>P'Tit Louis</c:v>
                </c:pt>
                <c:pt idx="439">
                  <c:v>All Others</c:v>
                </c:pt>
                <c:pt idx="440">
                  <c:v>Galbani</c:v>
                </c:pt>
                <c:pt idx="441">
                  <c:v>Galbani</c:v>
                </c:pt>
                <c:pt idx="442">
                  <c:v>All Others</c:v>
                </c:pt>
                <c:pt idx="443">
                  <c:v>Aperivrais</c:v>
                </c:pt>
                <c:pt idx="444">
                  <c:v>Chaussee Au</c:v>
                </c:pt>
                <c:pt idx="445">
                  <c:v>All Others</c:v>
                </c:pt>
                <c:pt idx="446">
                  <c:v>Private Lab</c:v>
                </c:pt>
                <c:pt idx="447">
                  <c:v>Private Lab</c:v>
                </c:pt>
                <c:pt idx="448">
                  <c:v>La Pointe P</c:v>
                </c:pt>
                <c:pt idx="449">
                  <c:v>All Others</c:v>
                </c:pt>
                <c:pt idx="450">
                  <c:v>Private Lab</c:v>
                </c:pt>
                <c:pt idx="451">
                  <c:v>All Others</c:v>
                </c:pt>
                <c:pt idx="452">
                  <c:v>All Others</c:v>
                </c:pt>
                <c:pt idx="453">
                  <c:v>Kiri</c:v>
                </c:pt>
                <c:pt idx="454">
                  <c:v>All Others</c:v>
                </c:pt>
                <c:pt idx="455">
                  <c:v>Entremont</c:v>
                </c:pt>
                <c:pt idx="456">
                  <c:v>Private Lab</c:v>
                </c:pt>
                <c:pt idx="457">
                  <c:v>Mini Babybe</c:v>
                </c:pt>
                <c:pt idx="458">
                  <c:v>St Moret</c:v>
                </c:pt>
                <c:pt idx="459">
                  <c:v>All Others</c:v>
                </c:pt>
                <c:pt idx="460">
                  <c:v>Tartare</c:v>
                </c:pt>
                <c:pt idx="461">
                  <c:v>All Others</c:v>
                </c:pt>
                <c:pt idx="462">
                  <c:v>Soignon</c:v>
                </c:pt>
                <c:pt idx="463">
                  <c:v>All Others</c:v>
                </c:pt>
                <c:pt idx="464">
                  <c:v>Private Lab</c:v>
                </c:pt>
                <c:pt idx="465">
                  <c:v>Private Lab</c:v>
                </c:pt>
                <c:pt idx="466">
                  <c:v>All Others</c:v>
                </c:pt>
                <c:pt idx="467">
                  <c:v>All Others</c:v>
                </c:pt>
                <c:pt idx="468">
                  <c:v>Private Lab</c:v>
                </c:pt>
                <c:pt idx="469">
                  <c:v>Casa Azzurr</c:v>
                </c:pt>
                <c:pt idx="470">
                  <c:v>La Pointe P</c:v>
                </c:pt>
                <c:pt idx="471">
                  <c:v>Fauquet</c:v>
                </c:pt>
                <c:pt idx="472">
                  <c:v>Juraflore</c:v>
                </c:pt>
                <c:pt idx="473">
                  <c:v>Private Lab</c:v>
                </c:pt>
                <c:pt idx="474">
                  <c:v>All Others</c:v>
                </c:pt>
                <c:pt idx="475">
                  <c:v>Paysan Bret</c:v>
                </c:pt>
                <c:pt idx="476">
                  <c:v>Boursin</c:v>
                </c:pt>
                <c:pt idx="477">
                  <c:v>La Vache Qu</c:v>
                </c:pt>
                <c:pt idx="478">
                  <c:v>Boursin</c:v>
                </c:pt>
                <c:pt idx="479">
                  <c:v>St Moret</c:v>
                </c:pt>
                <c:pt idx="480">
                  <c:v>Private Lab</c:v>
                </c:pt>
                <c:pt idx="481">
                  <c:v>P'Tit Louis</c:v>
                </c:pt>
                <c:pt idx="482">
                  <c:v>Leerdammer</c:v>
                </c:pt>
                <c:pt idx="483">
                  <c:v>Private Lab</c:v>
                </c:pt>
                <c:pt idx="484">
                  <c:v>Private Lab</c:v>
                </c:pt>
                <c:pt idx="485">
                  <c:v>Private Lab</c:v>
                </c:pt>
                <c:pt idx="486">
                  <c:v>Private Lab</c:v>
                </c:pt>
                <c:pt idx="487">
                  <c:v>Private Lab</c:v>
                </c:pt>
                <c:pt idx="488">
                  <c:v>All Others</c:v>
                </c:pt>
                <c:pt idx="489">
                  <c:v>All Others</c:v>
                </c:pt>
                <c:pt idx="490">
                  <c:v>Apericube</c:v>
                </c:pt>
                <c:pt idx="491">
                  <c:v>Savencia: A</c:v>
                </c:pt>
                <c:pt idx="492">
                  <c:v>All Others</c:v>
                </c:pt>
                <c:pt idx="493">
                  <c:v>Triballat N</c:v>
                </c:pt>
                <c:pt idx="494">
                  <c:v>All Others</c:v>
                </c:pt>
                <c:pt idx="495">
                  <c:v>All Others</c:v>
                </c:pt>
                <c:pt idx="496">
                  <c:v>All Others</c:v>
                </c:pt>
                <c:pt idx="497">
                  <c:v>Violife</c:v>
                </c:pt>
                <c:pt idx="498">
                  <c:v>Galbani</c:v>
                </c:pt>
                <c:pt idx="499">
                  <c:v>Pave D'Affi</c:v>
                </c:pt>
                <c:pt idx="500">
                  <c:v>Savencia: A</c:v>
                </c:pt>
                <c:pt idx="501">
                  <c:v>All Others</c:v>
                </c:pt>
                <c:pt idx="502">
                  <c:v>Etorki</c:v>
                </c:pt>
                <c:pt idx="503">
                  <c:v>All Others</c:v>
                </c:pt>
                <c:pt idx="504">
                  <c:v>All Others</c:v>
                </c:pt>
                <c:pt idx="505">
                  <c:v>Galbani</c:v>
                </c:pt>
                <c:pt idx="506">
                  <c:v>Kiri</c:v>
                </c:pt>
                <c:pt idx="507">
                  <c:v>All Others</c:v>
                </c:pt>
                <c:pt idx="508">
                  <c:v>Lactalis: A</c:v>
                </c:pt>
                <c:pt idx="509">
                  <c:v>Le Rustique</c:v>
                </c:pt>
                <c:pt idx="510">
                  <c:v>Entremont</c:v>
                </c:pt>
                <c:pt idx="511">
                  <c:v>Boursin</c:v>
                </c:pt>
                <c:pt idx="512">
                  <c:v>Richesmonts</c:v>
                </c:pt>
                <c:pt idx="513">
                  <c:v>Private Lab</c:v>
                </c:pt>
                <c:pt idx="514">
                  <c:v>All Others</c:v>
                </c:pt>
                <c:pt idx="515">
                  <c:v>Tartare</c:v>
                </c:pt>
                <c:pt idx="516">
                  <c:v>Societe</c:v>
                </c:pt>
                <c:pt idx="517">
                  <c:v>All Others</c:v>
                </c:pt>
                <c:pt idx="518">
                  <c:v>Caprice Des</c:v>
                </c:pt>
                <c:pt idx="519">
                  <c:v>All Others</c:v>
                </c:pt>
                <c:pt idx="520">
                  <c:v>President</c:v>
                </c:pt>
                <c:pt idx="521">
                  <c:v>Savencia: A</c:v>
                </c:pt>
                <c:pt idx="522">
                  <c:v>All Others</c:v>
                </c:pt>
                <c:pt idx="523">
                  <c:v>All Others</c:v>
                </c:pt>
                <c:pt idx="524">
                  <c:v>Private Lab</c:v>
                </c:pt>
                <c:pt idx="525">
                  <c:v>All Others</c:v>
                </c:pt>
                <c:pt idx="526">
                  <c:v>Private Lab</c:v>
                </c:pt>
                <c:pt idx="527">
                  <c:v>La Vache Qu</c:v>
                </c:pt>
                <c:pt idx="528">
                  <c:v>Casa Azzurr</c:v>
                </c:pt>
                <c:pt idx="529">
                  <c:v>Private Lab</c:v>
                </c:pt>
                <c:pt idx="530">
                  <c:v>Private Lab</c:v>
                </c:pt>
                <c:pt idx="531">
                  <c:v>Caprice Des</c:v>
                </c:pt>
                <c:pt idx="532">
                  <c:v>Etoile Du Q</c:v>
                </c:pt>
                <c:pt idx="533">
                  <c:v>Private Lab</c:v>
                </c:pt>
                <c:pt idx="534">
                  <c:v>Private Lab</c:v>
                </c:pt>
                <c:pt idx="535">
                  <c:v>All Others</c:v>
                </c:pt>
                <c:pt idx="536">
                  <c:v>Private Lab</c:v>
                </c:pt>
                <c:pt idx="537">
                  <c:v>Salakis</c:v>
                </c:pt>
                <c:pt idx="538">
                  <c:v>Casa Azzurr</c:v>
                </c:pt>
                <c:pt idx="539">
                  <c:v>All Others</c:v>
                </c:pt>
                <c:pt idx="540">
                  <c:v>All Others</c:v>
                </c:pt>
                <c:pt idx="541">
                  <c:v>All Others</c:v>
                </c:pt>
                <c:pt idx="542">
                  <c:v>All Others</c:v>
                </c:pt>
                <c:pt idx="543">
                  <c:v>All Others</c:v>
                </c:pt>
                <c:pt idx="544">
                  <c:v>Apericube</c:v>
                </c:pt>
                <c:pt idx="545">
                  <c:v>All Others</c:v>
                </c:pt>
                <c:pt idx="546">
                  <c:v>All Others</c:v>
                </c:pt>
                <c:pt idx="547">
                  <c:v>Galbani</c:v>
                </c:pt>
                <c:pt idx="548">
                  <c:v>Richesmonts</c:v>
                </c:pt>
                <c:pt idx="549">
                  <c:v>Lactalis: A</c:v>
                </c:pt>
                <c:pt idx="550">
                  <c:v>All Others</c:v>
                </c:pt>
                <c:pt idx="551">
                  <c:v>All Others</c:v>
                </c:pt>
                <c:pt idx="552">
                  <c:v>Boursin</c:v>
                </c:pt>
                <c:pt idx="553">
                  <c:v>All Others</c:v>
                </c:pt>
                <c:pt idx="554">
                  <c:v>All Others</c:v>
                </c:pt>
                <c:pt idx="555">
                  <c:v>All Others</c:v>
                </c:pt>
                <c:pt idx="556">
                  <c:v>All Others</c:v>
                </c:pt>
                <c:pt idx="557">
                  <c:v>President</c:v>
                </c:pt>
                <c:pt idx="558">
                  <c:v>All Others</c:v>
                </c:pt>
                <c:pt idx="559">
                  <c:v>Private Lab</c:v>
                </c:pt>
                <c:pt idx="560">
                  <c:v>All Others</c:v>
                </c:pt>
                <c:pt idx="561">
                  <c:v>Ficello</c:v>
                </c:pt>
                <c:pt idx="562">
                  <c:v>Private Lab</c:v>
                </c:pt>
                <c:pt idx="563">
                  <c:v>Philadelphi</c:v>
                </c:pt>
                <c:pt idx="564">
                  <c:v>All Others</c:v>
                </c:pt>
                <c:pt idx="565">
                  <c:v>All Others</c:v>
                </c:pt>
                <c:pt idx="566">
                  <c:v>Apericube</c:v>
                </c:pt>
                <c:pt idx="567">
                  <c:v>All Others</c:v>
                </c:pt>
                <c:pt idx="568">
                  <c:v>President</c:v>
                </c:pt>
                <c:pt idx="569">
                  <c:v>Private Lab</c:v>
                </c:pt>
                <c:pt idx="570">
                  <c:v>Private Lab</c:v>
                </c:pt>
                <c:pt idx="571">
                  <c:v>All Others</c:v>
                </c:pt>
                <c:pt idx="572">
                  <c:v>Galbani</c:v>
                </c:pt>
                <c:pt idx="573">
                  <c:v>Leerdammer</c:v>
                </c:pt>
                <c:pt idx="574">
                  <c:v>All Others</c:v>
                </c:pt>
                <c:pt idx="575">
                  <c:v>Entremont</c:v>
                </c:pt>
                <c:pt idx="576">
                  <c:v>Corsica</c:v>
                </c:pt>
                <c:pt idx="577">
                  <c:v>All Others</c:v>
                </c:pt>
                <c:pt idx="578">
                  <c:v>La Pointe P</c:v>
                </c:pt>
                <c:pt idx="579">
                  <c:v>Private Lab</c:v>
                </c:pt>
                <c:pt idx="580">
                  <c:v>Private Lab</c:v>
                </c:pt>
                <c:pt idx="581">
                  <c:v>President</c:v>
                </c:pt>
                <c:pt idx="582">
                  <c:v>La Pointe P</c:v>
                </c:pt>
                <c:pt idx="583">
                  <c:v>Kiri</c:v>
                </c:pt>
                <c:pt idx="584">
                  <c:v>All Others</c:v>
                </c:pt>
                <c:pt idx="585">
                  <c:v>President</c:v>
                </c:pt>
                <c:pt idx="586">
                  <c:v>Tartare</c:v>
                </c:pt>
                <c:pt idx="587">
                  <c:v>Private Lab</c:v>
                </c:pt>
                <c:pt idx="588">
                  <c:v>All Others</c:v>
                </c:pt>
                <c:pt idx="589">
                  <c:v>All Others</c:v>
                </c:pt>
                <c:pt idx="590">
                  <c:v>Le Coq Crem</c:v>
                </c:pt>
                <c:pt idx="591">
                  <c:v>All Others</c:v>
                </c:pt>
                <c:pt idx="592">
                  <c:v>Rondele</c:v>
                </c:pt>
                <c:pt idx="593">
                  <c:v>Leerdammer</c:v>
                </c:pt>
                <c:pt idx="594">
                  <c:v>All Others</c:v>
                </c:pt>
                <c:pt idx="595">
                  <c:v>Societe</c:v>
                </c:pt>
                <c:pt idx="596">
                  <c:v>Private Lab</c:v>
                </c:pt>
                <c:pt idx="597">
                  <c:v>Galbani</c:v>
                </c:pt>
                <c:pt idx="598">
                  <c:v>President</c:v>
                </c:pt>
                <c:pt idx="599">
                  <c:v>Casa Azzurr</c:v>
                </c:pt>
                <c:pt idx="600">
                  <c:v>All Others</c:v>
                </c:pt>
                <c:pt idx="601">
                  <c:v>Private Lab</c:v>
                </c:pt>
                <c:pt idx="602">
                  <c:v>Corsica</c:v>
                </c:pt>
                <c:pt idx="603">
                  <c:v>Private Lab</c:v>
                </c:pt>
                <c:pt idx="604">
                  <c:v>Violife</c:v>
                </c:pt>
                <c:pt idx="605">
                  <c:v>Pave D'Affi</c:v>
                </c:pt>
                <c:pt idx="606">
                  <c:v>All Others</c:v>
                </c:pt>
                <c:pt idx="607">
                  <c:v>All Others</c:v>
                </c:pt>
                <c:pt idx="608">
                  <c:v>Entremont</c:v>
                </c:pt>
                <c:pt idx="609">
                  <c:v>La Pointe P</c:v>
                </c:pt>
                <c:pt idx="610">
                  <c:v>Juraflore</c:v>
                </c:pt>
                <c:pt idx="611">
                  <c:v>Mini Babybe</c:v>
                </c:pt>
                <c:pt idx="612">
                  <c:v>All Others</c:v>
                </c:pt>
                <c:pt idx="613">
                  <c:v>Istara</c:v>
                </c:pt>
                <c:pt idx="614">
                  <c:v>Etoile Du V</c:v>
                </c:pt>
                <c:pt idx="615">
                  <c:v>All Others</c:v>
                </c:pt>
                <c:pt idx="616">
                  <c:v>Soignon</c:v>
                </c:pt>
                <c:pt idx="617">
                  <c:v>All Others</c:v>
                </c:pt>
                <c:pt idx="618">
                  <c:v>All Others</c:v>
                </c:pt>
                <c:pt idx="619">
                  <c:v>All Others</c:v>
                </c:pt>
                <c:pt idx="620">
                  <c:v>Casa Azzurr</c:v>
                </c:pt>
                <c:pt idx="621">
                  <c:v>Richesmonts</c:v>
                </c:pt>
                <c:pt idx="622">
                  <c:v>All Others</c:v>
                </c:pt>
                <c:pt idx="623">
                  <c:v>Private Lab</c:v>
                </c:pt>
                <c:pt idx="624">
                  <c:v>President</c:v>
                </c:pt>
                <c:pt idx="625">
                  <c:v>Juraflore</c:v>
                </c:pt>
                <c:pt idx="626">
                  <c:v>Apericube</c:v>
                </c:pt>
                <c:pt idx="627">
                  <c:v>Etoile Du V</c:v>
                </c:pt>
                <c:pt idx="628">
                  <c:v>All Others</c:v>
                </c:pt>
                <c:pt idx="629">
                  <c:v>Private Lab</c:v>
                </c:pt>
                <c:pt idx="630">
                  <c:v>Lactalis: A</c:v>
                </c:pt>
                <c:pt idx="631">
                  <c:v>Rondele</c:v>
                </c:pt>
                <c:pt idx="632">
                  <c:v>All Others</c:v>
                </c:pt>
                <c:pt idx="633">
                  <c:v>Saint Agur</c:v>
                </c:pt>
                <c:pt idx="634">
                  <c:v>All Others</c:v>
                </c:pt>
                <c:pt idx="635">
                  <c:v>Lou Perac</c:v>
                </c:pt>
                <c:pt idx="636">
                  <c:v>All Others</c:v>
                </c:pt>
                <c:pt idx="637">
                  <c:v>Fauquet</c:v>
                </c:pt>
                <c:pt idx="638">
                  <c:v>Lactalis: A</c:v>
                </c:pt>
                <c:pt idx="639">
                  <c:v>President</c:v>
                </c:pt>
                <c:pt idx="640">
                  <c:v>Casa Azzurr</c:v>
                </c:pt>
                <c:pt idx="641">
                  <c:v>All Others</c:v>
                </c:pt>
                <c:pt idx="642">
                  <c:v>Private Lab</c:v>
                </c:pt>
                <c:pt idx="643">
                  <c:v>Pochat</c:v>
                </c:pt>
                <c:pt idx="644">
                  <c:v>Private Lab</c:v>
                </c:pt>
                <c:pt idx="645">
                  <c:v>All Others</c:v>
                </c:pt>
                <c:pt idx="646">
                  <c:v>All Others</c:v>
                </c:pt>
                <c:pt idx="647">
                  <c:v>Private Lab</c:v>
                </c:pt>
                <c:pt idx="648">
                  <c:v>Casa Azzurr</c:v>
                </c:pt>
                <c:pt idx="649">
                  <c:v>All Others</c:v>
                </c:pt>
                <c:pt idx="650">
                  <c:v>Eurial Autr</c:v>
                </c:pt>
                <c:pt idx="651">
                  <c:v>All Others</c:v>
                </c:pt>
                <c:pt idx="652">
                  <c:v>All Others</c:v>
                </c:pt>
                <c:pt idx="653">
                  <c:v>All Others</c:v>
                </c:pt>
                <c:pt idx="654">
                  <c:v>All Others</c:v>
                </c:pt>
                <c:pt idx="655">
                  <c:v>Galbani</c:v>
                </c:pt>
                <c:pt idx="656">
                  <c:v>Casa Azzurr</c:v>
                </c:pt>
                <c:pt idx="657">
                  <c:v>Pave D'Affi</c:v>
                </c:pt>
                <c:pt idx="658">
                  <c:v>President</c:v>
                </c:pt>
                <c:pt idx="659">
                  <c:v>Triballat R</c:v>
                </c:pt>
                <c:pt idx="660">
                  <c:v>Violife</c:v>
                </c:pt>
                <c:pt idx="661">
                  <c:v>Islos</c:v>
                </c:pt>
                <c:pt idx="662">
                  <c:v>Private Lab</c:v>
                </c:pt>
                <c:pt idx="663">
                  <c:v>All Others</c:v>
                </c:pt>
                <c:pt idx="664">
                  <c:v>Eurial Autr</c:v>
                </c:pt>
                <c:pt idx="665">
                  <c:v>Private Lab</c:v>
                </c:pt>
                <c:pt idx="666">
                  <c:v>All Others</c:v>
                </c:pt>
                <c:pt idx="667">
                  <c:v>Savencia: A</c:v>
                </c:pt>
                <c:pt idx="668">
                  <c:v>Apericube</c:v>
                </c:pt>
                <c:pt idx="669">
                  <c:v>All Others</c:v>
                </c:pt>
                <c:pt idx="670">
                  <c:v>Soignon</c:v>
                </c:pt>
                <c:pt idx="671">
                  <c:v>L'Ortolan</c:v>
                </c:pt>
                <c:pt idx="672">
                  <c:v>All Others</c:v>
                </c:pt>
                <c:pt idx="673">
                  <c:v>All Others</c:v>
                </c:pt>
                <c:pt idx="674">
                  <c:v>All Others</c:v>
                </c:pt>
                <c:pt idx="675">
                  <c:v>All Others</c:v>
                </c:pt>
                <c:pt idx="676">
                  <c:v>Port Salut</c:v>
                </c:pt>
                <c:pt idx="677">
                  <c:v>All Others</c:v>
                </c:pt>
                <c:pt idx="678">
                  <c:v>All Others</c:v>
                </c:pt>
                <c:pt idx="679">
                  <c:v>Private Lab</c:v>
                </c:pt>
                <c:pt idx="680">
                  <c:v>All Others</c:v>
                </c:pt>
                <c:pt idx="681">
                  <c:v>Babybel</c:v>
                </c:pt>
                <c:pt idx="682">
                  <c:v>All Others</c:v>
                </c:pt>
                <c:pt idx="683">
                  <c:v>Leerdammer</c:v>
                </c:pt>
                <c:pt idx="684">
                  <c:v>All Others</c:v>
                </c:pt>
                <c:pt idx="685">
                  <c:v>Private Lab</c:v>
                </c:pt>
                <c:pt idx="686">
                  <c:v>All Others</c:v>
                </c:pt>
                <c:pt idx="687">
                  <c:v>All Others</c:v>
                </c:pt>
                <c:pt idx="688">
                  <c:v>Apericube</c:v>
                </c:pt>
                <c:pt idx="689">
                  <c:v>Private Lab</c:v>
                </c:pt>
                <c:pt idx="690">
                  <c:v>All Others</c:v>
                </c:pt>
                <c:pt idx="691">
                  <c:v>Soignon</c:v>
                </c:pt>
                <c:pt idx="692">
                  <c:v>Milleret: A</c:v>
                </c:pt>
                <c:pt idx="693">
                  <c:v>Private Lab</c:v>
                </c:pt>
                <c:pt idx="694">
                  <c:v>All Others</c:v>
                </c:pt>
                <c:pt idx="695">
                  <c:v>Violife</c:v>
                </c:pt>
                <c:pt idx="696">
                  <c:v>All Others</c:v>
                </c:pt>
                <c:pt idx="697">
                  <c:v>All Others</c:v>
                </c:pt>
                <c:pt idx="698">
                  <c:v>All Others</c:v>
                </c:pt>
                <c:pt idx="699">
                  <c:v>Paysan Bret</c:v>
                </c:pt>
                <c:pt idx="700">
                  <c:v>Savencia: A</c:v>
                </c:pt>
                <c:pt idx="701">
                  <c:v>Private Lab</c:v>
                </c:pt>
                <c:pt idx="702">
                  <c:v>All Others</c:v>
                </c:pt>
                <c:pt idx="703">
                  <c:v>Private Lab</c:v>
                </c:pt>
                <c:pt idx="704">
                  <c:v>All Others</c:v>
                </c:pt>
                <c:pt idx="705">
                  <c:v>All Others</c:v>
                </c:pt>
                <c:pt idx="706">
                  <c:v>All Others</c:v>
                </c:pt>
                <c:pt idx="707">
                  <c:v>All Others</c:v>
                </c:pt>
                <c:pt idx="708">
                  <c:v>All Others</c:v>
                </c:pt>
                <c:pt idx="709">
                  <c:v>All Others</c:v>
                </c:pt>
                <c:pt idx="710">
                  <c:v>All Others</c:v>
                </c:pt>
                <c:pt idx="711">
                  <c:v>All Others</c:v>
                </c:pt>
                <c:pt idx="712">
                  <c:v>President</c:v>
                </c:pt>
                <c:pt idx="713">
                  <c:v>Private Lab</c:v>
                </c:pt>
                <c:pt idx="714">
                  <c:v>All Others</c:v>
                </c:pt>
                <c:pt idx="715">
                  <c:v>All Others</c:v>
                </c:pt>
                <c:pt idx="716">
                  <c:v>Saint Agur</c:v>
                </c:pt>
                <c:pt idx="717">
                  <c:v>Le Brebiou</c:v>
                </c:pt>
                <c:pt idx="718">
                  <c:v>All Others</c:v>
                </c:pt>
                <c:pt idx="719">
                  <c:v>Private Lab</c:v>
                </c:pt>
                <c:pt idx="720">
                  <c:v>All Others</c:v>
                </c:pt>
                <c:pt idx="721">
                  <c:v>Triballat N</c:v>
                </c:pt>
                <c:pt idx="722">
                  <c:v>Leerdammer</c:v>
                </c:pt>
                <c:pt idx="723">
                  <c:v>Private Lab</c:v>
                </c:pt>
                <c:pt idx="724">
                  <c:v>Islos</c:v>
                </c:pt>
                <c:pt idx="725">
                  <c:v>Private Lab</c:v>
                </c:pt>
                <c:pt idx="726">
                  <c:v>President</c:v>
                </c:pt>
                <c:pt idx="727">
                  <c:v>Salakis</c:v>
                </c:pt>
                <c:pt idx="728">
                  <c:v>All Others</c:v>
                </c:pt>
                <c:pt idx="729">
                  <c:v>Private Lab</c:v>
                </c:pt>
                <c:pt idx="730">
                  <c:v>All Others</c:v>
                </c:pt>
                <c:pt idx="731">
                  <c:v>Soignon</c:v>
                </c:pt>
                <c:pt idx="732">
                  <c:v>Private Lab</c:v>
                </c:pt>
                <c:pt idx="733">
                  <c:v>Entremont</c:v>
                </c:pt>
                <c:pt idx="734">
                  <c:v>Entremont</c:v>
                </c:pt>
                <c:pt idx="735">
                  <c:v>Boursin</c:v>
                </c:pt>
                <c:pt idx="736">
                  <c:v>All Others</c:v>
                </c:pt>
                <c:pt idx="737">
                  <c:v>La Belle Et</c:v>
                </c:pt>
                <c:pt idx="738">
                  <c:v>Lactalis: A</c:v>
                </c:pt>
                <c:pt idx="739">
                  <c:v>All Others</c:v>
                </c:pt>
                <c:pt idx="740">
                  <c:v>Private Lab</c:v>
                </c:pt>
                <c:pt idx="741">
                  <c:v>Lactalis: A</c:v>
                </c:pt>
                <c:pt idx="742">
                  <c:v>All Others</c:v>
                </c:pt>
                <c:pt idx="743">
                  <c:v>All Others</c:v>
                </c:pt>
                <c:pt idx="744">
                  <c:v>Entremont</c:v>
                </c:pt>
                <c:pt idx="745">
                  <c:v>Chaussee Au</c:v>
                </c:pt>
                <c:pt idx="746">
                  <c:v>All Others</c:v>
                </c:pt>
                <c:pt idx="747">
                  <c:v>O'Tapas Ape</c:v>
                </c:pt>
                <c:pt idx="748">
                  <c:v>Private Lab</c:v>
                </c:pt>
                <c:pt idx="749">
                  <c:v>All Others</c:v>
                </c:pt>
                <c:pt idx="750">
                  <c:v>Private Lab</c:v>
                </c:pt>
                <c:pt idx="751">
                  <c:v>All Others</c:v>
                </c:pt>
                <c:pt idx="752">
                  <c:v>Private Lab</c:v>
                </c:pt>
                <c:pt idx="753">
                  <c:v>Richesmonts</c:v>
                </c:pt>
                <c:pt idx="754">
                  <c:v>All Others</c:v>
                </c:pt>
                <c:pt idx="755">
                  <c:v>Richesmonts</c:v>
                </c:pt>
                <c:pt idx="756">
                  <c:v>All Others</c:v>
                </c:pt>
                <c:pt idx="757">
                  <c:v>All Others</c:v>
                </c:pt>
                <c:pt idx="758">
                  <c:v>All Others</c:v>
                </c:pt>
                <c:pt idx="759">
                  <c:v>Private Lab</c:v>
                </c:pt>
                <c:pt idx="760">
                  <c:v>Private Lab</c:v>
                </c:pt>
                <c:pt idx="761">
                  <c:v>All Others</c:v>
                </c:pt>
                <c:pt idx="762">
                  <c:v>Private Lab</c:v>
                </c:pt>
                <c:pt idx="763">
                  <c:v>All Others</c:v>
                </c:pt>
                <c:pt idx="764">
                  <c:v>Milleret: A</c:v>
                </c:pt>
                <c:pt idx="765">
                  <c:v>Mini Babybe</c:v>
                </c:pt>
                <c:pt idx="766">
                  <c:v>All Others</c:v>
                </c:pt>
                <c:pt idx="767">
                  <c:v>All Others</c:v>
                </c:pt>
                <c:pt idx="768">
                  <c:v>All Others</c:v>
                </c:pt>
                <c:pt idx="769">
                  <c:v>La Vache Qu</c:v>
                </c:pt>
                <c:pt idx="770">
                  <c:v>All Others</c:v>
                </c:pt>
                <c:pt idx="771">
                  <c:v>All Others</c:v>
                </c:pt>
                <c:pt idx="772">
                  <c:v>All Others</c:v>
                </c:pt>
                <c:pt idx="773">
                  <c:v>All Others</c:v>
                </c:pt>
                <c:pt idx="774">
                  <c:v>Richesmonts</c:v>
                </c:pt>
                <c:pt idx="775">
                  <c:v>La Belle Et</c:v>
                </c:pt>
                <c:pt idx="776">
                  <c:v>Richesmonts</c:v>
                </c:pt>
                <c:pt idx="777">
                  <c:v>Private Lab</c:v>
                </c:pt>
                <c:pt idx="778">
                  <c:v>Eurial Autr</c:v>
                </c:pt>
                <c:pt idx="779">
                  <c:v>Private Lab</c:v>
                </c:pt>
                <c:pt idx="780">
                  <c:v>Lactalis: A</c:v>
                </c:pt>
                <c:pt idx="781">
                  <c:v>Mini Babybe</c:v>
                </c:pt>
                <c:pt idx="782">
                  <c:v>All Others</c:v>
                </c:pt>
                <c:pt idx="783">
                  <c:v>Aperivrais</c:v>
                </c:pt>
                <c:pt idx="784">
                  <c:v>Private Lab</c:v>
                </c:pt>
                <c:pt idx="785">
                  <c:v>All Others</c:v>
                </c:pt>
                <c:pt idx="786">
                  <c:v>Societe</c:v>
                </c:pt>
                <c:pt idx="787">
                  <c:v>All Others</c:v>
                </c:pt>
                <c:pt idx="788">
                  <c:v>Private Lab</c:v>
                </c:pt>
                <c:pt idx="789">
                  <c:v>All Others</c:v>
                </c:pt>
                <c:pt idx="790">
                  <c:v>All Others</c:v>
                </c:pt>
                <c:pt idx="791">
                  <c:v>All Others</c:v>
                </c:pt>
                <c:pt idx="792">
                  <c:v>All Others</c:v>
                </c:pt>
                <c:pt idx="793">
                  <c:v>All Others</c:v>
                </c:pt>
                <c:pt idx="794">
                  <c:v>Pave D'Affi</c:v>
                </c:pt>
                <c:pt idx="795">
                  <c:v>Nurishh</c:v>
                </c:pt>
                <c:pt idx="796">
                  <c:v>All Others</c:v>
                </c:pt>
                <c:pt idx="797">
                  <c:v>All Others</c:v>
                </c:pt>
                <c:pt idx="798">
                  <c:v>Casa Azzurr</c:v>
                </c:pt>
                <c:pt idx="799">
                  <c:v>Private Lab</c:v>
                </c:pt>
                <c:pt idx="800">
                  <c:v>O'Tapas Ape</c:v>
                </c:pt>
                <c:pt idx="801">
                  <c:v>Boursin</c:v>
                </c:pt>
                <c:pt idx="802">
                  <c:v>All Others</c:v>
                </c:pt>
                <c:pt idx="803">
                  <c:v>Ficello</c:v>
                </c:pt>
                <c:pt idx="804">
                  <c:v>Fauquet</c:v>
                </c:pt>
                <c:pt idx="805">
                  <c:v>Apericube</c:v>
                </c:pt>
                <c:pt idx="806">
                  <c:v>Lactalis: A</c:v>
                </c:pt>
                <c:pt idx="807">
                  <c:v>All Others</c:v>
                </c:pt>
                <c:pt idx="808">
                  <c:v>Societe</c:v>
                </c:pt>
                <c:pt idx="809">
                  <c:v>Paysan Bret</c:v>
                </c:pt>
                <c:pt idx="810">
                  <c:v>Private Lab</c:v>
                </c:pt>
                <c:pt idx="811">
                  <c:v>All Others</c:v>
                </c:pt>
                <c:pt idx="812">
                  <c:v>All Others</c:v>
                </c:pt>
                <c:pt idx="813">
                  <c:v>All Others</c:v>
                </c:pt>
                <c:pt idx="814">
                  <c:v>All Others</c:v>
                </c:pt>
                <c:pt idx="815">
                  <c:v>Richesmonts</c:v>
                </c:pt>
                <c:pt idx="816">
                  <c:v>St Moret</c:v>
                </c:pt>
                <c:pt idx="817">
                  <c:v>Casa Azzurr</c:v>
                </c:pt>
                <c:pt idx="818">
                  <c:v>President</c:v>
                </c:pt>
                <c:pt idx="819">
                  <c:v>All Others</c:v>
                </c:pt>
                <c:pt idx="820">
                  <c:v>Private Lab</c:v>
                </c:pt>
                <c:pt idx="821">
                  <c:v>Entremont</c:v>
                </c:pt>
                <c:pt idx="822">
                  <c:v>Port Salut</c:v>
                </c:pt>
                <c:pt idx="823">
                  <c:v>All Others</c:v>
                </c:pt>
                <c:pt idx="824">
                  <c:v>All Others</c:v>
                </c:pt>
                <c:pt idx="825">
                  <c:v>Galbani</c:v>
                </c:pt>
                <c:pt idx="826">
                  <c:v>Aperivrais</c:v>
                </c:pt>
                <c:pt idx="827">
                  <c:v>All Others</c:v>
                </c:pt>
                <c:pt idx="828">
                  <c:v>Etoile Du Q</c:v>
                </c:pt>
                <c:pt idx="829">
                  <c:v>Leerdammer</c:v>
                </c:pt>
                <c:pt idx="830">
                  <c:v>Private Lab</c:v>
                </c:pt>
                <c:pt idx="831">
                  <c:v>St Moret</c:v>
                </c:pt>
                <c:pt idx="832">
                  <c:v>Eurial Autr</c:v>
                </c:pt>
                <c:pt idx="833">
                  <c:v>All Others</c:v>
                </c:pt>
                <c:pt idx="834">
                  <c:v>Casa Azzurr</c:v>
                </c:pt>
                <c:pt idx="835">
                  <c:v>Boursin</c:v>
                </c:pt>
                <c:pt idx="836">
                  <c:v>Eurial Autr</c:v>
                </c:pt>
                <c:pt idx="837">
                  <c:v>Etoile Du Q</c:v>
                </c:pt>
                <c:pt idx="838">
                  <c:v>All Others</c:v>
                </c:pt>
                <c:pt idx="839">
                  <c:v>All Others</c:v>
                </c:pt>
                <c:pt idx="840">
                  <c:v>All Others</c:v>
                </c:pt>
                <c:pt idx="841">
                  <c:v>L'Ortolan</c:v>
                </c:pt>
                <c:pt idx="842">
                  <c:v>Boursin</c:v>
                </c:pt>
                <c:pt idx="843">
                  <c:v>Saint Agur</c:v>
                </c:pt>
                <c:pt idx="844">
                  <c:v>All Others</c:v>
                </c:pt>
                <c:pt idx="845">
                  <c:v>All Others</c:v>
                </c:pt>
                <c:pt idx="846">
                  <c:v>Savencia: A</c:v>
                </c:pt>
                <c:pt idx="847">
                  <c:v>All Others</c:v>
                </c:pt>
                <c:pt idx="848">
                  <c:v>Savencia: A</c:v>
                </c:pt>
                <c:pt idx="849">
                  <c:v>All Others</c:v>
                </c:pt>
                <c:pt idx="850">
                  <c:v>All Others</c:v>
                </c:pt>
                <c:pt idx="851">
                  <c:v>All Others</c:v>
                </c:pt>
                <c:pt idx="852">
                  <c:v>Private Lab</c:v>
                </c:pt>
                <c:pt idx="853">
                  <c:v>All Others</c:v>
                </c:pt>
                <c:pt idx="854">
                  <c:v>L'Ortolan</c:v>
                </c:pt>
                <c:pt idx="855">
                  <c:v>Nurishh</c:v>
                </c:pt>
                <c:pt idx="856">
                  <c:v>Entremont</c:v>
                </c:pt>
                <c:pt idx="857">
                  <c:v>All Others</c:v>
                </c:pt>
                <c:pt idx="858">
                  <c:v>Richesmonts</c:v>
                </c:pt>
                <c:pt idx="859">
                  <c:v>O'Tapas Ape</c:v>
                </c:pt>
                <c:pt idx="860">
                  <c:v>All Others</c:v>
                </c:pt>
                <c:pt idx="861">
                  <c:v>Boursin</c:v>
                </c:pt>
                <c:pt idx="862">
                  <c:v>Salakis</c:v>
                </c:pt>
                <c:pt idx="863">
                  <c:v>All Others</c:v>
                </c:pt>
                <c:pt idx="864">
                  <c:v>Violife</c:v>
                </c:pt>
                <c:pt idx="865">
                  <c:v>All Others</c:v>
                </c:pt>
                <c:pt idx="866">
                  <c:v>Private Lab</c:v>
                </c:pt>
                <c:pt idx="867">
                  <c:v>All Others</c:v>
                </c:pt>
                <c:pt idx="868">
                  <c:v>All Others</c:v>
                </c:pt>
                <c:pt idx="869">
                  <c:v>Nurishh</c:v>
                </c:pt>
                <c:pt idx="870">
                  <c:v>Coeur De Li</c:v>
                </c:pt>
                <c:pt idx="871">
                  <c:v>Le Coq Crem</c:v>
                </c:pt>
                <c:pt idx="872">
                  <c:v>La Belle Et</c:v>
                </c:pt>
                <c:pt idx="873">
                  <c:v>All Others</c:v>
                </c:pt>
                <c:pt idx="874">
                  <c:v>All Others</c:v>
                </c:pt>
                <c:pt idx="875">
                  <c:v>All Others</c:v>
                </c:pt>
                <c:pt idx="876">
                  <c:v>Lactalis: A</c:v>
                </c:pt>
                <c:pt idx="877">
                  <c:v>Pave D'Affi</c:v>
                </c:pt>
                <c:pt idx="878">
                  <c:v>All Others</c:v>
                </c:pt>
                <c:pt idx="879">
                  <c:v>All Others</c:v>
                </c:pt>
                <c:pt idx="880">
                  <c:v>President</c:v>
                </c:pt>
                <c:pt idx="881">
                  <c:v>Triballat R</c:v>
                </c:pt>
                <c:pt idx="882">
                  <c:v>Galbani</c:v>
                </c:pt>
                <c:pt idx="883">
                  <c:v>Paysan Bret</c:v>
                </c:pt>
                <c:pt idx="884">
                  <c:v>Private Lab</c:v>
                </c:pt>
                <c:pt idx="885">
                  <c:v>Savencia: A</c:v>
                </c:pt>
                <c:pt idx="886">
                  <c:v>All Others</c:v>
                </c:pt>
                <c:pt idx="887">
                  <c:v>All Others</c:v>
                </c:pt>
                <c:pt idx="888">
                  <c:v>All Others</c:v>
                </c:pt>
                <c:pt idx="889">
                  <c:v>All Others</c:v>
                </c:pt>
                <c:pt idx="890">
                  <c:v>All Others</c:v>
                </c:pt>
                <c:pt idx="891">
                  <c:v>Casa Azzurr</c:v>
                </c:pt>
                <c:pt idx="892">
                  <c:v>All Others</c:v>
                </c:pt>
                <c:pt idx="893">
                  <c:v>Private Lab</c:v>
                </c:pt>
                <c:pt idx="894">
                  <c:v>All Others</c:v>
                </c:pt>
                <c:pt idx="895">
                  <c:v>All Others</c:v>
                </c:pt>
                <c:pt idx="896">
                  <c:v>All Others</c:v>
                </c:pt>
                <c:pt idx="897">
                  <c:v>Nurishh</c:v>
                </c:pt>
                <c:pt idx="898">
                  <c:v>All Others</c:v>
                </c:pt>
                <c:pt idx="899">
                  <c:v>Milleret: A</c:v>
                </c:pt>
                <c:pt idx="900">
                  <c:v>Violife</c:v>
                </c:pt>
                <c:pt idx="901">
                  <c:v>Private Lab</c:v>
                </c:pt>
                <c:pt idx="902">
                  <c:v>Tartare</c:v>
                </c:pt>
                <c:pt idx="903">
                  <c:v>All Others</c:v>
                </c:pt>
                <c:pt idx="904">
                  <c:v>All Others</c:v>
                </c:pt>
                <c:pt idx="905">
                  <c:v>Private Lab</c:v>
                </c:pt>
                <c:pt idx="906">
                  <c:v>All Others</c:v>
                </c:pt>
                <c:pt idx="907">
                  <c:v>President</c:v>
                </c:pt>
                <c:pt idx="908">
                  <c:v>Entremont</c:v>
                </c:pt>
                <c:pt idx="909">
                  <c:v>All Others</c:v>
                </c:pt>
                <c:pt idx="910">
                  <c:v>Galbani</c:v>
                </c:pt>
                <c:pt idx="911">
                  <c:v>Galbani</c:v>
                </c:pt>
                <c:pt idx="912">
                  <c:v>All Others</c:v>
                </c:pt>
                <c:pt idx="913">
                  <c:v>Triballat R</c:v>
                </c:pt>
                <c:pt idx="914">
                  <c:v>All Others</c:v>
                </c:pt>
                <c:pt idx="915">
                  <c:v>All Others</c:v>
                </c:pt>
                <c:pt idx="916">
                  <c:v>Savencia: A</c:v>
                </c:pt>
                <c:pt idx="917">
                  <c:v>All Others</c:v>
                </c:pt>
                <c:pt idx="918">
                  <c:v>All Others</c:v>
                </c:pt>
                <c:pt idx="919">
                  <c:v>Eurial Autr</c:v>
                </c:pt>
                <c:pt idx="920">
                  <c:v>Etorki</c:v>
                </c:pt>
                <c:pt idx="921">
                  <c:v>All Others</c:v>
                </c:pt>
                <c:pt idx="922">
                  <c:v>All Others</c:v>
                </c:pt>
                <c:pt idx="923">
                  <c:v>Paysan Bret</c:v>
                </c:pt>
                <c:pt idx="924">
                  <c:v>Lactalis: A</c:v>
                </c:pt>
                <c:pt idx="925">
                  <c:v>Triballat R</c:v>
                </c:pt>
                <c:pt idx="926">
                  <c:v>Tartare</c:v>
                </c:pt>
                <c:pt idx="927">
                  <c:v>Bresse Bleu</c:v>
                </c:pt>
                <c:pt idx="928">
                  <c:v>All Others</c:v>
                </c:pt>
                <c:pt idx="929">
                  <c:v>All Others</c:v>
                </c:pt>
                <c:pt idx="930">
                  <c:v>President</c:v>
                </c:pt>
                <c:pt idx="931">
                  <c:v>All Others</c:v>
                </c:pt>
                <c:pt idx="932">
                  <c:v>Nurishh</c:v>
                </c:pt>
                <c:pt idx="933">
                  <c:v>All Others</c:v>
                </c:pt>
                <c:pt idx="934">
                  <c:v>Private Lab</c:v>
                </c:pt>
                <c:pt idx="935">
                  <c:v>All Others</c:v>
                </c:pt>
                <c:pt idx="936">
                  <c:v>Boursin</c:v>
                </c:pt>
                <c:pt idx="937">
                  <c:v>All Others</c:v>
                </c:pt>
                <c:pt idx="938">
                  <c:v>All Others</c:v>
                </c:pt>
                <c:pt idx="939">
                  <c:v>Savencia: A</c:v>
                </c:pt>
                <c:pt idx="940">
                  <c:v>St Moret</c:v>
                </c:pt>
                <c:pt idx="941">
                  <c:v>Lactalis: A</c:v>
                </c:pt>
                <c:pt idx="942">
                  <c:v>Private Lab</c:v>
                </c:pt>
                <c:pt idx="943">
                  <c:v>All Others</c:v>
                </c:pt>
                <c:pt idx="944">
                  <c:v>All Others</c:v>
                </c:pt>
                <c:pt idx="945">
                  <c:v>Savencia: A</c:v>
                </c:pt>
                <c:pt idx="946">
                  <c:v>La Belle Et</c:v>
                </c:pt>
                <c:pt idx="947">
                  <c:v>All Others</c:v>
                </c:pt>
                <c:pt idx="948">
                  <c:v>All Others</c:v>
                </c:pt>
                <c:pt idx="949">
                  <c:v>All Others</c:v>
                </c:pt>
                <c:pt idx="950">
                  <c:v>Violife</c:v>
                </c:pt>
                <c:pt idx="951">
                  <c:v>All Others</c:v>
                </c:pt>
                <c:pt idx="952">
                  <c:v>All Others</c:v>
                </c:pt>
                <c:pt idx="953">
                  <c:v>President</c:v>
                </c:pt>
                <c:pt idx="954">
                  <c:v>Private Lab</c:v>
                </c:pt>
                <c:pt idx="955">
                  <c:v>Aperivrais</c:v>
                </c:pt>
                <c:pt idx="956">
                  <c:v>All Others</c:v>
                </c:pt>
                <c:pt idx="957">
                  <c:v>All Others</c:v>
                </c:pt>
                <c:pt idx="958">
                  <c:v>Apericube</c:v>
                </c:pt>
                <c:pt idx="959">
                  <c:v>All Others</c:v>
                </c:pt>
                <c:pt idx="960">
                  <c:v>All Others</c:v>
                </c:pt>
                <c:pt idx="961">
                  <c:v>Lactalis: A</c:v>
                </c:pt>
                <c:pt idx="962">
                  <c:v>All Others</c:v>
                </c:pt>
                <c:pt idx="963">
                  <c:v>Private Lab</c:v>
                </c:pt>
                <c:pt idx="964">
                  <c:v>Private Lab</c:v>
                </c:pt>
                <c:pt idx="965">
                  <c:v>Leerdammer</c:v>
                </c:pt>
                <c:pt idx="966">
                  <c:v>All Others</c:v>
                </c:pt>
                <c:pt idx="967">
                  <c:v>All Others</c:v>
                </c:pt>
                <c:pt idx="968">
                  <c:v>Private Lab</c:v>
                </c:pt>
                <c:pt idx="969">
                  <c:v>Petit Billy</c:v>
                </c:pt>
                <c:pt idx="970">
                  <c:v>Apericube</c:v>
                </c:pt>
                <c:pt idx="971">
                  <c:v>Private Lab</c:v>
                </c:pt>
                <c:pt idx="972">
                  <c:v>Boursin</c:v>
                </c:pt>
                <c:pt idx="973">
                  <c:v>Violife</c:v>
                </c:pt>
                <c:pt idx="974">
                  <c:v>Leerdammer</c:v>
                </c:pt>
                <c:pt idx="975">
                  <c:v>All Others</c:v>
                </c:pt>
                <c:pt idx="976">
                  <c:v>All Others</c:v>
                </c:pt>
                <c:pt idx="977">
                  <c:v>President</c:v>
                </c:pt>
                <c:pt idx="978">
                  <c:v>Mini Babybe</c:v>
                </c:pt>
                <c:pt idx="979">
                  <c:v>All Others</c:v>
                </c:pt>
                <c:pt idx="980">
                  <c:v>All Others</c:v>
                </c:pt>
                <c:pt idx="981">
                  <c:v>All Others</c:v>
                </c:pt>
                <c:pt idx="982">
                  <c:v>Chavroux</c:v>
                </c:pt>
                <c:pt idx="983">
                  <c:v>All Others</c:v>
                </c:pt>
                <c:pt idx="984">
                  <c:v>Entremont</c:v>
                </c:pt>
                <c:pt idx="985">
                  <c:v>All Others</c:v>
                </c:pt>
                <c:pt idx="986">
                  <c:v>Etoile Du V</c:v>
                </c:pt>
                <c:pt idx="987">
                  <c:v>All Others</c:v>
                </c:pt>
                <c:pt idx="988">
                  <c:v>Apericube</c:v>
                </c:pt>
                <c:pt idx="989">
                  <c:v>Private Lab</c:v>
                </c:pt>
                <c:pt idx="990">
                  <c:v>Lou Perac</c:v>
                </c:pt>
                <c:pt idx="991">
                  <c:v>Fol Epi</c:v>
                </c:pt>
                <c:pt idx="992">
                  <c:v>Eurial Autr</c:v>
                </c:pt>
                <c:pt idx="993">
                  <c:v>Private Lab</c:v>
                </c:pt>
                <c:pt idx="994">
                  <c:v>All Others</c:v>
                </c:pt>
                <c:pt idx="995">
                  <c:v>All Others</c:v>
                </c:pt>
                <c:pt idx="996">
                  <c:v>President</c:v>
                </c:pt>
                <c:pt idx="997">
                  <c:v>All Others</c:v>
                </c:pt>
                <c:pt idx="998">
                  <c:v>All Others</c:v>
                </c:pt>
                <c:pt idx="999">
                  <c:v>Richesmonts</c:v>
                </c:pt>
                <c:pt idx="1000">
                  <c:v>All Others</c:v>
                </c:pt>
                <c:pt idx="1001">
                  <c:v>Eurial Autr</c:v>
                </c:pt>
                <c:pt idx="1002">
                  <c:v>All Others</c:v>
                </c:pt>
                <c:pt idx="1003">
                  <c:v>All Others</c:v>
                </c:pt>
                <c:pt idx="1004">
                  <c:v>Savencia: A</c:v>
                </c:pt>
                <c:pt idx="1005">
                  <c:v>La Pointe P</c:v>
                </c:pt>
                <c:pt idx="1006">
                  <c:v>All Others</c:v>
                </c:pt>
                <c:pt idx="1007">
                  <c:v>All Others</c:v>
                </c:pt>
                <c:pt idx="1008">
                  <c:v>All Others</c:v>
                </c:pt>
                <c:pt idx="1009">
                  <c:v>All Others</c:v>
                </c:pt>
                <c:pt idx="1010">
                  <c:v>All Others</c:v>
                </c:pt>
                <c:pt idx="1011">
                  <c:v>All Others</c:v>
                </c:pt>
                <c:pt idx="1012">
                  <c:v>All Others</c:v>
                </c:pt>
                <c:pt idx="1013">
                  <c:v>All Others</c:v>
                </c:pt>
                <c:pt idx="1014">
                  <c:v>All Others</c:v>
                </c:pt>
                <c:pt idx="1015">
                  <c:v>Savencia: A</c:v>
                </c:pt>
                <c:pt idx="1016">
                  <c:v>All Others</c:v>
                </c:pt>
                <c:pt idx="1017">
                  <c:v>Private Lab</c:v>
                </c:pt>
                <c:pt idx="1018">
                  <c:v>President</c:v>
                </c:pt>
                <c:pt idx="1019">
                  <c:v>Lactalis: A</c:v>
                </c:pt>
                <c:pt idx="1020">
                  <c:v>All Others</c:v>
                </c:pt>
                <c:pt idx="1021">
                  <c:v>All Others</c:v>
                </c:pt>
                <c:pt idx="1022">
                  <c:v>All Others</c:v>
                </c:pt>
                <c:pt idx="1023">
                  <c:v>All Others</c:v>
                </c:pt>
                <c:pt idx="1024">
                  <c:v>Aperivrais</c:v>
                </c:pt>
                <c:pt idx="1025">
                  <c:v>All Others</c:v>
                </c:pt>
                <c:pt idx="1026">
                  <c:v>Violife</c:v>
                </c:pt>
                <c:pt idx="1027">
                  <c:v>Bresse Bleu</c:v>
                </c:pt>
                <c:pt idx="1028">
                  <c:v>Etoile Du V</c:v>
                </c:pt>
                <c:pt idx="1029">
                  <c:v>All Others</c:v>
                </c:pt>
                <c:pt idx="1030">
                  <c:v>Private Lab</c:v>
                </c:pt>
                <c:pt idx="1031">
                  <c:v>All Others</c:v>
                </c:pt>
                <c:pt idx="1032">
                  <c:v>Etoile Du Q</c:v>
                </c:pt>
                <c:pt idx="1033">
                  <c:v>All Others</c:v>
                </c:pt>
                <c:pt idx="1034">
                  <c:v>All Others</c:v>
                </c:pt>
                <c:pt idx="1035">
                  <c:v>Etoile Du V</c:v>
                </c:pt>
                <c:pt idx="1036">
                  <c:v>Societe</c:v>
                </c:pt>
                <c:pt idx="1037">
                  <c:v>Leerdammer</c:v>
                </c:pt>
                <c:pt idx="1038">
                  <c:v>All Others</c:v>
                </c:pt>
                <c:pt idx="1039">
                  <c:v>All Others</c:v>
                </c:pt>
                <c:pt idx="1040">
                  <c:v>Corsica</c:v>
                </c:pt>
                <c:pt idx="1041">
                  <c:v>Lactalis: A</c:v>
                </c:pt>
                <c:pt idx="1042">
                  <c:v>All Others</c:v>
                </c:pt>
                <c:pt idx="1043">
                  <c:v>Lactalis: A</c:v>
                </c:pt>
                <c:pt idx="1044">
                  <c:v>Private Lab</c:v>
                </c:pt>
                <c:pt idx="1045">
                  <c:v>President</c:v>
                </c:pt>
                <c:pt idx="1046">
                  <c:v>All Others</c:v>
                </c:pt>
                <c:pt idx="1047">
                  <c:v>All Others</c:v>
                </c:pt>
                <c:pt idx="1048">
                  <c:v>Tartare</c:v>
                </c:pt>
                <c:pt idx="1049">
                  <c:v>All Others</c:v>
                </c:pt>
                <c:pt idx="1050">
                  <c:v>All Others</c:v>
                </c:pt>
                <c:pt idx="1051">
                  <c:v>Leerdammer</c:v>
                </c:pt>
                <c:pt idx="1052">
                  <c:v>All Others</c:v>
                </c:pt>
                <c:pt idx="1053">
                  <c:v>All Others</c:v>
                </c:pt>
                <c:pt idx="1054">
                  <c:v>All Others</c:v>
                </c:pt>
                <c:pt idx="1055">
                  <c:v>All Others</c:v>
                </c:pt>
                <c:pt idx="1056">
                  <c:v>All Others</c:v>
                </c:pt>
                <c:pt idx="1057">
                  <c:v>L'Ortolan</c:v>
                </c:pt>
                <c:pt idx="1058">
                  <c:v>All Others</c:v>
                </c:pt>
                <c:pt idx="1059">
                  <c:v>All Others</c:v>
                </c:pt>
                <c:pt idx="1060">
                  <c:v>Apericube</c:v>
                </c:pt>
                <c:pt idx="1061">
                  <c:v>Entremont</c:v>
                </c:pt>
                <c:pt idx="1062">
                  <c:v>All Others</c:v>
                </c:pt>
                <c:pt idx="1063">
                  <c:v>Nurishh</c:v>
                </c:pt>
                <c:pt idx="1064">
                  <c:v>Nurishh</c:v>
                </c:pt>
                <c:pt idx="1065">
                  <c:v>Boursin</c:v>
                </c:pt>
                <c:pt idx="1066">
                  <c:v>Lactalis: A</c:v>
                </c:pt>
                <c:pt idx="1067">
                  <c:v>Private Lab</c:v>
                </c:pt>
                <c:pt idx="1068">
                  <c:v>All Others</c:v>
                </c:pt>
                <c:pt idx="1069">
                  <c:v>Carre Frais</c:v>
                </c:pt>
                <c:pt idx="1070">
                  <c:v>All Others</c:v>
                </c:pt>
                <c:pt idx="1071">
                  <c:v>All Others</c:v>
                </c:pt>
                <c:pt idx="1072">
                  <c:v>All Others</c:v>
                </c:pt>
                <c:pt idx="1073">
                  <c:v>All Others</c:v>
                </c:pt>
                <c:pt idx="1074">
                  <c:v>All Others</c:v>
                </c:pt>
                <c:pt idx="1075">
                  <c:v>Paysan Bret</c:v>
                </c:pt>
                <c:pt idx="1076">
                  <c:v>All Others</c:v>
                </c:pt>
                <c:pt idx="1077">
                  <c:v>All Others</c:v>
                </c:pt>
                <c:pt idx="1078">
                  <c:v>Eurial Autr</c:v>
                </c:pt>
                <c:pt idx="1079">
                  <c:v>All Others</c:v>
                </c:pt>
                <c:pt idx="1080">
                  <c:v>All Others</c:v>
                </c:pt>
                <c:pt idx="1081">
                  <c:v>Private Lab</c:v>
                </c:pt>
                <c:pt idx="1082">
                  <c:v>All Others</c:v>
                </c:pt>
                <c:pt idx="1083">
                  <c:v>All Others</c:v>
                </c:pt>
                <c:pt idx="1084">
                  <c:v>Boursin</c:v>
                </c:pt>
                <c:pt idx="1085">
                  <c:v>All Others</c:v>
                </c:pt>
                <c:pt idx="1086">
                  <c:v>All Others</c:v>
                </c:pt>
                <c:pt idx="1087">
                  <c:v>Private Lab</c:v>
                </c:pt>
                <c:pt idx="1088">
                  <c:v>All Others</c:v>
                </c:pt>
                <c:pt idx="1089">
                  <c:v>All Others</c:v>
                </c:pt>
                <c:pt idx="1090">
                  <c:v>Private Lab</c:v>
                </c:pt>
                <c:pt idx="1091">
                  <c:v>Nurishh</c:v>
                </c:pt>
                <c:pt idx="1092">
                  <c:v>All Others</c:v>
                </c:pt>
                <c:pt idx="1093">
                  <c:v>Triballat N</c:v>
                </c:pt>
                <c:pt idx="1094">
                  <c:v>All Others</c:v>
                </c:pt>
                <c:pt idx="1095">
                  <c:v>Lactalis: A</c:v>
                </c:pt>
                <c:pt idx="1096">
                  <c:v>All Others</c:v>
                </c:pt>
                <c:pt idx="1097">
                  <c:v>All Others</c:v>
                </c:pt>
                <c:pt idx="1098">
                  <c:v>All Others</c:v>
                </c:pt>
                <c:pt idx="1099">
                  <c:v>All Others</c:v>
                </c:pt>
                <c:pt idx="1100">
                  <c:v>Private Lab</c:v>
                </c:pt>
                <c:pt idx="1101">
                  <c:v>All Others</c:v>
                </c:pt>
                <c:pt idx="1102">
                  <c:v>All Others</c:v>
                </c:pt>
                <c:pt idx="1103">
                  <c:v>All Others</c:v>
                </c:pt>
                <c:pt idx="1104">
                  <c:v>Lactalis: A</c:v>
                </c:pt>
                <c:pt idx="1105">
                  <c:v>Casa Azzurr</c:v>
                </c:pt>
                <c:pt idx="1106">
                  <c:v>O'Tapas Ape</c:v>
                </c:pt>
                <c:pt idx="1107">
                  <c:v>All Others</c:v>
                </c:pt>
                <c:pt idx="1108">
                  <c:v>All Others</c:v>
                </c:pt>
                <c:pt idx="1109">
                  <c:v>All Others</c:v>
                </c:pt>
                <c:pt idx="1110">
                  <c:v>All Others</c:v>
                </c:pt>
                <c:pt idx="1111">
                  <c:v>All Others</c:v>
                </c:pt>
                <c:pt idx="1112">
                  <c:v>All Others</c:v>
                </c:pt>
                <c:pt idx="1113">
                  <c:v>All Others</c:v>
                </c:pt>
                <c:pt idx="1114">
                  <c:v>All Others</c:v>
                </c:pt>
                <c:pt idx="1115">
                  <c:v>Pave D'Affi</c:v>
                </c:pt>
                <c:pt idx="1116">
                  <c:v>All Others</c:v>
                </c:pt>
                <c:pt idx="1117">
                  <c:v>Eurial Autr</c:v>
                </c:pt>
                <c:pt idx="1118">
                  <c:v>All Others</c:v>
                </c:pt>
                <c:pt idx="1119">
                  <c:v>All Others</c:v>
                </c:pt>
                <c:pt idx="1120">
                  <c:v>All Others</c:v>
                </c:pt>
                <c:pt idx="1121">
                  <c:v>All Others</c:v>
                </c:pt>
                <c:pt idx="1122">
                  <c:v>Pochat</c:v>
                </c:pt>
                <c:pt idx="1123">
                  <c:v>Private Lab</c:v>
                </c:pt>
                <c:pt idx="1124">
                  <c:v>All Others</c:v>
                </c:pt>
                <c:pt idx="1125">
                  <c:v>Soignon</c:v>
                </c:pt>
                <c:pt idx="1126">
                  <c:v>Soignon</c:v>
                </c:pt>
                <c:pt idx="1127">
                  <c:v>P'Tit Louis</c:v>
                </c:pt>
                <c:pt idx="1128">
                  <c:v>All Others</c:v>
                </c:pt>
                <c:pt idx="1129">
                  <c:v>Private Lab</c:v>
                </c:pt>
                <c:pt idx="1130">
                  <c:v>Istara</c:v>
                </c:pt>
                <c:pt idx="1131">
                  <c:v>President</c:v>
                </c:pt>
                <c:pt idx="1132">
                  <c:v>All Others</c:v>
                </c:pt>
                <c:pt idx="1133">
                  <c:v>Private Lab</c:v>
                </c:pt>
                <c:pt idx="1134">
                  <c:v>All Others</c:v>
                </c:pt>
                <c:pt idx="1135">
                  <c:v>Savencia: A</c:v>
                </c:pt>
                <c:pt idx="1136">
                  <c:v>All Others</c:v>
                </c:pt>
                <c:pt idx="1137">
                  <c:v>Lactalis: A</c:v>
                </c:pt>
                <c:pt idx="1138">
                  <c:v>Salakis</c:v>
                </c:pt>
                <c:pt idx="1139">
                  <c:v>President</c:v>
                </c:pt>
                <c:pt idx="1140">
                  <c:v>All Others</c:v>
                </c:pt>
                <c:pt idx="1141">
                  <c:v>All Others</c:v>
                </c:pt>
                <c:pt idx="1142">
                  <c:v>Lactalis: A</c:v>
                </c:pt>
                <c:pt idx="1143">
                  <c:v>All Others</c:v>
                </c:pt>
                <c:pt idx="1144">
                  <c:v>Private Lab</c:v>
                </c:pt>
                <c:pt idx="1145">
                  <c:v>All Others</c:v>
                </c:pt>
                <c:pt idx="1146">
                  <c:v>All Others</c:v>
                </c:pt>
                <c:pt idx="1147">
                  <c:v>All Others</c:v>
                </c:pt>
                <c:pt idx="1148">
                  <c:v>All Others</c:v>
                </c:pt>
                <c:pt idx="1149">
                  <c:v>Lactalis: A</c:v>
                </c:pt>
                <c:pt idx="1150">
                  <c:v>Etoile Du V</c:v>
                </c:pt>
                <c:pt idx="1151">
                  <c:v>Private Lab</c:v>
                </c:pt>
                <c:pt idx="1152">
                  <c:v>Boursin</c:v>
                </c:pt>
                <c:pt idx="1153">
                  <c:v>All Others</c:v>
                </c:pt>
                <c:pt idx="1154">
                  <c:v>All Others</c:v>
                </c:pt>
                <c:pt idx="1155">
                  <c:v>All Others</c:v>
                </c:pt>
                <c:pt idx="1156">
                  <c:v>Lactalis: A</c:v>
                </c:pt>
                <c:pt idx="1157">
                  <c:v>Leerdammer</c:v>
                </c:pt>
                <c:pt idx="1158">
                  <c:v>All Others</c:v>
                </c:pt>
                <c:pt idx="1159">
                  <c:v>Richesmonts</c:v>
                </c:pt>
                <c:pt idx="1160">
                  <c:v>All Others</c:v>
                </c:pt>
                <c:pt idx="1161">
                  <c:v>All Others</c:v>
                </c:pt>
                <c:pt idx="1162">
                  <c:v>Bresse Bleu</c:v>
                </c:pt>
                <c:pt idx="1163">
                  <c:v>Boursin</c:v>
                </c:pt>
                <c:pt idx="1164">
                  <c:v>All Others</c:v>
                </c:pt>
                <c:pt idx="1165">
                  <c:v>All Others</c:v>
                </c:pt>
                <c:pt idx="1166">
                  <c:v>All Others</c:v>
                </c:pt>
                <c:pt idx="1167">
                  <c:v>All Others</c:v>
                </c:pt>
                <c:pt idx="1168">
                  <c:v>Etoile Du V</c:v>
                </c:pt>
                <c:pt idx="1169">
                  <c:v>Milleret: A</c:v>
                </c:pt>
                <c:pt idx="1170">
                  <c:v>Juraflore</c:v>
                </c:pt>
                <c:pt idx="1171">
                  <c:v>Apericube</c:v>
                </c:pt>
                <c:pt idx="1172">
                  <c:v>Le Saint Am</c:v>
                </c:pt>
                <c:pt idx="1173">
                  <c:v>Coeur De Li</c:v>
                </c:pt>
                <c:pt idx="1174">
                  <c:v>Salakis</c:v>
                </c:pt>
                <c:pt idx="1175">
                  <c:v>All Others</c:v>
                </c:pt>
                <c:pt idx="1176">
                  <c:v>All Others</c:v>
                </c:pt>
                <c:pt idx="1177">
                  <c:v>All Others</c:v>
                </c:pt>
                <c:pt idx="1178">
                  <c:v>All Others</c:v>
                </c:pt>
                <c:pt idx="1179">
                  <c:v>La Belle Et</c:v>
                </c:pt>
                <c:pt idx="1180">
                  <c:v>All Others</c:v>
                </c:pt>
                <c:pt idx="1181">
                  <c:v>Boursin</c:v>
                </c:pt>
                <c:pt idx="1182">
                  <c:v>Etoile Du V</c:v>
                </c:pt>
                <c:pt idx="1183">
                  <c:v>All Others</c:v>
                </c:pt>
                <c:pt idx="1184">
                  <c:v>All Others</c:v>
                </c:pt>
                <c:pt idx="1185">
                  <c:v>Le Saint Am</c:v>
                </c:pt>
                <c:pt idx="1186">
                  <c:v>All Others</c:v>
                </c:pt>
                <c:pt idx="1187">
                  <c:v>All Others</c:v>
                </c:pt>
                <c:pt idx="1188">
                  <c:v>All Others</c:v>
                </c:pt>
                <c:pt idx="1189">
                  <c:v>Boursin</c:v>
                </c:pt>
                <c:pt idx="1190">
                  <c:v>Etoile Du V</c:v>
                </c:pt>
                <c:pt idx="1191">
                  <c:v>Boursin</c:v>
                </c:pt>
                <c:pt idx="1192">
                  <c:v>Etoile Du V</c:v>
                </c:pt>
                <c:pt idx="1193">
                  <c:v>All Others</c:v>
                </c:pt>
                <c:pt idx="1194">
                  <c:v>Private Lab</c:v>
                </c:pt>
                <c:pt idx="1195">
                  <c:v>All Others</c:v>
                </c:pt>
                <c:pt idx="1196">
                  <c:v>Etoile Du V</c:v>
                </c:pt>
                <c:pt idx="1197">
                  <c:v>All Others</c:v>
                </c:pt>
                <c:pt idx="1198">
                  <c:v>All Others</c:v>
                </c:pt>
                <c:pt idx="1199">
                  <c:v>Private Lab</c:v>
                </c:pt>
                <c:pt idx="1200">
                  <c:v>Private Lab</c:v>
                </c:pt>
                <c:pt idx="1201">
                  <c:v>All Others</c:v>
                </c:pt>
                <c:pt idx="1202">
                  <c:v>All Others</c:v>
                </c:pt>
                <c:pt idx="1203">
                  <c:v>All Others</c:v>
                </c:pt>
                <c:pt idx="1204">
                  <c:v>All Others</c:v>
                </c:pt>
                <c:pt idx="1205">
                  <c:v>All Others</c:v>
                </c:pt>
                <c:pt idx="1206">
                  <c:v>All Others</c:v>
                </c:pt>
                <c:pt idx="1207">
                  <c:v>Private Lab</c:v>
                </c:pt>
                <c:pt idx="1208">
                  <c:v>All Others</c:v>
                </c:pt>
                <c:pt idx="1209">
                  <c:v>All Others</c:v>
                </c:pt>
                <c:pt idx="1210">
                  <c:v>All Others</c:v>
                </c:pt>
                <c:pt idx="1211">
                  <c:v>All Others</c:v>
                </c:pt>
                <c:pt idx="1212">
                  <c:v>Boursin</c:v>
                </c:pt>
                <c:pt idx="1213">
                  <c:v>Casa Azzurr</c:v>
                </c:pt>
                <c:pt idx="1214">
                  <c:v>Paysan Bret</c:v>
                </c:pt>
                <c:pt idx="1215">
                  <c:v>Private Lab</c:v>
                </c:pt>
                <c:pt idx="1216">
                  <c:v>All Others</c:v>
                </c:pt>
                <c:pt idx="1217">
                  <c:v>All Others</c:v>
                </c:pt>
                <c:pt idx="1218">
                  <c:v>Etoile Du V</c:v>
                </c:pt>
                <c:pt idx="1219">
                  <c:v>All Others</c:v>
                </c:pt>
                <c:pt idx="1220">
                  <c:v>All Others</c:v>
                </c:pt>
                <c:pt idx="1221">
                  <c:v>All Others</c:v>
                </c:pt>
                <c:pt idx="1222">
                  <c:v>All Others</c:v>
                </c:pt>
                <c:pt idx="1223">
                  <c:v>All Others</c:v>
                </c:pt>
                <c:pt idx="1224">
                  <c:v>All Others</c:v>
                </c:pt>
                <c:pt idx="1225">
                  <c:v>Tartare</c:v>
                </c:pt>
                <c:pt idx="1226">
                  <c:v>Carre Frais</c:v>
                </c:pt>
                <c:pt idx="1227">
                  <c:v>All Others</c:v>
                </c:pt>
                <c:pt idx="1228">
                  <c:v>All Others</c:v>
                </c:pt>
                <c:pt idx="1229">
                  <c:v>All Others</c:v>
                </c:pt>
                <c:pt idx="1230">
                  <c:v>Raguin</c:v>
                </c:pt>
                <c:pt idx="1231">
                  <c:v>Eurial Autr</c:v>
                </c:pt>
                <c:pt idx="1232">
                  <c:v>All Others</c:v>
                </c:pt>
                <c:pt idx="1233">
                  <c:v>All Others</c:v>
                </c:pt>
                <c:pt idx="1234">
                  <c:v>Pave D'Affi</c:v>
                </c:pt>
                <c:pt idx="1235">
                  <c:v>All Others</c:v>
                </c:pt>
                <c:pt idx="1236">
                  <c:v>Casa Azzurr</c:v>
                </c:pt>
                <c:pt idx="1237">
                  <c:v>Private Lab</c:v>
                </c:pt>
                <c:pt idx="1238">
                  <c:v>All Others</c:v>
                </c:pt>
                <c:pt idx="1239">
                  <c:v>All Others</c:v>
                </c:pt>
                <c:pt idx="1240">
                  <c:v>All Others</c:v>
                </c:pt>
                <c:pt idx="1241">
                  <c:v>All Others</c:v>
                </c:pt>
                <c:pt idx="1242">
                  <c:v>Philadelphi</c:v>
                </c:pt>
                <c:pt idx="1243">
                  <c:v>All Others</c:v>
                </c:pt>
                <c:pt idx="1244">
                  <c:v>Mini Babybe</c:v>
                </c:pt>
                <c:pt idx="1245">
                  <c:v>All Others</c:v>
                </c:pt>
                <c:pt idx="1246">
                  <c:v>All Others</c:v>
                </c:pt>
                <c:pt idx="1247">
                  <c:v>Private Lab</c:v>
                </c:pt>
                <c:pt idx="1248">
                  <c:v>All Others</c:v>
                </c:pt>
                <c:pt idx="1249">
                  <c:v>Pave D'Affi</c:v>
                </c:pt>
                <c:pt idx="1250">
                  <c:v>Etoile Du V</c:v>
                </c:pt>
                <c:pt idx="1251">
                  <c:v>Etoile Du Q</c:v>
                </c:pt>
                <c:pt idx="1252">
                  <c:v>All Others</c:v>
                </c:pt>
                <c:pt idx="1253">
                  <c:v>Private Lab</c:v>
                </c:pt>
                <c:pt idx="1254">
                  <c:v>All Others</c:v>
                </c:pt>
                <c:pt idx="1255">
                  <c:v>All Others</c:v>
                </c:pt>
                <c:pt idx="1256">
                  <c:v>All Others</c:v>
                </c:pt>
                <c:pt idx="1257">
                  <c:v>Saint Albra</c:v>
                </c:pt>
                <c:pt idx="1258">
                  <c:v>La Vache Qu</c:v>
                </c:pt>
                <c:pt idx="1259">
                  <c:v>Lactalis: A</c:v>
                </c:pt>
                <c:pt idx="1260">
                  <c:v>Pochat</c:v>
                </c:pt>
                <c:pt idx="1261">
                  <c:v>All Others</c:v>
                </c:pt>
                <c:pt idx="1262">
                  <c:v>All Others</c:v>
                </c:pt>
                <c:pt idx="1263">
                  <c:v>All Others</c:v>
                </c:pt>
                <c:pt idx="1264">
                  <c:v>All Others</c:v>
                </c:pt>
                <c:pt idx="1265">
                  <c:v>All Others</c:v>
                </c:pt>
                <c:pt idx="1266">
                  <c:v>Private Lab</c:v>
                </c:pt>
                <c:pt idx="1267">
                  <c:v>Lactalis: A</c:v>
                </c:pt>
                <c:pt idx="1268">
                  <c:v>All Others</c:v>
                </c:pt>
                <c:pt idx="1269">
                  <c:v>All Others</c:v>
                </c:pt>
                <c:pt idx="1270">
                  <c:v>Lactalis: A</c:v>
                </c:pt>
                <c:pt idx="1271">
                  <c:v>All Others</c:v>
                </c:pt>
                <c:pt idx="1272">
                  <c:v>All Others</c:v>
                </c:pt>
                <c:pt idx="1273">
                  <c:v>All Others</c:v>
                </c:pt>
                <c:pt idx="1274">
                  <c:v>Private Lab</c:v>
                </c:pt>
                <c:pt idx="1275">
                  <c:v>All Others</c:v>
                </c:pt>
                <c:pt idx="1276">
                  <c:v>All Others</c:v>
                </c:pt>
                <c:pt idx="1277">
                  <c:v>All Others</c:v>
                </c:pt>
                <c:pt idx="1278">
                  <c:v>All Others</c:v>
                </c:pt>
                <c:pt idx="1279">
                  <c:v>Private Lab</c:v>
                </c:pt>
                <c:pt idx="1280">
                  <c:v>Parmareggio</c:v>
                </c:pt>
                <c:pt idx="1281">
                  <c:v>All Others</c:v>
                </c:pt>
                <c:pt idx="1282">
                  <c:v>All Others</c:v>
                </c:pt>
                <c:pt idx="1283">
                  <c:v>Galbani</c:v>
                </c:pt>
                <c:pt idx="1284">
                  <c:v>All Others</c:v>
                </c:pt>
                <c:pt idx="1285">
                  <c:v>Milleret: A</c:v>
                </c:pt>
                <c:pt idx="1286">
                  <c:v>All Others</c:v>
                </c:pt>
                <c:pt idx="1287">
                  <c:v>All Others</c:v>
                </c:pt>
                <c:pt idx="1288">
                  <c:v>All Others</c:v>
                </c:pt>
                <c:pt idx="1289">
                  <c:v>All Others</c:v>
                </c:pt>
                <c:pt idx="1290">
                  <c:v>All Others</c:v>
                </c:pt>
                <c:pt idx="1291">
                  <c:v>Corsica</c:v>
                </c:pt>
                <c:pt idx="1292">
                  <c:v>All Others</c:v>
                </c:pt>
                <c:pt idx="1293">
                  <c:v>All Others</c:v>
                </c:pt>
                <c:pt idx="1294">
                  <c:v>Etoile Du V</c:v>
                </c:pt>
                <c:pt idx="1295">
                  <c:v>Raguin</c:v>
                </c:pt>
                <c:pt idx="1296">
                  <c:v>All Others</c:v>
                </c:pt>
                <c:pt idx="1297">
                  <c:v>All Others</c:v>
                </c:pt>
                <c:pt idx="1298">
                  <c:v>All Others</c:v>
                </c:pt>
                <c:pt idx="1299">
                  <c:v>All Others</c:v>
                </c:pt>
                <c:pt idx="1300">
                  <c:v>All Others</c:v>
                </c:pt>
                <c:pt idx="1301">
                  <c:v>All Others</c:v>
                </c:pt>
                <c:pt idx="1302">
                  <c:v>All Others</c:v>
                </c:pt>
                <c:pt idx="1303">
                  <c:v>Paysan Bret</c:v>
                </c:pt>
                <c:pt idx="1304">
                  <c:v>All Others</c:v>
                </c:pt>
                <c:pt idx="1305">
                  <c:v>Societe</c:v>
                </c:pt>
                <c:pt idx="1306">
                  <c:v>All Others</c:v>
                </c:pt>
                <c:pt idx="1307">
                  <c:v>All Others</c:v>
                </c:pt>
                <c:pt idx="1308">
                  <c:v>All Others</c:v>
                </c:pt>
                <c:pt idx="1309">
                  <c:v>All Others</c:v>
                </c:pt>
                <c:pt idx="1310">
                  <c:v>All Others</c:v>
                </c:pt>
                <c:pt idx="1311">
                  <c:v>All Others</c:v>
                </c:pt>
                <c:pt idx="1312">
                  <c:v>All Others</c:v>
                </c:pt>
                <c:pt idx="1313">
                  <c:v>Lactalis: A</c:v>
                </c:pt>
                <c:pt idx="1314">
                  <c:v>All Others</c:v>
                </c:pt>
                <c:pt idx="1315">
                  <c:v>All Others</c:v>
                </c:pt>
                <c:pt idx="1316">
                  <c:v>L'Ortolan</c:v>
                </c:pt>
                <c:pt idx="1317">
                  <c:v>All Others</c:v>
                </c:pt>
                <c:pt idx="1318">
                  <c:v>All Others</c:v>
                </c:pt>
                <c:pt idx="1319">
                  <c:v>All Others</c:v>
                </c:pt>
                <c:pt idx="1320">
                  <c:v>All Others</c:v>
                </c:pt>
                <c:pt idx="1321">
                  <c:v>Nurishh</c:v>
                </c:pt>
                <c:pt idx="1322">
                  <c:v>All Others</c:v>
                </c:pt>
                <c:pt idx="1323">
                  <c:v>Private Lab</c:v>
                </c:pt>
                <c:pt idx="1324">
                  <c:v>All Others</c:v>
                </c:pt>
                <c:pt idx="1325">
                  <c:v>All Others</c:v>
                </c:pt>
                <c:pt idx="1326">
                  <c:v>All Others</c:v>
                </c:pt>
                <c:pt idx="1327">
                  <c:v>Mini Babybe</c:v>
                </c:pt>
                <c:pt idx="1328">
                  <c:v>All Others</c:v>
                </c:pt>
                <c:pt idx="1329">
                  <c:v>All Others</c:v>
                </c:pt>
                <c:pt idx="1330">
                  <c:v>All Others</c:v>
                </c:pt>
                <c:pt idx="1331">
                  <c:v>All Others</c:v>
                </c:pt>
                <c:pt idx="1332">
                  <c:v>All Others</c:v>
                </c:pt>
                <c:pt idx="1333">
                  <c:v>All Others</c:v>
                </c:pt>
                <c:pt idx="1334">
                  <c:v>All Others</c:v>
                </c:pt>
                <c:pt idx="1335">
                  <c:v>All Others</c:v>
                </c:pt>
                <c:pt idx="1336">
                  <c:v>Richesmonts</c:v>
                </c:pt>
                <c:pt idx="1337">
                  <c:v>All Others</c:v>
                </c:pt>
                <c:pt idx="1338">
                  <c:v>All Others</c:v>
                </c:pt>
                <c:pt idx="1339">
                  <c:v>All Others</c:v>
                </c:pt>
                <c:pt idx="1340">
                  <c:v>All Others</c:v>
                </c:pt>
                <c:pt idx="1341">
                  <c:v>All Others</c:v>
                </c:pt>
                <c:pt idx="1342">
                  <c:v>All Others</c:v>
                </c:pt>
                <c:pt idx="1343">
                  <c:v>All Others</c:v>
                </c:pt>
                <c:pt idx="1344">
                  <c:v>All Others</c:v>
                </c:pt>
                <c:pt idx="1345">
                  <c:v>All Others</c:v>
                </c:pt>
                <c:pt idx="1346">
                  <c:v>All Others</c:v>
                </c:pt>
                <c:pt idx="1347">
                  <c:v>All Others</c:v>
                </c:pt>
                <c:pt idx="1348">
                  <c:v>Galbani</c:v>
                </c:pt>
                <c:pt idx="1349">
                  <c:v>All Others</c:v>
                </c:pt>
                <c:pt idx="1350">
                  <c:v>All Others</c:v>
                </c:pt>
                <c:pt idx="1351">
                  <c:v>All Others</c:v>
                </c:pt>
                <c:pt idx="1352">
                  <c:v>All Others</c:v>
                </c:pt>
                <c:pt idx="1353">
                  <c:v>All Others</c:v>
                </c:pt>
                <c:pt idx="1354">
                  <c:v>All Others</c:v>
                </c:pt>
                <c:pt idx="1355">
                  <c:v>Lactalis: A</c:v>
                </c:pt>
                <c:pt idx="1356">
                  <c:v>All Others</c:v>
                </c:pt>
                <c:pt idx="1357">
                  <c:v>All Others</c:v>
                </c:pt>
                <c:pt idx="1358">
                  <c:v>All Others</c:v>
                </c:pt>
                <c:pt idx="1359">
                  <c:v>All Others</c:v>
                </c:pt>
                <c:pt idx="1360">
                  <c:v>All Others</c:v>
                </c:pt>
                <c:pt idx="1361">
                  <c:v>Private Lab</c:v>
                </c:pt>
                <c:pt idx="1362">
                  <c:v>All Others</c:v>
                </c:pt>
                <c:pt idx="1363">
                  <c:v>All Others</c:v>
                </c:pt>
                <c:pt idx="1364">
                  <c:v>All Others</c:v>
                </c:pt>
                <c:pt idx="1365">
                  <c:v>All Others</c:v>
                </c:pt>
                <c:pt idx="1366">
                  <c:v>All Others</c:v>
                </c:pt>
                <c:pt idx="1367">
                  <c:v>All Others</c:v>
                </c:pt>
                <c:pt idx="1368">
                  <c:v>All Others</c:v>
                </c:pt>
                <c:pt idx="1369">
                  <c:v>All Others</c:v>
                </c:pt>
                <c:pt idx="1370">
                  <c:v>Casa Azzurr</c:v>
                </c:pt>
                <c:pt idx="1371">
                  <c:v>All Others</c:v>
                </c:pt>
                <c:pt idx="1372">
                  <c:v>All Others</c:v>
                </c:pt>
                <c:pt idx="1373">
                  <c:v>Fauquet</c:v>
                </c:pt>
                <c:pt idx="1374">
                  <c:v>All Others</c:v>
                </c:pt>
                <c:pt idx="1375">
                  <c:v>Private Lab</c:v>
                </c:pt>
                <c:pt idx="1376">
                  <c:v>Savencia: A</c:v>
                </c:pt>
                <c:pt idx="1377">
                  <c:v>All Others</c:v>
                </c:pt>
                <c:pt idx="1378">
                  <c:v>All Others</c:v>
                </c:pt>
                <c:pt idx="1379">
                  <c:v>All Others</c:v>
                </c:pt>
                <c:pt idx="1380">
                  <c:v>Nurishh</c:v>
                </c:pt>
                <c:pt idx="1381">
                  <c:v>Lactalis: A</c:v>
                </c:pt>
                <c:pt idx="1382">
                  <c:v>All Others</c:v>
                </c:pt>
                <c:pt idx="1383">
                  <c:v>All Others</c:v>
                </c:pt>
                <c:pt idx="1384">
                  <c:v>Savencia: A</c:v>
                </c:pt>
                <c:pt idx="1385">
                  <c:v>Lactalis: A</c:v>
                </c:pt>
                <c:pt idx="1386">
                  <c:v>Triballat N</c:v>
                </c:pt>
                <c:pt idx="1387">
                  <c:v>All Others</c:v>
                </c:pt>
                <c:pt idx="1388">
                  <c:v>All Others</c:v>
                </c:pt>
                <c:pt idx="1389">
                  <c:v>All Others</c:v>
                </c:pt>
                <c:pt idx="1390">
                  <c:v>Raguin</c:v>
                </c:pt>
                <c:pt idx="1391">
                  <c:v>All Others</c:v>
                </c:pt>
                <c:pt idx="1392">
                  <c:v>All Others</c:v>
                </c:pt>
                <c:pt idx="1393">
                  <c:v>All Others</c:v>
                </c:pt>
                <c:pt idx="1394">
                  <c:v>All Others</c:v>
                </c:pt>
                <c:pt idx="1395">
                  <c:v>La Vache Qu</c:v>
                </c:pt>
                <c:pt idx="1396">
                  <c:v>All Others</c:v>
                </c:pt>
                <c:pt idx="1397">
                  <c:v>Entremont</c:v>
                </c:pt>
                <c:pt idx="1398">
                  <c:v>All Others</c:v>
                </c:pt>
                <c:pt idx="1399">
                  <c:v>Lactalis: A</c:v>
                </c:pt>
                <c:pt idx="1400">
                  <c:v>All Others</c:v>
                </c:pt>
                <c:pt idx="1401">
                  <c:v>Private Lab</c:v>
                </c:pt>
                <c:pt idx="1402">
                  <c:v>Galbani</c:v>
                </c:pt>
                <c:pt idx="1403">
                  <c:v>Private Lab</c:v>
                </c:pt>
                <c:pt idx="1404">
                  <c:v>All Others</c:v>
                </c:pt>
                <c:pt idx="1405">
                  <c:v>All Others</c:v>
                </c:pt>
                <c:pt idx="1406">
                  <c:v>Lactalis: A</c:v>
                </c:pt>
                <c:pt idx="1407">
                  <c:v>All Others</c:v>
                </c:pt>
                <c:pt idx="1408">
                  <c:v>All Others</c:v>
                </c:pt>
                <c:pt idx="1409">
                  <c:v>Private Lab</c:v>
                </c:pt>
                <c:pt idx="1410">
                  <c:v>Lactalis: A</c:v>
                </c:pt>
                <c:pt idx="1411">
                  <c:v>All Others</c:v>
                </c:pt>
                <c:pt idx="1412">
                  <c:v>All Others</c:v>
                </c:pt>
                <c:pt idx="1413">
                  <c:v>All Others</c:v>
                </c:pt>
                <c:pt idx="1414">
                  <c:v>All Others</c:v>
                </c:pt>
                <c:pt idx="1415">
                  <c:v>All Others</c:v>
                </c:pt>
                <c:pt idx="1416">
                  <c:v>All Others</c:v>
                </c:pt>
                <c:pt idx="1417">
                  <c:v>All Others</c:v>
                </c:pt>
                <c:pt idx="1418">
                  <c:v>All Others</c:v>
                </c:pt>
                <c:pt idx="1419">
                  <c:v>St Moret</c:v>
                </c:pt>
                <c:pt idx="1420">
                  <c:v>President</c:v>
                </c:pt>
                <c:pt idx="1421">
                  <c:v>All Others</c:v>
                </c:pt>
                <c:pt idx="1422">
                  <c:v>All Others</c:v>
                </c:pt>
                <c:pt idx="1423">
                  <c:v>Savencia: A</c:v>
                </c:pt>
                <c:pt idx="1424">
                  <c:v>Pave D'Affi</c:v>
                </c:pt>
                <c:pt idx="1425">
                  <c:v>All Others</c:v>
                </c:pt>
                <c:pt idx="1426">
                  <c:v>All Others</c:v>
                </c:pt>
                <c:pt idx="1427">
                  <c:v>Nurishh</c:v>
                </c:pt>
                <c:pt idx="1428">
                  <c:v>All Others</c:v>
                </c:pt>
                <c:pt idx="1429">
                  <c:v>All Others</c:v>
                </c:pt>
                <c:pt idx="1430">
                  <c:v>Savencia: A</c:v>
                </c:pt>
                <c:pt idx="1431">
                  <c:v>All Others</c:v>
                </c:pt>
                <c:pt idx="1432">
                  <c:v>Eurial Autr</c:v>
                </c:pt>
                <c:pt idx="1433">
                  <c:v>All Others</c:v>
                </c:pt>
                <c:pt idx="1434">
                  <c:v>All Others</c:v>
                </c:pt>
                <c:pt idx="1435">
                  <c:v>All Others</c:v>
                </c:pt>
                <c:pt idx="1436">
                  <c:v>All Others</c:v>
                </c:pt>
                <c:pt idx="1437">
                  <c:v>Etoile Du V</c:v>
                </c:pt>
                <c:pt idx="1438">
                  <c:v>All Others</c:v>
                </c:pt>
                <c:pt idx="1439">
                  <c:v>Lactalis: A</c:v>
                </c:pt>
                <c:pt idx="1440">
                  <c:v>Etoile Du V</c:v>
                </c:pt>
                <c:pt idx="1441">
                  <c:v>La Vache Qu</c:v>
                </c:pt>
                <c:pt idx="1442">
                  <c:v>All Others</c:v>
                </c:pt>
                <c:pt idx="1443">
                  <c:v>All Others</c:v>
                </c:pt>
                <c:pt idx="1444">
                  <c:v>Private Lab</c:v>
                </c:pt>
                <c:pt idx="1445">
                  <c:v>All Others</c:v>
                </c:pt>
                <c:pt idx="1446">
                  <c:v>All Others</c:v>
                </c:pt>
                <c:pt idx="1447">
                  <c:v>All Others</c:v>
                </c:pt>
                <c:pt idx="1448">
                  <c:v>All Others</c:v>
                </c:pt>
                <c:pt idx="1449">
                  <c:v>All Others</c:v>
                </c:pt>
                <c:pt idx="1450">
                  <c:v>All Others</c:v>
                </c:pt>
                <c:pt idx="1451">
                  <c:v>All Others</c:v>
                </c:pt>
                <c:pt idx="1452">
                  <c:v>Nurishh</c:v>
                </c:pt>
                <c:pt idx="1453">
                  <c:v>All Others</c:v>
                </c:pt>
                <c:pt idx="1454">
                  <c:v>Triballat N</c:v>
                </c:pt>
                <c:pt idx="1455">
                  <c:v>Triballat R</c:v>
                </c:pt>
                <c:pt idx="1456">
                  <c:v>All Others</c:v>
                </c:pt>
                <c:pt idx="1457">
                  <c:v>Lactalis: A</c:v>
                </c:pt>
                <c:pt idx="1458">
                  <c:v>All Others</c:v>
                </c:pt>
                <c:pt idx="1459">
                  <c:v>All Others</c:v>
                </c:pt>
                <c:pt idx="1460">
                  <c:v>Etoile Du V</c:v>
                </c:pt>
                <c:pt idx="1461">
                  <c:v>All Others</c:v>
                </c:pt>
                <c:pt idx="1462">
                  <c:v>Lactalis: A</c:v>
                </c:pt>
                <c:pt idx="1463">
                  <c:v>All Others</c:v>
                </c:pt>
                <c:pt idx="1464">
                  <c:v>All Others</c:v>
                </c:pt>
                <c:pt idx="1465">
                  <c:v>All Others</c:v>
                </c:pt>
                <c:pt idx="1466">
                  <c:v>Entremont</c:v>
                </c:pt>
                <c:pt idx="1467">
                  <c:v>All Others</c:v>
                </c:pt>
                <c:pt idx="1468">
                  <c:v>All Others</c:v>
                </c:pt>
                <c:pt idx="1469">
                  <c:v>All Others</c:v>
                </c:pt>
                <c:pt idx="1470">
                  <c:v>All Others</c:v>
                </c:pt>
                <c:pt idx="1471">
                  <c:v>All Others</c:v>
                </c:pt>
                <c:pt idx="1472">
                  <c:v>Private Lab</c:v>
                </c:pt>
                <c:pt idx="1473">
                  <c:v>All Others</c:v>
                </c:pt>
                <c:pt idx="1474">
                  <c:v>Raguin</c:v>
                </c:pt>
                <c:pt idx="1475">
                  <c:v>Lactalis: A</c:v>
                </c:pt>
                <c:pt idx="1476">
                  <c:v>All Others</c:v>
                </c:pt>
                <c:pt idx="1477">
                  <c:v>Etoile Du V</c:v>
                </c:pt>
                <c:pt idx="1478">
                  <c:v>All Others</c:v>
                </c:pt>
                <c:pt idx="1479">
                  <c:v>Etoile Du V</c:v>
                </c:pt>
                <c:pt idx="1480">
                  <c:v>All Others</c:v>
                </c:pt>
                <c:pt idx="1481">
                  <c:v>Savencia: A</c:v>
                </c:pt>
                <c:pt idx="1482">
                  <c:v>All Others</c:v>
                </c:pt>
                <c:pt idx="1483">
                  <c:v>Juraflore</c:v>
                </c:pt>
                <c:pt idx="1484">
                  <c:v>All Others</c:v>
                </c:pt>
                <c:pt idx="1485">
                  <c:v>Savencia: A</c:v>
                </c:pt>
                <c:pt idx="1486">
                  <c:v>Private Lab</c:v>
                </c:pt>
                <c:pt idx="1487">
                  <c:v>La Vache Qu</c:v>
                </c:pt>
                <c:pt idx="1488">
                  <c:v>All Others</c:v>
                </c:pt>
                <c:pt idx="1489">
                  <c:v>All Others</c:v>
                </c:pt>
                <c:pt idx="1490">
                  <c:v>All Others</c:v>
                </c:pt>
                <c:pt idx="1491">
                  <c:v>All Others</c:v>
                </c:pt>
                <c:pt idx="1492">
                  <c:v>All Others</c:v>
                </c:pt>
                <c:pt idx="1493">
                  <c:v>All Others</c:v>
                </c:pt>
                <c:pt idx="1494">
                  <c:v>Private Lab</c:v>
                </c:pt>
                <c:pt idx="1495">
                  <c:v>All Others</c:v>
                </c:pt>
                <c:pt idx="1496">
                  <c:v>All Others</c:v>
                </c:pt>
                <c:pt idx="1497">
                  <c:v>All Others</c:v>
                </c:pt>
                <c:pt idx="1498">
                  <c:v>All Others</c:v>
                </c:pt>
                <c:pt idx="1499">
                  <c:v>All Others</c:v>
                </c:pt>
                <c:pt idx="1500">
                  <c:v>All Others</c:v>
                </c:pt>
                <c:pt idx="1501">
                  <c:v>Lactalis: A</c:v>
                </c:pt>
                <c:pt idx="1502">
                  <c:v>All Others</c:v>
                </c:pt>
                <c:pt idx="1503">
                  <c:v>Salakis</c:v>
                </c:pt>
                <c:pt idx="1504">
                  <c:v>Triballat N</c:v>
                </c:pt>
                <c:pt idx="1505">
                  <c:v>All Others</c:v>
                </c:pt>
                <c:pt idx="1506">
                  <c:v>All Others</c:v>
                </c:pt>
                <c:pt idx="1507">
                  <c:v>All Others</c:v>
                </c:pt>
                <c:pt idx="1508">
                  <c:v>All Others</c:v>
                </c:pt>
                <c:pt idx="1509">
                  <c:v>All Others</c:v>
                </c:pt>
                <c:pt idx="1510">
                  <c:v>All Others</c:v>
                </c:pt>
                <c:pt idx="1511">
                  <c:v>All Others</c:v>
                </c:pt>
                <c:pt idx="1512">
                  <c:v>All Others</c:v>
                </c:pt>
                <c:pt idx="1513">
                  <c:v>Private Lab</c:v>
                </c:pt>
                <c:pt idx="1514">
                  <c:v>All Others</c:v>
                </c:pt>
                <c:pt idx="1515">
                  <c:v>All Others</c:v>
                </c:pt>
                <c:pt idx="1516">
                  <c:v>Milleret: A</c:v>
                </c:pt>
                <c:pt idx="1517">
                  <c:v>All Others</c:v>
                </c:pt>
                <c:pt idx="1518">
                  <c:v>La Vache Qu</c:v>
                </c:pt>
                <c:pt idx="1519">
                  <c:v>La Belle Et</c:v>
                </c:pt>
                <c:pt idx="1520">
                  <c:v>All Others</c:v>
                </c:pt>
                <c:pt idx="1521">
                  <c:v>All Others</c:v>
                </c:pt>
                <c:pt idx="1522">
                  <c:v>All Others</c:v>
                </c:pt>
                <c:pt idx="1523">
                  <c:v>Private Lab</c:v>
                </c:pt>
                <c:pt idx="1524">
                  <c:v>All Others</c:v>
                </c:pt>
                <c:pt idx="1525">
                  <c:v>Savencia: A</c:v>
                </c:pt>
                <c:pt idx="1526">
                  <c:v>Societe</c:v>
                </c:pt>
                <c:pt idx="1527">
                  <c:v>La Belle Et</c:v>
                </c:pt>
                <c:pt idx="1528">
                  <c:v>All Others</c:v>
                </c:pt>
                <c:pt idx="1529">
                  <c:v>All Others</c:v>
                </c:pt>
                <c:pt idx="1530">
                  <c:v>All Others</c:v>
                </c:pt>
                <c:pt idx="1531">
                  <c:v>All Others</c:v>
                </c:pt>
                <c:pt idx="1532">
                  <c:v>All Others</c:v>
                </c:pt>
                <c:pt idx="1533">
                  <c:v>All Others</c:v>
                </c:pt>
                <c:pt idx="1534">
                  <c:v>Pochat</c:v>
                </c:pt>
                <c:pt idx="1535">
                  <c:v>All Others</c:v>
                </c:pt>
                <c:pt idx="1536">
                  <c:v>Savencia: A</c:v>
                </c:pt>
                <c:pt idx="1537">
                  <c:v>All Others</c:v>
                </c:pt>
                <c:pt idx="1538">
                  <c:v>All Others</c:v>
                </c:pt>
                <c:pt idx="1539">
                  <c:v>All Others</c:v>
                </c:pt>
                <c:pt idx="1540">
                  <c:v>All Others</c:v>
                </c:pt>
                <c:pt idx="1541">
                  <c:v>La Pointe P</c:v>
                </c:pt>
                <c:pt idx="1542">
                  <c:v>Petit Billy</c:v>
                </c:pt>
                <c:pt idx="1543">
                  <c:v>All Others</c:v>
                </c:pt>
                <c:pt idx="1544">
                  <c:v>All Others</c:v>
                </c:pt>
                <c:pt idx="1545">
                  <c:v>All Others</c:v>
                </c:pt>
                <c:pt idx="1546">
                  <c:v>All Others</c:v>
                </c:pt>
                <c:pt idx="1547">
                  <c:v>La Belle Et</c:v>
                </c:pt>
                <c:pt idx="1548">
                  <c:v>Juraflore</c:v>
                </c:pt>
                <c:pt idx="1549">
                  <c:v>All Others</c:v>
                </c:pt>
                <c:pt idx="1550">
                  <c:v>All Others</c:v>
                </c:pt>
                <c:pt idx="1551">
                  <c:v>All Others</c:v>
                </c:pt>
                <c:pt idx="1552">
                  <c:v>All Others</c:v>
                </c:pt>
                <c:pt idx="1553">
                  <c:v>All Others</c:v>
                </c:pt>
                <c:pt idx="1554">
                  <c:v>All Others</c:v>
                </c:pt>
                <c:pt idx="1555">
                  <c:v>All Others</c:v>
                </c:pt>
                <c:pt idx="1556">
                  <c:v>O'Tapas Ape</c:v>
                </c:pt>
                <c:pt idx="1557">
                  <c:v>Etoile Du Q</c:v>
                </c:pt>
                <c:pt idx="1558">
                  <c:v>All Others</c:v>
                </c:pt>
                <c:pt idx="1559">
                  <c:v>All Others</c:v>
                </c:pt>
                <c:pt idx="1560">
                  <c:v>All Others</c:v>
                </c:pt>
                <c:pt idx="1561">
                  <c:v>All Others</c:v>
                </c:pt>
                <c:pt idx="1562">
                  <c:v>All Others</c:v>
                </c:pt>
                <c:pt idx="1563">
                  <c:v>All Others</c:v>
                </c:pt>
                <c:pt idx="1564">
                  <c:v>Private Lab</c:v>
                </c:pt>
                <c:pt idx="1565">
                  <c:v>Pave D'Affi</c:v>
                </c:pt>
                <c:pt idx="1566">
                  <c:v>Etoile Du V</c:v>
                </c:pt>
                <c:pt idx="1567">
                  <c:v>Private Lab</c:v>
                </c:pt>
                <c:pt idx="1568">
                  <c:v>All Others</c:v>
                </c:pt>
                <c:pt idx="1569">
                  <c:v>Islos</c:v>
                </c:pt>
                <c:pt idx="1570">
                  <c:v>All Others</c:v>
                </c:pt>
                <c:pt idx="1571">
                  <c:v>All Others</c:v>
                </c:pt>
                <c:pt idx="1572">
                  <c:v>All Others</c:v>
                </c:pt>
                <c:pt idx="1573">
                  <c:v>All Others</c:v>
                </c:pt>
                <c:pt idx="1574">
                  <c:v>All Others</c:v>
                </c:pt>
                <c:pt idx="1575">
                  <c:v>Casa Azzurr</c:v>
                </c:pt>
                <c:pt idx="1576">
                  <c:v>La Belle Et</c:v>
                </c:pt>
                <c:pt idx="1577">
                  <c:v>All Others</c:v>
                </c:pt>
                <c:pt idx="1578">
                  <c:v>La Belle Et</c:v>
                </c:pt>
                <c:pt idx="1579">
                  <c:v>Pave D'Affi</c:v>
                </c:pt>
                <c:pt idx="1580">
                  <c:v>All Others</c:v>
                </c:pt>
                <c:pt idx="1581">
                  <c:v>All Others</c:v>
                </c:pt>
                <c:pt idx="1582">
                  <c:v>All Others</c:v>
                </c:pt>
                <c:pt idx="1583">
                  <c:v>Lactalis: A</c:v>
                </c:pt>
                <c:pt idx="1584">
                  <c:v>O'Tapas Ape</c:v>
                </c:pt>
                <c:pt idx="1585">
                  <c:v>All Others</c:v>
                </c:pt>
                <c:pt idx="1586">
                  <c:v>All Others</c:v>
                </c:pt>
                <c:pt idx="1587">
                  <c:v>All Others</c:v>
                </c:pt>
                <c:pt idx="1588">
                  <c:v>All Others</c:v>
                </c:pt>
                <c:pt idx="1589">
                  <c:v>All Others</c:v>
                </c:pt>
                <c:pt idx="1590">
                  <c:v>All Others</c:v>
                </c:pt>
                <c:pt idx="1591">
                  <c:v>All Others</c:v>
                </c:pt>
                <c:pt idx="1592">
                  <c:v>All Others</c:v>
                </c:pt>
                <c:pt idx="1593">
                  <c:v>All Others</c:v>
                </c:pt>
                <c:pt idx="1594">
                  <c:v>Lactalis: A</c:v>
                </c:pt>
                <c:pt idx="1595">
                  <c:v>All Others</c:v>
                </c:pt>
                <c:pt idx="1596">
                  <c:v>Entremont</c:v>
                </c:pt>
                <c:pt idx="1597">
                  <c:v>All Others</c:v>
                </c:pt>
                <c:pt idx="1598">
                  <c:v>All Others</c:v>
                </c:pt>
                <c:pt idx="1599">
                  <c:v>All Others</c:v>
                </c:pt>
                <c:pt idx="1600">
                  <c:v>Milleret: A</c:v>
                </c:pt>
                <c:pt idx="1601">
                  <c:v>All Others</c:v>
                </c:pt>
                <c:pt idx="1602">
                  <c:v>La Belle Et</c:v>
                </c:pt>
                <c:pt idx="1603">
                  <c:v>All Others</c:v>
                </c:pt>
                <c:pt idx="1604">
                  <c:v>All Others</c:v>
                </c:pt>
                <c:pt idx="1605">
                  <c:v>All Others</c:v>
                </c:pt>
                <c:pt idx="1606">
                  <c:v>Pave D'Affi</c:v>
                </c:pt>
                <c:pt idx="1607">
                  <c:v>L'Ortolan</c:v>
                </c:pt>
                <c:pt idx="1608">
                  <c:v>All Others</c:v>
                </c:pt>
                <c:pt idx="1609">
                  <c:v>All Others</c:v>
                </c:pt>
                <c:pt idx="1610">
                  <c:v>All Others</c:v>
                </c:pt>
                <c:pt idx="1611">
                  <c:v>Private Lab</c:v>
                </c:pt>
                <c:pt idx="1612">
                  <c:v>All Others</c:v>
                </c:pt>
                <c:pt idx="1613">
                  <c:v>All Others</c:v>
                </c:pt>
                <c:pt idx="1614">
                  <c:v>All Others</c:v>
                </c:pt>
                <c:pt idx="1615">
                  <c:v>Private Lab</c:v>
                </c:pt>
                <c:pt idx="1616">
                  <c:v>All Others</c:v>
                </c:pt>
                <c:pt idx="1617">
                  <c:v>All Others</c:v>
                </c:pt>
                <c:pt idx="1618">
                  <c:v>Lactalis: A</c:v>
                </c:pt>
                <c:pt idx="1619">
                  <c:v>Casa Azzurr</c:v>
                </c:pt>
                <c:pt idx="1620">
                  <c:v>All Others</c:v>
                </c:pt>
                <c:pt idx="1621">
                  <c:v>Savencia: A</c:v>
                </c:pt>
                <c:pt idx="1622">
                  <c:v>All Others</c:v>
                </c:pt>
                <c:pt idx="1623">
                  <c:v>All Others</c:v>
                </c:pt>
                <c:pt idx="1624">
                  <c:v>All Others</c:v>
                </c:pt>
                <c:pt idx="1625">
                  <c:v>All Others</c:v>
                </c:pt>
                <c:pt idx="1626">
                  <c:v>All Others</c:v>
                </c:pt>
                <c:pt idx="1627">
                  <c:v>La Belle Et</c:v>
                </c:pt>
                <c:pt idx="1628">
                  <c:v>All Others</c:v>
                </c:pt>
                <c:pt idx="1629">
                  <c:v>Private Lab</c:v>
                </c:pt>
                <c:pt idx="1630">
                  <c:v>All Others</c:v>
                </c:pt>
                <c:pt idx="1631">
                  <c:v>Private Lab</c:v>
                </c:pt>
                <c:pt idx="1632">
                  <c:v>All Others</c:v>
                </c:pt>
                <c:pt idx="1633">
                  <c:v>All Others</c:v>
                </c:pt>
                <c:pt idx="1634">
                  <c:v>All Others</c:v>
                </c:pt>
                <c:pt idx="1635">
                  <c:v>All Others</c:v>
                </c:pt>
                <c:pt idx="1636">
                  <c:v>All Others</c:v>
                </c:pt>
                <c:pt idx="1637">
                  <c:v>All Others</c:v>
                </c:pt>
                <c:pt idx="1638">
                  <c:v>All Others</c:v>
                </c:pt>
                <c:pt idx="1639">
                  <c:v>All Others</c:v>
                </c:pt>
                <c:pt idx="1640">
                  <c:v>All Others</c:v>
                </c:pt>
                <c:pt idx="1641">
                  <c:v>All Others</c:v>
                </c:pt>
                <c:pt idx="1642">
                  <c:v>Private Lab</c:v>
                </c:pt>
                <c:pt idx="1643">
                  <c:v>Private Lab</c:v>
                </c:pt>
                <c:pt idx="1644">
                  <c:v>All Others</c:v>
                </c:pt>
                <c:pt idx="1645">
                  <c:v>All Others</c:v>
                </c:pt>
                <c:pt idx="1646">
                  <c:v>All Others</c:v>
                </c:pt>
                <c:pt idx="1647">
                  <c:v>All Others</c:v>
                </c:pt>
                <c:pt idx="1648">
                  <c:v>All Others</c:v>
                </c:pt>
                <c:pt idx="1649">
                  <c:v>All Others</c:v>
                </c:pt>
                <c:pt idx="1650">
                  <c:v>All Others</c:v>
                </c:pt>
                <c:pt idx="1651">
                  <c:v>All Others</c:v>
                </c:pt>
                <c:pt idx="1652">
                  <c:v>All Others</c:v>
                </c:pt>
                <c:pt idx="1653">
                  <c:v>Private Lab</c:v>
                </c:pt>
                <c:pt idx="1654">
                  <c:v>All Others</c:v>
                </c:pt>
                <c:pt idx="1655">
                  <c:v>All Others</c:v>
                </c:pt>
                <c:pt idx="1656">
                  <c:v>All Others</c:v>
                </c:pt>
                <c:pt idx="1657">
                  <c:v>Pochat</c:v>
                </c:pt>
                <c:pt idx="1658">
                  <c:v>All Others</c:v>
                </c:pt>
                <c:pt idx="1659">
                  <c:v>All Others</c:v>
                </c:pt>
                <c:pt idx="1660">
                  <c:v>La Belle Et</c:v>
                </c:pt>
                <c:pt idx="1661">
                  <c:v>Paysan Bret</c:v>
                </c:pt>
                <c:pt idx="1662">
                  <c:v>Paysan Bret</c:v>
                </c:pt>
                <c:pt idx="1663">
                  <c:v>All Others</c:v>
                </c:pt>
                <c:pt idx="1664">
                  <c:v>All Others</c:v>
                </c:pt>
                <c:pt idx="1665">
                  <c:v>All Others</c:v>
                </c:pt>
                <c:pt idx="1666">
                  <c:v>All Others</c:v>
                </c:pt>
                <c:pt idx="1667">
                  <c:v>All Others</c:v>
                </c:pt>
                <c:pt idx="1668">
                  <c:v>Etoile Du V</c:v>
                </c:pt>
                <c:pt idx="1669">
                  <c:v>All Others</c:v>
                </c:pt>
                <c:pt idx="1670">
                  <c:v>All Others</c:v>
                </c:pt>
                <c:pt idx="1671">
                  <c:v>Etoile Du V</c:v>
                </c:pt>
                <c:pt idx="1672">
                  <c:v>Soignon</c:v>
                </c:pt>
                <c:pt idx="1673">
                  <c:v>Lactalis: A</c:v>
                </c:pt>
                <c:pt idx="1674">
                  <c:v>All Others</c:v>
                </c:pt>
                <c:pt idx="1675">
                  <c:v>All Others</c:v>
                </c:pt>
                <c:pt idx="1676">
                  <c:v>All Others</c:v>
                </c:pt>
                <c:pt idx="1677">
                  <c:v>All Others</c:v>
                </c:pt>
                <c:pt idx="1678">
                  <c:v>All Others</c:v>
                </c:pt>
                <c:pt idx="1679">
                  <c:v>All Others</c:v>
                </c:pt>
                <c:pt idx="1680">
                  <c:v>All Others</c:v>
                </c:pt>
                <c:pt idx="1681">
                  <c:v>All Others</c:v>
                </c:pt>
                <c:pt idx="1682">
                  <c:v>Kiri</c:v>
                </c:pt>
                <c:pt idx="1683">
                  <c:v>Lactalis: A</c:v>
                </c:pt>
                <c:pt idx="1684">
                  <c:v>All Others</c:v>
                </c:pt>
                <c:pt idx="1685">
                  <c:v>All Others</c:v>
                </c:pt>
                <c:pt idx="1686">
                  <c:v>All Others</c:v>
                </c:pt>
                <c:pt idx="1687">
                  <c:v>All Others</c:v>
                </c:pt>
                <c:pt idx="1688">
                  <c:v>All Others</c:v>
                </c:pt>
                <c:pt idx="1689">
                  <c:v>Entremont</c:v>
                </c:pt>
                <c:pt idx="1690">
                  <c:v>All Others</c:v>
                </c:pt>
                <c:pt idx="1691">
                  <c:v>All Others</c:v>
                </c:pt>
                <c:pt idx="1692">
                  <c:v>Etoile Du V</c:v>
                </c:pt>
                <c:pt idx="1693">
                  <c:v>Paysan Bret</c:v>
                </c:pt>
                <c:pt idx="1694">
                  <c:v>All Others</c:v>
                </c:pt>
                <c:pt idx="1695">
                  <c:v>All Others</c:v>
                </c:pt>
                <c:pt idx="1696">
                  <c:v>All Others</c:v>
                </c:pt>
                <c:pt idx="1697">
                  <c:v>All Others</c:v>
                </c:pt>
                <c:pt idx="1698">
                  <c:v>All Others</c:v>
                </c:pt>
                <c:pt idx="1699">
                  <c:v>Boursin</c:v>
                </c:pt>
                <c:pt idx="1700">
                  <c:v>Etoile Du V</c:v>
                </c:pt>
                <c:pt idx="1701">
                  <c:v>All Others</c:v>
                </c:pt>
                <c:pt idx="1702">
                  <c:v>All Others</c:v>
                </c:pt>
                <c:pt idx="1703">
                  <c:v>All Others</c:v>
                </c:pt>
                <c:pt idx="1704">
                  <c:v>Juraflore</c:v>
                </c:pt>
                <c:pt idx="1705">
                  <c:v>All Others</c:v>
                </c:pt>
                <c:pt idx="1706">
                  <c:v>All Others</c:v>
                </c:pt>
                <c:pt idx="1707">
                  <c:v>All Others</c:v>
                </c:pt>
                <c:pt idx="1708">
                  <c:v>All Others</c:v>
                </c:pt>
                <c:pt idx="1709">
                  <c:v>All Others</c:v>
                </c:pt>
                <c:pt idx="1710">
                  <c:v>All Others</c:v>
                </c:pt>
                <c:pt idx="1711">
                  <c:v>All Others</c:v>
                </c:pt>
                <c:pt idx="1712">
                  <c:v>Milleret: A</c:v>
                </c:pt>
                <c:pt idx="1713">
                  <c:v>Soignon</c:v>
                </c:pt>
                <c:pt idx="1714">
                  <c:v>Lactalis: A</c:v>
                </c:pt>
                <c:pt idx="1715">
                  <c:v>Mini Babybe</c:v>
                </c:pt>
                <c:pt idx="1716">
                  <c:v>All Others</c:v>
                </c:pt>
                <c:pt idx="1717">
                  <c:v>All Others</c:v>
                </c:pt>
                <c:pt idx="1718">
                  <c:v>All Others</c:v>
                </c:pt>
                <c:pt idx="1719">
                  <c:v>All Others</c:v>
                </c:pt>
                <c:pt idx="1720">
                  <c:v>All Others</c:v>
                </c:pt>
                <c:pt idx="1721">
                  <c:v>All Others</c:v>
                </c:pt>
                <c:pt idx="1722">
                  <c:v>Entremont</c:v>
                </c:pt>
                <c:pt idx="1723">
                  <c:v>All Others</c:v>
                </c:pt>
                <c:pt idx="1724">
                  <c:v>All Others</c:v>
                </c:pt>
                <c:pt idx="1725">
                  <c:v>Private Lab</c:v>
                </c:pt>
                <c:pt idx="1726">
                  <c:v>All Others</c:v>
                </c:pt>
                <c:pt idx="1727">
                  <c:v>All Others</c:v>
                </c:pt>
                <c:pt idx="1728">
                  <c:v>Eurial Autr</c:v>
                </c:pt>
                <c:pt idx="1729">
                  <c:v>La Belle Et</c:v>
                </c:pt>
                <c:pt idx="1730">
                  <c:v>All Others</c:v>
                </c:pt>
                <c:pt idx="1731">
                  <c:v>All Others</c:v>
                </c:pt>
                <c:pt idx="1732">
                  <c:v>All Others</c:v>
                </c:pt>
                <c:pt idx="1733">
                  <c:v>All Others</c:v>
                </c:pt>
                <c:pt idx="1734">
                  <c:v>Milleret: A</c:v>
                </c:pt>
                <c:pt idx="1735">
                  <c:v>All Others</c:v>
                </c:pt>
                <c:pt idx="1736">
                  <c:v>All Others</c:v>
                </c:pt>
                <c:pt idx="1737">
                  <c:v>Triballat R</c:v>
                </c:pt>
                <c:pt idx="1738">
                  <c:v>Entremont</c:v>
                </c:pt>
                <c:pt idx="1739">
                  <c:v>All Others</c:v>
                </c:pt>
                <c:pt idx="1740">
                  <c:v>All Others</c:v>
                </c:pt>
                <c:pt idx="1741">
                  <c:v>All Others</c:v>
                </c:pt>
                <c:pt idx="1742">
                  <c:v>All Others</c:v>
                </c:pt>
                <c:pt idx="1743">
                  <c:v>All Others</c:v>
                </c:pt>
                <c:pt idx="1744">
                  <c:v>All Others</c:v>
                </c:pt>
                <c:pt idx="1745">
                  <c:v>Eurial Autr</c:v>
                </c:pt>
                <c:pt idx="1746">
                  <c:v>All Others</c:v>
                </c:pt>
                <c:pt idx="1747">
                  <c:v>All Others</c:v>
                </c:pt>
                <c:pt idx="1748">
                  <c:v>All Others</c:v>
                </c:pt>
                <c:pt idx="1749">
                  <c:v>All Others</c:v>
                </c:pt>
                <c:pt idx="1750">
                  <c:v>All Others</c:v>
                </c:pt>
                <c:pt idx="1751">
                  <c:v>La Belle Et</c:v>
                </c:pt>
                <c:pt idx="1752">
                  <c:v>All Others</c:v>
                </c:pt>
                <c:pt idx="1753">
                  <c:v>All Others</c:v>
                </c:pt>
                <c:pt idx="1754">
                  <c:v>Eurial Autr</c:v>
                </c:pt>
                <c:pt idx="1755">
                  <c:v>All Others</c:v>
                </c:pt>
                <c:pt idx="1756">
                  <c:v>All Others</c:v>
                </c:pt>
                <c:pt idx="1757">
                  <c:v>All Others</c:v>
                </c:pt>
                <c:pt idx="1758">
                  <c:v>All Others</c:v>
                </c:pt>
                <c:pt idx="1759">
                  <c:v>All Others</c:v>
                </c:pt>
                <c:pt idx="1760">
                  <c:v>All Others</c:v>
                </c:pt>
                <c:pt idx="1761">
                  <c:v>All Others</c:v>
                </c:pt>
                <c:pt idx="1762">
                  <c:v>All Others</c:v>
                </c:pt>
                <c:pt idx="1763">
                  <c:v>All Others</c:v>
                </c:pt>
                <c:pt idx="1764">
                  <c:v>All Others</c:v>
                </c:pt>
                <c:pt idx="1765">
                  <c:v>All Others</c:v>
                </c:pt>
                <c:pt idx="1766">
                  <c:v>All Others</c:v>
                </c:pt>
                <c:pt idx="1767">
                  <c:v>All Others</c:v>
                </c:pt>
                <c:pt idx="1768">
                  <c:v>All Others</c:v>
                </c:pt>
                <c:pt idx="1769">
                  <c:v>All Others</c:v>
                </c:pt>
                <c:pt idx="1770">
                  <c:v>All Others</c:v>
                </c:pt>
                <c:pt idx="1771">
                  <c:v>All Others</c:v>
                </c:pt>
                <c:pt idx="1772">
                  <c:v>All Others</c:v>
                </c:pt>
                <c:pt idx="1773">
                  <c:v>Richesmonts</c:v>
                </c:pt>
                <c:pt idx="1774">
                  <c:v>All Others</c:v>
                </c:pt>
                <c:pt idx="1775">
                  <c:v>All Others</c:v>
                </c:pt>
                <c:pt idx="1776">
                  <c:v>All Others</c:v>
                </c:pt>
                <c:pt idx="1777">
                  <c:v>All Others</c:v>
                </c:pt>
                <c:pt idx="1778">
                  <c:v>All Others</c:v>
                </c:pt>
                <c:pt idx="1779">
                  <c:v>All Others</c:v>
                </c:pt>
                <c:pt idx="1780">
                  <c:v>Boursin</c:v>
                </c:pt>
                <c:pt idx="1781">
                  <c:v>All Others</c:v>
                </c:pt>
                <c:pt idx="1782">
                  <c:v>All Others</c:v>
                </c:pt>
                <c:pt idx="1783">
                  <c:v>All Others</c:v>
                </c:pt>
                <c:pt idx="1784">
                  <c:v>All Others</c:v>
                </c:pt>
                <c:pt idx="1785">
                  <c:v>All Others</c:v>
                </c:pt>
                <c:pt idx="1786">
                  <c:v>All Others</c:v>
                </c:pt>
                <c:pt idx="1787">
                  <c:v>All Others</c:v>
                </c:pt>
                <c:pt idx="1788">
                  <c:v>Lou Perac</c:v>
                </c:pt>
                <c:pt idx="1789">
                  <c:v>Etoile Du Q</c:v>
                </c:pt>
                <c:pt idx="1790">
                  <c:v>All Others</c:v>
                </c:pt>
                <c:pt idx="1791">
                  <c:v>All Others</c:v>
                </c:pt>
                <c:pt idx="1792">
                  <c:v>All Others</c:v>
                </c:pt>
                <c:pt idx="1793">
                  <c:v>All Others</c:v>
                </c:pt>
                <c:pt idx="1794">
                  <c:v>All Others</c:v>
                </c:pt>
                <c:pt idx="1795">
                  <c:v>All Others</c:v>
                </c:pt>
                <c:pt idx="1796">
                  <c:v>All Others</c:v>
                </c:pt>
                <c:pt idx="1797">
                  <c:v>All Others</c:v>
                </c:pt>
                <c:pt idx="1798">
                  <c:v>All Others</c:v>
                </c:pt>
                <c:pt idx="1799">
                  <c:v>All Others</c:v>
                </c:pt>
                <c:pt idx="1800">
                  <c:v>All Others</c:v>
                </c:pt>
                <c:pt idx="1801">
                  <c:v>Entremont</c:v>
                </c:pt>
                <c:pt idx="1802">
                  <c:v>All Others</c:v>
                </c:pt>
                <c:pt idx="1803">
                  <c:v>All Others</c:v>
                </c:pt>
                <c:pt idx="1804">
                  <c:v>All Others</c:v>
                </c:pt>
                <c:pt idx="1805">
                  <c:v>All Others</c:v>
                </c:pt>
                <c:pt idx="1806">
                  <c:v>All Others</c:v>
                </c:pt>
                <c:pt idx="1807">
                  <c:v>All Others</c:v>
                </c:pt>
                <c:pt idx="1808">
                  <c:v>All Others</c:v>
                </c:pt>
                <c:pt idx="1809">
                  <c:v>Juraflore</c:v>
                </c:pt>
                <c:pt idx="1810">
                  <c:v>All Others</c:v>
                </c:pt>
                <c:pt idx="1811">
                  <c:v>All Others</c:v>
                </c:pt>
                <c:pt idx="1812">
                  <c:v>All Others</c:v>
                </c:pt>
                <c:pt idx="1813">
                  <c:v>Etoile Du V</c:v>
                </c:pt>
                <c:pt idx="1814">
                  <c:v>All Others</c:v>
                </c:pt>
                <c:pt idx="1815">
                  <c:v>All Others</c:v>
                </c:pt>
                <c:pt idx="1816">
                  <c:v>All Others</c:v>
                </c:pt>
                <c:pt idx="1817">
                  <c:v>All Others</c:v>
                </c:pt>
                <c:pt idx="1818">
                  <c:v>All Others</c:v>
                </c:pt>
                <c:pt idx="1819">
                  <c:v>President</c:v>
                </c:pt>
                <c:pt idx="1820">
                  <c:v>Entremont</c:v>
                </c:pt>
                <c:pt idx="1821">
                  <c:v>Lactalis: A</c:v>
                </c:pt>
                <c:pt idx="1822">
                  <c:v>All Others</c:v>
                </c:pt>
                <c:pt idx="1823">
                  <c:v>All Others</c:v>
                </c:pt>
                <c:pt idx="1824">
                  <c:v>All Others</c:v>
                </c:pt>
                <c:pt idx="1825">
                  <c:v>All Others</c:v>
                </c:pt>
                <c:pt idx="1826">
                  <c:v>All Others</c:v>
                </c:pt>
                <c:pt idx="1827">
                  <c:v>Private Lab</c:v>
                </c:pt>
                <c:pt idx="1828">
                  <c:v>All Others</c:v>
                </c:pt>
                <c:pt idx="1829">
                  <c:v>All Others</c:v>
                </c:pt>
                <c:pt idx="1830">
                  <c:v>All Others</c:v>
                </c:pt>
                <c:pt idx="1831">
                  <c:v>All Others</c:v>
                </c:pt>
                <c:pt idx="1832">
                  <c:v>All Others</c:v>
                </c:pt>
                <c:pt idx="1833">
                  <c:v>Etoile Du V</c:v>
                </c:pt>
                <c:pt idx="1834">
                  <c:v>All Others</c:v>
                </c:pt>
                <c:pt idx="1835">
                  <c:v>All Others</c:v>
                </c:pt>
                <c:pt idx="1836">
                  <c:v>Tartare</c:v>
                </c:pt>
                <c:pt idx="1837">
                  <c:v>All Others</c:v>
                </c:pt>
                <c:pt idx="1838">
                  <c:v>All Others</c:v>
                </c:pt>
                <c:pt idx="1839">
                  <c:v>All Others</c:v>
                </c:pt>
                <c:pt idx="1840">
                  <c:v>All Others</c:v>
                </c:pt>
                <c:pt idx="1841">
                  <c:v>All Others</c:v>
                </c:pt>
                <c:pt idx="1842">
                  <c:v>All Others</c:v>
                </c:pt>
                <c:pt idx="1843">
                  <c:v>All Others</c:v>
                </c:pt>
                <c:pt idx="1844">
                  <c:v>President</c:v>
                </c:pt>
                <c:pt idx="1845">
                  <c:v>All Others</c:v>
                </c:pt>
                <c:pt idx="1846">
                  <c:v>All Others</c:v>
                </c:pt>
                <c:pt idx="1847">
                  <c:v>All Others</c:v>
                </c:pt>
                <c:pt idx="1848">
                  <c:v>All Others</c:v>
                </c:pt>
                <c:pt idx="1849">
                  <c:v>Triballat R</c:v>
                </c:pt>
                <c:pt idx="1850">
                  <c:v>All Others</c:v>
                </c:pt>
                <c:pt idx="1851">
                  <c:v>All Others</c:v>
                </c:pt>
                <c:pt idx="1852">
                  <c:v>All Others</c:v>
                </c:pt>
                <c:pt idx="1853">
                  <c:v>All Others</c:v>
                </c:pt>
                <c:pt idx="1854">
                  <c:v>Private Lab</c:v>
                </c:pt>
                <c:pt idx="1855">
                  <c:v>Entremont</c:v>
                </c:pt>
                <c:pt idx="1856">
                  <c:v>All Others</c:v>
                </c:pt>
                <c:pt idx="1857">
                  <c:v>All Others</c:v>
                </c:pt>
                <c:pt idx="1858">
                  <c:v>All Others</c:v>
                </c:pt>
                <c:pt idx="1859">
                  <c:v>All Others</c:v>
                </c:pt>
                <c:pt idx="1860">
                  <c:v>All Others</c:v>
                </c:pt>
                <c:pt idx="1861">
                  <c:v>All Others</c:v>
                </c:pt>
                <c:pt idx="1862">
                  <c:v>All Others</c:v>
                </c:pt>
                <c:pt idx="1863">
                  <c:v>All Others</c:v>
                </c:pt>
                <c:pt idx="1864">
                  <c:v>Triballat R</c:v>
                </c:pt>
                <c:pt idx="1865">
                  <c:v>All Others</c:v>
                </c:pt>
                <c:pt idx="1866">
                  <c:v>All Others</c:v>
                </c:pt>
                <c:pt idx="1867">
                  <c:v>All Others</c:v>
                </c:pt>
                <c:pt idx="1868">
                  <c:v>All Others</c:v>
                </c:pt>
                <c:pt idx="1869">
                  <c:v>All Others</c:v>
                </c:pt>
                <c:pt idx="1870">
                  <c:v>All Others</c:v>
                </c:pt>
                <c:pt idx="1871">
                  <c:v>Private Lab</c:v>
                </c:pt>
                <c:pt idx="1872">
                  <c:v>All Others</c:v>
                </c:pt>
                <c:pt idx="1873">
                  <c:v>All Others</c:v>
                </c:pt>
                <c:pt idx="1874">
                  <c:v>All Others</c:v>
                </c:pt>
                <c:pt idx="1875">
                  <c:v>Private Lab</c:v>
                </c:pt>
                <c:pt idx="1876">
                  <c:v>All Others</c:v>
                </c:pt>
                <c:pt idx="1877">
                  <c:v>Corsica</c:v>
                </c:pt>
                <c:pt idx="1878">
                  <c:v>All Others</c:v>
                </c:pt>
                <c:pt idx="1879">
                  <c:v>All Others</c:v>
                </c:pt>
                <c:pt idx="1880">
                  <c:v>All Others</c:v>
                </c:pt>
                <c:pt idx="1881">
                  <c:v>St Moret</c:v>
                </c:pt>
                <c:pt idx="1882">
                  <c:v>Savencia: A</c:v>
                </c:pt>
                <c:pt idx="1883">
                  <c:v>Saint Agur</c:v>
                </c:pt>
                <c:pt idx="1884">
                  <c:v>Lactalis: A</c:v>
                </c:pt>
                <c:pt idx="1885">
                  <c:v>All Others</c:v>
                </c:pt>
                <c:pt idx="1886">
                  <c:v>All Others</c:v>
                </c:pt>
                <c:pt idx="1887">
                  <c:v>All Others</c:v>
                </c:pt>
                <c:pt idx="1888">
                  <c:v>All Others</c:v>
                </c:pt>
                <c:pt idx="1889">
                  <c:v>Savencia: A</c:v>
                </c:pt>
                <c:pt idx="1890">
                  <c:v>All Others</c:v>
                </c:pt>
                <c:pt idx="1891">
                  <c:v>All Others</c:v>
                </c:pt>
                <c:pt idx="1892">
                  <c:v>All Others</c:v>
                </c:pt>
                <c:pt idx="1893">
                  <c:v>All Others</c:v>
                </c:pt>
                <c:pt idx="1894">
                  <c:v>Lactalis: A</c:v>
                </c:pt>
                <c:pt idx="1895">
                  <c:v>All Others</c:v>
                </c:pt>
                <c:pt idx="1896">
                  <c:v>All Others</c:v>
                </c:pt>
                <c:pt idx="1897">
                  <c:v>All Others</c:v>
                </c:pt>
                <c:pt idx="1898">
                  <c:v>All Others</c:v>
                </c:pt>
                <c:pt idx="1899">
                  <c:v>All Others</c:v>
                </c:pt>
                <c:pt idx="1900">
                  <c:v>All Others</c:v>
                </c:pt>
                <c:pt idx="1901">
                  <c:v>President</c:v>
                </c:pt>
                <c:pt idx="1902">
                  <c:v>All Others</c:v>
                </c:pt>
                <c:pt idx="1903">
                  <c:v>All Others</c:v>
                </c:pt>
                <c:pt idx="1904">
                  <c:v>All Others</c:v>
                </c:pt>
                <c:pt idx="1905">
                  <c:v>All Others</c:v>
                </c:pt>
                <c:pt idx="1906">
                  <c:v>Richesmonts</c:v>
                </c:pt>
                <c:pt idx="1907">
                  <c:v>All Others</c:v>
                </c:pt>
                <c:pt idx="1908">
                  <c:v>La Belle Et</c:v>
                </c:pt>
                <c:pt idx="1909">
                  <c:v>All Others</c:v>
                </c:pt>
                <c:pt idx="1910">
                  <c:v>All Others</c:v>
                </c:pt>
                <c:pt idx="1911">
                  <c:v>All Others</c:v>
                </c:pt>
                <c:pt idx="1912">
                  <c:v>All Others</c:v>
                </c:pt>
                <c:pt idx="1913">
                  <c:v>All Others</c:v>
                </c:pt>
                <c:pt idx="1914">
                  <c:v>All Others</c:v>
                </c:pt>
                <c:pt idx="1915">
                  <c:v>All Others</c:v>
                </c:pt>
                <c:pt idx="1916">
                  <c:v>All Others</c:v>
                </c:pt>
                <c:pt idx="1917">
                  <c:v>All Others</c:v>
                </c:pt>
                <c:pt idx="1918">
                  <c:v>All Others</c:v>
                </c:pt>
                <c:pt idx="1919">
                  <c:v>All Others</c:v>
                </c:pt>
                <c:pt idx="1920">
                  <c:v>All Others</c:v>
                </c:pt>
                <c:pt idx="1921">
                  <c:v>Private Lab</c:v>
                </c:pt>
                <c:pt idx="1922">
                  <c:v>All Others</c:v>
                </c:pt>
                <c:pt idx="1923">
                  <c:v>All Others</c:v>
                </c:pt>
                <c:pt idx="1924">
                  <c:v>Paysan Bret</c:v>
                </c:pt>
                <c:pt idx="1925">
                  <c:v>All Others</c:v>
                </c:pt>
                <c:pt idx="1926">
                  <c:v>Eurial Autr</c:v>
                </c:pt>
                <c:pt idx="1927">
                  <c:v>All Others</c:v>
                </c:pt>
                <c:pt idx="1928">
                  <c:v>Triballat R</c:v>
                </c:pt>
                <c:pt idx="1929">
                  <c:v>All Others</c:v>
                </c:pt>
                <c:pt idx="1930">
                  <c:v>All Others</c:v>
                </c:pt>
                <c:pt idx="1931">
                  <c:v>All Others</c:v>
                </c:pt>
                <c:pt idx="1932">
                  <c:v>La Belle Et</c:v>
                </c:pt>
                <c:pt idx="1933">
                  <c:v>All Others</c:v>
                </c:pt>
                <c:pt idx="1934">
                  <c:v>Cousteron</c:v>
                </c:pt>
                <c:pt idx="1935">
                  <c:v>All Others</c:v>
                </c:pt>
                <c:pt idx="1936">
                  <c:v>All Others</c:v>
                </c:pt>
                <c:pt idx="1937">
                  <c:v>All Others</c:v>
                </c:pt>
                <c:pt idx="1938">
                  <c:v>All Others</c:v>
                </c:pt>
                <c:pt idx="1939">
                  <c:v>La Belle Et</c:v>
                </c:pt>
                <c:pt idx="1940">
                  <c:v>All Others</c:v>
                </c:pt>
                <c:pt idx="1941">
                  <c:v>All Others</c:v>
                </c:pt>
                <c:pt idx="1942">
                  <c:v>All Others</c:v>
                </c:pt>
                <c:pt idx="1943">
                  <c:v>All Others</c:v>
                </c:pt>
                <c:pt idx="1944">
                  <c:v>Savencia: A</c:v>
                </c:pt>
                <c:pt idx="1945">
                  <c:v>Eurial Autr</c:v>
                </c:pt>
                <c:pt idx="1946">
                  <c:v>All Others</c:v>
                </c:pt>
                <c:pt idx="1947">
                  <c:v>All Others</c:v>
                </c:pt>
                <c:pt idx="1948">
                  <c:v>All Others</c:v>
                </c:pt>
                <c:pt idx="1949">
                  <c:v>All Others</c:v>
                </c:pt>
                <c:pt idx="1950">
                  <c:v>Entremont</c:v>
                </c:pt>
                <c:pt idx="1951">
                  <c:v>All Others</c:v>
                </c:pt>
                <c:pt idx="1952">
                  <c:v>All Others</c:v>
                </c:pt>
                <c:pt idx="1953">
                  <c:v>All Others</c:v>
                </c:pt>
                <c:pt idx="1954">
                  <c:v>All Others</c:v>
                </c:pt>
                <c:pt idx="1955">
                  <c:v>St Moret</c:v>
                </c:pt>
                <c:pt idx="1956">
                  <c:v>Pochat</c:v>
                </c:pt>
                <c:pt idx="1957">
                  <c:v>All Others</c:v>
                </c:pt>
                <c:pt idx="1958">
                  <c:v>All Others</c:v>
                </c:pt>
                <c:pt idx="1959">
                  <c:v>Savencia: A</c:v>
                </c:pt>
                <c:pt idx="1960">
                  <c:v>Private Lab</c:v>
                </c:pt>
                <c:pt idx="1961">
                  <c:v>All Others</c:v>
                </c:pt>
                <c:pt idx="1962">
                  <c:v>All Others</c:v>
                </c:pt>
                <c:pt idx="1963">
                  <c:v>All Others</c:v>
                </c:pt>
                <c:pt idx="1964">
                  <c:v>Fauquet</c:v>
                </c:pt>
                <c:pt idx="1965">
                  <c:v>All Others</c:v>
                </c:pt>
                <c:pt idx="1966">
                  <c:v>Lactalis: A</c:v>
                </c:pt>
                <c:pt idx="1967">
                  <c:v>Private Lab</c:v>
                </c:pt>
                <c:pt idx="1968">
                  <c:v>All Others</c:v>
                </c:pt>
                <c:pt idx="1969">
                  <c:v>All Others</c:v>
                </c:pt>
                <c:pt idx="1970">
                  <c:v>All Others</c:v>
                </c:pt>
                <c:pt idx="1971">
                  <c:v>All Others</c:v>
                </c:pt>
                <c:pt idx="1972">
                  <c:v>All Others</c:v>
                </c:pt>
                <c:pt idx="1973">
                  <c:v>All Others</c:v>
                </c:pt>
                <c:pt idx="1974">
                  <c:v>Entremont</c:v>
                </c:pt>
                <c:pt idx="1975">
                  <c:v>All Others</c:v>
                </c:pt>
                <c:pt idx="1976">
                  <c:v>All Others</c:v>
                </c:pt>
                <c:pt idx="1977">
                  <c:v>All Others</c:v>
                </c:pt>
                <c:pt idx="1978">
                  <c:v>All Others</c:v>
                </c:pt>
                <c:pt idx="1979">
                  <c:v>All Others</c:v>
                </c:pt>
                <c:pt idx="1980">
                  <c:v>Milleret: A</c:v>
                </c:pt>
                <c:pt idx="1981">
                  <c:v>All Others</c:v>
                </c:pt>
                <c:pt idx="1982">
                  <c:v>All Others</c:v>
                </c:pt>
                <c:pt idx="1983">
                  <c:v>All Others</c:v>
                </c:pt>
                <c:pt idx="1984">
                  <c:v>Savencia: A</c:v>
                </c:pt>
                <c:pt idx="1985">
                  <c:v>All Others</c:v>
                </c:pt>
                <c:pt idx="1986">
                  <c:v>All Others</c:v>
                </c:pt>
                <c:pt idx="1987">
                  <c:v>All Others</c:v>
                </c:pt>
                <c:pt idx="1988">
                  <c:v>All Others</c:v>
                </c:pt>
                <c:pt idx="1989">
                  <c:v>All Others</c:v>
                </c:pt>
                <c:pt idx="1990">
                  <c:v>All Others</c:v>
                </c:pt>
                <c:pt idx="1991">
                  <c:v>All Others</c:v>
                </c:pt>
                <c:pt idx="1992">
                  <c:v>All Others</c:v>
                </c:pt>
                <c:pt idx="1993">
                  <c:v>All Others</c:v>
                </c:pt>
                <c:pt idx="1994">
                  <c:v>All Others</c:v>
                </c:pt>
                <c:pt idx="1995">
                  <c:v>All Others</c:v>
                </c:pt>
                <c:pt idx="1996">
                  <c:v>All Others</c:v>
                </c:pt>
                <c:pt idx="1997">
                  <c:v>All Others</c:v>
                </c:pt>
                <c:pt idx="1998">
                  <c:v>Raguin</c:v>
                </c:pt>
                <c:pt idx="1999">
                  <c:v>All Others</c:v>
                </c:pt>
                <c:pt idx="2000">
                  <c:v>All Others</c:v>
                </c:pt>
                <c:pt idx="2001">
                  <c:v>All Others</c:v>
                </c:pt>
                <c:pt idx="2002">
                  <c:v>All Others</c:v>
                </c:pt>
                <c:pt idx="2003">
                  <c:v>All Others</c:v>
                </c:pt>
                <c:pt idx="2004">
                  <c:v>All Others</c:v>
                </c:pt>
                <c:pt idx="2005">
                  <c:v>All Others</c:v>
                </c:pt>
                <c:pt idx="2006">
                  <c:v>All Others</c:v>
                </c:pt>
                <c:pt idx="2007">
                  <c:v>All Others</c:v>
                </c:pt>
                <c:pt idx="2008">
                  <c:v>All Others</c:v>
                </c:pt>
                <c:pt idx="2009">
                  <c:v>All Others</c:v>
                </c:pt>
                <c:pt idx="2010">
                  <c:v>All Others</c:v>
                </c:pt>
                <c:pt idx="2011">
                  <c:v>All Others</c:v>
                </c:pt>
                <c:pt idx="2012">
                  <c:v>All Others</c:v>
                </c:pt>
                <c:pt idx="2013">
                  <c:v>All Others</c:v>
                </c:pt>
                <c:pt idx="2014">
                  <c:v>All Others</c:v>
                </c:pt>
                <c:pt idx="2015">
                  <c:v>All Others</c:v>
                </c:pt>
                <c:pt idx="2016">
                  <c:v>All Others</c:v>
                </c:pt>
                <c:pt idx="2017">
                  <c:v>Eurial Autr</c:v>
                </c:pt>
                <c:pt idx="2018">
                  <c:v>Eurial Autr</c:v>
                </c:pt>
                <c:pt idx="2019">
                  <c:v>All Others</c:v>
                </c:pt>
                <c:pt idx="2020">
                  <c:v>All Others</c:v>
                </c:pt>
                <c:pt idx="2021">
                  <c:v>All Others</c:v>
                </c:pt>
                <c:pt idx="2022">
                  <c:v>All Others</c:v>
                </c:pt>
                <c:pt idx="2023">
                  <c:v>All Others</c:v>
                </c:pt>
                <c:pt idx="2024">
                  <c:v>Milleret: A</c:v>
                </c:pt>
                <c:pt idx="2025">
                  <c:v>All Others</c:v>
                </c:pt>
                <c:pt idx="2026">
                  <c:v>All Others</c:v>
                </c:pt>
                <c:pt idx="2027">
                  <c:v>All Others</c:v>
                </c:pt>
                <c:pt idx="2028">
                  <c:v>All Others</c:v>
                </c:pt>
                <c:pt idx="2029">
                  <c:v>All Others</c:v>
                </c:pt>
                <c:pt idx="2030">
                  <c:v>Casa Azzurr</c:v>
                </c:pt>
                <c:pt idx="2031">
                  <c:v>All Others</c:v>
                </c:pt>
                <c:pt idx="2032">
                  <c:v>All Others</c:v>
                </c:pt>
                <c:pt idx="2033">
                  <c:v>All Others</c:v>
                </c:pt>
                <c:pt idx="2034">
                  <c:v>All Others</c:v>
                </c:pt>
                <c:pt idx="2035">
                  <c:v>All Others</c:v>
                </c:pt>
                <c:pt idx="2036">
                  <c:v>All Others</c:v>
                </c:pt>
                <c:pt idx="2037">
                  <c:v>All Others</c:v>
                </c:pt>
                <c:pt idx="2038">
                  <c:v>All Others</c:v>
                </c:pt>
                <c:pt idx="2039">
                  <c:v>Private Lab</c:v>
                </c:pt>
                <c:pt idx="2040">
                  <c:v>Savencia: A</c:v>
                </c:pt>
                <c:pt idx="2041">
                  <c:v>Lactalis: A</c:v>
                </c:pt>
                <c:pt idx="2042">
                  <c:v>All Others</c:v>
                </c:pt>
                <c:pt idx="2043">
                  <c:v>All Others</c:v>
                </c:pt>
                <c:pt idx="2044">
                  <c:v>All Others</c:v>
                </c:pt>
                <c:pt idx="2045">
                  <c:v>Eurial Autr</c:v>
                </c:pt>
                <c:pt idx="2046">
                  <c:v>All Others</c:v>
                </c:pt>
                <c:pt idx="2047">
                  <c:v>All Others</c:v>
                </c:pt>
                <c:pt idx="2048">
                  <c:v>All Others</c:v>
                </c:pt>
                <c:pt idx="2049">
                  <c:v>Lou Perac</c:v>
                </c:pt>
                <c:pt idx="2050">
                  <c:v>All Others</c:v>
                </c:pt>
                <c:pt idx="2051">
                  <c:v>All Others</c:v>
                </c:pt>
                <c:pt idx="2052">
                  <c:v>All Others</c:v>
                </c:pt>
                <c:pt idx="2053">
                  <c:v>All Others</c:v>
                </c:pt>
                <c:pt idx="2054">
                  <c:v>All Others</c:v>
                </c:pt>
                <c:pt idx="2055">
                  <c:v>Pave D'Affi</c:v>
                </c:pt>
                <c:pt idx="2056">
                  <c:v>Triballat N</c:v>
                </c:pt>
                <c:pt idx="2057">
                  <c:v>President</c:v>
                </c:pt>
                <c:pt idx="2058">
                  <c:v>All Others</c:v>
                </c:pt>
                <c:pt idx="2059">
                  <c:v>All Others</c:v>
                </c:pt>
                <c:pt idx="2060">
                  <c:v>All Others</c:v>
                </c:pt>
                <c:pt idx="2061">
                  <c:v>Raguin</c:v>
                </c:pt>
                <c:pt idx="2062">
                  <c:v>All Others</c:v>
                </c:pt>
                <c:pt idx="2063">
                  <c:v>All Others</c:v>
                </c:pt>
                <c:pt idx="2064">
                  <c:v>All Others</c:v>
                </c:pt>
                <c:pt idx="2065">
                  <c:v>All Others</c:v>
                </c:pt>
                <c:pt idx="2066">
                  <c:v>All Others</c:v>
                </c:pt>
                <c:pt idx="2067">
                  <c:v>President</c:v>
                </c:pt>
                <c:pt idx="2068">
                  <c:v>All Others</c:v>
                </c:pt>
                <c:pt idx="2069">
                  <c:v>All Others</c:v>
                </c:pt>
                <c:pt idx="2070">
                  <c:v>All Others</c:v>
                </c:pt>
                <c:pt idx="2071">
                  <c:v>All Others</c:v>
                </c:pt>
                <c:pt idx="2072">
                  <c:v>All Others</c:v>
                </c:pt>
                <c:pt idx="2073">
                  <c:v>All Others</c:v>
                </c:pt>
                <c:pt idx="2074">
                  <c:v>All Others</c:v>
                </c:pt>
                <c:pt idx="2075">
                  <c:v>All Others</c:v>
                </c:pt>
                <c:pt idx="2076">
                  <c:v>All Others</c:v>
                </c:pt>
                <c:pt idx="2077">
                  <c:v>All Others</c:v>
                </c:pt>
                <c:pt idx="2078">
                  <c:v>All Others</c:v>
                </c:pt>
                <c:pt idx="2079">
                  <c:v>All Others</c:v>
                </c:pt>
                <c:pt idx="2080">
                  <c:v>All Others</c:v>
                </c:pt>
                <c:pt idx="2081">
                  <c:v>All Others</c:v>
                </c:pt>
                <c:pt idx="2082">
                  <c:v>All Others</c:v>
                </c:pt>
                <c:pt idx="2083">
                  <c:v>All Others</c:v>
                </c:pt>
                <c:pt idx="2084">
                  <c:v>All Others</c:v>
                </c:pt>
                <c:pt idx="2085">
                  <c:v>All Others</c:v>
                </c:pt>
                <c:pt idx="2086">
                  <c:v>All Others</c:v>
                </c:pt>
                <c:pt idx="2087">
                  <c:v>All Others</c:v>
                </c:pt>
                <c:pt idx="2088">
                  <c:v>All Others</c:v>
                </c:pt>
                <c:pt idx="2089">
                  <c:v>All Others</c:v>
                </c:pt>
                <c:pt idx="2090">
                  <c:v>All Others</c:v>
                </c:pt>
                <c:pt idx="2091">
                  <c:v>All Others</c:v>
                </c:pt>
                <c:pt idx="2092">
                  <c:v>All Others</c:v>
                </c:pt>
                <c:pt idx="2093">
                  <c:v>All Others</c:v>
                </c:pt>
                <c:pt idx="2094">
                  <c:v>All Others</c:v>
                </c:pt>
                <c:pt idx="2095">
                  <c:v>All Others</c:v>
                </c:pt>
                <c:pt idx="2096">
                  <c:v>All Others</c:v>
                </c:pt>
                <c:pt idx="2097">
                  <c:v>All Others</c:v>
                </c:pt>
                <c:pt idx="2098">
                  <c:v>All Others</c:v>
                </c:pt>
                <c:pt idx="2099">
                  <c:v>All Others</c:v>
                </c:pt>
                <c:pt idx="2100">
                  <c:v>All Others</c:v>
                </c:pt>
                <c:pt idx="2101">
                  <c:v>Pochat</c:v>
                </c:pt>
                <c:pt idx="2102">
                  <c:v>All Others</c:v>
                </c:pt>
                <c:pt idx="2103">
                  <c:v>Triballat R</c:v>
                </c:pt>
                <c:pt idx="2104">
                  <c:v>All Others</c:v>
                </c:pt>
                <c:pt idx="2105">
                  <c:v>All Others</c:v>
                </c:pt>
                <c:pt idx="2106">
                  <c:v>All Others</c:v>
                </c:pt>
                <c:pt idx="2107">
                  <c:v>All Others</c:v>
                </c:pt>
                <c:pt idx="2108">
                  <c:v>Tartare</c:v>
                </c:pt>
                <c:pt idx="2109">
                  <c:v>All Others</c:v>
                </c:pt>
                <c:pt idx="2110">
                  <c:v>Savencia: A</c:v>
                </c:pt>
                <c:pt idx="2111">
                  <c:v>All Others</c:v>
                </c:pt>
                <c:pt idx="2112">
                  <c:v>All Others</c:v>
                </c:pt>
                <c:pt idx="2113">
                  <c:v>Vieux Pane</c:v>
                </c:pt>
                <c:pt idx="2114">
                  <c:v>All Others</c:v>
                </c:pt>
                <c:pt idx="2115">
                  <c:v>All Others</c:v>
                </c:pt>
                <c:pt idx="2116">
                  <c:v>All Others</c:v>
                </c:pt>
                <c:pt idx="2117">
                  <c:v>All Others</c:v>
                </c:pt>
                <c:pt idx="2118">
                  <c:v>All Others</c:v>
                </c:pt>
                <c:pt idx="2119">
                  <c:v>All Others</c:v>
                </c:pt>
                <c:pt idx="2120">
                  <c:v>Etoile Du V</c:v>
                </c:pt>
                <c:pt idx="2121">
                  <c:v>All Others</c:v>
                </c:pt>
                <c:pt idx="2122">
                  <c:v>All Others</c:v>
                </c:pt>
                <c:pt idx="2123">
                  <c:v>All Others</c:v>
                </c:pt>
                <c:pt idx="2124">
                  <c:v>All Others</c:v>
                </c:pt>
                <c:pt idx="2125">
                  <c:v>All Others</c:v>
                </c:pt>
                <c:pt idx="2126">
                  <c:v>All Others</c:v>
                </c:pt>
                <c:pt idx="2127">
                  <c:v>All Others</c:v>
                </c:pt>
                <c:pt idx="2128">
                  <c:v>All Others</c:v>
                </c:pt>
                <c:pt idx="2129">
                  <c:v>President</c:v>
                </c:pt>
                <c:pt idx="2130">
                  <c:v>All Others</c:v>
                </c:pt>
                <c:pt idx="2131">
                  <c:v>All Others</c:v>
                </c:pt>
                <c:pt idx="2132">
                  <c:v>Pochat</c:v>
                </c:pt>
                <c:pt idx="2133">
                  <c:v>All Others</c:v>
                </c:pt>
                <c:pt idx="2134">
                  <c:v>All Others</c:v>
                </c:pt>
                <c:pt idx="2135">
                  <c:v>All Others</c:v>
                </c:pt>
                <c:pt idx="2136">
                  <c:v>All Others</c:v>
                </c:pt>
                <c:pt idx="2137">
                  <c:v>All Others</c:v>
                </c:pt>
                <c:pt idx="2138">
                  <c:v>All Others</c:v>
                </c:pt>
                <c:pt idx="2139">
                  <c:v>All Others</c:v>
                </c:pt>
                <c:pt idx="2140">
                  <c:v>All Others</c:v>
                </c:pt>
                <c:pt idx="2141">
                  <c:v>Caprice Des</c:v>
                </c:pt>
                <c:pt idx="2142">
                  <c:v>All Others</c:v>
                </c:pt>
                <c:pt idx="2143">
                  <c:v>All Others</c:v>
                </c:pt>
                <c:pt idx="2144">
                  <c:v>All Others</c:v>
                </c:pt>
                <c:pt idx="2145">
                  <c:v>All Others</c:v>
                </c:pt>
                <c:pt idx="2146">
                  <c:v>All Others</c:v>
                </c:pt>
                <c:pt idx="2147">
                  <c:v>All Others</c:v>
                </c:pt>
                <c:pt idx="2148">
                  <c:v>Raguin</c:v>
                </c:pt>
                <c:pt idx="2149">
                  <c:v>All Others</c:v>
                </c:pt>
                <c:pt idx="2150">
                  <c:v>All Others</c:v>
                </c:pt>
                <c:pt idx="2151">
                  <c:v>All Others</c:v>
                </c:pt>
                <c:pt idx="2152">
                  <c:v>Pave D'Affi</c:v>
                </c:pt>
                <c:pt idx="2153">
                  <c:v>Savencia: A</c:v>
                </c:pt>
                <c:pt idx="2154">
                  <c:v>All Others</c:v>
                </c:pt>
                <c:pt idx="2155">
                  <c:v>All Others</c:v>
                </c:pt>
                <c:pt idx="2156">
                  <c:v>All Others</c:v>
                </c:pt>
                <c:pt idx="2157">
                  <c:v>Savencia: A</c:v>
                </c:pt>
                <c:pt idx="2158">
                  <c:v>All Others</c:v>
                </c:pt>
                <c:pt idx="2159">
                  <c:v>All Others</c:v>
                </c:pt>
                <c:pt idx="2160">
                  <c:v>Richesmonts</c:v>
                </c:pt>
                <c:pt idx="2161">
                  <c:v>All Others</c:v>
                </c:pt>
                <c:pt idx="2162">
                  <c:v>All Others</c:v>
                </c:pt>
                <c:pt idx="2163">
                  <c:v>All Others</c:v>
                </c:pt>
                <c:pt idx="2164">
                  <c:v>All Others</c:v>
                </c:pt>
                <c:pt idx="2165">
                  <c:v>All Others</c:v>
                </c:pt>
                <c:pt idx="2166">
                  <c:v>Savencia: A</c:v>
                </c:pt>
                <c:pt idx="2167">
                  <c:v>All Others</c:v>
                </c:pt>
                <c:pt idx="2168">
                  <c:v>All Others</c:v>
                </c:pt>
                <c:pt idx="2169">
                  <c:v>All Others</c:v>
                </c:pt>
                <c:pt idx="2170">
                  <c:v>All Others</c:v>
                </c:pt>
                <c:pt idx="2171">
                  <c:v>All Others</c:v>
                </c:pt>
                <c:pt idx="2172">
                  <c:v>All Others</c:v>
                </c:pt>
                <c:pt idx="2173">
                  <c:v>All Others</c:v>
                </c:pt>
                <c:pt idx="2174">
                  <c:v>Milleret: A</c:v>
                </c:pt>
                <c:pt idx="2175">
                  <c:v>All Others</c:v>
                </c:pt>
                <c:pt idx="2176">
                  <c:v>All Others</c:v>
                </c:pt>
                <c:pt idx="2177">
                  <c:v>All Others</c:v>
                </c:pt>
                <c:pt idx="2178">
                  <c:v>All Others</c:v>
                </c:pt>
                <c:pt idx="2179">
                  <c:v>Eurial Autr</c:v>
                </c:pt>
                <c:pt idx="2180">
                  <c:v>All Others</c:v>
                </c:pt>
                <c:pt idx="2181">
                  <c:v>All Others</c:v>
                </c:pt>
                <c:pt idx="2182">
                  <c:v>All Others</c:v>
                </c:pt>
                <c:pt idx="2183">
                  <c:v>All Others</c:v>
                </c:pt>
                <c:pt idx="2184">
                  <c:v>All Others</c:v>
                </c:pt>
                <c:pt idx="2185">
                  <c:v>Soignon</c:v>
                </c:pt>
                <c:pt idx="2186">
                  <c:v>Pochat</c:v>
                </c:pt>
                <c:pt idx="2187">
                  <c:v>All Others</c:v>
                </c:pt>
                <c:pt idx="2188">
                  <c:v>All Others</c:v>
                </c:pt>
                <c:pt idx="2189">
                  <c:v>All Others</c:v>
                </c:pt>
                <c:pt idx="2190">
                  <c:v>Leerdammer</c:v>
                </c:pt>
                <c:pt idx="2191">
                  <c:v>All Others</c:v>
                </c:pt>
                <c:pt idx="2192">
                  <c:v>All Others</c:v>
                </c:pt>
                <c:pt idx="2193">
                  <c:v>All Others</c:v>
                </c:pt>
                <c:pt idx="2194">
                  <c:v>All Others</c:v>
                </c:pt>
                <c:pt idx="2195">
                  <c:v>All Others</c:v>
                </c:pt>
                <c:pt idx="2196">
                  <c:v>All Others</c:v>
                </c:pt>
                <c:pt idx="2197">
                  <c:v>All Others</c:v>
                </c:pt>
                <c:pt idx="2198">
                  <c:v>All Others</c:v>
                </c:pt>
                <c:pt idx="2199">
                  <c:v>All Others</c:v>
                </c:pt>
                <c:pt idx="2200">
                  <c:v>All Others</c:v>
                </c:pt>
                <c:pt idx="2201">
                  <c:v>All Others</c:v>
                </c:pt>
                <c:pt idx="2202">
                  <c:v>All Others</c:v>
                </c:pt>
                <c:pt idx="2203">
                  <c:v>All Others</c:v>
                </c:pt>
                <c:pt idx="2204">
                  <c:v>All Others</c:v>
                </c:pt>
                <c:pt idx="2205">
                  <c:v>All Others</c:v>
                </c:pt>
                <c:pt idx="2206">
                  <c:v>All Others</c:v>
                </c:pt>
                <c:pt idx="2207">
                  <c:v>Etoile Du V</c:v>
                </c:pt>
                <c:pt idx="2208">
                  <c:v>Raguin</c:v>
                </c:pt>
                <c:pt idx="2209">
                  <c:v>La Belle Et</c:v>
                </c:pt>
                <c:pt idx="2210">
                  <c:v>All Others</c:v>
                </c:pt>
                <c:pt idx="2211">
                  <c:v>Private Lab</c:v>
                </c:pt>
                <c:pt idx="2212">
                  <c:v>All Others</c:v>
                </c:pt>
                <c:pt idx="2213">
                  <c:v>All Others</c:v>
                </c:pt>
                <c:pt idx="2214">
                  <c:v>All Others</c:v>
                </c:pt>
                <c:pt idx="2215">
                  <c:v>All Others</c:v>
                </c:pt>
                <c:pt idx="2216">
                  <c:v>All Others</c:v>
                </c:pt>
                <c:pt idx="2217">
                  <c:v>All Others</c:v>
                </c:pt>
                <c:pt idx="2218">
                  <c:v>All Others</c:v>
                </c:pt>
                <c:pt idx="2219">
                  <c:v>All Others</c:v>
                </c:pt>
                <c:pt idx="2220">
                  <c:v>Etoile Du V</c:v>
                </c:pt>
                <c:pt idx="2221">
                  <c:v>Paysan Bret</c:v>
                </c:pt>
                <c:pt idx="2222">
                  <c:v>Lou Perac</c:v>
                </c:pt>
                <c:pt idx="2223">
                  <c:v>All Others</c:v>
                </c:pt>
                <c:pt idx="2224">
                  <c:v>All Others</c:v>
                </c:pt>
                <c:pt idx="2225">
                  <c:v>All Others</c:v>
                </c:pt>
                <c:pt idx="2226">
                  <c:v>Milleret: A</c:v>
                </c:pt>
                <c:pt idx="2227">
                  <c:v>Petit Billy</c:v>
                </c:pt>
                <c:pt idx="2228">
                  <c:v>All Others</c:v>
                </c:pt>
                <c:pt idx="2229">
                  <c:v>All Others</c:v>
                </c:pt>
                <c:pt idx="2230">
                  <c:v>Lactalis: A</c:v>
                </c:pt>
                <c:pt idx="2231">
                  <c:v>All Others</c:v>
                </c:pt>
                <c:pt idx="2232">
                  <c:v>All Others</c:v>
                </c:pt>
                <c:pt idx="2233">
                  <c:v>All Others</c:v>
                </c:pt>
                <c:pt idx="2234">
                  <c:v>Eurial Autr</c:v>
                </c:pt>
                <c:pt idx="2235">
                  <c:v>All Others</c:v>
                </c:pt>
                <c:pt idx="2236">
                  <c:v>All Others</c:v>
                </c:pt>
                <c:pt idx="2237">
                  <c:v>All Others</c:v>
                </c:pt>
                <c:pt idx="2238">
                  <c:v>President</c:v>
                </c:pt>
                <c:pt idx="2239">
                  <c:v>All Others</c:v>
                </c:pt>
                <c:pt idx="2240">
                  <c:v>Eurial Autr</c:v>
                </c:pt>
                <c:pt idx="2241">
                  <c:v>Private Lab</c:v>
                </c:pt>
                <c:pt idx="2242">
                  <c:v>All Others</c:v>
                </c:pt>
                <c:pt idx="2243">
                  <c:v>All Others</c:v>
                </c:pt>
                <c:pt idx="2244">
                  <c:v>All Others</c:v>
                </c:pt>
                <c:pt idx="2245">
                  <c:v>All Others</c:v>
                </c:pt>
                <c:pt idx="2246">
                  <c:v>All Others</c:v>
                </c:pt>
                <c:pt idx="2247">
                  <c:v>All Others</c:v>
                </c:pt>
                <c:pt idx="2248">
                  <c:v>All Others</c:v>
                </c:pt>
                <c:pt idx="2249">
                  <c:v>All Others</c:v>
                </c:pt>
                <c:pt idx="2250">
                  <c:v>Private Lab</c:v>
                </c:pt>
                <c:pt idx="2251">
                  <c:v>All Others</c:v>
                </c:pt>
                <c:pt idx="2252">
                  <c:v>All Others</c:v>
                </c:pt>
                <c:pt idx="2253">
                  <c:v>All Others</c:v>
                </c:pt>
                <c:pt idx="2254">
                  <c:v>All Others</c:v>
                </c:pt>
                <c:pt idx="2255">
                  <c:v>All Others</c:v>
                </c:pt>
                <c:pt idx="2256">
                  <c:v>All Others</c:v>
                </c:pt>
                <c:pt idx="2257">
                  <c:v>All Others</c:v>
                </c:pt>
                <c:pt idx="2258">
                  <c:v>All Others</c:v>
                </c:pt>
                <c:pt idx="2259">
                  <c:v>All Others</c:v>
                </c:pt>
                <c:pt idx="2260">
                  <c:v>All Others</c:v>
                </c:pt>
                <c:pt idx="2261">
                  <c:v>All Others</c:v>
                </c:pt>
                <c:pt idx="2262">
                  <c:v>All Others</c:v>
                </c:pt>
                <c:pt idx="2263">
                  <c:v>All Others</c:v>
                </c:pt>
                <c:pt idx="2264">
                  <c:v>All Others</c:v>
                </c:pt>
                <c:pt idx="2265">
                  <c:v>All Others</c:v>
                </c:pt>
                <c:pt idx="2266">
                  <c:v>All Others</c:v>
                </c:pt>
                <c:pt idx="2267">
                  <c:v>Soignon</c:v>
                </c:pt>
                <c:pt idx="2268">
                  <c:v>All Others</c:v>
                </c:pt>
                <c:pt idx="2269">
                  <c:v>Leerdammer</c:v>
                </c:pt>
                <c:pt idx="2270">
                  <c:v>All Others</c:v>
                </c:pt>
                <c:pt idx="2271">
                  <c:v>All Others</c:v>
                </c:pt>
                <c:pt idx="2272">
                  <c:v>All Others</c:v>
                </c:pt>
                <c:pt idx="2273">
                  <c:v>All Others</c:v>
                </c:pt>
                <c:pt idx="2274">
                  <c:v>All Others</c:v>
                </c:pt>
                <c:pt idx="2275">
                  <c:v>All Others</c:v>
                </c:pt>
                <c:pt idx="2276">
                  <c:v>All Others</c:v>
                </c:pt>
                <c:pt idx="2277">
                  <c:v>La Belle Et</c:v>
                </c:pt>
                <c:pt idx="2278">
                  <c:v>All Others</c:v>
                </c:pt>
                <c:pt idx="2279">
                  <c:v>Private Lab</c:v>
                </c:pt>
                <c:pt idx="2280">
                  <c:v>Leerdammer</c:v>
                </c:pt>
                <c:pt idx="2281">
                  <c:v>All Others</c:v>
                </c:pt>
                <c:pt idx="2282">
                  <c:v>Paysan Bret</c:v>
                </c:pt>
                <c:pt idx="2283">
                  <c:v>All Others</c:v>
                </c:pt>
                <c:pt idx="2284">
                  <c:v>All Others</c:v>
                </c:pt>
                <c:pt idx="2285">
                  <c:v>All Others</c:v>
                </c:pt>
                <c:pt idx="2286">
                  <c:v>All Others</c:v>
                </c:pt>
                <c:pt idx="2287">
                  <c:v>All Others</c:v>
                </c:pt>
                <c:pt idx="2288">
                  <c:v>All Others</c:v>
                </c:pt>
                <c:pt idx="2289">
                  <c:v>Fol Epi</c:v>
                </c:pt>
                <c:pt idx="2290">
                  <c:v>All Others</c:v>
                </c:pt>
                <c:pt idx="2291">
                  <c:v>Fol Epi</c:v>
                </c:pt>
                <c:pt idx="2292">
                  <c:v>All Others</c:v>
                </c:pt>
                <c:pt idx="2293">
                  <c:v>All Others</c:v>
                </c:pt>
                <c:pt idx="2294">
                  <c:v>All Others</c:v>
                </c:pt>
                <c:pt idx="2295">
                  <c:v>All Others</c:v>
                </c:pt>
                <c:pt idx="2296">
                  <c:v>All Others</c:v>
                </c:pt>
                <c:pt idx="2297">
                  <c:v>All Others</c:v>
                </c:pt>
                <c:pt idx="2298">
                  <c:v>All Others</c:v>
                </c:pt>
                <c:pt idx="2299">
                  <c:v>All Others</c:v>
                </c:pt>
                <c:pt idx="2300">
                  <c:v>All Others</c:v>
                </c:pt>
                <c:pt idx="2301">
                  <c:v>All Others</c:v>
                </c:pt>
                <c:pt idx="2302">
                  <c:v>All Others</c:v>
                </c:pt>
                <c:pt idx="2303">
                  <c:v>All Others</c:v>
                </c:pt>
                <c:pt idx="2304">
                  <c:v>All Others</c:v>
                </c:pt>
                <c:pt idx="2305">
                  <c:v>All Others</c:v>
                </c:pt>
                <c:pt idx="2306">
                  <c:v>All Others</c:v>
                </c:pt>
                <c:pt idx="2307">
                  <c:v>All Others</c:v>
                </c:pt>
                <c:pt idx="2308">
                  <c:v>All Others</c:v>
                </c:pt>
                <c:pt idx="2309">
                  <c:v>All Others</c:v>
                </c:pt>
                <c:pt idx="2310">
                  <c:v>All Others</c:v>
                </c:pt>
                <c:pt idx="2311">
                  <c:v>All Others</c:v>
                </c:pt>
                <c:pt idx="2312">
                  <c:v>Pave D'Affi</c:v>
                </c:pt>
                <c:pt idx="2313">
                  <c:v>All Others</c:v>
                </c:pt>
                <c:pt idx="2314">
                  <c:v>All Others</c:v>
                </c:pt>
                <c:pt idx="2315">
                  <c:v>All Others</c:v>
                </c:pt>
                <c:pt idx="2316">
                  <c:v>All Others</c:v>
                </c:pt>
                <c:pt idx="2317">
                  <c:v>Eurial Autr</c:v>
                </c:pt>
                <c:pt idx="2318">
                  <c:v>All Others</c:v>
                </c:pt>
                <c:pt idx="2319">
                  <c:v>Richesmonts</c:v>
                </c:pt>
                <c:pt idx="2320">
                  <c:v>All Others</c:v>
                </c:pt>
                <c:pt idx="2321">
                  <c:v>All Others</c:v>
                </c:pt>
                <c:pt idx="2322">
                  <c:v>All Others</c:v>
                </c:pt>
                <c:pt idx="2323">
                  <c:v>Private Lab</c:v>
                </c:pt>
                <c:pt idx="2324">
                  <c:v>All Others</c:v>
                </c:pt>
                <c:pt idx="2325">
                  <c:v>All Others</c:v>
                </c:pt>
                <c:pt idx="2326">
                  <c:v>Private Lab</c:v>
                </c:pt>
                <c:pt idx="2327">
                  <c:v>All Others</c:v>
                </c:pt>
                <c:pt idx="2328">
                  <c:v>All Others</c:v>
                </c:pt>
                <c:pt idx="2329">
                  <c:v>All Others</c:v>
                </c:pt>
                <c:pt idx="2330">
                  <c:v>All Others</c:v>
                </c:pt>
                <c:pt idx="2331">
                  <c:v>Eurial Autr</c:v>
                </c:pt>
                <c:pt idx="2332">
                  <c:v>Lactalis: A</c:v>
                </c:pt>
                <c:pt idx="2333">
                  <c:v>All Others</c:v>
                </c:pt>
                <c:pt idx="2334">
                  <c:v>All Others</c:v>
                </c:pt>
                <c:pt idx="2335">
                  <c:v>All Others</c:v>
                </c:pt>
                <c:pt idx="2336">
                  <c:v>All Others</c:v>
                </c:pt>
                <c:pt idx="2337">
                  <c:v>All Others</c:v>
                </c:pt>
                <c:pt idx="2338">
                  <c:v>All Others</c:v>
                </c:pt>
                <c:pt idx="2339">
                  <c:v>Private Lab</c:v>
                </c:pt>
                <c:pt idx="2340">
                  <c:v>All Others</c:v>
                </c:pt>
                <c:pt idx="2341">
                  <c:v>All Others</c:v>
                </c:pt>
                <c:pt idx="2342">
                  <c:v>All Others</c:v>
                </c:pt>
                <c:pt idx="2343">
                  <c:v>All Others</c:v>
                </c:pt>
                <c:pt idx="2344">
                  <c:v>President</c:v>
                </c:pt>
                <c:pt idx="2345">
                  <c:v>All Others</c:v>
                </c:pt>
                <c:pt idx="2346">
                  <c:v>All Others</c:v>
                </c:pt>
                <c:pt idx="2347">
                  <c:v>Entremont</c:v>
                </c:pt>
                <c:pt idx="2348">
                  <c:v>All Others</c:v>
                </c:pt>
                <c:pt idx="2349">
                  <c:v>All Others</c:v>
                </c:pt>
                <c:pt idx="2350">
                  <c:v>All Others</c:v>
                </c:pt>
                <c:pt idx="2351">
                  <c:v>All Others</c:v>
                </c:pt>
                <c:pt idx="2352">
                  <c:v>All Others</c:v>
                </c:pt>
                <c:pt idx="2353">
                  <c:v>All Others</c:v>
                </c:pt>
                <c:pt idx="2354">
                  <c:v>All Others</c:v>
                </c:pt>
                <c:pt idx="2355">
                  <c:v>Lactalis: A</c:v>
                </c:pt>
                <c:pt idx="2356">
                  <c:v>All Others</c:v>
                </c:pt>
                <c:pt idx="2357">
                  <c:v>All Others</c:v>
                </c:pt>
                <c:pt idx="2358">
                  <c:v>All Others</c:v>
                </c:pt>
                <c:pt idx="2359">
                  <c:v>All Others</c:v>
                </c:pt>
                <c:pt idx="2360">
                  <c:v>All Others</c:v>
                </c:pt>
                <c:pt idx="2361">
                  <c:v>All Others</c:v>
                </c:pt>
                <c:pt idx="2362">
                  <c:v>All Others</c:v>
                </c:pt>
                <c:pt idx="2363">
                  <c:v>All Others</c:v>
                </c:pt>
                <c:pt idx="2364">
                  <c:v>All Others</c:v>
                </c:pt>
                <c:pt idx="2365">
                  <c:v>All Others</c:v>
                </c:pt>
                <c:pt idx="2366">
                  <c:v>All Others</c:v>
                </c:pt>
                <c:pt idx="2367">
                  <c:v>All Others</c:v>
                </c:pt>
                <c:pt idx="2368">
                  <c:v>All Others</c:v>
                </c:pt>
                <c:pt idx="2369">
                  <c:v>All Others</c:v>
                </c:pt>
                <c:pt idx="2370">
                  <c:v>All Others</c:v>
                </c:pt>
                <c:pt idx="2371">
                  <c:v>All Others</c:v>
                </c:pt>
                <c:pt idx="2372">
                  <c:v>All Others</c:v>
                </c:pt>
                <c:pt idx="2373">
                  <c:v>Pave D'Affi</c:v>
                </c:pt>
                <c:pt idx="2374">
                  <c:v>All Others</c:v>
                </c:pt>
                <c:pt idx="2375">
                  <c:v>Raguin</c:v>
                </c:pt>
                <c:pt idx="2376">
                  <c:v>All Others</c:v>
                </c:pt>
                <c:pt idx="2377">
                  <c:v>All Others</c:v>
                </c:pt>
                <c:pt idx="2378">
                  <c:v>Pave D'Affi</c:v>
                </c:pt>
                <c:pt idx="2379">
                  <c:v>All Others</c:v>
                </c:pt>
                <c:pt idx="2380">
                  <c:v>All Others</c:v>
                </c:pt>
                <c:pt idx="2381">
                  <c:v>All Others</c:v>
                </c:pt>
                <c:pt idx="2382">
                  <c:v>All Others</c:v>
                </c:pt>
                <c:pt idx="2383">
                  <c:v>Milleret: A</c:v>
                </c:pt>
                <c:pt idx="2384">
                  <c:v>All Others</c:v>
                </c:pt>
                <c:pt idx="2385">
                  <c:v>All Others</c:v>
                </c:pt>
                <c:pt idx="2386">
                  <c:v>All Others</c:v>
                </c:pt>
                <c:pt idx="2387">
                  <c:v>All Others</c:v>
                </c:pt>
                <c:pt idx="2388">
                  <c:v>All Others</c:v>
                </c:pt>
                <c:pt idx="2389">
                  <c:v>All Others</c:v>
                </c:pt>
                <c:pt idx="2390">
                  <c:v>All Others</c:v>
                </c:pt>
                <c:pt idx="2391">
                  <c:v>All Others</c:v>
                </c:pt>
                <c:pt idx="2392">
                  <c:v>All Others</c:v>
                </c:pt>
                <c:pt idx="2393">
                  <c:v>All Others</c:v>
                </c:pt>
                <c:pt idx="2394">
                  <c:v>All Others</c:v>
                </c:pt>
                <c:pt idx="2395">
                  <c:v>All Others</c:v>
                </c:pt>
                <c:pt idx="2396">
                  <c:v>All Others</c:v>
                </c:pt>
                <c:pt idx="2397">
                  <c:v>All Others</c:v>
                </c:pt>
                <c:pt idx="2398">
                  <c:v>All Others</c:v>
                </c:pt>
                <c:pt idx="2399">
                  <c:v>Raguin</c:v>
                </c:pt>
                <c:pt idx="2400">
                  <c:v>All Others</c:v>
                </c:pt>
                <c:pt idx="2401">
                  <c:v>Private Lab</c:v>
                </c:pt>
                <c:pt idx="2402">
                  <c:v>All Others</c:v>
                </c:pt>
                <c:pt idx="2403">
                  <c:v>Pave D'Affi</c:v>
                </c:pt>
                <c:pt idx="2404">
                  <c:v>All Others</c:v>
                </c:pt>
                <c:pt idx="2405">
                  <c:v>All Others</c:v>
                </c:pt>
                <c:pt idx="2406">
                  <c:v>All Others</c:v>
                </c:pt>
                <c:pt idx="2407">
                  <c:v>All Others</c:v>
                </c:pt>
                <c:pt idx="2408">
                  <c:v>All Others</c:v>
                </c:pt>
                <c:pt idx="2409">
                  <c:v>All Others</c:v>
                </c:pt>
                <c:pt idx="2410">
                  <c:v>All Others</c:v>
                </c:pt>
                <c:pt idx="2411">
                  <c:v>Lactalis: A</c:v>
                </c:pt>
                <c:pt idx="2412">
                  <c:v>All Others</c:v>
                </c:pt>
                <c:pt idx="2413">
                  <c:v>All Others</c:v>
                </c:pt>
                <c:pt idx="2414">
                  <c:v>All Others</c:v>
                </c:pt>
                <c:pt idx="2415">
                  <c:v>All Others</c:v>
                </c:pt>
                <c:pt idx="2416">
                  <c:v>All Others</c:v>
                </c:pt>
                <c:pt idx="2417">
                  <c:v>All Others</c:v>
                </c:pt>
                <c:pt idx="2418">
                  <c:v>All Others</c:v>
                </c:pt>
                <c:pt idx="2419">
                  <c:v>Savencia: A</c:v>
                </c:pt>
                <c:pt idx="2420">
                  <c:v>All Others</c:v>
                </c:pt>
                <c:pt idx="2421">
                  <c:v>Le Saint Am</c:v>
                </c:pt>
                <c:pt idx="2422">
                  <c:v>All Others</c:v>
                </c:pt>
                <c:pt idx="2423">
                  <c:v>All Others</c:v>
                </c:pt>
                <c:pt idx="2424">
                  <c:v>Private Lab</c:v>
                </c:pt>
                <c:pt idx="2425">
                  <c:v>All Others</c:v>
                </c:pt>
                <c:pt idx="2426">
                  <c:v>All Others</c:v>
                </c:pt>
                <c:pt idx="2427">
                  <c:v>All Others</c:v>
                </c:pt>
                <c:pt idx="2428">
                  <c:v>All Others</c:v>
                </c:pt>
                <c:pt idx="2429">
                  <c:v>Raguin</c:v>
                </c:pt>
                <c:pt idx="2430">
                  <c:v>All Others</c:v>
                </c:pt>
                <c:pt idx="2431">
                  <c:v>All Others</c:v>
                </c:pt>
                <c:pt idx="2432">
                  <c:v>All Others</c:v>
                </c:pt>
                <c:pt idx="2433">
                  <c:v>All Others</c:v>
                </c:pt>
                <c:pt idx="2434">
                  <c:v>All Others</c:v>
                </c:pt>
                <c:pt idx="2435">
                  <c:v>Lou Perac</c:v>
                </c:pt>
                <c:pt idx="2436">
                  <c:v>All Others</c:v>
                </c:pt>
                <c:pt idx="2437">
                  <c:v>All Others</c:v>
                </c:pt>
                <c:pt idx="2438">
                  <c:v>All Others</c:v>
                </c:pt>
                <c:pt idx="2439">
                  <c:v>All Others</c:v>
                </c:pt>
                <c:pt idx="2440">
                  <c:v>All Others</c:v>
                </c:pt>
                <c:pt idx="2441">
                  <c:v>All Others</c:v>
                </c:pt>
                <c:pt idx="2442">
                  <c:v>All Others</c:v>
                </c:pt>
                <c:pt idx="2443">
                  <c:v>Lactalis: A</c:v>
                </c:pt>
                <c:pt idx="2444">
                  <c:v>Private Lab</c:v>
                </c:pt>
                <c:pt idx="2445">
                  <c:v>All Others</c:v>
                </c:pt>
                <c:pt idx="2446">
                  <c:v>All Others</c:v>
                </c:pt>
                <c:pt idx="2447">
                  <c:v>Pochat</c:v>
                </c:pt>
                <c:pt idx="2448">
                  <c:v>All Others</c:v>
                </c:pt>
                <c:pt idx="2449">
                  <c:v>All Others</c:v>
                </c:pt>
                <c:pt idx="2450">
                  <c:v>All Others</c:v>
                </c:pt>
                <c:pt idx="2451">
                  <c:v>All Others</c:v>
                </c:pt>
                <c:pt idx="2452">
                  <c:v>All Others</c:v>
                </c:pt>
                <c:pt idx="2453">
                  <c:v>All Others</c:v>
                </c:pt>
                <c:pt idx="2454">
                  <c:v>Mini Babybe</c:v>
                </c:pt>
                <c:pt idx="2455">
                  <c:v>All Others</c:v>
                </c:pt>
                <c:pt idx="2456">
                  <c:v>Lactalis: A</c:v>
                </c:pt>
                <c:pt idx="2457">
                  <c:v>All Others</c:v>
                </c:pt>
                <c:pt idx="2458">
                  <c:v>All Others</c:v>
                </c:pt>
                <c:pt idx="2459">
                  <c:v>All Others</c:v>
                </c:pt>
                <c:pt idx="2460">
                  <c:v>Private Lab</c:v>
                </c:pt>
                <c:pt idx="2461">
                  <c:v>All Others</c:v>
                </c:pt>
                <c:pt idx="2462">
                  <c:v>Lactalis: A</c:v>
                </c:pt>
                <c:pt idx="2463">
                  <c:v>All Others</c:v>
                </c:pt>
                <c:pt idx="2464">
                  <c:v>All Others</c:v>
                </c:pt>
                <c:pt idx="2465">
                  <c:v>All Others</c:v>
                </c:pt>
                <c:pt idx="2466">
                  <c:v>All Others</c:v>
                </c:pt>
                <c:pt idx="2467">
                  <c:v>All Others</c:v>
                </c:pt>
                <c:pt idx="2468">
                  <c:v>All Others</c:v>
                </c:pt>
                <c:pt idx="2469">
                  <c:v>Port Salut</c:v>
                </c:pt>
                <c:pt idx="2470">
                  <c:v>All Others</c:v>
                </c:pt>
                <c:pt idx="2471">
                  <c:v>All Others</c:v>
                </c:pt>
                <c:pt idx="2472">
                  <c:v>All Others</c:v>
                </c:pt>
                <c:pt idx="2473">
                  <c:v>All Others</c:v>
                </c:pt>
                <c:pt idx="2474">
                  <c:v>All Others</c:v>
                </c:pt>
                <c:pt idx="2475">
                  <c:v>All Others</c:v>
                </c:pt>
                <c:pt idx="2476">
                  <c:v>All Others</c:v>
                </c:pt>
                <c:pt idx="2477">
                  <c:v>All Others</c:v>
                </c:pt>
                <c:pt idx="2478">
                  <c:v>Soignon</c:v>
                </c:pt>
                <c:pt idx="2479">
                  <c:v>All Others</c:v>
                </c:pt>
                <c:pt idx="2480">
                  <c:v>Richesmonts</c:v>
                </c:pt>
                <c:pt idx="2481">
                  <c:v>Private Lab</c:v>
                </c:pt>
                <c:pt idx="2482">
                  <c:v>All Others</c:v>
                </c:pt>
                <c:pt idx="2483">
                  <c:v>All Others</c:v>
                </c:pt>
                <c:pt idx="2484">
                  <c:v>All Others</c:v>
                </c:pt>
                <c:pt idx="2485">
                  <c:v>All Others</c:v>
                </c:pt>
                <c:pt idx="2486">
                  <c:v>All Others</c:v>
                </c:pt>
                <c:pt idx="2487">
                  <c:v>All Others</c:v>
                </c:pt>
                <c:pt idx="2488">
                  <c:v>All Others</c:v>
                </c:pt>
                <c:pt idx="2489">
                  <c:v>All Others</c:v>
                </c:pt>
                <c:pt idx="2490">
                  <c:v>All Others</c:v>
                </c:pt>
                <c:pt idx="2491">
                  <c:v>All Others</c:v>
                </c:pt>
                <c:pt idx="2492">
                  <c:v>All Others</c:v>
                </c:pt>
                <c:pt idx="2493">
                  <c:v>All Others</c:v>
                </c:pt>
                <c:pt idx="2494">
                  <c:v>All Others</c:v>
                </c:pt>
                <c:pt idx="2495">
                  <c:v>All Others</c:v>
                </c:pt>
                <c:pt idx="2496">
                  <c:v>All Others</c:v>
                </c:pt>
                <c:pt idx="2497">
                  <c:v>All Others</c:v>
                </c:pt>
                <c:pt idx="2498">
                  <c:v>All Others</c:v>
                </c:pt>
                <c:pt idx="2499">
                  <c:v>All Others</c:v>
                </c:pt>
                <c:pt idx="2500">
                  <c:v>Eurial Autr</c:v>
                </c:pt>
                <c:pt idx="2501">
                  <c:v>All Others</c:v>
                </c:pt>
                <c:pt idx="2502">
                  <c:v>All Others</c:v>
                </c:pt>
                <c:pt idx="2503">
                  <c:v>All Others</c:v>
                </c:pt>
                <c:pt idx="2504">
                  <c:v>All Others</c:v>
                </c:pt>
                <c:pt idx="2505">
                  <c:v>All Others</c:v>
                </c:pt>
                <c:pt idx="2506">
                  <c:v>All Others</c:v>
                </c:pt>
                <c:pt idx="2507">
                  <c:v>All Others</c:v>
                </c:pt>
                <c:pt idx="2508">
                  <c:v>All Others</c:v>
                </c:pt>
                <c:pt idx="2509">
                  <c:v>All Others</c:v>
                </c:pt>
                <c:pt idx="2510">
                  <c:v>All Others</c:v>
                </c:pt>
                <c:pt idx="2511">
                  <c:v>All Others</c:v>
                </c:pt>
                <c:pt idx="2512">
                  <c:v>All Others</c:v>
                </c:pt>
                <c:pt idx="2513">
                  <c:v>All Others</c:v>
                </c:pt>
                <c:pt idx="2514">
                  <c:v>All Others</c:v>
                </c:pt>
                <c:pt idx="2515">
                  <c:v>All Others</c:v>
                </c:pt>
                <c:pt idx="2516">
                  <c:v>All Others</c:v>
                </c:pt>
                <c:pt idx="2517">
                  <c:v>All Others</c:v>
                </c:pt>
                <c:pt idx="2518">
                  <c:v>All Others</c:v>
                </c:pt>
                <c:pt idx="2519">
                  <c:v>All Others</c:v>
                </c:pt>
                <c:pt idx="2520">
                  <c:v>All Others</c:v>
                </c:pt>
                <c:pt idx="2521">
                  <c:v>Limiano</c:v>
                </c:pt>
                <c:pt idx="2522">
                  <c:v>All Others</c:v>
                </c:pt>
                <c:pt idx="2523">
                  <c:v>All Others</c:v>
                </c:pt>
                <c:pt idx="2524">
                  <c:v>All Others</c:v>
                </c:pt>
                <c:pt idx="2525">
                  <c:v>All Others</c:v>
                </c:pt>
                <c:pt idx="2526">
                  <c:v>All Others</c:v>
                </c:pt>
                <c:pt idx="2527">
                  <c:v>All Others</c:v>
                </c:pt>
                <c:pt idx="2528">
                  <c:v>All Others</c:v>
                </c:pt>
                <c:pt idx="2529">
                  <c:v>Savencia: A</c:v>
                </c:pt>
                <c:pt idx="2530">
                  <c:v>All Others</c:v>
                </c:pt>
                <c:pt idx="2531">
                  <c:v>All Others</c:v>
                </c:pt>
                <c:pt idx="2532">
                  <c:v>All Others</c:v>
                </c:pt>
                <c:pt idx="2533">
                  <c:v>All Others</c:v>
                </c:pt>
                <c:pt idx="2534">
                  <c:v>All Others</c:v>
                </c:pt>
                <c:pt idx="2535">
                  <c:v>Private Lab</c:v>
                </c:pt>
                <c:pt idx="2536">
                  <c:v>All Others</c:v>
                </c:pt>
                <c:pt idx="2537">
                  <c:v>All Others</c:v>
                </c:pt>
                <c:pt idx="2538">
                  <c:v>All Others</c:v>
                </c:pt>
                <c:pt idx="2539">
                  <c:v>All Others</c:v>
                </c:pt>
                <c:pt idx="2540">
                  <c:v>All Others</c:v>
                </c:pt>
                <c:pt idx="2541">
                  <c:v>All Others</c:v>
                </c:pt>
                <c:pt idx="2542">
                  <c:v>All Others</c:v>
                </c:pt>
                <c:pt idx="2543">
                  <c:v>All Others</c:v>
                </c:pt>
                <c:pt idx="2544">
                  <c:v>All Others</c:v>
                </c:pt>
                <c:pt idx="2545">
                  <c:v>All Others</c:v>
                </c:pt>
                <c:pt idx="2546">
                  <c:v>All Others</c:v>
                </c:pt>
                <c:pt idx="2547">
                  <c:v>All Others</c:v>
                </c:pt>
                <c:pt idx="2548">
                  <c:v>All Others</c:v>
                </c:pt>
                <c:pt idx="2549">
                  <c:v>All Others</c:v>
                </c:pt>
                <c:pt idx="2550">
                  <c:v>All Others</c:v>
                </c:pt>
                <c:pt idx="2551">
                  <c:v>All Others</c:v>
                </c:pt>
                <c:pt idx="2552">
                  <c:v>Eurial Autr</c:v>
                </c:pt>
                <c:pt idx="2553">
                  <c:v>All Others</c:v>
                </c:pt>
                <c:pt idx="2554">
                  <c:v>All Others</c:v>
                </c:pt>
                <c:pt idx="2555">
                  <c:v>All Others</c:v>
                </c:pt>
                <c:pt idx="2556">
                  <c:v>All Others</c:v>
                </c:pt>
                <c:pt idx="2557">
                  <c:v>All Others</c:v>
                </c:pt>
                <c:pt idx="2558">
                  <c:v>Private Lab</c:v>
                </c:pt>
                <c:pt idx="2559">
                  <c:v>All Others</c:v>
                </c:pt>
                <c:pt idx="2560">
                  <c:v>All Others</c:v>
                </c:pt>
                <c:pt idx="2561">
                  <c:v>All Others</c:v>
                </c:pt>
                <c:pt idx="2562">
                  <c:v>All Others</c:v>
                </c:pt>
                <c:pt idx="2563">
                  <c:v>All Others</c:v>
                </c:pt>
                <c:pt idx="2564">
                  <c:v>All Others</c:v>
                </c:pt>
                <c:pt idx="2565">
                  <c:v>All Others</c:v>
                </c:pt>
                <c:pt idx="2566">
                  <c:v>All Others</c:v>
                </c:pt>
                <c:pt idx="2567">
                  <c:v>All Others</c:v>
                </c:pt>
                <c:pt idx="2568">
                  <c:v>All Others</c:v>
                </c:pt>
                <c:pt idx="2569">
                  <c:v>All Others</c:v>
                </c:pt>
                <c:pt idx="2570">
                  <c:v>All Others</c:v>
                </c:pt>
                <c:pt idx="2571">
                  <c:v>All Others</c:v>
                </c:pt>
                <c:pt idx="2572">
                  <c:v>All Others</c:v>
                </c:pt>
                <c:pt idx="2573">
                  <c:v>All Others</c:v>
                </c:pt>
                <c:pt idx="2574">
                  <c:v>Lactalis: A</c:v>
                </c:pt>
                <c:pt idx="2575">
                  <c:v>All Others</c:v>
                </c:pt>
                <c:pt idx="2576">
                  <c:v>All Others</c:v>
                </c:pt>
                <c:pt idx="2577">
                  <c:v>All Others</c:v>
                </c:pt>
                <c:pt idx="2578">
                  <c:v>All Others</c:v>
                </c:pt>
                <c:pt idx="2579">
                  <c:v>All Others</c:v>
                </c:pt>
                <c:pt idx="2580">
                  <c:v>All Others</c:v>
                </c:pt>
                <c:pt idx="2581">
                  <c:v>Raguin</c:v>
                </c:pt>
                <c:pt idx="2582">
                  <c:v>All Others</c:v>
                </c:pt>
                <c:pt idx="2583">
                  <c:v>All Others</c:v>
                </c:pt>
                <c:pt idx="2584">
                  <c:v>All Others</c:v>
                </c:pt>
                <c:pt idx="2585">
                  <c:v>All Others</c:v>
                </c:pt>
                <c:pt idx="2586">
                  <c:v>All Others</c:v>
                </c:pt>
                <c:pt idx="2587">
                  <c:v>All Others</c:v>
                </c:pt>
                <c:pt idx="2588">
                  <c:v>All Others</c:v>
                </c:pt>
                <c:pt idx="2589">
                  <c:v>All Others</c:v>
                </c:pt>
                <c:pt idx="2590">
                  <c:v>All Others</c:v>
                </c:pt>
                <c:pt idx="2591">
                  <c:v>All Others</c:v>
                </c:pt>
                <c:pt idx="2592">
                  <c:v>Private Lab</c:v>
                </c:pt>
                <c:pt idx="2593">
                  <c:v>All Others</c:v>
                </c:pt>
                <c:pt idx="2594">
                  <c:v>All Others</c:v>
                </c:pt>
                <c:pt idx="2595">
                  <c:v>All Others</c:v>
                </c:pt>
                <c:pt idx="2596">
                  <c:v>All Others</c:v>
                </c:pt>
                <c:pt idx="2597">
                  <c:v>All Others</c:v>
                </c:pt>
                <c:pt idx="2598">
                  <c:v>All Others</c:v>
                </c:pt>
                <c:pt idx="2599">
                  <c:v>President</c:v>
                </c:pt>
                <c:pt idx="2600">
                  <c:v>All Others</c:v>
                </c:pt>
                <c:pt idx="2601">
                  <c:v>All Others</c:v>
                </c:pt>
                <c:pt idx="2602">
                  <c:v>All Others</c:v>
                </c:pt>
                <c:pt idx="2603">
                  <c:v>All Others</c:v>
                </c:pt>
                <c:pt idx="2604">
                  <c:v>All Others</c:v>
                </c:pt>
                <c:pt idx="2605">
                  <c:v>All Others</c:v>
                </c:pt>
                <c:pt idx="2606">
                  <c:v>All Others</c:v>
                </c:pt>
                <c:pt idx="2607">
                  <c:v>All Others</c:v>
                </c:pt>
                <c:pt idx="2608">
                  <c:v>All Others</c:v>
                </c:pt>
                <c:pt idx="2609">
                  <c:v>All Others</c:v>
                </c:pt>
                <c:pt idx="2610">
                  <c:v>Lactalis: A</c:v>
                </c:pt>
                <c:pt idx="2611">
                  <c:v>All Others</c:v>
                </c:pt>
                <c:pt idx="2612">
                  <c:v>All Others</c:v>
                </c:pt>
                <c:pt idx="2613">
                  <c:v>All Others</c:v>
                </c:pt>
                <c:pt idx="2614">
                  <c:v>All Others</c:v>
                </c:pt>
                <c:pt idx="2615">
                  <c:v>All Others</c:v>
                </c:pt>
                <c:pt idx="2616">
                  <c:v>All Others</c:v>
                </c:pt>
                <c:pt idx="2617">
                  <c:v>All Others</c:v>
                </c:pt>
                <c:pt idx="2618">
                  <c:v>All Others</c:v>
                </c:pt>
                <c:pt idx="2619">
                  <c:v>All Others</c:v>
                </c:pt>
                <c:pt idx="2620">
                  <c:v>All Others</c:v>
                </c:pt>
                <c:pt idx="2621">
                  <c:v>All Others</c:v>
                </c:pt>
                <c:pt idx="2622">
                  <c:v>All Others</c:v>
                </c:pt>
                <c:pt idx="2623">
                  <c:v>All Others</c:v>
                </c:pt>
                <c:pt idx="2624">
                  <c:v>All Others</c:v>
                </c:pt>
                <c:pt idx="2625">
                  <c:v>President</c:v>
                </c:pt>
                <c:pt idx="2626">
                  <c:v>All Others</c:v>
                </c:pt>
                <c:pt idx="2627">
                  <c:v>All Others</c:v>
                </c:pt>
                <c:pt idx="2628">
                  <c:v>All Others</c:v>
                </c:pt>
                <c:pt idx="2629">
                  <c:v>All Others</c:v>
                </c:pt>
                <c:pt idx="2630">
                  <c:v>All Others</c:v>
                </c:pt>
                <c:pt idx="2631">
                  <c:v>All Others</c:v>
                </c:pt>
                <c:pt idx="2632">
                  <c:v>All Others</c:v>
                </c:pt>
                <c:pt idx="2633">
                  <c:v>All Others</c:v>
                </c:pt>
                <c:pt idx="2634">
                  <c:v>All Others</c:v>
                </c:pt>
                <c:pt idx="2635">
                  <c:v>All Others</c:v>
                </c:pt>
                <c:pt idx="2636">
                  <c:v>All Others</c:v>
                </c:pt>
                <c:pt idx="2637">
                  <c:v>Limiano</c:v>
                </c:pt>
                <c:pt idx="2638">
                  <c:v>All Others</c:v>
                </c:pt>
                <c:pt idx="2639">
                  <c:v>All Others</c:v>
                </c:pt>
                <c:pt idx="2640">
                  <c:v>All Others</c:v>
                </c:pt>
                <c:pt idx="2641">
                  <c:v>All Others</c:v>
                </c:pt>
                <c:pt idx="2642">
                  <c:v>All Others</c:v>
                </c:pt>
                <c:pt idx="2643">
                  <c:v>All Others</c:v>
                </c:pt>
                <c:pt idx="2644">
                  <c:v>Private Lab</c:v>
                </c:pt>
                <c:pt idx="2645">
                  <c:v>All Others</c:v>
                </c:pt>
                <c:pt idx="2646">
                  <c:v>All Others</c:v>
                </c:pt>
                <c:pt idx="2647">
                  <c:v>All Others</c:v>
                </c:pt>
                <c:pt idx="2648">
                  <c:v>All Others</c:v>
                </c:pt>
                <c:pt idx="2649">
                  <c:v>All Others</c:v>
                </c:pt>
                <c:pt idx="2650">
                  <c:v>All Others</c:v>
                </c:pt>
                <c:pt idx="2651">
                  <c:v>All Others</c:v>
                </c:pt>
                <c:pt idx="2652">
                  <c:v>All Others</c:v>
                </c:pt>
                <c:pt idx="2653">
                  <c:v>All Others</c:v>
                </c:pt>
                <c:pt idx="2654">
                  <c:v>All Others</c:v>
                </c:pt>
                <c:pt idx="2655">
                  <c:v>All Others</c:v>
                </c:pt>
                <c:pt idx="2656">
                  <c:v>Raguin</c:v>
                </c:pt>
                <c:pt idx="2657">
                  <c:v>All Others</c:v>
                </c:pt>
                <c:pt idx="2658">
                  <c:v>All Others</c:v>
                </c:pt>
                <c:pt idx="2659">
                  <c:v>All Others</c:v>
                </c:pt>
                <c:pt idx="2660">
                  <c:v>Etorki</c:v>
                </c:pt>
                <c:pt idx="2661">
                  <c:v>All Others</c:v>
                </c:pt>
                <c:pt idx="2662">
                  <c:v>Etoile Du V</c:v>
                </c:pt>
                <c:pt idx="2663">
                  <c:v>All Others</c:v>
                </c:pt>
                <c:pt idx="2664">
                  <c:v>All Others</c:v>
                </c:pt>
                <c:pt idx="2665">
                  <c:v>All Others</c:v>
                </c:pt>
                <c:pt idx="2666">
                  <c:v>All Others</c:v>
                </c:pt>
                <c:pt idx="2667">
                  <c:v>All Others</c:v>
                </c:pt>
                <c:pt idx="2668">
                  <c:v>All Others</c:v>
                </c:pt>
                <c:pt idx="2669">
                  <c:v>All Others</c:v>
                </c:pt>
                <c:pt idx="2670">
                  <c:v>All Others</c:v>
                </c:pt>
                <c:pt idx="2671">
                  <c:v>All Others</c:v>
                </c:pt>
                <c:pt idx="2672">
                  <c:v>All Others</c:v>
                </c:pt>
                <c:pt idx="2673">
                  <c:v>All Others</c:v>
                </c:pt>
                <c:pt idx="2674">
                  <c:v>All Others</c:v>
                </c:pt>
                <c:pt idx="2675">
                  <c:v>All Others</c:v>
                </c:pt>
                <c:pt idx="2676">
                  <c:v>All Others</c:v>
                </c:pt>
                <c:pt idx="2677">
                  <c:v>All Others</c:v>
                </c:pt>
                <c:pt idx="2678">
                  <c:v>All Others</c:v>
                </c:pt>
                <c:pt idx="2679">
                  <c:v>All Others</c:v>
                </c:pt>
                <c:pt idx="2680">
                  <c:v>All Others</c:v>
                </c:pt>
                <c:pt idx="2681">
                  <c:v>All Others</c:v>
                </c:pt>
                <c:pt idx="2682">
                  <c:v>All Others</c:v>
                </c:pt>
                <c:pt idx="2683">
                  <c:v>All Others</c:v>
                </c:pt>
                <c:pt idx="2684">
                  <c:v>All Others</c:v>
                </c:pt>
                <c:pt idx="2685">
                  <c:v>All Others</c:v>
                </c:pt>
                <c:pt idx="2686">
                  <c:v>All Others</c:v>
                </c:pt>
                <c:pt idx="2687">
                  <c:v>All Others</c:v>
                </c:pt>
                <c:pt idx="2688">
                  <c:v>All Others</c:v>
                </c:pt>
                <c:pt idx="2689">
                  <c:v>All Others</c:v>
                </c:pt>
                <c:pt idx="2690">
                  <c:v>All Others</c:v>
                </c:pt>
                <c:pt idx="2691">
                  <c:v>All Others</c:v>
                </c:pt>
                <c:pt idx="2692">
                  <c:v>All Others</c:v>
                </c:pt>
                <c:pt idx="2693">
                  <c:v>All Others</c:v>
                </c:pt>
                <c:pt idx="2694">
                  <c:v>All Others</c:v>
                </c:pt>
                <c:pt idx="2695">
                  <c:v>All Others</c:v>
                </c:pt>
                <c:pt idx="2696">
                  <c:v>All Others</c:v>
                </c:pt>
                <c:pt idx="2697">
                  <c:v>All Others</c:v>
                </c:pt>
                <c:pt idx="2698">
                  <c:v>All Others</c:v>
                </c:pt>
                <c:pt idx="2699">
                  <c:v>All Others</c:v>
                </c:pt>
                <c:pt idx="2700">
                  <c:v>All Others</c:v>
                </c:pt>
                <c:pt idx="2701">
                  <c:v>All Others</c:v>
                </c:pt>
                <c:pt idx="2702">
                  <c:v>All Others</c:v>
                </c:pt>
                <c:pt idx="2703">
                  <c:v>All Others</c:v>
                </c:pt>
                <c:pt idx="2704">
                  <c:v>All Others</c:v>
                </c:pt>
                <c:pt idx="2705">
                  <c:v>All Others</c:v>
                </c:pt>
                <c:pt idx="2706">
                  <c:v>All Others</c:v>
                </c:pt>
                <c:pt idx="2707">
                  <c:v>All Others</c:v>
                </c:pt>
                <c:pt idx="2708">
                  <c:v>All Others</c:v>
                </c:pt>
                <c:pt idx="2709">
                  <c:v>Private Lab</c:v>
                </c:pt>
                <c:pt idx="2710">
                  <c:v>All Others</c:v>
                </c:pt>
                <c:pt idx="2711">
                  <c:v>All Others</c:v>
                </c:pt>
                <c:pt idx="2712">
                  <c:v>All Others</c:v>
                </c:pt>
                <c:pt idx="2713">
                  <c:v>Rondele</c:v>
                </c:pt>
                <c:pt idx="2714">
                  <c:v>All Others</c:v>
                </c:pt>
                <c:pt idx="2715">
                  <c:v>Lactalis: A</c:v>
                </c:pt>
                <c:pt idx="2716">
                  <c:v>All Others</c:v>
                </c:pt>
                <c:pt idx="2717">
                  <c:v>All Others</c:v>
                </c:pt>
                <c:pt idx="2718">
                  <c:v>All Others</c:v>
                </c:pt>
                <c:pt idx="2719">
                  <c:v>All Others</c:v>
                </c:pt>
                <c:pt idx="2720">
                  <c:v>All Others</c:v>
                </c:pt>
                <c:pt idx="2721">
                  <c:v>Leerdammer</c:v>
                </c:pt>
                <c:pt idx="2722">
                  <c:v>All Others</c:v>
                </c:pt>
                <c:pt idx="2723">
                  <c:v>All Others</c:v>
                </c:pt>
                <c:pt idx="2724">
                  <c:v>All Others</c:v>
                </c:pt>
                <c:pt idx="2725">
                  <c:v>All Others</c:v>
                </c:pt>
                <c:pt idx="2726">
                  <c:v>All Others</c:v>
                </c:pt>
                <c:pt idx="2727">
                  <c:v>All Others</c:v>
                </c:pt>
                <c:pt idx="2728">
                  <c:v>All Others</c:v>
                </c:pt>
                <c:pt idx="2729">
                  <c:v>All Others</c:v>
                </c:pt>
                <c:pt idx="2730">
                  <c:v>All Others</c:v>
                </c:pt>
                <c:pt idx="2731">
                  <c:v>All Others</c:v>
                </c:pt>
                <c:pt idx="2732">
                  <c:v>All Others</c:v>
                </c:pt>
                <c:pt idx="2733">
                  <c:v>All Others</c:v>
                </c:pt>
                <c:pt idx="2734">
                  <c:v>All Others</c:v>
                </c:pt>
                <c:pt idx="2735">
                  <c:v>Violife</c:v>
                </c:pt>
                <c:pt idx="2736">
                  <c:v>All Others</c:v>
                </c:pt>
                <c:pt idx="2737">
                  <c:v>All Others</c:v>
                </c:pt>
                <c:pt idx="2738">
                  <c:v>All Others</c:v>
                </c:pt>
                <c:pt idx="2739">
                  <c:v>All Others</c:v>
                </c:pt>
                <c:pt idx="2740">
                  <c:v>All Others</c:v>
                </c:pt>
                <c:pt idx="2741">
                  <c:v>All Others</c:v>
                </c:pt>
                <c:pt idx="2742">
                  <c:v>All Others</c:v>
                </c:pt>
                <c:pt idx="2743">
                  <c:v>All Others</c:v>
                </c:pt>
                <c:pt idx="2744">
                  <c:v>All Others</c:v>
                </c:pt>
                <c:pt idx="2745">
                  <c:v>All Others</c:v>
                </c:pt>
                <c:pt idx="2746">
                  <c:v>All Others</c:v>
                </c:pt>
                <c:pt idx="2747">
                  <c:v>All Others</c:v>
                </c:pt>
                <c:pt idx="2748">
                  <c:v>All Others</c:v>
                </c:pt>
                <c:pt idx="2749">
                  <c:v>All Others</c:v>
                </c:pt>
                <c:pt idx="2750">
                  <c:v>All Others</c:v>
                </c:pt>
                <c:pt idx="2751">
                  <c:v>All Others</c:v>
                </c:pt>
                <c:pt idx="2752">
                  <c:v>All Others</c:v>
                </c:pt>
                <c:pt idx="2753">
                  <c:v>Rondele</c:v>
                </c:pt>
                <c:pt idx="2754">
                  <c:v>All Others</c:v>
                </c:pt>
                <c:pt idx="2755">
                  <c:v>All Others</c:v>
                </c:pt>
                <c:pt idx="2756">
                  <c:v>All Others</c:v>
                </c:pt>
                <c:pt idx="2757">
                  <c:v>All Others</c:v>
                </c:pt>
                <c:pt idx="2758">
                  <c:v>All Others</c:v>
                </c:pt>
                <c:pt idx="2759">
                  <c:v>All Others</c:v>
                </c:pt>
                <c:pt idx="2760">
                  <c:v>Private Lab</c:v>
                </c:pt>
                <c:pt idx="2761">
                  <c:v>All Others</c:v>
                </c:pt>
                <c:pt idx="2762">
                  <c:v>All Others</c:v>
                </c:pt>
                <c:pt idx="2763">
                  <c:v>O'Tapas Ape</c:v>
                </c:pt>
                <c:pt idx="2764">
                  <c:v>All Others</c:v>
                </c:pt>
                <c:pt idx="2765">
                  <c:v>All Others</c:v>
                </c:pt>
                <c:pt idx="2766">
                  <c:v>All Others</c:v>
                </c:pt>
                <c:pt idx="2767">
                  <c:v>All Others</c:v>
                </c:pt>
                <c:pt idx="2768">
                  <c:v>All Others</c:v>
                </c:pt>
                <c:pt idx="2769">
                  <c:v>All Others</c:v>
                </c:pt>
                <c:pt idx="2770">
                  <c:v>All Others</c:v>
                </c:pt>
                <c:pt idx="2771">
                  <c:v>Raguin</c:v>
                </c:pt>
                <c:pt idx="2772">
                  <c:v>All Others</c:v>
                </c:pt>
                <c:pt idx="2773">
                  <c:v>All Others</c:v>
                </c:pt>
                <c:pt idx="2774">
                  <c:v>All Others</c:v>
                </c:pt>
                <c:pt idx="2775">
                  <c:v>All Others</c:v>
                </c:pt>
                <c:pt idx="2776">
                  <c:v>All Others</c:v>
                </c:pt>
                <c:pt idx="2777">
                  <c:v>All Others</c:v>
                </c:pt>
                <c:pt idx="2778">
                  <c:v>All Others</c:v>
                </c:pt>
                <c:pt idx="2779">
                  <c:v>All Others</c:v>
                </c:pt>
                <c:pt idx="2780">
                  <c:v>All Others</c:v>
                </c:pt>
                <c:pt idx="2781">
                  <c:v>All Others</c:v>
                </c:pt>
                <c:pt idx="2782">
                  <c:v>All Others</c:v>
                </c:pt>
                <c:pt idx="2783">
                  <c:v>All Others</c:v>
                </c:pt>
                <c:pt idx="2784">
                  <c:v>All Others</c:v>
                </c:pt>
                <c:pt idx="2785">
                  <c:v>All Others</c:v>
                </c:pt>
                <c:pt idx="2786">
                  <c:v>Le Saint Am</c:v>
                </c:pt>
                <c:pt idx="2787">
                  <c:v>All Others</c:v>
                </c:pt>
                <c:pt idx="2788">
                  <c:v>All Others</c:v>
                </c:pt>
                <c:pt idx="2789">
                  <c:v>All Others</c:v>
                </c:pt>
                <c:pt idx="2790">
                  <c:v>All Others</c:v>
                </c:pt>
                <c:pt idx="2791">
                  <c:v>All Others</c:v>
                </c:pt>
                <c:pt idx="2792">
                  <c:v>All Others</c:v>
                </c:pt>
                <c:pt idx="2793">
                  <c:v>All Others</c:v>
                </c:pt>
                <c:pt idx="2794">
                  <c:v>All Others</c:v>
                </c:pt>
                <c:pt idx="2795">
                  <c:v>All Others</c:v>
                </c:pt>
                <c:pt idx="2796">
                  <c:v>All Others</c:v>
                </c:pt>
                <c:pt idx="2797">
                  <c:v>All Others</c:v>
                </c:pt>
                <c:pt idx="2798">
                  <c:v>All Others</c:v>
                </c:pt>
                <c:pt idx="2799">
                  <c:v>Lactalis: A</c:v>
                </c:pt>
                <c:pt idx="2800">
                  <c:v>All Others</c:v>
                </c:pt>
                <c:pt idx="2801">
                  <c:v>All Others</c:v>
                </c:pt>
                <c:pt idx="2802">
                  <c:v>All Others</c:v>
                </c:pt>
                <c:pt idx="2803">
                  <c:v>All Others</c:v>
                </c:pt>
                <c:pt idx="2804">
                  <c:v>All Others</c:v>
                </c:pt>
                <c:pt idx="2805">
                  <c:v>All Others</c:v>
                </c:pt>
                <c:pt idx="2806">
                  <c:v>All Others</c:v>
                </c:pt>
                <c:pt idx="2807">
                  <c:v>All Others</c:v>
                </c:pt>
                <c:pt idx="2808">
                  <c:v>All Others</c:v>
                </c:pt>
                <c:pt idx="2809">
                  <c:v>All Others</c:v>
                </c:pt>
                <c:pt idx="2810">
                  <c:v>All Others</c:v>
                </c:pt>
                <c:pt idx="2811">
                  <c:v>All Others</c:v>
                </c:pt>
                <c:pt idx="2812">
                  <c:v>All Others</c:v>
                </c:pt>
                <c:pt idx="2813">
                  <c:v>All Others</c:v>
                </c:pt>
                <c:pt idx="2814">
                  <c:v>All Others</c:v>
                </c:pt>
                <c:pt idx="2815">
                  <c:v>All Others</c:v>
                </c:pt>
                <c:pt idx="2816">
                  <c:v>All Others</c:v>
                </c:pt>
                <c:pt idx="2817">
                  <c:v>Raguin</c:v>
                </c:pt>
                <c:pt idx="2818">
                  <c:v>All Others</c:v>
                </c:pt>
                <c:pt idx="2819">
                  <c:v>All Others</c:v>
                </c:pt>
                <c:pt idx="2820">
                  <c:v>All Others</c:v>
                </c:pt>
                <c:pt idx="2821">
                  <c:v>All Others</c:v>
                </c:pt>
                <c:pt idx="2822">
                  <c:v>All Others</c:v>
                </c:pt>
                <c:pt idx="2823">
                  <c:v>Le Saint Am</c:v>
                </c:pt>
                <c:pt idx="2824">
                  <c:v>All Others</c:v>
                </c:pt>
                <c:pt idx="2825">
                  <c:v>All Others</c:v>
                </c:pt>
                <c:pt idx="2826">
                  <c:v>All Others</c:v>
                </c:pt>
                <c:pt idx="2827">
                  <c:v>All Others</c:v>
                </c:pt>
                <c:pt idx="2828">
                  <c:v>All Others</c:v>
                </c:pt>
                <c:pt idx="2829">
                  <c:v>All Others</c:v>
                </c:pt>
                <c:pt idx="2830">
                  <c:v>Raguin</c:v>
                </c:pt>
                <c:pt idx="2831">
                  <c:v>All Others</c:v>
                </c:pt>
                <c:pt idx="2832">
                  <c:v>All Others</c:v>
                </c:pt>
                <c:pt idx="2833">
                  <c:v>All Others</c:v>
                </c:pt>
                <c:pt idx="2834">
                  <c:v>Rondele</c:v>
                </c:pt>
                <c:pt idx="2835">
                  <c:v>All Others</c:v>
                </c:pt>
                <c:pt idx="2836">
                  <c:v>All Others</c:v>
                </c:pt>
                <c:pt idx="2837">
                  <c:v>All Others</c:v>
                </c:pt>
                <c:pt idx="2838">
                  <c:v>All Others</c:v>
                </c:pt>
                <c:pt idx="2839">
                  <c:v>All Others</c:v>
                </c:pt>
                <c:pt idx="2840">
                  <c:v>All Others</c:v>
                </c:pt>
                <c:pt idx="2841">
                  <c:v>All Others</c:v>
                </c:pt>
                <c:pt idx="2842">
                  <c:v>All Others</c:v>
                </c:pt>
                <c:pt idx="2843">
                  <c:v>All Others</c:v>
                </c:pt>
                <c:pt idx="2844">
                  <c:v>All Others</c:v>
                </c:pt>
                <c:pt idx="2845">
                  <c:v>All Others</c:v>
                </c:pt>
                <c:pt idx="2846">
                  <c:v>All Others</c:v>
                </c:pt>
                <c:pt idx="2847">
                  <c:v>All Others</c:v>
                </c:pt>
                <c:pt idx="2848">
                  <c:v>All Others</c:v>
                </c:pt>
                <c:pt idx="2849">
                  <c:v>All Others</c:v>
                </c:pt>
                <c:pt idx="2850">
                  <c:v>All Others</c:v>
                </c:pt>
                <c:pt idx="2851">
                  <c:v>All Others</c:v>
                </c:pt>
                <c:pt idx="2852">
                  <c:v>All Others</c:v>
                </c:pt>
                <c:pt idx="2853">
                  <c:v>All Others</c:v>
                </c:pt>
                <c:pt idx="2854">
                  <c:v>All Others</c:v>
                </c:pt>
                <c:pt idx="2855">
                  <c:v>All Others</c:v>
                </c:pt>
                <c:pt idx="2856">
                  <c:v>All Others</c:v>
                </c:pt>
                <c:pt idx="2857">
                  <c:v>All Others</c:v>
                </c:pt>
                <c:pt idx="2858">
                  <c:v>All Others</c:v>
                </c:pt>
                <c:pt idx="2859">
                  <c:v>All Others</c:v>
                </c:pt>
                <c:pt idx="2860">
                  <c:v>All Others</c:v>
                </c:pt>
                <c:pt idx="2861">
                  <c:v>All Others</c:v>
                </c:pt>
                <c:pt idx="2862">
                  <c:v>All Others</c:v>
                </c:pt>
                <c:pt idx="2863">
                  <c:v>All Others</c:v>
                </c:pt>
                <c:pt idx="2864">
                  <c:v>All Others</c:v>
                </c:pt>
                <c:pt idx="2865">
                  <c:v>All Others</c:v>
                </c:pt>
                <c:pt idx="2866">
                  <c:v>All Others</c:v>
                </c:pt>
                <c:pt idx="2867">
                  <c:v>All Others</c:v>
                </c:pt>
                <c:pt idx="2868">
                  <c:v>Lactalis: A</c:v>
                </c:pt>
                <c:pt idx="2869">
                  <c:v>All Others</c:v>
                </c:pt>
                <c:pt idx="2870">
                  <c:v>All Others</c:v>
                </c:pt>
                <c:pt idx="2871">
                  <c:v>All Others</c:v>
                </c:pt>
                <c:pt idx="2872">
                  <c:v>Private Lab</c:v>
                </c:pt>
                <c:pt idx="2873">
                  <c:v>All Others</c:v>
                </c:pt>
                <c:pt idx="2874">
                  <c:v>All Others</c:v>
                </c:pt>
                <c:pt idx="2875">
                  <c:v>All Others</c:v>
                </c:pt>
                <c:pt idx="2876">
                  <c:v>All Others</c:v>
                </c:pt>
                <c:pt idx="2877">
                  <c:v>All Others</c:v>
                </c:pt>
                <c:pt idx="2878">
                  <c:v>All Others</c:v>
                </c:pt>
                <c:pt idx="2879">
                  <c:v>All Others</c:v>
                </c:pt>
                <c:pt idx="2880">
                  <c:v>All Others</c:v>
                </c:pt>
                <c:pt idx="2881">
                  <c:v>All Others</c:v>
                </c:pt>
                <c:pt idx="2882">
                  <c:v>All Others</c:v>
                </c:pt>
                <c:pt idx="2883">
                  <c:v>All Others</c:v>
                </c:pt>
                <c:pt idx="2884">
                  <c:v>All Others</c:v>
                </c:pt>
                <c:pt idx="2885">
                  <c:v>All Others</c:v>
                </c:pt>
                <c:pt idx="2886">
                  <c:v>Private Lab</c:v>
                </c:pt>
                <c:pt idx="2887">
                  <c:v>Savencia: A</c:v>
                </c:pt>
                <c:pt idx="2888">
                  <c:v>Eurial Autr</c:v>
                </c:pt>
                <c:pt idx="2889">
                  <c:v>Lactalis: A</c:v>
                </c:pt>
                <c:pt idx="2890">
                  <c:v>All Others</c:v>
                </c:pt>
                <c:pt idx="2891">
                  <c:v>All Others</c:v>
                </c:pt>
                <c:pt idx="2892">
                  <c:v>All Others</c:v>
                </c:pt>
                <c:pt idx="2893">
                  <c:v>All Others</c:v>
                </c:pt>
                <c:pt idx="2894">
                  <c:v>All Others</c:v>
                </c:pt>
                <c:pt idx="2895">
                  <c:v>Private Lab</c:v>
                </c:pt>
                <c:pt idx="2896">
                  <c:v>All Others</c:v>
                </c:pt>
                <c:pt idx="2897">
                  <c:v>All Others</c:v>
                </c:pt>
                <c:pt idx="2898">
                  <c:v>Raguin</c:v>
                </c:pt>
                <c:pt idx="2899">
                  <c:v>All Others</c:v>
                </c:pt>
                <c:pt idx="2900">
                  <c:v>All Others</c:v>
                </c:pt>
                <c:pt idx="2901">
                  <c:v>All Others</c:v>
                </c:pt>
                <c:pt idx="2902">
                  <c:v>Raguin</c:v>
                </c:pt>
                <c:pt idx="2903">
                  <c:v>Savencia: A</c:v>
                </c:pt>
                <c:pt idx="2904">
                  <c:v>All Others</c:v>
                </c:pt>
                <c:pt idx="2905">
                  <c:v>All Others</c:v>
                </c:pt>
                <c:pt idx="2906">
                  <c:v>Raguin</c:v>
                </c:pt>
                <c:pt idx="2907">
                  <c:v>All Others</c:v>
                </c:pt>
                <c:pt idx="2908">
                  <c:v>All Others</c:v>
                </c:pt>
                <c:pt idx="2909">
                  <c:v>All Others</c:v>
                </c:pt>
                <c:pt idx="2910">
                  <c:v>All Others</c:v>
                </c:pt>
                <c:pt idx="2911">
                  <c:v>All Others</c:v>
                </c:pt>
                <c:pt idx="2912">
                  <c:v>All Others</c:v>
                </c:pt>
                <c:pt idx="2913">
                  <c:v>All Others</c:v>
                </c:pt>
                <c:pt idx="2914">
                  <c:v>All Others</c:v>
                </c:pt>
                <c:pt idx="2915">
                  <c:v>All Others</c:v>
                </c:pt>
                <c:pt idx="2916">
                  <c:v>All Others</c:v>
                </c:pt>
                <c:pt idx="2917">
                  <c:v>All Others</c:v>
                </c:pt>
                <c:pt idx="2918">
                  <c:v>All Others</c:v>
                </c:pt>
                <c:pt idx="2919">
                  <c:v>All Others</c:v>
                </c:pt>
                <c:pt idx="2920">
                  <c:v>All Others</c:v>
                </c:pt>
                <c:pt idx="2921">
                  <c:v>All Others</c:v>
                </c:pt>
                <c:pt idx="2922">
                  <c:v>All Others</c:v>
                </c:pt>
                <c:pt idx="2923">
                  <c:v>All Others</c:v>
                </c:pt>
                <c:pt idx="2924">
                  <c:v>All Others</c:v>
                </c:pt>
                <c:pt idx="2925">
                  <c:v>All Others</c:v>
                </c:pt>
                <c:pt idx="2926">
                  <c:v>All Others</c:v>
                </c:pt>
                <c:pt idx="2927">
                  <c:v>All Others</c:v>
                </c:pt>
                <c:pt idx="2928">
                  <c:v>All Others</c:v>
                </c:pt>
                <c:pt idx="2929">
                  <c:v>All Others</c:v>
                </c:pt>
                <c:pt idx="2930">
                  <c:v>All Others</c:v>
                </c:pt>
                <c:pt idx="2931">
                  <c:v>Raguin</c:v>
                </c:pt>
                <c:pt idx="2932">
                  <c:v>All Others</c:v>
                </c:pt>
                <c:pt idx="2933">
                  <c:v>All Others</c:v>
                </c:pt>
                <c:pt idx="2934">
                  <c:v>Casa Azzurr</c:v>
                </c:pt>
                <c:pt idx="2935">
                  <c:v>Eurial Autr</c:v>
                </c:pt>
                <c:pt idx="2936">
                  <c:v>All Others</c:v>
                </c:pt>
                <c:pt idx="2937">
                  <c:v>All Others</c:v>
                </c:pt>
                <c:pt idx="2938">
                  <c:v>All Others</c:v>
                </c:pt>
                <c:pt idx="2939">
                  <c:v>Pochat</c:v>
                </c:pt>
                <c:pt idx="2940">
                  <c:v>All Others</c:v>
                </c:pt>
                <c:pt idx="2941">
                  <c:v>All Others</c:v>
                </c:pt>
                <c:pt idx="2942">
                  <c:v>All Others</c:v>
                </c:pt>
                <c:pt idx="2943">
                  <c:v>All Others</c:v>
                </c:pt>
                <c:pt idx="2944">
                  <c:v>Private Lab</c:v>
                </c:pt>
                <c:pt idx="2945">
                  <c:v>All Others</c:v>
                </c:pt>
                <c:pt idx="2946">
                  <c:v>All Others</c:v>
                </c:pt>
                <c:pt idx="2947">
                  <c:v>All Others</c:v>
                </c:pt>
                <c:pt idx="2948">
                  <c:v>All Others</c:v>
                </c:pt>
                <c:pt idx="2949">
                  <c:v>Private Lab</c:v>
                </c:pt>
                <c:pt idx="2950">
                  <c:v>All Others</c:v>
                </c:pt>
                <c:pt idx="2951">
                  <c:v>All Others</c:v>
                </c:pt>
                <c:pt idx="2952">
                  <c:v>All Others</c:v>
                </c:pt>
                <c:pt idx="2953">
                  <c:v>All Others</c:v>
                </c:pt>
                <c:pt idx="2954">
                  <c:v>All Others</c:v>
                </c:pt>
                <c:pt idx="2955">
                  <c:v>All Others</c:v>
                </c:pt>
                <c:pt idx="2956">
                  <c:v>All Others</c:v>
                </c:pt>
                <c:pt idx="2957">
                  <c:v>All Others</c:v>
                </c:pt>
                <c:pt idx="2958">
                  <c:v>All Others</c:v>
                </c:pt>
                <c:pt idx="2959">
                  <c:v>All Others</c:v>
                </c:pt>
                <c:pt idx="2960">
                  <c:v>Private Lab</c:v>
                </c:pt>
                <c:pt idx="2961">
                  <c:v>Eurial Autr</c:v>
                </c:pt>
                <c:pt idx="2962">
                  <c:v>All Others</c:v>
                </c:pt>
                <c:pt idx="2963">
                  <c:v>Lactalis: A</c:v>
                </c:pt>
                <c:pt idx="2964">
                  <c:v>All Others</c:v>
                </c:pt>
                <c:pt idx="2965">
                  <c:v>All Others</c:v>
                </c:pt>
                <c:pt idx="2966">
                  <c:v>All Others</c:v>
                </c:pt>
                <c:pt idx="2967">
                  <c:v>All Others</c:v>
                </c:pt>
                <c:pt idx="2968">
                  <c:v>All Others</c:v>
                </c:pt>
                <c:pt idx="2969">
                  <c:v>All Others</c:v>
                </c:pt>
                <c:pt idx="2970">
                  <c:v>All Others</c:v>
                </c:pt>
                <c:pt idx="2971">
                  <c:v>All Others</c:v>
                </c:pt>
                <c:pt idx="2972">
                  <c:v>All Others</c:v>
                </c:pt>
                <c:pt idx="2973">
                  <c:v>All Others</c:v>
                </c:pt>
                <c:pt idx="2974">
                  <c:v>All Others</c:v>
                </c:pt>
                <c:pt idx="2975">
                  <c:v>All Others</c:v>
                </c:pt>
                <c:pt idx="2976">
                  <c:v>All Others</c:v>
                </c:pt>
                <c:pt idx="2977">
                  <c:v>All Others</c:v>
                </c:pt>
                <c:pt idx="2978">
                  <c:v>All Others</c:v>
                </c:pt>
                <c:pt idx="2979">
                  <c:v>All Others</c:v>
                </c:pt>
                <c:pt idx="2980">
                  <c:v>All Others</c:v>
                </c:pt>
                <c:pt idx="2981">
                  <c:v>All Others</c:v>
                </c:pt>
                <c:pt idx="2982">
                  <c:v>All Others</c:v>
                </c:pt>
                <c:pt idx="2983">
                  <c:v>All Others</c:v>
                </c:pt>
                <c:pt idx="2984">
                  <c:v>All Others</c:v>
                </c:pt>
                <c:pt idx="2985">
                  <c:v>All Others</c:v>
                </c:pt>
                <c:pt idx="2986">
                  <c:v>All Others</c:v>
                </c:pt>
                <c:pt idx="2987">
                  <c:v>All Others</c:v>
                </c:pt>
                <c:pt idx="2988">
                  <c:v>All Others</c:v>
                </c:pt>
                <c:pt idx="2989">
                  <c:v>All Others</c:v>
                </c:pt>
                <c:pt idx="2990">
                  <c:v>All Others</c:v>
                </c:pt>
                <c:pt idx="2991">
                  <c:v>All Others</c:v>
                </c:pt>
                <c:pt idx="2992">
                  <c:v>All Others</c:v>
                </c:pt>
                <c:pt idx="2993">
                  <c:v>All Others</c:v>
                </c:pt>
                <c:pt idx="2994">
                  <c:v>All Others</c:v>
                </c:pt>
                <c:pt idx="2995">
                  <c:v>All Others</c:v>
                </c:pt>
                <c:pt idx="2996">
                  <c:v>Galbani</c:v>
                </c:pt>
                <c:pt idx="2997">
                  <c:v>All Others</c:v>
                </c:pt>
                <c:pt idx="2998">
                  <c:v>All Others</c:v>
                </c:pt>
                <c:pt idx="2999">
                  <c:v>All Others</c:v>
                </c:pt>
                <c:pt idx="3000">
                  <c:v>All Others</c:v>
                </c:pt>
                <c:pt idx="3001">
                  <c:v>All Others</c:v>
                </c:pt>
                <c:pt idx="3002">
                  <c:v>All Others</c:v>
                </c:pt>
                <c:pt idx="3003">
                  <c:v>All Others</c:v>
                </c:pt>
                <c:pt idx="3004">
                  <c:v>All Others</c:v>
                </c:pt>
                <c:pt idx="3005">
                  <c:v>All Others</c:v>
                </c:pt>
                <c:pt idx="3006">
                  <c:v>All Others</c:v>
                </c:pt>
                <c:pt idx="3007">
                  <c:v>All Others</c:v>
                </c:pt>
                <c:pt idx="3008">
                  <c:v>All Others</c:v>
                </c:pt>
                <c:pt idx="3009">
                  <c:v>All Others</c:v>
                </c:pt>
                <c:pt idx="3010">
                  <c:v>All Others</c:v>
                </c:pt>
                <c:pt idx="3011">
                  <c:v>All Others</c:v>
                </c:pt>
                <c:pt idx="3012">
                  <c:v>All Others</c:v>
                </c:pt>
                <c:pt idx="3013">
                  <c:v>All Others</c:v>
                </c:pt>
                <c:pt idx="3014">
                  <c:v>All Others</c:v>
                </c:pt>
                <c:pt idx="3015">
                  <c:v>Private Lab</c:v>
                </c:pt>
                <c:pt idx="3016">
                  <c:v>All Others</c:v>
                </c:pt>
                <c:pt idx="3017">
                  <c:v>All Others</c:v>
                </c:pt>
                <c:pt idx="3018">
                  <c:v>All Others</c:v>
                </c:pt>
                <c:pt idx="3019">
                  <c:v>Societe</c:v>
                </c:pt>
                <c:pt idx="3020">
                  <c:v>Savencia: A</c:v>
                </c:pt>
                <c:pt idx="3021">
                  <c:v>All Others</c:v>
                </c:pt>
                <c:pt idx="3022">
                  <c:v>All Others</c:v>
                </c:pt>
                <c:pt idx="3023">
                  <c:v>All Others</c:v>
                </c:pt>
                <c:pt idx="3024">
                  <c:v>All Others</c:v>
                </c:pt>
                <c:pt idx="3025">
                  <c:v>All Others</c:v>
                </c:pt>
                <c:pt idx="3026">
                  <c:v>All Others</c:v>
                </c:pt>
                <c:pt idx="3027">
                  <c:v>All Others</c:v>
                </c:pt>
                <c:pt idx="3028">
                  <c:v>All Others</c:v>
                </c:pt>
                <c:pt idx="3029">
                  <c:v>All Others</c:v>
                </c:pt>
                <c:pt idx="3030">
                  <c:v>Casa Azzurr</c:v>
                </c:pt>
                <c:pt idx="3031">
                  <c:v>All Others</c:v>
                </c:pt>
                <c:pt idx="3032">
                  <c:v>All Others</c:v>
                </c:pt>
                <c:pt idx="3033">
                  <c:v>All Others</c:v>
                </c:pt>
                <c:pt idx="3034">
                  <c:v>All Others</c:v>
                </c:pt>
                <c:pt idx="3035">
                  <c:v>All Others</c:v>
                </c:pt>
                <c:pt idx="3036">
                  <c:v>All Others</c:v>
                </c:pt>
                <c:pt idx="3037">
                  <c:v>All Others</c:v>
                </c:pt>
                <c:pt idx="3038">
                  <c:v>All Others</c:v>
                </c:pt>
                <c:pt idx="3039">
                  <c:v>All Others</c:v>
                </c:pt>
                <c:pt idx="3040">
                  <c:v>All Others</c:v>
                </c:pt>
                <c:pt idx="3041">
                  <c:v>All Others</c:v>
                </c:pt>
                <c:pt idx="3042">
                  <c:v>All Others</c:v>
                </c:pt>
                <c:pt idx="3043">
                  <c:v>All Others</c:v>
                </c:pt>
                <c:pt idx="3044">
                  <c:v>All Others</c:v>
                </c:pt>
                <c:pt idx="3045">
                  <c:v>All Others</c:v>
                </c:pt>
                <c:pt idx="3046">
                  <c:v>Fol Epi</c:v>
                </c:pt>
                <c:pt idx="3047">
                  <c:v>All Others</c:v>
                </c:pt>
                <c:pt idx="3048">
                  <c:v>All Others</c:v>
                </c:pt>
                <c:pt idx="3049">
                  <c:v>Eurial Autr</c:v>
                </c:pt>
                <c:pt idx="3050">
                  <c:v>All Others</c:v>
                </c:pt>
                <c:pt idx="3051">
                  <c:v>All Others</c:v>
                </c:pt>
                <c:pt idx="3052">
                  <c:v>All Others</c:v>
                </c:pt>
                <c:pt idx="3053">
                  <c:v>All Others</c:v>
                </c:pt>
                <c:pt idx="3054">
                  <c:v>All Others</c:v>
                </c:pt>
                <c:pt idx="3055">
                  <c:v>All Others</c:v>
                </c:pt>
                <c:pt idx="3056">
                  <c:v>All Others</c:v>
                </c:pt>
                <c:pt idx="3057">
                  <c:v>All Others</c:v>
                </c:pt>
                <c:pt idx="3058">
                  <c:v>All Others</c:v>
                </c:pt>
                <c:pt idx="3059">
                  <c:v>All Others</c:v>
                </c:pt>
                <c:pt idx="3060">
                  <c:v>All Others</c:v>
                </c:pt>
                <c:pt idx="3061">
                  <c:v>All Others</c:v>
                </c:pt>
                <c:pt idx="3062">
                  <c:v>All Others</c:v>
                </c:pt>
                <c:pt idx="3063">
                  <c:v>All Others</c:v>
                </c:pt>
                <c:pt idx="3064">
                  <c:v>All Others</c:v>
                </c:pt>
                <c:pt idx="3065">
                  <c:v>All Others</c:v>
                </c:pt>
                <c:pt idx="3066">
                  <c:v>All Others</c:v>
                </c:pt>
                <c:pt idx="3067">
                  <c:v>All Others</c:v>
                </c:pt>
                <c:pt idx="3068">
                  <c:v>All Others</c:v>
                </c:pt>
                <c:pt idx="3069">
                  <c:v>Entremont</c:v>
                </c:pt>
                <c:pt idx="3070">
                  <c:v>All Others</c:v>
                </c:pt>
                <c:pt idx="3071">
                  <c:v>Entremont</c:v>
                </c:pt>
                <c:pt idx="3072">
                  <c:v>All Others</c:v>
                </c:pt>
                <c:pt idx="3073">
                  <c:v>All Others</c:v>
                </c:pt>
                <c:pt idx="3074">
                  <c:v>All Others</c:v>
                </c:pt>
                <c:pt idx="3075">
                  <c:v>All Others</c:v>
                </c:pt>
                <c:pt idx="3076">
                  <c:v>Private Lab</c:v>
                </c:pt>
                <c:pt idx="3077">
                  <c:v>All Others</c:v>
                </c:pt>
                <c:pt idx="3078">
                  <c:v>All Others</c:v>
                </c:pt>
                <c:pt idx="3079">
                  <c:v>All Others</c:v>
                </c:pt>
                <c:pt idx="3080">
                  <c:v>Savencia: A</c:v>
                </c:pt>
                <c:pt idx="3081">
                  <c:v>All Others</c:v>
                </c:pt>
                <c:pt idx="3082">
                  <c:v>All Others</c:v>
                </c:pt>
                <c:pt idx="3083">
                  <c:v>Eurial Autr</c:v>
                </c:pt>
                <c:pt idx="3084">
                  <c:v>All Others</c:v>
                </c:pt>
                <c:pt idx="3085">
                  <c:v>All Others</c:v>
                </c:pt>
                <c:pt idx="3086">
                  <c:v>All Others</c:v>
                </c:pt>
                <c:pt idx="3087">
                  <c:v>All Others</c:v>
                </c:pt>
                <c:pt idx="3088">
                  <c:v>All Others</c:v>
                </c:pt>
                <c:pt idx="3089">
                  <c:v>All Others</c:v>
                </c:pt>
                <c:pt idx="3090">
                  <c:v>All Others</c:v>
                </c:pt>
                <c:pt idx="3091">
                  <c:v>All Others</c:v>
                </c:pt>
                <c:pt idx="3092">
                  <c:v>All Others</c:v>
                </c:pt>
                <c:pt idx="3093">
                  <c:v>All Others</c:v>
                </c:pt>
                <c:pt idx="3094">
                  <c:v>All Others</c:v>
                </c:pt>
                <c:pt idx="3095">
                  <c:v>All Others</c:v>
                </c:pt>
                <c:pt idx="3096">
                  <c:v>All Others</c:v>
                </c:pt>
                <c:pt idx="3097">
                  <c:v>All Others</c:v>
                </c:pt>
                <c:pt idx="3098">
                  <c:v>All Others</c:v>
                </c:pt>
                <c:pt idx="3099">
                  <c:v>Private Lab</c:v>
                </c:pt>
                <c:pt idx="3100">
                  <c:v>All Others</c:v>
                </c:pt>
                <c:pt idx="3101">
                  <c:v>All Others</c:v>
                </c:pt>
                <c:pt idx="3102">
                  <c:v>All Others</c:v>
                </c:pt>
                <c:pt idx="3103">
                  <c:v>Private Lab</c:v>
                </c:pt>
                <c:pt idx="3104">
                  <c:v>Private Lab</c:v>
                </c:pt>
                <c:pt idx="3105">
                  <c:v>All Others</c:v>
                </c:pt>
                <c:pt idx="3106">
                  <c:v>All Others</c:v>
                </c:pt>
                <c:pt idx="3107">
                  <c:v>All Others</c:v>
                </c:pt>
                <c:pt idx="3108">
                  <c:v>All Others</c:v>
                </c:pt>
                <c:pt idx="3109">
                  <c:v>All Others</c:v>
                </c:pt>
                <c:pt idx="3110">
                  <c:v>All Others</c:v>
                </c:pt>
                <c:pt idx="3111">
                  <c:v>All Others</c:v>
                </c:pt>
                <c:pt idx="3112">
                  <c:v>All Others</c:v>
                </c:pt>
                <c:pt idx="3113">
                  <c:v>All Others</c:v>
                </c:pt>
                <c:pt idx="3114">
                  <c:v>All Others</c:v>
                </c:pt>
                <c:pt idx="3115">
                  <c:v>All Others</c:v>
                </c:pt>
                <c:pt idx="3116">
                  <c:v>All Others</c:v>
                </c:pt>
                <c:pt idx="3117">
                  <c:v>All Others</c:v>
                </c:pt>
                <c:pt idx="3118">
                  <c:v>All Others</c:v>
                </c:pt>
                <c:pt idx="3119">
                  <c:v>All Others</c:v>
                </c:pt>
                <c:pt idx="3120">
                  <c:v>All Others</c:v>
                </c:pt>
                <c:pt idx="3121">
                  <c:v>Societe</c:v>
                </c:pt>
                <c:pt idx="3122">
                  <c:v>All Others</c:v>
                </c:pt>
                <c:pt idx="3123">
                  <c:v>All Others</c:v>
                </c:pt>
                <c:pt idx="3124">
                  <c:v>All Others</c:v>
                </c:pt>
                <c:pt idx="3125">
                  <c:v>All Others</c:v>
                </c:pt>
                <c:pt idx="3126">
                  <c:v>All Others</c:v>
                </c:pt>
                <c:pt idx="3127">
                  <c:v>All Others</c:v>
                </c:pt>
                <c:pt idx="3128">
                  <c:v>All Others</c:v>
                </c:pt>
                <c:pt idx="3129">
                  <c:v>All Others</c:v>
                </c:pt>
                <c:pt idx="3130">
                  <c:v>All Others</c:v>
                </c:pt>
                <c:pt idx="3131">
                  <c:v>All Others</c:v>
                </c:pt>
                <c:pt idx="3132">
                  <c:v>All Others</c:v>
                </c:pt>
                <c:pt idx="3133">
                  <c:v>Private Lab</c:v>
                </c:pt>
                <c:pt idx="3134">
                  <c:v>All Others</c:v>
                </c:pt>
                <c:pt idx="3135">
                  <c:v>All Others</c:v>
                </c:pt>
                <c:pt idx="3136">
                  <c:v>All Others</c:v>
                </c:pt>
                <c:pt idx="3137">
                  <c:v>All Others</c:v>
                </c:pt>
                <c:pt idx="3138">
                  <c:v>All Others</c:v>
                </c:pt>
                <c:pt idx="3139">
                  <c:v>All Others</c:v>
                </c:pt>
                <c:pt idx="3140">
                  <c:v>All Others</c:v>
                </c:pt>
                <c:pt idx="3141">
                  <c:v>All Others</c:v>
                </c:pt>
                <c:pt idx="3142">
                  <c:v>Private Lab</c:v>
                </c:pt>
                <c:pt idx="3143">
                  <c:v>All Others</c:v>
                </c:pt>
                <c:pt idx="3144">
                  <c:v>President</c:v>
                </c:pt>
                <c:pt idx="3145">
                  <c:v>All Others</c:v>
                </c:pt>
                <c:pt idx="3146">
                  <c:v>All Others</c:v>
                </c:pt>
                <c:pt idx="3147">
                  <c:v>All Others</c:v>
                </c:pt>
                <c:pt idx="3148">
                  <c:v>All Others</c:v>
                </c:pt>
                <c:pt idx="3149">
                  <c:v>Private Lab</c:v>
                </c:pt>
                <c:pt idx="3150">
                  <c:v>All Others</c:v>
                </c:pt>
                <c:pt idx="3151">
                  <c:v>All Others</c:v>
                </c:pt>
                <c:pt idx="3152">
                  <c:v>All Others</c:v>
                </c:pt>
                <c:pt idx="3153">
                  <c:v>Private Lab</c:v>
                </c:pt>
                <c:pt idx="3154">
                  <c:v>All Others</c:v>
                </c:pt>
                <c:pt idx="3155">
                  <c:v>All Others</c:v>
                </c:pt>
                <c:pt idx="3156">
                  <c:v>All Others</c:v>
                </c:pt>
                <c:pt idx="3157">
                  <c:v>All Others</c:v>
                </c:pt>
                <c:pt idx="3158">
                  <c:v>All Others</c:v>
                </c:pt>
                <c:pt idx="3159">
                  <c:v>All Others</c:v>
                </c:pt>
                <c:pt idx="3160">
                  <c:v>Savencia: A</c:v>
                </c:pt>
                <c:pt idx="3161">
                  <c:v>All Others</c:v>
                </c:pt>
                <c:pt idx="3162">
                  <c:v>All Others</c:v>
                </c:pt>
                <c:pt idx="3163">
                  <c:v>All Others</c:v>
                </c:pt>
                <c:pt idx="3164">
                  <c:v>All Others</c:v>
                </c:pt>
                <c:pt idx="3165">
                  <c:v>All Others</c:v>
                </c:pt>
                <c:pt idx="3166">
                  <c:v>All Others</c:v>
                </c:pt>
                <c:pt idx="3167">
                  <c:v>All Others</c:v>
                </c:pt>
                <c:pt idx="3168">
                  <c:v>All Others</c:v>
                </c:pt>
                <c:pt idx="3169">
                  <c:v>All Others</c:v>
                </c:pt>
                <c:pt idx="3170">
                  <c:v>Limiano</c:v>
                </c:pt>
                <c:pt idx="3171">
                  <c:v>All Others</c:v>
                </c:pt>
                <c:pt idx="3172">
                  <c:v>All Others</c:v>
                </c:pt>
                <c:pt idx="3173">
                  <c:v>All Others</c:v>
                </c:pt>
                <c:pt idx="3174">
                  <c:v>All Others</c:v>
                </c:pt>
                <c:pt idx="3175">
                  <c:v>Private Lab</c:v>
                </c:pt>
                <c:pt idx="3176">
                  <c:v>All Others</c:v>
                </c:pt>
                <c:pt idx="3177">
                  <c:v>All Others</c:v>
                </c:pt>
                <c:pt idx="3178">
                  <c:v>All Others</c:v>
                </c:pt>
                <c:pt idx="3179">
                  <c:v>All Others</c:v>
                </c:pt>
                <c:pt idx="3180">
                  <c:v>All Others</c:v>
                </c:pt>
                <c:pt idx="3181">
                  <c:v>Private Lab</c:v>
                </c:pt>
                <c:pt idx="3182">
                  <c:v>All Others</c:v>
                </c:pt>
                <c:pt idx="3183">
                  <c:v>Private Lab</c:v>
                </c:pt>
                <c:pt idx="3184">
                  <c:v>Entremont</c:v>
                </c:pt>
                <c:pt idx="3185">
                  <c:v>All Others</c:v>
                </c:pt>
                <c:pt idx="3186">
                  <c:v>All Others</c:v>
                </c:pt>
                <c:pt idx="3187">
                  <c:v>All Others</c:v>
                </c:pt>
                <c:pt idx="3188">
                  <c:v>All Others</c:v>
                </c:pt>
                <c:pt idx="3189">
                  <c:v>All Others</c:v>
                </c:pt>
                <c:pt idx="3190">
                  <c:v>All Others</c:v>
                </c:pt>
                <c:pt idx="3191">
                  <c:v>All Others</c:v>
                </c:pt>
                <c:pt idx="3192">
                  <c:v>All Others</c:v>
                </c:pt>
                <c:pt idx="3193">
                  <c:v>Casa Azzurr</c:v>
                </c:pt>
                <c:pt idx="3194">
                  <c:v>All Others</c:v>
                </c:pt>
                <c:pt idx="3195">
                  <c:v>All Others</c:v>
                </c:pt>
                <c:pt idx="3196">
                  <c:v>All Others</c:v>
                </c:pt>
                <c:pt idx="3197">
                  <c:v>All Others</c:v>
                </c:pt>
                <c:pt idx="3198">
                  <c:v>All Others</c:v>
                </c:pt>
                <c:pt idx="3199">
                  <c:v>All Others</c:v>
                </c:pt>
                <c:pt idx="3200">
                  <c:v>All Others</c:v>
                </c:pt>
                <c:pt idx="3201">
                  <c:v>All Others</c:v>
                </c:pt>
                <c:pt idx="3202">
                  <c:v>All Others</c:v>
                </c:pt>
                <c:pt idx="3203">
                  <c:v>All Others</c:v>
                </c:pt>
                <c:pt idx="3204">
                  <c:v>All Others</c:v>
                </c:pt>
                <c:pt idx="3205">
                  <c:v>All Others</c:v>
                </c:pt>
                <c:pt idx="3206">
                  <c:v>All Others</c:v>
                </c:pt>
                <c:pt idx="3207">
                  <c:v>All Others</c:v>
                </c:pt>
                <c:pt idx="3208">
                  <c:v>Salakis</c:v>
                </c:pt>
                <c:pt idx="3209">
                  <c:v>Societe</c:v>
                </c:pt>
                <c:pt idx="3210">
                  <c:v>All Others</c:v>
                </c:pt>
                <c:pt idx="3211">
                  <c:v>All Others</c:v>
                </c:pt>
                <c:pt idx="3212">
                  <c:v>All Others</c:v>
                </c:pt>
                <c:pt idx="3213">
                  <c:v>All Others</c:v>
                </c:pt>
                <c:pt idx="3214">
                  <c:v>All Others</c:v>
                </c:pt>
                <c:pt idx="3215">
                  <c:v>All Others</c:v>
                </c:pt>
                <c:pt idx="3216">
                  <c:v>All Others</c:v>
                </c:pt>
                <c:pt idx="3217">
                  <c:v>All Others</c:v>
                </c:pt>
                <c:pt idx="3218">
                  <c:v>All Others</c:v>
                </c:pt>
                <c:pt idx="3219">
                  <c:v>All Others</c:v>
                </c:pt>
                <c:pt idx="3220">
                  <c:v>All Others</c:v>
                </c:pt>
                <c:pt idx="3221">
                  <c:v>All Others</c:v>
                </c:pt>
                <c:pt idx="3222">
                  <c:v>All Others</c:v>
                </c:pt>
                <c:pt idx="3223">
                  <c:v>All Others</c:v>
                </c:pt>
                <c:pt idx="3224">
                  <c:v>All Others</c:v>
                </c:pt>
                <c:pt idx="3225">
                  <c:v>All Others</c:v>
                </c:pt>
                <c:pt idx="3226">
                  <c:v>All Others</c:v>
                </c:pt>
                <c:pt idx="3227">
                  <c:v>All Others</c:v>
                </c:pt>
                <c:pt idx="3228">
                  <c:v>All Others</c:v>
                </c:pt>
                <c:pt idx="3229">
                  <c:v>All Others</c:v>
                </c:pt>
                <c:pt idx="3230">
                  <c:v>Juraflore</c:v>
                </c:pt>
                <c:pt idx="3231">
                  <c:v>All Others</c:v>
                </c:pt>
                <c:pt idx="3232">
                  <c:v>All Others</c:v>
                </c:pt>
                <c:pt idx="3233">
                  <c:v>All Others</c:v>
                </c:pt>
                <c:pt idx="3234">
                  <c:v>All Others</c:v>
                </c:pt>
                <c:pt idx="3235">
                  <c:v>All Others</c:v>
                </c:pt>
                <c:pt idx="3236">
                  <c:v>All Others</c:v>
                </c:pt>
                <c:pt idx="3237">
                  <c:v>All Others</c:v>
                </c:pt>
                <c:pt idx="3238">
                  <c:v>All Others</c:v>
                </c:pt>
                <c:pt idx="3239">
                  <c:v>Pave D'Affi</c:v>
                </c:pt>
                <c:pt idx="3240">
                  <c:v>All Others</c:v>
                </c:pt>
                <c:pt idx="3241">
                  <c:v>All Others</c:v>
                </c:pt>
                <c:pt idx="3242">
                  <c:v>All Others</c:v>
                </c:pt>
                <c:pt idx="3243">
                  <c:v>All Others</c:v>
                </c:pt>
                <c:pt idx="3244">
                  <c:v>All Others</c:v>
                </c:pt>
                <c:pt idx="3245">
                  <c:v>All Others</c:v>
                </c:pt>
                <c:pt idx="3246">
                  <c:v>All Others</c:v>
                </c:pt>
                <c:pt idx="3247">
                  <c:v>All Others</c:v>
                </c:pt>
                <c:pt idx="3248">
                  <c:v>All Others</c:v>
                </c:pt>
                <c:pt idx="3249">
                  <c:v>All Others</c:v>
                </c:pt>
                <c:pt idx="3250">
                  <c:v>Lactalis: A</c:v>
                </c:pt>
                <c:pt idx="3251">
                  <c:v>All Others</c:v>
                </c:pt>
                <c:pt idx="3252">
                  <c:v>All Others</c:v>
                </c:pt>
                <c:pt idx="3253">
                  <c:v>All Others</c:v>
                </c:pt>
                <c:pt idx="3254">
                  <c:v>All Others</c:v>
                </c:pt>
                <c:pt idx="3255">
                  <c:v>All Others</c:v>
                </c:pt>
                <c:pt idx="3256">
                  <c:v>All Others</c:v>
                </c:pt>
                <c:pt idx="3257">
                  <c:v>All Others</c:v>
                </c:pt>
                <c:pt idx="3258">
                  <c:v>All Others</c:v>
                </c:pt>
                <c:pt idx="3259">
                  <c:v>All Others</c:v>
                </c:pt>
                <c:pt idx="3260">
                  <c:v>All Others</c:v>
                </c:pt>
                <c:pt idx="3261">
                  <c:v>All Others</c:v>
                </c:pt>
                <c:pt idx="3262">
                  <c:v>All Others</c:v>
                </c:pt>
                <c:pt idx="3263">
                  <c:v>Private Lab</c:v>
                </c:pt>
                <c:pt idx="3264">
                  <c:v>All Others</c:v>
                </c:pt>
                <c:pt idx="3265">
                  <c:v>All Others</c:v>
                </c:pt>
                <c:pt idx="3266">
                  <c:v>All Others</c:v>
                </c:pt>
                <c:pt idx="3267">
                  <c:v>All Others</c:v>
                </c:pt>
                <c:pt idx="3268">
                  <c:v>All Others</c:v>
                </c:pt>
                <c:pt idx="3269">
                  <c:v>All Others</c:v>
                </c:pt>
                <c:pt idx="3270">
                  <c:v>All Others</c:v>
                </c:pt>
                <c:pt idx="3271">
                  <c:v>All Others</c:v>
                </c:pt>
                <c:pt idx="3272">
                  <c:v>All Others</c:v>
                </c:pt>
                <c:pt idx="3273">
                  <c:v>Lactalis: A</c:v>
                </c:pt>
                <c:pt idx="3274">
                  <c:v>All Others</c:v>
                </c:pt>
                <c:pt idx="3275">
                  <c:v>Lactalis: A</c:v>
                </c:pt>
                <c:pt idx="3276">
                  <c:v>All Others</c:v>
                </c:pt>
                <c:pt idx="3277">
                  <c:v>All Others</c:v>
                </c:pt>
                <c:pt idx="3278">
                  <c:v>Private Lab</c:v>
                </c:pt>
                <c:pt idx="3279">
                  <c:v>All Others</c:v>
                </c:pt>
                <c:pt idx="3280">
                  <c:v>All Others</c:v>
                </c:pt>
                <c:pt idx="3281">
                  <c:v>All Others</c:v>
                </c:pt>
                <c:pt idx="3282">
                  <c:v>All Others</c:v>
                </c:pt>
                <c:pt idx="3283">
                  <c:v>All Others</c:v>
                </c:pt>
                <c:pt idx="3284">
                  <c:v>All Others</c:v>
                </c:pt>
                <c:pt idx="3285">
                  <c:v>All Others</c:v>
                </c:pt>
                <c:pt idx="3286">
                  <c:v>Private Lab</c:v>
                </c:pt>
                <c:pt idx="3287">
                  <c:v>All Others</c:v>
                </c:pt>
                <c:pt idx="3288">
                  <c:v>All Others</c:v>
                </c:pt>
                <c:pt idx="3289">
                  <c:v>All Others</c:v>
                </c:pt>
                <c:pt idx="3290">
                  <c:v>All Others</c:v>
                </c:pt>
                <c:pt idx="3291">
                  <c:v>All Others</c:v>
                </c:pt>
                <c:pt idx="3292">
                  <c:v>All Others</c:v>
                </c:pt>
                <c:pt idx="3293">
                  <c:v>All Others</c:v>
                </c:pt>
                <c:pt idx="3294">
                  <c:v>All Others</c:v>
                </c:pt>
                <c:pt idx="3295">
                  <c:v>All Others</c:v>
                </c:pt>
                <c:pt idx="3296">
                  <c:v>All Others</c:v>
                </c:pt>
                <c:pt idx="3297">
                  <c:v>All Others</c:v>
                </c:pt>
                <c:pt idx="3298">
                  <c:v>All Others</c:v>
                </c:pt>
                <c:pt idx="3299">
                  <c:v>All Others</c:v>
                </c:pt>
                <c:pt idx="3300">
                  <c:v>All Others</c:v>
                </c:pt>
                <c:pt idx="3301">
                  <c:v>All Others</c:v>
                </c:pt>
                <c:pt idx="3302">
                  <c:v>All Others</c:v>
                </c:pt>
                <c:pt idx="3303">
                  <c:v>All Others</c:v>
                </c:pt>
                <c:pt idx="3304">
                  <c:v>All Others</c:v>
                </c:pt>
                <c:pt idx="3305">
                  <c:v>All Others</c:v>
                </c:pt>
                <c:pt idx="3306">
                  <c:v>All Others</c:v>
                </c:pt>
                <c:pt idx="3307">
                  <c:v>All Others</c:v>
                </c:pt>
                <c:pt idx="3308">
                  <c:v>All Others</c:v>
                </c:pt>
                <c:pt idx="3309">
                  <c:v>All Others</c:v>
                </c:pt>
                <c:pt idx="3310">
                  <c:v>All Others</c:v>
                </c:pt>
                <c:pt idx="3311">
                  <c:v>All Others</c:v>
                </c:pt>
                <c:pt idx="3312">
                  <c:v>All Others</c:v>
                </c:pt>
                <c:pt idx="3313">
                  <c:v>All Others</c:v>
                </c:pt>
                <c:pt idx="3314">
                  <c:v>All Others</c:v>
                </c:pt>
                <c:pt idx="3315">
                  <c:v>All Others</c:v>
                </c:pt>
                <c:pt idx="3316">
                  <c:v>All Others</c:v>
                </c:pt>
                <c:pt idx="3317">
                  <c:v>All Others</c:v>
                </c:pt>
                <c:pt idx="3318">
                  <c:v>All Others</c:v>
                </c:pt>
                <c:pt idx="3319">
                  <c:v>All Others</c:v>
                </c:pt>
                <c:pt idx="3320">
                  <c:v>All Others</c:v>
                </c:pt>
                <c:pt idx="3321">
                  <c:v>All Others</c:v>
                </c:pt>
                <c:pt idx="3322">
                  <c:v>All Others</c:v>
                </c:pt>
                <c:pt idx="3323">
                  <c:v>All Others</c:v>
                </c:pt>
                <c:pt idx="3324">
                  <c:v>Lactalis: A</c:v>
                </c:pt>
                <c:pt idx="3325">
                  <c:v>All Others</c:v>
                </c:pt>
                <c:pt idx="3326">
                  <c:v>All Others</c:v>
                </c:pt>
                <c:pt idx="3327">
                  <c:v>All Others</c:v>
                </c:pt>
                <c:pt idx="3328">
                  <c:v>All Others</c:v>
                </c:pt>
                <c:pt idx="3329">
                  <c:v>All Others</c:v>
                </c:pt>
                <c:pt idx="3330">
                  <c:v>All Others</c:v>
                </c:pt>
                <c:pt idx="3331">
                  <c:v>All Others</c:v>
                </c:pt>
                <c:pt idx="3332">
                  <c:v>All Others</c:v>
                </c:pt>
                <c:pt idx="3333">
                  <c:v>All Others</c:v>
                </c:pt>
                <c:pt idx="3334">
                  <c:v>All Others</c:v>
                </c:pt>
                <c:pt idx="3335">
                  <c:v>Lactalis: A</c:v>
                </c:pt>
                <c:pt idx="3336">
                  <c:v>All Others</c:v>
                </c:pt>
                <c:pt idx="3337">
                  <c:v>All Others</c:v>
                </c:pt>
                <c:pt idx="3338">
                  <c:v>All Others</c:v>
                </c:pt>
                <c:pt idx="3339">
                  <c:v>All Others</c:v>
                </c:pt>
                <c:pt idx="3340">
                  <c:v>All Others</c:v>
                </c:pt>
                <c:pt idx="3341">
                  <c:v>All Others</c:v>
                </c:pt>
                <c:pt idx="3342">
                  <c:v>All Others</c:v>
                </c:pt>
                <c:pt idx="3343">
                  <c:v>All Others</c:v>
                </c:pt>
                <c:pt idx="3344">
                  <c:v>All Others</c:v>
                </c:pt>
                <c:pt idx="3345">
                  <c:v>All Others</c:v>
                </c:pt>
                <c:pt idx="3346">
                  <c:v>All Others</c:v>
                </c:pt>
                <c:pt idx="3347">
                  <c:v>All Others</c:v>
                </c:pt>
                <c:pt idx="3348">
                  <c:v>All Others</c:v>
                </c:pt>
                <c:pt idx="3349">
                  <c:v>All Others</c:v>
                </c:pt>
                <c:pt idx="3350">
                  <c:v>All Others</c:v>
                </c:pt>
                <c:pt idx="3351">
                  <c:v>All Others</c:v>
                </c:pt>
                <c:pt idx="3352">
                  <c:v>All Others</c:v>
                </c:pt>
                <c:pt idx="3353">
                  <c:v>All Others</c:v>
                </c:pt>
                <c:pt idx="3354">
                  <c:v>All Others</c:v>
                </c:pt>
                <c:pt idx="3355">
                  <c:v>Savencia: A</c:v>
                </c:pt>
                <c:pt idx="3356">
                  <c:v>All Others</c:v>
                </c:pt>
                <c:pt idx="3357">
                  <c:v>All Others</c:v>
                </c:pt>
                <c:pt idx="3358">
                  <c:v>All Others</c:v>
                </c:pt>
                <c:pt idx="3359">
                  <c:v>All Others</c:v>
                </c:pt>
                <c:pt idx="3360">
                  <c:v>All Others</c:v>
                </c:pt>
                <c:pt idx="3361">
                  <c:v>Private Lab</c:v>
                </c:pt>
                <c:pt idx="3362">
                  <c:v>All Others</c:v>
                </c:pt>
                <c:pt idx="3363">
                  <c:v>All Others</c:v>
                </c:pt>
                <c:pt idx="3364">
                  <c:v>All Others</c:v>
                </c:pt>
                <c:pt idx="3365">
                  <c:v>All Others</c:v>
                </c:pt>
                <c:pt idx="3366">
                  <c:v>All Others</c:v>
                </c:pt>
                <c:pt idx="3367">
                  <c:v>All Others</c:v>
                </c:pt>
                <c:pt idx="3368">
                  <c:v>All Others</c:v>
                </c:pt>
                <c:pt idx="3369">
                  <c:v>All Others</c:v>
                </c:pt>
                <c:pt idx="3370">
                  <c:v>All Others</c:v>
                </c:pt>
                <c:pt idx="3371">
                  <c:v>All Others</c:v>
                </c:pt>
                <c:pt idx="3372">
                  <c:v>All Others</c:v>
                </c:pt>
                <c:pt idx="3373">
                  <c:v>All Others</c:v>
                </c:pt>
                <c:pt idx="3374">
                  <c:v>All Others</c:v>
                </c:pt>
                <c:pt idx="3375">
                  <c:v>Private Lab</c:v>
                </c:pt>
                <c:pt idx="3376">
                  <c:v>Private Lab</c:v>
                </c:pt>
                <c:pt idx="3377">
                  <c:v>All Others</c:v>
                </c:pt>
                <c:pt idx="3378">
                  <c:v>All Others</c:v>
                </c:pt>
                <c:pt idx="3379">
                  <c:v>All Others</c:v>
                </c:pt>
                <c:pt idx="3380">
                  <c:v>All Others</c:v>
                </c:pt>
                <c:pt idx="3381">
                  <c:v>All Others</c:v>
                </c:pt>
                <c:pt idx="3382">
                  <c:v>All Others</c:v>
                </c:pt>
                <c:pt idx="3383">
                  <c:v>Private Lab</c:v>
                </c:pt>
                <c:pt idx="3384">
                  <c:v>All Others</c:v>
                </c:pt>
                <c:pt idx="3385">
                  <c:v>All Others</c:v>
                </c:pt>
                <c:pt idx="3386">
                  <c:v>Private Lab</c:v>
                </c:pt>
                <c:pt idx="3387">
                  <c:v>All Others</c:v>
                </c:pt>
                <c:pt idx="3388">
                  <c:v>All Others</c:v>
                </c:pt>
                <c:pt idx="3389">
                  <c:v>All Others</c:v>
                </c:pt>
                <c:pt idx="3390">
                  <c:v>All Others</c:v>
                </c:pt>
                <c:pt idx="3391">
                  <c:v>All Others</c:v>
                </c:pt>
                <c:pt idx="3392">
                  <c:v>All Others</c:v>
                </c:pt>
                <c:pt idx="3393">
                  <c:v>All Others</c:v>
                </c:pt>
                <c:pt idx="3394">
                  <c:v>All Others</c:v>
                </c:pt>
                <c:pt idx="3395">
                  <c:v>All Others</c:v>
                </c:pt>
                <c:pt idx="3396">
                  <c:v>All Others</c:v>
                </c:pt>
                <c:pt idx="3397">
                  <c:v>All Others</c:v>
                </c:pt>
                <c:pt idx="3398">
                  <c:v>All Others</c:v>
                </c:pt>
                <c:pt idx="3399">
                  <c:v>All Others</c:v>
                </c:pt>
                <c:pt idx="3400">
                  <c:v>All Others</c:v>
                </c:pt>
                <c:pt idx="3401">
                  <c:v>Private Lab</c:v>
                </c:pt>
                <c:pt idx="3402">
                  <c:v>Private Lab</c:v>
                </c:pt>
                <c:pt idx="3403">
                  <c:v>All Others</c:v>
                </c:pt>
                <c:pt idx="3404">
                  <c:v>All Others</c:v>
                </c:pt>
                <c:pt idx="3405">
                  <c:v>Private Lab</c:v>
                </c:pt>
                <c:pt idx="3406">
                  <c:v>All Others</c:v>
                </c:pt>
                <c:pt idx="3407">
                  <c:v>All Others</c:v>
                </c:pt>
                <c:pt idx="3408">
                  <c:v>All Others</c:v>
                </c:pt>
                <c:pt idx="3409">
                  <c:v>All Others</c:v>
                </c:pt>
                <c:pt idx="3410">
                  <c:v>Private Lab</c:v>
                </c:pt>
                <c:pt idx="3411">
                  <c:v>All Others</c:v>
                </c:pt>
                <c:pt idx="3412">
                  <c:v>All Others</c:v>
                </c:pt>
                <c:pt idx="3413">
                  <c:v>All Others</c:v>
                </c:pt>
                <c:pt idx="3414">
                  <c:v>Private Lab</c:v>
                </c:pt>
                <c:pt idx="3415">
                  <c:v>All Others</c:v>
                </c:pt>
                <c:pt idx="3416">
                  <c:v>All Others</c:v>
                </c:pt>
                <c:pt idx="3417">
                  <c:v>All Others</c:v>
                </c:pt>
                <c:pt idx="3418">
                  <c:v>All Others</c:v>
                </c:pt>
                <c:pt idx="3419">
                  <c:v>All Others</c:v>
                </c:pt>
                <c:pt idx="3420">
                  <c:v>All Others</c:v>
                </c:pt>
                <c:pt idx="3421">
                  <c:v>All Others</c:v>
                </c:pt>
                <c:pt idx="3422">
                  <c:v>Milleret: A</c:v>
                </c:pt>
                <c:pt idx="3423">
                  <c:v>All Others</c:v>
                </c:pt>
                <c:pt idx="3424">
                  <c:v>All Others</c:v>
                </c:pt>
                <c:pt idx="3425">
                  <c:v>All Others</c:v>
                </c:pt>
                <c:pt idx="3426">
                  <c:v>All Others</c:v>
                </c:pt>
                <c:pt idx="3427">
                  <c:v>All Others</c:v>
                </c:pt>
                <c:pt idx="3428">
                  <c:v>All Others</c:v>
                </c:pt>
                <c:pt idx="3429">
                  <c:v>All Others</c:v>
                </c:pt>
                <c:pt idx="3430">
                  <c:v>All Others</c:v>
                </c:pt>
                <c:pt idx="3431">
                  <c:v>All Others</c:v>
                </c:pt>
                <c:pt idx="3432">
                  <c:v>All Others</c:v>
                </c:pt>
                <c:pt idx="3433">
                  <c:v>Private Lab</c:v>
                </c:pt>
                <c:pt idx="3434">
                  <c:v>All Others</c:v>
                </c:pt>
                <c:pt idx="3435">
                  <c:v>Private Lab</c:v>
                </c:pt>
                <c:pt idx="3436">
                  <c:v>All Others</c:v>
                </c:pt>
                <c:pt idx="3437">
                  <c:v>All Others</c:v>
                </c:pt>
                <c:pt idx="3438">
                  <c:v>Private Lab</c:v>
                </c:pt>
                <c:pt idx="3439">
                  <c:v>All Others</c:v>
                </c:pt>
                <c:pt idx="3440">
                  <c:v>All Others</c:v>
                </c:pt>
                <c:pt idx="3441">
                  <c:v>Nurishh</c:v>
                </c:pt>
                <c:pt idx="3442">
                  <c:v>All Others</c:v>
                </c:pt>
                <c:pt idx="3443">
                  <c:v>All Others</c:v>
                </c:pt>
                <c:pt idx="3444">
                  <c:v>All Others</c:v>
                </c:pt>
                <c:pt idx="3445">
                  <c:v>All Others</c:v>
                </c:pt>
                <c:pt idx="3446">
                  <c:v>All Others</c:v>
                </c:pt>
                <c:pt idx="3447">
                  <c:v>All Others</c:v>
                </c:pt>
                <c:pt idx="3448">
                  <c:v>All Others</c:v>
                </c:pt>
                <c:pt idx="3449">
                  <c:v>All Others</c:v>
                </c:pt>
                <c:pt idx="3450">
                  <c:v>All Others</c:v>
                </c:pt>
                <c:pt idx="3451">
                  <c:v>All Others</c:v>
                </c:pt>
                <c:pt idx="3452">
                  <c:v>All Others</c:v>
                </c:pt>
                <c:pt idx="3453">
                  <c:v>Nurishh</c:v>
                </c:pt>
                <c:pt idx="3454">
                  <c:v>All Others</c:v>
                </c:pt>
                <c:pt idx="3455">
                  <c:v>All Others</c:v>
                </c:pt>
                <c:pt idx="3456">
                  <c:v>All Others</c:v>
                </c:pt>
                <c:pt idx="3457">
                  <c:v>All Others</c:v>
                </c:pt>
                <c:pt idx="3458">
                  <c:v>All Others</c:v>
                </c:pt>
                <c:pt idx="3459">
                  <c:v>All Others</c:v>
                </c:pt>
                <c:pt idx="3460">
                  <c:v>All Others</c:v>
                </c:pt>
                <c:pt idx="3461">
                  <c:v>All Others</c:v>
                </c:pt>
                <c:pt idx="3462">
                  <c:v>All Others</c:v>
                </c:pt>
                <c:pt idx="3463">
                  <c:v>All Others</c:v>
                </c:pt>
                <c:pt idx="3464">
                  <c:v>All Others</c:v>
                </c:pt>
                <c:pt idx="3465">
                  <c:v>All Others</c:v>
                </c:pt>
                <c:pt idx="3466">
                  <c:v>All Others</c:v>
                </c:pt>
                <c:pt idx="3467">
                  <c:v>All Others</c:v>
                </c:pt>
                <c:pt idx="3468">
                  <c:v>All Others</c:v>
                </c:pt>
                <c:pt idx="3469">
                  <c:v>Private Lab</c:v>
                </c:pt>
                <c:pt idx="3470">
                  <c:v>All Others</c:v>
                </c:pt>
                <c:pt idx="3471">
                  <c:v>All Others</c:v>
                </c:pt>
                <c:pt idx="3472">
                  <c:v>All Others</c:v>
                </c:pt>
                <c:pt idx="3473">
                  <c:v>All Others</c:v>
                </c:pt>
                <c:pt idx="3474">
                  <c:v>All Others</c:v>
                </c:pt>
                <c:pt idx="3475">
                  <c:v>All Others</c:v>
                </c:pt>
                <c:pt idx="3476">
                  <c:v>All Others</c:v>
                </c:pt>
                <c:pt idx="3477">
                  <c:v>All Others</c:v>
                </c:pt>
                <c:pt idx="3478">
                  <c:v>Private Lab</c:v>
                </c:pt>
                <c:pt idx="3479">
                  <c:v>All Others</c:v>
                </c:pt>
                <c:pt idx="3480">
                  <c:v>All Others</c:v>
                </c:pt>
                <c:pt idx="3481">
                  <c:v>Private Lab</c:v>
                </c:pt>
                <c:pt idx="3482">
                  <c:v>All Others</c:v>
                </c:pt>
                <c:pt idx="3483">
                  <c:v>All Others</c:v>
                </c:pt>
                <c:pt idx="3484">
                  <c:v>All Others</c:v>
                </c:pt>
                <c:pt idx="3485">
                  <c:v>All Others</c:v>
                </c:pt>
                <c:pt idx="3486">
                  <c:v>All Others</c:v>
                </c:pt>
                <c:pt idx="3487">
                  <c:v>All Others</c:v>
                </c:pt>
                <c:pt idx="3488">
                  <c:v>All Others</c:v>
                </c:pt>
                <c:pt idx="3489">
                  <c:v>Private Lab</c:v>
                </c:pt>
                <c:pt idx="3490">
                  <c:v>All Others</c:v>
                </c:pt>
                <c:pt idx="3491">
                  <c:v>All Others</c:v>
                </c:pt>
                <c:pt idx="3492">
                  <c:v>All Others</c:v>
                </c:pt>
                <c:pt idx="3493">
                  <c:v>All Others</c:v>
                </c:pt>
                <c:pt idx="3494">
                  <c:v>Lactalis: A</c:v>
                </c:pt>
                <c:pt idx="3495">
                  <c:v>Boursin</c:v>
                </c:pt>
                <c:pt idx="3496">
                  <c:v>All Others</c:v>
                </c:pt>
                <c:pt idx="3497">
                  <c:v>Private Lab</c:v>
                </c:pt>
                <c:pt idx="3498">
                  <c:v>All Others</c:v>
                </c:pt>
                <c:pt idx="3499">
                  <c:v>All Others</c:v>
                </c:pt>
                <c:pt idx="3500">
                  <c:v>All Others</c:v>
                </c:pt>
                <c:pt idx="3501">
                  <c:v>All Others</c:v>
                </c:pt>
                <c:pt idx="3502">
                  <c:v>Private Lab</c:v>
                </c:pt>
                <c:pt idx="3503">
                  <c:v>All Others</c:v>
                </c:pt>
                <c:pt idx="3504">
                  <c:v>All Others</c:v>
                </c:pt>
                <c:pt idx="3505">
                  <c:v>All Others</c:v>
                </c:pt>
                <c:pt idx="3506">
                  <c:v>All Others</c:v>
                </c:pt>
                <c:pt idx="3507">
                  <c:v>All Others</c:v>
                </c:pt>
                <c:pt idx="3508">
                  <c:v>Bresse Bleu</c:v>
                </c:pt>
                <c:pt idx="3509">
                  <c:v>All Others</c:v>
                </c:pt>
                <c:pt idx="3510">
                  <c:v>All Others</c:v>
                </c:pt>
                <c:pt idx="3511">
                  <c:v>Casa Azzurr</c:v>
                </c:pt>
                <c:pt idx="3512">
                  <c:v>All Others</c:v>
                </c:pt>
                <c:pt idx="3513">
                  <c:v>All Others</c:v>
                </c:pt>
                <c:pt idx="3514">
                  <c:v>All Others</c:v>
                </c:pt>
                <c:pt idx="3515">
                  <c:v>All Others</c:v>
                </c:pt>
                <c:pt idx="3516">
                  <c:v>All Others</c:v>
                </c:pt>
                <c:pt idx="3517">
                  <c:v>All Others</c:v>
                </c:pt>
                <c:pt idx="3518">
                  <c:v>All Others</c:v>
                </c:pt>
                <c:pt idx="3519">
                  <c:v>All Others</c:v>
                </c:pt>
                <c:pt idx="3520">
                  <c:v>All Others</c:v>
                </c:pt>
                <c:pt idx="3521">
                  <c:v>All Others</c:v>
                </c:pt>
                <c:pt idx="3522">
                  <c:v>All Others</c:v>
                </c:pt>
                <c:pt idx="3523">
                  <c:v>All Others</c:v>
                </c:pt>
                <c:pt idx="3524">
                  <c:v>All Others</c:v>
                </c:pt>
                <c:pt idx="3525">
                  <c:v>All Others</c:v>
                </c:pt>
                <c:pt idx="3526">
                  <c:v>All Others</c:v>
                </c:pt>
                <c:pt idx="3527">
                  <c:v>Ficello</c:v>
                </c:pt>
                <c:pt idx="3528">
                  <c:v>Mini Babybe</c:v>
                </c:pt>
                <c:pt idx="3529">
                  <c:v>Private Lab</c:v>
                </c:pt>
                <c:pt idx="3530">
                  <c:v>All Others</c:v>
                </c:pt>
                <c:pt idx="3531">
                  <c:v>All Others</c:v>
                </c:pt>
                <c:pt idx="3532">
                  <c:v>All Others</c:v>
                </c:pt>
                <c:pt idx="3533">
                  <c:v>All Others</c:v>
                </c:pt>
                <c:pt idx="3534">
                  <c:v>Savencia: A</c:v>
                </c:pt>
                <c:pt idx="3535">
                  <c:v>All Others</c:v>
                </c:pt>
                <c:pt idx="3536">
                  <c:v>All Others</c:v>
                </c:pt>
                <c:pt idx="3537">
                  <c:v>Savencia: A</c:v>
                </c:pt>
                <c:pt idx="3538">
                  <c:v>All Others</c:v>
                </c:pt>
                <c:pt idx="3539">
                  <c:v>All Others</c:v>
                </c:pt>
                <c:pt idx="3540">
                  <c:v>All Others</c:v>
                </c:pt>
                <c:pt idx="3541">
                  <c:v>All Others</c:v>
                </c:pt>
                <c:pt idx="3542">
                  <c:v>Private Lab</c:v>
                </c:pt>
                <c:pt idx="3543">
                  <c:v>All Others</c:v>
                </c:pt>
                <c:pt idx="3544">
                  <c:v>All Others</c:v>
                </c:pt>
                <c:pt idx="3545">
                  <c:v>Private Lab</c:v>
                </c:pt>
              </c:strCache>
            </c:strRef>
          </c:cat>
          <c:val>
            <c:numRef>
              <c:f>Sheet1!$C$2:$C$3547</c:f>
              <c:numCache>
                <c:formatCode>General</c:formatCode>
                <c:ptCount val="3546"/>
                <c:pt idx="0">
                  <c:v>0.03221855885422548</c:v>
                </c:pt>
                <c:pt idx="1">
                  <c:v>0.05916321443847476</c:v>
                </c:pt>
                <c:pt idx="2">
                  <c:v>0.07127063471105889</c:v>
                </c:pt>
                <c:pt idx="3">
                  <c:v>0.0830885972864133</c:v>
                </c:pt>
                <c:pt idx="4">
                  <c:v>0.09396720084019888</c:v>
                </c:pt>
                <c:pt idx="5">
                  <c:v>0.1036328428110358</c:v>
                </c:pt>
                <c:pt idx="6">
                  <c:v>0.11288889227523775</c:v>
                </c:pt>
                <c:pt idx="7">
                  <c:v>0.12193368256852677</c:v>
                </c:pt>
                <c:pt idx="8">
                  <c:v>0.13095098708755368</c:v>
                </c:pt>
                <c:pt idx="9">
                  <c:v>0.13990721156379124</c:v>
                </c:pt>
                <c:pt idx="10">
                  <c:v>0.1486819500621529</c:v>
                </c:pt>
                <c:pt idx="11">
                  <c:v>0.15701744617402894</c:v>
                </c:pt>
                <c:pt idx="12">
                  <c:v>0.16510712847356965</c:v>
                </c:pt>
                <c:pt idx="13">
                  <c:v>0.1729053678152445</c:v>
                </c:pt>
                <c:pt idx="14">
                  <c:v>0.1805253804037242</c:v>
                </c:pt>
                <c:pt idx="15">
                  <c:v>0.19505817995755587</c:v>
                </c:pt>
                <c:pt idx="16">
                  <c:v>0.20832704058385187</c:v>
                </c:pt>
                <c:pt idx="17">
                  <c:v>0.21455661941489113</c:v>
                </c:pt>
                <c:pt idx="18">
                  <c:v>0.22074925328863715</c:v>
                </c:pt>
                <c:pt idx="19">
                  <c:v>0.22668914494558995</c:v>
                </c:pt>
                <c:pt idx="20">
                  <c:v>0.23261407160823686</c:v>
                </c:pt>
                <c:pt idx="21">
                  <c:v>0.238443183925076</c:v>
                </c:pt>
                <c:pt idx="22">
                  <c:v>0.2442155566599572</c:v>
                </c:pt>
                <c:pt idx="23">
                  <c:v>0.24990411236042753</c:v>
                </c:pt>
                <c:pt idx="24">
                  <c:v>0.25524457535187206</c:v>
                </c:pt>
                <c:pt idx="25">
                  <c:v>0.26043391599181387</c:v>
                </c:pt>
                <c:pt idx="26">
                  <c:v>0.26561443606403407</c:v>
                </c:pt>
                <c:pt idx="27">
                  <c:v>0.2707858415768301</c:v>
                </c:pt>
                <c:pt idx="28">
                  <c:v>0.27553407379961836</c:v>
                </c:pt>
                <c:pt idx="29">
                  <c:v>0.28453113209005965</c:v>
                </c:pt>
                <c:pt idx="30">
                  <c:v>0.2889773009047256</c:v>
                </c:pt>
                <c:pt idx="31">
                  <c:v>0.2934152657176019</c:v>
                </c:pt>
                <c:pt idx="32">
                  <c:v>0.2976271035458499</c:v>
                </c:pt>
                <c:pt idx="33">
                  <c:v>0.31015308878850356</c:v>
                </c:pt>
                <c:pt idx="34">
                  <c:v>0.3142662997503223</c:v>
                </c:pt>
                <c:pt idx="35">
                  <c:v>0.3182861095482254</c:v>
                </c:pt>
                <c:pt idx="36">
                  <c:v>0.3261624004203657</c:v>
                </c:pt>
                <c:pt idx="37">
                  <c:v>0.33001956094209334</c:v>
                </c:pt>
                <c:pt idx="38">
                  <c:v>0.3338343703257744</c:v>
                </c:pt>
                <c:pt idx="39">
                  <c:v>0.34136764392897684</c:v>
                </c:pt>
                <c:pt idx="40">
                  <c:v>0.3450957559762052</c:v>
                </c:pt>
                <c:pt idx="41">
                  <c:v>0.35233560462748004</c:v>
                </c:pt>
                <c:pt idx="42">
                  <c:v>0.3593808830368262</c:v>
                </c:pt>
                <c:pt idx="43">
                  <c:v>0.3628388738744196</c:v>
                </c:pt>
                <c:pt idx="44">
                  <c:v>0.36622999139939527</c:v>
                </c:pt>
                <c:pt idx="45">
                  <c:v>0.3696196128332621</c:v>
                </c:pt>
                <c:pt idx="46">
                  <c:v>0.37296830653890917</c:v>
                </c:pt>
                <c:pt idx="47">
                  <c:v>0.37626131004964786</c:v>
                </c:pt>
                <c:pt idx="48">
                  <c:v>0.37945261693059595</c:v>
                </c:pt>
                <c:pt idx="49">
                  <c:v>0.38889060642652556</c:v>
                </c:pt>
                <c:pt idx="50">
                  <c:v>0.39192863910003656</c:v>
                </c:pt>
                <c:pt idx="51">
                  <c:v>0.39494431778778305</c:v>
                </c:pt>
                <c:pt idx="52">
                  <c:v>0.39795675276707754</c:v>
                </c:pt>
                <c:pt idx="53">
                  <c:v>0.403858884456406</c:v>
                </c:pt>
                <c:pt idx="54">
                  <c:v>0.40676816999691284</c:v>
                </c:pt>
                <c:pt idx="55">
                  <c:v>0.4096575808816804</c:v>
                </c:pt>
                <c:pt idx="56">
                  <c:v>0.4124723489064454</c:v>
                </c:pt>
                <c:pt idx="57">
                  <c:v>0.41527608570921404</c:v>
                </c:pt>
                <c:pt idx="58">
                  <c:v>0.418051653207012</c:v>
                </c:pt>
                <c:pt idx="59">
                  <c:v>0.4207650055273911</c:v>
                </c:pt>
                <c:pt idx="60">
                  <c:v>0.42347074999582185</c:v>
                </c:pt>
                <c:pt idx="61">
                  <c:v>0.42617259417433145</c:v>
                </c:pt>
                <c:pt idx="62">
                  <c:v>0.42885264376795507</c:v>
                </c:pt>
                <c:pt idx="63">
                  <c:v>0.43152372661464944</c:v>
                </c:pt>
                <c:pt idx="64">
                  <c:v>0.4341418852383707</c:v>
                </c:pt>
                <c:pt idx="65">
                  <c:v>0.4367384705876266</c:v>
                </c:pt>
                <c:pt idx="66">
                  <c:v>0.43933441732157297</c:v>
                </c:pt>
                <c:pt idx="67">
                  <c:v>0.4419148176109572</c:v>
                </c:pt>
                <c:pt idx="68">
                  <c:v>0.4444927385703161</c:v>
                </c:pt>
                <c:pt idx="69">
                  <c:v>0.4496108744198885</c:v>
                </c:pt>
                <c:pt idx="70">
                  <c:v>0.45215470785797474</c:v>
                </c:pt>
                <c:pt idx="71">
                  <c:v>0.4546835052537603</c:v>
                </c:pt>
                <c:pt idx="72">
                  <c:v>0.4571874407512294</c:v>
                </c:pt>
                <c:pt idx="73">
                  <c:v>0.45968321389573336</c:v>
                </c:pt>
                <c:pt idx="74">
                  <c:v>0.46217857545185365</c:v>
                </c:pt>
                <c:pt idx="75">
                  <c:v>0.464661742885465</c:v>
                </c:pt>
                <c:pt idx="76">
                  <c:v>0.46713310491892984</c:v>
                </c:pt>
                <c:pt idx="77">
                  <c:v>0.469599348230195</c:v>
                </c:pt>
                <c:pt idx="78">
                  <c:v>0.4720547448809215</c:v>
                </c:pt>
                <c:pt idx="79">
                  <c:v>0.474487867576958</c:v>
                </c:pt>
                <c:pt idx="80">
                  <c:v>0.47689743990432915</c:v>
                </c:pt>
                <c:pt idx="81">
                  <c:v>0.47928530502768146</c:v>
                </c:pt>
                <c:pt idx="82">
                  <c:v>0.48401764781558787</c:v>
                </c:pt>
                <c:pt idx="83">
                  <c:v>0.48872653659877585</c:v>
                </c:pt>
                <c:pt idx="84">
                  <c:v>0.4933504936290139</c:v>
                </c:pt>
                <c:pt idx="85">
                  <c:v>0.4956170561425868</c:v>
                </c:pt>
                <c:pt idx="86">
                  <c:v>0.497878155310353</c:v>
                </c:pt>
                <c:pt idx="87">
                  <c:v>0.5000998693896944</c:v>
                </c:pt>
                <c:pt idx="88">
                  <c:v>0.5023199338489268</c:v>
                </c:pt>
                <c:pt idx="89">
                  <c:v>0.5045202461489627</c:v>
                </c:pt>
                <c:pt idx="90">
                  <c:v>0.506713055944077</c:v>
                </c:pt>
                <c:pt idx="91">
                  <c:v>0.5088975220913429</c:v>
                </c:pt>
                <c:pt idx="92">
                  <c:v>0.511076238250892</c:v>
                </c:pt>
                <c:pt idx="93">
                  <c:v>0.5132354309114577</c:v>
                </c:pt>
                <c:pt idx="94">
                  <c:v>0.5153935962343517</c:v>
                </c:pt>
                <c:pt idx="95">
                  <c:v>0.5175416188435059</c:v>
                </c:pt>
                <c:pt idx="96">
                  <c:v>0.5217728152087264</c:v>
                </c:pt>
                <c:pt idx="97">
                  <c:v>0.5238738857096884</c:v>
                </c:pt>
                <c:pt idx="98">
                  <c:v>0.5259251825987568</c:v>
                </c:pt>
                <c:pt idx="99">
                  <c:v>0.5279616655725886</c:v>
                </c:pt>
                <c:pt idx="100">
                  <c:v>0.5299970599604773</c:v>
                </c:pt>
                <c:pt idx="101">
                  <c:v>0.5320117687655137</c:v>
                </c:pt>
                <c:pt idx="102">
                  <c:v>0.5359404052032921</c:v>
                </c:pt>
                <c:pt idx="103">
                  <c:v>0.5378984814066846</c:v>
                </c:pt>
                <c:pt idx="104">
                  <c:v>0.5398479869353027</c:v>
                </c:pt>
                <c:pt idx="105">
                  <c:v>0.5417858275264765</c:v>
                </c:pt>
                <c:pt idx="106">
                  <c:v>0.5437197514948569</c:v>
                </c:pt>
                <c:pt idx="107">
                  <c:v>0.5475670330787336</c:v>
                </c:pt>
                <c:pt idx="108">
                  <c:v>0.5494696608137287</c:v>
                </c:pt>
                <c:pt idx="109">
                  <c:v>0.5513614533211958</c:v>
                </c:pt>
                <c:pt idx="110">
                  <c:v>0.5532151069383997</c:v>
                </c:pt>
                <c:pt idx="111">
                  <c:v>0.5550411351352827</c:v>
                </c:pt>
                <c:pt idx="112">
                  <c:v>0.5568652099206307</c:v>
                </c:pt>
                <c:pt idx="113">
                  <c:v>0.5604422020662871</c:v>
                </c:pt>
                <c:pt idx="114">
                  <c:v>0.5622190070690753</c:v>
                </c:pt>
                <c:pt idx="115">
                  <c:v>0.5639769631205089</c:v>
                </c:pt>
                <c:pt idx="116">
                  <c:v>0.565728952773667</c:v>
                </c:pt>
                <c:pt idx="117">
                  <c:v>0.5674765921662701</c:v>
                </c:pt>
                <c:pt idx="118">
                  <c:v>0.5692204072168087</c:v>
                </c:pt>
                <c:pt idx="119">
                  <c:v>0.570962267222525</c:v>
                </c:pt>
                <c:pt idx="120">
                  <c:v>0.5726856972150628</c:v>
                </c:pt>
                <c:pt idx="121">
                  <c:v>0.5743912296460613</c:v>
                </c:pt>
                <c:pt idx="122">
                  <c:v>0.5760948813468068</c:v>
                </c:pt>
                <c:pt idx="123">
                  <c:v>0.5777980397948067</c:v>
                </c:pt>
                <c:pt idx="124">
                  <c:v>0.5795002068374541</c:v>
                </c:pt>
                <c:pt idx="125">
                  <c:v>0.5811903822852099</c:v>
                </c:pt>
                <c:pt idx="126">
                  <c:v>0.582852816349251</c:v>
                </c:pt>
                <c:pt idx="127">
                  <c:v>0.5845150037869195</c:v>
                </c:pt>
                <c:pt idx="128">
                  <c:v>0.5861669660298428</c:v>
                </c:pt>
                <c:pt idx="129">
                  <c:v>0.5878137197197684</c:v>
                </c:pt>
                <c:pt idx="130">
                  <c:v>0.591084672219525</c:v>
                </c:pt>
                <c:pt idx="131">
                  <c:v>0.5927129477142986</c:v>
                </c:pt>
                <c:pt idx="132">
                  <c:v>0.5943372241052733</c:v>
                </c:pt>
                <c:pt idx="133">
                  <c:v>0.595946852359666</c:v>
                </c:pt>
                <c:pt idx="134">
                  <c:v>0.5975417785789979</c:v>
                </c:pt>
                <c:pt idx="135">
                  <c:v>0.5991360759827438</c:v>
                </c:pt>
                <c:pt idx="136">
                  <c:v>0.6007279708209644</c:v>
                </c:pt>
                <c:pt idx="137">
                  <c:v>0.6023110981732986</c:v>
                </c:pt>
                <c:pt idx="138">
                  <c:v>0.603884611996958</c:v>
                </c:pt>
                <c:pt idx="139">
                  <c:v>0.6054572863109776</c:v>
                </c:pt>
                <c:pt idx="140">
                  <c:v>0.6070260105198154</c:v>
                </c:pt>
                <c:pt idx="141">
                  <c:v>0.6085788232443937</c:v>
                </c:pt>
                <c:pt idx="142">
                  <c:v>0.6101251150696796</c:v>
                </c:pt>
                <c:pt idx="143">
                  <c:v>0.611647362456911</c:v>
                </c:pt>
                <c:pt idx="144">
                  <c:v>0.6131672138117662</c:v>
                </c:pt>
                <c:pt idx="145">
                  <c:v>0.6146826283418431</c:v>
                </c:pt>
                <c:pt idx="146">
                  <c:v>0.6161968791547638</c:v>
                </c:pt>
                <c:pt idx="147">
                  <c:v>0.6177016217860364</c:v>
                </c:pt>
                <c:pt idx="148">
                  <c:v>0.6192036417274854</c:v>
                </c:pt>
                <c:pt idx="149">
                  <c:v>0.6206847384427893</c:v>
                </c:pt>
                <c:pt idx="150">
                  <c:v>0.6221615118467776</c:v>
                </c:pt>
                <c:pt idx="151">
                  <c:v>0.623625138921798</c:v>
                </c:pt>
                <c:pt idx="152">
                  <c:v>0.6250867799195388</c:v>
                </c:pt>
                <c:pt idx="153">
                  <c:v>0.6265441776370386</c:v>
                </c:pt>
                <c:pt idx="154">
                  <c:v>0.6279986999523584</c:v>
                </c:pt>
                <c:pt idx="155">
                  <c:v>0.6294508654341956</c:v>
                </c:pt>
                <c:pt idx="156">
                  <c:v>0.6308869887687943</c:v>
                </c:pt>
                <c:pt idx="157">
                  <c:v>0.6323212983379168</c:v>
                </c:pt>
                <c:pt idx="158">
                  <c:v>0.633754525854245</c:v>
                </c:pt>
                <c:pt idx="159">
                  <c:v>0.6351862050142728</c:v>
                </c:pt>
                <c:pt idx="160">
                  <c:v>0.6366143007421033</c:v>
                </c:pt>
                <c:pt idx="161">
                  <c:v>0.6380284343139914</c:v>
                </c:pt>
                <c:pt idx="162">
                  <c:v>0.6394416695778992</c:v>
                </c:pt>
                <c:pt idx="163">
                  <c:v>0.640852962046639</c:v>
                </c:pt>
                <c:pt idx="164">
                  <c:v>0.6422592125576793</c:v>
                </c:pt>
                <c:pt idx="165">
                  <c:v>0.6436271143010464</c:v>
                </c:pt>
                <c:pt idx="166">
                  <c:v>0.6449904118076933</c:v>
                </c:pt>
                <c:pt idx="167">
                  <c:v>0.6463453697497099</c:v>
                </c:pt>
                <c:pt idx="168">
                  <c:v>0.6490462355891647</c:v>
                </c:pt>
                <c:pt idx="169">
                  <c:v>0.6503920446727252</c:v>
                </c:pt>
                <c:pt idx="170">
                  <c:v>0.6530716728782417</c:v>
                </c:pt>
                <c:pt idx="171">
                  <c:v>0.6544033752599392</c:v>
                </c:pt>
                <c:pt idx="172">
                  <c:v>0.6557328555543511</c:v>
                </c:pt>
                <c:pt idx="173">
                  <c:v>0.6570578524752985</c:v>
                </c:pt>
                <c:pt idx="174">
                  <c:v>0.6583432340143206</c:v>
                </c:pt>
                <c:pt idx="175">
                  <c:v>0.6595944504509264</c:v>
                </c:pt>
                <c:pt idx="176">
                  <c:v>0.6608440760657636</c:v>
                </c:pt>
                <c:pt idx="177">
                  <c:v>0.6620909593913304</c:v>
                </c:pt>
                <c:pt idx="178">
                  <c:v>0.6645633822448556</c:v>
                </c:pt>
                <c:pt idx="179">
                  <c:v>0.6657870826913853</c:v>
                </c:pt>
                <c:pt idx="180">
                  <c:v>0.6670027073491733</c:v>
                </c:pt>
                <c:pt idx="181">
                  <c:v>0.6682144872488063</c:v>
                </c:pt>
                <c:pt idx="182">
                  <c:v>0.6694239772797335</c:v>
                </c:pt>
                <c:pt idx="183">
                  <c:v>0.6706266720191125</c:v>
                </c:pt>
                <c:pt idx="184">
                  <c:v>0.6718273218828713</c:v>
                </c:pt>
                <c:pt idx="185">
                  <c:v>0.6730227370610365</c:v>
                </c:pt>
                <c:pt idx="186">
                  <c:v>0.674216414421582</c:v>
                </c:pt>
                <c:pt idx="187">
                  <c:v>0.6777949165412888</c:v>
                </c:pt>
                <c:pt idx="188">
                  <c:v>0.6789761302869313</c:v>
                </c:pt>
                <c:pt idx="189">
                  <c:v>0.6801342183185899</c:v>
                </c:pt>
                <c:pt idx="190">
                  <c:v>0.6812905472998947</c:v>
                </c:pt>
                <c:pt idx="191">
                  <c:v>0.6824436358393219</c:v>
                </c:pt>
                <c:pt idx="192">
                  <c:v>0.6835954789972312</c:v>
                </c:pt>
                <c:pt idx="193">
                  <c:v>0.6847457476662443</c:v>
                </c:pt>
                <c:pt idx="194">
                  <c:v>0.6858932879289286</c:v>
                </c:pt>
                <c:pt idx="195">
                  <c:v>0.687039800853941</c:v>
                </c:pt>
                <c:pt idx="196">
                  <c:v>0.6881840533094179</c:v>
                </c:pt>
                <c:pt idx="197">
                  <c:v>0.6893056586040712</c:v>
                </c:pt>
                <c:pt idx="198">
                  <c:v>0.6904206303026129</c:v>
                </c:pt>
                <c:pt idx="199">
                  <c:v>0.6926394256976625</c:v>
                </c:pt>
                <c:pt idx="200">
                  <c:v>0.6937411604197946</c:v>
                </c:pt>
                <c:pt idx="201">
                  <c:v>0.6959238226013076</c:v>
                </c:pt>
                <c:pt idx="202">
                  <c:v>0.6970075462484375</c:v>
                </c:pt>
                <c:pt idx="203">
                  <c:v>0.6980830136285862</c:v>
                </c:pt>
                <c:pt idx="204">
                  <c:v>0.699158320129942</c:v>
                </c:pt>
                <c:pt idx="205">
                  <c:v>0.7002301019974411</c:v>
                </c:pt>
                <c:pt idx="206">
                  <c:v>0.7012998969710168</c:v>
                </c:pt>
                <c:pt idx="207">
                  <c:v>0.7023531753274118</c:v>
                </c:pt>
                <c:pt idx="208">
                  <c:v>0.7034022577688958</c:v>
                </c:pt>
                <c:pt idx="209">
                  <c:v>0.7044419618750668</c:v>
                </c:pt>
                <c:pt idx="210">
                  <c:v>0.7064933967769067</c:v>
                </c:pt>
                <c:pt idx="211">
                  <c:v>0.7075070450517914</c:v>
                </c:pt>
                <c:pt idx="212">
                  <c:v>0.7085170853951703</c:v>
                </c:pt>
                <c:pt idx="213">
                  <c:v>0.7095146751899442</c:v>
                </c:pt>
                <c:pt idx="214">
                  <c:v>0.7105067836727518</c:v>
                </c:pt>
                <c:pt idx="215">
                  <c:v>0.7114982772229148</c:v>
                </c:pt>
                <c:pt idx="216">
                  <c:v>0.7124880002897133</c:v>
                </c:pt>
                <c:pt idx="217">
                  <c:v>0.7134771713054258</c:v>
                </c:pt>
                <c:pt idx="218">
                  <c:v>0.7144658351854513</c:v>
                </c:pt>
                <c:pt idx="219">
                  <c:v>0.7154285346982756</c:v>
                </c:pt>
                <c:pt idx="220">
                  <c:v>0.7163911966454934</c:v>
                </c:pt>
                <c:pt idx="221">
                  <c:v>0.7173524049670706</c:v>
                </c:pt>
                <c:pt idx="222">
                  <c:v>0.7183101539862806</c:v>
                </c:pt>
                <c:pt idx="223">
                  <c:v>0.7192642885408359</c:v>
                </c:pt>
                <c:pt idx="224">
                  <c:v>0.7211549336640193</c:v>
                </c:pt>
                <c:pt idx="225">
                  <c:v>0.7220978793843598</c:v>
                </c:pt>
                <c:pt idx="226">
                  <c:v>0.723036950947375</c:v>
                </c:pt>
                <c:pt idx="227">
                  <c:v>0.7239655988712458</c:v>
                </c:pt>
                <c:pt idx="228">
                  <c:v>0.7248928029691994</c:v>
                </c:pt>
                <c:pt idx="229">
                  <c:v>0.7258172002630369</c:v>
                </c:pt>
                <c:pt idx="230">
                  <c:v>0.7267413452139962</c:v>
                </c:pt>
                <c:pt idx="231">
                  <c:v>0.7276635269536972</c:v>
                </c:pt>
                <c:pt idx="232">
                  <c:v>0.7285823980201693</c:v>
                </c:pt>
                <c:pt idx="233">
                  <c:v>0.7294962516282505</c:v>
                </c:pt>
                <c:pt idx="234">
                  <c:v>0.7304048182855466</c:v>
                </c:pt>
                <c:pt idx="235">
                  <c:v>0.7313103045631143</c:v>
                </c:pt>
                <c:pt idx="236">
                  <c:v>0.7322139991245834</c:v>
                </c:pt>
                <c:pt idx="237">
                  <c:v>0.7331062794581992</c:v>
                </c:pt>
                <c:pt idx="238">
                  <c:v>0.7339924202650923</c:v>
                </c:pt>
                <c:pt idx="239">
                  <c:v>0.7357554599230499</c:v>
                </c:pt>
                <c:pt idx="240">
                  <c:v>0.7366278378350434</c:v>
                </c:pt>
                <c:pt idx="241">
                  <c:v>0.7374998988893129</c:v>
                </c:pt>
                <c:pt idx="242">
                  <c:v>0.7383713735934645</c:v>
                </c:pt>
                <c:pt idx="243">
                  <c:v>0.7392417425621568</c:v>
                </c:pt>
                <c:pt idx="244">
                  <c:v>0.7401111462580923</c:v>
                </c:pt>
                <c:pt idx="245">
                  <c:v>0.7409754941133867</c:v>
                </c:pt>
                <c:pt idx="246">
                  <c:v>0.7426868198142136</c:v>
                </c:pt>
                <c:pt idx="247">
                  <c:v>0.7435345293724281</c:v>
                </c:pt>
                <c:pt idx="248">
                  <c:v>0.7443796354707874</c:v>
                </c:pt>
                <c:pt idx="249">
                  <c:v>0.745215833620558</c:v>
                </c:pt>
                <c:pt idx="250">
                  <c:v>0.7460485038698974</c:v>
                </c:pt>
                <c:pt idx="251">
                  <c:v>0.7468809781247684</c:v>
                </c:pt>
                <c:pt idx="252">
                  <c:v>0.7477116737298387</c:v>
                </c:pt>
                <c:pt idx="253">
                  <c:v>0.7485412946319072</c:v>
                </c:pt>
                <c:pt idx="254">
                  <c:v>0.7493693900436967</c:v>
                </c:pt>
                <c:pt idx="255">
                  <c:v>0.7501954626292436</c:v>
                </c:pt>
                <c:pt idx="256">
                  <c:v>0.7510158873075262</c:v>
                </c:pt>
                <c:pt idx="257">
                  <c:v>0.7518355165749245</c:v>
                </c:pt>
                <c:pt idx="258">
                  <c:v>0.7526548551171947</c:v>
                </c:pt>
                <c:pt idx="259">
                  <c:v>0.7542898793548302</c:v>
                </c:pt>
                <c:pt idx="260">
                  <c:v>0.7551050840471043</c:v>
                </c:pt>
                <c:pt idx="261">
                  <c:v>0.7559198485684682</c:v>
                </c:pt>
                <c:pt idx="262">
                  <c:v>0.7567336151513304</c:v>
                </c:pt>
                <c:pt idx="263">
                  <c:v>0.7575458358278232</c:v>
                </c:pt>
                <c:pt idx="264">
                  <c:v>0.7583554701939768</c:v>
                </c:pt>
                <c:pt idx="265">
                  <c:v>0.7591627428267861</c:v>
                </c:pt>
                <c:pt idx="266">
                  <c:v>0.7599691481840728</c:v>
                </c:pt>
                <c:pt idx="267">
                  <c:v>0.7607703400885001</c:v>
                </c:pt>
                <c:pt idx="268">
                  <c:v>0.7615681715044379</c:v>
                </c:pt>
                <c:pt idx="269">
                  <c:v>0.7623637383676221</c:v>
                </c:pt>
                <c:pt idx="270">
                  <c:v>0.763157253822037</c:v>
                </c:pt>
                <c:pt idx="271">
                  <c:v>0.7639488036152626</c:v>
                </c:pt>
                <c:pt idx="272">
                  <c:v>0.7647387258377569</c:v>
                </c:pt>
                <c:pt idx="273">
                  <c:v>0.7655255595140867</c:v>
                </c:pt>
                <c:pt idx="274">
                  <c:v>0.7670924887402515</c:v>
                </c:pt>
                <c:pt idx="275">
                  <c:v>0.767871042466935</c:v>
                </c:pt>
                <c:pt idx="276">
                  <c:v>0.7686480886694992</c:v>
                </c:pt>
                <c:pt idx="277">
                  <c:v>0.7694222839691917</c:v>
                </c:pt>
                <c:pt idx="278">
                  <c:v>0.7701951040410309</c:v>
                </c:pt>
                <c:pt idx="279">
                  <c:v>0.7709623529701058</c:v>
                </c:pt>
                <c:pt idx="280">
                  <c:v>0.771727842848827</c:v>
                </c:pt>
                <c:pt idx="281">
                  <c:v>0.7724920024150939</c:v>
                </c:pt>
                <c:pt idx="282">
                  <c:v>0.7732496467985737</c:v>
                </c:pt>
                <c:pt idx="283">
                  <c:v>0.7740047947025123</c:v>
                </c:pt>
                <c:pt idx="284">
                  <c:v>0.7747544139291548</c:v>
                </c:pt>
                <c:pt idx="285">
                  <c:v>0.775503886159946</c:v>
                </c:pt>
                <c:pt idx="286">
                  <c:v>0.7762509158096748</c:v>
                </c:pt>
                <c:pt idx="287">
                  <c:v>0.776992783455092</c:v>
                </c:pt>
                <c:pt idx="288">
                  <c:v>0.7777261898559799</c:v>
                </c:pt>
                <c:pt idx="289">
                  <c:v>0.7784569838139326</c:v>
                </c:pt>
                <c:pt idx="290">
                  <c:v>0.7799136637016919</c:v>
                </c:pt>
                <c:pt idx="291">
                  <c:v>0.7813665666127165</c:v>
                </c:pt>
                <c:pt idx="292">
                  <c:v>0.7820906061113021</c:v>
                </c:pt>
                <c:pt idx="293">
                  <c:v>0.7835307358994924</c:v>
                </c:pt>
                <c:pt idx="294">
                  <c:v>0.7842459842295266</c:v>
                </c:pt>
                <c:pt idx="295">
                  <c:v>0.7849600794587718</c:v>
                </c:pt>
                <c:pt idx="296">
                  <c:v>0.7856731979822494</c:v>
                </c:pt>
                <c:pt idx="297">
                  <c:v>0.7863843688106974</c:v>
                </c:pt>
                <c:pt idx="298">
                  <c:v>0.787093529062557</c:v>
                </c:pt>
                <c:pt idx="299">
                  <c:v>0.787802181362086</c:v>
                </c:pt>
                <c:pt idx="300">
                  <c:v>0.7885063070060386</c:v>
                </c:pt>
                <c:pt idx="301">
                  <c:v>0.7892046442800245</c:v>
                </c:pt>
                <c:pt idx="302">
                  <c:v>0.7899014111483322</c:v>
                </c:pt>
                <c:pt idx="303">
                  <c:v>0.7905966394600631</c:v>
                </c:pt>
                <c:pt idx="304">
                  <c:v>0.7912909163819786</c:v>
                </c:pt>
                <c:pt idx="305">
                  <c:v>0.7919847368001115</c:v>
                </c:pt>
                <c:pt idx="306">
                  <c:v>0.792678198711696</c:v>
                </c:pt>
                <c:pt idx="307">
                  <c:v>0.7933716442904081</c:v>
                </c:pt>
                <c:pt idx="308">
                  <c:v>0.7940644308377202</c:v>
                </c:pt>
                <c:pt idx="309">
                  <c:v>0.7947567412818027</c:v>
                </c:pt>
                <c:pt idx="310">
                  <c:v>0.7954466279276261</c:v>
                </c:pt>
                <c:pt idx="311">
                  <c:v>0.7961311925069888</c:v>
                </c:pt>
                <c:pt idx="312">
                  <c:v>0.7968147444482648</c:v>
                </c:pt>
                <c:pt idx="313">
                  <c:v>0.7974975532438482</c:v>
                </c:pt>
                <c:pt idx="314">
                  <c:v>0.7981694631137013</c:v>
                </c:pt>
                <c:pt idx="315">
                  <c:v>0.7988371542026221</c:v>
                </c:pt>
                <c:pt idx="316">
                  <c:v>0.7995037624221051</c:v>
                </c:pt>
                <c:pt idx="317">
                  <c:v>0.8001701370815132</c:v>
                </c:pt>
                <c:pt idx="318">
                  <c:v>0.8008343827510083</c:v>
                </c:pt>
                <c:pt idx="319">
                  <c:v>0.8014956893201209</c:v>
                </c:pt>
                <c:pt idx="320">
                  <c:v>0.8021555863623484</c:v>
                </c:pt>
                <c:pt idx="321">
                  <c:v>0.8028152090123201</c:v>
                </c:pt>
                <c:pt idx="322">
                  <c:v>0.8034741513981577</c:v>
                </c:pt>
                <c:pt idx="323">
                  <c:v>0.8041303825271825</c:v>
                </c:pt>
                <c:pt idx="324">
                  <c:v>0.8047848374563374</c:v>
                </c:pt>
                <c:pt idx="325">
                  <c:v>0.8054369657678238</c:v>
                </c:pt>
                <c:pt idx="326">
                  <c:v>0.8060795417989064</c:v>
                </c:pt>
                <c:pt idx="327">
                  <c:v>0.8067211844063333</c:v>
                </c:pt>
                <c:pt idx="328">
                  <c:v>0.8073623255945787</c:v>
                </c:pt>
                <c:pt idx="329">
                  <c:v>0.8080024827272638</c:v>
                </c:pt>
                <c:pt idx="330">
                  <c:v>0.8086367510428173</c:v>
                </c:pt>
                <c:pt idx="331">
                  <c:v>0.809270479556939</c:v>
                </c:pt>
                <c:pt idx="332">
                  <c:v>0.8098964148410109</c:v>
                </c:pt>
                <c:pt idx="333">
                  <c:v>0.8105214477338847</c:v>
                </c:pt>
                <c:pt idx="334">
                  <c:v>0.8111444047186807</c:v>
                </c:pt>
                <c:pt idx="335">
                  <c:v>0.8117617611615421</c:v>
                </c:pt>
                <c:pt idx="336">
                  <c:v>0.8123788775111798</c:v>
                </c:pt>
                <c:pt idx="337">
                  <c:v>0.8129945165525119</c:v>
                </c:pt>
                <c:pt idx="338">
                  <c:v>0.8136090710911188</c:v>
                </c:pt>
                <c:pt idx="339">
                  <c:v>0.8142226121749954</c:v>
                </c:pt>
                <c:pt idx="340">
                  <c:v>0.8148306041654855</c:v>
                </c:pt>
                <c:pt idx="341">
                  <c:v>0.8154385381742786</c:v>
                </c:pt>
                <c:pt idx="342">
                  <c:v>0.8160402379256894</c:v>
                </c:pt>
                <c:pt idx="343">
                  <c:v>0.8166386604862599</c:v>
                </c:pt>
                <c:pt idx="344">
                  <c:v>0.8172364297319357</c:v>
                </c:pt>
                <c:pt idx="345">
                  <c:v>0.817828987974683</c:v>
                </c:pt>
                <c:pt idx="346">
                  <c:v>0.8184197177523688</c:v>
                </c:pt>
                <c:pt idx="347">
                  <c:v>0.8190101200559636</c:v>
                </c:pt>
                <c:pt idx="348">
                  <c:v>0.8195989584870293</c:v>
                </c:pt>
                <c:pt idx="349">
                  <c:v>0.8201862126294756</c:v>
                </c:pt>
                <c:pt idx="350">
                  <c:v>0.8207732193289053</c:v>
                </c:pt>
                <c:pt idx="351">
                  <c:v>0.8213594183677967</c:v>
                </c:pt>
                <c:pt idx="352">
                  <c:v>0.8219414884565537</c:v>
                </c:pt>
                <c:pt idx="353">
                  <c:v>0.8225214066893765</c:v>
                </c:pt>
                <c:pt idx="354">
                  <c:v>0.823100437230586</c:v>
                </c:pt>
                <c:pt idx="355">
                  <c:v>0.8236782477062299</c:v>
                </c:pt>
                <c:pt idx="356">
                  <c:v>0.8242546413051959</c:v>
                </c:pt>
                <c:pt idx="357">
                  <c:v>0.8248264959989312</c:v>
                </c:pt>
                <c:pt idx="358">
                  <c:v>0.8253979725866712</c:v>
                </c:pt>
                <c:pt idx="359">
                  <c:v>0.8259674377811793</c:v>
                </c:pt>
                <c:pt idx="360">
                  <c:v>0.8265362741601013</c:v>
                </c:pt>
                <c:pt idx="361">
                  <c:v>0.8271040293028726</c:v>
                </c:pt>
                <c:pt idx="362">
                  <c:v>0.8276711719629303</c:v>
                </c:pt>
                <c:pt idx="363">
                  <c:v>0.8282380622801098</c:v>
                </c:pt>
                <c:pt idx="364">
                  <c:v>0.8288043000990383</c:v>
                </c:pt>
                <c:pt idx="365">
                  <c:v>0.8293671578300305</c:v>
                </c:pt>
                <c:pt idx="366">
                  <c:v>0.8299271344423372</c:v>
                </c:pt>
                <c:pt idx="367">
                  <c:v>0.830486869328133</c:v>
                </c:pt>
                <c:pt idx="368">
                  <c:v>0.8310454519297832</c:v>
                </c:pt>
                <c:pt idx="369">
                  <c:v>0.8316024322766543</c:v>
                </c:pt>
                <c:pt idx="370">
                  <c:v>0.8321583632364759</c:v>
                </c:pt>
                <c:pt idx="371">
                  <c:v>0.8332685494034141</c:v>
                </c:pt>
                <c:pt idx="372">
                  <c:v>0.833819624600281</c:v>
                </c:pt>
                <c:pt idx="373">
                  <c:v>0.834369033027523</c:v>
                </c:pt>
                <c:pt idx="374">
                  <c:v>0.8349177309748169</c:v>
                </c:pt>
                <c:pt idx="375">
                  <c:v>0.835464158652852</c:v>
                </c:pt>
                <c:pt idx="376">
                  <c:v>0.8360045995165211</c:v>
                </c:pt>
                <c:pt idx="377">
                  <c:v>0.8365410388264604</c:v>
                </c:pt>
                <c:pt idx="378">
                  <c:v>0.8370774413874368</c:v>
                </c:pt>
                <c:pt idx="379">
                  <c:v>0.8381455287592064</c:v>
                </c:pt>
                <c:pt idx="380">
                  <c:v>0.8386777084560325</c:v>
                </c:pt>
                <c:pt idx="381">
                  <c:v>0.8392074937537696</c:v>
                </c:pt>
                <c:pt idx="382">
                  <c:v>0.8397329255243774</c:v>
                </c:pt>
                <c:pt idx="383">
                  <c:v>0.8402583066630809</c:v>
                </c:pt>
                <c:pt idx="384">
                  <c:v>0.8407835612220235</c:v>
                </c:pt>
                <c:pt idx="385">
                  <c:v>0.8413071269619634</c:v>
                </c:pt>
                <c:pt idx="386">
                  <c:v>0.8418303619612378</c:v>
                </c:pt>
                <c:pt idx="387">
                  <c:v>0.8423525590064734</c:v>
                </c:pt>
                <c:pt idx="388">
                  <c:v>0.8428732313780736</c:v>
                </c:pt>
                <c:pt idx="389">
                  <c:v>0.8433899707940079</c:v>
                </c:pt>
                <c:pt idx="390">
                  <c:v>0.8439046375684388</c:v>
                </c:pt>
                <c:pt idx="391">
                  <c:v>0.844418749841853</c:v>
                </c:pt>
                <c:pt idx="392">
                  <c:v>0.8449314231892116</c:v>
                </c:pt>
                <c:pt idx="393">
                  <c:v>0.8454433787068296</c:v>
                </c:pt>
                <c:pt idx="394">
                  <c:v>0.8459504310961633</c:v>
                </c:pt>
                <c:pt idx="395">
                  <c:v>0.8464566447925009</c:v>
                </c:pt>
                <c:pt idx="396">
                  <c:v>0.8469618997492306</c:v>
                </c:pt>
                <c:pt idx="397">
                  <c:v>0.8474658693089051</c:v>
                </c:pt>
                <c:pt idx="398">
                  <c:v>0.8479671676273041</c:v>
                </c:pt>
                <c:pt idx="399">
                  <c:v>0.848464100985563</c:v>
                </c:pt>
                <c:pt idx="400">
                  <c:v>0.8489495343683886</c:v>
                </c:pt>
                <c:pt idx="401">
                  <c:v>0.8494344687819634</c:v>
                </c:pt>
                <c:pt idx="402">
                  <c:v>0.849918984257362</c:v>
                </c:pt>
                <c:pt idx="403">
                  <c:v>0.8504029231823661</c:v>
                </c:pt>
                <c:pt idx="404">
                  <c:v>0.8508833603395348</c:v>
                </c:pt>
                <c:pt idx="405">
                  <c:v>0.8513633630422985</c:v>
                </c:pt>
                <c:pt idx="406">
                  <c:v>0.8518409394968722</c:v>
                </c:pt>
                <c:pt idx="407">
                  <c:v>0.8523163624622243</c:v>
                </c:pt>
                <c:pt idx="408">
                  <c:v>0.8527917078464327</c:v>
                </c:pt>
                <c:pt idx="409">
                  <c:v>0.8532643754562166</c:v>
                </c:pt>
                <c:pt idx="410">
                  <c:v>0.853734793212832</c:v>
                </c:pt>
                <c:pt idx="411">
                  <c:v>0.8542001396125776</c:v>
                </c:pt>
                <c:pt idx="412">
                  <c:v>0.8546632598418196</c:v>
                </c:pt>
                <c:pt idx="413">
                  <c:v>0.8551247222845163</c:v>
                </c:pt>
                <c:pt idx="414">
                  <c:v>0.8555858915521541</c:v>
                </c:pt>
                <c:pt idx="415">
                  <c:v>0.8560436015174246</c:v>
                </c:pt>
                <c:pt idx="416">
                  <c:v>0.8564996300134851</c:v>
                </c:pt>
                <c:pt idx="417">
                  <c:v>0.8569548238997675</c:v>
                </c:pt>
                <c:pt idx="418">
                  <c:v>0.8574093383385596</c:v>
                </c:pt>
                <c:pt idx="419">
                  <c:v>0.8578638323612612</c:v>
                </c:pt>
                <c:pt idx="420">
                  <c:v>0.8583168123266943</c:v>
                </c:pt>
                <c:pt idx="421">
                  <c:v>0.8587694297023609</c:v>
                </c:pt>
                <c:pt idx="422">
                  <c:v>0.8592216142569099</c:v>
                </c:pt>
                <c:pt idx="423">
                  <c:v>0.859667161132129</c:v>
                </c:pt>
                <c:pt idx="424">
                  <c:v>0.8601114307767291</c:v>
                </c:pt>
                <c:pt idx="425">
                  <c:v>0.86055554035918</c:v>
                </c:pt>
                <c:pt idx="426">
                  <c:v>0.8609976246654575</c:v>
                </c:pt>
                <c:pt idx="427">
                  <c:v>0.8614368294863367</c:v>
                </c:pt>
                <c:pt idx="428">
                  <c:v>0.8618758856780774</c:v>
                </c:pt>
                <c:pt idx="429">
                  <c:v>0.8627431383347222</c:v>
                </c:pt>
                <c:pt idx="430">
                  <c:v>0.8631752367228347</c:v>
                </c:pt>
                <c:pt idx="431">
                  <c:v>0.8636040366873727</c:v>
                </c:pt>
                <c:pt idx="432">
                  <c:v>0.8640325483767135</c:v>
                </c:pt>
                <c:pt idx="433">
                  <c:v>0.8644571777422928</c:v>
                </c:pt>
                <c:pt idx="434">
                  <c:v>0.8648809479987856</c:v>
                </c:pt>
                <c:pt idx="435">
                  <c:v>0.8652997938942598</c:v>
                </c:pt>
                <c:pt idx="436">
                  <c:v>0.865716483033938</c:v>
                </c:pt>
                <c:pt idx="437">
                  <c:v>0.8661329198307381</c:v>
                </c:pt>
                <c:pt idx="438">
                  <c:v>0.866547048792673</c:v>
                </c:pt>
                <c:pt idx="439">
                  <c:v>0.8669606567359792</c:v>
                </c:pt>
                <c:pt idx="440">
                  <c:v>0.8673741160501469</c:v>
                </c:pt>
                <c:pt idx="441">
                  <c:v>0.8677853010118376</c:v>
                </c:pt>
                <c:pt idx="442">
                  <c:v>0.8681951948599678</c:v>
                </c:pt>
                <c:pt idx="443">
                  <c:v>0.8686016931039329</c:v>
                </c:pt>
                <c:pt idx="444">
                  <c:v>0.8690065662270975</c:v>
                </c:pt>
                <c:pt idx="445">
                  <c:v>0.8694103115654253</c:v>
                </c:pt>
                <c:pt idx="446">
                  <c:v>0.8698117400858077</c:v>
                </c:pt>
                <c:pt idx="447">
                  <c:v>0.870209809750988</c:v>
                </c:pt>
                <c:pt idx="448">
                  <c:v>0.8706070889051458</c:v>
                </c:pt>
                <c:pt idx="449">
                  <c:v>0.8710036845285951</c:v>
                </c:pt>
                <c:pt idx="450">
                  <c:v>0.8713996415367348</c:v>
                </c:pt>
                <c:pt idx="451">
                  <c:v>0.8717941677852552</c:v>
                </c:pt>
                <c:pt idx="452">
                  <c:v>0.8721871873262997</c:v>
                </c:pt>
                <c:pt idx="453">
                  <c:v>0.8725768929275411</c:v>
                </c:pt>
                <c:pt idx="454">
                  <c:v>0.8729647806800881</c:v>
                </c:pt>
                <c:pt idx="455">
                  <c:v>0.8733509020324887</c:v>
                </c:pt>
                <c:pt idx="456">
                  <c:v>0.8737358196521958</c:v>
                </c:pt>
                <c:pt idx="457">
                  <c:v>0.874119316312007</c:v>
                </c:pt>
                <c:pt idx="458">
                  <c:v>0.8744967142772766</c:v>
                </c:pt>
                <c:pt idx="459">
                  <c:v>0.8748733029487203</c:v>
                </c:pt>
                <c:pt idx="460">
                  <c:v>0.8752461481258177</c:v>
                </c:pt>
                <c:pt idx="461">
                  <c:v>0.875617919416557</c:v>
                </c:pt>
                <c:pt idx="462">
                  <c:v>0.8759895600443173</c:v>
                </c:pt>
                <c:pt idx="463">
                  <c:v>0.8763604330270763</c:v>
                </c:pt>
                <c:pt idx="464">
                  <c:v>0.8767310185512818</c:v>
                </c:pt>
                <c:pt idx="465">
                  <c:v>0.8770999242395643</c:v>
                </c:pt>
                <c:pt idx="466">
                  <c:v>0.8774684126229578</c:v>
                </c:pt>
                <c:pt idx="467">
                  <c:v>0.8778363473219781</c:v>
                </c:pt>
                <c:pt idx="468">
                  <c:v>0.8782042746712059</c:v>
                </c:pt>
                <c:pt idx="469">
                  <c:v>0.8785713518944269</c:v>
                </c:pt>
                <c:pt idx="470">
                  <c:v>0.8789380934771209</c:v>
                </c:pt>
                <c:pt idx="471">
                  <c:v>0.8793041204966489</c:v>
                </c:pt>
                <c:pt idx="472">
                  <c:v>0.8796697065286229</c:v>
                </c:pt>
                <c:pt idx="473">
                  <c:v>0.8800352117128787</c:v>
                </c:pt>
                <c:pt idx="474">
                  <c:v>0.880398529108881</c:v>
                </c:pt>
                <c:pt idx="475">
                  <c:v>0.8807613197697495</c:v>
                </c:pt>
                <c:pt idx="476">
                  <c:v>0.8811237200749684</c:v>
                </c:pt>
                <c:pt idx="477">
                  <c:v>0.881485434399548</c:v>
                </c:pt>
                <c:pt idx="478">
                  <c:v>0.881847004178207</c:v>
                </c:pt>
                <c:pt idx="479">
                  <c:v>0.8822055883077975</c:v>
                </c:pt>
                <c:pt idx="480">
                  <c:v>0.882563305978509</c:v>
                </c:pt>
                <c:pt idx="481">
                  <c:v>0.8829201539237669</c:v>
                </c:pt>
                <c:pt idx="482">
                  <c:v>0.8832765461818858</c:v>
                </c:pt>
                <c:pt idx="483">
                  <c:v>0.8836297551631804</c:v>
                </c:pt>
                <c:pt idx="484">
                  <c:v>0.8839810033831474</c:v>
                </c:pt>
                <c:pt idx="485">
                  <c:v>0.8843309098576495</c:v>
                </c:pt>
                <c:pt idx="486">
                  <c:v>0.8846755751134091</c:v>
                </c:pt>
                <c:pt idx="487">
                  <c:v>0.8850153037584959</c:v>
                </c:pt>
                <c:pt idx="488">
                  <c:v>0.885354629798279</c:v>
                </c:pt>
                <c:pt idx="489">
                  <c:v>0.885692744755576</c:v>
                </c:pt>
                <c:pt idx="490">
                  <c:v>0.886030044702542</c:v>
                </c:pt>
                <c:pt idx="491">
                  <c:v>0.8863671029229969</c:v>
                </c:pt>
                <c:pt idx="492">
                  <c:v>0.8867040557964251</c:v>
                </c:pt>
                <c:pt idx="493">
                  <c:v>0.8870365677618568</c:v>
                </c:pt>
                <c:pt idx="494">
                  <c:v>0.8873689841799851</c:v>
                </c:pt>
                <c:pt idx="495">
                  <c:v>0.8877008934624264</c:v>
                </c:pt>
                <c:pt idx="496">
                  <c:v>0.8880274243299975</c:v>
                </c:pt>
                <c:pt idx="497">
                  <c:v>0.8883513149887504</c:v>
                </c:pt>
                <c:pt idx="498">
                  <c:v>0.8886749386050402</c:v>
                </c:pt>
                <c:pt idx="499">
                  <c:v>0.8889984625908085</c:v>
                </c:pt>
                <c:pt idx="500">
                  <c:v>0.889321656652555</c:v>
                </c:pt>
                <c:pt idx="501">
                  <c:v>0.8896439205572203</c:v>
                </c:pt>
                <c:pt idx="502">
                  <c:v>0.8899648010675961</c:v>
                </c:pt>
                <c:pt idx="503">
                  <c:v>0.8902853279712852</c:v>
                </c:pt>
                <c:pt idx="504">
                  <c:v>0.8906049484005579</c:v>
                </c:pt>
                <c:pt idx="505">
                  <c:v>0.8909235578250312</c:v>
                </c:pt>
                <c:pt idx="506">
                  <c:v>0.891239431493383</c:v>
                </c:pt>
                <c:pt idx="507">
                  <c:v>0.8915534236148382</c:v>
                </c:pt>
                <c:pt idx="508">
                  <c:v>0.8921804540180024</c:v>
                </c:pt>
                <c:pt idx="509">
                  <c:v>0.8924934130852804</c:v>
                </c:pt>
                <c:pt idx="510">
                  <c:v>0.8928048482955666</c:v>
                </c:pt>
                <c:pt idx="511">
                  <c:v>0.8931160107468843</c:v>
                </c:pt>
                <c:pt idx="512">
                  <c:v>0.8934268579737653</c:v>
                </c:pt>
                <c:pt idx="513">
                  <c:v>0.8937374863401566</c:v>
                </c:pt>
                <c:pt idx="514">
                  <c:v>0.8940469934548599</c:v>
                </c:pt>
                <c:pt idx="515">
                  <c:v>0.8943559354521794</c:v>
                </c:pt>
                <c:pt idx="516">
                  <c:v>0.8946631869972089</c:v>
                </c:pt>
                <c:pt idx="517">
                  <c:v>0.8949703242121319</c:v>
                </c:pt>
                <c:pt idx="518">
                  <c:v>0.8952773805793366</c:v>
                </c:pt>
                <c:pt idx="519">
                  <c:v>0.8955831907483798</c:v>
                </c:pt>
                <c:pt idx="520">
                  <c:v>0.8958884480496934</c:v>
                </c:pt>
                <c:pt idx="521">
                  <c:v>0.8961927866269362</c:v>
                </c:pt>
                <c:pt idx="522">
                  <c:v>0.8964970198571524</c:v>
                </c:pt>
                <c:pt idx="523">
                  <c:v>0.8968006985863517</c:v>
                </c:pt>
                <c:pt idx="524">
                  <c:v>0.8971022115766752</c:v>
                </c:pt>
                <c:pt idx="525">
                  <c:v>0.8974034126091366</c:v>
                </c:pt>
                <c:pt idx="526">
                  <c:v>0.8977034695238886</c:v>
                </c:pt>
                <c:pt idx="527">
                  <c:v>0.8980015534276587</c:v>
                </c:pt>
                <c:pt idx="528">
                  <c:v>0.8982985903943101</c:v>
                </c:pt>
                <c:pt idx="529">
                  <c:v>0.8985952745709185</c:v>
                </c:pt>
                <c:pt idx="530">
                  <c:v>0.8988903034109125</c:v>
                </c:pt>
                <c:pt idx="531">
                  <c:v>0.8991848732971929</c:v>
                </c:pt>
                <c:pt idx="532">
                  <c:v>0.8994794333837499</c:v>
                </c:pt>
                <c:pt idx="533">
                  <c:v>0.8997733932372475</c:v>
                </c:pt>
                <c:pt idx="534">
                  <c:v>0.9000671832288725</c:v>
                </c:pt>
                <c:pt idx="535">
                  <c:v>0.9003609642374176</c:v>
                </c:pt>
                <c:pt idx="536">
                  <c:v>0.9006540053668446</c:v>
                </c:pt>
                <c:pt idx="537">
                  <c:v>0.9009469019503511</c:v>
                </c:pt>
                <c:pt idx="538">
                  <c:v>0.9012374678329709</c:v>
                </c:pt>
                <c:pt idx="539">
                  <c:v>0.9015279626675958</c:v>
                </c:pt>
                <c:pt idx="540">
                  <c:v>0.9018180875626617</c:v>
                </c:pt>
                <c:pt idx="541">
                  <c:v>0.9023955199323103</c:v>
                </c:pt>
                <c:pt idx="542">
                  <c:v>0.9026830821997018</c:v>
                </c:pt>
                <c:pt idx="543">
                  <c:v>0.9029675493877799</c:v>
                </c:pt>
                <c:pt idx="544">
                  <c:v>0.9032515290396178</c:v>
                </c:pt>
                <c:pt idx="545">
                  <c:v>0.9035336794097507</c:v>
                </c:pt>
                <c:pt idx="546">
                  <c:v>0.9038154778064841</c:v>
                </c:pt>
                <c:pt idx="547">
                  <c:v>0.9040969830281586</c:v>
                </c:pt>
                <c:pt idx="548">
                  <c:v>0.9043759672709832</c:v>
                </c:pt>
                <c:pt idx="549">
                  <c:v>0.9046539053933328</c:v>
                </c:pt>
                <c:pt idx="550">
                  <c:v>0.9049311273192291</c:v>
                </c:pt>
                <c:pt idx="551">
                  <c:v>0.9052079058076407</c:v>
                </c:pt>
                <c:pt idx="552">
                  <c:v>0.905484062013615</c:v>
                </c:pt>
                <c:pt idx="553">
                  <c:v>0.9057598997285782</c:v>
                </c:pt>
                <c:pt idx="554">
                  <c:v>0.9060346455910236</c:v>
                </c:pt>
                <c:pt idx="555">
                  <c:v>0.9063092411910434</c:v>
                </c:pt>
                <c:pt idx="556">
                  <c:v>0.9065829776819766</c:v>
                </c:pt>
                <c:pt idx="557">
                  <c:v>0.9068553838604556</c:v>
                </c:pt>
                <c:pt idx="558">
                  <c:v>0.9071218465066804</c:v>
                </c:pt>
                <c:pt idx="559">
                  <c:v>0.9073880069947664</c:v>
                </c:pt>
                <c:pt idx="560">
                  <c:v>0.9076528731027174</c:v>
                </c:pt>
                <c:pt idx="561">
                  <c:v>0.9079157335339417</c:v>
                </c:pt>
                <c:pt idx="562">
                  <c:v>0.9081784396195222</c:v>
                </c:pt>
                <c:pt idx="563">
                  <c:v>0.9084344484107887</c:v>
                </c:pt>
                <c:pt idx="564">
                  <c:v>0.9086892159037554</c:v>
                </c:pt>
                <c:pt idx="565">
                  <c:v>0.908943241067673</c:v>
                </c:pt>
                <c:pt idx="566">
                  <c:v>0.9091971053527979</c:v>
                </c:pt>
                <c:pt idx="567">
                  <c:v>0.9094503873710228</c:v>
                </c:pt>
                <c:pt idx="568">
                  <c:v>0.9097035370929816</c:v>
                </c:pt>
                <c:pt idx="569">
                  <c:v>0.9099565961674987</c:v>
                </c:pt>
                <c:pt idx="570">
                  <c:v>0.9102079027248109</c:v>
                </c:pt>
                <c:pt idx="571">
                  <c:v>0.9104588074934629</c:v>
                </c:pt>
                <c:pt idx="572">
                  <c:v>0.9107090262814754</c:v>
                </c:pt>
                <c:pt idx="573">
                  <c:v>0.9109588775798598</c:v>
                </c:pt>
                <c:pt idx="574">
                  <c:v>0.9112085361503502</c:v>
                </c:pt>
                <c:pt idx="575">
                  <c:v>0.9114579048123561</c:v>
                </c:pt>
                <c:pt idx="576">
                  <c:v>0.9117064870465575</c:v>
                </c:pt>
                <c:pt idx="577">
                  <c:v>0.9119548626699235</c:v>
                </c:pt>
                <c:pt idx="578">
                  <c:v>0.9122026976752142</c:v>
                </c:pt>
                <c:pt idx="579">
                  <c:v>0.9124499577633977</c:v>
                </c:pt>
                <c:pt idx="580">
                  <c:v>0.9126965253377927</c:v>
                </c:pt>
                <c:pt idx="581">
                  <c:v>0.91294187692984</c:v>
                </c:pt>
                <c:pt idx="582">
                  <c:v>0.9131866348219768</c:v>
                </c:pt>
                <c:pt idx="583">
                  <c:v>0.9134312800172943</c:v>
                </c:pt>
                <c:pt idx="584">
                  <c:v>0.9136750889695466</c:v>
                </c:pt>
                <c:pt idx="585">
                  <c:v>0.9139179269325367</c:v>
                </c:pt>
                <c:pt idx="586">
                  <c:v>0.9141587910679013</c:v>
                </c:pt>
                <c:pt idx="587">
                  <c:v>0.9143972632541079</c:v>
                </c:pt>
                <c:pt idx="588">
                  <c:v>0.9146352511706487</c:v>
                </c:pt>
                <c:pt idx="589">
                  <c:v>0.9148730169601254</c:v>
                </c:pt>
                <c:pt idx="590">
                  <c:v>0.9151105663390432</c:v>
                </c:pt>
                <c:pt idx="591">
                  <c:v>0.915346566545017</c:v>
                </c:pt>
                <c:pt idx="592">
                  <c:v>0.9155821347465167</c:v>
                </c:pt>
                <c:pt idx="593">
                  <c:v>0.9158156074404918</c:v>
                </c:pt>
                <c:pt idx="594">
                  <c:v>0.9160480560633696</c:v>
                </c:pt>
                <c:pt idx="595">
                  <c:v>0.9162797256082355</c:v>
                </c:pt>
                <c:pt idx="596">
                  <c:v>0.916510309017089</c:v>
                </c:pt>
                <c:pt idx="597">
                  <c:v>0.9167404065229895</c:v>
                </c:pt>
                <c:pt idx="598">
                  <c:v>0.9169704411473314</c:v>
                </c:pt>
                <c:pt idx="599">
                  <c:v>0.9171993978020971</c:v>
                </c:pt>
                <c:pt idx="600">
                  <c:v>0.9174267889510466</c:v>
                </c:pt>
                <c:pt idx="601">
                  <c:v>0.9176528465209672</c:v>
                </c:pt>
                <c:pt idx="602">
                  <c:v>0.9178787611782547</c:v>
                </c:pt>
                <c:pt idx="603">
                  <c:v>0.9181041442005466</c:v>
                </c:pt>
                <c:pt idx="604">
                  <c:v>0.9183286656638212</c:v>
                </c:pt>
                <c:pt idx="605">
                  <c:v>0.9185529535670209</c:v>
                </c:pt>
                <c:pt idx="606">
                  <c:v>0.9187756547316703</c:v>
                </c:pt>
                <c:pt idx="607">
                  <c:v>0.9189977393303879</c:v>
                </c:pt>
                <c:pt idx="608">
                  <c:v>0.9192192498286417</c:v>
                </c:pt>
                <c:pt idx="609">
                  <c:v>0.9194406909121879</c:v>
                </c:pt>
                <c:pt idx="610">
                  <c:v>0.9198773919037334</c:v>
                </c:pt>
                <c:pt idx="611">
                  <c:v>0.9200948371500552</c:v>
                </c:pt>
                <c:pt idx="612">
                  <c:v>0.9203114959685725</c:v>
                </c:pt>
                <c:pt idx="613">
                  <c:v>0.9205281360042866</c:v>
                </c:pt>
                <c:pt idx="614">
                  <c:v>0.9207432619827324</c:v>
                </c:pt>
                <c:pt idx="615">
                  <c:v>0.9209561185085627</c:v>
                </c:pt>
                <c:pt idx="616">
                  <c:v>0.9211680669266895</c:v>
                </c:pt>
                <c:pt idx="617">
                  <c:v>0.9213794959594751</c:v>
                </c:pt>
                <c:pt idx="618">
                  <c:v>0.9215907469639518</c:v>
                </c:pt>
                <c:pt idx="619">
                  <c:v>0.921800813835182</c:v>
                </c:pt>
                <c:pt idx="620">
                  <c:v>0.9220104699346722</c:v>
                </c:pt>
                <c:pt idx="621">
                  <c:v>0.9222198369423215</c:v>
                </c:pt>
                <c:pt idx="622">
                  <c:v>0.9224282484769373</c:v>
                </c:pt>
                <c:pt idx="623">
                  <c:v>0.9226356367570994</c:v>
                </c:pt>
                <c:pt idx="624">
                  <c:v>0.9232523260021246</c:v>
                </c:pt>
                <c:pt idx="625">
                  <c:v>0.9234577461711665</c:v>
                </c:pt>
                <c:pt idx="626">
                  <c:v>0.9236625211917499</c:v>
                </c:pt>
                <c:pt idx="627">
                  <c:v>0.9238672080148225</c:v>
                </c:pt>
                <c:pt idx="628">
                  <c:v>0.9240718131735333</c:v>
                </c:pt>
                <c:pt idx="629">
                  <c:v>0.924276352184111</c:v>
                </c:pt>
                <c:pt idx="630">
                  <c:v>0.9244808862948269</c:v>
                </c:pt>
                <c:pt idx="631">
                  <c:v>0.9246850872149467</c:v>
                </c:pt>
                <c:pt idx="632">
                  <c:v>0.9248890096595925</c:v>
                </c:pt>
                <c:pt idx="633">
                  <c:v>0.925091683456146</c:v>
                </c:pt>
                <c:pt idx="634">
                  <c:v>0.9252931951688306</c:v>
                </c:pt>
                <c:pt idx="635">
                  <c:v>0.9254938200065457</c:v>
                </c:pt>
                <c:pt idx="636">
                  <c:v>0.9256942790656062</c:v>
                </c:pt>
                <c:pt idx="637">
                  <c:v>0.9258928451447594</c:v>
                </c:pt>
                <c:pt idx="638">
                  <c:v>0.9262892439570967</c:v>
                </c:pt>
                <c:pt idx="639">
                  <c:v>0.9264848374534792</c:v>
                </c:pt>
                <c:pt idx="640">
                  <c:v>0.9266803198863296</c:v>
                </c:pt>
                <c:pt idx="641">
                  <c:v>0.9268746247190824</c:v>
                </c:pt>
                <c:pt idx="642">
                  <c:v>0.9270687670397552</c:v>
                </c:pt>
                <c:pt idx="643">
                  <c:v>0.9272627860472415</c:v>
                </c:pt>
                <c:pt idx="644">
                  <c:v>0.9274547062806289</c:v>
                </c:pt>
                <c:pt idx="645">
                  <c:v>0.9276464411359148</c:v>
                </c:pt>
                <c:pt idx="646">
                  <c:v>0.9278364349070064</c:v>
                </c:pt>
                <c:pt idx="647">
                  <c:v>0.9280256324505701</c:v>
                </c:pt>
                <c:pt idx="648">
                  <c:v>0.9282144118726013</c:v>
                </c:pt>
                <c:pt idx="649">
                  <c:v>0.92840293568518</c:v>
                </c:pt>
                <c:pt idx="650">
                  <c:v>0.9287796068376292</c:v>
                </c:pt>
                <c:pt idx="651">
                  <c:v>0.9289669163011474</c:v>
                </c:pt>
                <c:pt idx="652">
                  <c:v>0.929154166966325</c:v>
                </c:pt>
                <c:pt idx="653">
                  <c:v>0.9293410934239862</c:v>
                </c:pt>
                <c:pt idx="654">
                  <c:v>0.9295263073799798</c:v>
                </c:pt>
                <c:pt idx="655">
                  <c:v>0.9297106573270251</c:v>
                </c:pt>
                <c:pt idx="656">
                  <c:v>0.9298939244046325</c:v>
                </c:pt>
                <c:pt idx="657">
                  <c:v>0.930076874624516</c:v>
                </c:pt>
                <c:pt idx="658">
                  <c:v>0.9302598158613198</c:v>
                </c:pt>
                <c:pt idx="659">
                  <c:v>0.9304423773588409</c:v>
                </c:pt>
                <c:pt idx="660">
                  <c:v>0.930621793961788</c:v>
                </c:pt>
                <c:pt idx="661">
                  <c:v>0.9308011819822084</c:v>
                </c:pt>
                <c:pt idx="662">
                  <c:v>0.930980488338267</c:v>
                </c:pt>
                <c:pt idx="663">
                  <c:v>0.9311591887447607</c:v>
                </c:pt>
                <c:pt idx="664">
                  <c:v>0.9313374375473334</c:v>
                </c:pt>
                <c:pt idx="665">
                  <c:v>0.9315150158854956</c:v>
                </c:pt>
                <c:pt idx="666">
                  <c:v>0.9316921017875559</c:v>
                </c:pt>
                <c:pt idx="667">
                  <c:v>0.9318685768401898</c:v>
                </c:pt>
                <c:pt idx="668">
                  <c:v>0.9322202856471575</c:v>
                </c:pt>
                <c:pt idx="669">
                  <c:v>0.9323955741166139</c:v>
                </c:pt>
                <c:pt idx="670">
                  <c:v>0.9325704681472026</c:v>
                </c:pt>
                <c:pt idx="671">
                  <c:v>0.9327450690027324</c:v>
                </c:pt>
                <c:pt idx="672">
                  <c:v>0.9329195236790544</c:v>
                </c:pt>
                <c:pt idx="673">
                  <c:v>0.9330938917911529</c:v>
                </c:pt>
                <c:pt idx="674">
                  <c:v>0.9332680867748043</c:v>
                </c:pt>
                <c:pt idx="675">
                  <c:v>0.9334419779670298</c:v>
                </c:pt>
                <c:pt idx="676">
                  <c:v>0.9336150084168815</c:v>
                </c:pt>
                <c:pt idx="677">
                  <c:v>0.9337875276478281</c:v>
                </c:pt>
                <c:pt idx="678">
                  <c:v>0.9339599325486682</c:v>
                </c:pt>
                <c:pt idx="679">
                  <c:v>0.9341321104225823</c:v>
                </c:pt>
                <c:pt idx="680">
                  <c:v>0.934304085768879</c:v>
                </c:pt>
                <c:pt idx="681">
                  <c:v>0.9344754502657493</c:v>
                </c:pt>
                <c:pt idx="682">
                  <c:v>0.9346466889995023</c:v>
                </c:pt>
                <c:pt idx="683">
                  <c:v>0.9348175708599942</c:v>
                </c:pt>
                <c:pt idx="684">
                  <c:v>0.9349879145523415</c:v>
                </c:pt>
                <c:pt idx="685">
                  <c:v>0.935154432269337</c:v>
                </c:pt>
                <c:pt idx="686">
                  <c:v>0.9353206314953214</c:v>
                </c:pt>
                <c:pt idx="687">
                  <c:v>0.9354867098580503</c:v>
                </c:pt>
                <c:pt idx="688">
                  <c:v>0.9356509777218773</c:v>
                </c:pt>
                <c:pt idx="689">
                  <c:v>0.9358140826851918</c:v>
                </c:pt>
                <c:pt idx="690">
                  <c:v>0.9359765857821596</c:v>
                </c:pt>
                <c:pt idx="691">
                  <c:v>0.9361387573218184</c:v>
                </c:pt>
                <c:pt idx="692">
                  <c:v>0.9363005572886308</c:v>
                </c:pt>
                <c:pt idx="693">
                  <c:v>0.93646233847264</c:v>
                </c:pt>
                <c:pt idx="694">
                  <c:v>0.9366235422896111</c:v>
                </c:pt>
                <c:pt idx="695">
                  <c:v>0.9367846358596936</c:v>
                </c:pt>
                <c:pt idx="696">
                  <c:v>0.9369442660044122</c:v>
                </c:pt>
                <c:pt idx="697">
                  <c:v>0.9371031407537838</c:v>
                </c:pt>
                <c:pt idx="698">
                  <c:v>0.9372611825266646</c:v>
                </c:pt>
                <c:pt idx="699">
                  <c:v>0.9374187939283586</c:v>
                </c:pt>
                <c:pt idx="700">
                  <c:v>0.9375749149554491</c:v>
                </c:pt>
                <c:pt idx="701">
                  <c:v>0.937730068259852</c:v>
                </c:pt>
                <c:pt idx="702">
                  <c:v>0.9378849439054245</c:v>
                </c:pt>
                <c:pt idx="703">
                  <c:v>0.9380397632025875</c:v>
                </c:pt>
                <c:pt idx="704">
                  <c:v>0.9381940067659995</c:v>
                </c:pt>
                <c:pt idx="705">
                  <c:v>0.9383475594489105</c:v>
                </c:pt>
                <c:pt idx="706">
                  <c:v>0.9385010451670447</c:v>
                </c:pt>
                <c:pt idx="707">
                  <c:v>0.9386542262771093</c:v>
                </c:pt>
                <c:pt idx="708">
                  <c:v>0.9388048529259357</c:v>
                </c:pt>
                <c:pt idx="709">
                  <c:v>0.9389549846887295</c:v>
                </c:pt>
                <c:pt idx="710">
                  <c:v>0.9391049425064325</c:v>
                </c:pt>
                <c:pt idx="711">
                  <c:v>0.93925445443672</c:v>
                </c:pt>
                <c:pt idx="712">
                  <c:v>0.9394028712479152</c:v>
                </c:pt>
                <c:pt idx="713">
                  <c:v>0.939551222727621</c:v>
                </c:pt>
                <c:pt idx="714">
                  <c:v>0.9396990703382143</c:v>
                </c:pt>
                <c:pt idx="715">
                  <c:v>0.939846741553786</c:v>
                </c:pt>
                <c:pt idx="716">
                  <c:v>0.9399942886395277</c:v>
                </c:pt>
                <c:pt idx="717">
                  <c:v>0.9401410354145234</c:v>
                </c:pt>
                <c:pt idx="718">
                  <c:v>0.9402877135914552</c:v>
                </c:pt>
                <c:pt idx="719">
                  <c:v>0.9404340046793119</c:v>
                </c:pt>
                <c:pt idx="720">
                  <c:v>0.940580046690865</c:v>
                </c:pt>
                <c:pt idx="721">
                  <c:v>0.9407260576699606</c:v>
                </c:pt>
                <c:pt idx="722">
                  <c:v>0.9410168979448362</c:v>
                </c:pt>
                <c:pt idx="723">
                  <c:v>0.9411617631729353</c:v>
                </c:pt>
                <c:pt idx="724">
                  <c:v>0.9413062225291561</c:v>
                </c:pt>
                <c:pt idx="725">
                  <c:v>0.9414505977710842</c:v>
                </c:pt>
                <c:pt idx="726">
                  <c:v>0.9415940787882503</c:v>
                </c:pt>
                <c:pt idx="727">
                  <c:v>0.9417362343928238</c:v>
                </c:pt>
                <c:pt idx="728">
                  <c:v>0.9418783360989186</c:v>
                </c:pt>
                <c:pt idx="729">
                  <c:v>0.9420203577739387</c:v>
                </c:pt>
                <c:pt idx="730">
                  <c:v>0.9421623704658789</c:v>
                </c:pt>
                <c:pt idx="731">
                  <c:v>0.9423041716471221</c:v>
                </c:pt>
                <c:pt idx="732">
                  <c:v>0.9424456265714711</c:v>
                </c:pt>
                <c:pt idx="733">
                  <c:v>0.9425861039734089</c:v>
                </c:pt>
                <c:pt idx="734">
                  <c:v>0.9427265511595329</c:v>
                </c:pt>
                <c:pt idx="735">
                  <c:v>0.9428665083594858</c:v>
                </c:pt>
                <c:pt idx="736">
                  <c:v>0.9430064541264281</c:v>
                </c:pt>
                <c:pt idx="737">
                  <c:v>0.9431462757635405</c:v>
                </c:pt>
                <c:pt idx="738">
                  <c:v>0.9432854955343061</c:v>
                </c:pt>
                <c:pt idx="739">
                  <c:v>0.9434244123302893</c:v>
                </c:pt>
                <c:pt idx="740">
                  <c:v>0.943562425101787</c:v>
                </c:pt>
                <c:pt idx="741">
                  <c:v>0.9438372787611902</c:v>
                </c:pt>
                <c:pt idx="742">
                  <c:v>0.9439743981245694</c:v>
                </c:pt>
                <c:pt idx="743">
                  <c:v>0.9441114137742092</c:v>
                </c:pt>
                <c:pt idx="744">
                  <c:v>0.9442482840612848</c:v>
                </c:pt>
                <c:pt idx="745">
                  <c:v>0.944384594947482</c:v>
                </c:pt>
                <c:pt idx="746">
                  <c:v>0.9445208364189716</c:v>
                </c:pt>
                <c:pt idx="747">
                  <c:v>0.9446565454388219</c:v>
                </c:pt>
                <c:pt idx="748">
                  <c:v>0.9447922430256617</c:v>
                </c:pt>
                <c:pt idx="749">
                  <c:v>0.944927913663262</c:v>
                </c:pt>
                <c:pt idx="750">
                  <c:v>0.9450628656544782</c:v>
                </c:pt>
                <c:pt idx="751">
                  <c:v>0.945197435456481</c:v>
                </c:pt>
                <c:pt idx="752">
                  <c:v>0.9453319178776167</c:v>
                </c:pt>
                <c:pt idx="753">
                  <c:v>0.9454663210843214</c:v>
                </c:pt>
                <c:pt idx="754">
                  <c:v>0.945600578928462</c:v>
                </c:pt>
                <c:pt idx="755">
                  <c:v>0.9457347828741238</c:v>
                </c:pt>
                <c:pt idx="756">
                  <c:v>0.9458683016557898</c:v>
                </c:pt>
                <c:pt idx="757">
                  <c:v>0.946001041359444</c:v>
                </c:pt>
                <c:pt idx="758">
                  <c:v>0.9461336724494969</c:v>
                </c:pt>
                <c:pt idx="759">
                  <c:v>0.9462662798568848</c:v>
                </c:pt>
                <c:pt idx="760">
                  <c:v>0.9463983735954369</c:v>
                </c:pt>
                <c:pt idx="761">
                  <c:v>0.9465304510011165</c:v>
                </c:pt>
                <c:pt idx="762">
                  <c:v>0.9466618448760877</c:v>
                </c:pt>
                <c:pt idx="763">
                  <c:v>0.9467928075632284</c:v>
                </c:pt>
                <c:pt idx="764">
                  <c:v>0.9469232957804268</c:v>
                </c:pt>
                <c:pt idx="765">
                  <c:v>0.9470530130860495</c:v>
                </c:pt>
                <c:pt idx="766">
                  <c:v>0.9471825278640549</c:v>
                </c:pt>
                <c:pt idx="767">
                  <c:v>0.9473120377421985</c:v>
                </c:pt>
                <c:pt idx="768">
                  <c:v>0.947441280577879</c:v>
                </c:pt>
                <c:pt idx="769">
                  <c:v>0.9475704221497508</c:v>
                </c:pt>
                <c:pt idx="770">
                  <c:v>0.9476993856933138</c:v>
                </c:pt>
                <c:pt idx="771">
                  <c:v>0.9478281360928924</c:v>
                </c:pt>
                <c:pt idx="772">
                  <c:v>0.9479566847814973</c:v>
                </c:pt>
                <c:pt idx="773">
                  <c:v>0.9480849852104423</c:v>
                </c:pt>
                <c:pt idx="774">
                  <c:v>0.948212770337264</c:v>
                </c:pt>
                <c:pt idx="775">
                  <c:v>0.9483396253070046</c:v>
                </c:pt>
                <c:pt idx="776">
                  <c:v>0.9484662973485746</c:v>
                </c:pt>
                <c:pt idx="777">
                  <c:v>0.948592634566261</c:v>
                </c:pt>
                <c:pt idx="778">
                  <c:v>0.9487189162521814</c:v>
                </c:pt>
                <c:pt idx="779">
                  <c:v>0.9488441077188714</c:v>
                </c:pt>
                <c:pt idx="780">
                  <c:v>0.9489691325902632</c:v>
                </c:pt>
                <c:pt idx="781">
                  <c:v>0.9490934094161005</c:v>
                </c:pt>
                <c:pt idx="782">
                  <c:v>0.949217628260241</c:v>
                </c:pt>
                <c:pt idx="783">
                  <c:v>0.9493413832508063</c:v>
                </c:pt>
                <c:pt idx="784">
                  <c:v>0.9494650549437226</c:v>
                </c:pt>
                <c:pt idx="785">
                  <c:v>0.9495884881767023</c:v>
                </c:pt>
                <c:pt idx="786">
                  <c:v>0.9497116853996762</c:v>
                </c:pt>
                <c:pt idx="787">
                  <c:v>0.949834587814304</c:v>
                </c:pt>
                <c:pt idx="788">
                  <c:v>0.9499567038011273</c:v>
                </c:pt>
                <c:pt idx="789">
                  <c:v>0.9500780284602844</c:v>
                </c:pt>
                <c:pt idx="790">
                  <c:v>0.9501990566778081</c:v>
                </c:pt>
                <c:pt idx="791">
                  <c:v>0.9503200595793797</c:v>
                </c:pt>
                <c:pt idx="792">
                  <c:v>0.9504409481508447</c:v>
                </c:pt>
                <c:pt idx="793">
                  <c:v>0.9505616121453146</c:v>
                </c:pt>
                <c:pt idx="794">
                  <c:v>0.9506821291439332</c:v>
                </c:pt>
                <c:pt idx="795">
                  <c:v>0.9508019323960294</c:v>
                </c:pt>
                <c:pt idx="796">
                  <c:v>0.9509211394982842</c:v>
                </c:pt>
                <c:pt idx="797">
                  <c:v>0.9510399219458574</c:v>
                </c:pt>
                <c:pt idx="798">
                  <c:v>0.951157644390014</c:v>
                </c:pt>
                <c:pt idx="799">
                  <c:v>0.9512750279270691</c:v>
                </c:pt>
                <c:pt idx="800">
                  <c:v>0.9513915662379792</c:v>
                </c:pt>
                <c:pt idx="801">
                  <c:v>0.9517390162484773</c:v>
                </c:pt>
                <c:pt idx="802">
                  <c:v>0.9518539041226348</c:v>
                </c:pt>
                <c:pt idx="803">
                  <c:v>0.9519687846469997</c:v>
                </c:pt>
                <c:pt idx="804">
                  <c:v>0.9520830943374754</c:v>
                </c:pt>
                <c:pt idx="805">
                  <c:v>0.9521971320856262</c:v>
                </c:pt>
                <c:pt idx="806">
                  <c:v>0.9523111085855056</c:v>
                </c:pt>
                <c:pt idx="807">
                  <c:v>0.9524243002908678</c:v>
                </c:pt>
                <c:pt idx="808">
                  <c:v>0.952537354800102</c:v>
                </c:pt>
                <c:pt idx="809">
                  <c:v>0.9526503709270863</c:v>
                </c:pt>
                <c:pt idx="810">
                  <c:v>0.9527629754656869</c:v>
                </c:pt>
                <c:pt idx="811">
                  <c:v>0.9528754395415852</c:v>
                </c:pt>
                <c:pt idx="812">
                  <c:v>0.9529878521689354</c:v>
                </c:pt>
                <c:pt idx="813">
                  <c:v>0.9531000753349663</c:v>
                </c:pt>
                <c:pt idx="814">
                  <c:v>0.9532122927844918</c:v>
                </c:pt>
                <c:pt idx="815">
                  <c:v>0.9533243771211075</c:v>
                </c:pt>
                <c:pt idx="816">
                  <c:v>0.9534363340613188</c:v>
                </c:pt>
                <c:pt idx="817">
                  <c:v>0.9535481505388277</c:v>
                </c:pt>
                <c:pt idx="818">
                  <c:v>0.9536599188343632</c:v>
                </c:pt>
                <c:pt idx="819">
                  <c:v>0.9537714609196164</c:v>
                </c:pt>
                <c:pt idx="820">
                  <c:v>0.953882815993481</c:v>
                </c:pt>
                <c:pt idx="821">
                  <c:v>0.95399232136955</c:v>
                </c:pt>
                <c:pt idx="822">
                  <c:v>0.9541010811499956</c:v>
                </c:pt>
                <c:pt idx="823">
                  <c:v>0.9542096106369408</c:v>
                </c:pt>
                <c:pt idx="824">
                  <c:v>0.9543181221577263</c:v>
                </c:pt>
                <c:pt idx="825">
                  <c:v>0.9544264491170541</c:v>
                </c:pt>
                <c:pt idx="826">
                  <c:v>0.9545346870622275</c:v>
                </c:pt>
                <c:pt idx="827">
                  <c:v>0.9546428580426243</c:v>
                </c:pt>
                <c:pt idx="828">
                  <c:v>0.954750838745058</c:v>
                </c:pt>
                <c:pt idx="829">
                  <c:v>0.954858576904337</c:v>
                </c:pt>
                <c:pt idx="830">
                  <c:v>0.954966252998701</c:v>
                </c:pt>
                <c:pt idx="831">
                  <c:v>0.9550737918969371</c:v>
                </c:pt>
                <c:pt idx="832">
                  <c:v>0.955181301396003</c:v>
                </c:pt>
                <c:pt idx="833">
                  <c:v>0.9553950227474252</c:v>
                </c:pt>
                <c:pt idx="834">
                  <c:v>0.9555014591767765</c:v>
                </c:pt>
                <c:pt idx="835">
                  <c:v>0.9556070683461425</c:v>
                </c:pt>
                <c:pt idx="836">
                  <c:v>0.9557123827071623</c:v>
                </c:pt>
                <c:pt idx="837">
                  <c:v>0.9558176096873149</c:v>
                </c:pt>
                <c:pt idx="838">
                  <c:v>0.9559226823218236</c:v>
                </c:pt>
                <c:pt idx="839">
                  <c:v>0.9560260114222073</c:v>
                </c:pt>
                <c:pt idx="840">
                  <c:v>0.9562324564789902</c:v>
                </c:pt>
                <c:pt idx="841">
                  <c:v>0.9563356622661875</c:v>
                </c:pt>
                <c:pt idx="842">
                  <c:v>0.9564387128910973</c:v>
                </c:pt>
                <c:pt idx="843">
                  <c:v>0.956541038336474</c:v>
                </c:pt>
                <c:pt idx="844">
                  <c:v>0.956643324582957</c:v>
                </c:pt>
                <c:pt idx="845">
                  <c:v>0.9567454091184663</c:v>
                </c:pt>
                <c:pt idx="846">
                  <c:v>0.9568472813266348</c:v>
                </c:pt>
                <c:pt idx="847">
                  <c:v>0.9569491510848724</c:v>
                </c:pt>
                <c:pt idx="848">
                  <c:v>0.9570509987937325</c:v>
                </c:pt>
                <c:pt idx="849">
                  <c:v>0.9571527950540445</c:v>
                </c:pt>
                <c:pt idx="850">
                  <c:v>0.9572545692649789</c:v>
                </c:pt>
                <c:pt idx="851">
                  <c:v>0.9573563050936631</c:v>
                </c:pt>
                <c:pt idx="852">
                  <c:v>0.9574577101816819</c:v>
                </c:pt>
                <c:pt idx="853">
                  <c:v>0.9575583925400986</c:v>
                </c:pt>
                <c:pt idx="854">
                  <c:v>0.9576576449555395</c:v>
                </c:pt>
                <c:pt idx="855">
                  <c:v>0.9577568524555814</c:v>
                </c:pt>
                <c:pt idx="856">
                  <c:v>0.9578559774746179</c:v>
                </c:pt>
                <c:pt idx="857">
                  <c:v>0.9579549130323349</c:v>
                </c:pt>
                <c:pt idx="858">
                  <c:v>0.9580534925334344</c:v>
                </c:pt>
                <c:pt idx="859">
                  <c:v>0.9581520173194115</c:v>
                </c:pt>
                <c:pt idx="860">
                  <c:v>0.9582504579910958</c:v>
                </c:pt>
                <c:pt idx="861">
                  <c:v>0.9583487263509766</c:v>
                </c:pt>
                <c:pt idx="862">
                  <c:v>0.9584468771141764</c:v>
                </c:pt>
                <c:pt idx="863">
                  <c:v>0.9585447461353279</c:v>
                </c:pt>
                <c:pt idx="864">
                  <c:v>0.9586425939237453</c:v>
                </c:pt>
                <c:pt idx="865">
                  <c:v>0.9587397573648105</c:v>
                </c:pt>
                <c:pt idx="866">
                  <c:v>0.9588366300807477</c:v>
                </c:pt>
                <c:pt idx="867">
                  <c:v>0.9589333198685144</c:v>
                </c:pt>
                <c:pt idx="868">
                  <c:v>0.9590299786238234</c:v>
                </c:pt>
                <c:pt idx="869">
                  <c:v>0.9591259358822645</c:v>
                </c:pt>
                <c:pt idx="870">
                  <c:v>0.9592215183012847</c:v>
                </c:pt>
                <c:pt idx="871">
                  <c:v>0.9593169994564962</c:v>
                </c:pt>
                <c:pt idx="872">
                  <c:v>0.9594121964197285</c:v>
                </c:pt>
                <c:pt idx="873">
                  <c:v>0.9595073860331683</c:v>
                </c:pt>
                <c:pt idx="874">
                  <c:v>0.9596024629497887</c:v>
                </c:pt>
                <c:pt idx="875">
                  <c:v>0.9596972809903821</c:v>
                </c:pt>
                <c:pt idx="876">
                  <c:v>0.959791877720555</c:v>
                </c:pt>
                <c:pt idx="877">
                  <c:v>0.9598863838032862</c:v>
                </c:pt>
                <c:pt idx="878">
                  <c:v>0.9599798584651275</c:v>
                </c:pt>
                <c:pt idx="879">
                  <c:v>0.9600731812312557</c:v>
                </c:pt>
                <c:pt idx="880">
                  <c:v>0.9601663855840593</c:v>
                </c:pt>
                <c:pt idx="881">
                  <c:v>0.9602594266081392</c:v>
                </c:pt>
                <c:pt idx="882">
                  <c:v>0.9603520576771227</c:v>
                </c:pt>
                <c:pt idx="883">
                  <c:v>0.9604445735993561</c:v>
                </c:pt>
                <c:pt idx="884">
                  <c:v>0.9605363488258276</c:v>
                </c:pt>
                <c:pt idx="885">
                  <c:v>0.9606273515074362</c:v>
                </c:pt>
                <c:pt idx="886">
                  <c:v>0.9608091159607859</c:v>
                </c:pt>
                <c:pt idx="887">
                  <c:v>0.960899811584394</c:v>
                </c:pt>
                <c:pt idx="888">
                  <c:v>0.9609904230937094</c:v>
                </c:pt>
                <c:pt idx="889">
                  <c:v>0.9610807936931574</c:v>
                </c:pt>
                <c:pt idx="890">
                  <c:v>0.9611708229355729</c:v>
                </c:pt>
                <c:pt idx="891">
                  <c:v>0.9612608423782649</c:v>
                </c:pt>
                <c:pt idx="892">
                  <c:v>0.9613503930675201</c:v>
                </c:pt>
                <c:pt idx="893">
                  <c:v>0.9614399347736955</c:v>
                </c:pt>
                <c:pt idx="894">
                  <c:v>0.9615292657858173</c:v>
                </c:pt>
                <c:pt idx="895">
                  <c:v>0.9616183926370346</c:v>
                </c:pt>
                <c:pt idx="896">
                  <c:v>0.9617074508901879</c:v>
                </c:pt>
                <c:pt idx="897">
                  <c:v>0.9617962437341653</c:v>
                </c:pt>
                <c:pt idx="898">
                  <c:v>0.9618848185342965</c:v>
                </c:pt>
                <c:pt idx="899">
                  <c:v>0.9619731418081934</c:v>
                </c:pt>
                <c:pt idx="900">
                  <c:v>0.9620613924008081</c:v>
                </c:pt>
                <c:pt idx="901">
                  <c:v>0.9621494371992311</c:v>
                </c:pt>
                <c:pt idx="902">
                  <c:v>0.9622374591316327</c:v>
                </c:pt>
                <c:pt idx="903">
                  <c:v>0.9623251723727466</c:v>
                </c:pt>
                <c:pt idx="904">
                  <c:v>0.9624121963666467</c:v>
                </c:pt>
                <c:pt idx="905">
                  <c:v>0.9624990480487432</c:v>
                </c:pt>
                <c:pt idx="906">
                  <c:v>0.9625853419632485</c:v>
                </c:pt>
                <c:pt idx="907">
                  <c:v>0.9626714317168492</c:v>
                </c:pt>
                <c:pt idx="908">
                  <c:v>0.9627574643053967</c:v>
                </c:pt>
                <c:pt idx="909">
                  <c:v>0.9628432543507894</c:v>
                </c:pt>
                <c:pt idx="910">
                  <c:v>0.9629288549348628</c:v>
                </c:pt>
                <c:pt idx="911">
                  <c:v>0.963014265240973</c:v>
                </c:pt>
                <c:pt idx="912">
                  <c:v>0.9630995448841043</c:v>
                </c:pt>
                <c:pt idx="913">
                  <c:v>0.9630995448841043</c:v>
                </c:pt>
                <c:pt idx="914">
                  <c:v>0.963184509302799</c:v>
                </c:pt>
                <c:pt idx="915">
                  <c:v>0.9632694018568552</c:v>
                </c:pt>
                <c:pt idx="916">
                  <c:v>0.9633537456263999</c:v>
                </c:pt>
                <c:pt idx="917">
                  <c:v>0.9634378901349017</c:v>
                </c:pt>
                <c:pt idx="918">
                  <c:v>0.9635220052442333</c:v>
                </c:pt>
                <c:pt idx="919">
                  <c:v>0.9636055070542074</c:v>
                </c:pt>
                <c:pt idx="920">
                  <c:v>0.9636889304663943</c:v>
                </c:pt>
                <c:pt idx="921">
                  <c:v>0.9637723432622141</c:v>
                </c:pt>
                <c:pt idx="922">
                  <c:v>0.9638557209423583</c:v>
                </c:pt>
                <c:pt idx="923">
                  <c:v>0.9639389107944702</c:v>
                </c:pt>
                <c:pt idx="924">
                  <c:v>0.9640216653755337</c:v>
                </c:pt>
                <c:pt idx="925">
                  <c:v>0.9641039732525379</c:v>
                </c:pt>
                <c:pt idx="926">
                  <c:v>0.9641861137176004</c:v>
                </c:pt>
                <c:pt idx="927">
                  <c:v>0.9642676416999492</c:v>
                </c:pt>
                <c:pt idx="928">
                  <c:v>0.9643491639657925</c:v>
                </c:pt>
                <c:pt idx="929">
                  <c:v>0.964430393056577</c:v>
                </c:pt>
                <c:pt idx="930">
                  <c:v>0.9645114098200206</c:v>
                </c:pt>
                <c:pt idx="931">
                  <c:v>0.964592300820347</c:v>
                </c:pt>
                <c:pt idx="932">
                  <c:v>0.9646729827599071</c:v>
                </c:pt>
                <c:pt idx="933">
                  <c:v>0.9647534458389775</c:v>
                </c:pt>
                <c:pt idx="934">
                  <c:v>0.9648332694860947</c:v>
                </c:pt>
                <c:pt idx="935">
                  <c:v>0.9649126145800516</c:v>
                </c:pt>
                <c:pt idx="936">
                  <c:v>0.9649907739074747</c:v>
                </c:pt>
                <c:pt idx="937">
                  <c:v>0.9650687127411208</c:v>
                </c:pt>
                <c:pt idx="938">
                  <c:v>0.965146324100676</c:v>
                </c:pt>
                <c:pt idx="939">
                  <c:v>0.9652239093276355</c:v>
                </c:pt>
                <c:pt idx="940">
                  <c:v>0.9653012683443126</c:v>
                </c:pt>
                <c:pt idx="941">
                  <c:v>0.9653782917204626</c:v>
                </c:pt>
                <c:pt idx="942">
                  <c:v>0.9654552873307296</c:v>
                </c:pt>
                <c:pt idx="943">
                  <c:v>0.9655321294119963</c:v>
                </c:pt>
                <c:pt idx="944">
                  <c:v>0.9656088620630182</c:v>
                </c:pt>
                <c:pt idx="945">
                  <c:v>0.9656852010918161</c:v>
                </c:pt>
                <c:pt idx="946">
                  <c:v>0.9657612738947944</c:v>
                </c:pt>
                <c:pt idx="947">
                  <c:v>0.9658372821829267</c:v>
                </c:pt>
                <c:pt idx="948">
                  <c:v>0.9659128788826755</c:v>
                </c:pt>
                <c:pt idx="949">
                  <c:v>0.9659884625161264</c:v>
                </c:pt>
                <c:pt idx="950">
                  <c:v>0.9660639922510984</c:v>
                </c:pt>
                <c:pt idx="951">
                  <c:v>0.9661390597657825</c:v>
                </c:pt>
                <c:pt idx="952">
                  <c:v>0.966214075015275</c:v>
                </c:pt>
                <c:pt idx="953">
                  <c:v>0.9662890886314803</c:v>
                </c:pt>
                <c:pt idx="954">
                  <c:v>0.9663640924479622</c:v>
                </c:pt>
                <c:pt idx="955">
                  <c:v>0.9664390921812259</c:v>
                </c:pt>
                <c:pt idx="956">
                  <c:v>0.9665140551655269</c:v>
                </c:pt>
                <c:pt idx="957">
                  <c:v>0.9665887233414816</c:v>
                </c:pt>
                <c:pt idx="958">
                  <c:v>0.9666630762929996</c:v>
                </c:pt>
                <c:pt idx="959">
                  <c:v>0.9667374267945869</c:v>
                </c:pt>
                <c:pt idx="960">
                  <c:v>0.9668117527968655</c:v>
                </c:pt>
                <c:pt idx="961">
                  <c:v>0.9668855536972976</c:v>
                </c:pt>
                <c:pt idx="962">
                  <c:v>0.9669588899275108</c:v>
                </c:pt>
                <c:pt idx="963">
                  <c:v>0.9670317182053935</c:v>
                </c:pt>
                <c:pt idx="964">
                  <c:v>0.9671044427695366</c:v>
                </c:pt>
                <c:pt idx="965">
                  <c:v>0.9671769795056474</c:v>
                </c:pt>
                <c:pt idx="966">
                  <c:v>0.967249356179609</c:v>
                </c:pt>
                <c:pt idx="967">
                  <c:v>0.9673215540086183</c:v>
                </c:pt>
                <c:pt idx="968">
                  <c:v>0.9673936979391488</c:v>
                </c:pt>
                <c:pt idx="969">
                  <c:v>0.9674653045181784</c:v>
                </c:pt>
                <c:pt idx="970">
                  <c:v>0.9675368727149579</c:v>
                </c:pt>
                <c:pt idx="971">
                  <c:v>0.9676081297705189</c:v>
                </c:pt>
                <c:pt idx="972">
                  <c:v>0.9676792226807126</c:v>
                </c:pt>
                <c:pt idx="973">
                  <c:v>0.9677501963609381</c:v>
                </c:pt>
                <c:pt idx="974">
                  <c:v>0.967821042644759</c:v>
                </c:pt>
                <c:pt idx="975">
                  <c:v>0.9678911376164511</c:v>
                </c:pt>
                <c:pt idx="976">
                  <c:v>0.9679611345909089</c:v>
                </c:pt>
                <c:pt idx="977">
                  <c:v>0.9680307673423131</c:v>
                </c:pt>
                <c:pt idx="978">
                  <c:v>0.9681003339455841</c:v>
                </c:pt>
                <c:pt idx="979">
                  <c:v>0.9681696563724133</c:v>
                </c:pt>
                <c:pt idx="980">
                  <c:v>0.9682388930516624</c:v>
                </c:pt>
                <c:pt idx="981">
                  <c:v>0.9683080301003902</c:v>
                </c:pt>
                <c:pt idx="982">
                  <c:v>0.9683768323252345</c:v>
                </c:pt>
                <c:pt idx="983">
                  <c:v>0.9684453593411795</c:v>
                </c:pt>
                <c:pt idx="984">
                  <c:v>0.9685138406250817</c:v>
                </c:pt>
                <c:pt idx="985">
                  <c:v>0.9685822549442072</c:v>
                </c:pt>
                <c:pt idx="986">
                  <c:v>0.9686504642857846</c:v>
                </c:pt>
                <c:pt idx="987">
                  <c:v>0.9687186434115481</c:v>
                </c:pt>
                <c:pt idx="988">
                  <c:v>0.9687868053877956</c:v>
                </c:pt>
                <c:pt idx="989">
                  <c:v>0.9688548195515482</c:v>
                </c:pt>
                <c:pt idx="990">
                  <c:v>0.9689227430678591</c:v>
                </c:pt>
                <c:pt idx="991">
                  <c:v>0.9689906184021966</c:v>
                </c:pt>
                <c:pt idx="992">
                  <c:v>0.9690584169720339</c:v>
                </c:pt>
                <c:pt idx="993">
                  <c:v>0.9691262000256424</c:v>
                </c:pt>
                <c:pt idx="994">
                  <c:v>0.969193897331671</c:v>
                </c:pt>
                <c:pt idx="995">
                  <c:v>0.9692615864712636</c:v>
                </c:pt>
                <c:pt idx="996">
                  <c:v>0.9693290943159728</c:v>
                </c:pt>
                <c:pt idx="997">
                  <c:v>0.969396287752889</c:v>
                </c:pt>
                <c:pt idx="998">
                  <c:v>0.9694634811898052</c:v>
                </c:pt>
                <c:pt idx="999">
                  <c:v>0.9695304141174071</c:v>
                </c:pt>
                <c:pt idx="1000">
                  <c:v>0.9695972514977057</c:v>
                </c:pt>
                <c:pt idx="1001">
                  <c:v>0.9695972514977057</c:v>
                </c:pt>
                <c:pt idx="1002">
                  <c:v>0.9696640112968605</c:v>
                </c:pt>
                <c:pt idx="1003">
                  <c:v>0.9697303872735148</c:v>
                </c:pt>
                <c:pt idx="1004">
                  <c:v>0.9697966995519668</c:v>
                </c:pt>
                <c:pt idx="1005">
                  <c:v>0.9698628199191685</c:v>
                </c:pt>
                <c:pt idx="1006">
                  <c:v>0.9699287867573699</c:v>
                </c:pt>
                <c:pt idx="1007">
                  <c:v>0.9699946711145659</c:v>
                </c:pt>
                <c:pt idx="1008">
                  <c:v>0.9700599960708833</c:v>
                </c:pt>
                <c:pt idx="1009">
                  <c:v>0.9701252254798974</c:v>
                </c:pt>
                <c:pt idx="1010">
                  <c:v>0.9701904018070763</c:v>
                </c:pt>
                <c:pt idx="1011">
                  <c:v>0.9702553551905474</c:v>
                </c:pt>
                <c:pt idx="1012">
                  <c:v>0.970320029281901</c:v>
                </c:pt>
                <c:pt idx="1013">
                  <c:v>0.9703846364084779</c:v>
                </c:pt>
                <c:pt idx="1014">
                  <c:v>0.9704490132415545</c:v>
                </c:pt>
                <c:pt idx="1015">
                  <c:v>0.9705133778249768</c:v>
                </c:pt>
                <c:pt idx="1016">
                  <c:v>0.9705777285254575</c:v>
                </c:pt>
                <c:pt idx="1017">
                  <c:v>0.9706420236941723</c:v>
                </c:pt>
                <c:pt idx="1018">
                  <c:v>0.9707060183380355</c:v>
                </c:pt>
                <c:pt idx="1019">
                  <c:v>0.9707699860326593</c:v>
                </c:pt>
                <c:pt idx="1020">
                  <c:v>0.970833425358862</c:v>
                </c:pt>
                <c:pt idx="1021">
                  <c:v>0.9708968630517775</c:v>
                </c:pt>
                <c:pt idx="1022">
                  <c:v>0.9709600908672831</c:v>
                </c:pt>
                <c:pt idx="1023">
                  <c:v>0.9710231014555861</c:v>
                </c:pt>
                <c:pt idx="1024">
                  <c:v>0.9710854031972285</c:v>
                </c:pt>
                <c:pt idx="1025">
                  <c:v>0.9711476044917058</c:v>
                </c:pt>
                <c:pt idx="1026">
                  <c:v>0.9712097469878426</c:v>
                </c:pt>
                <c:pt idx="1027">
                  <c:v>0.9712718764176814</c:v>
                </c:pt>
                <c:pt idx="1028">
                  <c:v>0.9713337126724614</c:v>
                </c:pt>
                <c:pt idx="1029">
                  <c:v>0.971395001776017</c:v>
                </c:pt>
                <c:pt idx="1030">
                  <c:v>0.9714561561333757</c:v>
                </c:pt>
                <c:pt idx="1031">
                  <c:v>0.9715171716613191</c:v>
                </c:pt>
                <c:pt idx="1032">
                  <c:v>0.9715781610566668</c:v>
                </c:pt>
                <c:pt idx="1033">
                  <c:v>0.9716387135476787</c:v>
                </c:pt>
                <c:pt idx="1034">
                  <c:v>0.9716990292120413</c:v>
                </c:pt>
                <c:pt idx="1035">
                  <c:v>0.9717592117634941</c:v>
                </c:pt>
                <c:pt idx="1036">
                  <c:v>0.9718193118339414</c:v>
                </c:pt>
                <c:pt idx="1037">
                  <c:v>0.9718793906716547</c:v>
                </c:pt>
                <c:pt idx="1038">
                  <c:v>0.9719390366882503</c:v>
                </c:pt>
                <c:pt idx="1039">
                  <c:v>0.9719986386060905</c:v>
                </c:pt>
                <c:pt idx="1040">
                  <c:v>0.972057914683127</c:v>
                </c:pt>
                <c:pt idx="1041">
                  <c:v>0.9721169523002269</c:v>
                </c:pt>
                <c:pt idx="1042">
                  <c:v>0.9721758755872202</c:v>
                </c:pt>
                <c:pt idx="1043">
                  <c:v>0.9722347939743519</c:v>
                </c:pt>
                <c:pt idx="1044">
                  <c:v>0.9722929300168971</c:v>
                </c:pt>
                <c:pt idx="1045">
                  <c:v>0.9723509525459794</c:v>
                </c:pt>
                <c:pt idx="1046">
                  <c:v>0.9724088819776892</c:v>
                </c:pt>
                <c:pt idx="1047">
                  <c:v>0.9724660168151583</c:v>
                </c:pt>
                <c:pt idx="1048">
                  <c:v>0.9725230348725901</c:v>
                </c:pt>
                <c:pt idx="1049">
                  <c:v>0.9725799590160057</c:v>
                </c:pt>
                <c:pt idx="1050">
                  <c:v>0.972636584267857</c:v>
                </c:pt>
                <c:pt idx="1051">
                  <c:v>0.9726930527241336</c:v>
                </c:pt>
                <c:pt idx="1052">
                  <c:v>0.9727493725512717</c:v>
                </c:pt>
                <c:pt idx="1053">
                  <c:v>0.9728055543656383</c:v>
                </c:pt>
                <c:pt idx="1054">
                  <c:v>0.9728616047003824</c:v>
                </c:pt>
                <c:pt idx="1055">
                  <c:v>0.9729176264525998</c:v>
                </c:pt>
                <c:pt idx="1056">
                  <c:v>0.9729736000228437</c:v>
                </c:pt>
                <c:pt idx="1057">
                  <c:v>0.9730293694321831</c:v>
                </c:pt>
                <c:pt idx="1058">
                  <c:v>0.973084953463421</c:v>
                </c:pt>
                <c:pt idx="1059">
                  <c:v>0.9731405211617867</c:v>
                </c:pt>
                <c:pt idx="1060">
                  <c:v>0.9731958732662371</c:v>
                </c:pt>
                <c:pt idx="1061">
                  <c:v>0.9732511616724853</c:v>
                </c:pt>
                <c:pt idx="1062">
                  <c:v>0.9733061683366852</c:v>
                </c:pt>
                <c:pt idx="1063">
                  <c:v>0.9733610263717465</c:v>
                </c:pt>
                <c:pt idx="1064">
                  <c:v>0.9734157553771161</c:v>
                </c:pt>
                <c:pt idx="1065">
                  <c:v>0.9734703937350441</c:v>
                </c:pt>
                <c:pt idx="1066">
                  <c:v>0.9735793903421389</c:v>
                </c:pt>
                <c:pt idx="1067">
                  <c:v>0.9736335493302629</c:v>
                </c:pt>
                <c:pt idx="1068">
                  <c:v>0.9736875547893866</c:v>
                </c:pt>
                <c:pt idx="1069">
                  <c:v>0.9737415447322816</c:v>
                </c:pt>
                <c:pt idx="1070">
                  <c:v>0.9737954962929265</c:v>
                </c:pt>
                <c:pt idx="1071">
                  <c:v>0.9738490672976453</c:v>
                </c:pt>
                <c:pt idx="1072">
                  <c:v>0.9739026129864119</c:v>
                </c:pt>
                <c:pt idx="1073">
                  <c:v>0.9739560402618539</c:v>
                </c:pt>
                <c:pt idx="1074">
                  <c:v>0.9740093523905456</c:v>
                </c:pt>
                <c:pt idx="1075">
                  <c:v>0.9740625959211735</c:v>
                </c:pt>
                <c:pt idx="1076">
                  <c:v>0.9741157520709341</c:v>
                </c:pt>
                <c:pt idx="1077">
                  <c:v>0.9741687906240138</c:v>
                </c:pt>
                <c:pt idx="1078">
                  <c:v>0.9742217311798593</c:v>
                </c:pt>
                <c:pt idx="1079">
                  <c:v>0.974274566388678</c:v>
                </c:pt>
                <c:pt idx="1080">
                  <c:v>0.9743270831064856</c:v>
                </c:pt>
                <c:pt idx="1081">
                  <c:v>0.9743793760639418</c:v>
                </c:pt>
                <c:pt idx="1082">
                  <c:v>0.9744313733964081</c:v>
                </c:pt>
                <c:pt idx="1083">
                  <c:v>0.9744832898811562</c:v>
                </c:pt>
                <c:pt idx="1084">
                  <c:v>0.974535114901819</c:v>
                </c:pt>
                <c:pt idx="1085">
                  <c:v>0.9745867431113698</c:v>
                </c:pt>
                <c:pt idx="1086">
                  <c:v>0.9746383623378408</c:v>
                </c:pt>
                <c:pt idx="1087">
                  <c:v>0.9746897161551359</c:v>
                </c:pt>
                <c:pt idx="1088">
                  <c:v>0.9747409785083456</c:v>
                </c:pt>
                <c:pt idx="1089">
                  <c:v>0.9747922335117628</c:v>
                </c:pt>
                <c:pt idx="1090">
                  <c:v>0.9748434240003342</c:v>
                </c:pt>
                <c:pt idx="1091">
                  <c:v>0.9748943531629477</c:v>
                </c:pt>
                <c:pt idx="1092">
                  <c:v>0.9749451908614759</c:v>
                </c:pt>
                <c:pt idx="1093">
                  <c:v>0.9749959958942594</c:v>
                </c:pt>
                <c:pt idx="1094">
                  <c:v>0.9750465061186968</c:v>
                </c:pt>
                <c:pt idx="1095">
                  <c:v>0.9750969534615755</c:v>
                </c:pt>
                <c:pt idx="1096">
                  <c:v>0.9751473183234488</c:v>
                </c:pt>
                <c:pt idx="1097">
                  <c:v>0.9751976758355295</c:v>
                </c:pt>
                <c:pt idx="1098">
                  <c:v>0.9752480063983708</c:v>
                </c:pt>
                <c:pt idx="1099">
                  <c:v>0.9752982830627333</c:v>
                </c:pt>
                <c:pt idx="1100">
                  <c:v>0.9753484845958829</c:v>
                </c:pt>
                <c:pt idx="1101">
                  <c:v>0.9753983080230372</c:v>
                </c:pt>
                <c:pt idx="1102">
                  <c:v>0.9754480579522659</c:v>
                </c:pt>
                <c:pt idx="1103">
                  <c:v>0.9754977613328083</c:v>
                </c:pt>
                <c:pt idx="1104">
                  <c:v>0.975547449197122</c:v>
                </c:pt>
                <c:pt idx="1105">
                  <c:v>0.9755969900655843</c:v>
                </c:pt>
                <c:pt idx="1106">
                  <c:v>0.9756464868352913</c:v>
                </c:pt>
                <c:pt idx="1107">
                  <c:v>0.9756959533891844</c:v>
                </c:pt>
                <c:pt idx="1108">
                  <c:v>0.9757447984772839</c:v>
                </c:pt>
                <c:pt idx="1109">
                  <c:v>0.9757935986499844</c:v>
                </c:pt>
                <c:pt idx="1110">
                  <c:v>0.9758420966645461</c:v>
                </c:pt>
                <c:pt idx="1111">
                  <c:v>0.9758904876987938</c:v>
                </c:pt>
                <c:pt idx="1112">
                  <c:v>0.9759385888245571</c:v>
                </c:pt>
                <c:pt idx="1113">
                  <c:v>0.975986397591905</c:v>
                </c:pt>
                <c:pt idx="1114">
                  <c:v>0.9760341932929549</c:v>
                </c:pt>
                <c:pt idx="1115">
                  <c:v>0.976081740734345</c:v>
                </c:pt>
                <c:pt idx="1116">
                  <c:v>0.9761292693929318</c:v>
                </c:pt>
                <c:pt idx="1117">
                  <c:v>0.9761767645691302</c:v>
                </c:pt>
                <c:pt idx="1118">
                  <c:v>0.9762240343516899</c:v>
                </c:pt>
                <c:pt idx="1119">
                  <c:v>0.9762711840876378</c:v>
                </c:pt>
                <c:pt idx="1120">
                  <c:v>0.9763183134074952</c:v>
                </c:pt>
                <c:pt idx="1121">
                  <c:v>0.9763654116948951</c:v>
                </c:pt>
                <c:pt idx="1122">
                  <c:v>0.9764123164377575</c:v>
                </c:pt>
                <c:pt idx="1123">
                  <c:v>0.9764592195473326</c:v>
                </c:pt>
                <c:pt idx="1124">
                  <c:v>0.9765061006075301</c:v>
                </c:pt>
                <c:pt idx="1125">
                  <c:v>0.9765528354885198</c:v>
                </c:pt>
                <c:pt idx="1126">
                  <c:v>0.9765995254541106</c:v>
                </c:pt>
                <c:pt idx="1127">
                  <c:v>0.9766461794873821</c:v>
                </c:pt>
                <c:pt idx="1128">
                  <c:v>0.9766925730113394</c:v>
                </c:pt>
                <c:pt idx="1129">
                  <c:v>0.9767387419583017</c:v>
                </c:pt>
                <c:pt idx="1130">
                  <c:v>0.9767845817978857</c:v>
                </c:pt>
                <c:pt idx="1131">
                  <c:v>0.9768303383398208</c:v>
                </c:pt>
                <c:pt idx="1132">
                  <c:v>0.9769215116999456</c:v>
                </c:pt>
                <c:pt idx="1133">
                  <c:v>0.9769668574701406</c:v>
                </c:pt>
                <c:pt idx="1134">
                  <c:v>0.9770120668608513</c:v>
                </c:pt>
                <c:pt idx="1135">
                  <c:v>0.9770572558354715</c:v>
                </c:pt>
                <c:pt idx="1136">
                  <c:v>0.9771022520821979</c:v>
                </c:pt>
                <c:pt idx="1137">
                  <c:v>0.9771470915333496</c:v>
                </c:pt>
                <c:pt idx="1138">
                  <c:v>0.9771918836191713</c:v>
                </c:pt>
                <c:pt idx="1139">
                  <c:v>0.9772803759382971</c:v>
                </c:pt>
                <c:pt idx="1140">
                  <c:v>0.9773243971125432</c:v>
                </c:pt>
                <c:pt idx="1141">
                  <c:v>0.9773683039566826</c:v>
                </c:pt>
                <c:pt idx="1142">
                  <c:v>0.9774121495525507</c:v>
                </c:pt>
                <c:pt idx="1143">
                  <c:v>0.9774558171201101</c:v>
                </c:pt>
                <c:pt idx="1144">
                  <c:v>0.9774994601883609</c:v>
                </c:pt>
                <c:pt idx="1145">
                  <c:v>0.9775428182479888</c:v>
                </c:pt>
                <c:pt idx="1146">
                  <c:v>0.9775861640579625</c:v>
                </c:pt>
                <c:pt idx="1147">
                  <c:v>0.9776293612387976</c:v>
                </c:pt>
                <c:pt idx="1148">
                  <c:v>0.9776724645056167</c:v>
                </c:pt>
                <c:pt idx="1149">
                  <c:v>0.9777154844747867</c:v>
                </c:pt>
                <c:pt idx="1150">
                  <c:v>0.9777584031801481</c:v>
                </c:pt>
                <c:pt idx="1151">
                  <c:v>0.9778012524708019</c:v>
                </c:pt>
                <c:pt idx="1152">
                  <c:v>0.9778440543961258</c:v>
                </c:pt>
                <c:pt idx="1153">
                  <c:v>0.9778868105894071</c:v>
                </c:pt>
                <c:pt idx="1154">
                  <c:v>0.9779295594328957</c:v>
                </c:pt>
                <c:pt idx="1155">
                  <c:v>0.9779721963962087</c:v>
                </c:pt>
                <c:pt idx="1156">
                  <c:v>0.978014794160628</c:v>
                </c:pt>
                <c:pt idx="1157">
                  <c:v>0.9780572800448716</c:v>
                </c:pt>
                <c:pt idx="1158">
                  <c:v>0.9780995527851308</c:v>
                </c:pt>
                <c:pt idx="1159">
                  <c:v>0.9781418173589539</c:v>
                </c:pt>
                <c:pt idx="1160">
                  <c:v>0.9781840386506652</c:v>
                </c:pt>
                <c:pt idx="1161">
                  <c:v>0.9782682256246351</c:v>
                </c:pt>
                <c:pt idx="1162">
                  <c:v>0.9783100916763724</c:v>
                </c:pt>
                <c:pt idx="1163">
                  <c:v>0.9783517405009072</c:v>
                </c:pt>
                <c:pt idx="1164">
                  <c:v>0.9783933811590059</c:v>
                </c:pt>
                <c:pt idx="1165">
                  <c:v>0.9784349728184873</c:v>
                </c:pt>
                <c:pt idx="1166">
                  <c:v>0.978476437898208</c:v>
                </c:pt>
                <c:pt idx="1167">
                  <c:v>0.9785178417296574</c:v>
                </c:pt>
                <c:pt idx="1168">
                  <c:v>0.9785591426640108</c:v>
                </c:pt>
                <c:pt idx="1169">
                  <c:v>0.9786004305320662</c:v>
                </c:pt>
                <c:pt idx="1170">
                  <c:v>0.9786417020672494</c:v>
                </c:pt>
                <c:pt idx="1171">
                  <c:v>0.9786827106431875</c:v>
                </c:pt>
                <c:pt idx="1172">
                  <c:v>0.9787236465378435</c:v>
                </c:pt>
                <c:pt idx="1173">
                  <c:v>0.9787643864380311</c:v>
                </c:pt>
                <c:pt idx="1174">
                  <c:v>0.978805087139325</c:v>
                </c:pt>
                <c:pt idx="1175">
                  <c:v>0.9788456424780548</c:v>
                </c:pt>
                <c:pt idx="1176">
                  <c:v>0.97888616515104</c:v>
                </c:pt>
                <c:pt idx="1177">
                  <c:v>0.9789264844797642</c:v>
                </c:pt>
                <c:pt idx="1178">
                  <c:v>0.9789667711427436</c:v>
                </c:pt>
                <c:pt idx="1179">
                  <c:v>0.9790469287971006</c:v>
                </c:pt>
                <c:pt idx="1180">
                  <c:v>0.9790869239183083</c:v>
                </c:pt>
                <c:pt idx="1181">
                  <c:v>0.9791268561579574</c:v>
                </c:pt>
                <c:pt idx="1182">
                  <c:v>0.9791667173496117</c:v>
                </c:pt>
                <c:pt idx="1183">
                  <c:v>0.9792065671082554</c:v>
                </c:pt>
                <c:pt idx="1184">
                  <c:v>0.9792463164197339</c:v>
                </c:pt>
                <c:pt idx="1185">
                  <c:v>0.9792860012163667</c:v>
                </c:pt>
                <c:pt idx="1186">
                  <c:v>0.9793255757661109</c:v>
                </c:pt>
                <c:pt idx="1187">
                  <c:v>0.9793649437050197</c:v>
                </c:pt>
                <c:pt idx="1188">
                  <c:v>0.9794042944944126</c:v>
                </c:pt>
                <c:pt idx="1189">
                  <c:v>0.9794436379340128</c:v>
                </c:pt>
                <c:pt idx="1190">
                  <c:v>0.9794828172282458</c:v>
                </c:pt>
                <c:pt idx="1191">
                  <c:v>0.9795219924392607</c:v>
                </c:pt>
                <c:pt idx="1192">
                  <c:v>0.979560873658573</c:v>
                </c:pt>
                <c:pt idx="1193">
                  <c:v>0.9795997483447364</c:v>
                </c:pt>
                <c:pt idx="1194">
                  <c:v>0.9796385830153624</c:v>
                </c:pt>
                <c:pt idx="1195">
                  <c:v>0.9796771661597541</c:v>
                </c:pt>
                <c:pt idx="1196">
                  <c:v>0.9797157199049754</c:v>
                </c:pt>
                <c:pt idx="1197">
                  <c:v>0.9797542540507499</c:v>
                </c:pt>
                <c:pt idx="1198">
                  <c:v>0.9797926918325774</c:v>
                </c:pt>
                <c:pt idx="1199">
                  <c:v>0.9798310969486602</c:v>
                </c:pt>
                <c:pt idx="1200">
                  <c:v>0.9798694212170248</c:v>
                </c:pt>
                <c:pt idx="1201">
                  <c:v>0.9799076376884318</c:v>
                </c:pt>
                <c:pt idx="1202">
                  <c:v>0.9799458272105994</c:v>
                </c:pt>
                <c:pt idx="1203">
                  <c:v>0.9799839571177829</c:v>
                </c:pt>
                <c:pt idx="1204">
                  <c:v>0.9800219873944449</c:v>
                </c:pt>
                <c:pt idx="1205">
                  <c:v>0.9800600086880271</c:v>
                </c:pt>
                <c:pt idx="1206">
                  <c:v>0.9800979548503964</c:v>
                </c:pt>
                <c:pt idx="1207">
                  <c:v>0.9801358177151166</c:v>
                </c:pt>
                <c:pt idx="1208">
                  <c:v>0.9801733449393097</c:v>
                </c:pt>
                <c:pt idx="1209">
                  <c:v>0.9802107047515611</c:v>
                </c:pt>
                <c:pt idx="1210">
                  <c:v>0.9802480327147114</c:v>
                </c:pt>
                <c:pt idx="1211">
                  <c:v>0.9802853280121169</c:v>
                </c:pt>
                <c:pt idx="1212">
                  <c:v>0.98032260697665</c:v>
                </c:pt>
                <c:pt idx="1213">
                  <c:v>0.9803598720582416</c:v>
                </c:pt>
                <c:pt idx="1214">
                  <c:v>0.980397066908482</c:v>
                </c:pt>
                <c:pt idx="1215">
                  <c:v>0.9804342348094831</c:v>
                </c:pt>
                <c:pt idx="1216">
                  <c:v>0.980471208349303</c:v>
                </c:pt>
                <c:pt idx="1217">
                  <c:v>0.9805081034913355</c:v>
                </c:pt>
                <c:pt idx="1218">
                  <c:v>0.9805449439182456</c:v>
                </c:pt>
                <c:pt idx="1219">
                  <c:v>0.980581706764012</c:v>
                </c:pt>
                <c:pt idx="1220">
                  <c:v>0.9806183724291878</c:v>
                </c:pt>
                <c:pt idx="1221">
                  <c:v>0.9806549180477517</c:v>
                </c:pt>
                <c:pt idx="1222">
                  <c:v>0.9807278247234217</c:v>
                </c:pt>
                <c:pt idx="1223">
                  <c:v>0.9807641514814959</c:v>
                </c:pt>
                <c:pt idx="1224">
                  <c:v>0.9808004749729956</c:v>
                </c:pt>
                <c:pt idx="1225">
                  <c:v>0.9808366424855642</c:v>
                </c:pt>
                <c:pt idx="1226">
                  <c:v>0.9808727765157444</c:v>
                </c:pt>
                <c:pt idx="1227">
                  <c:v>0.9809087268011105</c:v>
                </c:pt>
                <c:pt idx="1228">
                  <c:v>0.9809445186576147</c:v>
                </c:pt>
                <c:pt idx="1229">
                  <c:v>0.9809802557989964</c:v>
                </c:pt>
                <c:pt idx="1230">
                  <c:v>0.9810158867767077</c:v>
                </c:pt>
                <c:pt idx="1231">
                  <c:v>0.9810512621449665</c:v>
                </c:pt>
                <c:pt idx="1232">
                  <c:v>0.9810864758177889</c:v>
                </c:pt>
                <c:pt idx="1233">
                  <c:v>0.9811216315089143</c:v>
                </c:pt>
                <c:pt idx="1234">
                  <c:v>0.9811565552732522</c:v>
                </c:pt>
                <c:pt idx="1235">
                  <c:v>0.9811914096228825</c:v>
                </c:pt>
                <c:pt idx="1236">
                  <c:v>0.9812260295957944</c:v>
                </c:pt>
                <c:pt idx="1237">
                  <c:v>0.9812604266249985</c:v>
                </c:pt>
                <c:pt idx="1238">
                  <c:v>0.9812947509729205</c:v>
                </c:pt>
                <c:pt idx="1239">
                  <c:v>0.9813290222390073</c:v>
                </c:pt>
                <c:pt idx="1240">
                  <c:v>0.9813632526729132</c:v>
                </c:pt>
                <c:pt idx="1241">
                  <c:v>0.981397406342319</c:v>
                </c:pt>
                <c:pt idx="1242">
                  <c:v>0.9814315477620705</c:v>
                </c:pt>
                <c:pt idx="1243">
                  <c:v>0.9814656826486731</c:v>
                </c:pt>
                <c:pt idx="1244">
                  <c:v>0.981499592141637</c:v>
                </c:pt>
                <c:pt idx="1245">
                  <c:v>0.9815329389671479</c:v>
                </c:pt>
                <c:pt idx="1246">
                  <c:v>0.9815662049449405</c:v>
                </c:pt>
                <c:pt idx="1247">
                  <c:v>0.9815994415235629</c:v>
                </c:pt>
                <c:pt idx="1248">
                  <c:v>0.9816326307368555</c:v>
                </c:pt>
                <c:pt idx="1249">
                  <c:v>0.9816657807512543</c:v>
                </c:pt>
                <c:pt idx="1250">
                  <c:v>0.9816989291323659</c:v>
                </c:pt>
                <c:pt idx="1251">
                  <c:v>0.9817320570973871</c:v>
                </c:pt>
                <c:pt idx="1252">
                  <c:v>0.9817651744460412</c:v>
                </c:pt>
                <c:pt idx="1253">
                  <c:v>0.9817982656620995</c:v>
                </c:pt>
                <c:pt idx="1254">
                  <c:v>0.9818312768470833</c:v>
                </c:pt>
                <c:pt idx="1255">
                  <c:v>0.9818642374001627</c:v>
                </c:pt>
                <c:pt idx="1256">
                  <c:v>0.9818971579377048</c:v>
                </c:pt>
                <c:pt idx="1257">
                  <c:v>0.9819300735753852</c:v>
                </c:pt>
                <c:pt idx="1258">
                  <c:v>0.9819629728801932</c:v>
                </c:pt>
                <c:pt idx="1259">
                  <c:v>0.9819958517689108</c:v>
                </c:pt>
                <c:pt idx="1260">
                  <c:v>0.9820287020751017</c:v>
                </c:pt>
                <c:pt idx="1261">
                  <c:v>0.9820615368650639</c:v>
                </c:pt>
                <c:pt idx="1262">
                  <c:v>0.9820941103290682</c:v>
                </c:pt>
                <c:pt idx="1263">
                  <c:v>0.9821266756266364</c:v>
                </c:pt>
                <c:pt idx="1264">
                  <c:v>0.9821591576265554</c:v>
                </c:pt>
                <c:pt idx="1265">
                  <c:v>0.9821915775615594</c:v>
                </c:pt>
                <c:pt idx="1266">
                  <c:v>0.9822238194682547</c:v>
                </c:pt>
                <c:pt idx="1267">
                  <c:v>0.9822558596639762</c:v>
                </c:pt>
                <c:pt idx="1268">
                  <c:v>0.9822877242813198</c:v>
                </c:pt>
                <c:pt idx="1269">
                  <c:v>0.9823195399000464</c:v>
                </c:pt>
                <c:pt idx="1270">
                  <c:v>0.9823513342860388</c:v>
                </c:pt>
                <c:pt idx="1271">
                  <c:v>0.9823830233250045</c:v>
                </c:pt>
                <c:pt idx="1272">
                  <c:v>0.9824146143667359</c:v>
                </c:pt>
                <c:pt idx="1273">
                  <c:v>0.9824460845452119</c:v>
                </c:pt>
                <c:pt idx="1274">
                  <c:v>0.9824775359408846</c:v>
                </c:pt>
                <c:pt idx="1275">
                  <c:v>0.9825088819895306</c:v>
                </c:pt>
                <c:pt idx="1276">
                  <c:v>0.9825400336769954</c:v>
                </c:pt>
                <c:pt idx="1277">
                  <c:v>0.9825711690315878</c:v>
                </c:pt>
                <c:pt idx="1278">
                  <c:v>0.9826331661651605</c:v>
                </c:pt>
                <c:pt idx="1279">
                  <c:v>0.9826641267580186</c:v>
                </c:pt>
                <c:pt idx="1280">
                  <c:v>0.9826950791844405</c:v>
                </c:pt>
                <c:pt idx="1281">
                  <c:v>0.9827260275276444</c:v>
                </c:pt>
                <c:pt idx="1282">
                  <c:v>0.9827568215252044</c:v>
                </c:pt>
                <c:pt idx="1283">
                  <c:v>0.9827875983732484</c:v>
                </c:pt>
                <c:pt idx="1284">
                  <c:v>0.9828183147896646</c:v>
                </c:pt>
                <c:pt idx="1285">
                  <c:v>0.9828489487250754</c:v>
                </c:pt>
                <c:pt idx="1286">
                  <c:v>0.982879491196401</c:v>
                </c:pt>
                <c:pt idx="1287">
                  <c:v>0.9829099871190402</c:v>
                </c:pt>
                <c:pt idx="1288">
                  <c:v>0.9829404495592912</c:v>
                </c:pt>
                <c:pt idx="1289">
                  <c:v>0.9829707119218556</c:v>
                </c:pt>
                <c:pt idx="1290">
                  <c:v>0.9830009032364252</c:v>
                </c:pt>
                <c:pt idx="1291">
                  <c:v>0.9830310757681916</c:v>
                </c:pt>
                <c:pt idx="1292">
                  <c:v>0.983061214000926</c:v>
                </c:pt>
                <c:pt idx="1293">
                  <c:v>0.9830913195679157</c:v>
                </c:pt>
                <c:pt idx="1294">
                  <c:v>0.9831213990023097</c:v>
                </c:pt>
                <c:pt idx="1295">
                  <c:v>0.9831514498541769</c:v>
                </c:pt>
                <c:pt idx="1296">
                  <c:v>0.9831814492574963</c:v>
                </c:pt>
                <c:pt idx="1297">
                  <c:v>0.9832113931290496</c:v>
                </c:pt>
                <c:pt idx="1298">
                  <c:v>0.983241306784789</c:v>
                </c:pt>
                <c:pt idx="1299">
                  <c:v>0.9832711110102836</c:v>
                </c:pt>
                <c:pt idx="1300">
                  <c:v>0.9833007731397886</c:v>
                </c:pt>
                <c:pt idx="1301">
                  <c:v>0.9833304238362829</c:v>
                </c:pt>
                <c:pt idx="1302">
                  <c:v>0.9833600239008728</c:v>
                </c:pt>
                <c:pt idx="1303">
                  <c:v>0.9833893936719624</c:v>
                </c:pt>
                <c:pt idx="1304">
                  <c:v>0.9834184947673016</c:v>
                </c:pt>
                <c:pt idx="1305">
                  <c:v>0.9834475754465503</c:v>
                </c:pt>
                <c:pt idx="1306">
                  <c:v>0.9834765074966605</c:v>
                </c:pt>
                <c:pt idx="1307">
                  <c:v>0.9835053742152812</c:v>
                </c:pt>
                <c:pt idx="1308">
                  <c:v>0.9835342115347316</c:v>
                </c:pt>
                <c:pt idx="1309">
                  <c:v>0.983563017005081</c:v>
                </c:pt>
                <c:pt idx="1310">
                  <c:v>0.9835916428138343</c:v>
                </c:pt>
                <c:pt idx="1311">
                  <c:v>0.9836202367734864</c:v>
                </c:pt>
                <c:pt idx="1312">
                  <c:v>0.983648802150612</c:v>
                </c:pt>
                <c:pt idx="1313">
                  <c:v>0.9836773070961098</c:v>
                </c:pt>
                <c:pt idx="1314">
                  <c:v>0.983705755693198</c:v>
                </c:pt>
                <c:pt idx="1315">
                  <c:v>0.9837341993904244</c:v>
                </c:pt>
                <c:pt idx="1316">
                  <c:v>0.9837625050748793</c:v>
                </c:pt>
                <c:pt idx="1317">
                  <c:v>0.983790684996217</c:v>
                </c:pt>
                <c:pt idx="1318">
                  <c:v>0.9838187489541609</c:v>
                </c:pt>
                <c:pt idx="1319">
                  <c:v>0.9838467908627271</c:v>
                </c:pt>
                <c:pt idx="1320">
                  <c:v>0.9838747274242665</c:v>
                </c:pt>
                <c:pt idx="1321">
                  <c:v>0.9839026117206143</c:v>
                </c:pt>
                <c:pt idx="1322">
                  <c:v>0.983930460084643</c:v>
                </c:pt>
                <c:pt idx="1323">
                  <c:v>0.9839581165374214</c:v>
                </c:pt>
                <c:pt idx="1324">
                  <c:v>0.9839857713569125</c:v>
                </c:pt>
                <c:pt idx="1325">
                  <c:v>0.9840134163766802</c:v>
                </c:pt>
                <c:pt idx="1326">
                  <c:v>0.9840410573132298</c:v>
                </c:pt>
                <c:pt idx="1327">
                  <c:v>0.9840686843668379</c:v>
                </c:pt>
                <c:pt idx="1328">
                  <c:v>0.984096221589648</c:v>
                </c:pt>
                <c:pt idx="1329">
                  <c:v>0.9841237400296549</c:v>
                </c:pt>
                <c:pt idx="1330">
                  <c:v>0.9841512274372042</c:v>
                </c:pt>
                <c:pt idx="1331">
                  <c:v>0.9842333973014369</c:v>
                </c:pt>
                <c:pt idx="1332">
                  <c:v>0.9842606985142413</c:v>
                </c:pt>
                <c:pt idx="1333">
                  <c:v>0.9842879123461785</c:v>
                </c:pt>
                <c:pt idx="1334">
                  <c:v>0.9843150820793604</c:v>
                </c:pt>
                <c:pt idx="1335">
                  <c:v>0.98434222649659</c:v>
                </c:pt>
                <c:pt idx="1336">
                  <c:v>0.9843693488644419</c:v>
                </c:pt>
                <c:pt idx="1337">
                  <c:v>0.9843964606159269</c:v>
                </c:pt>
                <c:pt idx="1338">
                  <c:v>0.9844235372517363</c:v>
                </c:pt>
                <c:pt idx="1339">
                  <c:v>0.9844505975546732</c:v>
                </c:pt>
                <c:pt idx="1340">
                  <c:v>0.9844776570409666</c:v>
                </c:pt>
                <c:pt idx="1341">
                  <c:v>0.9845046626287811</c:v>
                </c:pt>
                <c:pt idx="1342">
                  <c:v>0.9845316543336542</c:v>
                </c:pt>
                <c:pt idx="1343">
                  <c:v>0.9845586076562771</c:v>
                </c:pt>
                <c:pt idx="1344">
                  <c:v>0.9845853609012136</c:v>
                </c:pt>
                <c:pt idx="1345">
                  <c:v>0.9846120765805436</c:v>
                </c:pt>
                <c:pt idx="1346">
                  <c:v>0.9846387889932992</c:v>
                </c:pt>
                <c:pt idx="1347">
                  <c:v>0.9846654556740121</c:v>
                </c:pt>
                <c:pt idx="1348">
                  <c:v>0.9846920480401558</c:v>
                </c:pt>
                <c:pt idx="1349">
                  <c:v>0.984718540775778</c:v>
                </c:pt>
                <c:pt idx="1350">
                  <c:v>0.9847449885960012</c:v>
                </c:pt>
                <c:pt idx="1351">
                  <c:v>0.9847714249832138</c:v>
                </c:pt>
                <c:pt idx="1352">
                  <c:v>0.9847978401376923</c:v>
                </c:pt>
                <c:pt idx="1353">
                  <c:v>0.9848242307928623</c:v>
                </c:pt>
                <c:pt idx="1354">
                  <c:v>0.9848505765326332</c:v>
                </c:pt>
                <c:pt idx="1355">
                  <c:v>0.984876896956452</c:v>
                </c:pt>
                <c:pt idx="1356">
                  <c:v>0.9849032092138346</c:v>
                </c:pt>
                <c:pt idx="1357">
                  <c:v>0.9849294806390362</c:v>
                </c:pt>
                <c:pt idx="1358">
                  <c:v>0.9849557112320569</c:v>
                </c:pt>
                <c:pt idx="1359">
                  <c:v>0.9849818985429659</c:v>
                </c:pt>
                <c:pt idx="1360">
                  <c:v>0.9850080442050504</c:v>
                </c:pt>
                <c:pt idx="1361">
                  <c:v>0.9850341392352305</c:v>
                </c:pt>
                <c:pt idx="1362">
                  <c:v>0.9850601501511179</c:v>
                </c:pt>
                <c:pt idx="1363">
                  <c:v>0.9850861455507766</c:v>
                </c:pt>
                <c:pt idx="1364">
                  <c:v>0.9851120911351745</c:v>
                </c:pt>
                <c:pt idx="1365">
                  <c:v>0.9851379860876681</c:v>
                </c:pt>
                <c:pt idx="1366">
                  <c:v>0.9851638295916137</c:v>
                </c:pt>
                <c:pt idx="1367">
                  <c:v>0.9851896559460435</c:v>
                </c:pt>
                <c:pt idx="1368">
                  <c:v>0.985215474134037</c:v>
                </c:pt>
                <c:pt idx="1369">
                  <c:v>0.9852412800723762</c:v>
                </c:pt>
                <c:pt idx="1370">
                  <c:v>0.9852670688611994</c:v>
                </c:pt>
                <c:pt idx="1371">
                  <c:v>0.985292829067496</c:v>
                </c:pt>
                <c:pt idx="1372">
                  <c:v>0.985318522309016</c:v>
                </c:pt>
                <c:pt idx="1373">
                  <c:v>0.985344095503924</c:v>
                </c:pt>
                <c:pt idx="1374">
                  <c:v>0.9853695592685872</c:v>
                </c:pt>
                <c:pt idx="1375">
                  <c:v>0.985395021399963</c:v>
                </c:pt>
                <c:pt idx="1376">
                  <c:v>0.9854203692012323</c:v>
                </c:pt>
                <c:pt idx="1377">
                  <c:v>0.9854456533042995</c:v>
                </c:pt>
                <c:pt idx="1378">
                  <c:v>0.9854709112747708</c:v>
                </c:pt>
                <c:pt idx="1379">
                  <c:v>0.9854961088136144</c:v>
                </c:pt>
                <c:pt idx="1380">
                  <c:v>0.9855213022692398</c:v>
                </c:pt>
                <c:pt idx="1381">
                  <c:v>0.9855464254935141</c:v>
                </c:pt>
                <c:pt idx="1382">
                  <c:v>0.9855714221380276</c:v>
                </c:pt>
                <c:pt idx="1383">
                  <c:v>0.9855964106161049</c:v>
                </c:pt>
                <c:pt idx="1384">
                  <c:v>0.9856213451957034</c:v>
                </c:pt>
                <c:pt idx="1385">
                  <c:v>0.985646266709004</c:v>
                </c:pt>
                <c:pt idx="1386">
                  <c:v>0.9856711784225811</c:v>
                </c:pt>
                <c:pt idx="1387">
                  <c:v>0.9857207486902136</c:v>
                </c:pt>
                <c:pt idx="1388">
                  <c:v>0.9857454390933702</c:v>
                </c:pt>
                <c:pt idx="1389">
                  <c:v>0.985770113980298</c:v>
                </c:pt>
                <c:pt idx="1390">
                  <c:v>0.9857947831507206</c:v>
                </c:pt>
                <c:pt idx="1391">
                  <c:v>0.9858194515044995</c:v>
                </c:pt>
                <c:pt idx="1392">
                  <c:v>0.9858441100585549</c:v>
                </c:pt>
                <c:pt idx="1393">
                  <c:v>0.9858687449299454</c:v>
                </c:pt>
                <c:pt idx="1394">
                  <c:v>0.9858932989536177</c:v>
                </c:pt>
                <c:pt idx="1395">
                  <c:v>0.985917835827774</c:v>
                </c:pt>
                <c:pt idx="1396">
                  <c:v>0.9859423661687814</c:v>
                </c:pt>
                <c:pt idx="1397">
                  <c:v>0.9859668785436292</c:v>
                </c:pt>
                <c:pt idx="1398">
                  <c:v>0.9859913304868492</c:v>
                </c:pt>
                <c:pt idx="1399">
                  <c:v>0.9860157816134256</c:v>
                </c:pt>
                <c:pt idx="1400">
                  <c:v>0.9860402237569222</c:v>
                </c:pt>
                <c:pt idx="1401">
                  <c:v>0.9860646471176157</c:v>
                </c:pt>
                <c:pt idx="1402">
                  <c:v>0.9860890410791388</c:v>
                </c:pt>
                <c:pt idx="1403">
                  <c:v>0.9861133697091724</c:v>
                </c:pt>
                <c:pt idx="1404">
                  <c:v>0.9861376550570943</c:v>
                </c:pt>
                <c:pt idx="1405">
                  <c:v>0.9861619142724204</c:v>
                </c:pt>
                <c:pt idx="1406">
                  <c:v>0.986186166137954</c:v>
                </c:pt>
                <c:pt idx="1407">
                  <c:v>0.9862103690048704</c:v>
                </c:pt>
                <c:pt idx="1408">
                  <c:v>0.986234545739191</c:v>
                </c:pt>
                <c:pt idx="1409">
                  <c:v>0.9862586775581127</c:v>
                </c:pt>
                <c:pt idx="1410">
                  <c:v>0.9862827832444385</c:v>
                </c:pt>
                <c:pt idx="1411">
                  <c:v>0.9863068611648813</c:v>
                </c:pt>
                <c:pt idx="1412">
                  <c:v>0.986330900703074</c:v>
                </c:pt>
                <c:pt idx="1413">
                  <c:v>0.986354903492304</c:v>
                </c:pt>
                <c:pt idx="1414">
                  <c:v>0.986378647405507</c:v>
                </c:pt>
                <c:pt idx="1415">
                  <c:v>0.9864023423200928</c:v>
                </c:pt>
                <c:pt idx="1416">
                  <c:v>0.9864259327042956</c:v>
                </c:pt>
                <c:pt idx="1417">
                  <c:v>0.9864495124721312</c:v>
                </c:pt>
                <c:pt idx="1418">
                  <c:v>0.9864730146588231</c:v>
                </c:pt>
                <c:pt idx="1419">
                  <c:v>0.9864964792799086</c:v>
                </c:pt>
                <c:pt idx="1420">
                  <c:v>0.986519871219712</c:v>
                </c:pt>
                <c:pt idx="1421">
                  <c:v>0.9865432607095845</c:v>
                </c:pt>
                <c:pt idx="1422">
                  <c:v>0.9865665954843347</c:v>
                </c:pt>
                <c:pt idx="1423">
                  <c:v>0.9865898502280103</c:v>
                </c:pt>
                <c:pt idx="1424">
                  <c:v>0.9866361710706856</c:v>
                </c:pt>
                <c:pt idx="1425">
                  <c:v>0.9866592739186482</c:v>
                </c:pt>
                <c:pt idx="1426">
                  <c:v>0.9866823637003128</c:v>
                </c:pt>
                <c:pt idx="1427">
                  <c:v>0.9867054306159562</c:v>
                </c:pt>
                <c:pt idx="1428">
                  <c:v>0.9867284542494877</c:v>
                </c:pt>
                <c:pt idx="1429">
                  <c:v>0.9867514460339182</c:v>
                </c:pt>
                <c:pt idx="1430">
                  <c:v>0.9867743169550931</c:v>
                </c:pt>
                <c:pt idx="1431">
                  <c:v>0.9867971641936031</c:v>
                </c:pt>
                <c:pt idx="1432">
                  <c:v>0.9868198440201713</c:v>
                </c:pt>
                <c:pt idx="1433">
                  <c:v>0.9868424446323086</c:v>
                </c:pt>
                <c:pt idx="1434">
                  <c:v>0.9868650444278023</c:v>
                </c:pt>
                <c:pt idx="1435">
                  <c:v>0.9868876344235725</c:v>
                </c:pt>
                <c:pt idx="1436">
                  <c:v>0.9869102129863321</c:v>
                </c:pt>
                <c:pt idx="1437">
                  <c:v>0.9869327254009586</c:v>
                </c:pt>
                <c:pt idx="1438">
                  <c:v>0.9869552263825744</c:v>
                </c:pt>
                <c:pt idx="1439">
                  <c:v>0.9869777240976157</c:v>
                </c:pt>
                <c:pt idx="1440">
                  <c:v>0.9870000854331729</c:v>
                </c:pt>
                <c:pt idx="1441">
                  <c:v>0.9870223087559584</c:v>
                </c:pt>
                <c:pt idx="1442">
                  <c:v>0.9870444879799887</c:v>
                </c:pt>
                <c:pt idx="1443">
                  <c:v>0.987066664754088</c:v>
                </c:pt>
                <c:pt idx="1444">
                  <c:v>0.9870887035154159</c:v>
                </c:pt>
                <c:pt idx="1445">
                  <c:v>0.9871106655122436</c:v>
                </c:pt>
                <c:pt idx="1446">
                  <c:v>0.9871326234258532</c:v>
                </c:pt>
                <c:pt idx="1447">
                  <c:v>0.9871545650065905</c:v>
                </c:pt>
                <c:pt idx="1448">
                  <c:v>0.9871764339060457</c:v>
                </c:pt>
                <c:pt idx="1449">
                  <c:v>0.9871982995389265</c:v>
                </c:pt>
                <c:pt idx="1450">
                  <c:v>0.9872201578220147</c:v>
                </c:pt>
                <c:pt idx="1451">
                  <c:v>0.9872420152884592</c:v>
                </c:pt>
                <c:pt idx="1452">
                  <c:v>0.9872637216758344</c:v>
                </c:pt>
                <c:pt idx="1453">
                  <c:v>0.9872854117303372</c:v>
                </c:pt>
                <c:pt idx="1454">
                  <c:v>0.9873070952516911</c:v>
                </c:pt>
                <c:pt idx="1455">
                  <c:v>0.9873287289577843</c:v>
                </c:pt>
                <c:pt idx="1456">
                  <c:v>0.9873503414311434</c:v>
                </c:pt>
                <c:pt idx="1457">
                  <c:v>0.9873719285885504</c:v>
                </c:pt>
                <c:pt idx="1458">
                  <c:v>0.9873935124793828</c:v>
                </c:pt>
                <c:pt idx="1459">
                  <c:v>0.987415084120561</c:v>
                </c:pt>
                <c:pt idx="1460">
                  <c:v>0.9874366435120849</c:v>
                </c:pt>
                <c:pt idx="1461">
                  <c:v>0.9874581849374492</c:v>
                </c:pt>
                <c:pt idx="1462">
                  <c:v>0.9874797173797337</c:v>
                </c:pt>
                <c:pt idx="1463">
                  <c:v>0.9875012253227097</c:v>
                </c:pt>
                <c:pt idx="1464">
                  <c:v>0.987522632001877</c:v>
                </c:pt>
                <c:pt idx="1465">
                  <c:v>0.9875439986655069</c:v>
                </c:pt>
                <c:pt idx="1466">
                  <c:v>0.9875653514461954</c:v>
                </c:pt>
                <c:pt idx="1467">
                  <c:v>0.9875865996965008</c:v>
                </c:pt>
                <c:pt idx="1468">
                  <c:v>0.987607816097705</c:v>
                </c:pt>
                <c:pt idx="1469">
                  <c:v>0.9876290267824038</c:v>
                </c:pt>
                <c:pt idx="1470">
                  <c:v>0.987650166419108</c:v>
                </c:pt>
                <c:pt idx="1471">
                  <c:v>0.9876712497074024</c:v>
                </c:pt>
                <c:pt idx="1472">
                  <c:v>0.9876923182961117</c:v>
                </c:pt>
                <c:pt idx="1473">
                  <c:v>0.9877133844348901</c:v>
                </c:pt>
                <c:pt idx="1474">
                  <c:v>0.9877344391406578</c:v>
                </c:pt>
                <c:pt idx="1475">
                  <c:v>0.9877554726136916</c:v>
                </c:pt>
                <c:pt idx="1476">
                  <c:v>0.9877764391219486</c:v>
                </c:pt>
                <c:pt idx="1477">
                  <c:v>0.9877973770476789</c:v>
                </c:pt>
                <c:pt idx="1478">
                  <c:v>0.9878392373829109</c:v>
                </c:pt>
                <c:pt idx="1479">
                  <c:v>0.9878600160631357</c:v>
                </c:pt>
                <c:pt idx="1480">
                  <c:v>0.9878806893963337</c:v>
                </c:pt>
                <c:pt idx="1481">
                  <c:v>0.9879013382302231</c:v>
                </c:pt>
                <c:pt idx="1482">
                  <c:v>0.9879424864522198</c:v>
                </c:pt>
                <c:pt idx="1483">
                  <c:v>0.9879630095229921</c:v>
                </c:pt>
                <c:pt idx="1484">
                  <c:v>0.9879834615457695</c:v>
                </c:pt>
                <c:pt idx="1485">
                  <c:v>0.9880038972356746</c:v>
                </c:pt>
                <c:pt idx="1486">
                  <c:v>0.9880243157760638</c:v>
                </c:pt>
                <c:pt idx="1487">
                  <c:v>0.9880447041006389</c:v>
                </c:pt>
                <c:pt idx="1488">
                  <c:v>0.9880853892857041</c:v>
                </c:pt>
                <c:pt idx="1489">
                  <c:v>0.9881056534804493</c:v>
                </c:pt>
                <c:pt idx="1490">
                  <c:v>0.9881259029756094</c:v>
                </c:pt>
                <c:pt idx="1491">
                  <c:v>0.9881661504396952</c:v>
                </c:pt>
                <c:pt idx="1492">
                  <c:v>0.9881862553889349</c:v>
                </c:pt>
                <c:pt idx="1493">
                  <c:v>0.9882063587048873</c:v>
                </c:pt>
                <c:pt idx="1494">
                  <c:v>0.9882464591731217</c:v>
                </c:pt>
                <c:pt idx="1495">
                  <c:v>0.9882664301928079</c:v>
                </c:pt>
                <c:pt idx="1496">
                  <c:v>0.9882862354338396</c:v>
                </c:pt>
                <c:pt idx="1497">
                  <c:v>0.9883060210754245</c:v>
                </c:pt>
                <c:pt idx="1498">
                  <c:v>0.9883257993672169</c:v>
                </c:pt>
                <c:pt idx="1499">
                  <c:v>0.988365307768828</c:v>
                </c:pt>
                <c:pt idx="1500">
                  <c:v>0.988384969280583</c:v>
                </c:pt>
                <c:pt idx="1501">
                  <c:v>0.9884046258924761</c:v>
                </c:pt>
                <c:pt idx="1502">
                  <c:v>0.9884242808710821</c:v>
                </c:pt>
                <c:pt idx="1503">
                  <c:v>0.9884439080838051</c:v>
                </c:pt>
                <c:pt idx="1504">
                  <c:v>0.9884635279467355</c:v>
                </c:pt>
                <c:pt idx="1505">
                  <c:v>0.9884831265769318</c:v>
                </c:pt>
                <c:pt idx="1506">
                  <c:v>0.9885026525258461</c:v>
                </c:pt>
                <c:pt idx="1507">
                  <c:v>0.9885221711249679</c:v>
                </c:pt>
                <c:pt idx="1508">
                  <c:v>0.9885416660414247</c:v>
                </c:pt>
                <c:pt idx="1509">
                  <c:v>0.9885611013428973</c:v>
                </c:pt>
                <c:pt idx="1510">
                  <c:v>0.9885805227614284</c:v>
                </c:pt>
                <c:pt idx="1511">
                  <c:v>0.9885999221305818</c:v>
                </c:pt>
                <c:pt idx="1512">
                  <c:v>0.988619302716932</c:v>
                </c:pt>
                <c:pt idx="1513">
                  <c:v>0.9886386620705481</c:v>
                </c:pt>
                <c:pt idx="1514">
                  <c:v>0.9886579838585577</c:v>
                </c:pt>
                <c:pt idx="1515">
                  <c:v>0.9886772141824822</c:v>
                </c:pt>
                <c:pt idx="1516">
                  <c:v>0.9886964306234651</c:v>
                </c:pt>
                <c:pt idx="1517">
                  <c:v>0.9887156380813682</c:v>
                </c:pt>
                <c:pt idx="1518">
                  <c:v>0.9887348381894787</c:v>
                </c:pt>
                <c:pt idx="1519">
                  <c:v>0.9887539501000785</c:v>
                </c:pt>
                <c:pt idx="1520">
                  <c:v>0.9887730195452101</c:v>
                </c:pt>
                <c:pt idx="1521">
                  <c:v>0.9887920661243205</c:v>
                </c:pt>
                <c:pt idx="1522">
                  <c:v>0.9888111086202127</c:v>
                </c:pt>
                <c:pt idx="1523">
                  <c:v>0.9888301502994613</c:v>
                </c:pt>
                <c:pt idx="1524">
                  <c:v>0.9888491356303002</c:v>
                </c:pt>
                <c:pt idx="1525">
                  <c:v>0.988868095645187</c:v>
                </c:pt>
                <c:pt idx="1526">
                  <c:v>0.9888870262609034</c:v>
                </c:pt>
                <c:pt idx="1527">
                  <c:v>0.9889059397271039</c:v>
                </c:pt>
                <c:pt idx="1528">
                  <c:v>0.9889247903117458</c:v>
                </c:pt>
                <c:pt idx="1529">
                  <c:v>0.9889436237468717</c:v>
                </c:pt>
                <c:pt idx="1530">
                  <c:v>0.9889624449323434</c:v>
                </c:pt>
                <c:pt idx="1531">
                  <c:v>0.9889812408018629</c:v>
                </c:pt>
                <c:pt idx="1532">
                  <c:v>0.9890000056389249</c:v>
                </c:pt>
                <c:pt idx="1533">
                  <c:v>0.9890187467933219</c:v>
                </c:pt>
                <c:pt idx="1534">
                  <c:v>0.9890374773313519</c:v>
                </c:pt>
                <c:pt idx="1535">
                  <c:v>0.989056205419451</c:v>
                </c:pt>
                <c:pt idx="1536">
                  <c:v>0.9890748820590023</c:v>
                </c:pt>
                <c:pt idx="1537">
                  <c:v>0.9890935252161651</c:v>
                </c:pt>
                <c:pt idx="1538">
                  <c:v>0.9891121675566843</c:v>
                </c:pt>
                <c:pt idx="1539">
                  <c:v>0.9891307780481025</c:v>
                </c:pt>
                <c:pt idx="1540">
                  <c:v>0.989149364040212</c:v>
                </c:pt>
                <c:pt idx="1541">
                  <c:v>0.9891679459491035</c:v>
                </c:pt>
                <c:pt idx="1542">
                  <c:v>0.9891865213248461</c:v>
                </c:pt>
                <c:pt idx="1543">
                  <c:v>0.9892050828176471</c:v>
                </c:pt>
                <c:pt idx="1544">
                  <c:v>0.989223629610863</c:v>
                </c:pt>
                <c:pt idx="1545">
                  <c:v>0.9892606447995074</c:v>
                </c:pt>
                <c:pt idx="1546">
                  <c:v>0.9892791205447284</c:v>
                </c:pt>
                <c:pt idx="1547">
                  <c:v>0.9892975864902261</c:v>
                </c:pt>
                <c:pt idx="1548">
                  <c:v>0.9893159846543035</c:v>
                </c:pt>
                <c:pt idx="1549">
                  <c:v>0.9893343771018756</c:v>
                </c:pt>
                <c:pt idx="1550">
                  <c:v>0.989352717284256</c:v>
                </c:pt>
                <c:pt idx="1551">
                  <c:v>0.9893710493002003</c:v>
                </c:pt>
                <c:pt idx="1552">
                  <c:v>0.9893893780495701</c:v>
                </c:pt>
                <c:pt idx="1553">
                  <c:v>0.9894076880161367</c:v>
                </c:pt>
                <c:pt idx="1554">
                  <c:v>0.9894259849164053</c:v>
                </c:pt>
                <c:pt idx="1555">
                  <c:v>0.9894442769168122</c:v>
                </c:pt>
                <c:pt idx="1556">
                  <c:v>0.9894625329849001</c:v>
                </c:pt>
                <c:pt idx="1557">
                  <c:v>0.989480713921775</c:v>
                </c:pt>
                <c:pt idx="1558">
                  <c:v>0.9894988768924902</c:v>
                </c:pt>
                <c:pt idx="1559">
                  <c:v>0.9895169949478064</c:v>
                </c:pt>
                <c:pt idx="1560">
                  <c:v>0.9895350640045056</c:v>
                </c:pt>
                <c:pt idx="1561">
                  <c:v>0.9895530995788164</c:v>
                </c:pt>
                <c:pt idx="1562">
                  <c:v>0.9895710820712921</c:v>
                </c:pt>
                <c:pt idx="1563">
                  <c:v>0.9895890269981612</c:v>
                </c:pt>
                <c:pt idx="1564">
                  <c:v>0.9896068567782802</c:v>
                </c:pt>
                <c:pt idx="1565">
                  <c:v>0.9896246195936225</c:v>
                </c:pt>
                <c:pt idx="1566">
                  <c:v>0.9896423513765072</c:v>
                </c:pt>
                <c:pt idx="1567">
                  <c:v>0.9896600333441313</c:v>
                </c:pt>
                <c:pt idx="1568">
                  <c:v>0.989677557699537</c:v>
                </c:pt>
                <c:pt idx="1569">
                  <c:v>0.9896950649054268</c:v>
                </c:pt>
                <c:pt idx="1570">
                  <c:v>0.9897125410788591</c:v>
                </c:pt>
                <c:pt idx="1571">
                  <c:v>0.9897299200717008</c:v>
                </c:pt>
                <c:pt idx="1572">
                  <c:v>0.9897472859982446</c:v>
                </c:pt>
                <c:pt idx="1573">
                  <c:v>0.9897819419034757</c:v>
                </c:pt>
                <c:pt idx="1574">
                  <c:v>0.9897992490316789</c:v>
                </c:pt>
                <c:pt idx="1575">
                  <c:v>0.9898165341105045</c:v>
                </c:pt>
                <c:pt idx="1576">
                  <c:v>0.9898337897901598</c:v>
                </c:pt>
                <c:pt idx="1577">
                  <c:v>0.9898510356700917</c:v>
                </c:pt>
                <c:pt idx="1578">
                  <c:v>0.9898682635838639</c:v>
                </c:pt>
                <c:pt idx="1579">
                  <c:v>0.9898854735314766</c:v>
                </c:pt>
                <c:pt idx="1580">
                  <c:v>0.9899026834790893</c:v>
                </c:pt>
                <c:pt idx="1581">
                  <c:v>0.9899198542278083</c:v>
                </c:pt>
                <c:pt idx="1582">
                  <c:v>0.989937002110506</c:v>
                </c:pt>
                <c:pt idx="1583">
                  <c:v>0.9899540936447939</c:v>
                </c:pt>
                <c:pt idx="1584">
                  <c:v>0.9899711729294277</c:v>
                </c:pt>
                <c:pt idx="1585">
                  <c:v>0.9899881501336092</c:v>
                </c:pt>
                <c:pt idx="1586">
                  <c:v>0.9900051216212853</c:v>
                </c:pt>
                <c:pt idx="1587">
                  <c:v>0.9900220882090998</c:v>
                </c:pt>
                <c:pt idx="1588">
                  <c:v>0.990039053163627</c:v>
                </c:pt>
                <c:pt idx="1589">
                  <c:v>0.9900560156682233</c:v>
                </c:pt>
                <c:pt idx="1590">
                  <c:v>0.9900729757228888</c:v>
                </c:pt>
                <c:pt idx="1591">
                  <c:v>0.9900899235278999</c:v>
                </c:pt>
                <c:pt idx="1592">
                  <c:v>0.9901068656164058</c:v>
                </c:pt>
                <c:pt idx="1593">
                  <c:v>0.9901237309404116</c:v>
                </c:pt>
                <c:pt idx="1594">
                  <c:v>0.9901405946311301</c:v>
                </c:pt>
                <c:pt idx="1595">
                  <c:v>0.9901574517886997</c:v>
                </c:pt>
                <c:pt idx="1596">
                  <c:v>0.990174251781216</c:v>
                </c:pt>
                <c:pt idx="1597">
                  <c:v>0.990191046057227</c:v>
                </c:pt>
                <c:pt idx="1598">
                  <c:v>0.9902078199171475</c:v>
                </c:pt>
                <c:pt idx="1599">
                  <c:v>0.9902245864272754</c:v>
                </c:pt>
                <c:pt idx="1600">
                  <c:v>0.9902413210883022</c:v>
                </c:pt>
                <c:pt idx="1601">
                  <c:v>0.990257983068047</c:v>
                </c:pt>
                <c:pt idx="1602">
                  <c:v>0.9902746344314247</c:v>
                </c:pt>
                <c:pt idx="1603">
                  <c:v>0.9902912710952173</c:v>
                </c:pt>
                <c:pt idx="1604">
                  <c:v>0.9903078554938184</c:v>
                </c:pt>
                <c:pt idx="1605">
                  <c:v>0.9903244113098928</c:v>
                </c:pt>
                <c:pt idx="1606">
                  <c:v>0.9903408576957223</c:v>
                </c:pt>
                <c:pt idx="1607">
                  <c:v>0.9903572910152539</c:v>
                </c:pt>
                <c:pt idx="1608">
                  <c:v>0.9903736647198015</c:v>
                </c:pt>
                <c:pt idx="1609">
                  <c:v>0.9903900278079819</c:v>
                </c:pt>
                <c:pt idx="1610">
                  <c:v>0.990406368030141</c:v>
                </c:pt>
                <c:pt idx="1611">
                  <c:v>0.9904226698700501</c:v>
                </c:pt>
                <c:pt idx="1612">
                  <c:v>0.9904389651768103</c:v>
                </c:pt>
                <c:pt idx="1613">
                  <c:v>0.9904552449673417</c:v>
                </c:pt>
                <c:pt idx="1614">
                  <c:v>0.9904714871922666</c:v>
                </c:pt>
                <c:pt idx="1615">
                  <c:v>0.9904876248868084</c:v>
                </c:pt>
                <c:pt idx="1616">
                  <c:v>0.990503754414914</c:v>
                </c:pt>
                <c:pt idx="1617">
                  <c:v>0.990519872510009</c:v>
                </c:pt>
                <c:pt idx="1618">
                  <c:v>0.9905359889718167</c:v>
                </c:pt>
                <c:pt idx="1619">
                  <c:v>0.9905520882841085</c:v>
                </c:pt>
                <c:pt idx="1620">
                  <c:v>0.9905681353312087</c:v>
                </c:pt>
                <c:pt idx="1621">
                  <c:v>0.9905841791117344</c:v>
                </c:pt>
                <c:pt idx="1622">
                  <c:v>0.9906001681771376</c:v>
                </c:pt>
                <c:pt idx="1623">
                  <c:v>0.9906161319265887</c:v>
                </c:pt>
                <c:pt idx="1624">
                  <c:v>0.9906320001287364</c:v>
                </c:pt>
                <c:pt idx="1625">
                  <c:v>0.9906478225988415</c:v>
                </c:pt>
                <c:pt idx="1626">
                  <c:v>0.9906636344525797</c:v>
                </c:pt>
                <c:pt idx="1627">
                  <c:v>0.9906794062907804</c:v>
                </c:pt>
                <c:pt idx="1628">
                  <c:v>0.9906951568962472</c:v>
                </c:pt>
                <c:pt idx="1629">
                  <c:v>0.9907108756526128</c:v>
                </c:pt>
                <c:pt idx="1630">
                  <c:v>0.9907265837926114</c:v>
                </c:pt>
                <c:pt idx="1631">
                  <c:v>0.9907422706998759</c:v>
                </c:pt>
                <c:pt idx="1632">
                  <c:v>0.990757941274268</c:v>
                </c:pt>
                <c:pt idx="1633">
                  <c:v>0.9907735857160643</c:v>
                </c:pt>
                <c:pt idx="1634">
                  <c:v>0.990789190958967</c:v>
                </c:pt>
                <c:pt idx="1635">
                  <c:v>0.9908203859285435</c:v>
                </c:pt>
                <c:pt idx="1636">
                  <c:v>0.9908359601389887</c:v>
                </c:pt>
                <c:pt idx="1637">
                  <c:v>0.9908515245497104</c:v>
                </c:pt>
                <c:pt idx="1638">
                  <c:v>0.9908670865105013</c:v>
                </c:pt>
                <c:pt idx="1639">
                  <c:v>0.9908981361175138</c:v>
                </c:pt>
                <c:pt idx="1640">
                  <c:v>0.9909136507129748</c:v>
                </c:pt>
                <c:pt idx="1641">
                  <c:v>0.99092913917584</c:v>
                </c:pt>
                <c:pt idx="1642">
                  <c:v>0.9909445900730989</c:v>
                </c:pt>
                <c:pt idx="1643">
                  <c:v>0.9909598384427403</c:v>
                </c:pt>
                <c:pt idx="1644">
                  <c:v>0.9909750525133497</c:v>
                </c:pt>
                <c:pt idx="1645">
                  <c:v>0.9909902527010177</c:v>
                </c:pt>
                <c:pt idx="1646">
                  <c:v>0.9910204342158638</c:v>
                </c:pt>
                <c:pt idx="1647">
                  <c:v>0.9910505185501195</c:v>
                </c:pt>
                <c:pt idx="1648">
                  <c:v>0.9910655300931116</c:v>
                </c:pt>
                <c:pt idx="1649">
                  <c:v>0.9910805057037846</c:v>
                </c:pt>
                <c:pt idx="1650">
                  <c:v>0.9910954380323458</c:v>
                </c:pt>
                <c:pt idx="1651">
                  <c:v>0.9911103066627047</c:v>
                </c:pt>
                <c:pt idx="1652">
                  <c:v>0.9911251409940317</c:v>
                </c:pt>
                <c:pt idx="1653">
                  <c:v>0.9911545091318341</c:v>
                </c:pt>
                <c:pt idx="1654">
                  <c:v>0.9911691393022565</c:v>
                </c:pt>
                <c:pt idx="1655">
                  <c:v>0.991183767022748</c:v>
                </c:pt>
                <c:pt idx="1656">
                  <c:v>0.9911983555443459</c:v>
                </c:pt>
                <c:pt idx="1657">
                  <c:v>0.9912129383494384</c:v>
                </c:pt>
                <c:pt idx="1658">
                  <c:v>0.9912275187046</c:v>
                </c:pt>
                <c:pt idx="1659">
                  <c:v>0.9912420810936021</c:v>
                </c:pt>
                <c:pt idx="1660">
                  <c:v>0.991256635316168</c:v>
                </c:pt>
                <c:pt idx="1661">
                  <c:v>0.9912711846388722</c:v>
                </c:pt>
                <c:pt idx="1662">
                  <c:v>0.9912857168120603</c:v>
                </c:pt>
                <c:pt idx="1663">
                  <c:v>0.9913000954562483</c:v>
                </c:pt>
                <c:pt idx="1664">
                  <c:v>0.9913144569509202</c:v>
                </c:pt>
                <c:pt idx="1665">
                  <c:v>0.9913288078292252</c:v>
                </c:pt>
                <c:pt idx="1666">
                  <c:v>0.9913431529910247</c:v>
                </c:pt>
                <c:pt idx="1667">
                  <c:v>0.9913716587531661</c:v>
                </c:pt>
                <c:pt idx="1668">
                  <c:v>0.9913858046539228</c:v>
                </c:pt>
                <c:pt idx="1669">
                  <c:v>0.9913999325885199</c:v>
                </c:pt>
                <c:pt idx="1670">
                  <c:v>0.9914140458235319</c:v>
                </c:pt>
                <c:pt idx="1671">
                  <c:v>0.9914281541586821</c:v>
                </c:pt>
                <c:pt idx="1672">
                  <c:v>0.9914422330946622</c:v>
                </c:pt>
                <c:pt idx="1673">
                  <c:v>0.9914563046808497</c:v>
                </c:pt>
                <c:pt idx="1674">
                  <c:v>0.9914703615674519</c:v>
                </c:pt>
                <c:pt idx="1675">
                  <c:v>0.991484410287618</c:v>
                </c:pt>
                <c:pt idx="1676">
                  <c:v>0.9914984402249809</c:v>
                </c:pt>
                <c:pt idx="1677">
                  <c:v>0.9915124481129661</c:v>
                </c:pt>
                <c:pt idx="1678">
                  <c:v>0.9915264527343769</c:v>
                </c:pt>
                <c:pt idx="1679">
                  <c:v>0.9915404475560642</c:v>
                </c:pt>
                <c:pt idx="1680">
                  <c:v>0.9915684094335558</c:v>
                </c:pt>
                <c:pt idx="1681">
                  <c:v>0.9915823430069718</c:v>
                </c:pt>
                <c:pt idx="1682">
                  <c:v>0.9915962528977228</c:v>
                </c:pt>
                <c:pt idx="1683">
                  <c:v>0.9916101456389578</c:v>
                </c:pt>
                <c:pt idx="1684">
                  <c:v>0.9916239338498096</c:v>
                </c:pt>
                <c:pt idx="1685">
                  <c:v>0.9916376412129433</c:v>
                </c:pt>
                <c:pt idx="1686">
                  <c:v>0.9916513216268376</c:v>
                </c:pt>
                <c:pt idx="1687">
                  <c:v>0.9916649701916307</c:v>
                </c:pt>
                <c:pt idx="1688">
                  <c:v>0.9916785722077376</c:v>
                </c:pt>
                <c:pt idx="1689">
                  <c:v>0.9916921660574083</c:v>
                </c:pt>
                <c:pt idx="1690">
                  <c:v>0.9917057517406428</c:v>
                </c:pt>
                <c:pt idx="1691">
                  <c:v>0.9917193333406592</c:v>
                </c:pt>
                <c:pt idx="1692">
                  <c:v>0.9917328937079416</c:v>
                </c:pt>
                <c:pt idx="1693">
                  <c:v>0.9917463862938036</c:v>
                </c:pt>
                <c:pt idx="1694">
                  <c:v>0.9917598339642667</c:v>
                </c:pt>
                <c:pt idx="1695">
                  <c:v>0.9917732269196073</c:v>
                </c:pt>
                <c:pt idx="1696">
                  <c:v>0.9917866190583043</c:v>
                </c:pt>
                <c:pt idx="1697">
                  <c:v>0.9918000095637141</c:v>
                </c:pt>
                <c:pt idx="1698">
                  <c:v>0.991826676244427</c:v>
                </c:pt>
                <c:pt idx="1699">
                  <c:v>0.9918399744691079</c:v>
                </c:pt>
                <c:pt idx="1700">
                  <c:v>0.9918532334948951</c:v>
                </c:pt>
                <c:pt idx="1701">
                  <c:v>0.9918664827209589</c:v>
                </c:pt>
                <c:pt idx="1702">
                  <c:v>0.9918797262305173</c:v>
                </c:pt>
                <c:pt idx="1703">
                  <c:v>0.9918929697400758</c:v>
                </c:pt>
                <c:pt idx="1704">
                  <c:v>0.9919061471015012</c:v>
                </c:pt>
                <c:pt idx="1705">
                  <c:v>0.9919324430260114</c:v>
                </c:pt>
                <c:pt idx="1706">
                  <c:v>0.9919454742082291</c:v>
                </c:pt>
                <c:pt idx="1707">
                  <c:v>0.9919585053904468</c:v>
                </c:pt>
                <c:pt idx="1708">
                  <c:v>0.99198446567443</c:v>
                </c:pt>
                <c:pt idx="1709">
                  <c:v>0.9920103712432907</c:v>
                </c:pt>
                <c:pt idx="1710">
                  <c:v>0.9920232562463007</c:v>
                </c:pt>
                <c:pt idx="1711">
                  <c:v>0.9920489780703473</c:v>
                </c:pt>
                <c:pt idx="1712">
                  <c:v>0.9920618116248093</c:v>
                </c:pt>
                <c:pt idx="1713">
                  <c:v>0.9920745398322446</c:v>
                </c:pt>
                <c:pt idx="1714">
                  <c:v>0.9920872582399565</c:v>
                </c:pt>
                <c:pt idx="1715">
                  <c:v>0.9920999750143811</c:v>
                </c:pt>
                <c:pt idx="1716">
                  <c:v>0.9921253358819483</c:v>
                </c:pt>
                <c:pt idx="1717">
                  <c:v>0.9921379464927025</c:v>
                </c:pt>
                <c:pt idx="1718">
                  <c:v>0.9921505032049779</c:v>
                </c:pt>
                <c:pt idx="1719">
                  <c:v>0.9921630378678756</c:v>
                </c:pt>
                <c:pt idx="1720">
                  <c:v>0.9921755692641989</c:v>
                </c:pt>
                <c:pt idx="1721">
                  <c:v>0.9921880957606605</c:v>
                </c:pt>
                <c:pt idx="1722">
                  <c:v>0.9922005936745953</c:v>
                </c:pt>
                <c:pt idx="1723">
                  <c:v>0.9922130719890834</c:v>
                </c:pt>
                <c:pt idx="1724">
                  <c:v>0.9922255176378267</c:v>
                </c:pt>
                <c:pt idx="1725">
                  <c:v>0.9922503591200527</c:v>
                </c:pt>
                <c:pt idx="1726">
                  <c:v>0.9922627141213544</c:v>
                </c:pt>
                <c:pt idx="1727">
                  <c:v>0.9922750487065656</c:v>
                </c:pt>
                <c:pt idx="1728">
                  <c:v>0.992287318776931</c:v>
                </c:pt>
                <c:pt idx="1729">
                  <c:v>0.9922995774142858</c:v>
                </c:pt>
                <c:pt idx="1730">
                  <c:v>0.9923118278852043</c:v>
                </c:pt>
                <c:pt idx="1731">
                  <c:v>0.992324054673458</c:v>
                </c:pt>
                <c:pt idx="1732">
                  <c:v>0.9923362773784935</c:v>
                </c:pt>
                <c:pt idx="1733">
                  <c:v>0.9923484976335982</c:v>
                </c:pt>
                <c:pt idx="1734">
                  <c:v>0.9923607023724742</c:v>
                </c:pt>
                <c:pt idx="1735">
                  <c:v>0.9923728964949831</c:v>
                </c:pt>
                <c:pt idx="1736">
                  <c:v>0.9923850653015398</c:v>
                </c:pt>
                <c:pt idx="1737">
                  <c:v>0.9923971565269528</c:v>
                </c:pt>
                <c:pt idx="1738">
                  <c:v>0.9924092395859296</c:v>
                </c:pt>
                <c:pt idx="1739">
                  <c:v>0.9924213095786085</c:v>
                </c:pt>
                <c:pt idx="1740">
                  <c:v>0.9924453711661789</c:v>
                </c:pt>
                <c:pt idx="1741">
                  <c:v>0.9924573423449801</c:v>
                </c:pt>
                <c:pt idx="1742">
                  <c:v>0.9924693020907706</c:v>
                </c:pt>
                <c:pt idx="1743">
                  <c:v>0.9924812504035503</c:v>
                </c:pt>
                <c:pt idx="1744">
                  <c:v>0.9924931309349098</c:v>
                </c:pt>
                <c:pt idx="1745">
                  <c:v>0.9925049967666841</c:v>
                </c:pt>
                <c:pt idx="1746">
                  <c:v>0.9925049967666841</c:v>
                </c:pt>
                <c:pt idx="1747">
                  <c:v>0.9925168168664158</c:v>
                </c:pt>
                <c:pt idx="1748">
                  <c:v>0.9925286173667006</c:v>
                </c:pt>
                <c:pt idx="1749">
                  <c:v>0.9925404097005492</c:v>
                </c:pt>
                <c:pt idx="1750">
                  <c:v>0.9925521759018021</c:v>
                </c:pt>
                <c:pt idx="1751">
                  <c:v>0.9925639176037464</c:v>
                </c:pt>
                <c:pt idx="1752">
                  <c:v>0.992575637256313</c:v>
                </c:pt>
                <c:pt idx="1753">
                  <c:v>0.9925873471091563</c:v>
                </c:pt>
                <c:pt idx="1754">
                  <c:v>0.9925873471091563</c:v>
                </c:pt>
                <c:pt idx="1755">
                  <c:v>0.9925990349126218</c:v>
                </c:pt>
                <c:pt idx="1756">
                  <c:v>0.9926106957668479</c:v>
                </c:pt>
                <c:pt idx="1757">
                  <c:v>0.9926223411048453</c:v>
                </c:pt>
                <c:pt idx="1758">
                  <c:v>0.9926339570436724</c:v>
                </c:pt>
                <c:pt idx="1759">
                  <c:v>0.9926455721658559</c:v>
                </c:pt>
                <c:pt idx="1760">
                  <c:v>0.9926571799382469</c:v>
                </c:pt>
                <c:pt idx="1761">
                  <c:v>0.9926687525949622</c:v>
                </c:pt>
                <c:pt idx="1762">
                  <c:v>0.992680324435034</c:v>
                </c:pt>
                <c:pt idx="1763">
                  <c:v>0.9926918480931322</c:v>
                </c:pt>
                <c:pt idx="1764">
                  <c:v>0.9927033676680123</c:v>
                </c:pt>
                <c:pt idx="1765">
                  <c:v>0.9927148790764563</c:v>
                </c:pt>
                <c:pt idx="1766">
                  <c:v>0.9927263855850386</c:v>
                </c:pt>
                <c:pt idx="1767">
                  <c:v>0.9927378586112324</c:v>
                </c:pt>
                <c:pt idx="1768">
                  <c:v>0.9927493300041391</c:v>
                </c:pt>
                <c:pt idx="1769">
                  <c:v>0.9927607932306096</c:v>
                </c:pt>
                <c:pt idx="1770">
                  <c:v>0.9927836943675985</c:v>
                </c:pt>
                <c:pt idx="1771">
                  <c:v>0.9927951347280477</c:v>
                </c:pt>
                <c:pt idx="1772">
                  <c:v>0.9928065636554863</c:v>
                </c:pt>
                <c:pt idx="1773">
                  <c:v>0.9928179901329939</c:v>
                </c:pt>
                <c:pt idx="1774">
                  <c:v>0.9928294100773526</c:v>
                </c:pt>
                <c:pt idx="1775">
                  <c:v>0.992840796539323</c:v>
                </c:pt>
                <c:pt idx="1776">
                  <c:v>0.9928521527854794</c:v>
                </c:pt>
                <c:pt idx="1777">
                  <c:v>0.9928634453334337</c:v>
                </c:pt>
                <c:pt idx="1778">
                  <c:v>0.9928747297149518</c:v>
                </c:pt>
                <c:pt idx="1779">
                  <c:v>0.9928860067466774</c:v>
                </c:pt>
                <c:pt idx="1780">
                  <c:v>0.992897281328472</c:v>
                </c:pt>
                <c:pt idx="1781">
                  <c:v>0.9929085542769794</c:v>
                </c:pt>
                <c:pt idx="1782">
                  <c:v>0.9929198198756943</c:v>
                </c:pt>
                <c:pt idx="1783">
                  <c:v>0.992931070774824</c:v>
                </c:pt>
                <c:pt idx="1784">
                  <c:v>0.9929423110575867</c:v>
                </c:pt>
                <c:pt idx="1785">
                  <c:v>0.992953472942562</c:v>
                </c:pt>
                <c:pt idx="1786">
                  <c:v>0.9929646258444575</c:v>
                </c:pt>
                <c:pt idx="1787">
                  <c:v>0.9929757762964222</c:v>
                </c:pt>
                <c:pt idx="1788">
                  <c:v>0.9929869193985943</c:v>
                </c:pt>
                <c:pt idx="1789">
                  <c:v>0.9929980502511121</c:v>
                </c:pt>
                <c:pt idx="1790">
                  <c:v>0.9930091672206884</c:v>
                </c:pt>
                <c:pt idx="1791">
                  <c:v>0.9930202801070467</c:v>
                </c:pt>
                <c:pt idx="1792">
                  <c:v>0.9930313611443038</c:v>
                </c:pt>
                <c:pt idx="1793">
                  <c:v>0.9930424086991726</c:v>
                </c:pt>
                <c:pt idx="1794">
                  <c:v>0.993053429304802</c:v>
                </c:pt>
                <c:pt idx="1795">
                  <c:v>0.9930644303109846</c:v>
                </c:pt>
                <c:pt idx="1796">
                  <c:v>0.993075427233949</c:v>
                </c:pt>
                <c:pt idx="1797">
                  <c:v>0.9930863792415144</c:v>
                </c:pt>
                <c:pt idx="1798">
                  <c:v>0.9930973206327128</c:v>
                </c:pt>
                <c:pt idx="1799">
                  <c:v>0.9931081934258472</c:v>
                </c:pt>
                <c:pt idx="1800">
                  <c:v>0.99311906131912</c:v>
                </c:pt>
                <c:pt idx="1801">
                  <c:v>0.9931298589810416</c:v>
                </c:pt>
                <c:pt idx="1802">
                  <c:v>0.9931406288770801</c:v>
                </c:pt>
                <c:pt idx="1803">
                  <c:v>0.9931513734571664</c:v>
                </c:pt>
                <c:pt idx="1804">
                  <c:v>0.9931621131373911</c:v>
                </c:pt>
                <c:pt idx="1805">
                  <c:v>0.993172820151871</c:v>
                </c:pt>
                <c:pt idx="1806">
                  <c:v>0.9931834904173881</c:v>
                </c:pt>
                <c:pt idx="1807">
                  <c:v>0.9931941329170222</c:v>
                </c:pt>
                <c:pt idx="1808">
                  <c:v>0.9932047509173477</c:v>
                </c:pt>
                <c:pt idx="1809">
                  <c:v>0.9932153485015828</c:v>
                </c:pt>
                <c:pt idx="1810">
                  <c:v>0.9932259036203497</c:v>
                </c:pt>
                <c:pt idx="1811">
                  <c:v>0.9932364415896006</c:v>
                </c:pt>
                <c:pt idx="1812">
                  <c:v>0.9932469256603726</c:v>
                </c:pt>
                <c:pt idx="1813">
                  <c:v>0.993257355832666</c:v>
                </c:pt>
                <c:pt idx="1814">
                  <c:v>0.9932885442690936</c:v>
                </c:pt>
                <c:pt idx="1815">
                  <c:v>0.9932989287093443</c:v>
                </c:pt>
                <c:pt idx="1816">
                  <c:v>0.9933092706841269</c:v>
                </c:pt>
                <c:pt idx="1817">
                  <c:v>0.9933196077590477</c:v>
                </c:pt>
                <c:pt idx="1818">
                  <c:v>0.9933402427099957</c:v>
                </c:pt>
                <c:pt idx="1819">
                  <c:v>0.9933505389527355</c:v>
                </c:pt>
                <c:pt idx="1820">
                  <c:v>0.9933608270290393</c:v>
                </c:pt>
                <c:pt idx="1821">
                  <c:v>0.9933711110221249</c:v>
                </c:pt>
                <c:pt idx="1822">
                  <c:v>0.9933813852154871</c:v>
                </c:pt>
                <c:pt idx="1823">
                  <c:v>0.993391649609126</c:v>
                </c:pt>
                <c:pt idx="1824">
                  <c:v>0.9934018764371583</c:v>
                </c:pt>
                <c:pt idx="1825">
                  <c:v>0.9934120828491002</c:v>
                </c:pt>
                <c:pt idx="1826">
                  <c:v>0.9934222835445368</c:v>
                </c:pt>
                <c:pt idx="1827">
                  <c:v>0.9934426604361013</c:v>
                </c:pt>
                <c:pt idx="1828">
                  <c:v>0.9934528260158623</c:v>
                </c:pt>
                <c:pt idx="1829">
                  <c:v>0.9934629719961764</c:v>
                </c:pt>
                <c:pt idx="1830">
                  <c:v>0.9934730893939638</c:v>
                </c:pt>
                <c:pt idx="1831">
                  <c:v>0.9934831765759374</c:v>
                </c:pt>
                <c:pt idx="1832">
                  <c:v>0.99350327090881</c:v>
                </c:pt>
                <c:pt idx="1833">
                  <c:v>0.9935132919426505</c:v>
                </c:pt>
                <c:pt idx="1834">
                  <c:v>0.9935232713276665</c:v>
                </c:pt>
                <c:pt idx="1835">
                  <c:v>0.9935332417296027</c:v>
                </c:pt>
                <c:pt idx="1836">
                  <c:v>0.9935431982485974</c:v>
                </c:pt>
                <c:pt idx="1837">
                  <c:v>0.9935531384347197</c:v>
                </c:pt>
                <c:pt idx="1838">
                  <c:v>0.9935630712710495</c:v>
                </c:pt>
                <c:pt idx="1839">
                  <c:v>0.9935729967575867</c:v>
                </c:pt>
                <c:pt idx="1840">
                  <c:v>0.9935829140776877</c:v>
                </c:pt>
                <c:pt idx="1841">
                  <c:v>0.9936026850196875</c:v>
                </c:pt>
                <c:pt idx="1842">
                  <c:v>0.9936224208460116</c:v>
                </c:pt>
                <c:pt idx="1843">
                  <c:v>0.9936322818177029</c:v>
                </c:pt>
                <c:pt idx="1844">
                  <c:v>0.9936421215566602</c:v>
                </c:pt>
                <c:pt idx="1845">
                  <c:v>0.993651913113644</c:v>
                </c:pt>
                <c:pt idx="1846">
                  <c:v>0.9936616858878246</c:v>
                </c:pt>
                <c:pt idx="1847">
                  <c:v>0.9936714513122126</c:v>
                </c:pt>
                <c:pt idx="1848">
                  <c:v>0.9936812044869463</c:v>
                </c:pt>
                <c:pt idx="1849">
                  <c:v>0.9936909388788768</c:v>
                </c:pt>
                <c:pt idx="1850">
                  <c:v>0.9937006585712221</c:v>
                </c:pt>
                <c:pt idx="1851">
                  <c:v>0.9937103390646738</c:v>
                </c:pt>
                <c:pt idx="1852">
                  <c:v>0.9937200154749074</c:v>
                </c:pt>
                <c:pt idx="1853">
                  <c:v>0.9937296861686357</c:v>
                </c:pt>
                <c:pt idx="1854">
                  <c:v>0.9937393405294915</c:v>
                </c:pt>
                <c:pt idx="1855">
                  <c:v>0.9937489908071293</c:v>
                </c:pt>
                <c:pt idx="1856">
                  <c:v>0.9937586329183309</c:v>
                </c:pt>
                <c:pt idx="1857">
                  <c:v>0.9937682537967985</c:v>
                </c:pt>
                <c:pt idx="1858">
                  <c:v>0.9937778411928776</c:v>
                </c:pt>
                <c:pt idx="1859">
                  <c:v>0.9937874147060153</c:v>
                </c:pt>
                <c:pt idx="1860">
                  <c:v>0.9937969588199826</c:v>
                </c:pt>
                <c:pt idx="1861">
                  <c:v>0.9938064972174447</c:v>
                </c:pt>
                <c:pt idx="1862">
                  <c:v>0.9938160233652525</c:v>
                </c:pt>
                <c:pt idx="1863">
                  <c:v>0.9938255192972465</c:v>
                </c:pt>
                <c:pt idx="1864">
                  <c:v>0.993834973580416</c:v>
                </c:pt>
                <c:pt idx="1865">
                  <c:v>0.9938444131640002</c:v>
                </c:pt>
                <c:pt idx="1866">
                  <c:v>0.9938537963991748</c:v>
                </c:pt>
                <c:pt idx="1867">
                  <c:v>0.9938631755511314</c:v>
                </c:pt>
                <c:pt idx="1868">
                  <c:v>0.9938725547030879</c:v>
                </c:pt>
                <c:pt idx="1869">
                  <c:v>0.99388193058847</c:v>
                </c:pt>
                <c:pt idx="1870">
                  <c:v>0.9938913032072776</c:v>
                </c:pt>
                <c:pt idx="1871">
                  <c:v>0.9939006692929362</c:v>
                </c:pt>
                <c:pt idx="1872">
                  <c:v>0.9939100321120203</c:v>
                </c:pt>
                <c:pt idx="1873">
                  <c:v>0.9939193818648066</c:v>
                </c:pt>
                <c:pt idx="1874">
                  <c:v>0.9939287259010875</c:v>
                </c:pt>
                <c:pt idx="1875">
                  <c:v>0.9939380691207248</c:v>
                </c:pt>
                <c:pt idx="1876">
                  <c:v>0.9939474123403621</c:v>
                </c:pt>
                <c:pt idx="1877">
                  <c:v>0.993956745760276</c:v>
                </c:pt>
                <c:pt idx="1878">
                  <c:v>0.9939660652972484</c:v>
                </c:pt>
                <c:pt idx="1879">
                  <c:v>0.9939753750344974</c:v>
                </c:pt>
                <c:pt idx="1880">
                  <c:v>0.9939846766053102</c:v>
                </c:pt>
                <c:pt idx="1881">
                  <c:v>0.9939939553101017</c:v>
                </c:pt>
                <c:pt idx="1882">
                  <c:v>0.9940124898536633</c:v>
                </c:pt>
                <c:pt idx="1883">
                  <c:v>0.9940217334427792</c:v>
                </c:pt>
                <c:pt idx="1884">
                  <c:v>0.9940309631489536</c:v>
                </c:pt>
                <c:pt idx="1885">
                  <c:v>0.9940493302805734</c:v>
                </c:pt>
                <c:pt idx="1886">
                  <c:v>0.9940585003717636</c:v>
                </c:pt>
                <c:pt idx="1887">
                  <c:v>0.9940676622965177</c:v>
                </c:pt>
                <c:pt idx="1888">
                  <c:v>0.9940768111549738</c:v>
                </c:pt>
                <c:pt idx="1889">
                  <c:v>0.994085946947132</c:v>
                </c:pt>
                <c:pt idx="1890">
                  <c:v>0.9940950819226467</c:v>
                </c:pt>
                <c:pt idx="1891">
                  <c:v>0.9941133322742292</c:v>
                </c:pt>
                <c:pt idx="1892">
                  <c:v>0.9941224019182543</c:v>
                </c:pt>
                <c:pt idx="1893">
                  <c:v>0.9941314348133167</c:v>
                </c:pt>
                <c:pt idx="1894">
                  <c:v>0.9941404415757832</c:v>
                </c:pt>
                <c:pt idx="1895">
                  <c:v>0.9941494442550316</c:v>
                </c:pt>
                <c:pt idx="1896">
                  <c:v>0.994158415085179</c:v>
                </c:pt>
                <c:pt idx="1897">
                  <c:v>0.9941673850986827</c:v>
                </c:pt>
                <c:pt idx="1898">
                  <c:v>0.9941763477623939</c:v>
                </c:pt>
                <c:pt idx="1899">
                  <c:v>0.9941853079761742</c:v>
                </c:pt>
                <c:pt idx="1900">
                  <c:v>0.9942031614389581</c:v>
                </c:pt>
                <c:pt idx="1901">
                  <c:v>0.9942120775539831</c:v>
                </c:pt>
                <c:pt idx="1902">
                  <c:v>0.9942209716196303</c:v>
                </c:pt>
                <c:pt idx="1903">
                  <c:v>0.994229864868634</c:v>
                </c:pt>
                <c:pt idx="1904">
                  <c:v>0.9942387385181908</c:v>
                </c:pt>
                <c:pt idx="1905">
                  <c:v>0.9942475958348752</c:v>
                </c:pt>
                <c:pt idx="1906">
                  <c:v>0.9942564441684798</c:v>
                </c:pt>
                <c:pt idx="1907">
                  <c:v>0.9942652394202492</c:v>
                </c:pt>
                <c:pt idx="1908">
                  <c:v>0.9942739971064122</c:v>
                </c:pt>
                <c:pt idx="1909">
                  <c:v>0.9942827229434741</c:v>
                </c:pt>
                <c:pt idx="1910">
                  <c:v>0.9942914455139614</c:v>
                </c:pt>
                <c:pt idx="1911">
                  <c:v>0.9943001631845871</c:v>
                </c:pt>
                <c:pt idx="1912">
                  <c:v>0.9943088726887767</c:v>
                </c:pt>
                <c:pt idx="1913">
                  <c:v>0.9943262206491609</c:v>
                </c:pt>
                <c:pt idx="1914">
                  <c:v>0.9943348901378131</c:v>
                </c:pt>
                <c:pt idx="1915">
                  <c:v>0.9943435400270184</c:v>
                </c:pt>
                <c:pt idx="1916">
                  <c:v>0.9943607940733865</c:v>
                </c:pt>
                <c:pt idx="1917">
                  <c:v>0.9943779991211374</c:v>
                </c:pt>
                <c:pt idx="1918">
                  <c:v>0.9943865657126937</c:v>
                </c:pt>
                <c:pt idx="1919">
                  <c:v>0.9943951037217234</c:v>
                </c:pt>
                <c:pt idx="1920">
                  <c:v>0.9944121511572559</c:v>
                </c:pt>
                <c:pt idx="1921">
                  <c:v>0.9944206467008174</c:v>
                </c:pt>
                <c:pt idx="1922">
                  <c:v>0.9944291414277353</c:v>
                </c:pt>
                <c:pt idx="1923">
                  <c:v>0.994437627988217</c:v>
                </c:pt>
                <c:pt idx="1924">
                  <c:v>0.994446113732055</c:v>
                </c:pt>
                <c:pt idx="1925">
                  <c:v>0.9944545970259623</c:v>
                </c:pt>
                <c:pt idx="1926">
                  <c:v>0.9944630746033641</c:v>
                </c:pt>
                <c:pt idx="1927">
                  <c:v>0.9944715497308352</c:v>
                </c:pt>
                <c:pt idx="1928">
                  <c:v>0.9944884665033888</c:v>
                </c:pt>
                <c:pt idx="1929">
                  <c:v>0.9944969032486098</c:v>
                </c:pt>
                <c:pt idx="1930">
                  <c:v>0.994505320394384</c:v>
                </c:pt>
                <c:pt idx="1931">
                  <c:v>0.9945137114075623</c:v>
                </c:pt>
                <c:pt idx="1932">
                  <c:v>0.9945220893544428</c:v>
                </c:pt>
                <c:pt idx="1933">
                  <c:v>0.9945304517850945</c:v>
                </c:pt>
                <c:pt idx="1934">
                  <c:v>0.9945388093158845</c:v>
                </c:pt>
                <c:pt idx="1935">
                  <c:v>0.9945471537803765</c:v>
                </c:pt>
                <c:pt idx="1936">
                  <c:v>0.994563820659983</c:v>
                </c:pt>
                <c:pt idx="1937">
                  <c:v>0.9945721496082462</c:v>
                </c:pt>
                <c:pt idx="1938">
                  <c:v>0.9945804728400043</c:v>
                </c:pt>
                <c:pt idx="1939">
                  <c:v>0.9945887936218314</c:v>
                </c:pt>
                <c:pt idx="1940">
                  <c:v>0.9945970866377756</c:v>
                </c:pt>
                <c:pt idx="1941">
                  <c:v>0.9946136261209776</c:v>
                </c:pt>
                <c:pt idx="1942">
                  <c:v>0.9946218881044643</c:v>
                </c:pt>
                <c:pt idx="1943">
                  <c:v>0.9946301304885041</c:v>
                </c:pt>
                <c:pt idx="1944">
                  <c:v>0.9946383712392567</c:v>
                </c:pt>
                <c:pt idx="1945">
                  <c:v>0.9946465850407699</c:v>
                </c:pt>
                <c:pt idx="1946">
                  <c:v>0.9946547923091341</c:v>
                </c:pt>
                <c:pt idx="1947">
                  <c:v>0.9946629995774984</c:v>
                </c:pt>
                <c:pt idx="1948">
                  <c:v>0.9946712027626445</c:v>
                </c:pt>
                <c:pt idx="1949">
                  <c:v>0.9946875805504102</c:v>
                </c:pt>
                <c:pt idx="1950">
                  <c:v>0.994695754336386</c:v>
                </c:pt>
                <c:pt idx="1951">
                  <c:v>0.9947039126061331</c:v>
                </c:pt>
                <c:pt idx="1952">
                  <c:v>0.9947201915800209</c:v>
                </c:pt>
                <c:pt idx="1953">
                  <c:v>0.9947283294336775</c:v>
                </c:pt>
                <c:pt idx="1954">
                  <c:v>0.9947364199220043</c:v>
                </c:pt>
                <c:pt idx="1955">
                  <c:v>0.9947444940774588</c:v>
                </c:pt>
                <c:pt idx="1956">
                  <c:v>0.994752566599626</c:v>
                </c:pt>
                <c:pt idx="1957">
                  <c:v>0.9947606056394048</c:v>
                </c:pt>
                <c:pt idx="1958">
                  <c:v>0.9947686152800134</c:v>
                </c:pt>
                <c:pt idx="1959">
                  <c:v>0.994784586379257</c:v>
                </c:pt>
                <c:pt idx="1960">
                  <c:v>0.9947925486545357</c:v>
                </c:pt>
                <c:pt idx="1961">
                  <c:v>0.9948005060299527</c:v>
                </c:pt>
                <c:pt idx="1962">
                  <c:v>0.9948084601387953</c:v>
                </c:pt>
                <c:pt idx="1963">
                  <c:v>0.9948164068978452</c:v>
                </c:pt>
                <c:pt idx="1964">
                  <c:v>0.9948243471237462</c:v>
                </c:pt>
                <c:pt idx="1965">
                  <c:v>0.9948322604004078</c:v>
                </c:pt>
                <c:pt idx="1966">
                  <c:v>0.9948401557109099</c:v>
                </c:pt>
                <c:pt idx="1967">
                  <c:v>0.9948480371384704</c:v>
                </c:pt>
                <c:pt idx="1968">
                  <c:v>0.9948558565011159</c:v>
                </c:pt>
                <c:pt idx="1969">
                  <c:v>0.9948714013123907</c:v>
                </c:pt>
                <c:pt idx="1970">
                  <c:v>0.9948791332941691</c:v>
                </c:pt>
                <c:pt idx="1971">
                  <c:v>0.9948868636426602</c:v>
                </c:pt>
                <c:pt idx="1972">
                  <c:v>0.9949022941238286</c:v>
                </c:pt>
                <c:pt idx="1973">
                  <c:v>0.9949099811902079</c:v>
                </c:pt>
                <c:pt idx="1974">
                  <c:v>0.9949176568235766</c:v>
                </c:pt>
                <c:pt idx="1975">
                  <c:v>0.9949253169407165</c:v>
                </c:pt>
                <c:pt idx="1976">
                  <c:v>0.9949329590916969</c:v>
                </c:pt>
                <c:pt idx="1977">
                  <c:v>0.9949482303273597</c:v>
                </c:pt>
                <c:pt idx="1978">
                  <c:v>0.9949558528788932</c:v>
                </c:pt>
                <c:pt idx="1979">
                  <c:v>0.9949634501144745</c:v>
                </c:pt>
                <c:pt idx="1980">
                  <c:v>0.9949710465334122</c:v>
                </c:pt>
                <c:pt idx="1981">
                  <c:v>0.9949786396857754</c:v>
                </c:pt>
                <c:pt idx="1982">
                  <c:v>0.995001246014418</c:v>
                </c:pt>
                <c:pt idx="1983">
                  <c:v>0.9950087191201693</c:v>
                </c:pt>
                <c:pt idx="1984">
                  <c:v>0.99501618079291</c:v>
                </c:pt>
                <c:pt idx="1985">
                  <c:v>0.9950236293993527</c:v>
                </c:pt>
                <c:pt idx="1986">
                  <c:v>0.9950310665727848</c:v>
                </c:pt>
                <c:pt idx="1987">
                  <c:v>0.9950385012962861</c:v>
                </c:pt>
                <c:pt idx="1988">
                  <c:v>0.9950459254034204</c:v>
                </c:pt>
                <c:pt idx="1989">
                  <c:v>0.9950607540182421</c:v>
                </c:pt>
                <c:pt idx="1990">
                  <c:v>0.9950681544427115</c:v>
                </c:pt>
                <c:pt idx="1991">
                  <c:v>0.9950755017853455</c:v>
                </c:pt>
                <c:pt idx="1992">
                  <c:v>0.9950828368783253</c:v>
                </c:pt>
                <c:pt idx="1993">
                  <c:v>0.995090167888087</c:v>
                </c:pt>
                <c:pt idx="1994">
                  <c:v>0.9950974915480562</c:v>
                </c:pt>
                <c:pt idx="1995">
                  <c:v>0.9951048111248072</c:v>
                </c:pt>
                <c:pt idx="1996">
                  <c:v>0.9951121135520423</c:v>
                </c:pt>
                <c:pt idx="1997">
                  <c:v>0.9951266865574114</c:v>
                </c:pt>
                <c:pt idx="1998">
                  <c:v>0.9951339636686943</c:v>
                </c:pt>
                <c:pt idx="1999">
                  <c:v>0.995141235063472</c:v>
                </c:pt>
                <c:pt idx="2000">
                  <c:v>0.9951485064582496</c:v>
                </c:pt>
                <c:pt idx="2001">
                  <c:v>0.9951557762197399</c:v>
                </c:pt>
                <c:pt idx="2002">
                  <c:v>0.9951630320982888</c:v>
                </c:pt>
                <c:pt idx="2003">
                  <c:v>0.9951702806270452</c:v>
                </c:pt>
                <c:pt idx="2004">
                  <c:v>0.9951775185394344</c:v>
                </c:pt>
                <c:pt idx="2005">
                  <c:v>0.9951847548185364</c:v>
                </c:pt>
                <c:pt idx="2006">
                  <c:v>0.9951919804812714</c:v>
                </c:pt>
                <c:pt idx="2007">
                  <c:v>0.9951992020607884</c:v>
                </c:pt>
                <c:pt idx="2008">
                  <c:v>0.9952064179237999</c:v>
                </c:pt>
                <c:pt idx="2009">
                  <c:v>0.9952136248037317</c:v>
                </c:pt>
                <c:pt idx="2010">
                  <c:v>0.9952208276004453</c:v>
                </c:pt>
                <c:pt idx="2011">
                  <c:v>0.9952280116143557</c:v>
                </c:pt>
                <c:pt idx="2012">
                  <c:v>0.9952351605125905</c:v>
                </c:pt>
                <c:pt idx="2013">
                  <c:v>0.9952422816449423</c:v>
                </c:pt>
                <c:pt idx="2014">
                  <c:v>0.9952493954275016</c:v>
                </c:pt>
                <c:pt idx="2015">
                  <c:v>0.9952565043101992</c:v>
                </c:pt>
                <c:pt idx="2016">
                  <c:v>0.9952706567441049</c:v>
                </c:pt>
                <c:pt idx="2017">
                  <c:v>0.9952777166281853</c:v>
                </c:pt>
                <c:pt idx="2018">
                  <c:v>0.9952847748789785</c:v>
                </c:pt>
                <c:pt idx="2019">
                  <c:v>0.9952918314964845</c:v>
                </c:pt>
                <c:pt idx="2020">
                  <c:v>0.9952988774976235</c:v>
                </c:pt>
                <c:pt idx="2021">
                  <c:v>0.9953059177822571</c:v>
                </c:pt>
                <c:pt idx="2022">
                  <c:v>0.9953129556169599</c:v>
                </c:pt>
                <c:pt idx="2023">
                  <c:v>0.9953199910017317</c:v>
                </c:pt>
                <c:pt idx="2024">
                  <c:v>0.9953270051537696</c:v>
                </c:pt>
                <c:pt idx="2025">
                  <c:v>0.9953409918090207</c:v>
                </c:pt>
                <c:pt idx="2026">
                  <c:v>0.9953618366373785</c:v>
                </c:pt>
                <c:pt idx="2027">
                  <c:v>0.9953687380925971</c:v>
                </c:pt>
                <c:pt idx="2028">
                  <c:v>0.9953756370978847</c:v>
                </c:pt>
                <c:pt idx="2029">
                  <c:v>0.9953825214035872</c:v>
                </c:pt>
                <c:pt idx="2030">
                  <c:v>0.9953894024427152</c:v>
                </c:pt>
                <c:pt idx="2031">
                  <c:v>0.9953962671489709</c:v>
                </c:pt>
                <c:pt idx="2032">
                  <c:v>0.9954031277720085</c:v>
                </c:pt>
                <c:pt idx="2033">
                  <c:v>0.9954099859451152</c:v>
                </c:pt>
                <c:pt idx="2034">
                  <c:v>0.995416841668291</c:v>
                </c:pt>
                <c:pt idx="2035">
                  <c:v>0.9954236957581797</c:v>
                </c:pt>
                <c:pt idx="2036">
                  <c:v>0.9954305433149194</c:v>
                </c:pt>
                <c:pt idx="2037">
                  <c:v>0.9954373867884411</c:v>
                </c:pt>
                <c:pt idx="2038">
                  <c:v>0.9954510222869363</c:v>
                </c:pt>
                <c:pt idx="2039">
                  <c:v>0.995457818395128</c:v>
                </c:pt>
                <c:pt idx="2040">
                  <c:v>0.9954646136866762</c:v>
                </c:pt>
                <c:pt idx="2041">
                  <c:v>0.995471373045905</c:v>
                </c:pt>
                <c:pt idx="2042">
                  <c:v>0.9954781307718468</c:v>
                </c:pt>
                <c:pt idx="2043">
                  <c:v>0.9954848443990331</c:v>
                </c:pt>
                <c:pt idx="2044">
                  <c:v>0.9954915555762885</c:v>
                </c:pt>
                <c:pt idx="2045">
                  <c:v>0.9954982512373153</c:v>
                </c:pt>
                <c:pt idx="2046">
                  <c:v>0.9955049281155387</c:v>
                </c:pt>
                <c:pt idx="2047">
                  <c:v>0.995511590294177</c:v>
                </c:pt>
                <c:pt idx="2048">
                  <c:v>0.9955182508395282</c:v>
                </c:pt>
                <c:pt idx="2049">
                  <c:v>0.9955248901521452</c:v>
                </c:pt>
                <c:pt idx="2050">
                  <c:v>0.9955315270148314</c:v>
                </c:pt>
                <c:pt idx="2051">
                  <c:v>0.9955447582747355</c:v>
                </c:pt>
                <c:pt idx="2052">
                  <c:v>0.9955513167396344</c:v>
                </c:pt>
                <c:pt idx="2053">
                  <c:v>0.9955578694880278</c:v>
                </c:pt>
                <c:pt idx="2054">
                  <c:v>0.9955644124366979</c:v>
                </c:pt>
                <c:pt idx="2055">
                  <c:v>0.9955709480355754</c:v>
                </c:pt>
                <c:pt idx="2056">
                  <c:v>0.9955774689348678</c:v>
                </c:pt>
                <c:pt idx="2057">
                  <c:v>0.9955839694180697</c:v>
                </c:pt>
                <c:pt idx="2058">
                  <c:v>0.9955904650014099</c:v>
                </c:pt>
                <c:pt idx="2059">
                  <c:v>0.995603443918436</c:v>
                </c:pt>
                <c:pt idx="2060">
                  <c:v>0.9956099231689038</c:v>
                </c:pt>
                <c:pt idx="2061">
                  <c:v>0.9956228277713607</c:v>
                </c:pt>
                <c:pt idx="2062">
                  <c:v>0.9956356686756153</c:v>
                </c:pt>
                <c:pt idx="2063">
                  <c:v>0.9956484319987261</c:v>
                </c:pt>
                <c:pt idx="2064">
                  <c:v>0.9956548067188108</c:v>
                </c:pt>
                <c:pt idx="2065">
                  <c:v>0.9956611789889647</c:v>
                </c:pt>
                <c:pt idx="2066">
                  <c:v>0.9956675365595333</c:v>
                </c:pt>
                <c:pt idx="2067">
                  <c:v>0.9956738908635275</c:v>
                </c:pt>
                <c:pt idx="2068">
                  <c:v>0.9956802272013622</c:v>
                </c:pt>
                <c:pt idx="2069">
                  <c:v>0.9956865610892659</c:v>
                </c:pt>
                <c:pt idx="2070">
                  <c:v>0.9956928761943664</c:v>
                </c:pt>
                <c:pt idx="2071">
                  <c:v>0.9956991839496744</c:v>
                </c:pt>
                <c:pt idx="2072">
                  <c:v>0.9957054680223174</c:v>
                </c:pt>
                <c:pt idx="2073">
                  <c:v>0.9957117333121572</c:v>
                </c:pt>
                <c:pt idx="2074">
                  <c:v>0.9957179847190556</c:v>
                </c:pt>
                <c:pt idx="2075">
                  <c:v>0.9957242255095868</c:v>
                </c:pt>
                <c:pt idx="2076">
                  <c:v>0.9957304491506022</c:v>
                </c:pt>
                <c:pt idx="2077">
                  <c:v>0.9957366711583302</c:v>
                </c:pt>
                <c:pt idx="2078">
                  <c:v>0.9957428858162657</c:v>
                </c:pt>
                <c:pt idx="2079">
                  <c:v>0.9957490841413288</c:v>
                </c:pt>
                <c:pt idx="2080">
                  <c:v>0.9957552791998174</c:v>
                </c:pt>
                <c:pt idx="2081">
                  <c:v>0.9957614685418008</c:v>
                </c:pt>
                <c:pt idx="2082">
                  <c:v>0.9957799671530432</c:v>
                </c:pt>
                <c:pt idx="2083">
                  <c:v>0.9957860682975157</c:v>
                </c:pt>
                <c:pt idx="2084">
                  <c:v>0.9958041634868106</c:v>
                </c:pt>
                <c:pt idx="2085">
                  <c:v>0.9958101862334957</c:v>
                </c:pt>
                <c:pt idx="2086">
                  <c:v>0.9958162089801809</c:v>
                </c:pt>
                <c:pt idx="2087">
                  <c:v>0.9958222219271426</c:v>
                </c:pt>
                <c:pt idx="2088">
                  <c:v>0.9958282332408172</c:v>
                </c:pt>
                <c:pt idx="2089">
                  <c:v>0.995834233121481</c:v>
                </c:pt>
                <c:pt idx="2090">
                  <c:v>0.995840230552214</c:v>
                </c:pt>
                <c:pt idx="2091">
                  <c:v>0.9958462165499364</c:v>
                </c:pt>
                <c:pt idx="2092">
                  <c:v>0.9958521919312917</c:v>
                </c:pt>
                <c:pt idx="2093">
                  <c:v>0.9958641353442098</c:v>
                </c:pt>
                <c:pt idx="2094">
                  <c:v>0.9958700894928311</c:v>
                </c:pt>
                <c:pt idx="2095">
                  <c:v>0.9958760395582342</c:v>
                </c:pt>
                <c:pt idx="2096">
                  <c:v>0.9958878384252319</c:v>
                </c:pt>
                <c:pt idx="2097">
                  <c:v>0.99589372642572</c:v>
                </c:pt>
                <c:pt idx="2098">
                  <c:v>0.9959054730275261</c:v>
                </c:pt>
                <c:pt idx="2099">
                  <c:v>0.9959171910468055</c:v>
                </c:pt>
                <c:pt idx="2100">
                  <c:v>0.9959230480148362</c:v>
                </c:pt>
                <c:pt idx="2101">
                  <c:v>0.9959405405211409</c:v>
                </c:pt>
                <c:pt idx="2102">
                  <c:v>0.9959463582902779</c:v>
                </c:pt>
                <c:pt idx="2103">
                  <c:v>0.9959521507434627</c:v>
                </c:pt>
                <c:pt idx="2104">
                  <c:v>0.9959637250334652</c:v>
                </c:pt>
                <c:pt idx="2105">
                  <c:v>0.9959695011537777</c:v>
                </c:pt>
                <c:pt idx="2106">
                  <c:v>0.9959809325311472</c:v>
                </c:pt>
                <c:pt idx="2107">
                  <c:v>0.9959866253538106</c:v>
                </c:pt>
                <c:pt idx="2108">
                  <c:v>0.9959923083767505</c:v>
                </c:pt>
                <c:pt idx="2109">
                  <c:v>0.9960036662561942</c:v>
                </c:pt>
                <c:pt idx="2110">
                  <c:v>0.9960093402960544</c:v>
                </c:pt>
                <c:pt idx="2111">
                  <c:v>0.9960150110693401</c:v>
                </c:pt>
                <c:pt idx="2112">
                  <c:v>0.9960206793926949</c:v>
                </c:pt>
                <c:pt idx="2113">
                  <c:v>0.9960263077005124</c:v>
                </c:pt>
                <c:pt idx="2114">
                  <c:v>0.9960319327417554</c:v>
                </c:pt>
                <c:pt idx="2115">
                  <c:v>0.9960375512498495</c:v>
                </c:pt>
                <c:pt idx="2116">
                  <c:v>0.9960431599582202</c:v>
                </c:pt>
                <c:pt idx="2117">
                  <c:v>0.9960487678499473</c:v>
                </c:pt>
                <c:pt idx="2118">
                  <c:v>0.9960543724751</c:v>
                </c:pt>
                <c:pt idx="2119">
                  <c:v>0.996059965667242</c:v>
                </c:pt>
                <c:pt idx="2120">
                  <c:v>0.9960711112193449</c:v>
                </c:pt>
                <c:pt idx="2121">
                  <c:v>0.9960766774622474</c:v>
                </c:pt>
                <c:pt idx="2122">
                  <c:v>0.9960822314554957</c:v>
                </c:pt>
                <c:pt idx="2123">
                  <c:v>0.9960877731990897</c:v>
                </c:pt>
                <c:pt idx="2124">
                  <c:v>0.9960933108594656</c:v>
                </c:pt>
                <c:pt idx="2125">
                  <c:v>0.9961043845469302</c:v>
                </c:pt>
                <c:pt idx="2126">
                  <c:v>0.9961099164908007</c:v>
                </c:pt>
                <c:pt idx="2127">
                  <c:v>0.9961154345517298</c:v>
                </c:pt>
                <c:pt idx="2128">
                  <c:v>0.9961264567906464</c:v>
                </c:pt>
                <c:pt idx="2129">
                  <c:v>0.9961319462690488</c:v>
                </c:pt>
                <c:pt idx="2130">
                  <c:v>0.9961374234977969</c:v>
                </c:pt>
                <c:pt idx="2131">
                  <c:v>0.9961428966433269</c:v>
                </c:pt>
                <c:pt idx="2132">
                  <c:v>0.9961592540150019</c:v>
                </c:pt>
                <c:pt idx="2133">
                  <c:v>0.9961646928615</c:v>
                </c:pt>
                <c:pt idx="2134">
                  <c:v>0.9961701259914928</c:v>
                </c:pt>
                <c:pt idx="2135">
                  <c:v>0.9961755517716929</c:v>
                </c:pt>
                <c:pt idx="2136">
                  <c:v>0.9961918037963413</c:v>
                </c:pt>
                <c:pt idx="2137">
                  <c:v>0.9962079790564896</c:v>
                </c:pt>
                <c:pt idx="2138">
                  <c:v>0.9962133558380727</c:v>
                </c:pt>
                <c:pt idx="2139">
                  <c:v>0.9962187318030121</c:v>
                </c:pt>
                <c:pt idx="2140">
                  <c:v>0.9962241012348027</c:v>
                </c:pt>
                <c:pt idx="2141">
                  <c:v>0.9962294665833751</c:v>
                </c:pt>
                <c:pt idx="2142">
                  <c:v>0.9962348311153039</c:v>
                </c:pt>
                <c:pt idx="2143">
                  <c:v>0.9962401931973018</c:v>
                </c:pt>
                <c:pt idx="2144">
                  <c:v>0.9962455381297838</c:v>
                </c:pt>
                <c:pt idx="2145">
                  <c:v>0.9962508797956913</c:v>
                </c:pt>
                <c:pt idx="2146">
                  <c:v>0.9962562198283115</c:v>
                </c:pt>
                <c:pt idx="2147">
                  <c:v>0.9962615565943572</c:v>
                </c:pt>
                <c:pt idx="2148">
                  <c:v>0.9962668917271158</c:v>
                </c:pt>
                <c:pt idx="2149">
                  <c:v>0.9962775415765425</c:v>
                </c:pt>
                <c:pt idx="2150">
                  <c:v>0.9962828562932106</c:v>
                </c:pt>
                <c:pt idx="2151">
                  <c:v>0.9962881693765914</c:v>
                </c:pt>
                <c:pt idx="2152">
                  <c:v>0.9962934661270999</c:v>
                </c:pt>
                <c:pt idx="2153">
                  <c:v>0.9963093326959604</c:v>
                </c:pt>
                <c:pt idx="2154">
                  <c:v>0.9963146073970912</c:v>
                </c:pt>
                <c:pt idx="2155">
                  <c:v>0.996319882098222</c:v>
                </c:pt>
                <c:pt idx="2156">
                  <c:v>0.9963251543494219</c:v>
                </c:pt>
                <c:pt idx="2157">
                  <c:v>0.9963304225174038</c:v>
                </c:pt>
                <c:pt idx="2158">
                  <c:v>0.9963409417038515</c:v>
                </c:pt>
                <c:pt idx="2159">
                  <c:v>0.9963461943556046</c:v>
                </c:pt>
                <c:pt idx="2160">
                  <c:v>0.9963566874094565</c:v>
                </c:pt>
                <c:pt idx="2161">
                  <c:v>0.9963619310781298</c:v>
                </c:pt>
                <c:pt idx="2162">
                  <c:v>0.9963671722968722</c:v>
                </c:pt>
                <c:pt idx="2163">
                  <c:v>0.9963724045325348</c:v>
                </c:pt>
                <c:pt idx="2164">
                  <c:v>0.9963776359515538</c:v>
                </c:pt>
                <c:pt idx="2165">
                  <c:v>0.9963828575708494</c:v>
                </c:pt>
                <c:pt idx="2166">
                  <c:v>0.9963880734736397</c:v>
                </c:pt>
                <c:pt idx="2167">
                  <c:v>0.9963932697769831</c:v>
                </c:pt>
                <c:pt idx="2168">
                  <c:v>0.9963984603638212</c:v>
                </c:pt>
                <c:pt idx="2169">
                  <c:v>0.9964036501340157</c:v>
                </c:pt>
                <c:pt idx="2170">
                  <c:v>0.9964088301044868</c:v>
                </c:pt>
                <c:pt idx="2171">
                  <c:v>0.9964140092583142</c:v>
                </c:pt>
                <c:pt idx="2172">
                  <c:v>0.9964191859622108</c:v>
                </c:pt>
                <c:pt idx="2173">
                  <c:v>0.9964243446999478</c:v>
                </c:pt>
                <c:pt idx="2174">
                  <c:v>0.9964295034376848</c:v>
                </c:pt>
                <c:pt idx="2175">
                  <c:v>0.9964346123601611</c:v>
                </c:pt>
                <c:pt idx="2176">
                  <c:v>0.9964397139328448</c:v>
                </c:pt>
                <c:pt idx="2177">
                  <c:v>0.9964499129949941</c:v>
                </c:pt>
                <c:pt idx="2178">
                  <c:v>0.9964600924576966</c:v>
                </c:pt>
                <c:pt idx="2179">
                  <c:v>0.9964651711643591</c:v>
                </c:pt>
                <c:pt idx="2180">
                  <c:v>0.9964753089782371</c:v>
                </c:pt>
                <c:pt idx="2181">
                  <c:v>0.9964803640022346</c:v>
                </c:pt>
                <c:pt idx="2182">
                  <c:v>0.9964854157596575</c:v>
                </c:pt>
                <c:pt idx="2183">
                  <c:v>0.9964904601672879</c:v>
                </c:pt>
                <c:pt idx="2184">
                  <c:v>0.996495498858413</c:v>
                </c:pt>
                <c:pt idx="2185">
                  <c:v>0.9965005318330328</c:v>
                </c:pt>
                <c:pt idx="2186">
                  <c:v>0.9965055607244344</c:v>
                </c:pt>
                <c:pt idx="2187">
                  <c:v>0.9965105887991925</c:v>
                </c:pt>
                <c:pt idx="2188">
                  <c:v>0.9965156168739506</c:v>
                </c:pt>
                <c:pt idx="2189">
                  <c:v>0.9965206392322034</c:v>
                </c:pt>
                <c:pt idx="2190">
                  <c:v>0.9965256607738124</c:v>
                </c:pt>
                <c:pt idx="2191">
                  <c:v>0.9965306823154215</c:v>
                </c:pt>
                <c:pt idx="2192">
                  <c:v>0.9965357014070998</c:v>
                </c:pt>
                <c:pt idx="2193">
                  <c:v>0.9965407115156982</c:v>
                </c:pt>
                <c:pt idx="2194">
                  <c:v>0.9965457167244349</c:v>
                </c:pt>
                <c:pt idx="2195">
                  <c:v>0.9965507211165281</c:v>
                </c:pt>
                <c:pt idx="2196">
                  <c:v>0.9965607274507835</c:v>
                </c:pt>
                <c:pt idx="2197">
                  <c:v>0.9965707060191559</c:v>
                </c:pt>
                <c:pt idx="2198">
                  <c:v>0.9965756924450894</c:v>
                </c:pt>
                <c:pt idx="2199">
                  <c:v>0.9965806715212303</c:v>
                </c:pt>
                <c:pt idx="2200">
                  <c:v>0.9965856489640841</c:v>
                </c:pt>
                <c:pt idx="2201">
                  <c:v>0.9966005077947195</c:v>
                </c:pt>
                <c:pt idx="2202">
                  <c:v>0.9966054484886104</c:v>
                </c:pt>
                <c:pt idx="2203">
                  <c:v>0.9966153012938656</c:v>
                </c:pt>
                <c:pt idx="2204">
                  <c:v>0.9966202174884479</c:v>
                </c:pt>
                <c:pt idx="2205">
                  <c:v>0.996625132049743</c:v>
                </c:pt>
                <c:pt idx="2206">
                  <c:v>0.9966300400778891</c:v>
                </c:pt>
                <c:pt idx="2207">
                  <c:v>0.99663494238953</c:v>
                </c:pt>
                <c:pt idx="2208">
                  <c:v>0.9966398447011708</c:v>
                </c:pt>
                <c:pt idx="2209">
                  <c:v>0.9966447429295936</c:v>
                </c:pt>
                <c:pt idx="2210">
                  <c:v>0.996649611758846</c:v>
                </c:pt>
                <c:pt idx="2211">
                  <c:v>0.9966593371676967</c:v>
                </c:pt>
                <c:pt idx="2212">
                  <c:v>0.9966641970138694</c:v>
                </c:pt>
                <c:pt idx="2213">
                  <c:v>0.9966690446103879</c:v>
                </c:pt>
                <c:pt idx="2214">
                  <c:v>0.996678728370414</c:v>
                </c:pt>
                <c:pt idx="2215">
                  <c:v>0.9966835612673474</c:v>
                </c:pt>
                <c:pt idx="2216">
                  <c:v>0.9966883859978445</c:v>
                </c:pt>
                <c:pt idx="2217">
                  <c:v>0.9967028275235911</c:v>
                </c:pt>
                <c:pt idx="2218">
                  <c:v>0.9967076351045722</c:v>
                </c:pt>
                <c:pt idx="2219">
                  <c:v>0.9967124402356224</c:v>
                </c:pt>
                <c:pt idx="2220">
                  <c:v>0.996722043964574</c:v>
                </c:pt>
                <c:pt idx="2221">
                  <c:v>0.9967268433791189</c:v>
                </c:pt>
                <c:pt idx="2222">
                  <c:v>0.9967364226087619</c:v>
                </c:pt>
                <c:pt idx="2223">
                  <c:v>0.9967412097736525</c:v>
                </c:pt>
                <c:pt idx="2224">
                  <c:v>0.9967555132866276</c:v>
                </c:pt>
                <c:pt idx="2225">
                  <c:v>0.9967650402510789</c:v>
                </c:pt>
                <c:pt idx="2226">
                  <c:v>0.9967698029166611</c:v>
                </c:pt>
                <c:pt idx="2227">
                  <c:v>0.9967793249812508</c:v>
                </c:pt>
                <c:pt idx="2228">
                  <c:v>0.9967840794803967</c:v>
                </c:pt>
                <c:pt idx="2229">
                  <c:v>0.9967888266297501</c:v>
                </c:pt>
                <c:pt idx="2230">
                  <c:v>0.9967935590795183</c:v>
                </c:pt>
                <c:pt idx="2231">
                  <c:v>0.9967982841794939</c:v>
                </c:pt>
                <c:pt idx="2232">
                  <c:v>0.996803008462826</c:v>
                </c:pt>
                <c:pt idx="2233">
                  <c:v>0.9968077262130091</c:v>
                </c:pt>
                <c:pt idx="2234">
                  <c:v>0.9968124268136762</c:v>
                </c:pt>
                <c:pt idx="2235">
                  <c:v>0.9968312030837488</c:v>
                </c:pt>
                <c:pt idx="2236">
                  <c:v>0.9968358849016127</c:v>
                </c:pt>
                <c:pt idx="2237">
                  <c:v>0.9968405667194765</c:v>
                </c:pt>
                <c:pt idx="2238">
                  <c:v>0.9968452485373404</c:v>
                </c:pt>
                <c:pt idx="2239">
                  <c:v>0.9968499295385607</c:v>
                </c:pt>
                <c:pt idx="2240">
                  <c:v>0.99685460808985</c:v>
                </c:pt>
                <c:pt idx="2241">
                  <c:v>0.9968592678583362</c:v>
                </c:pt>
                <c:pt idx="2242">
                  <c:v>0.996863917827099</c:v>
                </c:pt>
                <c:pt idx="2243">
                  <c:v>0.9968731875488107</c:v>
                </c:pt>
                <c:pt idx="2244">
                  <c:v>0.9968778024018979</c:v>
                </c:pt>
                <c:pt idx="2245">
                  <c:v>0.9968870174084872</c:v>
                </c:pt>
                <c:pt idx="2246">
                  <c:v>0.9968916142954147</c:v>
                </c:pt>
                <c:pt idx="2247">
                  <c:v>0.9968962005659753</c:v>
                </c:pt>
                <c:pt idx="2248">
                  <c:v>0.9969007811200304</c:v>
                </c:pt>
                <c:pt idx="2249">
                  <c:v>0.9969098866963748</c:v>
                </c:pt>
                <c:pt idx="2250">
                  <c:v>0.9969144182518129</c:v>
                </c:pt>
                <c:pt idx="2251">
                  <c:v>0.9969189465406766</c:v>
                </c:pt>
                <c:pt idx="2252">
                  <c:v>0.9969234723796093</c:v>
                </c:pt>
                <c:pt idx="2253">
                  <c:v>0.9969279729025899</c:v>
                </c:pt>
                <c:pt idx="2254">
                  <c:v>0.996932466075778</c:v>
                </c:pt>
                <c:pt idx="2255">
                  <c:v>0.996936955165748</c:v>
                </c:pt>
                <c:pt idx="2256">
                  <c:v>0.9969459137462411</c:v>
                </c:pt>
                <c:pt idx="2257">
                  <c:v>0.9969548551772182</c:v>
                </c:pt>
                <c:pt idx="2258">
                  <c:v>0.9969593205845232</c:v>
                </c:pt>
                <c:pt idx="2259">
                  <c:v>0.9969682383328353</c:v>
                </c:pt>
                <c:pt idx="2260">
                  <c:v>0.9969726931237733</c:v>
                </c:pt>
                <c:pt idx="2261">
                  <c:v>0.9969771479147114</c:v>
                </c:pt>
                <c:pt idx="2262">
                  <c:v>0.9969815831062026</c:v>
                </c:pt>
                <c:pt idx="2263">
                  <c:v>0.9969860174810501</c:v>
                </c:pt>
                <c:pt idx="2264">
                  <c:v>0.9969904477726795</c:v>
                </c:pt>
                <c:pt idx="2265">
                  <c:v>0.996994878064309</c:v>
                </c:pt>
                <c:pt idx="2266">
                  <c:v>0.9969993075392948</c:v>
                </c:pt>
                <c:pt idx="2267">
                  <c:v>0.9970037370142806</c:v>
                </c:pt>
                <c:pt idx="2268">
                  <c:v>0.9970081624060483</c:v>
                </c:pt>
                <c:pt idx="2269">
                  <c:v>0.9970125853478852</c:v>
                </c:pt>
                <c:pt idx="2270">
                  <c:v>0.9970170017565732</c:v>
                </c:pt>
                <c:pt idx="2271">
                  <c:v>0.9970214173486175</c:v>
                </c:pt>
                <c:pt idx="2272">
                  <c:v>0.9970258304907309</c:v>
                </c:pt>
                <c:pt idx="2273">
                  <c:v>0.9970302354664081</c:v>
                </c:pt>
                <c:pt idx="2274">
                  <c:v>0.9970346290090747</c:v>
                </c:pt>
                <c:pt idx="2275">
                  <c:v>0.9970477908542713</c:v>
                </c:pt>
                <c:pt idx="2276">
                  <c:v>0.9970521729639272</c:v>
                </c:pt>
                <c:pt idx="2277">
                  <c:v>0.9970565518070087</c:v>
                </c:pt>
                <c:pt idx="2278">
                  <c:v>0.9970609192170795</c:v>
                </c:pt>
                <c:pt idx="2279">
                  <c:v>0.9970652841772195</c:v>
                </c:pt>
                <c:pt idx="2280">
                  <c:v>0.9970783561916181</c:v>
                </c:pt>
                <c:pt idx="2281">
                  <c:v>0.9970870395632118</c:v>
                </c:pt>
                <c:pt idx="2282">
                  <c:v>0.9970913792073995</c:v>
                </c:pt>
                <c:pt idx="2283">
                  <c:v>0.9970957115017948</c:v>
                </c:pt>
                <c:pt idx="2284">
                  <c:v>0.99710004379619</c:v>
                </c:pt>
                <c:pt idx="2285">
                  <c:v>0.997112990864115</c:v>
                </c:pt>
                <c:pt idx="2286">
                  <c:v>0.9971173002924889</c:v>
                </c:pt>
                <c:pt idx="2287">
                  <c:v>0.9971258570843218</c:v>
                </c:pt>
                <c:pt idx="2288">
                  <c:v>0.9971301215972967</c:v>
                </c:pt>
                <c:pt idx="2289">
                  <c:v>0.9971343836603408</c:v>
                </c:pt>
                <c:pt idx="2290">
                  <c:v>0.9971386416401667</c:v>
                </c:pt>
                <c:pt idx="2291">
                  <c:v>0.997142898803349</c:v>
                </c:pt>
                <c:pt idx="2292">
                  <c:v>0.9971471420835899</c:v>
                </c:pt>
                <c:pt idx="2293">
                  <c:v>0.997151380463969</c:v>
                </c:pt>
                <c:pt idx="2294">
                  <c:v>0.9971556188443481</c:v>
                </c:pt>
                <c:pt idx="2295">
                  <c:v>0.9971598498749347</c:v>
                </c:pt>
                <c:pt idx="2296">
                  <c:v>0.997164079272234</c:v>
                </c:pt>
                <c:pt idx="2297">
                  <c:v>0.9971682996864536</c:v>
                </c:pt>
                <c:pt idx="2298">
                  <c:v>0.9971725201006731</c:v>
                </c:pt>
                <c:pt idx="2299">
                  <c:v>0.9971767339817438</c:v>
                </c:pt>
                <c:pt idx="2300">
                  <c:v>0.9971809454128835</c:v>
                </c:pt>
                <c:pt idx="2301">
                  <c:v>0.997185155210736</c:v>
                </c:pt>
                <c:pt idx="2302">
                  <c:v>0.9971893625586576</c:v>
                </c:pt>
                <c:pt idx="2303">
                  <c:v>0.997193564190074</c:v>
                </c:pt>
                <c:pt idx="2304">
                  <c:v>0.9971977592883413</c:v>
                </c:pt>
                <c:pt idx="2305">
                  <c:v>0.9972019543866086</c:v>
                </c:pt>
                <c:pt idx="2306">
                  <c:v>0.9972061331520037</c:v>
                </c:pt>
                <c:pt idx="2307">
                  <c:v>0.9972186000334811</c:v>
                </c:pt>
                <c:pt idx="2308">
                  <c:v>0.9972227461331313</c:v>
                </c:pt>
                <c:pt idx="2309">
                  <c:v>0.9972309958669636</c:v>
                </c:pt>
                <c:pt idx="2310">
                  <c:v>0.9972351019510766</c:v>
                </c:pt>
                <c:pt idx="2311">
                  <c:v>0.9972392064019023</c:v>
                </c:pt>
                <c:pt idx="2312">
                  <c:v>0.9972433059528664</c:v>
                </c:pt>
                <c:pt idx="2313">
                  <c:v>0.9972514968883581</c:v>
                </c:pt>
                <c:pt idx="2314">
                  <c:v>0.997255577656519</c:v>
                </c:pt>
                <c:pt idx="2315">
                  <c:v>0.9972677758622459</c:v>
                </c:pt>
                <c:pt idx="2316">
                  <c:v>0.9972758622673547</c:v>
                </c:pt>
                <c:pt idx="2317">
                  <c:v>0.9972798924036111</c:v>
                </c:pt>
                <c:pt idx="2318">
                  <c:v>0.9972839200899367</c:v>
                </c:pt>
                <c:pt idx="2319">
                  <c:v>0.9972879469596188</c:v>
                </c:pt>
                <c:pt idx="2320">
                  <c:v>0.997291968929439</c:v>
                </c:pt>
                <c:pt idx="2321">
                  <c:v>0.9972959884493284</c:v>
                </c:pt>
                <c:pt idx="2322">
                  <c:v>0.9973000047026434</c:v>
                </c:pt>
                <c:pt idx="2323">
                  <c:v>0.9973119619985029</c:v>
                </c:pt>
                <c:pt idx="2324">
                  <c:v>0.9973159194534773</c:v>
                </c:pt>
                <c:pt idx="2325">
                  <c:v>0.9973198752751645</c:v>
                </c:pt>
                <c:pt idx="2326">
                  <c:v>0.9973238294635645</c:v>
                </c:pt>
                <c:pt idx="2327">
                  <c:v>0.9973317247740665</c:v>
                </c:pt>
                <c:pt idx="2328">
                  <c:v>0.997339593135329</c:v>
                </c:pt>
                <c:pt idx="2329">
                  <c:v>0.9973435179245588</c:v>
                </c:pt>
                <c:pt idx="2330">
                  <c:v>0.997347439447214</c:v>
                </c:pt>
                <c:pt idx="2331">
                  <c:v>0.9973513585199384</c:v>
                </c:pt>
                <c:pt idx="2332">
                  <c:v>0.9973552694262265</c:v>
                </c:pt>
                <c:pt idx="2333">
                  <c:v>0.9973591729827221</c:v>
                </c:pt>
                <c:pt idx="2334">
                  <c:v>0.997363071639356</c:v>
                </c:pt>
                <c:pt idx="2335">
                  <c:v>0.9973669564130484</c:v>
                </c:pt>
                <c:pt idx="2336">
                  <c:v>0.9973708330203046</c:v>
                </c:pt>
                <c:pt idx="2337">
                  <c:v>0.9973747055443427</c:v>
                </c:pt>
                <c:pt idx="2338">
                  <c:v>0.9973785739851627</c:v>
                </c:pt>
                <c:pt idx="2339">
                  <c:v>0.9973824260931103</c:v>
                </c:pt>
                <c:pt idx="2340">
                  <c:v>0.9973862700346218</c:v>
                </c:pt>
                <c:pt idx="2341">
                  <c:v>0.9974015290206303</c:v>
                </c:pt>
                <c:pt idx="2342">
                  <c:v>0.9974053264134555</c:v>
                </c:pt>
                <c:pt idx="2343">
                  <c:v>0.9974129064995209</c:v>
                </c:pt>
                <c:pt idx="2344">
                  <c:v>0.9974166924593354</c:v>
                </c:pt>
                <c:pt idx="2345">
                  <c:v>0.9974204776025064</c:v>
                </c:pt>
                <c:pt idx="2346">
                  <c:v>0.997424257029172</c:v>
                </c:pt>
                <c:pt idx="2347">
                  <c:v>0.9974280340059068</c:v>
                </c:pt>
                <c:pt idx="2348">
                  <c:v>0.9974318068994236</c:v>
                </c:pt>
                <c:pt idx="2349">
                  <c:v>0.9974355789762966</c:v>
                </c:pt>
                <c:pt idx="2350">
                  <c:v>0.9974393486032389</c:v>
                </c:pt>
                <c:pt idx="2351">
                  <c:v>0.9974431125136758</c:v>
                </c:pt>
                <c:pt idx="2352">
                  <c:v>0.9974468707076073</c:v>
                </c:pt>
                <c:pt idx="2353">
                  <c:v>0.9974506191018154</c:v>
                </c:pt>
                <c:pt idx="2354">
                  <c:v>0.9974543568796566</c:v>
                </c:pt>
                <c:pt idx="2355">
                  <c:v>0.9974618177357536</c:v>
                </c:pt>
                <c:pt idx="2356">
                  <c:v>0.9974655440805841</c:v>
                </c:pt>
                <c:pt idx="2357">
                  <c:v>0.99746926715884</c:v>
                </c:pt>
                <c:pt idx="2358">
                  <c:v>0.997476706782203</c:v>
                </c:pt>
                <c:pt idx="2359">
                  <c:v>0.99748042332731</c:v>
                </c:pt>
                <c:pt idx="2360">
                  <c:v>0.9974841374224862</c:v>
                </c:pt>
                <c:pt idx="2361">
                  <c:v>0.9974915476466789</c:v>
                </c:pt>
                <c:pt idx="2362">
                  <c:v>0.99749524704227</c:v>
                </c:pt>
                <c:pt idx="2363">
                  <c:v>0.9974989399047121</c:v>
                </c:pt>
                <c:pt idx="2364">
                  <c:v>0.9975136680723686</c:v>
                </c:pt>
                <c:pt idx="2365">
                  <c:v>0.9975173348022149</c:v>
                </c:pt>
                <c:pt idx="2366">
                  <c:v>0.997520989282407</c:v>
                </c:pt>
                <c:pt idx="2367">
                  <c:v>0.9975246380460937</c:v>
                </c:pt>
                <c:pt idx="2368">
                  <c:v>0.9975282794599878</c:v>
                </c:pt>
                <c:pt idx="2369">
                  <c:v>0.9975355492214781</c:v>
                </c:pt>
                <c:pt idx="2370">
                  <c:v>0.9975536313444753</c:v>
                </c:pt>
                <c:pt idx="2371">
                  <c:v>0.9975572368260502</c:v>
                </c:pt>
                <c:pt idx="2372">
                  <c:v>0.9975608284246836</c:v>
                </c:pt>
                <c:pt idx="2373">
                  <c:v>0.9975679993722961</c:v>
                </c:pt>
                <c:pt idx="2374">
                  <c:v>0.9975715738214136</c:v>
                </c:pt>
                <c:pt idx="2375">
                  <c:v>0.997582256336585</c:v>
                </c:pt>
                <c:pt idx="2376">
                  <c:v>0.9975857956700269</c:v>
                </c:pt>
                <c:pt idx="2377">
                  <c:v>0.9975928122719956</c:v>
                </c:pt>
                <c:pt idx="2378">
                  <c:v>0.997596307506682</c:v>
                </c:pt>
                <c:pt idx="2379">
                  <c:v>0.997599799474794</c:v>
                </c:pt>
                <c:pt idx="2380">
                  <c:v>0.9976032889929751</c:v>
                </c:pt>
                <c:pt idx="2381">
                  <c:v>0.9976102655794065</c:v>
                </c:pt>
                <c:pt idx="2382">
                  <c:v>0.997613747747795</c:v>
                </c:pt>
                <c:pt idx="2383">
                  <c:v>0.9976172241996782</c:v>
                </c:pt>
                <c:pt idx="2384">
                  <c:v>0.9976206949350561</c:v>
                </c:pt>
                <c:pt idx="2385">
                  <c:v>0.9976241640371468</c:v>
                </c:pt>
                <c:pt idx="2386">
                  <c:v>0.9976276331392375</c:v>
                </c:pt>
                <c:pt idx="2387">
                  <c:v>0.9976345484773975</c:v>
                </c:pt>
                <c:pt idx="2388">
                  <c:v>0.9976379938968233</c:v>
                </c:pt>
                <c:pt idx="2389">
                  <c:v>0.9976414319664565</c:v>
                </c:pt>
                <c:pt idx="2390">
                  <c:v>0.9976482925894942</c:v>
                </c:pt>
                <c:pt idx="2391">
                  <c:v>0.9976517167761858</c:v>
                </c:pt>
                <c:pt idx="2392">
                  <c:v>0.9976551385129466</c:v>
                </c:pt>
                <c:pt idx="2393">
                  <c:v>0.9976585439168351</c:v>
                </c:pt>
                <c:pt idx="2394">
                  <c:v>0.9976619452375054</c:v>
                </c:pt>
                <c:pt idx="2395">
                  <c:v>0.9976653465581757</c:v>
                </c:pt>
                <c:pt idx="2396">
                  <c:v>0.997668743795628</c:v>
                </c:pt>
                <c:pt idx="2397">
                  <c:v>0.9976721377665058</c:v>
                </c:pt>
                <c:pt idx="2398">
                  <c:v>0.997678913458607</c:v>
                </c:pt>
                <c:pt idx="2399">
                  <c:v>0.997689040656118</c:v>
                </c:pt>
                <c:pt idx="2400">
                  <c:v>0.9976957861324053</c:v>
                </c:pt>
                <c:pt idx="2401">
                  <c:v>0.9976991547873308</c:v>
                </c:pt>
                <c:pt idx="2402">
                  <c:v>0.9977058896472513</c:v>
                </c:pt>
                <c:pt idx="2403">
                  <c:v>0.9977092525856716</c:v>
                </c:pt>
                <c:pt idx="2404">
                  <c:v>0.9977126114408738</c:v>
                </c:pt>
                <c:pt idx="2405">
                  <c:v>0.9977159670295015</c:v>
                </c:pt>
                <c:pt idx="2406">
                  <c:v>0.9977193218014856</c:v>
                </c:pt>
                <c:pt idx="2407">
                  <c:v>0.997722671673608</c:v>
                </c:pt>
                <c:pt idx="2408">
                  <c:v>0.9977260215457303</c:v>
                </c:pt>
                <c:pt idx="2409">
                  <c:v>0.9977360442128581</c:v>
                </c:pt>
                <c:pt idx="2410">
                  <c:v>0.9977393785687517</c:v>
                </c:pt>
                <c:pt idx="2411">
                  <c:v>0.9977427047582091</c:v>
                </c:pt>
                <c:pt idx="2412">
                  <c:v>0.9977493481540443</c:v>
                </c:pt>
                <c:pt idx="2413">
                  <c:v>0.9977559850167304</c:v>
                </c:pt>
                <c:pt idx="2414">
                  <c:v>0.997765930919358</c:v>
                </c:pt>
                <c:pt idx="2415">
                  <c:v>0.9977692415925866</c:v>
                </c:pt>
                <c:pt idx="2416">
                  <c:v>0.9977725522658153</c:v>
                </c:pt>
                <c:pt idx="2417">
                  <c:v>0.9977791597293312</c:v>
                </c:pt>
                <c:pt idx="2418">
                  <c:v>0.9977824491698258</c:v>
                </c:pt>
                <c:pt idx="2419">
                  <c:v>0.997785735343746</c:v>
                </c:pt>
                <c:pt idx="2420">
                  <c:v>0.9977890207010226</c:v>
                </c:pt>
                <c:pt idx="2421">
                  <c:v>0.9977922970752193</c:v>
                </c:pt>
                <c:pt idx="2422">
                  <c:v>0.997795558749831</c:v>
                </c:pt>
                <c:pt idx="2423">
                  <c:v>0.9977988106247191</c:v>
                </c:pt>
                <c:pt idx="2424">
                  <c:v>0.9978053070247028</c:v>
                </c:pt>
                <c:pt idx="2425">
                  <c:v>0.997808541750075</c:v>
                </c:pt>
                <c:pt idx="2426">
                  <c:v>0.9978117740255164</c:v>
                </c:pt>
                <c:pt idx="2427">
                  <c:v>0.9978181748781968</c:v>
                </c:pt>
                <c:pt idx="2428">
                  <c:v>0.9978213655048136</c:v>
                </c:pt>
                <c:pt idx="2429">
                  <c:v>0.9978277312418184</c:v>
                </c:pt>
                <c:pt idx="2430">
                  <c:v>0.9978309112520682</c:v>
                </c:pt>
                <c:pt idx="2431">
                  <c:v>0.9978340855458127</c:v>
                </c:pt>
                <c:pt idx="2432">
                  <c:v>0.9978372590229135</c:v>
                </c:pt>
                <c:pt idx="2433">
                  <c:v>0.9978404308667271</c:v>
                </c:pt>
                <c:pt idx="2434">
                  <c:v>0.9978436010772535</c:v>
                </c:pt>
                <c:pt idx="2435">
                  <c:v>0.9978467639379872</c:v>
                </c:pt>
                <c:pt idx="2436">
                  <c:v>0.9978499227155029</c:v>
                </c:pt>
                <c:pt idx="2437">
                  <c:v>0.9978530765931569</c:v>
                </c:pt>
                <c:pt idx="2438">
                  <c:v>0.9978562247543056</c:v>
                </c:pt>
                <c:pt idx="2439">
                  <c:v>0.9978593696488798</c:v>
                </c:pt>
                <c:pt idx="2440">
                  <c:v>0.9978625129101667</c:v>
                </c:pt>
                <c:pt idx="2441">
                  <c:v>0.9978656520882355</c:v>
                </c:pt>
                <c:pt idx="2442">
                  <c:v>0.9978750418565592</c:v>
                </c:pt>
                <c:pt idx="2443">
                  <c:v>0.9978781638851121</c:v>
                </c:pt>
                <c:pt idx="2444">
                  <c:v>0.9978843981424944</c:v>
                </c:pt>
                <c:pt idx="2445">
                  <c:v>0.9978906177002915</c:v>
                </c:pt>
                <c:pt idx="2446">
                  <c:v>0.997893719312754</c:v>
                </c:pt>
                <c:pt idx="2447">
                  <c:v>0.9979029939343274</c:v>
                </c:pt>
                <c:pt idx="2448">
                  <c:v>0.9979060808472047</c:v>
                </c:pt>
                <c:pt idx="2449">
                  <c:v>0.9979091653101511</c:v>
                </c:pt>
                <c:pt idx="2450">
                  <c:v>0.9979122481398103</c:v>
                </c:pt>
                <c:pt idx="2451">
                  <c:v>0.9979153260696078</c:v>
                </c:pt>
                <c:pt idx="2452">
                  <c:v>0.9979184007328308</c:v>
                </c:pt>
                <c:pt idx="2453">
                  <c:v>0.9979214745794102</c:v>
                </c:pt>
                <c:pt idx="2454">
                  <c:v>0.9979276181893508</c:v>
                </c:pt>
                <c:pt idx="2455">
                  <c:v>0.9979337560827861</c:v>
                </c:pt>
                <c:pt idx="2456">
                  <c:v>0.9979368201296421</c:v>
                </c:pt>
                <c:pt idx="2457">
                  <c:v>0.9979398841764981</c:v>
                </c:pt>
                <c:pt idx="2458">
                  <c:v>0.9979520513497677</c:v>
                </c:pt>
                <c:pt idx="2459">
                  <c:v>0.9979550565982832</c:v>
                </c:pt>
                <c:pt idx="2460">
                  <c:v>0.9979580544970061</c:v>
                </c:pt>
                <c:pt idx="2461">
                  <c:v>0.9979699938267061</c:v>
                </c:pt>
                <c:pt idx="2462">
                  <c:v>0.9979729541598226</c:v>
                </c:pt>
                <c:pt idx="2463">
                  <c:v>0.9979788699261937</c:v>
                </c:pt>
                <c:pt idx="2464">
                  <c:v>0.9979818245428048</c:v>
                </c:pt>
                <c:pt idx="2465">
                  <c:v>0.9979847783427723</c:v>
                </c:pt>
                <c:pt idx="2466">
                  <c:v>0.9979877215263728</c:v>
                </c:pt>
                <c:pt idx="2467">
                  <c:v>0.997990663076686</c:v>
                </c:pt>
                <c:pt idx="2468">
                  <c:v>0.9979936038103556</c:v>
                </c:pt>
                <c:pt idx="2469">
                  <c:v>0.997996542910738</c:v>
                </c:pt>
                <c:pt idx="2470">
                  <c:v>0.997999478744546</c:v>
                </c:pt>
                <c:pt idx="2471">
                  <c:v>0.9980082568467994</c:v>
                </c:pt>
                <c:pt idx="2472">
                  <c:v>0.9980170047332388</c:v>
                </c:pt>
                <c:pt idx="2473">
                  <c:v>0.9980199128011638</c:v>
                </c:pt>
                <c:pt idx="2474">
                  <c:v>0.9980228127026525</c:v>
                </c:pt>
                <c:pt idx="2475">
                  <c:v>0.9980257101542103</c:v>
                </c:pt>
                <c:pt idx="2476">
                  <c:v>0.9980286043391936</c:v>
                </c:pt>
                <c:pt idx="2477">
                  <c:v>0.9980314968908898</c:v>
                </c:pt>
                <c:pt idx="2478">
                  <c:v>0.998034386992655</c:v>
                </c:pt>
                <c:pt idx="2479">
                  <c:v>0.998037271377915</c:v>
                </c:pt>
                <c:pt idx="2480">
                  <c:v>0.9980401541298877</c:v>
                </c:pt>
                <c:pt idx="2481">
                  <c:v>0.9980430360652167</c:v>
                </c:pt>
                <c:pt idx="2482">
                  <c:v>0.9980459139173277</c:v>
                </c:pt>
                <c:pt idx="2483">
                  <c:v>0.9980487885028642</c:v>
                </c:pt>
                <c:pt idx="2484">
                  <c:v>0.9980516614551135</c:v>
                </c:pt>
                <c:pt idx="2485">
                  <c:v>0.9980545327740755</c:v>
                </c:pt>
                <c:pt idx="2486">
                  <c:v>0.9980602549959091</c:v>
                </c:pt>
                <c:pt idx="2487">
                  <c:v>0.9980631083487116</c:v>
                </c:pt>
                <c:pt idx="2488">
                  <c:v>0.9980659543517215</c:v>
                </c:pt>
                <c:pt idx="2489">
                  <c:v>0.9980716390079487</c:v>
                </c:pt>
                <c:pt idx="2490">
                  <c:v>0.9980744768445224</c:v>
                </c:pt>
                <c:pt idx="2491">
                  <c:v>0.9980773105978781</c:v>
                </c:pt>
                <c:pt idx="2492">
                  <c:v>0.9980801427179464</c:v>
                </c:pt>
                <c:pt idx="2493">
                  <c:v>0.9980829732047276</c:v>
                </c:pt>
                <c:pt idx="2494">
                  <c:v>0.9980857873586364</c:v>
                </c:pt>
                <c:pt idx="2495">
                  <c:v>0.9980913977002943</c:v>
                </c:pt>
                <c:pt idx="2496">
                  <c:v>0.9980969843592873</c:v>
                </c:pt>
                <c:pt idx="2497">
                  <c:v>0.9980997699306694</c:v>
                </c:pt>
                <c:pt idx="2498">
                  <c:v>0.9981053386235028</c:v>
                </c:pt>
                <c:pt idx="2499">
                  <c:v>0.9981108869002457</c:v>
                </c:pt>
                <c:pt idx="2500">
                  <c:v>0.9981191766496154</c:v>
                </c:pt>
                <c:pt idx="2501">
                  <c:v>0.9981219336384708</c:v>
                </c:pt>
                <c:pt idx="2502">
                  <c:v>0.998124684910821</c:v>
                </c:pt>
                <c:pt idx="2503">
                  <c:v>0.998127432099953</c:v>
                </c:pt>
                <c:pt idx="2504">
                  <c:v>0.9981301768391543</c:v>
                </c:pt>
                <c:pt idx="2505">
                  <c:v>0.9981329199450683</c:v>
                </c:pt>
                <c:pt idx="2506">
                  <c:v>0.9981356606010514</c:v>
                </c:pt>
                <c:pt idx="2507">
                  <c:v>0.9981383881907366</c:v>
                </c:pt>
                <c:pt idx="2508">
                  <c:v>0.9981465415606221</c:v>
                </c:pt>
                <c:pt idx="2509">
                  <c:v>0.9981519624409606</c:v>
                </c:pt>
                <c:pt idx="2510">
                  <c:v>0.9981546712478426</c:v>
                </c:pt>
                <c:pt idx="2511">
                  <c:v>0.9981573759715066</c:v>
                </c:pt>
                <c:pt idx="2512">
                  <c:v>0.9981600790618832</c:v>
                </c:pt>
                <c:pt idx="2513">
                  <c:v>0.9981627821522598</c:v>
                </c:pt>
                <c:pt idx="2514">
                  <c:v>0.9981654787094876</c:v>
                </c:pt>
                <c:pt idx="2515">
                  <c:v>0.9981681744500717</c:v>
                </c:pt>
                <c:pt idx="2516">
                  <c:v>0.9981762339059409</c:v>
                </c:pt>
                <c:pt idx="2517">
                  <c:v>0.9981789075971473</c:v>
                </c:pt>
                <c:pt idx="2518">
                  <c:v>0.9981815804717101</c:v>
                </c:pt>
                <c:pt idx="2519">
                  <c:v>0.9981842459964804</c:v>
                </c:pt>
                <c:pt idx="2520">
                  <c:v>0.9981895541799994</c:v>
                </c:pt>
                <c:pt idx="2521">
                  <c:v>0.9981922058218281</c:v>
                </c:pt>
                <c:pt idx="2522">
                  <c:v>0.9981948517471515</c:v>
                </c:pt>
                <c:pt idx="2523">
                  <c:v>0.9981974952225441</c:v>
                </c:pt>
                <c:pt idx="2524">
                  <c:v>0.998200137881293</c:v>
                </c:pt>
                <c:pt idx="2525">
                  <c:v>0.998202778090111</c:v>
                </c:pt>
                <c:pt idx="2526">
                  <c:v>0.9982080421748748</c:v>
                </c:pt>
                <c:pt idx="2527">
                  <c:v>0.9982106725839694</c:v>
                </c:pt>
                <c:pt idx="2528">
                  <c:v>0.9982133029930641</c:v>
                </c:pt>
                <c:pt idx="2529">
                  <c:v>0.9982159268690098</c:v>
                </c:pt>
                <c:pt idx="2530">
                  <c:v>0.9982185499283119</c:v>
                </c:pt>
                <c:pt idx="2531">
                  <c:v>0.9982237878804799</c:v>
                </c:pt>
                <c:pt idx="2532">
                  <c:v>0.9982263978734841</c:v>
                </c:pt>
                <c:pt idx="2533">
                  <c:v>0.9982290045999138</c:v>
                </c:pt>
                <c:pt idx="2534">
                  <c:v>0.9982316105096999</c:v>
                </c:pt>
                <c:pt idx="2535">
                  <c:v>0.9982342123362679</c:v>
                </c:pt>
                <c:pt idx="2536">
                  <c:v>0.9982368100796177</c:v>
                </c:pt>
                <c:pt idx="2537">
                  <c:v>0.998239407006324</c:v>
                </c:pt>
                <c:pt idx="2538">
                  <c:v>0.9982445984098056</c:v>
                </c:pt>
                <c:pt idx="2539">
                  <c:v>0.998247182270214</c:v>
                </c:pt>
                <c:pt idx="2540">
                  <c:v>0.9982523238584351</c:v>
                </c:pt>
                <c:pt idx="2541">
                  <c:v>0.9982548889360403</c:v>
                </c:pt>
                <c:pt idx="2542">
                  <c:v>0.9982625727358452</c:v>
                </c:pt>
                <c:pt idx="2543">
                  <c:v>0.9982676677753799</c:v>
                </c:pt>
                <c:pt idx="2544">
                  <c:v>0.9982702140701818</c:v>
                </c:pt>
                <c:pt idx="2545">
                  <c:v>0.9982727579150529</c:v>
                </c:pt>
                <c:pt idx="2546">
                  <c:v>0.9982752976767059</c:v>
                </c:pt>
                <c:pt idx="2547">
                  <c:v>0.9982803600504959</c:v>
                </c:pt>
                <c:pt idx="2548">
                  <c:v>0.9982828883791383</c:v>
                </c:pt>
                <c:pt idx="2549">
                  <c:v>0.9982904562155493</c:v>
                </c:pt>
                <c:pt idx="2550">
                  <c:v>0.998295495723318</c:v>
                </c:pt>
                <c:pt idx="2551">
                  <c:v>0.9982980150688805</c:v>
                </c:pt>
                <c:pt idx="2552">
                  <c:v>0.9983030439602821</c:v>
                </c:pt>
                <c:pt idx="2553">
                  <c:v>0.9983055510561905</c:v>
                </c:pt>
                <c:pt idx="2554">
                  <c:v>0.9983080565188115</c:v>
                </c:pt>
                <c:pt idx="2555">
                  <c:v>0.9983105587148581</c:v>
                </c:pt>
                <c:pt idx="2556">
                  <c:v>0.998313060094261</c:v>
                </c:pt>
                <c:pt idx="2557">
                  <c:v>0.9983155606570203</c:v>
                </c:pt>
                <c:pt idx="2558">
                  <c:v>0.998323050095644</c:v>
                </c:pt>
                <c:pt idx="2559">
                  <c:v>0.9983304848191452</c:v>
                </c:pt>
                <c:pt idx="2560">
                  <c:v>0.9983378909601198</c:v>
                </c:pt>
                <c:pt idx="2561">
                  <c:v>0.9983452734184294</c:v>
                </c:pt>
                <c:pt idx="2562">
                  <c:v>0.9983477208993535</c:v>
                </c:pt>
                <c:pt idx="2563">
                  <c:v>0.998350167563634</c:v>
                </c:pt>
                <c:pt idx="2564">
                  <c:v>0.9983526125946273</c:v>
                </c:pt>
                <c:pt idx="2565">
                  <c:v>0.9983550551756897</c:v>
                </c:pt>
                <c:pt idx="2566">
                  <c:v>0.998357493673534</c:v>
                </c:pt>
                <c:pt idx="2567">
                  <c:v>0.9983623625027864</c:v>
                </c:pt>
                <c:pt idx="2568">
                  <c:v>0.9983647944674818</c:v>
                </c:pt>
                <c:pt idx="2569">
                  <c:v>0.9983744904771623</c:v>
                </c:pt>
                <c:pt idx="2570">
                  <c:v>0.99837690039248</c:v>
                </c:pt>
                <c:pt idx="2571">
                  <c:v>0.998384126055215</c:v>
                </c:pt>
                <c:pt idx="2572">
                  <c:v>0.9983865302540273</c:v>
                </c:pt>
                <c:pt idx="2573">
                  <c:v>0.9983889311862653</c:v>
                </c:pt>
                <c:pt idx="2574">
                  <c:v>0.9983913313018595</c:v>
                </c:pt>
                <c:pt idx="2575">
                  <c:v>0.9983961217333246</c:v>
                </c:pt>
                <c:pt idx="2576">
                  <c:v>0.9983985063326901</c:v>
                </c:pt>
                <c:pt idx="2577">
                  <c:v>0.998400890115412</c:v>
                </c:pt>
                <c:pt idx="2578">
                  <c:v>0.9984032730814902</c:v>
                </c:pt>
                <c:pt idx="2579">
                  <c:v>0.9984056511477069</c:v>
                </c:pt>
                <c:pt idx="2580">
                  <c:v>0.9984080283972798</c:v>
                </c:pt>
                <c:pt idx="2581">
                  <c:v>0.9984104007469911</c:v>
                </c:pt>
                <c:pt idx="2582">
                  <c:v>0.9984127698301278</c:v>
                </c:pt>
                <c:pt idx="2583">
                  <c:v>0.9984151356466902</c:v>
                </c:pt>
                <c:pt idx="2584">
                  <c:v>0.9984175006466088</c:v>
                </c:pt>
                <c:pt idx="2585">
                  <c:v>0.9984222216633664</c:v>
                </c:pt>
                <c:pt idx="2586">
                  <c:v>0.9984269165475281</c:v>
                </c:pt>
                <c:pt idx="2587">
                  <c:v>0.9984315795825889</c:v>
                </c:pt>
                <c:pt idx="2588">
                  <c:v>0.998436235267857</c:v>
                </c:pt>
                <c:pt idx="2589">
                  <c:v>0.9984385602522383</c:v>
                </c:pt>
                <c:pt idx="2590">
                  <c:v>0.9984408689037473</c:v>
                </c:pt>
                <c:pt idx="2591">
                  <c:v>0.9984454821235472</c:v>
                </c:pt>
                <c:pt idx="2592">
                  <c:v>0.9984477834252636</c:v>
                </c:pt>
                <c:pt idx="2593">
                  <c:v>0.9984500773771875</c:v>
                </c:pt>
                <c:pt idx="2594">
                  <c:v>0.9984523705124677</c:v>
                </c:pt>
                <c:pt idx="2595">
                  <c:v>0.9984546546646682</c:v>
                </c:pt>
                <c:pt idx="2596">
                  <c:v>0.9984569388168687</c:v>
                </c:pt>
                <c:pt idx="2597">
                  <c:v>0.9984592229690692</c:v>
                </c:pt>
                <c:pt idx="2598">
                  <c:v>0.9984615054879824</c:v>
                </c:pt>
                <c:pt idx="2599">
                  <c:v>0.998463787190252</c:v>
                </c:pt>
                <c:pt idx="2600">
                  <c:v>0.9984660688925215</c:v>
                </c:pt>
                <c:pt idx="2601">
                  <c:v>0.9984706322970607</c:v>
                </c:pt>
                <c:pt idx="2602">
                  <c:v>0.9984729074661813</c:v>
                </c:pt>
                <c:pt idx="2603">
                  <c:v>0.9984797239904636</c:v>
                </c:pt>
                <c:pt idx="2604">
                  <c:v>0.9984819885432172</c:v>
                </c:pt>
                <c:pt idx="2605">
                  <c:v>0.9984842514626836</c:v>
                </c:pt>
                <c:pt idx="2606">
                  <c:v>0.9984865094822882</c:v>
                </c:pt>
                <c:pt idx="2607">
                  <c:v>0.9984887675018929</c:v>
                </c:pt>
                <c:pt idx="2608">
                  <c:v>0.9984932794578841</c:v>
                </c:pt>
                <c:pt idx="2609">
                  <c:v>0.9984955276777654</c:v>
                </c:pt>
                <c:pt idx="2610">
                  <c:v>0.9984977734477158</c:v>
                </c:pt>
                <c:pt idx="2611">
                  <c:v>0.9985000061513684</c:v>
                </c:pt>
                <c:pt idx="2612">
                  <c:v>0.9985044691087425</c:v>
                </c:pt>
                <c:pt idx="2613">
                  <c:v>0.9985066944626024</c:v>
                </c:pt>
                <c:pt idx="2614">
                  <c:v>0.9985089198164624</c:v>
                </c:pt>
                <c:pt idx="2615">
                  <c:v>0.9985133631743898</c:v>
                </c:pt>
                <c:pt idx="2616">
                  <c:v>0.9985155819951008</c:v>
                </c:pt>
                <c:pt idx="2617">
                  <c:v>0.998517798365881</c:v>
                </c:pt>
                <c:pt idx="2618">
                  <c:v>0.9985266409829802</c:v>
                </c:pt>
                <c:pt idx="2619">
                  <c:v>0.9985288434708188</c:v>
                </c:pt>
                <c:pt idx="2620">
                  <c:v>0.998531042692083</c:v>
                </c:pt>
                <c:pt idx="2621">
                  <c:v>0.9985376281062213</c:v>
                </c:pt>
                <c:pt idx="2622">
                  <c:v>0.9985398142611875</c:v>
                </c:pt>
                <c:pt idx="2623">
                  <c:v>0.998544182487902</c:v>
                </c:pt>
                <c:pt idx="2624">
                  <c:v>0.9985485392816058</c:v>
                </c:pt>
                <c:pt idx="2625">
                  <c:v>0.9985528805590809</c:v>
                </c:pt>
                <c:pt idx="2626">
                  <c:v>0.9985550503811748</c:v>
                </c:pt>
                <c:pt idx="2627">
                  <c:v>0.9985572128534761</c:v>
                </c:pt>
                <c:pt idx="2628">
                  <c:v>0.9985593745091338</c:v>
                </c:pt>
                <c:pt idx="2629">
                  <c:v>0.998561532898217</c:v>
                </c:pt>
                <c:pt idx="2630">
                  <c:v>0.9985636904706566</c:v>
                </c:pt>
                <c:pt idx="2631">
                  <c:v>0.9985658431432346</c:v>
                </c:pt>
                <c:pt idx="2632">
                  <c:v>0.9985679900993072</c:v>
                </c:pt>
                <c:pt idx="2633">
                  <c:v>0.9985701297055872</c:v>
                </c:pt>
                <c:pt idx="2634">
                  <c:v>0.9985722684952236</c:v>
                </c:pt>
                <c:pt idx="2635">
                  <c:v>0.9985744056515727</c:v>
                </c:pt>
                <c:pt idx="2636">
                  <c:v>0.9985765419912783</c:v>
                </c:pt>
                <c:pt idx="2637">
                  <c:v>0.9985786734311222</c:v>
                </c:pt>
                <c:pt idx="2638">
                  <c:v>0.9985807991544606</c:v>
                </c:pt>
                <c:pt idx="2639">
                  <c:v>0.9985829224278683</c:v>
                </c:pt>
                <c:pt idx="2640">
                  <c:v>0.9985850448846323</c:v>
                </c:pt>
                <c:pt idx="2641">
                  <c:v>0.9985935216453905</c:v>
                </c:pt>
                <c:pt idx="2642">
                  <c:v>0.998595636752362</c:v>
                </c:pt>
                <c:pt idx="2643">
                  <c:v>0.9985977461428281</c:v>
                </c:pt>
                <c:pt idx="2644">
                  <c:v>0.9985998530833634</c:v>
                </c:pt>
                <c:pt idx="2645">
                  <c:v>0.9986019575739679</c:v>
                </c:pt>
                <c:pt idx="2646">
                  <c:v>0.9986040587979979</c:v>
                </c:pt>
                <c:pt idx="2647">
                  <c:v>0.9986082587961269</c:v>
                </c:pt>
                <c:pt idx="2648">
                  <c:v>0.9986103534870079</c:v>
                </c:pt>
                <c:pt idx="2649">
                  <c:v>0.9986124342949474</c:v>
                </c:pt>
                <c:pt idx="2650">
                  <c:v>0.9986145142862433</c:v>
                </c:pt>
                <c:pt idx="2651">
                  <c:v>0.9986186693689734</c:v>
                </c:pt>
                <c:pt idx="2652">
                  <c:v>0.9986207444604075</c:v>
                </c:pt>
                <c:pt idx="2653">
                  <c:v>0.9986228179185545</c:v>
                </c:pt>
                <c:pt idx="2654">
                  <c:v>0.9986269534018377</c:v>
                </c:pt>
                <c:pt idx="2655">
                  <c:v>0.998631082351972</c:v>
                </c:pt>
                <c:pt idx="2656">
                  <c:v>0.9986331443771083</c:v>
                </c:pt>
                <c:pt idx="2657">
                  <c:v>0.9986352047689573</c:v>
                </c:pt>
                <c:pt idx="2658">
                  <c:v>0.9986372643441627</c:v>
                </c:pt>
                <c:pt idx="2659">
                  <c:v>0.9986434308201246</c:v>
                </c:pt>
                <c:pt idx="2660">
                  <c:v>0.9986475360875939</c:v>
                </c:pt>
                <c:pt idx="2661">
                  <c:v>0.9986495883130068</c:v>
                </c:pt>
                <c:pt idx="2662">
                  <c:v>0.9986557400893836</c:v>
                </c:pt>
                <c:pt idx="2663">
                  <c:v>0.998657789048222</c:v>
                </c:pt>
                <c:pt idx="2664">
                  <c:v>0.9986618698163827</c:v>
                </c:pt>
                <c:pt idx="2665">
                  <c:v>0.9986679725941424</c:v>
                </c:pt>
                <c:pt idx="2666">
                  <c:v>0.998670006036752</c:v>
                </c:pt>
                <c:pt idx="2667">
                  <c:v>0.9986720321295691</c:v>
                </c:pt>
                <c:pt idx="2668">
                  <c:v>0.9986760753321234</c:v>
                </c:pt>
                <c:pt idx="2669">
                  <c:v>0.9986780932585043</c:v>
                </c:pt>
                <c:pt idx="2670">
                  <c:v>0.9986821242114045</c:v>
                </c:pt>
                <c:pt idx="2671">
                  <c:v>0.9986841372379236</c:v>
                </c:pt>
                <c:pt idx="2672">
                  <c:v>0.9986881551245258</c:v>
                </c:pt>
                <c:pt idx="2673">
                  <c:v>0.9986901567180343</c:v>
                </c:pt>
                <c:pt idx="2674">
                  <c:v>0.9986921574948991</c:v>
                </c:pt>
                <c:pt idx="2675">
                  <c:v>0.9986961467989747</c:v>
                </c:pt>
                <c:pt idx="2676">
                  <c:v>0.9987021205470428</c:v>
                </c:pt>
                <c:pt idx="2677">
                  <c:v>0.9987060992347512</c:v>
                </c:pt>
                <c:pt idx="2678">
                  <c:v>0.998710062406231</c:v>
                </c:pt>
                <c:pt idx="2679">
                  <c:v>0.998714016594631</c:v>
                </c:pt>
                <c:pt idx="2680">
                  <c:v>0.9987159887889693</c:v>
                </c:pt>
                <c:pt idx="2681">
                  <c:v>0.9987199266444968</c:v>
                </c:pt>
                <c:pt idx="2682">
                  <c:v>0.9987218923056862</c:v>
                </c:pt>
                <c:pt idx="2683">
                  <c:v>0.9987238571502319</c:v>
                </c:pt>
                <c:pt idx="2684">
                  <c:v>0.9987277794895308</c:v>
                </c:pt>
                <c:pt idx="2685">
                  <c:v>0.9987316920291063</c:v>
                </c:pt>
                <c:pt idx="2686">
                  <c:v>0.9987336446239977</c:v>
                </c:pt>
                <c:pt idx="2687">
                  <c:v>0.9987355931356711</c:v>
                </c:pt>
                <c:pt idx="2688">
                  <c:v>0.9987394770927198</c:v>
                </c:pt>
                <c:pt idx="2689">
                  <c:v>0.9987433234841622</c:v>
                </c:pt>
                <c:pt idx="2690">
                  <c:v>0.9987452417800217</c:v>
                </c:pt>
                <c:pt idx="2691">
                  <c:v>0.9987490685720172</c:v>
                </c:pt>
                <c:pt idx="2692">
                  <c:v>0.9987509811513713</c:v>
                </c:pt>
                <c:pt idx="2693">
                  <c:v>0.9987528896475073</c:v>
                </c:pt>
                <c:pt idx="2694">
                  <c:v>0.998756705006492</c:v>
                </c:pt>
                <c:pt idx="2695">
                  <c:v>0.9987586037029047</c:v>
                </c:pt>
                <c:pt idx="2696">
                  <c:v>0.998762383946214</c:v>
                </c:pt>
                <c:pt idx="2697">
                  <c:v>0.9987642703929723</c:v>
                </c:pt>
                <c:pt idx="2698">
                  <c:v>0.9987699158503058</c:v>
                </c:pt>
                <c:pt idx="2699">
                  <c:v>0.9987717908640535</c:v>
                </c:pt>
                <c:pt idx="2700">
                  <c:v>0.9987736634278703</c:v>
                </c:pt>
                <c:pt idx="2701">
                  <c:v>0.9987792623365177</c:v>
                </c:pt>
                <c:pt idx="2702">
                  <c:v>0.9987811259172548</c:v>
                </c:pt>
                <c:pt idx="2703">
                  <c:v>0.998784848178867</c:v>
                </c:pt>
                <c:pt idx="2704">
                  <c:v>0.9987885655406177</c:v>
                </c:pt>
                <c:pt idx="2705">
                  <c:v>0.9987922771858629</c:v>
                </c:pt>
                <c:pt idx="2706">
                  <c:v>0.9987941309668765</c:v>
                </c:pt>
                <c:pt idx="2707">
                  <c:v>0.9987978213793878</c:v>
                </c:pt>
                <c:pt idx="2708">
                  <c:v>0.9987996620941035</c:v>
                </c:pt>
                <c:pt idx="2709">
                  <c:v>0.9988015003588884</c:v>
                </c:pt>
                <c:pt idx="2710">
                  <c:v>0.9988033378070296</c:v>
                </c:pt>
                <c:pt idx="2711">
                  <c:v>0.9988051752551708</c:v>
                </c:pt>
                <c:pt idx="2712">
                  <c:v>0.9988106549338498</c:v>
                </c:pt>
                <c:pt idx="2713">
                  <c:v>0.9988124776824059</c:v>
                </c:pt>
                <c:pt idx="2714">
                  <c:v>0.9988142996143183</c:v>
                </c:pt>
                <c:pt idx="2715">
                  <c:v>0.9988161207295873</c:v>
                </c:pt>
                <c:pt idx="2716">
                  <c:v>0.9988233782414233</c:v>
                </c:pt>
                <c:pt idx="2717">
                  <c:v>0.9988305998209401</c:v>
                </c:pt>
                <c:pt idx="2718">
                  <c:v>0.9988324013367622</c:v>
                </c:pt>
                <c:pt idx="2719">
                  <c:v>0.998834201219297</c:v>
                </c:pt>
                <c:pt idx="2720">
                  <c:v>0.9988359978352573</c:v>
                </c:pt>
                <c:pt idx="2721">
                  <c:v>0.9988395886172471</c:v>
                </c:pt>
                <c:pt idx="2722">
                  <c:v>0.9988431695995135</c:v>
                </c:pt>
                <c:pt idx="2723">
                  <c:v>0.9988449588656813</c:v>
                </c:pt>
                <c:pt idx="2724">
                  <c:v>0.9988485333147987</c:v>
                </c:pt>
                <c:pt idx="2725">
                  <c:v>0.9988503135978867</c:v>
                </c:pt>
                <c:pt idx="2726">
                  <c:v>0.998852093064331</c:v>
                </c:pt>
                <c:pt idx="2727">
                  <c:v>0.9988574216639406</c:v>
                </c:pt>
                <c:pt idx="2728">
                  <c:v>0.9988591954138797</c:v>
                </c:pt>
                <c:pt idx="2729">
                  <c:v>0.9988609683471751</c:v>
                </c:pt>
                <c:pt idx="2730">
                  <c:v>0.9988627412804705</c:v>
                </c:pt>
                <c:pt idx="2731">
                  <c:v>0.9988645068639733</c:v>
                </c:pt>
                <c:pt idx="2732">
                  <c:v>0.9988662708141889</c:v>
                </c:pt>
                <c:pt idx="2733">
                  <c:v>0.9988680347644044</c:v>
                </c:pt>
                <c:pt idx="2734">
                  <c:v>0.99886979871462</c:v>
                </c:pt>
                <c:pt idx="2735">
                  <c:v>0.9988715626648356</c:v>
                </c:pt>
                <c:pt idx="2736">
                  <c:v>0.9988733266150511</c:v>
                </c:pt>
                <c:pt idx="2737">
                  <c:v>0.9988750889319795</c:v>
                </c:pt>
                <c:pt idx="2738">
                  <c:v>0.9988768504322643</c:v>
                </c:pt>
                <c:pt idx="2739">
                  <c:v>0.998882125133395</c:v>
                </c:pt>
                <c:pt idx="2740">
                  <c:v>0.9988838809171744</c:v>
                </c:pt>
                <c:pt idx="2741">
                  <c:v>0.9988856334343793</c:v>
                </c:pt>
                <c:pt idx="2742">
                  <c:v>0.9988926214538214</c:v>
                </c:pt>
                <c:pt idx="2743">
                  <c:v>0.9988943625380157</c:v>
                </c:pt>
                <c:pt idx="2744">
                  <c:v>0.9988961011722791</c:v>
                </c:pt>
                <c:pt idx="2745">
                  <c:v>0.9988978349066808</c:v>
                </c:pt>
                <c:pt idx="2746">
                  <c:v>0.9988995686410825</c:v>
                </c:pt>
                <c:pt idx="2747">
                  <c:v>0.998901300742197</c:v>
                </c:pt>
                <c:pt idx="2748">
                  <c:v>0.9989030320266679</c:v>
                </c:pt>
                <c:pt idx="2749">
                  <c:v>0.9989047608612078</c:v>
                </c:pt>
                <c:pt idx="2750">
                  <c:v>0.9989099367484608</c:v>
                </c:pt>
                <c:pt idx="2751">
                  <c:v>0.9989116565999211</c:v>
                </c:pt>
                <c:pt idx="2752">
                  <c:v>0.9989133756347377</c:v>
                </c:pt>
                <c:pt idx="2753">
                  <c:v>0.9989150881364053</c:v>
                </c:pt>
                <c:pt idx="2754">
                  <c:v>0.9989202166583284</c:v>
                </c:pt>
                <c:pt idx="2755">
                  <c:v>0.9989219218102035</c:v>
                </c:pt>
                <c:pt idx="2756">
                  <c:v>0.9989236253287913</c:v>
                </c:pt>
                <c:pt idx="2757">
                  <c:v>0.9989270266494616</c:v>
                </c:pt>
                <c:pt idx="2758">
                  <c:v>0.998928720368326</c:v>
                </c:pt>
                <c:pt idx="2759">
                  <c:v>0.9989321045394803</c:v>
                </c:pt>
                <c:pt idx="2760">
                  <c:v>0.9989371693632012</c:v>
                </c:pt>
                <c:pt idx="2761">
                  <c:v>0.9989388549156294</c:v>
                </c:pt>
                <c:pt idx="2762">
                  <c:v>0.998940539651414</c:v>
                </c:pt>
                <c:pt idx="2763">
                  <c:v>0.9989422235705551</c:v>
                </c:pt>
                <c:pt idx="2764">
                  <c:v>0.998950581101345</c:v>
                </c:pt>
                <c:pt idx="2765">
                  <c:v>0.9989522495042573</c:v>
                </c:pt>
                <c:pt idx="2766">
                  <c:v>0.9989539162738823</c:v>
                </c:pt>
                <c:pt idx="2767">
                  <c:v>0.9989555830435073</c:v>
                </c:pt>
                <c:pt idx="2768">
                  <c:v>0.9989572473632015</c:v>
                </c:pt>
                <c:pt idx="2769">
                  <c:v>0.998958910866252</c:v>
                </c:pt>
                <c:pt idx="2770">
                  <c:v>0.9989622370557094</c:v>
                </c:pt>
                <c:pt idx="2771">
                  <c:v>0.9989672120486323</c:v>
                </c:pt>
                <c:pt idx="2772">
                  <c:v>0.9989688673852466</c:v>
                </c:pt>
                <c:pt idx="2773">
                  <c:v>0.9989705210885738</c:v>
                </c:pt>
                <c:pt idx="2774">
                  <c:v>0.9989721682587519</c:v>
                </c:pt>
                <c:pt idx="2775">
                  <c:v>0.99897381542893</c:v>
                </c:pt>
                <c:pt idx="2776">
                  <c:v>0.9989754617824645</c:v>
                </c:pt>
                <c:pt idx="2777">
                  <c:v>0.9989771016028501</c:v>
                </c:pt>
                <c:pt idx="2778">
                  <c:v>0.9989787414232357</c:v>
                </c:pt>
                <c:pt idx="2779">
                  <c:v>0.9989803779770469</c:v>
                </c:pt>
                <c:pt idx="2780">
                  <c:v>0.9989820128975707</c:v>
                </c:pt>
                <c:pt idx="2781">
                  <c:v>0.9989836478180946</c:v>
                </c:pt>
                <c:pt idx="2782">
                  <c:v>0.9989869103093498</c:v>
                </c:pt>
                <c:pt idx="2783">
                  <c:v>0.9989901638175253</c:v>
                </c:pt>
                <c:pt idx="2784">
                  <c:v>0.9989917881216821</c:v>
                </c:pt>
                <c:pt idx="2785">
                  <c:v>0.9989934107925518</c:v>
                </c:pt>
                <c:pt idx="2786">
                  <c:v>0.9989950318301342</c:v>
                </c:pt>
                <c:pt idx="2787">
                  <c:v>0.9989966496011421</c:v>
                </c:pt>
                <c:pt idx="2788">
                  <c:v>0.9990014906645115</c:v>
                </c:pt>
                <c:pt idx="2789">
                  <c:v>0.999004709873655</c:v>
                </c:pt>
                <c:pt idx="2790">
                  <c:v>0.9990095199045669</c:v>
                </c:pt>
                <c:pt idx="2791">
                  <c:v>0.9990111197094151</c:v>
                </c:pt>
                <c:pt idx="2792">
                  <c:v>0.999012716247689</c:v>
                </c:pt>
                <c:pt idx="2793">
                  <c:v>0.9990175017792923</c:v>
                </c:pt>
                <c:pt idx="2794">
                  <c:v>0.9990190934177045</c:v>
                </c:pt>
                <c:pt idx="2795">
                  <c:v>0.9990206850561166</c:v>
                </c:pt>
                <c:pt idx="2796">
                  <c:v>0.9990270262938129</c:v>
                </c:pt>
                <c:pt idx="2797">
                  <c:v>0.999028607315858</c:v>
                </c:pt>
                <c:pt idx="2798">
                  <c:v>0.9990301850713286</c:v>
                </c:pt>
                <c:pt idx="2799">
                  <c:v>0.9990317628267992</c:v>
                </c:pt>
                <c:pt idx="2800">
                  <c:v>0.9990349134378788</c:v>
                </c:pt>
                <c:pt idx="2801">
                  <c:v>0.9990412015937399</c:v>
                </c:pt>
                <c:pt idx="2802">
                  <c:v>0.9990458752451676</c:v>
                </c:pt>
                <c:pt idx="2803">
                  <c:v>0.9990489858407099</c:v>
                </c:pt>
                <c:pt idx="2804">
                  <c:v>0.9990505390968719</c:v>
                </c:pt>
                <c:pt idx="2805">
                  <c:v>0.9990520915363904</c:v>
                </c:pt>
                <c:pt idx="2806">
                  <c:v>0.9990551964154274</c:v>
                </c:pt>
                <c:pt idx="2807">
                  <c:v>0.9990567439550841</c:v>
                </c:pt>
                <c:pt idx="2808">
                  <c:v>0.9990582825116611</c:v>
                </c:pt>
                <c:pt idx="2809">
                  <c:v>0.9990613539083095</c:v>
                </c:pt>
                <c:pt idx="2810">
                  <c:v>0.9990628851150939</c:v>
                </c:pt>
                <c:pt idx="2811">
                  <c:v>0.9990644163218783</c:v>
                </c:pt>
                <c:pt idx="2812">
                  <c:v>0.9990674746522289</c:v>
                </c:pt>
                <c:pt idx="2813">
                  <c:v>0.9990690001425079</c:v>
                </c:pt>
                <c:pt idx="2814">
                  <c:v>0.9990720503064223</c:v>
                </c:pt>
                <c:pt idx="2815">
                  <c:v>0.9990766186108233</c:v>
                </c:pt>
                <c:pt idx="2816">
                  <c:v>0.9990796557084399</c:v>
                </c:pt>
                <c:pt idx="2817">
                  <c:v>0.9990811705823519</c:v>
                </c:pt>
                <c:pt idx="2818">
                  <c:v>0.9990842003301759</c:v>
                </c:pt>
                <c:pt idx="2819">
                  <c:v>0.9990872243614946</c:v>
                </c:pt>
                <c:pt idx="2820">
                  <c:v>0.9990902238935047</c:v>
                </c:pt>
                <c:pt idx="2821">
                  <c:v>0.9990931989262062</c:v>
                </c:pt>
                <c:pt idx="2822">
                  <c:v>0.9990946860342351</c:v>
                </c:pt>
                <c:pt idx="2823">
                  <c:v>0.9990961731422641</c:v>
                </c:pt>
                <c:pt idx="2824">
                  <c:v>0.9990976594336495</c:v>
                </c:pt>
                <c:pt idx="2825">
                  <c:v>0.9991006287498457</c:v>
                </c:pt>
                <c:pt idx="2826">
                  <c:v>0.9991021076914385</c:v>
                </c:pt>
                <c:pt idx="2827">
                  <c:v>0.9991035841831004</c:v>
                </c:pt>
                <c:pt idx="2828">
                  <c:v>0.9991050590414751</c:v>
                </c:pt>
                <c:pt idx="2829">
                  <c:v>0.99911092825916</c:v>
                </c:pt>
                <c:pt idx="2830">
                  <c:v>0.9991123851513751</c:v>
                </c:pt>
                <c:pt idx="2831">
                  <c:v>0.9991196442964985</c:v>
                </c:pt>
                <c:pt idx="2832">
                  <c:v>0.9991210913889902</c:v>
                </c:pt>
                <c:pt idx="2833">
                  <c:v>0.9991225368481946</c:v>
                </c:pt>
                <c:pt idx="2834">
                  <c:v>0.9991239774075373</c:v>
                </c:pt>
                <c:pt idx="2835">
                  <c:v>0.9991268568929355</c:v>
                </c:pt>
                <c:pt idx="2836">
                  <c:v>0.9991297282118975</c:v>
                </c:pt>
                <c:pt idx="2837">
                  <c:v>0.9991311557049424</c:v>
                </c:pt>
                <c:pt idx="2838">
                  <c:v>0.999134000074665</c:v>
                </c:pt>
                <c:pt idx="2839">
                  <c:v>0.9991368387278824</c:v>
                </c:pt>
                <c:pt idx="2840">
                  <c:v>0.999139672481238</c:v>
                </c:pt>
                <c:pt idx="2841">
                  <c:v>0.9991410852746977</c:v>
                </c:pt>
                <c:pt idx="2842">
                  <c:v>0.9991439059617554</c:v>
                </c:pt>
                <c:pt idx="2843">
                  <c:v>0.9991467233822386</c:v>
                </c:pt>
                <c:pt idx="2844">
                  <c:v>0.9991537465173564</c:v>
                </c:pt>
                <c:pt idx="2845">
                  <c:v>0.9991565329053822</c:v>
                </c:pt>
                <c:pt idx="2846">
                  <c:v>0.9991579187496025</c:v>
                </c:pt>
                <c:pt idx="2847">
                  <c:v>0.9991593037771792</c:v>
                </c:pt>
                <c:pt idx="2848">
                  <c:v>0.9991606879881123</c:v>
                </c:pt>
                <c:pt idx="2849">
                  <c:v>0.9991620640326092</c:v>
                </c:pt>
                <c:pt idx="2850">
                  <c:v>0.9991648030553051</c:v>
                </c:pt>
                <c:pt idx="2851">
                  <c:v>0.9991661668501477</c:v>
                </c:pt>
                <c:pt idx="2852">
                  <c:v>0.999168887906684</c:v>
                </c:pt>
                <c:pt idx="2853">
                  <c:v>0.9991702476183085</c:v>
                </c:pt>
                <c:pt idx="2854">
                  <c:v>0.9991716056966458</c:v>
                </c:pt>
                <c:pt idx="2855">
                  <c:v>0.9991743177701022</c:v>
                </c:pt>
                <c:pt idx="2856">
                  <c:v>0.9991756701319342</c:v>
                </c:pt>
                <c:pt idx="2857">
                  <c:v>0.9991770216771225</c:v>
                </c:pt>
                <c:pt idx="2858">
                  <c:v>0.9991783699557364</c:v>
                </c:pt>
                <c:pt idx="2859">
                  <c:v>0.9991837606202609</c:v>
                </c:pt>
                <c:pt idx="2860">
                  <c:v>0.9991851080822312</c:v>
                </c:pt>
                <c:pt idx="2861">
                  <c:v>0.9991864547275577</c:v>
                </c:pt>
                <c:pt idx="2862">
                  <c:v>0.9991877972896662</c:v>
                </c:pt>
                <c:pt idx="2863">
                  <c:v>0.9991891398517747</c:v>
                </c:pt>
                <c:pt idx="2864">
                  <c:v>0.999191822526061</c:v>
                </c:pt>
                <c:pt idx="2865">
                  <c:v>0.9991944954006238</c:v>
                </c:pt>
                <c:pt idx="2866">
                  <c:v>0.9991984953210663</c:v>
                </c:pt>
                <c:pt idx="2867">
                  <c:v>0.9991998256335206</c:v>
                </c:pt>
                <c:pt idx="2868">
                  <c:v>0.9992051321837526</c:v>
                </c:pt>
                <c:pt idx="2869">
                  <c:v>0.9992064559630579</c:v>
                </c:pt>
                <c:pt idx="2870">
                  <c:v>0.9992077789257195</c:v>
                </c:pt>
                <c:pt idx="2871">
                  <c:v>0.9992091010717377</c:v>
                </c:pt>
                <c:pt idx="2872">
                  <c:v>0.9992104224011121</c:v>
                </c:pt>
                <c:pt idx="2873">
                  <c:v>0.9992117371973377</c:v>
                </c:pt>
                <c:pt idx="2874">
                  <c:v>0.9992130454604142</c:v>
                </c:pt>
                <c:pt idx="2875">
                  <c:v>0.999215656270062</c:v>
                </c:pt>
                <c:pt idx="2876">
                  <c:v>0.999216957183346</c:v>
                </c:pt>
                <c:pt idx="2877">
                  <c:v>0.9992195532934086</c:v>
                </c:pt>
                <c:pt idx="2878">
                  <c:v>0.9992208476735437</c:v>
                </c:pt>
                <c:pt idx="2879">
                  <c:v>0.9992221420536788</c:v>
                </c:pt>
                <c:pt idx="2880">
                  <c:v>0.9992234356171702</c:v>
                </c:pt>
                <c:pt idx="2881">
                  <c:v>0.9992247291806616</c:v>
                </c:pt>
                <c:pt idx="2882">
                  <c:v>0.9992260227441531</c:v>
                </c:pt>
                <c:pt idx="2883">
                  <c:v>0.9992311904649698</c:v>
                </c:pt>
                <c:pt idx="2884">
                  <c:v>0.9992350442062046</c:v>
                </c:pt>
                <c:pt idx="2885">
                  <c:v>0.999241423826151</c:v>
                </c:pt>
                <c:pt idx="2886">
                  <c:v>0.9992439644044476</c:v>
                </c:pt>
                <c:pt idx="2887">
                  <c:v>0.9992465008995263</c:v>
                </c:pt>
                <c:pt idx="2888">
                  <c:v>0.9992490333113867</c:v>
                </c:pt>
                <c:pt idx="2889">
                  <c:v>0.999251561640029</c:v>
                </c:pt>
                <c:pt idx="2890">
                  <c:v>0.999257824479938</c:v>
                </c:pt>
                <c:pt idx="2891">
                  <c:v>0.9992590706780996</c:v>
                </c:pt>
                <c:pt idx="2892">
                  <c:v>0.9992603136096867</c:v>
                </c:pt>
                <c:pt idx="2893">
                  <c:v>0.9992615532746993</c:v>
                </c:pt>
                <c:pt idx="2894">
                  <c:v>0.9992652657365881</c:v>
                </c:pt>
                <c:pt idx="2895">
                  <c:v>0.9992665013183827</c:v>
                </c:pt>
                <c:pt idx="2896">
                  <c:v>0.9992677369001772</c:v>
                </c:pt>
                <c:pt idx="2897">
                  <c:v>0.9992738927597723</c:v>
                </c:pt>
                <c:pt idx="2898">
                  <c:v>0.9992763402406964</c:v>
                </c:pt>
                <c:pt idx="2899">
                  <c:v>0.9992799947208886</c:v>
                </c:pt>
                <c:pt idx="2900">
                  <c:v>0.999281209069949</c:v>
                </c:pt>
                <c:pt idx="2901">
                  <c:v>0.9992824226023659</c:v>
                </c:pt>
                <c:pt idx="2902">
                  <c:v>0.999287253866012</c:v>
                </c:pt>
                <c:pt idx="2903">
                  <c:v>0.9992884567820618</c:v>
                </c:pt>
                <c:pt idx="2904">
                  <c:v>0.9992908577142996</c:v>
                </c:pt>
                <c:pt idx="2905">
                  <c:v>0.9992932521133886</c:v>
                </c:pt>
                <c:pt idx="2906">
                  <c:v>0.9992944476796458</c:v>
                </c:pt>
                <c:pt idx="2907">
                  <c:v>0.9992956334461797</c:v>
                </c:pt>
                <c:pt idx="2908">
                  <c:v>0.9992979837465132</c:v>
                </c:pt>
                <c:pt idx="2909">
                  <c:v>0.9993003177139744</c:v>
                </c:pt>
                <c:pt idx="2910">
                  <c:v>0.9993026451482866</c:v>
                </c:pt>
                <c:pt idx="2911">
                  <c:v>0.9993061183335953</c:v>
                </c:pt>
                <c:pt idx="2912">
                  <c:v>0.9993072689844535</c:v>
                </c:pt>
                <c:pt idx="2913">
                  <c:v>0.9993095645696647</c:v>
                </c:pt>
                <c:pt idx="2914">
                  <c:v>0.999311851171796</c:v>
                </c:pt>
                <c:pt idx="2915">
                  <c:v>0.999315274541844</c:v>
                </c:pt>
                <c:pt idx="2916">
                  <c:v>0.999316410493117</c:v>
                </c:pt>
                <c:pt idx="2917">
                  <c:v>0.9993175448111029</c:v>
                </c:pt>
                <c:pt idx="2918">
                  <c:v>0.999318676679158</c:v>
                </c:pt>
                <c:pt idx="2919">
                  <c:v>0.999319808547213</c:v>
                </c:pt>
                <c:pt idx="2920">
                  <c:v>0.9993265809727397</c:v>
                </c:pt>
                <c:pt idx="2921">
                  <c:v>0.9993277063076458</c:v>
                </c:pt>
                <c:pt idx="2922">
                  <c:v>0.9993288316425518</c:v>
                </c:pt>
                <c:pt idx="2923">
                  <c:v>0.9993299561608142</c:v>
                </c:pt>
                <c:pt idx="2924">
                  <c:v>0.9993310749625713</c:v>
                </c:pt>
                <c:pt idx="2925">
                  <c:v>0.9993321929476848</c:v>
                </c:pt>
                <c:pt idx="2926">
                  <c:v>0.9993333076662239</c:v>
                </c:pt>
                <c:pt idx="2927">
                  <c:v>0.999335534653371</c:v>
                </c:pt>
                <c:pt idx="2928">
                  <c:v>0.9993366452886919</c:v>
                </c:pt>
                <c:pt idx="2929">
                  <c:v>0.9993377551073692</c:v>
                </c:pt>
                <c:pt idx="2930">
                  <c:v>0.9993410714971032</c:v>
                </c:pt>
                <c:pt idx="2931">
                  <c:v>0.9993443789037574</c:v>
                </c:pt>
                <c:pt idx="2932">
                  <c:v>0.9993476797772627</c:v>
                </c:pt>
                <c:pt idx="2933">
                  <c:v>0.9993509692177573</c:v>
                </c:pt>
                <c:pt idx="2934">
                  <c:v>0.9993563958146012</c:v>
                </c:pt>
                <c:pt idx="2935">
                  <c:v>0.999357474600821</c:v>
                </c:pt>
                <c:pt idx="2936">
                  <c:v>0.9993585533870408</c:v>
                </c:pt>
                <c:pt idx="2937">
                  <c:v>0.9993628636320584</c:v>
                </c:pt>
                <c:pt idx="2938">
                  <c:v>0.9993650081382002</c:v>
                </c:pt>
                <c:pt idx="2939">
                  <c:v>0.9993660795746274</c:v>
                </c:pt>
                <c:pt idx="2940">
                  <c:v>0.9993682134644021</c:v>
                </c:pt>
                <c:pt idx="2941">
                  <c:v>0.9993692775510368</c:v>
                </c:pt>
                <c:pt idx="2942">
                  <c:v>0.9993714049076625</c:v>
                </c:pt>
                <c:pt idx="2943">
                  <c:v>0.9993724681776536</c:v>
                </c:pt>
                <c:pt idx="2944">
                  <c:v>0.999373530631001</c:v>
                </c:pt>
                <c:pt idx="2945">
                  <c:v>0.9993745914510612</c:v>
                </c:pt>
                <c:pt idx="2946">
                  <c:v>0.9993756481879034</c:v>
                </c:pt>
                <c:pt idx="2947">
                  <c:v>0.9993767008415274</c:v>
                </c:pt>
                <c:pt idx="2948">
                  <c:v>0.9993798481860324</c:v>
                </c:pt>
                <c:pt idx="2949">
                  <c:v>0.9993819420602699</c:v>
                </c:pt>
                <c:pt idx="2950">
                  <c:v>0.9993860995929308</c:v>
                </c:pt>
                <c:pt idx="2951">
                  <c:v>0.9993902293597087</c:v>
                </c:pt>
                <c:pt idx="2952">
                  <c:v>0.9993922766852598</c:v>
                </c:pt>
                <c:pt idx="2953">
                  <c:v>0.999394317477662</c:v>
                </c:pt>
                <c:pt idx="2954">
                  <c:v>0.9993963517369153</c:v>
                </c:pt>
                <c:pt idx="2955">
                  <c:v>0.9993993970009679</c:v>
                </c:pt>
                <c:pt idx="2956">
                  <c:v>0.9994044422252419</c:v>
                </c:pt>
                <c:pt idx="2957">
                  <c:v>0.9994064381022452</c:v>
                </c:pt>
                <c:pt idx="2958">
                  <c:v>0.9994084315293175</c:v>
                </c:pt>
                <c:pt idx="2959">
                  <c:v>0.9994104151566664</c:v>
                </c:pt>
                <c:pt idx="2960">
                  <c:v>0.9994114065620191</c:v>
                </c:pt>
                <c:pt idx="2961">
                  <c:v>0.9994153517673393</c:v>
                </c:pt>
                <c:pt idx="2962">
                  <c:v>0.9994163358228993</c:v>
                </c:pt>
                <c:pt idx="2963">
                  <c:v>0.9994173198784594</c:v>
                </c:pt>
                <c:pt idx="2964">
                  <c:v>0.9994202663286343</c:v>
                </c:pt>
                <c:pt idx="2965">
                  <c:v>0.9994232037957295</c:v>
                </c:pt>
                <c:pt idx="2966">
                  <c:v>0.9994251596571954</c:v>
                </c:pt>
                <c:pt idx="2967">
                  <c:v>0.9994261371796065</c:v>
                </c:pt>
                <c:pt idx="2968">
                  <c:v>0.9994271147020176</c:v>
                </c:pt>
                <c:pt idx="2969">
                  <c:v>0.9994300423693894</c:v>
                </c:pt>
                <c:pt idx="2970">
                  <c:v>0.9994319867978446</c:v>
                </c:pt>
                <c:pt idx="2971">
                  <c:v>0.9994329577871068</c:v>
                </c:pt>
                <c:pt idx="2972">
                  <c:v>0.9994387551401533</c:v>
                </c:pt>
                <c:pt idx="2973">
                  <c:v>0.999439718779623</c:v>
                </c:pt>
                <c:pt idx="2974">
                  <c:v>0.9994426056148138</c:v>
                </c:pt>
                <c:pt idx="2975">
                  <c:v>0.9994435676209962</c:v>
                </c:pt>
                <c:pt idx="2976">
                  <c:v>0.9994445271772477</c:v>
                </c:pt>
                <c:pt idx="2977">
                  <c:v>0.9994454859168557</c:v>
                </c:pt>
                <c:pt idx="2978">
                  <c:v>0.9994464405732455</c:v>
                </c:pt>
                <c:pt idx="2979">
                  <c:v>0.9994473952296353</c:v>
                </c:pt>
                <c:pt idx="2980">
                  <c:v>0.9994483482527379</c:v>
                </c:pt>
                <c:pt idx="2981">
                  <c:v>0.9994502534822994</c:v>
                </c:pt>
                <c:pt idx="2982">
                  <c:v>0.9994521562619302</c:v>
                </c:pt>
                <c:pt idx="2983">
                  <c:v>0.9994531035685275</c:v>
                </c:pt>
                <c:pt idx="2984">
                  <c:v>0.9994568805452623</c:v>
                </c:pt>
                <c:pt idx="2985">
                  <c:v>0.9994606403724812</c:v>
                </c:pt>
                <c:pt idx="2986">
                  <c:v>0.9994653091240472</c:v>
                </c:pt>
                <c:pt idx="2987">
                  <c:v>0.9994662392811284</c:v>
                </c:pt>
                <c:pt idx="2988">
                  <c:v>0.999467168621566</c:v>
                </c:pt>
                <c:pt idx="2989">
                  <c:v>0.9994680971453601</c:v>
                </c:pt>
                <c:pt idx="2990">
                  <c:v>0.9994690240358669</c:v>
                </c:pt>
                <c:pt idx="2991">
                  <c:v>0.9994736437888158</c:v>
                </c:pt>
                <c:pt idx="2992">
                  <c:v>0.99947456332953</c:v>
                </c:pt>
                <c:pt idx="2993">
                  <c:v>0.9994754820536006</c:v>
                </c:pt>
                <c:pt idx="2994">
                  <c:v>0.99947823087602</c:v>
                </c:pt>
                <c:pt idx="2995">
                  <c:v>0.9994791463335161</c:v>
                </c:pt>
                <c:pt idx="2996">
                  <c:v>0.9994800609743686</c:v>
                </c:pt>
                <c:pt idx="2997">
                  <c:v>0.999480971532003</c:v>
                </c:pt>
                <c:pt idx="2998">
                  <c:v>0.9994827893806975</c:v>
                </c:pt>
                <c:pt idx="2999">
                  <c:v>0.999483697488401</c:v>
                </c:pt>
                <c:pt idx="3000">
                  <c:v>0.9994854941043613</c:v>
                </c:pt>
                <c:pt idx="3001">
                  <c:v>0.9994872801039545</c:v>
                </c:pt>
                <c:pt idx="3002">
                  <c:v>0.9994926087035642</c:v>
                </c:pt>
                <c:pt idx="3003">
                  <c:v>0.9994934923119592</c:v>
                </c:pt>
                <c:pt idx="3004">
                  <c:v>0.9994943751037105</c:v>
                </c:pt>
                <c:pt idx="3005">
                  <c:v>0.9994952578954619</c:v>
                </c:pt>
                <c:pt idx="3006">
                  <c:v>0.9994970218456776</c:v>
                </c:pt>
                <c:pt idx="3007">
                  <c:v>0.999498777629457</c:v>
                </c:pt>
                <c:pt idx="3008">
                  <c:v>0.9994996547047031</c:v>
                </c:pt>
                <c:pt idx="3009">
                  <c:v>0.9995022810305796</c:v>
                </c:pt>
                <c:pt idx="3010">
                  <c:v>0.9995040294645665</c:v>
                </c:pt>
                <c:pt idx="3011">
                  <c:v>0.9995057754486225</c:v>
                </c:pt>
                <c:pt idx="3012">
                  <c:v>0.9995075132662423</c:v>
                </c:pt>
                <c:pt idx="3013">
                  <c:v>0.9995083789084778</c:v>
                </c:pt>
                <c:pt idx="3014">
                  <c:v>0.9995092437340696</c:v>
                </c:pt>
                <c:pt idx="3015">
                  <c:v>0.9995126997698622</c:v>
                </c:pt>
                <c:pt idx="3016">
                  <c:v>0.9995169920487202</c:v>
                </c:pt>
                <c:pt idx="3017">
                  <c:v>0.9995187012838135</c:v>
                </c:pt>
                <c:pt idx="3018">
                  <c:v>0.9995195530431074</c:v>
                </c:pt>
                <c:pt idx="3019">
                  <c:v>0.9995204039857577</c:v>
                </c:pt>
                <c:pt idx="3020">
                  <c:v>0.9995212524784771</c:v>
                </c:pt>
                <c:pt idx="3021">
                  <c:v>0.9995229453806979</c:v>
                </c:pt>
                <c:pt idx="3022">
                  <c:v>0.9995254769759145</c:v>
                </c:pt>
                <c:pt idx="3023">
                  <c:v>0.9995280028546261</c:v>
                </c:pt>
                <c:pt idx="3024">
                  <c:v>0.9995288423642658</c:v>
                </c:pt>
                <c:pt idx="3025">
                  <c:v>0.9995296818739055</c:v>
                </c:pt>
                <c:pt idx="3026">
                  <c:v>0.9995313592598976</c:v>
                </c:pt>
                <c:pt idx="3027">
                  <c:v>0.999533029296097</c:v>
                </c:pt>
                <c:pt idx="3028">
                  <c:v>0.9995346927991475</c:v>
                </c:pt>
                <c:pt idx="3029">
                  <c:v>0.9995355233257074</c:v>
                </c:pt>
                <c:pt idx="3030">
                  <c:v>0.9995371786623217</c:v>
                </c:pt>
                <c:pt idx="3031">
                  <c:v>0.9995380034723762</c:v>
                </c:pt>
                <c:pt idx="3032">
                  <c:v>0.9995404721860344</c:v>
                </c:pt>
                <c:pt idx="3033">
                  <c:v>0.9995412880130091</c:v>
                </c:pt>
                <c:pt idx="3034">
                  <c:v>0.999543727327497</c:v>
                </c:pt>
                <c:pt idx="3035">
                  <c:v>0.9995453475484357</c:v>
                </c:pt>
                <c:pt idx="3036">
                  <c:v>0.9995469653194436</c:v>
                </c:pt>
                <c:pt idx="3037">
                  <c:v>0.9995477737966258</c:v>
                </c:pt>
                <c:pt idx="3038">
                  <c:v>0.9995509897391949</c:v>
                </c:pt>
                <c:pt idx="3039">
                  <c:v>0.9995525928106176</c:v>
                </c:pt>
                <c:pt idx="3040">
                  <c:v>0.9995565788481187</c:v>
                </c:pt>
                <c:pt idx="3041">
                  <c:v>0.9995573701757848</c:v>
                </c:pt>
                <c:pt idx="3042">
                  <c:v>0.999558161503451</c:v>
                </c:pt>
                <c:pt idx="3043">
                  <c:v>0.9995589520144735</c:v>
                </c:pt>
                <c:pt idx="3044">
                  <c:v>0.9995597425254961</c:v>
                </c:pt>
                <c:pt idx="3045">
                  <c:v>0.9995613194643231</c:v>
                </c:pt>
                <c:pt idx="3046">
                  <c:v>0.9995621067087712</c:v>
                </c:pt>
                <c:pt idx="3047">
                  <c:v>0.9995628939532193</c:v>
                </c:pt>
                <c:pt idx="3048">
                  <c:v>0.999564465175541</c:v>
                </c:pt>
                <c:pt idx="3049">
                  <c:v>0.9995683695486802</c:v>
                </c:pt>
                <c:pt idx="3050">
                  <c:v>0.9995722200233406</c:v>
                </c:pt>
                <c:pt idx="3051">
                  <c:v>0.9995729860350545</c:v>
                </c:pt>
                <c:pt idx="3052">
                  <c:v>0.9995737512301249</c:v>
                </c:pt>
                <c:pt idx="3053">
                  <c:v>0.9995745164251953</c:v>
                </c:pt>
                <c:pt idx="3054">
                  <c:v>0.9995760443654053</c:v>
                </c:pt>
                <c:pt idx="3055">
                  <c:v>0.9995775567893864</c:v>
                </c:pt>
                <c:pt idx="3056">
                  <c:v>0.999579065946793</c:v>
                </c:pt>
                <c:pt idx="3057">
                  <c:v>0.9995828135243576</c:v>
                </c:pt>
                <c:pt idx="3058">
                  <c:v>0.999583561569912</c:v>
                </c:pt>
                <c:pt idx="3059">
                  <c:v>0.9995850494945846</c:v>
                </c:pt>
                <c:pt idx="3060">
                  <c:v>0.9995880090110574</c:v>
                </c:pt>
                <c:pt idx="3061">
                  <c:v>0.9995902253818375</c:v>
                </c:pt>
                <c:pt idx="3062">
                  <c:v>0.9995909628110249</c:v>
                </c:pt>
                <c:pt idx="3063">
                  <c:v>0.9995938986448327</c:v>
                </c:pt>
                <c:pt idx="3064">
                  <c:v>0.9995953596202659</c:v>
                </c:pt>
                <c:pt idx="3065">
                  <c:v>0.9995960888830171</c:v>
                </c:pt>
                <c:pt idx="3066">
                  <c:v>0.999596816512481</c:v>
                </c:pt>
                <c:pt idx="3067">
                  <c:v>0.9995975433253013</c:v>
                </c:pt>
                <c:pt idx="3068">
                  <c:v>0.9995982701381215</c:v>
                </c:pt>
                <c:pt idx="3069">
                  <c:v>0.9995997229471185</c:v>
                </c:pt>
                <c:pt idx="3070">
                  <c:v>0.9996004489432953</c:v>
                </c:pt>
                <c:pt idx="3071">
                  <c:v>0.9996011741228283</c:v>
                </c:pt>
                <c:pt idx="3072">
                  <c:v>0.9996040683078117</c:v>
                </c:pt>
                <c:pt idx="3073">
                  <c:v>0.9996055105004417</c:v>
                </c:pt>
                <c:pt idx="3074">
                  <c:v>0.9996062266968949</c:v>
                </c:pt>
                <c:pt idx="3075">
                  <c:v>0.9996105067260986</c:v>
                </c:pt>
                <c:pt idx="3076">
                  <c:v>0.9996112188393338</c:v>
                </c:pt>
                <c:pt idx="3077">
                  <c:v>0.9996119301359253</c:v>
                </c:pt>
                <c:pt idx="3078">
                  <c:v>0.9996133510958213</c:v>
                </c:pt>
                <c:pt idx="3079">
                  <c:v>0.9996140607591256</c:v>
                </c:pt>
                <c:pt idx="3080">
                  <c:v>0.9996168912459068</c:v>
                </c:pt>
                <c:pt idx="3081">
                  <c:v>0.9996175951927058</c:v>
                </c:pt>
                <c:pt idx="3082">
                  <c:v>0.9996217902909731</c:v>
                </c:pt>
                <c:pt idx="3083">
                  <c:v>0.9996252651095692</c:v>
                </c:pt>
                <c:pt idx="3084">
                  <c:v>0.9996266509537894</c:v>
                </c:pt>
                <c:pt idx="3085">
                  <c:v>0.9996273434675778</c:v>
                </c:pt>
                <c:pt idx="3086">
                  <c:v>0.9996280351647224</c:v>
                </c:pt>
                <c:pt idx="3087">
                  <c:v>0.9996314887505843</c:v>
                </c:pt>
                <c:pt idx="3088">
                  <c:v>0.9996321771811545</c:v>
                </c:pt>
                <c:pt idx="3089">
                  <c:v>0.9996328656117247</c:v>
                </c:pt>
                <c:pt idx="3090">
                  <c:v>0.9996335524090078</c:v>
                </c:pt>
                <c:pt idx="3091">
                  <c:v>0.9996342383896472</c:v>
                </c:pt>
                <c:pt idx="3092">
                  <c:v>0.9996349243702866</c:v>
                </c:pt>
                <c:pt idx="3093">
                  <c:v>0.9996356062677079</c:v>
                </c:pt>
                <c:pt idx="3094">
                  <c:v>0.9996362865318419</c:v>
                </c:pt>
                <c:pt idx="3095">
                  <c:v>0.9996376446101792</c:v>
                </c:pt>
                <c:pt idx="3096">
                  <c:v>0.9996396707029962</c:v>
                </c:pt>
                <c:pt idx="3097">
                  <c:v>0.9996403444339813</c:v>
                </c:pt>
                <c:pt idx="3098">
                  <c:v>0.9996423550105695</c:v>
                </c:pt>
                <c:pt idx="3099">
                  <c:v>0.9996436894062419</c:v>
                </c:pt>
                <c:pt idx="3100">
                  <c:v>0.9996443557874345</c:v>
                </c:pt>
                <c:pt idx="3101">
                  <c:v>0.9996450205353398</c:v>
                </c:pt>
                <c:pt idx="3102">
                  <c:v>0.9996470131457685</c:v>
                </c:pt>
                <c:pt idx="3103">
                  <c:v>0.9996483377417175</c:v>
                </c:pt>
                <c:pt idx="3104">
                  <c:v>0.9996489984064046</c:v>
                </c:pt>
                <c:pt idx="3105">
                  <c:v>0.9996522943800483</c:v>
                </c:pt>
                <c:pt idx="3106">
                  <c:v>0.999652951778161</c:v>
                </c:pt>
                <c:pt idx="3107">
                  <c:v>0.9996549149894196</c:v>
                </c:pt>
                <c:pt idx="3108">
                  <c:v>0.9996555658543834</c:v>
                </c:pt>
                <c:pt idx="3109">
                  <c:v>0.9996562167193472</c:v>
                </c:pt>
                <c:pt idx="3110">
                  <c:v>0.9996581619644462</c:v>
                </c:pt>
                <c:pt idx="3111">
                  <c:v>0.9996588095628356</c:v>
                </c:pt>
                <c:pt idx="3112">
                  <c:v>0.9996594563445813</c:v>
                </c:pt>
                <c:pt idx="3113">
                  <c:v>0.9996607466414983</c:v>
                </c:pt>
                <c:pt idx="3114">
                  <c:v>0.9996613868900951</c:v>
                </c:pt>
                <c:pt idx="3115">
                  <c:v>0.999665826981448</c:v>
                </c:pt>
                <c:pt idx="3116">
                  <c:v>0.9996664549803905</c:v>
                </c:pt>
                <c:pt idx="3117">
                  <c:v>0.9996670821626894</c:v>
                </c:pt>
                <c:pt idx="3118">
                  <c:v>0.9996683308107819</c:v>
                </c:pt>
                <c:pt idx="3119">
                  <c:v>0.9996689547265063</c:v>
                </c:pt>
                <c:pt idx="3120">
                  <c:v>0.9996720669553357</c:v>
                </c:pt>
                <c:pt idx="3121">
                  <c:v>0.9996726884211293</c:v>
                </c:pt>
                <c:pt idx="3122">
                  <c:v>0.9996745438354301</c:v>
                </c:pt>
                <c:pt idx="3123">
                  <c:v>0.9996776266650893</c:v>
                </c:pt>
                <c:pt idx="3124">
                  <c:v>0.9996788499972296</c:v>
                </c:pt>
                <c:pt idx="3125">
                  <c:v>0.9996794616632997</c:v>
                </c:pt>
                <c:pt idx="3126">
                  <c:v>0.999680682545509</c:v>
                </c:pt>
                <c:pt idx="3127">
                  <c:v>0.9996812917616483</c:v>
                </c:pt>
                <c:pt idx="3128">
                  <c:v>0.9996837220930564</c:v>
                </c:pt>
                <c:pt idx="3129">
                  <c:v>0.9996843280426212</c:v>
                </c:pt>
                <c:pt idx="3130">
                  <c:v>0.9996849331755424</c:v>
                </c:pt>
                <c:pt idx="3131">
                  <c:v>0.9996861434413848</c:v>
                </c:pt>
                <c:pt idx="3132">
                  <c:v>0.9996879572068612</c:v>
                </c:pt>
                <c:pt idx="3133">
                  <c:v>0.9996885615231388</c:v>
                </c:pt>
                <c:pt idx="3134">
                  <c:v>0.9996891650227727</c:v>
                </c:pt>
                <c:pt idx="3135">
                  <c:v>0.999689767705763</c:v>
                </c:pt>
                <c:pt idx="3136">
                  <c:v>0.999690968171882</c:v>
                </c:pt>
                <c:pt idx="3137">
                  <c:v>0.9996969149707107</c:v>
                </c:pt>
                <c:pt idx="3138">
                  <c:v>0.9996975029541159</c:v>
                </c:pt>
                <c:pt idx="3139">
                  <c:v>0.9996986756543519</c:v>
                </c:pt>
                <c:pt idx="3140">
                  <c:v>0.9997033248064712</c:v>
                </c:pt>
                <c:pt idx="3141">
                  <c:v>0.9997056032421663</c:v>
                </c:pt>
                <c:pt idx="3142">
                  <c:v>0.9997061691761938</c:v>
                </c:pt>
                <c:pt idx="3143">
                  <c:v>0.9997078628950582</c:v>
                </c:pt>
                <c:pt idx="3144">
                  <c:v>0.9997095468141992</c:v>
                </c:pt>
                <c:pt idx="3145">
                  <c:v>0.9997101062150777</c:v>
                </c:pt>
                <c:pt idx="3146">
                  <c:v>0.9997106656159562</c:v>
                </c:pt>
                <c:pt idx="3147">
                  <c:v>0.9997112250168347</c:v>
                </c:pt>
                <c:pt idx="3148">
                  <c:v>0.999711778701208</c:v>
                </c:pt>
                <c:pt idx="3149">
                  <c:v>0.9997139885388391</c:v>
                </c:pt>
                <c:pt idx="3150">
                  <c:v>0.9997156340757299</c:v>
                </c:pt>
                <c:pt idx="3151">
                  <c:v>0.9997216257899576</c:v>
                </c:pt>
                <c:pt idx="3152">
                  <c:v>0.9997221647747457</c:v>
                </c:pt>
                <c:pt idx="3153">
                  <c:v>0.9997227029428902</c:v>
                </c:pt>
                <c:pt idx="3154">
                  <c:v>0.9997253864338201</c:v>
                </c:pt>
                <c:pt idx="3155">
                  <c:v>0.9997269837887376</c:v>
                </c:pt>
                <c:pt idx="3156">
                  <c:v>0.9997275154237332</c:v>
                </c:pt>
                <c:pt idx="3157">
                  <c:v>0.999729107878789</c:v>
                </c:pt>
                <c:pt idx="3158">
                  <c:v>0.9997296386971409</c:v>
                </c:pt>
                <c:pt idx="3159">
                  <c:v>0.9997306938006958</c:v>
                </c:pt>
                <c:pt idx="3160">
                  <c:v>0.9997317415544581</c:v>
                </c:pt>
                <c:pt idx="3161">
                  <c:v>0.9997338305288338</c:v>
                </c:pt>
                <c:pt idx="3162">
                  <c:v>0.9997343507308186</c:v>
                </c:pt>
                <c:pt idx="3163">
                  <c:v>0.9997348701161599</c:v>
                </c:pt>
                <c:pt idx="3164">
                  <c:v>0.9997353886848576</c:v>
                </c:pt>
                <c:pt idx="3165">
                  <c:v>0.999736937041158</c:v>
                </c:pt>
                <c:pt idx="3166">
                  <c:v>0.9997384780476658</c:v>
                </c:pt>
                <c:pt idx="3167">
                  <c:v>0.9997389900832145</c:v>
                </c:pt>
                <c:pt idx="3168">
                  <c:v>0.9997410259757551</c:v>
                </c:pt>
                <c:pt idx="3169">
                  <c:v>0.9997420377971982</c:v>
                </c:pt>
                <c:pt idx="3170">
                  <c:v>0.9997425432995979</c:v>
                </c:pt>
                <c:pt idx="3171">
                  <c:v>0.999743544504674</c:v>
                </c:pt>
                <c:pt idx="3172">
                  <c:v>0.9997450348792775</c:v>
                </c:pt>
                <c:pt idx="3173">
                  <c:v>0.9997460279179174</c:v>
                </c:pt>
                <c:pt idx="3174">
                  <c:v>0.9997480066454046</c:v>
                </c:pt>
                <c:pt idx="3175">
                  <c:v>0.9997484982648629</c:v>
                </c:pt>
                <c:pt idx="3176">
                  <c:v>0.9997489874343902</c:v>
                </c:pt>
                <c:pt idx="3177">
                  <c:v>0.9997509359460636</c:v>
                </c:pt>
                <c:pt idx="3178">
                  <c:v>0.999751904485395</c:v>
                </c:pt>
                <c:pt idx="3179">
                  <c:v>0.9997533499445994</c:v>
                </c:pt>
                <c:pt idx="3180">
                  <c:v>0.9997543103174946</c:v>
                </c:pt>
                <c:pt idx="3181">
                  <c:v>0.9997547896872986</c:v>
                </c:pt>
                <c:pt idx="3182">
                  <c:v>0.9997552690571025</c:v>
                </c:pt>
                <c:pt idx="3183">
                  <c:v>0.9997562261634232</c:v>
                </c:pt>
                <c:pt idx="3184">
                  <c:v>0.9997567030832963</c:v>
                </c:pt>
                <c:pt idx="3185">
                  <c:v>0.9997576552897554</c:v>
                </c:pt>
                <c:pt idx="3186">
                  <c:v>0.999759078699582</c:v>
                </c:pt>
                <c:pt idx="3187">
                  <c:v>0.9997600243728921</c:v>
                </c:pt>
                <c:pt idx="3188">
                  <c:v>0.9997604947596163</c:v>
                </c:pt>
                <c:pt idx="3189">
                  <c:v>0.9997609635130532</c:v>
                </c:pt>
                <c:pt idx="3190">
                  <c:v>0.9997614322664902</c:v>
                </c:pt>
                <c:pt idx="3191">
                  <c:v>0.999763307280238</c:v>
                </c:pt>
                <c:pt idx="3192">
                  <c:v>0.9997637752170313</c:v>
                </c:pt>
                <c:pt idx="3193">
                  <c:v>0.9997647086406871</c:v>
                </c:pt>
                <c:pt idx="3194">
                  <c:v>0.9997665624217007</c:v>
                </c:pt>
                <c:pt idx="3195">
                  <c:v>0.9997670246419886</c:v>
                </c:pt>
                <c:pt idx="3196">
                  <c:v>0.9997697620313973</c:v>
                </c:pt>
                <c:pt idx="3197">
                  <c:v>0.9997702136353183</c:v>
                </c:pt>
                <c:pt idx="3198">
                  <c:v>0.9997706652392392</c:v>
                </c:pt>
                <c:pt idx="3199">
                  <c:v>0.9997729167256949</c:v>
                </c:pt>
                <c:pt idx="3200">
                  <c:v>0.9997738134003878</c:v>
                </c:pt>
                <c:pt idx="3201">
                  <c:v>0.9997742609210907</c:v>
                </c:pt>
                <c:pt idx="3202">
                  <c:v>0.9997747084417935</c:v>
                </c:pt>
                <c:pt idx="3203">
                  <c:v>0.9997751551458527</c:v>
                </c:pt>
                <c:pt idx="3204">
                  <c:v>0.9997760452873967</c:v>
                </c:pt>
                <c:pt idx="3205">
                  <c:v>0.9997769329790098</c:v>
                </c:pt>
                <c:pt idx="3206">
                  <c:v>0.9997773764164946</c:v>
                </c:pt>
                <c:pt idx="3207">
                  <c:v>0.9997782616581767</c:v>
                </c:pt>
                <c:pt idx="3208">
                  <c:v>0.9997787042790178</c:v>
                </c:pt>
                <c:pt idx="3209">
                  <c:v>0.9997791460832154</c:v>
                </c:pt>
                <c:pt idx="3210">
                  <c:v>0.9997822207464383</c:v>
                </c:pt>
                <c:pt idx="3211">
                  <c:v>0.9997839691804252</c:v>
                </c:pt>
                <c:pt idx="3212">
                  <c:v>0.999784406084761</c:v>
                </c:pt>
                <c:pt idx="3213">
                  <c:v>0.9997857127145503</c:v>
                </c:pt>
                <c:pt idx="3214">
                  <c:v>0.9997870168944086</c:v>
                </c:pt>
                <c:pt idx="3215">
                  <c:v>0.9997874497155264</c:v>
                </c:pt>
                <c:pt idx="3216">
                  <c:v>0.9997878792700696</c:v>
                </c:pt>
                <c:pt idx="3217">
                  <c:v>0.9997887383791562</c:v>
                </c:pt>
                <c:pt idx="3218">
                  <c:v>0.9997895958549554</c:v>
                </c:pt>
                <c:pt idx="3219">
                  <c:v>0.9997913034567613</c:v>
                </c:pt>
                <c:pt idx="3220">
                  <c:v>0.9997921519494807</c:v>
                </c:pt>
                <c:pt idx="3221">
                  <c:v>0.9997929996255565</c:v>
                </c:pt>
                <c:pt idx="3222">
                  <c:v>0.9997934226469507</c:v>
                </c:pt>
                <c:pt idx="3223">
                  <c:v>0.999793845668345</c:v>
                </c:pt>
                <c:pt idx="3224">
                  <c:v>0.9997946859946282</c:v>
                </c:pt>
                <c:pt idx="3225">
                  <c:v>0.999796768435855</c:v>
                </c:pt>
                <c:pt idx="3226">
                  <c:v>0.9997971824741695</c:v>
                </c:pt>
                <c:pt idx="3227">
                  <c:v>0.9997975956958404</c:v>
                </c:pt>
                <c:pt idx="3228">
                  <c:v>0.9997980089175112</c:v>
                </c:pt>
                <c:pt idx="3229">
                  <c:v>0.9997984213225385</c:v>
                </c:pt>
                <c:pt idx="3230">
                  <c:v>0.9997988329109221</c:v>
                </c:pt>
                <c:pt idx="3231">
                  <c:v>0.9997992436826622</c:v>
                </c:pt>
                <c:pt idx="3232">
                  <c:v>0.999800874519968</c:v>
                </c:pt>
                <c:pt idx="3233">
                  <c:v>0.9998020831525232</c:v>
                </c:pt>
                <c:pt idx="3234">
                  <c:v>0.9998028859132</c:v>
                </c:pt>
                <c:pt idx="3235">
                  <c:v>0.9998032868852166</c:v>
                </c:pt>
                <c:pt idx="3236">
                  <c:v>0.9998036870405895</c:v>
                </c:pt>
                <c:pt idx="3237">
                  <c:v>0.999806474245259</c:v>
                </c:pt>
                <c:pt idx="3238">
                  <c:v>0.999808057717235</c:v>
                </c:pt>
                <c:pt idx="3239">
                  <c:v>0.9998112115948892</c:v>
                </c:pt>
                <c:pt idx="3240">
                  <c:v>0.9998116027671824</c:v>
                </c:pt>
                <c:pt idx="3241">
                  <c:v>0.9998123851117688</c:v>
                </c:pt>
                <c:pt idx="3242">
                  <c:v>0.9998127754674184</c:v>
                </c:pt>
                <c:pt idx="3243">
                  <c:v>0.9998135520954994</c:v>
                </c:pt>
                <c:pt idx="3244">
                  <c:v>0.9998162364030728</c:v>
                </c:pt>
                <c:pt idx="3245">
                  <c:v>0.9998173682711279</c:v>
                </c:pt>
                <c:pt idx="3246">
                  <c:v>0.9998177439271924</c:v>
                </c:pt>
                <c:pt idx="3247">
                  <c:v>0.9998181187666132</c:v>
                </c:pt>
                <c:pt idx="3248">
                  <c:v>0.999818493606034</c:v>
                </c:pt>
                <c:pt idx="3249">
                  <c:v>0.9998192416515884</c:v>
                </c:pt>
                <c:pt idx="3250">
                  <c:v>0.9998196140410783</c:v>
                </c:pt>
                <c:pt idx="3251">
                  <c:v>0.9998203588200582</c:v>
                </c:pt>
                <c:pt idx="3252">
                  <c:v>0.9998211019657509</c:v>
                </c:pt>
                <c:pt idx="3253">
                  <c:v>0.9998218434781564</c:v>
                </c:pt>
                <c:pt idx="3254">
                  <c:v>0.9998222134177155</c:v>
                </c:pt>
                <c:pt idx="3255">
                  <c:v>0.9998225833572746</c:v>
                </c:pt>
                <c:pt idx="3256">
                  <c:v>0.999823690726021</c:v>
                </c:pt>
                <c:pt idx="3257">
                  <c:v>0.9998247956448364</c:v>
                </c:pt>
                <c:pt idx="3258">
                  <c:v>0.9998255298074493</c:v>
                </c:pt>
                <c:pt idx="3259">
                  <c:v>0.9998269932328133</c:v>
                </c:pt>
                <c:pt idx="3260">
                  <c:v>0.9998277224955645</c:v>
                </c:pt>
                <c:pt idx="3261">
                  <c:v>0.999828085085331</c:v>
                </c:pt>
                <c:pt idx="3262">
                  <c:v>0.9998284476750976</c:v>
                </c:pt>
                <c:pt idx="3263">
                  <c:v>0.9998309727371655</c:v>
                </c:pt>
                <c:pt idx="3264">
                  <c:v>0.9998313320603576</c:v>
                </c:pt>
                <c:pt idx="3265">
                  <c:v>0.9998324059467156</c:v>
                </c:pt>
                <c:pt idx="3266">
                  <c:v>0.9998334749332121</c:v>
                </c:pt>
                <c:pt idx="3267">
                  <c:v>0.9998352323502786</c:v>
                </c:pt>
                <c:pt idx="3268">
                  <c:v>0.9998362801040409</c:v>
                </c:pt>
                <c:pt idx="3269">
                  <c:v>0.9998383658118423</c:v>
                </c:pt>
                <c:pt idx="3270">
                  <c:v>0.9998407642941494</c:v>
                </c:pt>
                <c:pt idx="3271">
                  <c:v>0.999841103201251</c:v>
                </c:pt>
                <c:pt idx="3272">
                  <c:v>0.9998424555630828</c:v>
                </c:pt>
                <c:pt idx="3273">
                  <c:v>0.9998431268441371</c:v>
                </c:pt>
                <c:pt idx="3274">
                  <c:v>0.9998447944304057</c:v>
                </c:pt>
                <c:pt idx="3275">
                  <c:v>0.9998461165764237</c:v>
                </c:pt>
                <c:pt idx="3276">
                  <c:v>0.9998464465004455</c:v>
                </c:pt>
                <c:pt idx="3277">
                  <c:v>0.999847432189293</c:v>
                </c:pt>
                <c:pt idx="3278">
                  <c:v>0.9998484146115658</c:v>
                </c:pt>
                <c:pt idx="3279">
                  <c:v>0.9998490654765296</c:v>
                </c:pt>
                <c:pt idx="3280">
                  <c:v>0.9998500380990791</c:v>
                </c:pt>
                <c:pt idx="3281">
                  <c:v>0.9998503623065956</c:v>
                </c:pt>
                <c:pt idx="3282">
                  <c:v>0.9998510082716977</c:v>
                </c:pt>
                <c:pt idx="3283">
                  <c:v>0.9998561196441047</c:v>
                </c:pt>
                <c:pt idx="3284">
                  <c:v>0.9998573789085642</c:v>
                </c:pt>
                <c:pt idx="3285">
                  <c:v>0.9998580044575759</c:v>
                </c:pt>
                <c:pt idx="3286">
                  <c:v>0.9998589386978752</c:v>
                </c:pt>
                <c:pt idx="3287">
                  <c:v>0.9998592490224502</c:v>
                </c:pt>
                <c:pt idx="3288">
                  <c:v>0.9998617210026828</c:v>
                </c:pt>
                <c:pt idx="3289">
                  <c:v>0.9998623318521094</c:v>
                </c:pt>
                <c:pt idx="3290">
                  <c:v>0.999862636460179</c:v>
                </c:pt>
                <c:pt idx="3291">
                  <c:v>0.9998632440430311</c:v>
                </c:pt>
                <c:pt idx="3292">
                  <c:v>0.9998644551255169</c:v>
                </c:pt>
                <c:pt idx="3293">
                  <c:v>0.9998647564670121</c:v>
                </c:pt>
                <c:pt idx="3294">
                  <c:v>0.9998665596161215</c:v>
                </c:pt>
                <c:pt idx="3295">
                  <c:v>0.9998677535490914</c:v>
                </c:pt>
                <c:pt idx="3296">
                  <c:v>0.9998680499907249</c:v>
                </c:pt>
                <c:pt idx="3297">
                  <c:v>0.9998686404240609</c:v>
                </c:pt>
                <c:pt idx="3298">
                  <c:v>0.9998695223991687</c:v>
                </c:pt>
                <c:pt idx="3299">
                  <c:v>0.9998698147575841</c:v>
                </c:pt>
                <c:pt idx="3300">
                  <c:v>0.9998703994744148</c:v>
                </c:pt>
                <c:pt idx="3301">
                  <c:v>0.9998718563666298</c:v>
                </c:pt>
                <c:pt idx="3302">
                  <c:v>0.999872437816886</c:v>
                </c:pt>
                <c:pt idx="3303">
                  <c:v>0.999873306725696</c:v>
                </c:pt>
                <c:pt idx="3304">
                  <c:v>0.9998735950008932</c:v>
                </c:pt>
                <c:pt idx="3305">
                  <c:v>0.9998744541099797</c:v>
                </c:pt>
                <c:pt idx="3306">
                  <c:v>0.9998747399352461</c:v>
                </c:pt>
                <c:pt idx="3307">
                  <c:v>0.9998770142877231</c:v>
                </c:pt>
                <c:pt idx="3308">
                  <c:v>0.9998772960297715</c:v>
                </c:pt>
                <c:pt idx="3309">
                  <c:v>0.9998781363560547</c:v>
                </c:pt>
                <c:pt idx="3310">
                  <c:v>0.9998786916737152</c:v>
                </c:pt>
                <c:pt idx="3311">
                  <c:v>0.9998792437248012</c:v>
                </c:pt>
                <c:pt idx="3312">
                  <c:v>0.9998800693514993</c:v>
                </c:pt>
                <c:pt idx="3313">
                  <c:v>0.9998806173193673</c:v>
                </c:pt>
                <c:pt idx="3314">
                  <c:v>0.9998814339629856</c:v>
                </c:pt>
                <c:pt idx="3315">
                  <c:v>0.9998819721311301</c:v>
                </c:pt>
                <c:pt idx="3316">
                  <c:v>0.9998822408068805</c:v>
                </c:pt>
                <c:pt idx="3317">
                  <c:v>0.9998830460174881</c:v>
                </c:pt>
                <c:pt idx="3318">
                  <c:v>0.9998835817357017</c:v>
                </c:pt>
                <c:pt idx="3319">
                  <c:v>0.9998843820464476</c:v>
                </c:pt>
                <c:pt idx="3320">
                  <c:v>0.9998846482722672</c:v>
                </c:pt>
                <c:pt idx="3321">
                  <c:v>0.9998851799072628</c:v>
                </c:pt>
                <c:pt idx="3322">
                  <c:v>0.9998857107256147</c:v>
                </c:pt>
                <c:pt idx="3323">
                  <c:v>0.9998862390940357</c:v>
                </c:pt>
                <c:pt idx="3324">
                  <c:v>0.9998865020532809</c:v>
                </c:pt>
                <c:pt idx="3325">
                  <c:v>0.999887548173756</c:v>
                </c:pt>
                <c:pt idx="3326">
                  <c:v>0.9998926758790355</c:v>
                </c:pt>
                <c:pt idx="3327">
                  <c:v>0.9998936852505477</c:v>
                </c:pt>
                <c:pt idx="3328">
                  <c:v>0.9998961784635145</c:v>
                </c:pt>
                <c:pt idx="3329">
                  <c:v>0.9998983842179276</c:v>
                </c:pt>
                <c:pt idx="3330">
                  <c:v>0.999898627577726</c:v>
                </c:pt>
                <c:pt idx="3331">
                  <c:v>0.999900559756527</c:v>
                </c:pt>
                <c:pt idx="3332">
                  <c:v>0.9999015103296988</c:v>
                </c:pt>
                <c:pt idx="3333">
                  <c:v>0.9999029255730892</c:v>
                </c:pt>
                <c:pt idx="3334">
                  <c:v>0.9999031607664514</c:v>
                </c:pt>
                <c:pt idx="3335">
                  <c:v>0.9999036295198883</c:v>
                </c:pt>
                <c:pt idx="3336">
                  <c:v>0.999904096640038</c:v>
                </c:pt>
                <c:pt idx="3337">
                  <c:v>0.9999050227139011</c:v>
                </c:pt>
                <c:pt idx="3338">
                  <c:v>0.9999068577121115</c:v>
                </c:pt>
                <c:pt idx="3339">
                  <c:v>0.9999091034820621</c:v>
                </c:pt>
                <c:pt idx="3340">
                  <c:v>0.9999093247924826</c:v>
                </c:pt>
                <c:pt idx="3341">
                  <c:v>0.9999097657800365</c:v>
                </c:pt>
                <c:pt idx="3342">
                  <c:v>0.99991064448857</c:v>
                </c:pt>
                <c:pt idx="3343">
                  <c:v>0.9999115158473108</c:v>
                </c:pt>
                <c:pt idx="3344">
                  <c:v>0.9999123831228333</c:v>
                </c:pt>
                <c:pt idx="3345">
                  <c:v>0.9999132454984944</c:v>
                </c:pt>
                <c:pt idx="3346">
                  <c:v>0.9999136750530376</c:v>
                </c:pt>
                <c:pt idx="3347">
                  <c:v>0.9999143193848525</c:v>
                </c:pt>
                <c:pt idx="3348">
                  <c:v>0.9999145325288369</c:v>
                </c:pt>
                <c:pt idx="3349">
                  <c:v>0.9999151678775721</c:v>
                </c:pt>
                <c:pt idx="3350">
                  <c:v>0.9999157999597327</c:v>
                </c:pt>
                <c:pt idx="3351">
                  <c:v>0.9999166402860159</c:v>
                </c:pt>
                <c:pt idx="3352">
                  <c:v>0.9999168501634258</c:v>
                </c:pt>
                <c:pt idx="3353">
                  <c:v>0.9999172682849583</c:v>
                </c:pt>
                <c:pt idx="3354">
                  <c:v>0.999917476529081</c:v>
                </c:pt>
                <c:pt idx="3355">
                  <c:v>0.9999178905673956</c:v>
                </c:pt>
                <c:pt idx="3356">
                  <c:v>0.9999183037890664</c:v>
                </c:pt>
                <c:pt idx="3357">
                  <c:v>0.9999187170107373</c:v>
                </c:pt>
                <c:pt idx="3358">
                  <c:v>0.9999195385542172</c:v>
                </c:pt>
                <c:pt idx="3359">
                  <c:v>0.9999205585420965</c:v>
                </c:pt>
                <c:pt idx="3360">
                  <c:v>0.9999211653083049</c:v>
                </c:pt>
                <c:pt idx="3361">
                  <c:v>0.9999213670192786</c:v>
                </c:pt>
                <c:pt idx="3362">
                  <c:v>0.999921766358008</c:v>
                </c:pt>
                <c:pt idx="3363">
                  <c:v>0.9999221648800938</c:v>
                </c:pt>
                <c:pt idx="3364">
                  <c:v>0.9999223641411367</c:v>
                </c:pt>
                <c:pt idx="3365">
                  <c:v>0.9999231554688027</c:v>
                </c:pt>
                <c:pt idx="3366">
                  <c:v>0.9999233530965583</c:v>
                </c:pt>
                <c:pt idx="3367">
                  <c:v>0.9999252991583006</c:v>
                </c:pt>
                <c:pt idx="3368">
                  <c:v>0.9999254902529073</c:v>
                </c:pt>
                <c:pt idx="3369">
                  <c:v>0.999925681347514</c:v>
                </c:pt>
                <c:pt idx="3370">
                  <c:v>0.9999271994880005</c:v>
                </c:pt>
                <c:pt idx="3371">
                  <c:v>0.9999273881326763</c:v>
                </c:pt>
                <c:pt idx="3372">
                  <c:v>0.9999275751440649</c:v>
                </c:pt>
                <c:pt idx="3373">
                  <c:v>0.9999277621554535</c:v>
                </c:pt>
                <c:pt idx="3374">
                  <c:v>0.9999279491668421</c:v>
                </c:pt>
                <c:pt idx="3375">
                  <c:v>0.9999290647020247</c:v>
                </c:pt>
                <c:pt idx="3376">
                  <c:v>0.9999292484468388</c:v>
                </c:pt>
                <c:pt idx="3377">
                  <c:v>0.999929432191653</c:v>
                </c:pt>
                <c:pt idx="3378">
                  <c:v>0.9999297988646376</c:v>
                </c:pt>
                <c:pt idx="3379">
                  <c:v>0.9999312475904164</c:v>
                </c:pt>
                <c:pt idx="3380">
                  <c:v>0.9999314256187252</c:v>
                </c:pt>
                <c:pt idx="3381">
                  <c:v>0.9999321336487424</c:v>
                </c:pt>
                <c:pt idx="3382">
                  <c:v>0.9999335252094683</c:v>
                </c:pt>
                <c:pt idx="3383">
                  <c:v>0.9999357399469614</c:v>
                </c:pt>
                <c:pt idx="3384">
                  <c:v>0.9999359065422595</c:v>
                </c:pt>
                <c:pt idx="3385">
                  <c:v>0.9999362397328557</c:v>
                </c:pt>
                <c:pt idx="3386">
                  <c:v>0.9999372344047828</c:v>
                </c:pt>
                <c:pt idx="3387">
                  <c:v>0.9999373993667937</c:v>
                </c:pt>
                <c:pt idx="3388">
                  <c:v>0.9999375643288047</c:v>
                </c:pt>
                <c:pt idx="3389">
                  <c:v>0.9999382184603429</c:v>
                </c:pt>
                <c:pt idx="3390">
                  <c:v>0.9999387068132266</c:v>
                </c:pt>
                <c:pt idx="3391">
                  <c:v>0.9999398321481329</c:v>
                </c:pt>
                <c:pt idx="3392">
                  <c:v>0.9999403082513624</c:v>
                </c:pt>
                <c:pt idx="3393">
                  <c:v>0.9999418549743756</c:v>
                </c:pt>
                <c:pt idx="3394">
                  <c:v>0.9999424650071586</c:v>
                </c:pt>
                <c:pt idx="3395">
                  <c:v>0.9999427679819409</c:v>
                </c:pt>
                <c:pt idx="3396">
                  <c:v>0.9999429190610103</c:v>
                </c:pt>
                <c:pt idx="3397">
                  <c:v>0.9999430701400797</c:v>
                </c:pt>
                <c:pt idx="3398">
                  <c:v>0.999943221219149</c:v>
                </c:pt>
                <c:pt idx="3399">
                  <c:v>0.9999435217440005</c:v>
                </c:pt>
                <c:pt idx="3400">
                  <c:v>0.9999438222688519</c:v>
                </c:pt>
                <c:pt idx="3401">
                  <c:v>0.999945452289514</c:v>
                </c:pt>
                <c:pt idx="3402">
                  <c:v>0.999946036189701</c:v>
                </c:pt>
                <c:pt idx="3403">
                  <c:v>0.9999463269148292</c:v>
                </c:pt>
                <c:pt idx="3404">
                  <c:v>0.9999467613692342</c:v>
                </c:pt>
                <c:pt idx="3405">
                  <c:v>0.9999470504610751</c:v>
                </c:pt>
                <c:pt idx="3406">
                  <c:v>0.9999487613294556</c:v>
                </c:pt>
                <c:pt idx="3407">
                  <c:v>0.9999498858477182</c:v>
                </c:pt>
                <c:pt idx="3408">
                  <c:v>0.9999500254937769</c:v>
                </c:pt>
                <c:pt idx="3409">
                  <c:v>0.9999519446062799</c:v>
                </c:pt>
                <c:pt idx="3410">
                  <c:v>0.9999520801691205</c:v>
                </c:pt>
                <c:pt idx="3411">
                  <c:v>0.9999524827744244</c:v>
                </c:pt>
                <c:pt idx="3412">
                  <c:v>0.9999528821131538</c:v>
                </c:pt>
                <c:pt idx="3413">
                  <c:v>0.9999541936428045</c:v>
                </c:pt>
                <c:pt idx="3414">
                  <c:v>0.9999544549687622</c:v>
                </c:pt>
                <c:pt idx="3415">
                  <c:v>0.9999545848150976</c:v>
                </c:pt>
                <c:pt idx="3416">
                  <c:v>0.9999549743541036</c:v>
                </c:pt>
                <c:pt idx="3417">
                  <c:v>0.9999564859614413</c:v>
                </c:pt>
                <c:pt idx="3418">
                  <c:v>0.9999566084579841</c:v>
                </c:pt>
                <c:pt idx="3419">
                  <c:v>0.9999567309545269</c:v>
                </c:pt>
                <c:pt idx="3420">
                  <c:v>0.9999570984441553</c:v>
                </c:pt>
                <c:pt idx="3421">
                  <c:v>0.9999577060270074</c:v>
                </c:pt>
                <c:pt idx="3422">
                  <c:v>0.9999597321198245</c:v>
                </c:pt>
                <c:pt idx="3423">
                  <c:v>0.9999602008732614</c:v>
                </c:pt>
                <c:pt idx="3424">
                  <c:v>0.9999611261304807</c:v>
                </c:pt>
                <c:pt idx="3425">
                  <c:v>0.9999612404605873</c:v>
                </c:pt>
                <c:pt idx="3426">
                  <c:v>0.9999629088634994</c:v>
                </c:pt>
                <c:pt idx="3427">
                  <c:v>0.9999631260907018</c:v>
                </c:pt>
                <c:pt idx="3428">
                  <c:v>0.9999641967104856</c:v>
                </c:pt>
                <c:pt idx="3429">
                  <c:v>0.9999643020575124</c:v>
                </c:pt>
                <c:pt idx="3430">
                  <c:v>0.999964512751566</c:v>
                </c:pt>
                <c:pt idx="3431">
                  <c:v>0.9999646180985927</c:v>
                </c:pt>
                <c:pt idx="3432">
                  <c:v>0.9999653522612055</c:v>
                </c:pt>
                <c:pt idx="3433">
                  <c:v>0.9999654567915887</c:v>
                </c:pt>
                <c:pt idx="3434">
                  <c:v>0.9999662775184253</c:v>
                </c:pt>
                <c:pt idx="3435">
                  <c:v>0.9999664816793299</c:v>
                </c:pt>
                <c:pt idx="3436">
                  <c:v>0.9999674853343365</c:v>
                </c:pt>
                <c:pt idx="3437">
                  <c:v>0.9999678789565607</c:v>
                </c:pt>
                <c:pt idx="3438">
                  <c:v>0.9999681713149761</c:v>
                </c:pt>
                <c:pt idx="3439">
                  <c:v>0.9999683656761572</c:v>
                </c:pt>
                <c:pt idx="3440">
                  <c:v>0.9999691333211581</c:v>
                </c:pt>
                <c:pt idx="3441">
                  <c:v>0.9999701688252663</c:v>
                </c:pt>
                <c:pt idx="3442">
                  <c:v>0.9999707176097782</c:v>
                </c:pt>
                <c:pt idx="3443">
                  <c:v>0.9999718086456527</c:v>
                </c:pt>
                <c:pt idx="3444">
                  <c:v>0.999972435011308</c:v>
                </c:pt>
                <c:pt idx="3445">
                  <c:v>0.9999731422246811</c:v>
                </c:pt>
                <c:pt idx="3446">
                  <c:v>0.9999734950147241</c:v>
                </c:pt>
                <c:pt idx="3447">
                  <c:v>0.9999740985143581</c:v>
                </c:pt>
                <c:pt idx="3448">
                  <c:v>0.9999741842619381</c:v>
                </c:pt>
                <c:pt idx="3449">
                  <c:v>0.9999743549404543</c:v>
                </c:pt>
                <c:pt idx="3450">
                  <c:v>0.9999745248023268</c:v>
                </c:pt>
                <c:pt idx="3451">
                  <c:v>0.9999756207380625</c:v>
                </c:pt>
                <c:pt idx="3452">
                  <c:v>0.9999761156240953</c:v>
                </c:pt>
                <c:pt idx="3453">
                  <c:v>0.9999763614338244</c:v>
                </c:pt>
                <c:pt idx="3454">
                  <c:v>0.9999764430981862</c:v>
                </c:pt>
                <c:pt idx="3455">
                  <c:v>0.9999766864579844</c:v>
                </c:pt>
                <c:pt idx="3456">
                  <c:v>0.9999770866133573</c:v>
                </c:pt>
                <c:pt idx="3457">
                  <c:v>0.9999774826855123</c:v>
                </c:pt>
                <c:pt idx="3458">
                  <c:v>0.9999785704548119</c:v>
                </c:pt>
                <c:pt idx="3459">
                  <c:v>0.999978723983812</c:v>
                </c:pt>
                <c:pt idx="3460">
                  <c:v>0.9999794810124465</c:v>
                </c:pt>
                <c:pt idx="3461">
                  <c:v>0.9999795561436594</c:v>
                </c:pt>
                <c:pt idx="3462">
                  <c:v>0.9999799293497931</c:v>
                </c:pt>
                <c:pt idx="3463">
                  <c:v>0.9999802249747829</c:v>
                </c:pt>
                <c:pt idx="3464">
                  <c:v>0.9999803719706342</c:v>
                </c:pt>
                <c:pt idx="3465">
                  <c:v>0.9999812449626619</c:v>
                </c:pt>
                <c:pt idx="3466">
                  <c:v>0.9999813886919389</c:v>
                </c:pt>
                <c:pt idx="3467">
                  <c:v>0.9999815324212158</c:v>
                </c:pt>
                <c:pt idx="3468">
                  <c:v>0.9999818909277645</c:v>
                </c:pt>
                <c:pt idx="3469">
                  <c:v>0.9999822461677386</c:v>
                </c:pt>
                <c:pt idx="3470">
                  <c:v>0.9999830113628089</c:v>
                </c:pt>
                <c:pt idx="3471">
                  <c:v>0.9999831452923623</c:v>
                </c:pt>
                <c:pt idx="3472">
                  <c:v>0.9999835405478735</c:v>
                </c:pt>
                <c:pt idx="3473">
                  <c:v>0.999983605879363</c:v>
                </c:pt>
                <c:pt idx="3474">
                  <c:v>0.9999837365423419</c:v>
                </c:pt>
                <c:pt idx="3475">
                  <c:v>0.9999848096120563</c:v>
                </c:pt>
                <c:pt idx="3476">
                  <c:v>0.999984870043684</c:v>
                </c:pt>
                <c:pt idx="3477">
                  <c:v>0.9999849304753117</c:v>
                </c:pt>
                <c:pt idx="3478">
                  <c:v>0.9999852277335889</c:v>
                </c:pt>
                <c:pt idx="3479">
                  <c:v>0.9999854604770201</c:v>
                </c:pt>
                <c:pt idx="3480">
                  <c:v>0.999985518458717</c:v>
                </c:pt>
                <c:pt idx="3481">
                  <c:v>0.999985864715611</c:v>
                </c:pt>
                <c:pt idx="3482">
                  <c:v>0.9999859218806643</c:v>
                </c:pt>
                <c:pt idx="3483">
                  <c:v>0.9999861464576595</c:v>
                </c:pt>
                <c:pt idx="3484">
                  <c:v>0.9999865319134474</c:v>
                </c:pt>
                <c:pt idx="3485">
                  <c:v>0.9999871264300014</c:v>
                </c:pt>
                <c:pt idx="3486">
                  <c:v>0.9999874416544382</c:v>
                </c:pt>
                <c:pt idx="3487">
                  <c:v>0.9999879602231362</c:v>
                </c:pt>
                <c:pt idx="3488">
                  <c:v>0.9999881643840408</c:v>
                </c:pt>
                <c:pt idx="3489">
                  <c:v>0.9999882656478495</c:v>
                </c:pt>
                <c:pt idx="3490">
                  <c:v>0.9999885612728391</c:v>
                </c:pt>
                <c:pt idx="3491">
                  <c:v>0.9999889532617755</c:v>
                </c:pt>
                <c:pt idx="3492">
                  <c:v>0.9999891459896696</c:v>
                </c:pt>
                <c:pt idx="3493">
                  <c:v>0.9999893362676328</c:v>
                </c:pt>
                <c:pt idx="3494">
                  <c:v>0.9999895249123086</c:v>
                </c:pt>
                <c:pt idx="3495">
                  <c:v>0.9999896645583674</c:v>
                </c:pt>
                <c:pt idx="3496">
                  <c:v>0.9999897111070536</c:v>
                </c:pt>
                <c:pt idx="3497">
                  <c:v>0.999989849119825</c:v>
                </c:pt>
                <c:pt idx="3498">
                  <c:v>0.9999901235120806</c:v>
                </c:pt>
                <c:pt idx="3499">
                  <c:v>0.9999901692441232</c:v>
                </c:pt>
                <c:pt idx="3500">
                  <c:v>0.9999918915455143</c:v>
                </c:pt>
                <c:pt idx="3501">
                  <c:v>0.9999920115921263</c:v>
                </c:pt>
                <c:pt idx="3502">
                  <c:v>0.999992367648744</c:v>
                </c:pt>
                <c:pt idx="3503">
                  <c:v>0.9999925244443187</c:v>
                </c:pt>
                <c:pt idx="3504">
                  <c:v>0.9999926787899626</c:v>
                </c:pt>
                <c:pt idx="3505">
                  <c:v>0.9999927171722126</c:v>
                </c:pt>
                <c:pt idx="3506">
                  <c:v>0.9999927555544627</c:v>
                </c:pt>
                <c:pt idx="3507">
                  <c:v>0.9999927931200691</c:v>
                </c:pt>
                <c:pt idx="3508">
                  <c:v>0.9999929058168883</c:v>
                </c:pt>
                <c:pt idx="3509">
                  <c:v>0.9999929433824947</c:v>
                </c:pt>
                <c:pt idx="3510">
                  <c:v>0.9999931279439526</c:v>
                </c:pt>
                <c:pt idx="3511">
                  <c:v>0.9999938955889537</c:v>
                </c:pt>
                <c:pt idx="3512">
                  <c:v>0.999994395374848</c:v>
                </c:pt>
                <c:pt idx="3513">
                  <c:v>0.9999944590730503</c:v>
                </c:pt>
                <c:pt idx="3514">
                  <c:v>0.9999947742974871</c:v>
                </c:pt>
                <c:pt idx="3515">
                  <c:v>0.999994836362402</c:v>
                </c:pt>
                <c:pt idx="3516">
                  <c:v>0.9999950192905724</c:v>
                </c:pt>
                <c:pt idx="3517">
                  <c:v>0.9999950495063863</c:v>
                </c:pt>
                <c:pt idx="3518">
                  <c:v>0.9999951401538278</c:v>
                </c:pt>
                <c:pt idx="3519">
                  <c:v>0.9999953459480193</c:v>
                </c:pt>
                <c:pt idx="3520">
                  <c:v>0.9999961250260312</c:v>
                </c:pt>
                <c:pt idx="3521">
                  <c:v>0.999996151158627</c:v>
                </c:pt>
                <c:pt idx="3522">
                  <c:v>0.9999963079542015</c:v>
                </c:pt>
                <c:pt idx="3523">
                  <c:v>0.9999964908823717</c:v>
                </c:pt>
                <c:pt idx="3524">
                  <c:v>0.9999967701744896</c:v>
                </c:pt>
                <c:pt idx="3525">
                  <c:v>0.9999968436724154</c:v>
                </c:pt>
                <c:pt idx="3526">
                  <c:v>0.9999970143509318</c:v>
                </c:pt>
                <c:pt idx="3527">
                  <c:v>0.9999970617162617</c:v>
                </c:pt>
                <c:pt idx="3528">
                  <c:v>0.9999973875570654</c:v>
                </c:pt>
                <c:pt idx="3529">
                  <c:v>0.9999974790211505</c:v>
                </c:pt>
                <c:pt idx="3530">
                  <c:v>0.9999975476192144</c:v>
                </c:pt>
                <c:pt idx="3531">
                  <c:v>0.9999976137673474</c:v>
                </c:pt>
                <c:pt idx="3532">
                  <c:v>0.9999976358167251</c:v>
                </c:pt>
                <c:pt idx="3533">
                  <c:v>0.9999976578661027</c:v>
                </c:pt>
                <c:pt idx="3534">
                  <c:v>0.9999976799154804</c:v>
                </c:pt>
                <c:pt idx="3535">
                  <c:v>0.9999979518578057</c:v>
                </c:pt>
                <c:pt idx="3536">
                  <c:v>0.9999979926899867</c:v>
                </c:pt>
                <c:pt idx="3537">
                  <c:v>0.9999981135532423</c:v>
                </c:pt>
                <c:pt idx="3538">
                  <c:v>0.9999982899482639</c:v>
                </c:pt>
                <c:pt idx="3539">
                  <c:v>0.99999842224453</c:v>
                </c:pt>
                <c:pt idx="3540">
                  <c:v>0.9999984769596523</c:v>
                </c:pt>
                <c:pt idx="3541">
                  <c:v>0.999998530858131</c:v>
                </c:pt>
                <c:pt idx="3542">
                  <c:v>0.9999986721374768</c:v>
                </c:pt>
                <c:pt idx="3543">
                  <c:v>0.999998740735541</c:v>
                </c:pt>
                <c:pt idx="3544">
                  <c:v>0.999998775034573</c:v>
                </c:pt>
                <c:pt idx="3545">
                  <c:v>0.9999993605680472</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1602</c:f>
              <c:strCache>
                <c:ptCount val="1601"/>
                <c:pt idx="0">
                  <c:v>Private Lab</c:v>
                </c:pt>
                <c:pt idx="1">
                  <c:v>Private Lab</c:v>
                </c:pt>
                <c:pt idx="2">
                  <c:v>Private Lab</c:v>
                </c:pt>
                <c:pt idx="3">
                  <c:v>Private Lab</c:v>
                </c:pt>
                <c:pt idx="4">
                  <c:v>Private Lab</c:v>
                </c:pt>
                <c:pt idx="5">
                  <c:v>Caprice Des</c:v>
                </c:pt>
                <c:pt idx="6">
                  <c:v>Private Lab</c:v>
                </c:pt>
                <c:pt idx="7">
                  <c:v>Private Lab</c:v>
                </c:pt>
                <c:pt idx="8">
                  <c:v>Private Lab</c:v>
                </c:pt>
                <c:pt idx="9">
                  <c:v>Private Lab</c:v>
                </c:pt>
                <c:pt idx="10">
                  <c:v>Private Lab</c:v>
                </c:pt>
                <c:pt idx="11">
                  <c:v>Private Lab</c:v>
                </c:pt>
                <c:pt idx="12">
                  <c:v>Private Lab</c:v>
                </c:pt>
                <c:pt idx="13">
                  <c:v>Private Lab</c:v>
                </c:pt>
                <c:pt idx="14">
                  <c:v>Private Lab</c:v>
                </c:pt>
                <c:pt idx="15">
                  <c:v>Coeur De Li</c:v>
                </c:pt>
                <c:pt idx="16">
                  <c:v>President</c:v>
                </c:pt>
                <c:pt idx="17">
                  <c:v>Private Lab</c:v>
                </c:pt>
                <c:pt idx="18">
                  <c:v>Mini Babybe</c:v>
                </c:pt>
                <c:pt idx="19">
                  <c:v>Soignon</c:v>
                </c:pt>
                <c:pt idx="20">
                  <c:v>Private Lab</c:v>
                </c:pt>
                <c:pt idx="21">
                  <c:v>Private Lab</c:v>
                </c:pt>
                <c:pt idx="22">
                  <c:v>Entremont</c:v>
                </c:pt>
                <c:pt idx="23">
                  <c:v>Richesmonts</c:v>
                </c:pt>
                <c:pt idx="24">
                  <c:v>Chaussee Au</c:v>
                </c:pt>
                <c:pt idx="25">
                  <c:v>Caprice Des</c:v>
                </c:pt>
                <c:pt idx="26">
                  <c:v>President</c:v>
                </c:pt>
                <c:pt idx="27">
                  <c:v>President</c:v>
                </c:pt>
                <c:pt idx="28">
                  <c:v>Private Lab</c:v>
                </c:pt>
                <c:pt idx="29">
                  <c:v>President</c:v>
                </c:pt>
                <c:pt idx="30">
                  <c:v>La Vache Qu</c:v>
                </c:pt>
                <c:pt idx="31">
                  <c:v>Entremont</c:v>
                </c:pt>
                <c:pt idx="32">
                  <c:v>Private Lab</c:v>
                </c:pt>
                <c:pt idx="33">
                  <c:v>President</c:v>
                </c:pt>
                <c:pt idx="34">
                  <c:v>Private Lab</c:v>
                </c:pt>
                <c:pt idx="35">
                  <c:v>Private Lab</c:v>
                </c:pt>
                <c:pt idx="36">
                  <c:v>Soignon</c:v>
                </c:pt>
                <c:pt idx="37">
                  <c:v>Le Rustique</c:v>
                </c:pt>
                <c:pt idx="38">
                  <c:v>Private Lab</c:v>
                </c:pt>
                <c:pt idx="39">
                  <c:v>Private Lab</c:v>
                </c:pt>
                <c:pt idx="40">
                  <c:v>Private Lab</c:v>
                </c:pt>
                <c:pt idx="41">
                  <c:v>St Moret</c:v>
                </c:pt>
                <c:pt idx="42">
                  <c:v>Private Lab</c:v>
                </c:pt>
                <c:pt idx="43">
                  <c:v>St Moret</c:v>
                </c:pt>
                <c:pt idx="44">
                  <c:v>La Vache Qu</c:v>
                </c:pt>
                <c:pt idx="45">
                  <c:v>Private Lab</c:v>
                </c:pt>
                <c:pt idx="46">
                  <c:v>President</c:v>
                </c:pt>
                <c:pt idx="47">
                  <c:v>Private Lab</c:v>
                </c:pt>
                <c:pt idx="48">
                  <c:v>Societe</c:v>
                </c:pt>
                <c:pt idx="49">
                  <c:v>Leerdammer</c:v>
                </c:pt>
                <c:pt idx="50">
                  <c:v>Private Lab</c:v>
                </c:pt>
                <c:pt idx="51">
                  <c:v>President</c:v>
                </c:pt>
                <c:pt idx="52">
                  <c:v>Private Lab</c:v>
                </c:pt>
                <c:pt idx="53">
                  <c:v>Private Lab</c:v>
                </c:pt>
                <c:pt idx="54">
                  <c:v>Private Lab</c:v>
                </c:pt>
                <c:pt idx="55">
                  <c:v>St Moret</c:v>
                </c:pt>
                <c:pt idx="56">
                  <c:v>President</c:v>
                </c:pt>
                <c:pt idx="57">
                  <c:v>Private Lab</c:v>
                </c:pt>
                <c:pt idx="58">
                  <c:v>Private Lab</c:v>
                </c:pt>
                <c:pt idx="59">
                  <c:v>Private Lab</c:v>
                </c:pt>
                <c:pt idx="60">
                  <c:v>Private Lab</c:v>
                </c:pt>
                <c:pt idx="61">
                  <c:v>Galbani</c:v>
                </c:pt>
                <c:pt idx="62">
                  <c:v>Saint Agur</c:v>
                </c:pt>
                <c:pt idx="63">
                  <c:v>Mini Babybe</c:v>
                </c:pt>
                <c:pt idx="64">
                  <c:v>Tartare</c:v>
                </c:pt>
                <c:pt idx="65">
                  <c:v>Leerdammer</c:v>
                </c:pt>
                <c:pt idx="66">
                  <c:v>Private Lab</c:v>
                </c:pt>
                <c:pt idx="67">
                  <c:v>Chaussee Au</c:v>
                </c:pt>
                <c:pt idx="68">
                  <c:v>Private Lab</c:v>
                </c:pt>
                <c:pt idx="69">
                  <c:v>La Vache Qu</c:v>
                </c:pt>
                <c:pt idx="70">
                  <c:v>Private Lab</c:v>
                </c:pt>
                <c:pt idx="71">
                  <c:v>Coeur De Li</c:v>
                </c:pt>
                <c:pt idx="72">
                  <c:v>Entremont</c:v>
                </c:pt>
                <c:pt idx="73">
                  <c:v>St Moret</c:v>
                </c:pt>
                <c:pt idx="74">
                  <c:v>Entremont</c:v>
                </c:pt>
                <c:pt idx="75">
                  <c:v>Entremont</c:v>
                </c:pt>
                <c:pt idx="76">
                  <c:v>Private Lab</c:v>
                </c:pt>
                <c:pt idx="77">
                  <c:v>Private Lab</c:v>
                </c:pt>
                <c:pt idx="78">
                  <c:v>Salakis</c:v>
                </c:pt>
                <c:pt idx="79">
                  <c:v>President</c:v>
                </c:pt>
                <c:pt idx="80">
                  <c:v>Leerdammer</c:v>
                </c:pt>
                <c:pt idx="81">
                  <c:v>Kiri</c:v>
                </c:pt>
                <c:pt idx="82">
                  <c:v>Soignon</c:v>
                </c:pt>
                <c:pt idx="83">
                  <c:v>Private Lab</c:v>
                </c:pt>
                <c:pt idx="84">
                  <c:v>All Others</c:v>
                </c:pt>
                <c:pt idx="85">
                  <c:v>Entremont</c:v>
                </c:pt>
                <c:pt idx="86">
                  <c:v>Private Lab</c:v>
                </c:pt>
                <c:pt idx="87">
                  <c:v>Entremont</c:v>
                </c:pt>
                <c:pt idx="88">
                  <c:v>Juraflore</c:v>
                </c:pt>
                <c:pt idx="89">
                  <c:v>Private Lab</c:v>
                </c:pt>
                <c:pt idx="90">
                  <c:v>Private Lab</c:v>
                </c:pt>
                <c:pt idx="91">
                  <c:v>Private Lab</c:v>
                </c:pt>
                <c:pt idx="92">
                  <c:v>Private Lab</c:v>
                </c:pt>
                <c:pt idx="93">
                  <c:v>Private Lab</c:v>
                </c:pt>
                <c:pt idx="94">
                  <c:v>Private Lab</c:v>
                </c:pt>
                <c:pt idx="95">
                  <c:v>Bresse Bleu</c:v>
                </c:pt>
                <c:pt idx="96">
                  <c:v>Private Lab</c:v>
                </c:pt>
                <c:pt idx="97">
                  <c:v>Private Lab</c:v>
                </c:pt>
                <c:pt idx="98">
                  <c:v>Apericube</c:v>
                </c:pt>
                <c:pt idx="99">
                  <c:v>Saint Albra</c:v>
                </c:pt>
                <c:pt idx="100">
                  <c:v>Private Lab</c:v>
                </c:pt>
                <c:pt idx="101">
                  <c:v>Galbani</c:v>
                </c:pt>
                <c:pt idx="102">
                  <c:v>Private Lab</c:v>
                </c:pt>
                <c:pt idx="103">
                  <c:v>Saint Agur</c:v>
                </c:pt>
                <c:pt idx="104">
                  <c:v>President</c:v>
                </c:pt>
                <c:pt idx="105">
                  <c:v>Kiri</c:v>
                </c:pt>
                <c:pt idx="106">
                  <c:v>Entremont</c:v>
                </c:pt>
                <c:pt idx="107">
                  <c:v>Private Lab</c:v>
                </c:pt>
                <c:pt idx="108">
                  <c:v>President</c:v>
                </c:pt>
                <c:pt idx="109">
                  <c:v>L'Ortolan</c:v>
                </c:pt>
                <c:pt idx="110">
                  <c:v>Private Lab</c:v>
                </c:pt>
                <c:pt idx="111">
                  <c:v>Private Lab</c:v>
                </c:pt>
                <c:pt idx="112">
                  <c:v>Private Lab</c:v>
                </c:pt>
                <c:pt idx="113">
                  <c:v>President</c:v>
                </c:pt>
                <c:pt idx="114">
                  <c:v>Galbani</c:v>
                </c:pt>
                <c:pt idx="115">
                  <c:v>Apericube</c:v>
                </c:pt>
                <c:pt idx="116">
                  <c:v>Private Lab</c:v>
                </c:pt>
                <c:pt idx="117">
                  <c:v>Private Lab</c:v>
                </c:pt>
                <c:pt idx="118">
                  <c:v>Private Lab</c:v>
                </c:pt>
                <c:pt idx="119">
                  <c:v>Richesmonts</c:v>
                </c:pt>
                <c:pt idx="120">
                  <c:v>Istara</c:v>
                </c:pt>
                <c:pt idx="121">
                  <c:v>Private Lab</c:v>
                </c:pt>
                <c:pt idx="122">
                  <c:v>Parmareggio</c:v>
                </c:pt>
                <c:pt idx="123">
                  <c:v>Leerdammer</c:v>
                </c:pt>
                <c:pt idx="124">
                  <c:v>Paysan Bret</c:v>
                </c:pt>
                <c:pt idx="125">
                  <c:v>Paysan Bret</c:v>
                </c:pt>
                <c:pt idx="126">
                  <c:v>Richesmonts</c:v>
                </c:pt>
                <c:pt idx="127">
                  <c:v>Private Lab</c:v>
                </c:pt>
                <c:pt idx="128">
                  <c:v>Private Lab</c:v>
                </c:pt>
                <c:pt idx="129">
                  <c:v>Apericube</c:v>
                </c:pt>
                <c:pt idx="130">
                  <c:v>Ficello</c:v>
                </c:pt>
                <c:pt idx="131">
                  <c:v>Casa Azzurr</c:v>
                </c:pt>
                <c:pt idx="132">
                  <c:v>Private Lab</c:v>
                </c:pt>
                <c:pt idx="133">
                  <c:v>Pochat</c:v>
                </c:pt>
                <c:pt idx="134">
                  <c:v>Private Lab</c:v>
                </c:pt>
                <c:pt idx="135">
                  <c:v>Tartare</c:v>
                </c:pt>
                <c:pt idx="136">
                  <c:v>Saint Albra</c:v>
                </c:pt>
                <c:pt idx="137">
                  <c:v>Leerdammer</c:v>
                </c:pt>
                <c:pt idx="138">
                  <c:v>L'Ortolan</c:v>
                </c:pt>
                <c:pt idx="139">
                  <c:v>Boursin</c:v>
                </c:pt>
                <c:pt idx="140">
                  <c:v>Entremont</c:v>
                </c:pt>
                <c:pt idx="141">
                  <c:v>Leerdammer</c:v>
                </c:pt>
                <c:pt idx="142">
                  <c:v>President</c:v>
                </c:pt>
                <c:pt idx="143">
                  <c:v>Boursin</c:v>
                </c:pt>
                <c:pt idx="144">
                  <c:v>Private Lab</c:v>
                </c:pt>
                <c:pt idx="145">
                  <c:v>Lou Perac</c:v>
                </c:pt>
                <c:pt idx="146">
                  <c:v>Private Lab</c:v>
                </c:pt>
                <c:pt idx="147">
                  <c:v>Galbani</c:v>
                </c:pt>
                <c:pt idx="148">
                  <c:v>Private Lab</c:v>
                </c:pt>
                <c:pt idx="149">
                  <c:v>Kiri</c:v>
                </c:pt>
                <c:pt idx="150">
                  <c:v>Galbani</c:v>
                </c:pt>
                <c:pt idx="151">
                  <c:v>Galbani</c:v>
                </c:pt>
                <c:pt idx="152">
                  <c:v>Private Lab</c:v>
                </c:pt>
                <c:pt idx="153">
                  <c:v>Kiri</c:v>
                </c:pt>
                <c:pt idx="154">
                  <c:v>Private Lab</c:v>
                </c:pt>
                <c:pt idx="155">
                  <c:v>St Moret</c:v>
                </c:pt>
                <c:pt idx="156">
                  <c:v>Carre Frais</c:v>
                </c:pt>
                <c:pt idx="157">
                  <c:v>Private Lab</c:v>
                </c:pt>
                <c:pt idx="158">
                  <c:v>Private Lab</c:v>
                </c:pt>
                <c:pt idx="159">
                  <c:v>Lepetit</c:v>
                </c:pt>
                <c:pt idx="160">
                  <c:v>President</c:v>
                </c:pt>
                <c:pt idx="161">
                  <c:v>Entremont</c:v>
                </c:pt>
                <c:pt idx="162">
                  <c:v>Boursin</c:v>
                </c:pt>
                <c:pt idx="163">
                  <c:v>Islos</c:v>
                </c:pt>
                <c:pt idx="164">
                  <c:v>Caprice Des</c:v>
                </c:pt>
                <c:pt idx="165">
                  <c:v>Apericube</c:v>
                </c:pt>
                <c:pt idx="166">
                  <c:v>President</c:v>
                </c:pt>
                <c:pt idx="167">
                  <c:v>Private Lab</c:v>
                </c:pt>
                <c:pt idx="168">
                  <c:v>All Others</c:v>
                </c:pt>
                <c:pt idx="169">
                  <c:v>Salakis</c:v>
                </c:pt>
                <c:pt idx="170">
                  <c:v>Carre Frais</c:v>
                </c:pt>
                <c:pt idx="171">
                  <c:v>Coeur De Li</c:v>
                </c:pt>
                <c:pt idx="172">
                  <c:v>President</c:v>
                </c:pt>
                <c:pt idx="173">
                  <c:v>Port Salut</c:v>
                </c:pt>
                <c:pt idx="174">
                  <c:v>Philadelphi</c:v>
                </c:pt>
                <c:pt idx="175">
                  <c:v>President</c:v>
                </c:pt>
                <c:pt idx="176">
                  <c:v>Private Lab</c:v>
                </c:pt>
                <c:pt idx="177">
                  <c:v>Leerdammer</c:v>
                </c:pt>
                <c:pt idx="178">
                  <c:v>Private Lab</c:v>
                </c:pt>
                <c:pt idx="179">
                  <c:v>Boursin</c:v>
                </c:pt>
                <c:pt idx="180">
                  <c:v>Entremont</c:v>
                </c:pt>
                <c:pt idx="181">
                  <c:v>Private Lab</c:v>
                </c:pt>
                <c:pt idx="182">
                  <c:v>Private Lab</c:v>
                </c:pt>
                <c:pt idx="183">
                  <c:v>Entremont</c:v>
                </c:pt>
                <c:pt idx="184">
                  <c:v>Entremont</c:v>
                </c:pt>
                <c:pt idx="185">
                  <c:v>Apericube</c:v>
                </c:pt>
                <c:pt idx="186">
                  <c:v>Private Lab</c:v>
                </c:pt>
                <c:pt idx="187">
                  <c:v>Richesmonts</c:v>
                </c:pt>
                <c:pt idx="188">
                  <c:v>Coeur De Li</c:v>
                </c:pt>
                <c:pt idx="189">
                  <c:v>President</c:v>
                </c:pt>
                <c:pt idx="190">
                  <c:v>Galbani</c:v>
                </c:pt>
                <c:pt idx="191">
                  <c:v>Kiri</c:v>
                </c:pt>
                <c:pt idx="192">
                  <c:v>Galbani</c:v>
                </c:pt>
                <c:pt idx="193">
                  <c:v>St Moret</c:v>
                </c:pt>
                <c:pt idx="194">
                  <c:v>All Others</c:v>
                </c:pt>
                <c:pt idx="195">
                  <c:v>Soignon</c:v>
                </c:pt>
                <c:pt idx="196">
                  <c:v>Private Lab</c:v>
                </c:pt>
                <c:pt idx="197">
                  <c:v>Pave D'Affi</c:v>
                </c:pt>
                <c:pt idx="198">
                  <c:v>President</c:v>
                </c:pt>
                <c:pt idx="199">
                  <c:v>Private Lab</c:v>
                </c:pt>
                <c:pt idx="200">
                  <c:v>Private Lab</c:v>
                </c:pt>
                <c:pt idx="201">
                  <c:v>President</c:v>
                </c:pt>
                <c:pt idx="202">
                  <c:v>Private Lab</c:v>
                </c:pt>
                <c:pt idx="203">
                  <c:v>Coeur De Li</c:v>
                </c:pt>
                <c:pt idx="204">
                  <c:v>Societe</c:v>
                </c:pt>
                <c:pt idx="205">
                  <c:v>Mini Babybe</c:v>
                </c:pt>
                <c:pt idx="206">
                  <c:v>President</c:v>
                </c:pt>
                <c:pt idx="207">
                  <c:v>Private Lab</c:v>
                </c:pt>
                <c:pt idx="208">
                  <c:v>All Others</c:v>
                </c:pt>
                <c:pt idx="209">
                  <c:v>Le Rustique</c:v>
                </c:pt>
                <c:pt idx="210">
                  <c:v>Petit Billy</c:v>
                </c:pt>
                <c:pt idx="211">
                  <c:v>Richesmonts</c:v>
                </c:pt>
                <c:pt idx="212">
                  <c:v>Entremont</c:v>
                </c:pt>
                <c:pt idx="213">
                  <c:v>Private Lab</c:v>
                </c:pt>
                <c:pt idx="214">
                  <c:v>Private Lab</c:v>
                </c:pt>
                <c:pt idx="215">
                  <c:v>Private Lab</c:v>
                </c:pt>
                <c:pt idx="216">
                  <c:v>Private Lab</c:v>
                </c:pt>
                <c:pt idx="217">
                  <c:v>Vieux Pane</c:v>
                </c:pt>
                <c:pt idx="218">
                  <c:v>Private Lab</c:v>
                </c:pt>
                <c:pt idx="219">
                  <c:v>Istara</c:v>
                </c:pt>
                <c:pt idx="220">
                  <c:v>Private Lab</c:v>
                </c:pt>
                <c:pt idx="221">
                  <c:v>Private Lab</c:v>
                </c:pt>
                <c:pt idx="222">
                  <c:v>President</c:v>
                </c:pt>
                <c:pt idx="223">
                  <c:v>Apericube</c:v>
                </c:pt>
                <c:pt idx="224">
                  <c:v>Private Lab</c:v>
                </c:pt>
                <c:pt idx="225">
                  <c:v>Private Lab</c:v>
                </c:pt>
                <c:pt idx="226">
                  <c:v>Saint Agur</c:v>
                </c:pt>
                <c:pt idx="227">
                  <c:v>Babybel</c:v>
                </c:pt>
                <c:pt idx="228">
                  <c:v>President</c:v>
                </c:pt>
                <c:pt idx="229">
                  <c:v>Private Lab</c:v>
                </c:pt>
                <c:pt idx="230">
                  <c:v>Philadelphi</c:v>
                </c:pt>
                <c:pt idx="231">
                  <c:v>Pochat</c:v>
                </c:pt>
                <c:pt idx="232">
                  <c:v>Apericube</c:v>
                </c:pt>
                <c:pt idx="233">
                  <c:v>Ficello</c:v>
                </c:pt>
                <c:pt idx="234">
                  <c:v>Private Lab</c:v>
                </c:pt>
                <c:pt idx="235">
                  <c:v>Aperivrais</c:v>
                </c:pt>
                <c:pt idx="236">
                  <c:v>Private Lab</c:v>
                </c:pt>
                <c:pt idx="237">
                  <c:v>Private Lab</c:v>
                </c:pt>
                <c:pt idx="238">
                  <c:v>Private Lab</c:v>
                </c:pt>
                <c:pt idx="239">
                  <c:v>President</c:v>
                </c:pt>
                <c:pt idx="240">
                  <c:v>Saint Agur</c:v>
                </c:pt>
                <c:pt idx="241">
                  <c:v>Entremont</c:v>
                </c:pt>
                <c:pt idx="242">
                  <c:v>Private Lab</c:v>
                </c:pt>
                <c:pt idx="243">
                  <c:v>Private Lab</c:v>
                </c:pt>
                <c:pt idx="244">
                  <c:v>Private Lab</c:v>
                </c:pt>
                <c:pt idx="245">
                  <c:v>Private Lab</c:v>
                </c:pt>
                <c:pt idx="246">
                  <c:v>Private Lab</c:v>
                </c:pt>
                <c:pt idx="247">
                  <c:v>Cousteron</c:v>
                </c:pt>
                <c:pt idx="248">
                  <c:v>Soignon</c:v>
                </c:pt>
                <c:pt idx="249">
                  <c:v>All Others</c:v>
                </c:pt>
                <c:pt idx="250">
                  <c:v>Le Rustique</c:v>
                </c:pt>
                <c:pt idx="251">
                  <c:v>Soignon</c:v>
                </c:pt>
                <c:pt idx="252">
                  <c:v>Etorki</c:v>
                </c:pt>
                <c:pt idx="253">
                  <c:v>Private Lab</c:v>
                </c:pt>
                <c:pt idx="254">
                  <c:v>Private Lab</c:v>
                </c:pt>
                <c:pt idx="255">
                  <c:v>Apericube</c:v>
                </c:pt>
                <c:pt idx="256">
                  <c:v>Private Lab</c:v>
                </c:pt>
                <c:pt idx="257">
                  <c:v>Casa Azzurr</c:v>
                </c:pt>
                <c:pt idx="258">
                  <c:v>Private Lab</c:v>
                </c:pt>
                <c:pt idx="259">
                  <c:v>Private Lab</c:v>
                </c:pt>
                <c:pt idx="260">
                  <c:v>St Moret</c:v>
                </c:pt>
                <c:pt idx="261">
                  <c:v>Private Lab</c:v>
                </c:pt>
                <c:pt idx="262">
                  <c:v>Private Lab</c:v>
                </c:pt>
                <c:pt idx="263">
                  <c:v>Saint Agur</c:v>
                </c:pt>
                <c:pt idx="264">
                  <c:v>Private Lab</c:v>
                </c:pt>
                <c:pt idx="265">
                  <c:v>Soignon</c:v>
                </c:pt>
                <c:pt idx="266">
                  <c:v>All Others</c:v>
                </c:pt>
                <c:pt idx="267">
                  <c:v>Private Lab</c:v>
                </c:pt>
                <c:pt idx="268">
                  <c:v>Private Lab</c:v>
                </c:pt>
                <c:pt idx="269">
                  <c:v>All Others</c:v>
                </c:pt>
                <c:pt idx="270">
                  <c:v>Societe</c:v>
                </c:pt>
                <c:pt idx="271">
                  <c:v>Richesmonts</c:v>
                </c:pt>
                <c:pt idx="272">
                  <c:v>Lactalis: A</c:v>
                </c:pt>
                <c:pt idx="273">
                  <c:v>Casa Azzurr</c:v>
                </c:pt>
                <c:pt idx="274">
                  <c:v>Private Lab</c:v>
                </c:pt>
                <c:pt idx="275">
                  <c:v>Tartare</c:v>
                </c:pt>
                <c:pt idx="276">
                  <c:v>Private Lab</c:v>
                </c:pt>
                <c:pt idx="277">
                  <c:v>Private Lab</c:v>
                </c:pt>
                <c:pt idx="278">
                  <c:v>Private Lab</c:v>
                </c:pt>
                <c:pt idx="279">
                  <c:v>Leerdammer</c:v>
                </c:pt>
                <c:pt idx="280">
                  <c:v>La Vache Qu</c:v>
                </c:pt>
                <c:pt idx="281">
                  <c:v>All Others</c:v>
                </c:pt>
                <c:pt idx="282">
                  <c:v>Societe</c:v>
                </c:pt>
                <c:pt idx="283">
                  <c:v>Caprice Des</c:v>
                </c:pt>
                <c:pt idx="284">
                  <c:v>Private Lab</c:v>
                </c:pt>
                <c:pt idx="285">
                  <c:v>Boursin</c:v>
                </c:pt>
                <c:pt idx="286">
                  <c:v>Soignon</c:v>
                </c:pt>
                <c:pt idx="287">
                  <c:v>Parmareggio</c:v>
                </c:pt>
                <c:pt idx="288">
                  <c:v>Apericube</c:v>
                </c:pt>
                <c:pt idx="289">
                  <c:v>Private Lab</c:v>
                </c:pt>
                <c:pt idx="290">
                  <c:v>Private Lab</c:v>
                </c:pt>
                <c:pt idx="291">
                  <c:v>Ficello</c:v>
                </c:pt>
                <c:pt idx="292">
                  <c:v>Richesmonts</c:v>
                </c:pt>
                <c:pt idx="293">
                  <c:v>Fol Epi</c:v>
                </c:pt>
                <c:pt idx="294">
                  <c:v>President</c:v>
                </c:pt>
                <c:pt idx="295">
                  <c:v>Entremont</c:v>
                </c:pt>
                <c:pt idx="296">
                  <c:v>Private Lab</c:v>
                </c:pt>
                <c:pt idx="297">
                  <c:v>P'Tit Louis</c:v>
                </c:pt>
                <c:pt idx="298">
                  <c:v>Coeur De Li</c:v>
                </c:pt>
                <c:pt idx="299">
                  <c:v>Leerdammer</c:v>
                </c:pt>
                <c:pt idx="300">
                  <c:v>Casa Azzurr</c:v>
                </c:pt>
                <c:pt idx="301">
                  <c:v>La Vache Qu</c:v>
                </c:pt>
                <c:pt idx="302">
                  <c:v>Private Lab</c:v>
                </c:pt>
                <c:pt idx="303">
                  <c:v>Soignon</c:v>
                </c:pt>
                <c:pt idx="304">
                  <c:v>All Others</c:v>
                </c:pt>
                <c:pt idx="305">
                  <c:v>All Others</c:v>
                </c:pt>
                <c:pt idx="306">
                  <c:v>Private Lab</c:v>
                </c:pt>
                <c:pt idx="307">
                  <c:v>All Others</c:v>
                </c:pt>
                <c:pt idx="308">
                  <c:v>Private Lab</c:v>
                </c:pt>
                <c:pt idx="309">
                  <c:v>Pave D'Affi</c:v>
                </c:pt>
                <c:pt idx="310">
                  <c:v>Chavroux</c:v>
                </c:pt>
                <c:pt idx="311">
                  <c:v>Boursin</c:v>
                </c:pt>
                <c:pt idx="312">
                  <c:v>Private Lab</c:v>
                </c:pt>
                <c:pt idx="313">
                  <c:v>Private Lab</c:v>
                </c:pt>
                <c:pt idx="314">
                  <c:v>Private Lab</c:v>
                </c:pt>
                <c:pt idx="315">
                  <c:v>Lactalis: A</c:v>
                </c:pt>
                <c:pt idx="316">
                  <c:v>President</c:v>
                </c:pt>
                <c:pt idx="317">
                  <c:v>Paysan Bret</c:v>
                </c:pt>
                <c:pt idx="318">
                  <c:v>Salakis</c:v>
                </c:pt>
                <c:pt idx="319">
                  <c:v>Le Brebiou</c:v>
                </c:pt>
                <c:pt idx="320">
                  <c:v>Private Lab</c:v>
                </c:pt>
                <c:pt idx="321">
                  <c:v>Bresse Bleu</c:v>
                </c:pt>
                <c:pt idx="322">
                  <c:v>Private Lab</c:v>
                </c:pt>
                <c:pt idx="323">
                  <c:v>Richesmonts</c:v>
                </c:pt>
                <c:pt idx="324">
                  <c:v>President</c:v>
                </c:pt>
                <c:pt idx="325">
                  <c:v>Private Lab</c:v>
                </c:pt>
                <c:pt idx="326">
                  <c:v>Private Lab</c:v>
                </c:pt>
                <c:pt idx="327">
                  <c:v>Boursin</c:v>
                </c:pt>
                <c:pt idx="328">
                  <c:v>Private Lab</c:v>
                </c:pt>
                <c:pt idx="329">
                  <c:v>St Moret</c:v>
                </c:pt>
                <c:pt idx="330">
                  <c:v>Private Lab</c:v>
                </c:pt>
                <c:pt idx="331">
                  <c:v>Boursin</c:v>
                </c:pt>
                <c:pt idx="332">
                  <c:v>Galbani</c:v>
                </c:pt>
                <c:pt idx="333">
                  <c:v>Savencia: A</c:v>
                </c:pt>
                <c:pt idx="334">
                  <c:v>Apericube</c:v>
                </c:pt>
                <c:pt idx="335">
                  <c:v>Private Lab</c:v>
                </c:pt>
                <c:pt idx="336">
                  <c:v>Private Lab</c:v>
                </c:pt>
                <c:pt idx="337">
                  <c:v>Savencia: A</c:v>
                </c:pt>
                <c:pt idx="338">
                  <c:v>Entremont</c:v>
                </c:pt>
                <c:pt idx="339">
                  <c:v>Soignon</c:v>
                </c:pt>
                <c:pt idx="340">
                  <c:v>Boursin</c:v>
                </c:pt>
                <c:pt idx="341">
                  <c:v>President</c:v>
                </c:pt>
                <c:pt idx="342">
                  <c:v>Paturages</c:v>
                </c:pt>
                <c:pt idx="343">
                  <c:v>Private Lab</c:v>
                </c:pt>
                <c:pt idx="344">
                  <c:v>Soignon</c:v>
                </c:pt>
                <c:pt idx="345">
                  <c:v>Private Lab</c:v>
                </c:pt>
                <c:pt idx="346">
                  <c:v>Casa Azzurr</c:v>
                </c:pt>
                <c:pt idx="347">
                  <c:v>Galbani</c:v>
                </c:pt>
                <c:pt idx="348">
                  <c:v>All Others</c:v>
                </c:pt>
                <c:pt idx="349">
                  <c:v>Casa Azzurr</c:v>
                </c:pt>
                <c:pt idx="350">
                  <c:v>Paysan Bret</c:v>
                </c:pt>
                <c:pt idx="351">
                  <c:v>Private Lab</c:v>
                </c:pt>
                <c:pt idx="352">
                  <c:v>Aperivrais</c:v>
                </c:pt>
                <c:pt idx="353">
                  <c:v>Private Lab</c:v>
                </c:pt>
                <c:pt idx="354">
                  <c:v>Milleret: A</c:v>
                </c:pt>
                <c:pt idx="355">
                  <c:v>Aperivrais</c:v>
                </c:pt>
                <c:pt idx="356">
                  <c:v>Private Lab</c:v>
                </c:pt>
                <c:pt idx="357">
                  <c:v>Le Rustique</c:v>
                </c:pt>
                <c:pt idx="358">
                  <c:v>Pave D'Affi</c:v>
                </c:pt>
                <c:pt idx="359">
                  <c:v>Private Lab</c:v>
                </c:pt>
                <c:pt idx="360">
                  <c:v>Private Lab</c:v>
                </c:pt>
                <c:pt idx="361">
                  <c:v>Private Lab</c:v>
                </c:pt>
                <c:pt idx="362">
                  <c:v>Fauquet</c:v>
                </c:pt>
                <c:pt idx="363">
                  <c:v>All Others</c:v>
                </c:pt>
                <c:pt idx="364">
                  <c:v>Savencia: A</c:v>
                </c:pt>
                <c:pt idx="365">
                  <c:v>All Others</c:v>
                </c:pt>
                <c:pt idx="366">
                  <c:v>Paysan Bret</c:v>
                </c:pt>
                <c:pt idx="367">
                  <c:v>Galbani</c:v>
                </c:pt>
                <c:pt idx="368">
                  <c:v>Private Lab</c:v>
                </c:pt>
                <c:pt idx="369">
                  <c:v>Private Lab</c:v>
                </c:pt>
                <c:pt idx="370">
                  <c:v>Private Lab</c:v>
                </c:pt>
                <c:pt idx="371">
                  <c:v>Salakis</c:v>
                </c:pt>
                <c:pt idx="372">
                  <c:v>Entremont</c:v>
                </c:pt>
                <c:pt idx="373">
                  <c:v>Soignon</c:v>
                </c:pt>
                <c:pt idx="374">
                  <c:v>President</c:v>
                </c:pt>
                <c:pt idx="375">
                  <c:v>La Vache Qu</c:v>
                </c:pt>
                <c:pt idx="376">
                  <c:v>Casa Azzurr</c:v>
                </c:pt>
                <c:pt idx="377">
                  <c:v>Private Lab</c:v>
                </c:pt>
                <c:pt idx="378">
                  <c:v>Galbani</c:v>
                </c:pt>
                <c:pt idx="379">
                  <c:v>Casa Azzurr</c:v>
                </c:pt>
                <c:pt idx="380">
                  <c:v>Lou Perac</c:v>
                </c:pt>
                <c:pt idx="381">
                  <c:v>Carre Frais</c:v>
                </c:pt>
                <c:pt idx="382">
                  <c:v>Private Lab</c:v>
                </c:pt>
                <c:pt idx="383">
                  <c:v>Paysan Bret</c:v>
                </c:pt>
                <c:pt idx="384">
                  <c:v>Galbani</c:v>
                </c:pt>
                <c:pt idx="385">
                  <c:v>Private Lab</c:v>
                </c:pt>
                <c:pt idx="386">
                  <c:v>Galbani</c:v>
                </c:pt>
                <c:pt idx="387">
                  <c:v>Boursin</c:v>
                </c:pt>
                <c:pt idx="388">
                  <c:v>Private Lab</c:v>
                </c:pt>
                <c:pt idx="389">
                  <c:v>Societe</c:v>
                </c:pt>
                <c:pt idx="390">
                  <c:v>Private Lab</c:v>
                </c:pt>
                <c:pt idx="391">
                  <c:v>Richesmonts</c:v>
                </c:pt>
                <c:pt idx="392">
                  <c:v>All Others</c:v>
                </c:pt>
                <c:pt idx="393">
                  <c:v>Tartare</c:v>
                </c:pt>
                <c:pt idx="394">
                  <c:v>Entremont</c:v>
                </c:pt>
                <c:pt idx="395">
                  <c:v>Private Lab</c:v>
                </c:pt>
                <c:pt idx="396">
                  <c:v>Chavroux</c:v>
                </c:pt>
                <c:pt idx="397">
                  <c:v>Casa Azzurr</c:v>
                </c:pt>
                <c:pt idx="398">
                  <c:v>Private Lab</c:v>
                </c:pt>
                <c:pt idx="399">
                  <c:v>L'Ortolan</c:v>
                </c:pt>
                <c:pt idx="400">
                  <c:v>Lactalis: A</c:v>
                </c:pt>
                <c:pt idx="401">
                  <c:v>Soignon</c:v>
                </c:pt>
                <c:pt idx="402">
                  <c:v>Private Lab</c:v>
                </c:pt>
                <c:pt idx="403">
                  <c:v>Galbani</c:v>
                </c:pt>
                <c:pt idx="404">
                  <c:v>Private Lab</c:v>
                </c:pt>
                <c:pt idx="405">
                  <c:v>Pave D'Affi</c:v>
                </c:pt>
                <c:pt idx="406">
                  <c:v>Private Lab</c:v>
                </c:pt>
                <c:pt idx="407">
                  <c:v>Societe</c:v>
                </c:pt>
                <c:pt idx="408">
                  <c:v>Private Lab</c:v>
                </c:pt>
                <c:pt idx="409">
                  <c:v>Private Lab</c:v>
                </c:pt>
                <c:pt idx="410">
                  <c:v>Private Lab</c:v>
                </c:pt>
                <c:pt idx="411">
                  <c:v>All Others</c:v>
                </c:pt>
                <c:pt idx="412">
                  <c:v>Private Lab</c:v>
                </c:pt>
                <c:pt idx="413">
                  <c:v>Boursin</c:v>
                </c:pt>
                <c:pt idx="414">
                  <c:v>Private Lab</c:v>
                </c:pt>
                <c:pt idx="415">
                  <c:v>Private Lab</c:v>
                </c:pt>
                <c:pt idx="416">
                  <c:v>Private Lab</c:v>
                </c:pt>
                <c:pt idx="417">
                  <c:v>Boursin</c:v>
                </c:pt>
                <c:pt idx="418">
                  <c:v>All Others</c:v>
                </c:pt>
                <c:pt idx="419">
                  <c:v>Paysan Bret</c:v>
                </c:pt>
                <c:pt idx="420">
                  <c:v>Private Lab</c:v>
                </c:pt>
                <c:pt idx="421">
                  <c:v>All Others</c:v>
                </c:pt>
                <c:pt idx="422">
                  <c:v>Caprice Des</c:v>
                </c:pt>
                <c:pt idx="423">
                  <c:v>Eurial Autr</c:v>
                </c:pt>
                <c:pt idx="424">
                  <c:v>All Others</c:v>
                </c:pt>
                <c:pt idx="425">
                  <c:v>Casa Azzurr</c:v>
                </c:pt>
                <c:pt idx="426">
                  <c:v>Boursin</c:v>
                </c:pt>
                <c:pt idx="427">
                  <c:v>President</c:v>
                </c:pt>
                <c:pt idx="428">
                  <c:v>Mini Babybe</c:v>
                </c:pt>
                <c:pt idx="429">
                  <c:v>All Others</c:v>
                </c:pt>
                <c:pt idx="430">
                  <c:v>Private Lab</c:v>
                </c:pt>
                <c:pt idx="431">
                  <c:v>Private Lab</c:v>
                </c:pt>
                <c:pt idx="432">
                  <c:v>President</c:v>
                </c:pt>
                <c:pt idx="433">
                  <c:v>Boursin</c:v>
                </c:pt>
                <c:pt idx="434">
                  <c:v>Societe</c:v>
                </c:pt>
                <c:pt idx="435">
                  <c:v>Salakis</c:v>
                </c:pt>
                <c:pt idx="436">
                  <c:v>St Moret</c:v>
                </c:pt>
                <c:pt idx="437">
                  <c:v>Private Lab</c:v>
                </c:pt>
                <c:pt idx="438">
                  <c:v>Leerdammer</c:v>
                </c:pt>
                <c:pt idx="439">
                  <c:v>Private Lab</c:v>
                </c:pt>
                <c:pt idx="440">
                  <c:v>Top Budget</c:v>
                </c:pt>
                <c:pt idx="441">
                  <c:v>Juraflore</c:v>
                </c:pt>
                <c:pt idx="442">
                  <c:v>Private Lab</c:v>
                </c:pt>
                <c:pt idx="443">
                  <c:v>La Belle Et</c:v>
                </c:pt>
                <c:pt idx="444">
                  <c:v>Richesmonts</c:v>
                </c:pt>
                <c:pt idx="445">
                  <c:v>Private Lab</c:v>
                </c:pt>
                <c:pt idx="446">
                  <c:v>Savencia: A</c:v>
                </c:pt>
                <c:pt idx="447">
                  <c:v>Private Lab</c:v>
                </c:pt>
                <c:pt idx="448">
                  <c:v>Richesmonts</c:v>
                </c:pt>
                <c:pt idx="449">
                  <c:v>Tartare</c:v>
                </c:pt>
                <c:pt idx="450">
                  <c:v>Mini Babybe</c:v>
                </c:pt>
                <c:pt idx="451">
                  <c:v>St Moret</c:v>
                </c:pt>
                <c:pt idx="452">
                  <c:v>Private Lab</c:v>
                </c:pt>
                <c:pt idx="453">
                  <c:v>Etorki</c:v>
                </c:pt>
                <c:pt idx="454">
                  <c:v>Lactalis: A</c:v>
                </c:pt>
                <c:pt idx="455">
                  <c:v>Galbani</c:v>
                </c:pt>
                <c:pt idx="456">
                  <c:v>Lou Perac</c:v>
                </c:pt>
                <c:pt idx="457">
                  <c:v>Private Lab</c:v>
                </c:pt>
                <c:pt idx="458">
                  <c:v>President</c:v>
                </c:pt>
                <c:pt idx="459">
                  <c:v>Private Lab</c:v>
                </c:pt>
                <c:pt idx="460">
                  <c:v>Savencia: A</c:v>
                </c:pt>
                <c:pt idx="461">
                  <c:v>Entremont</c:v>
                </c:pt>
                <c:pt idx="462">
                  <c:v>Private Lab</c:v>
                </c:pt>
                <c:pt idx="463">
                  <c:v>St Moret</c:v>
                </c:pt>
                <c:pt idx="464">
                  <c:v>Eurial Autr</c:v>
                </c:pt>
                <c:pt idx="465">
                  <c:v>Private Lab</c:v>
                </c:pt>
                <c:pt idx="466">
                  <c:v>Paysan Bret</c:v>
                </c:pt>
                <c:pt idx="467">
                  <c:v>Saint Agur</c:v>
                </c:pt>
                <c:pt idx="468">
                  <c:v>Pave D'Affi</c:v>
                </c:pt>
                <c:pt idx="469">
                  <c:v>Caprice Des</c:v>
                </c:pt>
                <c:pt idx="470">
                  <c:v>Kiri</c:v>
                </c:pt>
                <c:pt idx="471">
                  <c:v>Salakis</c:v>
                </c:pt>
                <c:pt idx="472">
                  <c:v>Lou Perac</c:v>
                </c:pt>
                <c:pt idx="473">
                  <c:v>Caprice Des</c:v>
                </c:pt>
                <c:pt idx="474">
                  <c:v>Apericube</c:v>
                </c:pt>
                <c:pt idx="475">
                  <c:v>All Others</c:v>
                </c:pt>
                <c:pt idx="476">
                  <c:v>President</c:v>
                </c:pt>
                <c:pt idx="477">
                  <c:v>Tartare</c:v>
                </c:pt>
                <c:pt idx="478">
                  <c:v>Private Lab</c:v>
                </c:pt>
                <c:pt idx="479">
                  <c:v>Aperivrais</c:v>
                </c:pt>
                <c:pt idx="480">
                  <c:v>Casa Azzurr</c:v>
                </c:pt>
                <c:pt idx="481">
                  <c:v>Private Lab</c:v>
                </c:pt>
                <c:pt idx="482">
                  <c:v>Private Lab</c:v>
                </c:pt>
                <c:pt idx="483">
                  <c:v>Aperivrais</c:v>
                </c:pt>
                <c:pt idx="484">
                  <c:v>St Moret</c:v>
                </c:pt>
                <c:pt idx="485">
                  <c:v>Boursin</c:v>
                </c:pt>
                <c:pt idx="486">
                  <c:v>Casa Azzurr</c:v>
                </c:pt>
                <c:pt idx="487">
                  <c:v>Tartare</c:v>
                </c:pt>
                <c:pt idx="488">
                  <c:v>La Vache Qu</c:v>
                </c:pt>
                <c:pt idx="489">
                  <c:v>Vieux Pane</c:v>
                </c:pt>
                <c:pt idx="490">
                  <c:v>La Belle Et</c:v>
                </c:pt>
                <c:pt idx="491">
                  <c:v>Paysan Bret</c:v>
                </c:pt>
                <c:pt idx="492">
                  <c:v>Tartare</c:v>
                </c:pt>
                <c:pt idx="493">
                  <c:v>Etoile Du V</c:v>
                </c:pt>
                <c:pt idx="494">
                  <c:v>Pochat</c:v>
                </c:pt>
                <c:pt idx="495">
                  <c:v>Vieux Pane</c:v>
                </c:pt>
                <c:pt idx="496">
                  <c:v>Le Rustique</c:v>
                </c:pt>
                <c:pt idx="497">
                  <c:v>Private Lab</c:v>
                </c:pt>
                <c:pt idx="498">
                  <c:v>Juraflore</c:v>
                </c:pt>
                <c:pt idx="499">
                  <c:v>Soignon</c:v>
                </c:pt>
                <c:pt idx="500">
                  <c:v>Kiri</c:v>
                </c:pt>
                <c:pt idx="501">
                  <c:v>All Others</c:v>
                </c:pt>
                <c:pt idx="502">
                  <c:v>Private Lab</c:v>
                </c:pt>
                <c:pt idx="503">
                  <c:v>Private Lab</c:v>
                </c:pt>
                <c:pt idx="504">
                  <c:v>Private Lab</c:v>
                </c:pt>
                <c:pt idx="505">
                  <c:v>All Others</c:v>
                </c:pt>
                <c:pt idx="506">
                  <c:v>Entremont</c:v>
                </c:pt>
                <c:pt idx="507">
                  <c:v>Istara</c:v>
                </c:pt>
                <c:pt idx="508">
                  <c:v>L'Ortolan</c:v>
                </c:pt>
                <c:pt idx="509">
                  <c:v>All Others</c:v>
                </c:pt>
                <c:pt idx="510">
                  <c:v>L'Ortolan</c:v>
                </c:pt>
                <c:pt idx="511">
                  <c:v>Bresse Bleu</c:v>
                </c:pt>
                <c:pt idx="512">
                  <c:v>Entremont</c:v>
                </c:pt>
                <c:pt idx="513">
                  <c:v>Galbani</c:v>
                </c:pt>
                <c:pt idx="514">
                  <c:v>Soignon</c:v>
                </c:pt>
                <c:pt idx="515">
                  <c:v>Private Lab</c:v>
                </c:pt>
                <c:pt idx="516">
                  <c:v>All Others</c:v>
                </c:pt>
                <c:pt idx="517">
                  <c:v>Le Coq Crem</c:v>
                </c:pt>
                <c:pt idx="518">
                  <c:v>Soignon</c:v>
                </c:pt>
                <c:pt idx="519">
                  <c:v>All Others</c:v>
                </c:pt>
                <c:pt idx="520">
                  <c:v>Kiri</c:v>
                </c:pt>
                <c:pt idx="521">
                  <c:v>President</c:v>
                </c:pt>
                <c:pt idx="522">
                  <c:v>All Others</c:v>
                </c:pt>
                <c:pt idx="523">
                  <c:v>St Moret</c:v>
                </c:pt>
                <c:pt idx="524">
                  <c:v>All Others</c:v>
                </c:pt>
                <c:pt idx="525">
                  <c:v>Galbani</c:v>
                </c:pt>
                <c:pt idx="526">
                  <c:v>All Others</c:v>
                </c:pt>
                <c:pt idx="527">
                  <c:v>Casa Azzurr</c:v>
                </c:pt>
                <c:pt idx="528">
                  <c:v>Entremont</c:v>
                </c:pt>
                <c:pt idx="529">
                  <c:v>Savencia: A</c:v>
                </c:pt>
                <c:pt idx="530">
                  <c:v>All Others</c:v>
                </c:pt>
                <c:pt idx="531">
                  <c:v>Private Lab</c:v>
                </c:pt>
                <c:pt idx="532">
                  <c:v>Paturages</c:v>
                </c:pt>
                <c:pt idx="533">
                  <c:v>Mini Babybe</c:v>
                </c:pt>
                <c:pt idx="534">
                  <c:v>Apericube</c:v>
                </c:pt>
                <c:pt idx="535">
                  <c:v>All Others</c:v>
                </c:pt>
                <c:pt idx="536">
                  <c:v>Soignon</c:v>
                </c:pt>
                <c:pt idx="537">
                  <c:v>Private Lab</c:v>
                </c:pt>
                <c:pt idx="538">
                  <c:v>All Others</c:v>
                </c:pt>
                <c:pt idx="539">
                  <c:v>Paysan Bret</c:v>
                </c:pt>
                <c:pt idx="540">
                  <c:v>All Others</c:v>
                </c:pt>
                <c:pt idx="541">
                  <c:v>Pochat</c:v>
                </c:pt>
                <c:pt idx="542">
                  <c:v>Casa Azzurr</c:v>
                </c:pt>
                <c:pt idx="543">
                  <c:v>Private Lab</c:v>
                </c:pt>
                <c:pt idx="544">
                  <c:v>Leerdammer</c:v>
                </c:pt>
                <c:pt idx="545">
                  <c:v>All Others</c:v>
                </c:pt>
                <c:pt idx="546">
                  <c:v>Le Saint Am</c:v>
                </c:pt>
                <c:pt idx="547">
                  <c:v>Entremont</c:v>
                </c:pt>
                <c:pt idx="548">
                  <c:v>Coeur De Li</c:v>
                </c:pt>
                <c:pt idx="549">
                  <c:v>Corsica</c:v>
                </c:pt>
                <c:pt idx="550">
                  <c:v>Casa Azzurr</c:v>
                </c:pt>
                <c:pt idx="551">
                  <c:v>All Others</c:v>
                </c:pt>
                <c:pt idx="552">
                  <c:v>Private Lab</c:v>
                </c:pt>
                <c:pt idx="553">
                  <c:v>Islos</c:v>
                </c:pt>
                <c:pt idx="554">
                  <c:v>All Others</c:v>
                </c:pt>
                <c:pt idx="555">
                  <c:v>Soignon</c:v>
                </c:pt>
                <c:pt idx="556">
                  <c:v>Paturages</c:v>
                </c:pt>
                <c:pt idx="557">
                  <c:v>Top Budget</c:v>
                </c:pt>
                <c:pt idx="558">
                  <c:v>All Others</c:v>
                </c:pt>
                <c:pt idx="559">
                  <c:v>Richesmonts</c:v>
                </c:pt>
                <c:pt idx="560">
                  <c:v>Eurial Autr</c:v>
                </c:pt>
                <c:pt idx="561">
                  <c:v>Lactalis: A</c:v>
                </c:pt>
                <c:pt idx="562">
                  <c:v>Entremont</c:v>
                </c:pt>
                <c:pt idx="563">
                  <c:v>Paysan Bret</c:v>
                </c:pt>
                <c:pt idx="564">
                  <c:v>Private Lab</c:v>
                </c:pt>
                <c:pt idx="565">
                  <c:v>La Belle Et</c:v>
                </c:pt>
                <c:pt idx="566">
                  <c:v>Mini Babybe</c:v>
                </c:pt>
                <c:pt idx="567">
                  <c:v>Fol Epi</c:v>
                </c:pt>
                <c:pt idx="568">
                  <c:v>Milleret: A</c:v>
                </c:pt>
                <c:pt idx="569">
                  <c:v>Raguin</c:v>
                </c:pt>
                <c:pt idx="570">
                  <c:v>All Others</c:v>
                </c:pt>
                <c:pt idx="571">
                  <c:v>Boursin</c:v>
                </c:pt>
                <c:pt idx="572">
                  <c:v>Kiri</c:v>
                </c:pt>
                <c:pt idx="573">
                  <c:v>Savencia: A</c:v>
                </c:pt>
                <c:pt idx="574">
                  <c:v>Societe</c:v>
                </c:pt>
                <c:pt idx="575">
                  <c:v>Soignon</c:v>
                </c:pt>
                <c:pt idx="576">
                  <c:v>Kiri</c:v>
                </c:pt>
                <c:pt idx="577">
                  <c:v>All Others</c:v>
                </c:pt>
                <c:pt idx="578">
                  <c:v>Ranou</c:v>
                </c:pt>
                <c:pt idx="579">
                  <c:v>La Belle Et</c:v>
                </c:pt>
                <c:pt idx="580">
                  <c:v>Paysan Bret</c:v>
                </c:pt>
                <c:pt idx="581">
                  <c:v>Raguin</c:v>
                </c:pt>
                <c:pt idx="582">
                  <c:v>Private Lab</c:v>
                </c:pt>
                <c:pt idx="583">
                  <c:v>Private Lab</c:v>
                </c:pt>
                <c:pt idx="584">
                  <c:v>Milleret: A</c:v>
                </c:pt>
                <c:pt idx="585">
                  <c:v>Lactalis: A</c:v>
                </c:pt>
                <c:pt idx="586">
                  <c:v>All Others</c:v>
                </c:pt>
                <c:pt idx="587">
                  <c:v>Private Lab</c:v>
                </c:pt>
                <c:pt idx="588">
                  <c:v>All Others</c:v>
                </c:pt>
                <c:pt idx="589">
                  <c:v>P'Tit Louis</c:v>
                </c:pt>
                <c:pt idx="590">
                  <c:v>All Others</c:v>
                </c:pt>
                <c:pt idx="591">
                  <c:v>All Others</c:v>
                </c:pt>
                <c:pt idx="592">
                  <c:v>All Others</c:v>
                </c:pt>
                <c:pt idx="593">
                  <c:v>Etoile Du Q</c:v>
                </c:pt>
                <c:pt idx="594">
                  <c:v>Galbani</c:v>
                </c:pt>
                <c:pt idx="595">
                  <c:v>All Others</c:v>
                </c:pt>
                <c:pt idx="596">
                  <c:v>Caprice Des</c:v>
                </c:pt>
                <c:pt idx="597">
                  <c:v>Triballat N</c:v>
                </c:pt>
                <c:pt idx="598">
                  <c:v>Lactalis: A</c:v>
                </c:pt>
                <c:pt idx="599">
                  <c:v>Salakis</c:v>
                </c:pt>
                <c:pt idx="600">
                  <c:v>Soignon</c:v>
                </c:pt>
                <c:pt idx="601">
                  <c:v>Entremont</c:v>
                </c:pt>
                <c:pt idx="602">
                  <c:v>Violife</c:v>
                </c:pt>
                <c:pt idx="603">
                  <c:v>All Others</c:v>
                </c:pt>
                <c:pt idx="604">
                  <c:v>Private Lab</c:v>
                </c:pt>
                <c:pt idx="605">
                  <c:v>Bresse Bleu</c:v>
                </c:pt>
                <c:pt idx="606">
                  <c:v>Galbani</c:v>
                </c:pt>
                <c:pt idx="607">
                  <c:v>Mini Babybe</c:v>
                </c:pt>
                <c:pt idx="608">
                  <c:v>Saint Albra</c:v>
                </c:pt>
                <c:pt idx="609">
                  <c:v>La Belle Et</c:v>
                </c:pt>
                <c:pt idx="610">
                  <c:v>Lactalis: A</c:v>
                </c:pt>
                <c:pt idx="611">
                  <c:v>All Others</c:v>
                </c:pt>
                <c:pt idx="612">
                  <c:v>Savencia: A</c:v>
                </c:pt>
                <c:pt idx="613">
                  <c:v>All Others</c:v>
                </c:pt>
                <c:pt idx="614">
                  <c:v>Etoile Du V</c:v>
                </c:pt>
                <c:pt idx="615">
                  <c:v>L'Ortolan</c:v>
                </c:pt>
                <c:pt idx="616">
                  <c:v>President</c:v>
                </c:pt>
                <c:pt idx="617">
                  <c:v>Private Lab</c:v>
                </c:pt>
                <c:pt idx="618">
                  <c:v>All Others</c:v>
                </c:pt>
                <c:pt idx="619">
                  <c:v>Raguin</c:v>
                </c:pt>
                <c:pt idx="620">
                  <c:v>Raguin</c:v>
                </c:pt>
                <c:pt idx="621">
                  <c:v>All Others</c:v>
                </c:pt>
                <c:pt idx="622">
                  <c:v>Lactalis: A</c:v>
                </c:pt>
                <c:pt idx="623">
                  <c:v>All Others</c:v>
                </c:pt>
                <c:pt idx="624">
                  <c:v>Lactalis: A</c:v>
                </c:pt>
                <c:pt idx="625">
                  <c:v>All Others</c:v>
                </c:pt>
                <c:pt idx="626">
                  <c:v>Le Brebiou</c:v>
                </c:pt>
                <c:pt idx="627">
                  <c:v>Galbani</c:v>
                </c:pt>
                <c:pt idx="628">
                  <c:v>All Others</c:v>
                </c:pt>
                <c:pt idx="629">
                  <c:v>Boursin</c:v>
                </c:pt>
                <c:pt idx="630">
                  <c:v>Etoile Du V</c:v>
                </c:pt>
                <c:pt idx="631">
                  <c:v>Saint Agur</c:v>
                </c:pt>
                <c:pt idx="632">
                  <c:v>All Others</c:v>
                </c:pt>
                <c:pt idx="633">
                  <c:v>Pochat</c:v>
                </c:pt>
                <c:pt idx="634">
                  <c:v>Entremont</c:v>
                </c:pt>
                <c:pt idx="635">
                  <c:v>Paysan Bret</c:v>
                </c:pt>
                <c:pt idx="636">
                  <c:v>Savencia: A</c:v>
                </c:pt>
                <c:pt idx="637">
                  <c:v>All Others</c:v>
                </c:pt>
                <c:pt idx="638">
                  <c:v>Paysan Bret</c:v>
                </c:pt>
                <c:pt idx="639">
                  <c:v>All Others</c:v>
                </c:pt>
                <c:pt idx="640">
                  <c:v>Savencia: A</c:v>
                </c:pt>
                <c:pt idx="641">
                  <c:v>Paysan Bret</c:v>
                </c:pt>
                <c:pt idx="642">
                  <c:v>All Others</c:v>
                </c:pt>
                <c:pt idx="643">
                  <c:v>Private Lab</c:v>
                </c:pt>
                <c:pt idx="644">
                  <c:v>Eurial Autr</c:v>
                </c:pt>
                <c:pt idx="645">
                  <c:v>Entremont</c:v>
                </c:pt>
                <c:pt idx="646">
                  <c:v>Lactalis: A</c:v>
                </c:pt>
                <c:pt idx="647">
                  <c:v>All Others</c:v>
                </c:pt>
                <c:pt idx="648">
                  <c:v>Milleret: A</c:v>
                </c:pt>
                <c:pt idx="649">
                  <c:v>Milleret: A</c:v>
                </c:pt>
                <c:pt idx="650">
                  <c:v>Salakis</c:v>
                </c:pt>
                <c:pt idx="651">
                  <c:v>Savencia: A</c:v>
                </c:pt>
                <c:pt idx="652">
                  <c:v>All Others</c:v>
                </c:pt>
                <c:pt idx="653">
                  <c:v>Etorki</c:v>
                </c:pt>
                <c:pt idx="654">
                  <c:v>Saint Agur</c:v>
                </c:pt>
                <c:pt idx="655">
                  <c:v>Islos</c:v>
                </c:pt>
                <c:pt idx="656">
                  <c:v>Carre Frais</c:v>
                </c:pt>
                <c:pt idx="657">
                  <c:v>All Others</c:v>
                </c:pt>
                <c:pt idx="658">
                  <c:v>Milleret: A</c:v>
                </c:pt>
                <c:pt idx="659">
                  <c:v>All Others</c:v>
                </c:pt>
                <c:pt idx="660">
                  <c:v>Milleret: A</c:v>
                </c:pt>
                <c:pt idx="661">
                  <c:v>All Others</c:v>
                </c:pt>
                <c:pt idx="662">
                  <c:v>All Others</c:v>
                </c:pt>
                <c:pt idx="663">
                  <c:v>All Others</c:v>
                </c:pt>
                <c:pt idx="664">
                  <c:v>All Others</c:v>
                </c:pt>
                <c:pt idx="665">
                  <c:v>Entremont</c:v>
                </c:pt>
                <c:pt idx="666">
                  <c:v>Casa Azzurr</c:v>
                </c:pt>
                <c:pt idx="667">
                  <c:v>All Others</c:v>
                </c:pt>
                <c:pt idx="668">
                  <c:v>Triballat N</c:v>
                </c:pt>
                <c:pt idx="669">
                  <c:v>Galbani</c:v>
                </c:pt>
                <c:pt idx="670">
                  <c:v>Apericube</c:v>
                </c:pt>
                <c:pt idx="671">
                  <c:v>Pochat</c:v>
                </c:pt>
                <c:pt idx="672">
                  <c:v>Nurishh</c:v>
                </c:pt>
                <c:pt idx="673">
                  <c:v>All Others</c:v>
                </c:pt>
                <c:pt idx="674">
                  <c:v>Private Lab</c:v>
                </c:pt>
                <c:pt idx="675">
                  <c:v>Entremont</c:v>
                </c:pt>
                <c:pt idx="676">
                  <c:v>Entremont</c:v>
                </c:pt>
                <c:pt idx="677">
                  <c:v>Entremont</c:v>
                </c:pt>
                <c:pt idx="678">
                  <c:v>Richesmonts</c:v>
                </c:pt>
                <c:pt idx="679">
                  <c:v>All Others</c:v>
                </c:pt>
                <c:pt idx="680">
                  <c:v>All Others</c:v>
                </c:pt>
                <c:pt idx="681">
                  <c:v>All Others</c:v>
                </c:pt>
                <c:pt idx="682">
                  <c:v>Paysan Bret</c:v>
                </c:pt>
                <c:pt idx="683">
                  <c:v>All Others</c:v>
                </c:pt>
                <c:pt idx="684">
                  <c:v>All Others</c:v>
                </c:pt>
                <c:pt idx="685">
                  <c:v>All Others</c:v>
                </c:pt>
                <c:pt idx="686">
                  <c:v>Savencia: A</c:v>
                </c:pt>
                <c:pt idx="687">
                  <c:v>Entremont</c:v>
                </c:pt>
                <c:pt idx="688">
                  <c:v>All Others</c:v>
                </c:pt>
                <c:pt idx="689">
                  <c:v>Lactalis: A</c:v>
                </c:pt>
                <c:pt idx="690">
                  <c:v>All Others</c:v>
                </c:pt>
                <c:pt idx="691">
                  <c:v>All Others</c:v>
                </c:pt>
                <c:pt idx="692">
                  <c:v>La Belle Et</c:v>
                </c:pt>
                <c:pt idx="693">
                  <c:v>Istara</c:v>
                </c:pt>
                <c:pt idx="694">
                  <c:v>Triballat N</c:v>
                </c:pt>
                <c:pt idx="695">
                  <c:v>All Others</c:v>
                </c:pt>
                <c:pt idx="696">
                  <c:v>All Others</c:v>
                </c:pt>
                <c:pt idx="697">
                  <c:v>Apericube</c:v>
                </c:pt>
                <c:pt idx="698">
                  <c:v>Casa Azzurr</c:v>
                </c:pt>
                <c:pt idx="699">
                  <c:v>President</c:v>
                </c:pt>
                <c:pt idx="700">
                  <c:v>All Others</c:v>
                </c:pt>
                <c:pt idx="701">
                  <c:v>All Others</c:v>
                </c:pt>
                <c:pt idx="702">
                  <c:v>Etoile Du V</c:v>
                </c:pt>
                <c:pt idx="703">
                  <c:v>All Others</c:v>
                </c:pt>
                <c:pt idx="704">
                  <c:v>Nurishh</c:v>
                </c:pt>
                <c:pt idx="705">
                  <c:v>All Others</c:v>
                </c:pt>
                <c:pt idx="706">
                  <c:v>Savencia: A</c:v>
                </c:pt>
                <c:pt idx="707">
                  <c:v>Private Lab</c:v>
                </c:pt>
                <c:pt idx="708">
                  <c:v>All Others</c:v>
                </c:pt>
                <c:pt idx="709">
                  <c:v>All Others</c:v>
                </c:pt>
                <c:pt idx="710">
                  <c:v>Casa Azzurr</c:v>
                </c:pt>
                <c:pt idx="711">
                  <c:v>All Others</c:v>
                </c:pt>
                <c:pt idx="712">
                  <c:v>Boursin</c:v>
                </c:pt>
                <c:pt idx="713">
                  <c:v>Violife</c:v>
                </c:pt>
                <c:pt idx="714">
                  <c:v>All Others</c:v>
                </c:pt>
                <c:pt idx="715">
                  <c:v>Chavroux</c:v>
                </c:pt>
                <c:pt idx="716">
                  <c:v>All Others</c:v>
                </c:pt>
                <c:pt idx="717">
                  <c:v>All Others</c:v>
                </c:pt>
                <c:pt idx="718">
                  <c:v>All Others</c:v>
                </c:pt>
                <c:pt idx="719">
                  <c:v>Etoile Du V</c:v>
                </c:pt>
                <c:pt idx="720">
                  <c:v>Aperivrais</c:v>
                </c:pt>
                <c:pt idx="721">
                  <c:v>All Others</c:v>
                </c:pt>
                <c:pt idx="722">
                  <c:v>All Others</c:v>
                </c:pt>
                <c:pt idx="723">
                  <c:v>President</c:v>
                </c:pt>
                <c:pt idx="724">
                  <c:v>Richesmonts</c:v>
                </c:pt>
                <c:pt idx="725">
                  <c:v>All Others</c:v>
                </c:pt>
                <c:pt idx="726">
                  <c:v>All Others</c:v>
                </c:pt>
                <c:pt idx="727">
                  <c:v>All Others</c:v>
                </c:pt>
                <c:pt idx="728">
                  <c:v>Fol Epi</c:v>
                </c:pt>
                <c:pt idx="729">
                  <c:v>President</c:v>
                </c:pt>
                <c:pt idx="730">
                  <c:v>Tartare</c:v>
                </c:pt>
                <c:pt idx="731">
                  <c:v>All Others</c:v>
                </c:pt>
                <c:pt idx="732">
                  <c:v>Lactalis: A</c:v>
                </c:pt>
                <c:pt idx="733">
                  <c:v>All Others</c:v>
                </c:pt>
                <c:pt idx="734">
                  <c:v>Casa Azzurr</c:v>
                </c:pt>
                <c:pt idx="735">
                  <c:v>All Others</c:v>
                </c:pt>
                <c:pt idx="736">
                  <c:v>All Others</c:v>
                </c:pt>
                <c:pt idx="737">
                  <c:v>Entremont</c:v>
                </c:pt>
                <c:pt idx="738">
                  <c:v>Lactalis: A</c:v>
                </c:pt>
                <c:pt idx="739">
                  <c:v>All Others</c:v>
                </c:pt>
                <c:pt idx="740">
                  <c:v>All Others</c:v>
                </c:pt>
                <c:pt idx="741">
                  <c:v>All Others</c:v>
                </c:pt>
                <c:pt idx="742">
                  <c:v>All Others</c:v>
                </c:pt>
                <c:pt idx="743">
                  <c:v>Fauquet</c:v>
                </c:pt>
                <c:pt idx="744">
                  <c:v>All Others</c:v>
                </c:pt>
                <c:pt idx="745">
                  <c:v>Etoile Du V</c:v>
                </c:pt>
                <c:pt idx="746">
                  <c:v>L'Ortolan</c:v>
                </c:pt>
                <c:pt idx="747">
                  <c:v>All Others</c:v>
                </c:pt>
                <c:pt idx="748">
                  <c:v>All Others</c:v>
                </c:pt>
                <c:pt idx="749">
                  <c:v>Lactalis: A</c:v>
                </c:pt>
                <c:pt idx="750">
                  <c:v>Private Lab</c:v>
                </c:pt>
                <c:pt idx="751">
                  <c:v>All Others</c:v>
                </c:pt>
                <c:pt idx="752">
                  <c:v>Boursin</c:v>
                </c:pt>
                <c:pt idx="753">
                  <c:v>Boursin</c:v>
                </c:pt>
                <c:pt idx="754">
                  <c:v>All Others</c:v>
                </c:pt>
                <c:pt idx="755">
                  <c:v>All Others</c:v>
                </c:pt>
                <c:pt idx="756">
                  <c:v>All Others</c:v>
                </c:pt>
                <c:pt idx="757">
                  <c:v>La Belle Et</c:v>
                </c:pt>
                <c:pt idx="758">
                  <c:v>All Others</c:v>
                </c:pt>
                <c:pt idx="759">
                  <c:v>All Others</c:v>
                </c:pt>
                <c:pt idx="760">
                  <c:v>Triballat N</c:v>
                </c:pt>
                <c:pt idx="761">
                  <c:v>All Others</c:v>
                </c:pt>
                <c:pt idx="762">
                  <c:v>Pochat</c:v>
                </c:pt>
                <c:pt idx="763">
                  <c:v>Violife</c:v>
                </c:pt>
                <c:pt idx="764">
                  <c:v>All Others</c:v>
                </c:pt>
                <c:pt idx="765">
                  <c:v>Tartare</c:v>
                </c:pt>
                <c:pt idx="766">
                  <c:v>Mini Babybe</c:v>
                </c:pt>
                <c:pt idx="767">
                  <c:v>Pave D'Affi</c:v>
                </c:pt>
                <c:pt idx="768">
                  <c:v>All Others</c:v>
                </c:pt>
                <c:pt idx="769">
                  <c:v>All Others</c:v>
                </c:pt>
                <c:pt idx="770">
                  <c:v>All Others</c:v>
                </c:pt>
                <c:pt idx="771">
                  <c:v>Entremont</c:v>
                </c:pt>
                <c:pt idx="772">
                  <c:v>All Others</c:v>
                </c:pt>
                <c:pt idx="773">
                  <c:v>Nurishh</c:v>
                </c:pt>
                <c:pt idx="774">
                  <c:v>All Others</c:v>
                </c:pt>
                <c:pt idx="775">
                  <c:v>All Others</c:v>
                </c:pt>
                <c:pt idx="776">
                  <c:v>All Others</c:v>
                </c:pt>
                <c:pt idx="777">
                  <c:v>All Others</c:v>
                </c:pt>
                <c:pt idx="778">
                  <c:v>All Others</c:v>
                </c:pt>
                <c:pt idx="779">
                  <c:v>All Others</c:v>
                </c:pt>
                <c:pt idx="780">
                  <c:v>Paturages</c:v>
                </c:pt>
                <c:pt idx="781">
                  <c:v>Ids</c:v>
                </c:pt>
                <c:pt idx="782">
                  <c:v>All Others</c:v>
                </c:pt>
                <c:pt idx="783">
                  <c:v>Apericube</c:v>
                </c:pt>
                <c:pt idx="784">
                  <c:v>Coeur Lion</c:v>
                </c:pt>
                <c:pt idx="785">
                  <c:v>Entremont</c:v>
                </c:pt>
                <c:pt idx="786">
                  <c:v>Milleret: A</c:v>
                </c:pt>
                <c:pt idx="787">
                  <c:v>All Others</c:v>
                </c:pt>
                <c:pt idx="788">
                  <c:v>All Others</c:v>
                </c:pt>
                <c:pt idx="789">
                  <c:v>All Others</c:v>
                </c:pt>
                <c:pt idx="790">
                  <c:v>All Others</c:v>
                </c:pt>
                <c:pt idx="791">
                  <c:v>All Others</c:v>
                </c:pt>
                <c:pt idx="792">
                  <c:v>All Others</c:v>
                </c:pt>
                <c:pt idx="793">
                  <c:v>All Others</c:v>
                </c:pt>
                <c:pt idx="794">
                  <c:v>All Others</c:v>
                </c:pt>
                <c:pt idx="795">
                  <c:v>All Others</c:v>
                </c:pt>
                <c:pt idx="796">
                  <c:v>Chavroux</c:v>
                </c:pt>
                <c:pt idx="797">
                  <c:v>Nurishh</c:v>
                </c:pt>
                <c:pt idx="798">
                  <c:v>All Others</c:v>
                </c:pt>
                <c:pt idx="799">
                  <c:v>All Others</c:v>
                </c:pt>
                <c:pt idx="800">
                  <c:v>All Others</c:v>
                </c:pt>
                <c:pt idx="801">
                  <c:v>Nurishh</c:v>
                </c:pt>
                <c:pt idx="802">
                  <c:v>Casa Azzur</c:v>
                </c:pt>
                <c:pt idx="803">
                  <c:v>All Others</c:v>
                </c:pt>
                <c:pt idx="804">
                  <c:v>All Others</c:v>
                </c:pt>
                <c:pt idx="805">
                  <c:v>Nurishh</c:v>
                </c:pt>
                <c:pt idx="806">
                  <c:v>All Others</c:v>
                </c:pt>
                <c:pt idx="807">
                  <c:v>All Others</c:v>
                </c:pt>
                <c:pt idx="808">
                  <c:v>All Others</c:v>
                </c:pt>
                <c:pt idx="809">
                  <c:v>All Others</c:v>
                </c:pt>
                <c:pt idx="810">
                  <c:v>Etoile Du V</c:v>
                </c:pt>
                <c:pt idx="811">
                  <c:v>Paysan Bret</c:v>
                </c:pt>
                <c:pt idx="812">
                  <c:v>Entremont</c:v>
                </c:pt>
                <c:pt idx="813">
                  <c:v>Apericube</c:v>
                </c:pt>
                <c:pt idx="814">
                  <c:v>All Others</c:v>
                </c:pt>
                <c:pt idx="815">
                  <c:v>All Others</c:v>
                </c:pt>
                <c:pt idx="816">
                  <c:v>All Others</c:v>
                </c:pt>
                <c:pt idx="817">
                  <c:v>All Others</c:v>
                </c:pt>
                <c:pt idx="818">
                  <c:v>All Others</c:v>
                </c:pt>
                <c:pt idx="819">
                  <c:v>Aperivrais</c:v>
                </c:pt>
                <c:pt idx="820">
                  <c:v>La Belle Et</c:v>
                </c:pt>
                <c:pt idx="821">
                  <c:v>All Others</c:v>
                </c:pt>
                <c:pt idx="822">
                  <c:v>Savencia: A</c:v>
                </c:pt>
                <c:pt idx="823">
                  <c:v>All Others</c:v>
                </c:pt>
                <c:pt idx="824">
                  <c:v>All Others</c:v>
                </c:pt>
                <c:pt idx="825">
                  <c:v>All Others</c:v>
                </c:pt>
                <c:pt idx="826">
                  <c:v>All Others</c:v>
                </c:pt>
                <c:pt idx="827">
                  <c:v>All Others</c:v>
                </c:pt>
                <c:pt idx="828">
                  <c:v>Boursin</c:v>
                </c:pt>
                <c:pt idx="829">
                  <c:v>La Belle Et</c:v>
                </c:pt>
                <c:pt idx="830">
                  <c:v>All Others</c:v>
                </c:pt>
                <c:pt idx="831">
                  <c:v>Soignon</c:v>
                </c:pt>
                <c:pt idx="832">
                  <c:v>Milleret: A</c:v>
                </c:pt>
                <c:pt idx="833">
                  <c:v>Aperivrais</c:v>
                </c:pt>
                <c:pt idx="834">
                  <c:v>All Others</c:v>
                </c:pt>
                <c:pt idx="835">
                  <c:v>All Others</c:v>
                </c:pt>
                <c:pt idx="836">
                  <c:v>La Belle Et</c:v>
                </c:pt>
                <c:pt idx="837">
                  <c:v>All Others</c:v>
                </c:pt>
                <c:pt idx="838">
                  <c:v>All Others</c:v>
                </c:pt>
                <c:pt idx="839">
                  <c:v>La Belle Et</c:v>
                </c:pt>
                <c:pt idx="840">
                  <c:v>All Others</c:v>
                </c:pt>
                <c:pt idx="841">
                  <c:v>All Others</c:v>
                </c:pt>
                <c:pt idx="842">
                  <c:v>All Others</c:v>
                </c:pt>
                <c:pt idx="843">
                  <c:v>Chaussee Au</c:v>
                </c:pt>
                <c:pt idx="844">
                  <c:v>All Others</c:v>
                </c:pt>
                <c:pt idx="845">
                  <c:v>La Belle Et</c:v>
                </c:pt>
                <c:pt idx="846">
                  <c:v>All Others</c:v>
                </c:pt>
                <c:pt idx="847">
                  <c:v>All Others</c:v>
                </c:pt>
                <c:pt idx="848">
                  <c:v>Entremont</c:v>
                </c:pt>
                <c:pt idx="849">
                  <c:v>All Others</c:v>
                </c:pt>
                <c:pt idx="850">
                  <c:v>All Others</c:v>
                </c:pt>
                <c:pt idx="851">
                  <c:v>All Others</c:v>
                </c:pt>
                <c:pt idx="852">
                  <c:v>L'Ortolan</c:v>
                </c:pt>
                <c:pt idx="853">
                  <c:v>All Others</c:v>
                </c:pt>
                <c:pt idx="854">
                  <c:v>All Others</c:v>
                </c:pt>
                <c:pt idx="855">
                  <c:v>All Others</c:v>
                </c:pt>
                <c:pt idx="856">
                  <c:v>La Belle Et</c:v>
                </c:pt>
                <c:pt idx="857">
                  <c:v>All Others</c:v>
                </c:pt>
                <c:pt idx="858">
                  <c:v>All Others</c:v>
                </c:pt>
                <c:pt idx="859">
                  <c:v>All Others</c:v>
                </c:pt>
                <c:pt idx="860">
                  <c:v>Boursin</c:v>
                </c:pt>
                <c:pt idx="861">
                  <c:v>All Others</c:v>
                </c:pt>
                <c:pt idx="862">
                  <c:v>All Others</c:v>
                </c:pt>
                <c:pt idx="863">
                  <c:v>All Others</c:v>
                </c:pt>
                <c:pt idx="864">
                  <c:v>Chavroux</c:v>
                </c:pt>
                <c:pt idx="865">
                  <c:v>Boursin</c:v>
                </c:pt>
                <c:pt idx="866">
                  <c:v>All Others</c:v>
                </c:pt>
                <c:pt idx="867">
                  <c:v>All Others</c:v>
                </c:pt>
                <c:pt idx="868">
                  <c:v>All Others</c:v>
                </c:pt>
                <c:pt idx="869">
                  <c:v>All Others</c:v>
                </c:pt>
                <c:pt idx="870">
                  <c:v>All Others</c:v>
                </c:pt>
                <c:pt idx="871">
                  <c:v>Societe</c:v>
                </c:pt>
                <c:pt idx="872">
                  <c:v>All Others</c:v>
                </c:pt>
                <c:pt idx="873">
                  <c:v>All Others</c:v>
                </c:pt>
                <c:pt idx="874">
                  <c:v>Boursin</c:v>
                </c:pt>
                <c:pt idx="875">
                  <c:v>All Others</c:v>
                </c:pt>
                <c:pt idx="876">
                  <c:v>Salakis</c:v>
                </c:pt>
                <c:pt idx="877">
                  <c:v>All Others</c:v>
                </c:pt>
                <c:pt idx="878">
                  <c:v>All Others</c:v>
                </c:pt>
                <c:pt idx="879">
                  <c:v>All Others</c:v>
                </c:pt>
                <c:pt idx="880">
                  <c:v>All Others</c:v>
                </c:pt>
                <c:pt idx="881">
                  <c:v>All Others</c:v>
                </c:pt>
                <c:pt idx="882">
                  <c:v>Savencia: A</c:v>
                </c:pt>
                <c:pt idx="883">
                  <c:v>Lactalis: A</c:v>
                </c:pt>
                <c:pt idx="884">
                  <c:v>All Others</c:v>
                </c:pt>
                <c:pt idx="885">
                  <c:v>All Others</c:v>
                </c:pt>
                <c:pt idx="886">
                  <c:v>All Others</c:v>
                </c:pt>
                <c:pt idx="887">
                  <c:v>All Others</c:v>
                </c:pt>
                <c:pt idx="888">
                  <c:v>Milleret: A</c:v>
                </c:pt>
                <c:pt idx="889">
                  <c:v>All Others</c:v>
                </c:pt>
                <c:pt idx="890">
                  <c:v>President</c:v>
                </c:pt>
                <c:pt idx="891">
                  <c:v>All Others</c:v>
                </c:pt>
                <c:pt idx="892">
                  <c:v>Private Lab</c:v>
                </c:pt>
                <c:pt idx="893">
                  <c:v>All Others</c:v>
                </c:pt>
                <c:pt idx="894">
                  <c:v>All Others</c:v>
                </c:pt>
                <c:pt idx="895">
                  <c:v>All Others</c:v>
                </c:pt>
                <c:pt idx="896">
                  <c:v>All Others</c:v>
                </c:pt>
                <c:pt idx="897">
                  <c:v>All Others</c:v>
                </c:pt>
                <c:pt idx="898">
                  <c:v>All Others</c:v>
                </c:pt>
                <c:pt idx="899">
                  <c:v>La Belle Et</c:v>
                </c:pt>
                <c:pt idx="900">
                  <c:v>All Others</c:v>
                </c:pt>
                <c:pt idx="901">
                  <c:v>All Others</c:v>
                </c:pt>
                <c:pt idx="902">
                  <c:v>All Others</c:v>
                </c:pt>
                <c:pt idx="903">
                  <c:v>All Others</c:v>
                </c:pt>
                <c:pt idx="904">
                  <c:v>All Others</c:v>
                </c:pt>
                <c:pt idx="905">
                  <c:v>All Others</c:v>
                </c:pt>
                <c:pt idx="906">
                  <c:v>All Others</c:v>
                </c:pt>
                <c:pt idx="907">
                  <c:v>All Others</c:v>
                </c:pt>
                <c:pt idx="908">
                  <c:v>All Others</c:v>
                </c:pt>
                <c:pt idx="909">
                  <c:v>Petit Billy</c:v>
                </c:pt>
                <c:pt idx="910">
                  <c:v>All Others</c:v>
                </c:pt>
                <c:pt idx="911">
                  <c:v>Lactalis: A</c:v>
                </c:pt>
                <c:pt idx="912">
                  <c:v>All Others</c:v>
                </c:pt>
                <c:pt idx="913">
                  <c:v>All Others</c:v>
                </c:pt>
                <c:pt idx="914">
                  <c:v>La Table M</c:v>
                </c:pt>
                <c:pt idx="915">
                  <c:v>All Others</c:v>
                </c:pt>
                <c:pt idx="916">
                  <c:v>All Others</c:v>
                </c:pt>
                <c:pt idx="917">
                  <c:v>Salakis</c:v>
                </c:pt>
                <c:pt idx="918">
                  <c:v>Etoile Du V</c:v>
                </c:pt>
                <c:pt idx="919">
                  <c:v>All Others</c:v>
                </c:pt>
                <c:pt idx="920">
                  <c:v>All Others</c:v>
                </c:pt>
                <c:pt idx="921">
                  <c:v>All Others</c:v>
                </c:pt>
                <c:pt idx="922">
                  <c:v>All Others</c:v>
                </c:pt>
                <c:pt idx="923">
                  <c:v>All Others</c:v>
                </c:pt>
                <c:pt idx="924">
                  <c:v>All Others</c:v>
                </c:pt>
                <c:pt idx="925">
                  <c:v>All Others</c:v>
                </c:pt>
                <c:pt idx="926">
                  <c:v>All Others</c:v>
                </c:pt>
                <c:pt idx="927">
                  <c:v>Galbani</c:v>
                </c:pt>
                <c:pt idx="928">
                  <c:v>All Others</c:v>
                </c:pt>
                <c:pt idx="929">
                  <c:v>Chavroux</c:v>
                </c:pt>
                <c:pt idx="930">
                  <c:v>All Others</c:v>
                </c:pt>
                <c:pt idx="931">
                  <c:v>All Others</c:v>
                </c:pt>
                <c:pt idx="932">
                  <c:v>Entremont</c:v>
                </c:pt>
                <c:pt idx="933">
                  <c:v>All Others</c:v>
                </c:pt>
                <c:pt idx="934">
                  <c:v>All Others</c:v>
                </c:pt>
                <c:pt idx="935">
                  <c:v>All Others</c:v>
                </c:pt>
                <c:pt idx="936">
                  <c:v>All Others</c:v>
                </c:pt>
                <c:pt idx="937">
                  <c:v>Lactalis: A</c:v>
                </c:pt>
                <c:pt idx="938">
                  <c:v>All Others</c:v>
                </c:pt>
                <c:pt idx="939">
                  <c:v>All Others</c:v>
                </c:pt>
                <c:pt idx="940">
                  <c:v>All Others</c:v>
                </c:pt>
                <c:pt idx="941">
                  <c:v>All Others</c:v>
                </c:pt>
                <c:pt idx="942">
                  <c:v>All Others</c:v>
                </c:pt>
                <c:pt idx="943">
                  <c:v>Lactalis: A</c:v>
                </c:pt>
                <c:pt idx="944">
                  <c:v>All Others</c:v>
                </c:pt>
                <c:pt idx="945">
                  <c:v>La Vache Qu</c:v>
                </c:pt>
                <c:pt idx="946">
                  <c:v>Lactalis: A</c:v>
                </c:pt>
                <c:pt idx="947">
                  <c:v>All Others</c:v>
                </c:pt>
                <c:pt idx="948">
                  <c:v>All Others</c:v>
                </c:pt>
                <c:pt idx="949">
                  <c:v>All Others</c:v>
                </c:pt>
                <c:pt idx="950">
                  <c:v>All Others</c:v>
                </c:pt>
                <c:pt idx="951">
                  <c:v>All Others</c:v>
                </c:pt>
                <c:pt idx="952">
                  <c:v>La Belle Et</c:v>
                </c:pt>
                <c:pt idx="953">
                  <c:v>Entremont</c:v>
                </c:pt>
                <c:pt idx="954">
                  <c:v>All Others</c:v>
                </c:pt>
                <c:pt idx="955">
                  <c:v>Private Lab</c:v>
                </c:pt>
                <c:pt idx="956">
                  <c:v>All Others</c:v>
                </c:pt>
                <c:pt idx="957">
                  <c:v>All Others</c:v>
                </c:pt>
                <c:pt idx="958">
                  <c:v>All Others</c:v>
                </c:pt>
                <c:pt idx="959">
                  <c:v>All Others</c:v>
                </c:pt>
                <c:pt idx="960">
                  <c:v>All Others</c:v>
                </c:pt>
                <c:pt idx="961">
                  <c:v>All Others</c:v>
                </c:pt>
                <c:pt idx="962">
                  <c:v>All Others</c:v>
                </c:pt>
                <c:pt idx="963">
                  <c:v>Chavroux</c:v>
                </c:pt>
                <c:pt idx="964">
                  <c:v>Mini Babybe</c:v>
                </c:pt>
                <c:pt idx="965">
                  <c:v>All Others</c:v>
                </c:pt>
                <c:pt idx="966">
                  <c:v>All Others</c:v>
                </c:pt>
                <c:pt idx="967">
                  <c:v>All Others</c:v>
                </c:pt>
                <c:pt idx="968">
                  <c:v>La Belle Et</c:v>
                </c:pt>
                <c:pt idx="969">
                  <c:v>All Others</c:v>
                </c:pt>
                <c:pt idx="970">
                  <c:v>All Others</c:v>
                </c:pt>
                <c:pt idx="971">
                  <c:v>All Others</c:v>
                </c:pt>
                <c:pt idx="972">
                  <c:v>All Others</c:v>
                </c:pt>
                <c:pt idx="973">
                  <c:v>All Others</c:v>
                </c:pt>
                <c:pt idx="974">
                  <c:v>All Others</c:v>
                </c:pt>
                <c:pt idx="975">
                  <c:v>All Others</c:v>
                </c:pt>
                <c:pt idx="976">
                  <c:v>All Others</c:v>
                </c:pt>
                <c:pt idx="977">
                  <c:v>All Others</c:v>
                </c:pt>
                <c:pt idx="978">
                  <c:v>All Others</c:v>
                </c:pt>
                <c:pt idx="979">
                  <c:v>Lactalis: A</c:v>
                </c:pt>
                <c:pt idx="980">
                  <c:v>Paysan Bret</c:v>
                </c:pt>
                <c:pt idx="981">
                  <c:v>All Others</c:v>
                </c:pt>
                <c:pt idx="982">
                  <c:v>All Others</c:v>
                </c:pt>
                <c:pt idx="983">
                  <c:v>All Others</c:v>
                </c:pt>
                <c:pt idx="984">
                  <c:v>All Others</c:v>
                </c:pt>
                <c:pt idx="985">
                  <c:v>All Others</c:v>
                </c:pt>
                <c:pt idx="986">
                  <c:v>All Others</c:v>
                </c:pt>
                <c:pt idx="987">
                  <c:v>All Others</c:v>
                </c:pt>
                <c:pt idx="988">
                  <c:v>All Others</c:v>
                </c:pt>
                <c:pt idx="989">
                  <c:v>All Others</c:v>
                </c:pt>
                <c:pt idx="990">
                  <c:v>Mini Babybe</c:v>
                </c:pt>
                <c:pt idx="991">
                  <c:v>All Others</c:v>
                </c:pt>
                <c:pt idx="992">
                  <c:v>All Others</c:v>
                </c:pt>
                <c:pt idx="993">
                  <c:v>All Others</c:v>
                </c:pt>
                <c:pt idx="994">
                  <c:v>All Others</c:v>
                </c:pt>
                <c:pt idx="995">
                  <c:v>All Others</c:v>
                </c:pt>
                <c:pt idx="996">
                  <c:v>All Others</c:v>
                </c:pt>
                <c:pt idx="997">
                  <c:v>All Others</c:v>
                </c:pt>
                <c:pt idx="998">
                  <c:v>All Others</c:v>
                </c:pt>
                <c:pt idx="999">
                  <c:v>All Others</c:v>
                </c:pt>
                <c:pt idx="1000">
                  <c:v>All Others</c:v>
                </c:pt>
                <c:pt idx="1001">
                  <c:v>All Others</c:v>
                </c:pt>
                <c:pt idx="1002">
                  <c:v>All Others</c:v>
                </c:pt>
                <c:pt idx="1003">
                  <c:v>All Others</c:v>
                </c:pt>
                <c:pt idx="1004">
                  <c:v>All Others</c:v>
                </c:pt>
                <c:pt idx="1005">
                  <c:v>Richesmonts</c:v>
                </c:pt>
                <c:pt idx="1006">
                  <c:v>British H</c:v>
                </c:pt>
                <c:pt idx="1007">
                  <c:v>La Belle Et</c:v>
                </c:pt>
                <c:pt idx="1008">
                  <c:v>All Others</c:v>
                </c:pt>
                <c:pt idx="1009">
                  <c:v>All Others</c:v>
                </c:pt>
                <c:pt idx="1010">
                  <c:v>All Others</c:v>
                </c:pt>
                <c:pt idx="1011">
                  <c:v>Casa Azzurr</c:v>
                </c:pt>
                <c:pt idx="1012">
                  <c:v>All Others</c:v>
                </c:pt>
                <c:pt idx="1013">
                  <c:v>Corsica</c:v>
                </c:pt>
                <c:pt idx="1014">
                  <c:v>All Others</c:v>
                </c:pt>
                <c:pt idx="1015">
                  <c:v>La Belle Et</c:v>
                </c:pt>
                <c:pt idx="1016">
                  <c:v>All Others</c:v>
                </c:pt>
                <c:pt idx="1017">
                  <c:v>All Others</c:v>
                </c:pt>
                <c:pt idx="1018">
                  <c:v>All Others</c:v>
                </c:pt>
                <c:pt idx="1019">
                  <c:v>All Others</c:v>
                </c:pt>
                <c:pt idx="1020">
                  <c:v>All Others</c:v>
                </c:pt>
                <c:pt idx="1021">
                  <c:v>All Others</c:v>
                </c:pt>
                <c:pt idx="1022">
                  <c:v>Savencia: A</c:v>
                </c:pt>
                <c:pt idx="1023">
                  <c:v>Savencia: A</c:v>
                </c:pt>
                <c:pt idx="1024">
                  <c:v>All Others</c:v>
                </c:pt>
                <c:pt idx="1025">
                  <c:v>All Others</c:v>
                </c:pt>
                <c:pt idx="1026">
                  <c:v>All Others</c:v>
                </c:pt>
                <c:pt idx="1027">
                  <c:v>Rians</c:v>
                </c:pt>
                <c:pt idx="1028">
                  <c:v>Raguin</c:v>
                </c:pt>
                <c:pt idx="1029">
                  <c:v>All Others</c:v>
                </c:pt>
                <c:pt idx="1030">
                  <c:v>Lactalis: A</c:v>
                </c:pt>
                <c:pt idx="1031">
                  <c:v>All Others</c:v>
                </c:pt>
                <c:pt idx="1032">
                  <c:v>All Others</c:v>
                </c:pt>
                <c:pt idx="1033">
                  <c:v>All Others</c:v>
                </c:pt>
                <c:pt idx="1034">
                  <c:v>All Others</c:v>
                </c:pt>
                <c:pt idx="1035">
                  <c:v>All Others</c:v>
                </c:pt>
                <c:pt idx="1036">
                  <c:v>All Others</c:v>
                </c:pt>
                <c:pt idx="1037">
                  <c:v>All Others</c:v>
                </c:pt>
                <c:pt idx="1038">
                  <c:v>Richesmonts</c:v>
                </c:pt>
                <c:pt idx="1039">
                  <c:v>All Others</c:v>
                </c:pt>
                <c:pt idx="1040">
                  <c:v>Raguin</c:v>
                </c:pt>
                <c:pt idx="1041">
                  <c:v>All Others</c:v>
                </c:pt>
                <c:pt idx="1042">
                  <c:v>All Others</c:v>
                </c:pt>
                <c:pt idx="1043">
                  <c:v>All Others</c:v>
                </c:pt>
                <c:pt idx="1044">
                  <c:v>Lactalis: A</c:v>
                </c:pt>
                <c:pt idx="1045">
                  <c:v>All Others</c:v>
                </c:pt>
                <c:pt idx="1046">
                  <c:v>All Others</c:v>
                </c:pt>
                <c:pt idx="1047">
                  <c:v>All Others</c:v>
                </c:pt>
                <c:pt idx="1048">
                  <c:v>Fol Epi</c:v>
                </c:pt>
                <c:pt idx="1049">
                  <c:v>All Others</c:v>
                </c:pt>
                <c:pt idx="1050">
                  <c:v>All Others</c:v>
                </c:pt>
                <c:pt idx="1051">
                  <c:v>All Others</c:v>
                </c:pt>
                <c:pt idx="1052">
                  <c:v>All Others</c:v>
                </c:pt>
                <c:pt idx="1053">
                  <c:v>All Others</c:v>
                </c:pt>
                <c:pt idx="1054">
                  <c:v>All Others</c:v>
                </c:pt>
                <c:pt idx="1055">
                  <c:v>Etoile Du V</c:v>
                </c:pt>
                <c:pt idx="1056">
                  <c:v>All Others</c:v>
                </c:pt>
                <c:pt idx="1057">
                  <c:v>All Others</c:v>
                </c:pt>
                <c:pt idx="1058">
                  <c:v>All Others</c:v>
                </c:pt>
                <c:pt idx="1059">
                  <c:v>Raguin</c:v>
                </c:pt>
                <c:pt idx="1060">
                  <c:v>All Others</c:v>
                </c:pt>
                <c:pt idx="1061">
                  <c:v>Paysan Bret</c:v>
                </c:pt>
                <c:pt idx="1062">
                  <c:v>All Others</c:v>
                </c:pt>
                <c:pt idx="1063">
                  <c:v>All Others</c:v>
                </c:pt>
                <c:pt idx="1064">
                  <c:v>All Others</c:v>
                </c:pt>
                <c:pt idx="1065">
                  <c:v>Entremont</c:v>
                </c:pt>
                <c:pt idx="1066">
                  <c:v>All Others</c:v>
                </c:pt>
                <c:pt idx="1067">
                  <c:v>Raguin</c:v>
                </c:pt>
                <c:pt idx="1068">
                  <c:v>All Others</c:v>
                </c:pt>
                <c:pt idx="1069">
                  <c:v>Private Lab</c:v>
                </c:pt>
                <c:pt idx="1070">
                  <c:v>All Others</c:v>
                </c:pt>
                <c:pt idx="1071">
                  <c:v>All Others</c:v>
                </c:pt>
                <c:pt idx="1072">
                  <c:v>All Others</c:v>
                </c:pt>
                <c:pt idx="1073">
                  <c:v>All Others</c:v>
                </c:pt>
                <c:pt idx="1074">
                  <c:v>All Others</c:v>
                </c:pt>
                <c:pt idx="1075">
                  <c:v>All Others</c:v>
                </c:pt>
                <c:pt idx="1076">
                  <c:v>All Others</c:v>
                </c:pt>
                <c:pt idx="1077">
                  <c:v>Kiri</c:v>
                </c:pt>
                <c:pt idx="1078">
                  <c:v>All Others</c:v>
                </c:pt>
                <c:pt idx="1079">
                  <c:v>Raguin</c:v>
                </c:pt>
                <c:pt idx="1080">
                  <c:v>All Others</c:v>
                </c:pt>
                <c:pt idx="1081">
                  <c:v>All Others</c:v>
                </c:pt>
                <c:pt idx="1082">
                  <c:v>All Others</c:v>
                </c:pt>
                <c:pt idx="1083">
                  <c:v>All Others</c:v>
                </c:pt>
                <c:pt idx="1084">
                  <c:v>All Others</c:v>
                </c:pt>
                <c:pt idx="1085">
                  <c:v>All Others</c:v>
                </c:pt>
                <c:pt idx="1086">
                  <c:v>All Others</c:v>
                </c:pt>
                <c:pt idx="1087">
                  <c:v>All Others</c:v>
                </c:pt>
                <c:pt idx="1088">
                  <c:v>All Others</c:v>
                </c:pt>
                <c:pt idx="1089">
                  <c:v>La Belle Et</c:v>
                </c:pt>
                <c:pt idx="1090">
                  <c:v>All Others</c:v>
                </c:pt>
                <c:pt idx="1091">
                  <c:v>All Others</c:v>
                </c:pt>
                <c:pt idx="1092">
                  <c:v>All Others</c:v>
                </c:pt>
                <c:pt idx="1093">
                  <c:v>All Others</c:v>
                </c:pt>
                <c:pt idx="1094">
                  <c:v>Juraflore</c:v>
                </c:pt>
                <c:pt idx="1095">
                  <c:v>All Others</c:v>
                </c:pt>
                <c:pt idx="1096">
                  <c:v>All Others</c:v>
                </c:pt>
                <c:pt idx="1097">
                  <c:v>All Others</c:v>
                </c:pt>
                <c:pt idx="1098">
                  <c:v>Pave D'Affi</c:v>
                </c:pt>
                <c:pt idx="1099">
                  <c:v>All Others</c:v>
                </c:pt>
                <c:pt idx="1100">
                  <c:v>Etoile Du V</c:v>
                </c:pt>
                <c:pt idx="1101">
                  <c:v>All Others</c:v>
                </c:pt>
                <c:pt idx="1102">
                  <c:v>All Others</c:v>
                </c:pt>
                <c:pt idx="1103">
                  <c:v>All Others</c:v>
                </c:pt>
                <c:pt idx="1104">
                  <c:v>All Others</c:v>
                </c:pt>
                <c:pt idx="1105">
                  <c:v>All Others</c:v>
                </c:pt>
                <c:pt idx="1106">
                  <c:v>All Others</c:v>
                </c:pt>
                <c:pt idx="1107">
                  <c:v>All Others</c:v>
                </c:pt>
                <c:pt idx="1108">
                  <c:v>All Others</c:v>
                </c:pt>
                <c:pt idx="1109">
                  <c:v>All Others</c:v>
                </c:pt>
                <c:pt idx="1110">
                  <c:v>All Others</c:v>
                </c:pt>
                <c:pt idx="1111">
                  <c:v>All Others</c:v>
                </c:pt>
                <c:pt idx="1112">
                  <c:v>All Others</c:v>
                </c:pt>
                <c:pt idx="1113">
                  <c:v>All Others</c:v>
                </c:pt>
                <c:pt idx="1114">
                  <c:v>All Others</c:v>
                </c:pt>
                <c:pt idx="1115">
                  <c:v>All Others</c:v>
                </c:pt>
                <c:pt idx="1116">
                  <c:v>Gillot</c:v>
                </c:pt>
                <c:pt idx="1117">
                  <c:v>Violife</c:v>
                </c:pt>
                <c:pt idx="1118">
                  <c:v>Lactalis: A</c:v>
                </c:pt>
                <c:pt idx="1119">
                  <c:v>All Others</c:v>
                </c:pt>
                <c:pt idx="1120">
                  <c:v>All Others</c:v>
                </c:pt>
                <c:pt idx="1121">
                  <c:v>All Others</c:v>
                </c:pt>
                <c:pt idx="1122">
                  <c:v>All Others</c:v>
                </c:pt>
                <c:pt idx="1123">
                  <c:v>All Others</c:v>
                </c:pt>
                <c:pt idx="1124">
                  <c:v>All Others</c:v>
                </c:pt>
                <c:pt idx="1125">
                  <c:v>All Others</c:v>
                </c:pt>
                <c:pt idx="1126">
                  <c:v>All Others</c:v>
                </c:pt>
                <c:pt idx="1127">
                  <c:v>All Others</c:v>
                </c:pt>
                <c:pt idx="1128">
                  <c:v>All Others</c:v>
                </c:pt>
                <c:pt idx="1129">
                  <c:v>All Others</c:v>
                </c:pt>
                <c:pt idx="1130">
                  <c:v>All Others</c:v>
                </c:pt>
                <c:pt idx="1131">
                  <c:v>All Others</c:v>
                </c:pt>
                <c:pt idx="1132">
                  <c:v>All Others</c:v>
                </c:pt>
                <c:pt idx="1133">
                  <c:v>Baillon</c:v>
                </c:pt>
                <c:pt idx="1134">
                  <c:v>All Others</c:v>
                </c:pt>
                <c:pt idx="1135">
                  <c:v>All Others</c:v>
                </c:pt>
                <c:pt idx="1136">
                  <c:v>All Others</c:v>
                </c:pt>
                <c:pt idx="1137">
                  <c:v>All Others</c:v>
                </c:pt>
                <c:pt idx="1138">
                  <c:v>All Others</c:v>
                </c:pt>
                <c:pt idx="1139">
                  <c:v>All Others</c:v>
                </c:pt>
                <c:pt idx="1140">
                  <c:v>All Others</c:v>
                </c:pt>
                <c:pt idx="1141">
                  <c:v>Milleret</c:v>
                </c:pt>
                <c:pt idx="1142">
                  <c:v>All Others</c:v>
                </c:pt>
                <c:pt idx="1143">
                  <c:v>All Others</c:v>
                </c:pt>
                <c:pt idx="1144">
                  <c:v>All Others</c:v>
                </c:pt>
                <c:pt idx="1145">
                  <c:v>All Others</c:v>
                </c:pt>
                <c:pt idx="1146">
                  <c:v>All Others</c:v>
                </c:pt>
                <c:pt idx="1147">
                  <c:v>All Others</c:v>
                </c:pt>
                <c:pt idx="1148">
                  <c:v>All Others</c:v>
                </c:pt>
                <c:pt idx="1149">
                  <c:v>Vivaldi</c:v>
                </c:pt>
                <c:pt idx="1150">
                  <c:v>All Others</c:v>
                </c:pt>
                <c:pt idx="1151">
                  <c:v>All Others</c:v>
                </c:pt>
                <c:pt idx="1152">
                  <c:v>Lindahls Pr</c:v>
                </c:pt>
                <c:pt idx="1153">
                  <c:v>All Others</c:v>
                </c:pt>
                <c:pt idx="1154">
                  <c:v>All Others</c:v>
                </c:pt>
                <c:pt idx="1155">
                  <c:v>All Others</c:v>
                </c:pt>
                <c:pt idx="1156">
                  <c:v>Milleret</c:v>
                </c:pt>
                <c:pt idx="1157">
                  <c:v>All Others</c:v>
                </c:pt>
                <c:pt idx="1158">
                  <c:v>All Others</c:v>
                </c:pt>
                <c:pt idx="1159">
                  <c:v>All Others</c:v>
                </c:pt>
                <c:pt idx="1160">
                  <c:v>All Others</c:v>
                </c:pt>
                <c:pt idx="1161">
                  <c:v>Raguin</c:v>
                </c:pt>
                <c:pt idx="1162">
                  <c:v>All Others</c:v>
                </c:pt>
                <c:pt idx="1163">
                  <c:v>All Others</c:v>
                </c:pt>
                <c:pt idx="1164">
                  <c:v>All Others</c:v>
                </c:pt>
                <c:pt idx="1165">
                  <c:v>All Others</c:v>
                </c:pt>
                <c:pt idx="1166">
                  <c:v>All Others</c:v>
                </c:pt>
                <c:pt idx="1167">
                  <c:v>Paysan Bret</c:v>
                </c:pt>
                <c:pt idx="1168">
                  <c:v>All Others</c:v>
                </c:pt>
                <c:pt idx="1169">
                  <c:v>Casa Sant</c:v>
                </c:pt>
                <c:pt idx="1170">
                  <c:v>All Others</c:v>
                </c:pt>
                <c:pt idx="1171">
                  <c:v>All Others</c:v>
                </c:pt>
                <c:pt idx="1172">
                  <c:v>All Others</c:v>
                </c:pt>
                <c:pt idx="1173">
                  <c:v>Limiano</c:v>
                </c:pt>
                <c:pt idx="1174">
                  <c:v>All Others</c:v>
                </c:pt>
                <c:pt idx="1175">
                  <c:v>All Others</c:v>
                </c:pt>
                <c:pt idx="1176">
                  <c:v>All Others</c:v>
                </c:pt>
                <c:pt idx="1177">
                  <c:v>All Others</c:v>
                </c:pt>
                <c:pt idx="1178">
                  <c:v>All Others</c:v>
                </c:pt>
                <c:pt idx="1179">
                  <c:v>All Others</c:v>
                </c:pt>
                <c:pt idx="1180">
                  <c:v>All Others</c:v>
                </c:pt>
                <c:pt idx="1181">
                  <c:v>All Others</c:v>
                </c:pt>
                <c:pt idx="1182">
                  <c:v>Raguin</c:v>
                </c:pt>
                <c:pt idx="1183">
                  <c:v>All Others</c:v>
                </c:pt>
                <c:pt idx="1184">
                  <c:v>All Others</c:v>
                </c:pt>
                <c:pt idx="1185">
                  <c:v>All Others</c:v>
                </c:pt>
                <c:pt idx="1186">
                  <c:v>All Others</c:v>
                </c:pt>
                <c:pt idx="1187">
                  <c:v>All Others</c:v>
                </c:pt>
                <c:pt idx="1188">
                  <c:v>All Others</c:v>
                </c:pt>
                <c:pt idx="1189">
                  <c:v>All Others</c:v>
                </c:pt>
                <c:pt idx="1190">
                  <c:v>Raguin</c:v>
                </c:pt>
                <c:pt idx="1191">
                  <c:v>All Others</c:v>
                </c:pt>
                <c:pt idx="1192">
                  <c:v>All Others</c:v>
                </c:pt>
                <c:pt idx="1193">
                  <c:v>All Others</c:v>
                </c:pt>
                <c:pt idx="1194">
                  <c:v>All Others</c:v>
                </c:pt>
                <c:pt idx="1195">
                  <c:v>All Others</c:v>
                </c:pt>
                <c:pt idx="1196">
                  <c:v>All Others</c:v>
                </c:pt>
                <c:pt idx="1197">
                  <c:v>All Others</c:v>
                </c:pt>
                <c:pt idx="1198">
                  <c:v>All Others</c:v>
                </c:pt>
                <c:pt idx="1199">
                  <c:v>All Others</c:v>
                </c:pt>
                <c:pt idx="1200">
                  <c:v>All Others</c:v>
                </c:pt>
                <c:pt idx="1201">
                  <c:v>All Others</c:v>
                </c:pt>
                <c:pt idx="1202">
                  <c:v>Etoile Du V</c:v>
                </c:pt>
                <c:pt idx="1203">
                  <c:v>All Others</c:v>
                </c:pt>
                <c:pt idx="1204">
                  <c:v>All Others</c:v>
                </c:pt>
                <c:pt idx="1205">
                  <c:v>All Others</c:v>
                </c:pt>
                <c:pt idx="1206">
                  <c:v>All Others</c:v>
                </c:pt>
                <c:pt idx="1207">
                  <c:v>All Others</c:v>
                </c:pt>
                <c:pt idx="1208">
                  <c:v>All Others</c:v>
                </c:pt>
                <c:pt idx="1209">
                  <c:v>All Others</c:v>
                </c:pt>
                <c:pt idx="1210">
                  <c:v>All Others</c:v>
                </c:pt>
                <c:pt idx="1211">
                  <c:v>Etoile Du V</c:v>
                </c:pt>
                <c:pt idx="1212">
                  <c:v>All Others</c:v>
                </c:pt>
                <c:pt idx="1213">
                  <c:v>All Others</c:v>
                </c:pt>
                <c:pt idx="1214">
                  <c:v>All Others</c:v>
                </c:pt>
                <c:pt idx="1215">
                  <c:v>Lactalis: A</c:v>
                </c:pt>
                <c:pt idx="1216">
                  <c:v>All Others</c:v>
                </c:pt>
                <c:pt idx="1217">
                  <c:v>Raguin</c:v>
                </c:pt>
                <c:pt idx="1218">
                  <c:v>All Others</c:v>
                </c:pt>
                <c:pt idx="1219">
                  <c:v>All Others</c:v>
                </c:pt>
                <c:pt idx="1220">
                  <c:v>All Others</c:v>
                </c:pt>
                <c:pt idx="1221">
                  <c:v>All Others</c:v>
                </c:pt>
                <c:pt idx="1222">
                  <c:v>All Others</c:v>
                </c:pt>
                <c:pt idx="1223">
                  <c:v>All Others</c:v>
                </c:pt>
                <c:pt idx="1224">
                  <c:v>All Others</c:v>
                </c:pt>
                <c:pt idx="1225">
                  <c:v>Raguin</c:v>
                </c:pt>
                <c:pt idx="1226">
                  <c:v>All Others</c:v>
                </c:pt>
                <c:pt idx="1227">
                  <c:v>All Others</c:v>
                </c:pt>
                <c:pt idx="1228">
                  <c:v>All Others</c:v>
                </c:pt>
                <c:pt idx="1229">
                  <c:v>Rians</c:v>
                </c:pt>
                <c:pt idx="1230">
                  <c:v>All Others</c:v>
                </c:pt>
                <c:pt idx="1231">
                  <c:v>All Others</c:v>
                </c:pt>
                <c:pt idx="1232">
                  <c:v>All Others</c:v>
                </c:pt>
                <c:pt idx="1233">
                  <c:v>All Others</c:v>
                </c:pt>
                <c:pt idx="1234">
                  <c:v>Raguin</c:v>
                </c:pt>
                <c:pt idx="1235">
                  <c:v>All Others</c:v>
                </c:pt>
                <c:pt idx="1236">
                  <c:v>All Others</c:v>
                </c:pt>
                <c:pt idx="1237">
                  <c:v>All Others</c:v>
                </c:pt>
                <c:pt idx="1238">
                  <c:v>All Others</c:v>
                </c:pt>
                <c:pt idx="1239">
                  <c:v>All Others</c:v>
                </c:pt>
                <c:pt idx="1240">
                  <c:v>All Others</c:v>
                </c:pt>
                <c:pt idx="1241">
                  <c:v>All Others</c:v>
                </c:pt>
                <c:pt idx="1242">
                  <c:v>All Others</c:v>
                </c:pt>
                <c:pt idx="1243">
                  <c:v>All Others</c:v>
                </c:pt>
                <c:pt idx="1244">
                  <c:v>All Others</c:v>
                </c:pt>
                <c:pt idx="1245">
                  <c:v>All Others</c:v>
                </c:pt>
                <c:pt idx="1246">
                  <c:v>Ambrosi</c:v>
                </c:pt>
                <c:pt idx="1247">
                  <c:v>Raguin</c:v>
                </c:pt>
                <c:pt idx="1248">
                  <c:v>All Others</c:v>
                </c:pt>
                <c:pt idx="1249">
                  <c:v>All Others</c:v>
                </c:pt>
                <c:pt idx="1250">
                  <c:v>All Others</c:v>
                </c:pt>
                <c:pt idx="1251">
                  <c:v>Savall</c:v>
                </c:pt>
                <c:pt idx="1252">
                  <c:v>Raguin</c:v>
                </c:pt>
                <c:pt idx="1253">
                  <c:v>All Others</c:v>
                </c:pt>
                <c:pt idx="1254">
                  <c:v>All Others</c:v>
                </c:pt>
                <c:pt idx="1255">
                  <c:v>All Others</c:v>
                </c:pt>
                <c:pt idx="1256">
                  <c:v>Jperrin</c:v>
                </c:pt>
                <c:pt idx="1257">
                  <c:v>Gillot</c:v>
                </c:pt>
                <c:pt idx="1258">
                  <c:v>All Others</c:v>
                </c:pt>
                <c:pt idx="1259">
                  <c:v>All Others</c:v>
                </c:pt>
                <c:pt idx="1260">
                  <c:v>All Others</c:v>
                </c:pt>
                <c:pt idx="1261">
                  <c:v>Limiano</c:v>
                </c:pt>
                <c:pt idx="1262">
                  <c:v>All Others</c:v>
                </c:pt>
                <c:pt idx="1263">
                  <c:v>All Others</c:v>
                </c:pt>
                <c:pt idx="1264">
                  <c:v>All Others</c:v>
                </c:pt>
                <c:pt idx="1265">
                  <c:v>Etoile Du V</c:v>
                </c:pt>
                <c:pt idx="1266">
                  <c:v>Pave D'Affi</c:v>
                </c:pt>
                <c:pt idx="1267">
                  <c:v>All Others</c:v>
                </c:pt>
                <c:pt idx="1268">
                  <c:v>All Others</c:v>
                </c:pt>
                <c:pt idx="1269">
                  <c:v>Rians</c:v>
                </c:pt>
                <c:pt idx="1270">
                  <c:v>All Others</c:v>
                </c:pt>
                <c:pt idx="1271">
                  <c:v>All Others</c:v>
                </c:pt>
                <c:pt idx="1272">
                  <c:v>All Others</c:v>
                </c:pt>
                <c:pt idx="1273">
                  <c:v>All Others</c:v>
                </c:pt>
                <c:pt idx="1274">
                  <c:v>Raguin</c:v>
                </c:pt>
                <c:pt idx="1275">
                  <c:v>All Others</c:v>
                </c:pt>
                <c:pt idx="1276">
                  <c:v>All Others</c:v>
                </c:pt>
                <c:pt idx="1277">
                  <c:v>All Others</c:v>
                </c:pt>
                <c:pt idx="1278">
                  <c:v>All Others</c:v>
                </c:pt>
                <c:pt idx="1279">
                  <c:v>All Others</c:v>
                </c:pt>
                <c:pt idx="1280">
                  <c:v>All Others</c:v>
                </c:pt>
                <c:pt idx="1281">
                  <c:v>All Others</c:v>
                </c:pt>
                <c:pt idx="1282">
                  <c:v>All Others</c:v>
                </c:pt>
                <c:pt idx="1283">
                  <c:v>All Others</c:v>
                </c:pt>
                <c:pt idx="1284">
                  <c:v>All Others</c:v>
                </c:pt>
                <c:pt idx="1285">
                  <c:v>All Others</c:v>
                </c:pt>
                <c:pt idx="1286">
                  <c:v>Jperrin</c:v>
                </c:pt>
                <c:pt idx="1287">
                  <c:v>All Others</c:v>
                </c:pt>
                <c:pt idx="1288">
                  <c:v>All Others</c:v>
                </c:pt>
                <c:pt idx="1289">
                  <c:v>All Others</c:v>
                </c:pt>
                <c:pt idx="1290">
                  <c:v>All Others</c:v>
                </c:pt>
                <c:pt idx="1291">
                  <c:v>All Others</c:v>
                </c:pt>
                <c:pt idx="1292">
                  <c:v>All Others</c:v>
                </c:pt>
                <c:pt idx="1293">
                  <c:v>All Others</c:v>
                </c:pt>
                <c:pt idx="1294">
                  <c:v>All Others</c:v>
                </c:pt>
                <c:pt idx="1295">
                  <c:v>All Others</c:v>
                </c:pt>
                <c:pt idx="1296">
                  <c:v>All Others</c:v>
                </c:pt>
                <c:pt idx="1297">
                  <c:v>Raguin</c:v>
                </c:pt>
                <c:pt idx="1298">
                  <c:v>All Others</c:v>
                </c:pt>
                <c:pt idx="1299">
                  <c:v>All Others</c:v>
                </c:pt>
                <c:pt idx="1300">
                  <c:v>Savencia: A</c:v>
                </c:pt>
                <c:pt idx="1301">
                  <c:v>All Others</c:v>
                </c:pt>
                <c:pt idx="1302">
                  <c:v>Lincet</c:v>
                </c:pt>
                <c:pt idx="1303">
                  <c:v>All Others</c:v>
                </c:pt>
                <c:pt idx="1304">
                  <c:v>All Others</c:v>
                </c:pt>
                <c:pt idx="1305">
                  <c:v>All Others</c:v>
                </c:pt>
                <c:pt idx="1306">
                  <c:v>All Others</c:v>
                </c:pt>
                <c:pt idx="1307">
                  <c:v>All Others</c:v>
                </c:pt>
                <c:pt idx="1308">
                  <c:v>All Others</c:v>
                </c:pt>
                <c:pt idx="1309">
                  <c:v>All Others</c:v>
                </c:pt>
                <c:pt idx="1310">
                  <c:v>All Others</c:v>
                </c:pt>
                <c:pt idx="1311">
                  <c:v>Dodin</c:v>
                </c:pt>
                <c:pt idx="1312">
                  <c:v>All Others</c:v>
                </c:pt>
                <c:pt idx="1313">
                  <c:v>All Others</c:v>
                </c:pt>
                <c:pt idx="1314">
                  <c:v>All Others</c:v>
                </c:pt>
                <c:pt idx="1315">
                  <c:v>All Others</c:v>
                </c:pt>
                <c:pt idx="1316">
                  <c:v>All Others</c:v>
                </c:pt>
                <c:pt idx="1317">
                  <c:v>Gillot</c:v>
                </c:pt>
                <c:pt idx="1318">
                  <c:v>Pave D'Affi</c:v>
                </c:pt>
                <c:pt idx="1319">
                  <c:v>All Others</c:v>
                </c:pt>
                <c:pt idx="1320">
                  <c:v>All Others</c:v>
                </c:pt>
                <c:pt idx="1321">
                  <c:v>All Others</c:v>
                </c:pt>
                <c:pt idx="1322">
                  <c:v>All Others</c:v>
                </c:pt>
                <c:pt idx="1323">
                  <c:v>All Others</c:v>
                </c:pt>
                <c:pt idx="1324">
                  <c:v>All Others</c:v>
                </c:pt>
                <c:pt idx="1325">
                  <c:v>All Others</c:v>
                </c:pt>
                <c:pt idx="1326">
                  <c:v>Tomasoni</c:v>
                </c:pt>
                <c:pt idx="1327">
                  <c:v>All Others</c:v>
                </c:pt>
                <c:pt idx="1328">
                  <c:v>All Others</c:v>
                </c:pt>
                <c:pt idx="1329">
                  <c:v>Casa Sant</c:v>
                </c:pt>
                <c:pt idx="1330">
                  <c:v>All Others</c:v>
                </c:pt>
                <c:pt idx="1331">
                  <c:v>All Others</c:v>
                </c:pt>
                <c:pt idx="1332">
                  <c:v>All Others</c:v>
                </c:pt>
                <c:pt idx="1333">
                  <c:v>All Others</c:v>
                </c:pt>
                <c:pt idx="1334">
                  <c:v>All Others</c:v>
                </c:pt>
                <c:pt idx="1335">
                  <c:v>All Others</c:v>
                </c:pt>
                <c:pt idx="1336">
                  <c:v>All Others</c:v>
                </c:pt>
                <c:pt idx="1337">
                  <c:v>All Others</c:v>
                </c:pt>
                <c:pt idx="1338">
                  <c:v>All Others</c:v>
                </c:pt>
                <c:pt idx="1339">
                  <c:v>All Others</c:v>
                </c:pt>
                <c:pt idx="1340">
                  <c:v>All Others</c:v>
                </c:pt>
                <c:pt idx="1341">
                  <c:v>All Others</c:v>
                </c:pt>
                <c:pt idx="1342">
                  <c:v>All Others</c:v>
                </c:pt>
                <c:pt idx="1343">
                  <c:v>All Others</c:v>
                </c:pt>
                <c:pt idx="1344">
                  <c:v>All Others</c:v>
                </c:pt>
                <c:pt idx="1345">
                  <c:v>All Others</c:v>
                </c:pt>
                <c:pt idx="1346">
                  <c:v>All Others</c:v>
                </c:pt>
                <c:pt idx="1347">
                  <c:v>All Others</c:v>
                </c:pt>
                <c:pt idx="1348">
                  <c:v>All Others</c:v>
                </c:pt>
                <c:pt idx="1349">
                  <c:v>All Others</c:v>
                </c:pt>
                <c:pt idx="1350">
                  <c:v>All Others</c:v>
                </c:pt>
                <c:pt idx="1351">
                  <c:v>All Others</c:v>
                </c:pt>
                <c:pt idx="1352">
                  <c:v>All Others</c:v>
                </c:pt>
                <c:pt idx="1353">
                  <c:v>All Others</c:v>
                </c:pt>
                <c:pt idx="1354">
                  <c:v>All Others</c:v>
                </c:pt>
                <c:pt idx="1355">
                  <c:v>All Others</c:v>
                </c:pt>
                <c:pt idx="1356">
                  <c:v>All Others</c:v>
                </c:pt>
                <c:pt idx="1357">
                  <c:v>All Others</c:v>
                </c:pt>
                <c:pt idx="1358">
                  <c:v>All Others</c:v>
                </c:pt>
                <c:pt idx="1359">
                  <c:v>All Others</c:v>
                </c:pt>
                <c:pt idx="1360">
                  <c:v>Raguin</c:v>
                </c:pt>
                <c:pt idx="1361">
                  <c:v>All Others</c:v>
                </c:pt>
                <c:pt idx="1362">
                  <c:v>All Others</c:v>
                </c:pt>
                <c:pt idx="1363">
                  <c:v>All Others</c:v>
                </c:pt>
                <c:pt idx="1364">
                  <c:v>All Others</c:v>
                </c:pt>
                <c:pt idx="1365">
                  <c:v>All Others</c:v>
                </c:pt>
                <c:pt idx="1366">
                  <c:v>All Others</c:v>
                </c:pt>
                <c:pt idx="1367">
                  <c:v>All Others</c:v>
                </c:pt>
                <c:pt idx="1368">
                  <c:v>All Others</c:v>
                </c:pt>
                <c:pt idx="1369">
                  <c:v>All Others</c:v>
                </c:pt>
                <c:pt idx="1370">
                  <c:v>All Others</c:v>
                </c:pt>
                <c:pt idx="1371">
                  <c:v>All Others</c:v>
                </c:pt>
                <c:pt idx="1372">
                  <c:v>All Others</c:v>
                </c:pt>
                <c:pt idx="1373">
                  <c:v>All Others</c:v>
                </c:pt>
                <c:pt idx="1374">
                  <c:v>All Others</c:v>
                </c:pt>
                <c:pt idx="1375">
                  <c:v>All Others</c:v>
                </c:pt>
                <c:pt idx="1376">
                  <c:v>All Others</c:v>
                </c:pt>
                <c:pt idx="1377">
                  <c:v>All Others</c:v>
                </c:pt>
                <c:pt idx="1378">
                  <c:v>All Others</c:v>
                </c:pt>
                <c:pt idx="1379">
                  <c:v>All Others</c:v>
                </c:pt>
                <c:pt idx="1380">
                  <c:v>All Others</c:v>
                </c:pt>
                <c:pt idx="1381">
                  <c:v>All Others</c:v>
                </c:pt>
                <c:pt idx="1382">
                  <c:v>All Others</c:v>
                </c:pt>
                <c:pt idx="1383">
                  <c:v>All Others</c:v>
                </c:pt>
                <c:pt idx="1384">
                  <c:v>All Others</c:v>
                </c:pt>
                <c:pt idx="1385">
                  <c:v>All Others</c:v>
                </c:pt>
                <c:pt idx="1386">
                  <c:v>All Others</c:v>
                </c:pt>
                <c:pt idx="1387">
                  <c:v>Vivaldi</c:v>
                </c:pt>
                <c:pt idx="1388">
                  <c:v>Raguin</c:v>
                </c:pt>
                <c:pt idx="1389">
                  <c:v>Raguin</c:v>
                </c:pt>
                <c:pt idx="1390">
                  <c:v>All Others</c:v>
                </c:pt>
                <c:pt idx="1391">
                  <c:v>All Others</c:v>
                </c:pt>
                <c:pt idx="1392">
                  <c:v>All Others</c:v>
                </c:pt>
                <c:pt idx="1393">
                  <c:v>All Others</c:v>
                </c:pt>
                <c:pt idx="1394">
                  <c:v>All Others</c:v>
                </c:pt>
                <c:pt idx="1395">
                  <c:v>All Others</c:v>
                </c:pt>
                <c:pt idx="1396">
                  <c:v>All Others</c:v>
                </c:pt>
                <c:pt idx="1397">
                  <c:v>All Others</c:v>
                </c:pt>
                <c:pt idx="1398">
                  <c:v>All Others</c:v>
                </c:pt>
                <c:pt idx="1399">
                  <c:v>All Others</c:v>
                </c:pt>
                <c:pt idx="1400">
                  <c:v>All Others</c:v>
                </c:pt>
                <c:pt idx="1401">
                  <c:v>Casa Azzur</c:v>
                </c:pt>
                <c:pt idx="1402">
                  <c:v>All Others</c:v>
                </c:pt>
                <c:pt idx="1403">
                  <c:v>All Others</c:v>
                </c:pt>
                <c:pt idx="1404">
                  <c:v>All Others</c:v>
                </c:pt>
                <c:pt idx="1405">
                  <c:v>All Others</c:v>
                </c:pt>
                <c:pt idx="1406">
                  <c:v>All Others</c:v>
                </c:pt>
                <c:pt idx="1407">
                  <c:v>All Others</c:v>
                </c:pt>
                <c:pt idx="1408">
                  <c:v>All Others</c:v>
                </c:pt>
                <c:pt idx="1409">
                  <c:v>All Others</c:v>
                </c:pt>
                <c:pt idx="1410">
                  <c:v>All Others</c:v>
                </c:pt>
                <c:pt idx="1411">
                  <c:v>All Others</c:v>
                </c:pt>
                <c:pt idx="1412">
                  <c:v>All Others</c:v>
                </c:pt>
                <c:pt idx="1413">
                  <c:v>Gioiella</c:v>
                </c:pt>
                <c:pt idx="1414">
                  <c:v>All Others</c:v>
                </c:pt>
                <c:pt idx="1415">
                  <c:v>All Others</c:v>
                </c:pt>
                <c:pt idx="1416">
                  <c:v>Savencia: A</c:v>
                </c:pt>
                <c:pt idx="1417">
                  <c:v>All Others</c:v>
                </c:pt>
                <c:pt idx="1418">
                  <c:v>Lactalis: A</c:v>
                </c:pt>
                <c:pt idx="1419">
                  <c:v>All Others</c:v>
                </c:pt>
                <c:pt idx="1420">
                  <c:v>All Others</c:v>
                </c:pt>
                <c:pt idx="1421">
                  <c:v>All Others</c:v>
                </c:pt>
                <c:pt idx="1422">
                  <c:v>No Informat</c:v>
                </c:pt>
                <c:pt idx="1423">
                  <c:v>All Others</c:v>
                </c:pt>
                <c:pt idx="1424">
                  <c:v>All Others</c:v>
                </c:pt>
                <c:pt idx="1425">
                  <c:v>All Others</c:v>
                </c:pt>
                <c:pt idx="1426">
                  <c:v>All Others</c:v>
                </c:pt>
                <c:pt idx="1427">
                  <c:v>All Others</c:v>
                </c:pt>
                <c:pt idx="1428">
                  <c:v>All Others</c:v>
                </c:pt>
                <c:pt idx="1429">
                  <c:v>All Others</c:v>
                </c:pt>
                <c:pt idx="1430">
                  <c:v>All Others</c:v>
                </c:pt>
                <c:pt idx="1431">
                  <c:v>All Others</c:v>
                </c:pt>
                <c:pt idx="1432">
                  <c:v>Delamelie</c:v>
                </c:pt>
                <c:pt idx="1433">
                  <c:v>All Others</c:v>
                </c:pt>
                <c:pt idx="1434">
                  <c:v>Caprice Des</c:v>
                </c:pt>
                <c:pt idx="1435">
                  <c:v>Private Lab</c:v>
                </c:pt>
                <c:pt idx="1436">
                  <c:v>Alsacelait</c:v>
                </c:pt>
                <c:pt idx="1437">
                  <c:v>All Others</c:v>
                </c:pt>
                <c:pt idx="1438">
                  <c:v>All Others</c:v>
                </c:pt>
                <c:pt idx="1439">
                  <c:v>All Others</c:v>
                </c:pt>
                <c:pt idx="1440">
                  <c:v>All Others</c:v>
                </c:pt>
                <c:pt idx="1441">
                  <c:v>All Others</c:v>
                </c:pt>
                <c:pt idx="1442">
                  <c:v>Ambrosi</c:v>
                </c:pt>
                <c:pt idx="1443">
                  <c:v>All Others</c:v>
                </c:pt>
                <c:pt idx="1444">
                  <c:v>All Others</c:v>
                </c:pt>
                <c:pt idx="1445">
                  <c:v>Pochat</c:v>
                </c:pt>
                <c:pt idx="1446">
                  <c:v>All Others</c:v>
                </c:pt>
                <c:pt idx="1447">
                  <c:v>All Others</c:v>
                </c:pt>
                <c:pt idx="1448">
                  <c:v>Richesmonts</c:v>
                </c:pt>
                <c:pt idx="1449">
                  <c:v>All Others</c:v>
                </c:pt>
                <c:pt idx="1450">
                  <c:v>All Others</c:v>
                </c:pt>
                <c:pt idx="1451">
                  <c:v>All Others</c:v>
                </c:pt>
                <c:pt idx="1452">
                  <c:v>Milleret: A</c:v>
                </c:pt>
                <c:pt idx="1453">
                  <c:v>All Others</c:v>
                </c:pt>
                <c:pt idx="1454">
                  <c:v>Ambrosi</c:v>
                </c:pt>
                <c:pt idx="1455">
                  <c:v>All Others</c:v>
                </c:pt>
                <c:pt idx="1456">
                  <c:v>All Others</c:v>
                </c:pt>
                <c:pt idx="1457">
                  <c:v>All Others</c:v>
                </c:pt>
                <c:pt idx="1458">
                  <c:v>Private Lab</c:v>
                </c:pt>
                <c:pt idx="1459">
                  <c:v>All Others</c:v>
                </c:pt>
                <c:pt idx="1460">
                  <c:v>All Others</c:v>
                </c:pt>
                <c:pt idx="1461">
                  <c:v>All Others</c:v>
                </c:pt>
                <c:pt idx="1462">
                  <c:v>Pochat</c:v>
                </c:pt>
                <c:pt idx="1463">
                  <c:v>All Others</c:v>
                </c:pt>
                <c:pt idx="1464">
                  <c:v>All Others</c:v>
                </c:pt>
                <c:pt idx="1465">
                  <c:v>All Others</c:v>
                </c:pt>
                <c:pt idx="1466">
                  <c:v>Private Lab</c:v>
                </c:pt>
                <c:pt idx="1467">
                  <c:v>Pays Auge</c:v>
                </c:pt>
                <c:pt idx="1468">
                  <c:v>Private Lab</c:v>
                </c:pt>
                <c:pt idx="1469">
                  <c:v>All Others</c:v>
                </c:pt>
                <c:pt idx="1470">
                  <c:v>Lactalis: A</c:v>
                </c:pt>
                <c:pt idx="1471">
                  <c:v>Laiteries H</c:v>
                </c:pt>
                <c:pt idx="1472">
                  <c:v>All Others</c:v>
                </c:pt>
                <c:pt idx="1473">
                  <c:v>All Others</c:v>
                </c:pt>
                <c:pt idx="1474">
                  <c:v>All Others</c:v>
                </c:pt>
                <c:pt idx="1475">
                  <c:v>All Others</c:v>
                </c:pt>
                <c:pt idx="1476">
                  <c:v>Private Lab</c:v>
                </c:pt>
                <c:pt idx="1477">
                  <c:v>All Others</c:v>
                </c:pt>
                <c:pt idx="1478">
                  <c:v>La Vache Qu</c:v>
                </c:pt>
                <c:pt idx="1479">
                  <c:v>All Others</c:v>
                </c:pt>
                <c:pt idx="1480">
                  <c:v>All Others</c:v>
                </c:pt>
                <c:pt idx="1481">
                  <c:v>All Others</c:v>
                </c:pt>
                <c:pt idx="1482">
                  <c:v>All Others</c:v>
                </c:pt>
                <c:pt idx="1483">
                  <c:v>All Others</c:v>
                </c:pt>
                <c:pt idx="1484">
                  <c:v>All Others</c:v>
                </c:pt>
                <c:pt idx="1485">
                  <c:v>All Others</c:v>
                </c:pt>
                <c:pt idx="1486">
                  <c:v>Gillot</c:v>
                </c:pt>
                <c:pt idx="1487">
                  <c:v>All Others</c:v>
                </c:pt>
                <c:pt idx="1488">
                  <c:v>All Others</c:v>
                </c:pt>
                <c:pt idx="1489">
                  <c:v>Private Lab</c:v>
                </c:pt>
                <c:pt idx="1490">
                  <c:v>All Others</c:v>
                </c:pt>
                <c:pt idx="1491">
                  <c:v>All Others</c:v>
                </c:pt>
                <c:pt idx="1492">
                  <c:v>Private Lab</c:v>
                </c:pt>
                <c:pt idx="1493">
                  <c:v>All Others</c:v>
                </c:pt>
                <c:pt idx="1494">
                  <c:v>All Others</c:v>
                </c:pt>
                <c:pt idx="1495">
                  <c:v>Lactalis: A</c:v>
                </c:pt>
                <c:pt idx="1496">
                  <c:v>Private Lab</c:v>
                </c:pt>
                <c:pt idx="1497">
                  <c:v>All Others</c:v>
                </c:pt>
                <c:pt idx="1498">
                  <c:v>R Du Nord</c:v>
                </c:pt>
                <c:pt idx="1499">
                  <c:v>All Others</c:v>
                </c:pt>
                <c:pt idx="1500">
                  <c:v>All Others</c:v>
                </c:pt>
                <c:pt idx="1501">
                  <c:v>All Others</c:v>
                </c:pt>
                <c:pt idx="1502">
                  <c:v>Private Lab</c:v>
                </c:pt>
                <c:pt idx="1503">
                  <c:v>All Others</c:v>
                </c:pt>
                <c:pt idx="1504">
                  <c:v>All Others</c:v>
                </c:pt>
                <c:pt idx="1505">
                  <c:v>All Others</c:v>
                </c:pt>
                <c:pt idx="1506">
                  <c:v>Private Lab</c:v>
                </c:pt>
                <c:pt idx="1507">
                  <c:v>Chirag</c:v>
                </c:pt>
                <c:pt idx="1508">
                  <c:v>Etoile Du V</c:v>
                </c:pt>
                <c:pt idx="1509">
                  <c:v>Gillot</c:v>
                </c:pt>
                <c:pt idx="1510">
                  <c:v>All Others</c:v>
                </c:pt>
                <c:pt idx="1511">
                  <c:v>All Others</c:v>
                </c:pt>
                <c:pt idx="1512">
                  <c:v>All Others</c:v>
                </c:pt>
                <c:pt idx="1513">
                  <c:v>All Others</c:v>
                </c:pt>
                <c:pt idx="1514">
                  <c:v>Private Lab</c:v>
                </c:pt>
                <c:pt idx="1515">
                  <c:v>Leerdammer</c:v>
                </c:pt>
                <c:pt idx="1516">
                  <c:v>All Others</c:v>
                </c:pt>
                <c:pt idx="1517">
                  <c:v>All Others</c:v>
                </c:pt>
                <c:pt idx="1518">
                  <c:v>Lactalis: A</c:v>
                </c:pt>
                <c:pt idx="1519">
                  <c:v>All Others</c:v>
                </c:pt>
                <c:pt idx="1520">
                  <c:v>Duo Lozere</c:v>
                </c:pt>
                <c:pt idx="1521">
                  <c:v>Pochat</c:v>
                </c:pt>
                <c:pt idx="1522">
                  <c:v>Pave D'Affi</c:v>
                </c:pt>
                <c:pt idx="1523">
                  <c:v>All Others</c:v>
                </c:pt>
                <c:pt idx="1524">
                  <c:v>All Others</c:v>
                </c:pt>
                <c:pt idx="1525">
                  <c:v>All Others</c:v>
                </c:pt>
                <c:pt idx="1526">
                  <c:v>Private Lab</c:v>
                </c:pt>
                <c:pt idx="1527">
                  <c:v>All Others</c:v>
                </c:pt>
                <c:pt idx="1528">
                  <c:v>All Others</c:v>
                </c:pt>
                <c:pt idx="1529">
                  <c:v>All Others</c:v>
                </c:pt>
                <c:pt idx="1530">
                  <c:v>Private Lab</c:v>
                </c:pt>
                <c:pt idx="1531">
                  <c:v>All Others</c:v>
                </c:pt>
                <c:pt idx="1532">
                  <c:v>All Others</c:v>
                </c:pt>
                <c:pt idx="1533">
                  <c:v>All Others</c:v>
                </c:pt>
                <c:pt idx="1534">
                  <c:v>Netto</c:v>
                </c:pt>
                <c:pt idx="1535">
                  <c:v>All Others</c:v>
                </c:pt>
                <c:pt idx="1536">
                  <c:v>All Others</c:v>
                </c:pt>
                <c:pt idx="1537">
                  <c:v>All Others</c:v>
                </c:pt>
                <c:pt idx="1538">
                  <c:v>Private Lab</c:v>
                </c:pt>
                <c:pt idx="1539">
                  <c:v>La Vache Qu</c:v>
                </c:pt>
                <c:pt idx="1540">
                  <c:v>Private Lab</c:v>
                </c:pt>
                <c:pt idx="1541">
                  <c:v>All Others</c:v>
                </c:pt>
                <c:pt idx="1542">
                  <c:v>All Others</c:v>
                </c:pt>
                <c:pt idx="1543">
                  <c:v>Private Lab</c:v>
                </c:pt>
                <c:pt idx="1544">
                  <c:v>All Others</c:v>
                </c:pt>
                <c:pt idx="1545">
                  <c:v>All Others</c:v>
                </c:pt>
                <c:pt idx="1546">
                  <c:v>All Others</c:v>
                </c:pt>
                <c:pt idx="1547">
                  <c:v>All Others</c:v>
                </c:pt>
                <c:pt idx="1548">
                  <c:v>All Others</c:v>
                </c:pt>
                <c:pt idx="1549">
                  <c:v>Private Lab</c:v>
                </c:pt>
                <c:pt idx="1550">
                  <c:v>Private Lab</c:v>
                </c:pt>
                <c:pt idx="1551">
                  <c:v>Private Lab</c:v>
                </c:pt>
                <c:pt idx="1552">
                  <c:v>Gillot</c:v>
                </c:pt>
                <c:pt idx="1553">
                  <c:v>All Others</c:v>
                </c:pt>
                <c:pt idx="1554">
                  <c:v>All Others</c:v>
                </c:pt>
                <c:pt idx="1555">
                  <c:v>All Others</c:v>
                </c:pt>
                <c:pt idx="1556">
                  <c:v>All Others</c:v>
                </c:pt>
                <c:pt idx="1557">
                  <c:v>Private Lab</c:v>
                </c:pt>
                <c:pt idx="1558">
                  <c:v>Private Lab</c:v>
                </c:pt>
                <c:pt idx="1559">
                  <c:v>Private Lab</c:v>
                </c:pt>
                <c:pt idx="1560">
                  <c:v>All Others</c:v>
                </c:pt>
                <c:pt idx="1561">
                  <c:v>All Others</c:v>
                </c:pt>
                <c:pt idx="1562">
                  <c:v>All Others</c:v>
                </c:pt>
                <c:pt idx="1563">
                  <c:v>All Others</c:v>
                </c:pt>
                <c:pt idx="1564">
                  <c:v>O'Tapas Ape</c:v>
                </c:pt>
                <c:pt idx="1565">
                  <c:v>All Others</c:v>
                </c:pt>
                <c:pt idx="1566">
                  <c:v>All Others</c:v>
                </c:pt>
                <c:pt idx="1567">
                  <c:v>All Others</c:v>
                </c:pt>
                <c:pt idx="1568">
                  <c:v>All Others</c:v>
                </c:pt>
                <c:pt idx="1569">
                  <c:v>Private Lab</c:v>
                </c:pt>
                <c:pt idx="1570">
                  <c:v>All Others</c:v>
                </c:pt>
                <c:pt idx="1571">
                  <c:v>Private Lab</c:v>
                </c:pt>
                <c:pt idx="1572">
                  <c:v>All Others</c:v>
                </c:pt>
                <c:pt idx="1573">
                  <c:v>Private Lab</c:v>
                </c:pt>
                <c:pt idx="1574">
                  <c:v>Private Lab</c:v>
                </c:pt>
                <c:pt idx="1575">
                  <c:v>O'Tapas Ape</c:v>
                </c:pt>
                <c:pt idx="1576">
                  <c:v>All Others</c:v>
                </c:pt>
                <c:pt idx="1577">
                  <c:v>All Others</c:v>
                </c:pt>
                <c:pt idx="1578">
                  <c:v>Apericube</c:v>
                </c:pt>
                <c:pt idx="1579">
                  <c:v>La Vache Qu</c:v>
                </c:pt>
                <c:pt idx="1580">
                  <c:v>All Others</c:v>
                </c:pt>
                <c:pt idx="1581">
                  <c:v>Societe</c:v>
                </c:pt>
                <c:pt idx="1582">
                  <c:v>Private Lab</c:v>
                </c:pt>
                <c:pt idx="1583">
                  <c:v>All Others</c:v>
                </c:pt>
                <c:pt idx="1584">
                  <c:v>Lactalis: A</c:v>
                </c:pt>
                <c:pt idx="1585">
                  <c:v>La Vache Qu</c:v>
                </c:pt>
                <c:pt idx="1586">
                  <c:v>All Others</c:v>
                </c:pt>
                <c:pt idx="1587">
                  <c:v>Bien Bon</c:v>
                </c:pt>
                <c:pt idx="1588">
                  <c:v>All Others</c:v>
                </c:pt>
                <c:pt idx="1589">
                  <c:v>All Others</c:v>
                </c:pt>
                <c:pt idx="1590">
                  <c:v>All Others</c:v>
                </c:pt>
                <c:pt idx="1591">
                  <c:v>All Others</c:v>
                </c:pt>
                <c:pt idx="1592">
                  <c:v>Lactalis: A</c:v>
                </c:pt>
                <c:pt idx="1593">
                  <c:v>All Others</c:v>
                </c:pt>
                <c:pt idx="1594">
                  <c:v>President</c:v>
                </c:pt>
                <c:pt idx="1595">
                  <c:v>Bien Bon</c:v>
                </c:pt>
                <c:pt idx="1596">
                  <c:v>Netto</c:v>
                </c:pt>
                <c:pt idx="1597">
                  <c:v>President</c:v>
                </c:pt>
                <c:pt idx="1598">
                  <c:v>Lactalis: A</c:v>
                </c:pt>
                <c:pt idx="1599">
                  <c:v>All Others</c:v>
                </c:pt>
                <c:pt idx="1600">
                  <c:v>Bien Bon</c:v>
                </c:pt>
              </c:strCache>
            </c:strRef>
          </c:cat>
          <c:val>
            <c:numRef>
              <c:f>Sheet1!$B$2:$B$1602</c:f>
              <c:numCache>
                <c:formatCode>General</c:formatCode>
                <c:ptCount val="1601"/>
                <c:pt idx="0">
                  <c:v>0.999</c:v>
                </c:pt>
                <c:pt idx="1">
                  <c:v>0.998</c:v>
                </c:pt>
                <c:pt idx="2">
                  <c:v>0.998</c:v>
                </c:pt>
                <c:pt idx="3">
                  <c:v>0.999</c:v>
                </c:pt>
                <c:pt idx="4">
                  <c:v>1.0</c:v>
                </c:pt>
                <c:pt idx="5">
                  <c:v>0.992</c:v>
                </c:pt>
                <c:pt idx="6">
                  <c:v>0.967</c:v>
                </c:pt>
                <c:pt idx="7">
                  <c:v>0.999</c:v>
                </c:pt>
                <c:pt idx="8">
                  <c:v>1.0</c:v>
                </c:pt>
                <c:pt idx="9">
                  <c:v>0.989</c:v>
                </c:pt>
                <c:pt idx="10">
                  <c:v>1.0</c:v>
                </c:pt>
                <c:pt idx="11">
                  <c:v>0.803</c:v>
                </c:pt>
                <c:pt idx="12">
                  <c:v>0.995</c:v>
                </c:pt>
                <c:pt idx="13">
                  <c:v>0.998</c:v>
                </c:pt>
                <c:pt idx="14">
                  <c:v>0.991</c:v>
                </c:pt>
                <c:pt idx="15">
                  <c:v>0.998</c:v>
                </c:pt>
                <c:pt idx="16">
                  <c:v>0.999</c:v>
                </c:pt>
                <c:pt idx="17">
                  <c:v>0.99</c:v>
                </c:pt>
                <c:pt idx="18">
                  <c:v>0.986</c:v>
                </c:pt>
                <c:pt idx="19">
                  <c:v>0.999</c:v>
                </c:pt>
                <c:pt idx="20">
                  <c:v>1.0</c:v>
                </c:pt>
                <c:pt idx="21">
                  <c:v>0.977</c:v>
                </c:pt>
                <c:pt idx="22">
                  <c:v>0.94</c:v>
                </c:pt>
                <c:pt idx="23">
                  <c:v>0.984</c:v>
                </c:pt>
                <c:pt idx="24">
                  <c:v>0.999</c:v>
                </c:pt>
                <c:pt idx="25">
                  <c:v>0.982</c:v>
                </c:pt>
                <c:pt idx="26">
                  <c:v>0.998</c:v>
                </c:pt>
                <c:pt idx="27">
                  <c:v>0.998</c:v>
                </c:pt>
                <c:pt idx="28">
                  <c:v>0.999</c:v>
                </c:pt>
                <c:pt idx="29">
                  <c:v>0.981</c:v>
                </c:pt>
                <c:pt idx="30">
                  <c:v>0.947</c:v>
                </c:pt>
                <c:pt idx="31">
                  <c:v>0.986</c:v>
                </c:pt>
                <c:pt idx="32">
                  <c:v>0.997</c:v>
                </c:pt>
                <c:pt idx="33">
                  <c:v>0.997</c:v>
                </c:pt>
                <c:pt idx="34">
                  <c:v>0.999</c:v>
                </c:pt>
                <c:pt idx="35">
                  <c:v>0.993</c:v>
                </c:pt>
                <c:pt idx="36">
                  <c:v>0.987</c:v>
                </c:pt>
                <c:pt idx="37">
                  <c:v>0.997</c:v>
                </c:pt>
                <c:pt idx="38">
                  <c:v>0.989</c:v>
                </c:pt>
                <c:pt idx="39">
                  <c:v>0.998</c:v>
                </c:pt>
                <c:pt idx="40">
                  <c:v>0.989</c:v>
                </c:pt>
                <c:pt idx="41">
                  <c:v>0.957</c:v>
                </c:pt>
                <c:pt idx="42">
                  <c:v>0.967</c:v>
                </c:pt>
                <c:pt idx="43">
                  <c:v>0.979</c:v>
                </c:pt>
                <c:pt idx="44">
                  <c:v>0.998</c:v>
                </c:pt>
                <c:pt idx="45">
                  <c:v>0.984</c:v>
                </c:pt>
                <c:pt idx="46">
                  <c:v>0.993</c:v>
                </c:pt>
                <c:pt idx="47">
                  <c:v>0.966</c:v>
                </c:pt>
                <c:pt idx="48">
                  <c:v>0.998</c:v>
                </c:pt>
                <c:pt idx="49">
                  <c:v>0.963</c:v>
                </c:pt>
                <c:pt idx="50">
                  <c:v>0.997</c:v>
                </c:pt>
                <c:pt idx="51">
                  <c:v>0.99</c:v>
                </c:pt>
                <c:pt idx="52">
                  <c:v>0.928</c:v>
                </c:pt>
                <c:pt idx="53">
                  <c:v>0.999</c:v>
                </c:pt>
                <c:pt idx="54">
                  <c:v>0.999</c:v>
                </c:pt>
                <c:pt idx="55">
                  <c:v>0.999</c:v>
                </c:pt>
                <c:pt idx="56">
                  <c:v>0.987</c:v>
                </c:pt>
                <c:pt idx="57">
                  <c:v>0.918</c:v>
                </c:pt>
                <c:pt idx="58">
                  <c:v>0.96</c:v>
                </c:pt>
                <c:pt idx="59">
                  <c:v>0.998</c:v>
                </c:pt>
                <c:pt idx="60">
                  <c:v>0.989</c:v>
                </c:pt>
                <c:pt idx="61">
                  <c:v>0.995</c:v>
                </c:pt>
                <c:pt idx="62">
                  <c:v>0.989</c:v>
                </c:pt>
                <c:pt idx="63">
                  <c:v>0.998</c:v>
                </c:pt>
                <c:pt idx="64">
                  <c:v>0.992</c:v>
                </c:pt>
                <c:pt idx="65">
                  <c:v>0.989</c:v>
                </c:pt>
                <c:pt idx="66">
                  <c:v>0.932</c:v>
                </c:pt>
                <c:pt idx="67">
                  <c:v>0.943</c:v>
                </c:pt>
                <c:pt idx="68">
                  <c:v>0.936</c:v>
                </c:pt>
                <c:pt idx="69">
                  <c:v>0.941</c:v>
                </c:pt>
                <c:pt idx="70">
                  <c:v>0.888</c:v>
                </c:pt>
                <c:pt idx="71">
                  <c:v>0.989</c:v>
                </c:pt>
                <c:pt idx="72">
                  <c:v>0.964</c:v>
                </c:pt>
                <c:pt idx="73">
                  <c:v>0.997</c:v>
                </c:pt>
                <c:pt idx="74">
                  <c:v>0.896</c:v>
                </c:pt>
                <c:pt idx="75">
                  <c:v>0.966</c:v>
                </c:pt>
                <c:pt idx="76">
                  <c:v>0.999</c:v>
                </c:pt>
                <c:pt idx="77">
                  <c:v>0.977</c:v>
                </c:pt>
                <c:pt idx="78">
                  <c:v>0.984</c:v>
                </c:pt>
                <c:pt idx="79">
                  <c:v>0.981</c:v>
                </c:pt>
                <c:pt idx="80">
                  <c:v>0.945</c:v>
                </c:pt>
                <c:pt idx="81">
                  <c:v>0.975</c:v>
                </c:pt>
                <c:pt idx="82">
                  <c:v>0.909</c:v>
                </c:pt>
                <c:pt idx="83">
                  <c:v>0.996</c:v>
                </c:pt>
                <c:pt idx="84">
                  <c:v>0.98</c:v>
                </c:pt>
                <c:pt idx="85">
                  <c:v>0.976</c:v>
                </c:pt>
                <c:pt idx="86">
                  <c:v>0.987</c:v>
                </c:pt>
                <c:pt idx="87">
                  <c:v>0.93</c:v>
                </c:pt>
                <c:pt idx="88">
                  <c:v>0.956</c:v>
                </c:pt>
                <c:pt idx="89">
                  <c:v>0.965</c:v>
                </c:pt>
                <c:pt idx="90">
                  <c:v>0.967</c:v>
                </c:pt>
                <c:pt idx="91">
                  <c:v>0.992</c:v>
                </c:pt>
                <c:pt idx="92">
                  <c:v>0.99</c:v>
                </c:pt>
                <c:pt idx="93">
                  <c:v>0.999</c:v>
                </c:pt>
                <c:pt idx="94">
                  <c:v>0.998</c:v>
                </c:pt>
                <c:pt idx="95">
                  <c:v>0.924</c:v>
                </c:pt>
                <c:pt idx="96">
                  <c:v>0.988</c:v>
                </c:pt>
                <c:pt idx="97">
                  <c:v>0.997</c:v>
                </c:pt>
                <c:pt idx="98">
                  <c:v>0.956</c:v>
                </c:pt>
                <c:pt idx="99">
                  <c:v>0.995</c:v>
                </c:pt>
                <c:pt idx="100">
                  <c:v>0.984</c:v>
                </c:pt>
                <c:pt idx="101">
                  <c:v>0.953</c:v>
                </c:pt>
                <c:pt idx="102">
                  <c:v>0.986</c:v>
                </c:pt>
                <c:pt idx="103">
                  <c:v>0.993</c:v>
                </c:pt>
                <c:pt idx="104">
                  <c:v>0.959</c:v>
                </c:pt>
                <c:pt idx="105">
                  <c:v>0.861</c:v>
                </c:pt>
                <c:pt idx="106">
                  <c:v>0.926</c:v>
                </c:pt>
                <c:pt idx="107">
                  <c:v>0.997</c:v>
                </c:pt>
                <c:pt idx="108">
                  <c:v>0.778</c:v>
                </c:pt>
                <c:pt idx="109">
                  <c:v>0.911</c:v>
                </c:pt>
                <c:pt idx="110">
                  <c:v>0.981</c:v>
                </c:pt>
                <c:pt idx="111">
                  <c:v>0.965</c:v>
                </c:pt>
                <c:pt idx="112">
                  <c:v>0.91</c:v>
                </c:pt>
                <c:pt idx="113">
                  <c:v>0.971</c:v>
                </c:pt>
                <c:pt idx="114">
                  <c:v>0.932</c:v>
                </c:pt>
                <c:pt idx="115">
                  <c:v>0.964</c:v>
                </c:pt>
                <c:pt idx="116">
                  <c:v>0.89</c:v>
                </c:pt>
                <c:pt idx="117">
                  <c:v>0.985</c:v>
                </c:pt>
                <c:pt idx="118">
                  <c:v>0.99</c:v>
                </c:pt>
                <c:pt idx="119">
                  <c:v>0.947</c:v>
                </c:pt>
                <c:pt idx="120">
                  <c:v>0.963</c:v>
                </c:pt>
                <c:pt idx="121">
                  <c:v>0.987</c:v>
                </c:pt>
                <c:pt idx="122">
                  <c:v>0.968</c:v>
                </c:pt>
                <c:pt idx="123">
                  <c:v>0.941</c:v>
                </c:pt>
                <c:pt idx="124">
                  <c:v>0.984</c:v>
                </c:pt>
                <c:pt idx="125">
                  <c:v>0.924</c:v>
                </c:pt>
                <c:pt idx="126">
                  <c:v>0.944</c:v>
                </c:pt>
                <c:pt idx="127">
                  <c:v>0.988</c:v>
                </c:pt>
                <c:pt idx="128">
                  <c:v>0.992</c:v>
                </c:pt>
                <c:pt idx="129">
                  <c:v>0.935</c:v>
                </c:pt>
                <c:pt idx="130">
                  <c:v>0.708</c:v>
                </c:pt>
                <c:pt idx="131">
                  <c:v>0.939</c:v>
                </c:pt>
                <c:pt idx="132">
                  <c:v>0.737</c:v>
                </c:pt>
                <c:pt idx="133">
                  <c:v>0.704</c:v>
                </c:pt>
                <c:pt idx="134">
                  <c:v>0.994</c:v>
                </c:pt>
                <c:pt idx="135">
                  <c:v>0.966</c:v>
                </c:pt>
                <c:pt idx="136">
                  <c:v>0.932</c:v>
                </c:pt>
                <c:pt idx="137">
                  <c:v>0.945</c:v>
                </c:pt>
                <c:pt idx="138">
                  <c:v>0.802</c:v>
                </c:pt>
                <c:pt idx="139">
                  <c:v>0.98</c:v>
                </c:pt>
                <c:pt idx="140">
                  <c:v>0.919</c:v>
                </c:pt>
                <c:pt idx="141">
                  <c:v>0.978</c:v>
                </c:pt>
                <c:pt idx="142">
                  <c:v>0.939</c:v>
                </c:pt>
                <c:pt idx="143">
                  <c:v>0.981</c:v>
                </c:pt>
                <c:pt idx="144">
                  <c:v>0.968</c:v>
                </c:pt>
                <c:pt idx="145">
                  <c:v>0.973</c:v>
                </c:pt>
                <c:pt idx="146">
                  <c:v>0.998</c:v>
                </c:pt>
                <c:pt idx="147">
                  <c:v>0.983</c:v>
                </c:pt>
                <c:pt idx="148">
                  <c:v>0.998</c:v>
                </c:pt>
                <c:pt idx="149">
                  <c:v>0.932</c:v>
                </c:pt>
                <c:pt idx="150">
                  <c:v>0.966</c:v>
                </c:pt>
                <c:pt idx="151">
                  <c:v>0.927</c:v>
                </c:pt>
                <c:pt idx="152">
                  <c:v>0.883</c:v>
                </c:pt>
                <c:pt idx="153">
                  <c:v>0.983</c:v>
                </c:pt>
                <c:pt idx="154">
                  <c:v>0.998</c:v>
                </c:pt>
                <c:pt idx="155">
                  <c:v>0.859</c:v>
                </c:pt>
                <c:pt idx="156">
                  <c:v>0.982</c:v>
                </c:pt>
                <c:pt idx="157">
                  <c:v>0.973</c:v>
                </c:pt>
                <c:pt idx="158">
                  <c:v>0.995</c:v>
                </c:pt>
                <c:pt idx="159">
                  <c:v>0.941</c:v>
                </c:pt>
                <c:pt idx="160">
                  <c:v>0.886</c:v>
                </c:pt>
                <c:pt idx="161">
                  <c:v>0.968</c:v>
                </c:pt>
                <c:pt idx="162">
                  <c:v>0.998</c:v>
                </c:pt>
                <c:pt idx="163">
                  <c:v>0.925</c:v>
                </c:pt>
                <c:pt idx="164">
                  <c:v>0.946</c:v>
                </c:pt>
                <c:pt idx="165">
                  <c:v>0.934</c:v>
                </c:pt>
                <c:pt idx="166">
                  <c:v>0.855</c:v>
                </c:pt>
                <c:pt idx="167">
                  <c:v>0.962</c:v>
                </c:pt>
                <c:pt idx="168">
                  <c:v>0.692</c:v>
                </c:pt>
                <c:pt idx="169">
                  <c:v>0.995</c:v>
                </c:pt>
                <c:pt idx="170">
                  <c:v>0.946</c:v>
                </c:pt>
                <c:pt idx="171">
                  <c:v>0.978</c:v>
                </c:pt>
                <c:pt idx="172">
                  <c:v>0.975</c:v>
                </c:pt>
                <c:pt idx="173">
                  <c:v>0.971</c:v>
                </c:pt>
                <c:pt idx="174">
                  <c:v>0.894</c:v>
                </c:pt>
                <c:pt idx="175">
                  <c:v>0.959</c:v>
                </c:pt>
                <c:pt idx="176">
                  <c:v>0.987</c:v>
                </c:pt>
                <c:pt idx="177">
                  <c:v>0.907</c:v>
                </c:pt>
                <c:pt idx="178">
                  <c:v>0.954</c:v>
                </c:pt>
                <c:pt idx="179">
                  <c:v>0.966</c:v>
                </c:pt>
                <c:pt idx="180">
                  <c:v>0.856</c:v>
                </c:pt>
                <c:pt idx="181">
                  <c:v>0.957</c:v>
                </c:pt>
                <c:pt idx="182">
                  <c:v>0.958</c:v>
                </c:pt>
                <c:pt idx="183">
                  <c:v>0.858</c:v>
                </c:pt>
                <c:pt idx="184">
                  <c:v>0.876</c:v>
                </c:pt>
                <c:pt idx="185">
                  <c:v>0.865</c:v>
                </c:pt>
                <c:pt idx="186">
                  <c:v>0.805</c:v>
                </c:pt>
                <c:pt idx="187">
                  <c:v>0.956</c:v>
                </c:pt>
                <c:pt idx="188">
                  <c:v>0.955</c:v>
                </c:pt>
                <c:pt idx="189">
                  <c:v>0.892</c:v>
                </c:pt>
                <c:pt idx="190">
                  <c:v>0.927</c:v>
                </c:pt>
                <c:pt idx="191">
                  <c:v>0.981</c:v>
                </c:pt>
                <c:pt idx="192">
                  <c:v>0.87</c:v>
                </c:pt>
                <c:pt idx="193">
                  <c:v>0.949</c:v>
                </c:pt>
                <c:pt idx="194">
                  <c:v>0.933</c:v>
                </c:pt>
                <c:pt idx="195">
                  <c:v>0.913</c:v>
                </c:pt>
                <c:pt idx="196">
                  <c:v>0.947</c:v>
                </c:pt>
                <c:pt idx="197">
                  <c:v>0.977</c:v>
                </c:pt>
                <c:pt idx="198">
                  <c:v>0.961</c:v>
                </c:pt>
                <c:pt idx="199">
                  <c:v>0.978</c:v>
                </c:pt>
                <c:pt idx="200">
                  <c:v>0.983</c:v>
                </c:pt>
                <c:pt idx="201">
                  <c:v>0.962</c:v>
                </c:pt>
                <c:pt idx="202">
                  <c:v>0.874</c:v>
                </c:pt>
                <c:pt idx="203">
                  <c:v>0.889</c:v>
                </c:pt>
                <c:pt idx="204">
                  <c:v>0.967</c:v>
                </c:pt>
                <c:pt idx="205">
                  <c:v>0.852</c:v>
                </c:pt>
                <c:pt idx="206">
                  <c:v>0.795</c:v>
                </c:pt>
                <c:pt idx="207">
                  <c:v>0.953</c:v>
                </c:pt>
                <c:pt idx="208">
                  <c:v>0.497</c:v>
                </c:pt>
                <c:pt idx="209">
                  <c:v>0.934</c:v>
                </c:pt>
                <c:pt idx="210">
                  <c:v>0.932</c:v>
                </c:pt>
                <c:pt idx="211">
                  <c:v>0.916</c:v>
                </c:pt>
                <c:pt idx="212">
                  <c:v>0.403</c:v>
                </c:pt>
                <c:pt idx="213">
                  <c:v>0.99</c:v>
                </c:pt>
                <c:pt idx="214">
                  <c:v>0.92</c:v>
                </c:pt>
                <c:pt idx="215">
                  <c:v>0.96</c:v>
                </c:pt>
                <c:pt idx="216">
                  <c:v>0.906</c:v>
                </c:pt>
                <c:pt idx="217">
                  <c:v>0.976</c:v>
                </c:pt>
                <c:pt idx="218">
                  <c:v>0.997</c:v>
                </c:pt>
                <c:pt idx="219">
                  <c:v>0.78</c:v>
                </c:pt>
                <c:pt idx="220">
                  <c:v>0.97</c:v>
                </c:pt>
                <c:pt idx="221">
                  <c:v>0.964</c:v>
                </c:pt>
                <c:pt idx="222">
                  <c:v>0.966</c:v>
                </c:pt>
                <c:pt idx="223">
                  <c:v>0.884</c:v>
                </c:pt>
                <c:pt idx="224">
                  <c:v>0.974</c:v>
                </c:pt>
                <c:pt idx="225">
                  <c:v>0.936</c:v>
                </c:pt>
                <c:pt idx="226">
                  <c:v>0.868</c:v>
                </c:pt>
                <c:pt idx="227">
                  <c:v>0.984</c:v>
                </c:pt>
                <c:pt idx="228">
                  <c:v>0.975</c:v>
                </c:pt>
                <c:pt idx="229">
                  <c:v>0.828</c:v>
                </c:pt>
                <c:pt idx="230">
                  <c:v>0.974</c:v>
                </c:pt>
                <c:pt idx="231">
                  <c:v>0.835</c:v>
                </c:pt>
                <c:pt idx="232">
                  <c:v>0.94</c:v>
                </c:pt>
                <c:pt idx="233">
                  <c:v>0.949</c:v>
                </c:pt>
                <c:pt idx="234">
                  <c:v>0.836</c:v>
                </c:pt>
                <c:pt idx="235">
                  <c:v>0.981</c:v>
                </c:pt>
                <c:pt idx="236">
                  <c:v>0.905</c:v>
                </c:pt>
                <c:pt idx="237">
                  <c:v>0.848</c:v>
                </c:pt>
                <c:pt idx="238">
                  <c:v>0.984</c:v>
                </c:pt>
                <c:pt idx="239">
                  <c:v>0.984</c:v>
                </c:pt>
                <c:pt idx="240">
                  <c:v>0.869</c:v>
                </c:pt>
                <c:pt idx="241">
                  <c:v>0.926</c:v>
                </c:pt>
                <c:pt idx="242">
                  <c:v>0.842</c:v>
                </c:pt>
                <c:pt idx="243">
                  <c:v>0.639</c:v>
                </c:pt>
                <c:pt idx="244">
                  <c:v>0.972</c:v>
                </c:pt>
                <c:pt idx="245">
                  <c:v>0.724</c:v>
                </c:pt>
                <c:pt idx="246">
                  <c:v>0.96</c:v>
                </c:pt>
                <c:pt idx="247">
                  <c:v>0.956</c:v>
                </c:pt>
                <c:pt idx="248">
                  <c:v>0.96</c:v>
                </c:pt>
                <c:pt idx="249">
                  <c:v>0.748</c:v>
                </c:pt>
                <c:pt idx="250">
                  <c:v>0.907</c:v>
                </c:pt>
                <c:pt idx="251">
                  <c:v>0.932</c:v>
                </c:pt>
                <c:pt idx="252">
                  <c:v>0.892</c:v>
                </c:pt>
                <c:pt idx="253">
                  <c:v>0.899</c:v>
                </c:pt>
                <c:pt idx="254">
                  <c:v>0.923</c:v>
                </c:pt>
                <c:pt idx="255">
                  <c:v>0.868</c:v>
                </c:pt>
                <c:pt idx="256">
                  <c:v>0.795</c:v>
                </c:pt>
                <c:pt idx="257">
                  <c:v>0.898</c:v>
                </c:pt>
                <c:pt idx="258">
                  <c:v>0.899</c:v>
                </c:pt>
                <c:pt idx="259">
                  <c:v>0.842</c:v>
                </c:pt>
                <c:pt idx="260">
                  <c:v>0.878</c:v>
                </c:pt>
                <c:pt idx="261">
                  <c:v>0.905</c:v>
                </c:pt>
                <c:pt idx="262">
                  <c:v>0.839</c:v>
                </c:pt>
                <c:pt idx="263">
                  <c:v>0.807</c:v>
                </c:pt>
                <c:pt idx="264">
                  <c:v>0.974</c:v>
                </c:pt>
                <c:pt idx="265">
                  <c:v>0.875</c:v>
                </c:pt>
                <c:pt idx="266">
                  <c:v>0.86</c:v>
                </c:pt>
                <c:pt idx="267">
                  <c:v>0.929</c:v>
                </c:pt>
                <c:pt idx="268">
                  <c:v>0.937</c:v>
                </c:pt>
                <c:pt idx="269">
                  <c:v>0.913</c:v>
                </c:pt>
                <c:pt idx="270">
                  <c:v>0.898</c:v>
                </c:pt>
                <c:pt idx="271">
                  <c:v>0.935</c:v>
                </c:pt>
                <c:pt idx="272">
                  <c:v>0.829</c:v>
                </c:pt>
                <c:pt idx="273">
                  <c:v>0.935</c:v>
                </c:pt>
                <c:pt idx="274">
                  <c:v>0.912</c:v>
                </c:pt>
                <c:pt idx="275">
                  <c:v>0.942</c:v>
                </c:pt>
                <c:pt idx="276">
                  <c:v>0.928</c:v>
                </c:pt>
                <c:pt idx="277">
                  <c:v>0.961</c:v>
                </c:pt>
                <c:pt idx="278">
                  <c:v>0.857</c:v>
                </c:pt>
                <c:pt idx="279">
                  <c:v>0.858</c:v>
                </c:pt>
                <c:pt idx="280">
                  <c:v>0.955</c:v>
                </c:pt>
                <c:pt idx="281">
                  <c:v>0.925</c:v>
                </c:pt>
                <c:pt idx="282">
                  <c:v>0.895</c:v>
                </c:pt>
                <c:pt idx="283">
                  <c:v>0.883</c:v>
                </c:pt>
                <c:pt idx="284">
                  <c:v>0.898</c:v>
                </c:pt>
                <c:pt idx="285">
                  <c:v>0.911</c:v>
                </c:pt>
                <c:pt idx="286">
                  <c:v>0.917</c:v>
                </c:pt>
                <c:pt idx="287">
                  <c:v>0.622</c:v>
                </c:pt>
                <c:pt idx="288">
                  <c:v>0.92</c:v>
                </c:pt>
                <c:pt idx="289">
                  <c:v>0.799</c:v>
                </c:pt>
                <c:pt idx="290">
                  <c:v>0.849</c:v>
                </c:pt>
                <c:pt idx="291">
                  <c:v>0.897</c:v>
                </c:pt>
                <c:pt idx="292">
                  <c:v>0.918</c:v>
                </c:pt>
                <c:pt idx="293">
                  <c:v>0.924</c:v>
                </c:pt>
                <c:pt idx="294">
                  <c:v>0.93</c:v>
                </c:pt>
                <c:pt idx="295">
                  <c:v>0.968</c:v>
                </c:pt>
                <c:pt idx="296">
                  <c:v>0.934</c:v>
                </c:pt>
                <c:pt idx="297">
                  <c:v>0.908</c:v>
                </c:pt>
                <c:pt idx="298">
                  <c:v>0.885</c:v>
                </c:pt>
                <c:pt idx="299">
                  <c:v>0.852</c:v>
                </c:pt>
                <c:pt idx="300">
                  <c:v>0.865</c:v>
                </c:pt>
                <c:pt idx="301">
                  <c:v>0.848</c:v>
                </c:pt>
                <c:pt idx="302">
                  <c:v>0.76</c:v>
                </c:pt>
                <c:pt idx="303">
                  <c:v>0.854</c:v>
                </c:pt>
                <c:pt idx="304">
                  <c:v>0.847</c:v>
                </c:pt>
                <c:pt idx="305">
                  <c:v>0.587</c:v>
                </c:pt>
                <c:pt idx="306">
                  <c:v>0.898</c:v>
                </c:pt>
                <c:pt idx="307">
                  <c:v>0.912</c:v>
                </c:pt>
                <c:pt idx="308">
                  <c:v>0.902</c:v>
                </c:pt>
                <c:pt idx="309">
                  <c:v>0.874</c:v>
                </c:pt>
                <c:pt idx="310">
                  <c:v>0.982</c:v>
                </c:pt>
                <c:pt idx="311">
                  <c:v>0.954</c:v>
                </c:pt>
                <c:pt idx="312">
                  <c:v>0.861</c:v>
                </c:pt>
                <c:pt idx="313">
                  <c:v>0.96</c:v>
                </c:pt>
                <c:pt idx="314">
                  <c:v>0.855</c:v>
                </c:pt>
                <c:pt idx="315">
                  <c:v>0.624</c:v>
                </c:pt>
                <c:pt idx="316">
                  <c:v>0.933</c:v>
                </c:pt>
                <c:pt idx="317">
                  <c:v>0.695</c:v>
                </c:pt>
                <c:pt idx="318">
                  <c:v>0.857</c:v>
                </c:pt>
                <c:pt idx="319">
                  <c:v>0.872</c:v>
                </c:pt>
                <c:pt idx="320">
                  <c:v>0.868</c:v>
                </c:pt>
                <c:pt idx="321">
                  <c:v>0.754</c:v>
                </c:pt>
                <c:pt idx="322">
                  <c:v>0.615</c:v>
                </c:pt>
                <c:pt idx="323">
                  <c:v>0.896</c:v>
                </c:pt>
                <c:pt idx="324">
                  <c:v>0.946</c:v>
                </c:pt>
                <c:pt idx="325">
                  <c:v>0.898</c:v>
                </c:pt>
                <c:pt idx="326">
                  <c:v>0.676</c:v>
                </c:pt>
                <c:pt idx="327">
                  <c:v>0.968</c:v>
                </c:pt>
                <c:pt idx="328">
                  <c:v>0.742</c:v>
                </c:pt>
                <c:pt idx="329">
                  <c:v>0.926</c:v>
                </c:pt>
                <c:pt idx="330">
                  <c:v>0.939</c:v>
                </c:pt>
                <c:pt idx="331">
                  <c:v>0.939</c:v>
                </c:pt>
                <c:pt idx="332">
                  <c:v>0.839</c:v>
                </c:pt>
                <c:pt idx="333">
                  <c:v>0.77</c:v>
                </c:pt>
                <c:pt idx="334">
                  <c:v>0.836</c:v>
                </c:pt>
                <c:pt idx="335">
                  <c:v>0.718</c:v>
                </c:pt>
                <c:pt idx="336">
                  <c:v>0.884</c:v>
                </c:pt>
                <c:pt idx="337">
                  <c:v>0.713</c:v>
                </c:pt>
                <c:pt idx="338">
                  <c:v>0.44</c:v>
                </c:pt>
                <c:pt idx="339">
                  <c:v>0.842</c:v>
                </c:pt>
                <c:pt idx="340">
                  <c:v>0.98</c:v>
                </c:pt>
                <c:pt idx="341">
                  <c:v>0.845</c:v>
                </c:pt>
                <c:pt idx="342">
                  <c:v>0.913</c:v>
                </c:pt>
                <c:pt idx="343">
                  <c:v>0.959</c:v>
                </c:pt>
                <c:pt idx="344">
                  <c:v>0.844</c:v>
                </c:pt>
                <c:pt idx="345">
                  <c:v>0.778</c:v>
                </c:pt>
                <c:pt idx="346">
                  <c:v>0.757</c:v>
                </c:pt>
                <c:pt idx="347">
                  <c:v>0.59</c:v>
                </c:pt>
                <c:pt idx="348">
                  <c:v>0.891</c:v>
                </c:pt>
                <c:pt idx="349">
                  <c:v>0.804</c:v>
                </c:pt>
                <c:pt idx="350">
                  <c:v>0.658</c:v>
                </c:pt>
                <c:pt idx="351">
                  <c:v>0.75</c:v>
                </c:pt>
                <c:pt idx="352">
                  <c:v>0.948</c:v>
                </c:pt>
                <c:pt idx="353">
                  <c:v>0.841</c:v>
                </c:pt>
                <c:pt idx="354">
                  <c:v>0.773</c:v>
                </c:pt>
                <c:pt idx="355">
                  <c:v>0.958</c:v>
                </c:pt>
                <c:pt idx="356">
                  <c:v>0.755</c:v>
                </c:pt>
                <c:pt idx="357">
                  <c:v>0.923</c:v>
                </c:pt>
                <c:pt idx="358">
                  <c:v>0.907</c:v>
                </c:pt>
                <c:pt idx="359">
                  <c:v>0.696</c:v>
                </c:pt>
                <c:pt idx="360">
                  <c:v>0.921</c:v>
                </c:pt>
                <c:pt idx="361">
                  <c:v>0.92</c:v>
                </c:pt>
                <c:pt idx="362">
                  <c:v>0.575</c:v>
                </c:pt>
                <c:pt idx="363">
                  <c:v>0.934</c:v>
                </c:pt>
                <c:pt idx="364">
                  <c:v>0.853</c:v>
                </c:pt>
                <c:pt idx="365">
                  <c:v>0.9</c:v>
                </c:pt>
                <c:pt idx="366">
                  <c:v>0.519</c:v>
                </c:pt>
                <c:pt idx="367">
                  <c:v>0.913</c:v>
                </c:pt>
                <c:pt idx="368">
                  <c:v>0.785</c:v>
                </c:pt>
                <c:pt idx="369">
                  <c:v>0.658</c:v>
                </c:pt>
                <c:pt idx="370">
                  <c:v>0.545</c:v>
                </c:pt>
                <c:pt idx="371">
                  <c:v>0.947</c:v>
                </c:pt>
                <c:pt idx="372">
                  <c:v>0.411</c:v>
                </c:pt>
                <c:pt idx="373">
                  <c:v>0.893</c:v>
                </c:pt>
                <c:pt idx="374">
                  <c:v>0.926</c:v>
                </c:pt>
                <c:pt idx="375">
                  <c:v>0.841</c:v>
                </c:pt>
                <c:pt idx="376">
                  <c:v>0.836</c:v>
                </c:pt>
                <c:pt idx="377">
                  <c:v>0.779</c:v>
                </c:pt>
                <c:pt idx="378">
                  <c:v>0.568</c:v>
                </c:pt>
                <c:pt idx="379">
                  <c:v>0.249</c:v>
                </c:pt>
                <c:pt idx="380">
                  <c:v>0.763</c:v>
                </c:pt>
                <c:pt idx="381">
                  <c:v>0.763</c:v>
                </c:pt>
                <c:pt idx="382">
                  <c:v>0.691</c:v>
                </c:pt>
                <c:pt idx="383">
                  <c:v>0.422</c:v>
                </c:pt>
                <c:pt idx="384">
                  <c:v>0.833</c:v>
                </c:pt>
                <c:pt idx="385">
                  <c:v>0.799</c:v>
                </c:pt>
                <c:pt idx="386">
                  <c:v>0.853</c:v>
                </c:pt>
                <c:pt idx="387">
                  <c:v>0.973</c:v>
                </c:pt>
                <c:pt idx="388">
                  <c:v>0.703</c:v>
                </c:pt>
                <c:pt idx="389">
                  <c:v>0.845</c:v>
                </c:pt>
                <c:pt idx="390">
                  <c:v>0.92</c:v>
                </c:pt>
                <c:pt idx="391">
                  <c:v>0.871</c:v>
                </c:pt>
                <c:pt idx="392">
                  <c:v>0.766</c:v>
                </c:pt>
                <c:pt idx="393">
                  <c:v>0.938</c:v>
                </c:pt>
                <c:pt idx="394">
                  <c:v>0.412</c:v>
                </c:pt>
                <c:pt idx="395">
                  <c:v>0.73</c:v>
                </c:pt>
                <c:pt idx="396">
                  <c:v>0.828</c:v>
                </c:pt>
                <c:pt idx="397">
                  <c:v>0.903</c:v>
                </c:pt>
                <c:pt idx="398">
                  <c:v>0.836</c:v>
                </c:pt>
                <c:pt idx="399">
                  <c:v>0.666</c:v>
                </c:pt>
                <c:pt idx="400">
                  <c:v>0.59</c:v>
                </c:pt>
                <c:pt idx="401">
                  <c:v>0.783</c:v>
                </c:pt>
                <c:pt idx="402">
                  <c:v>0.732</c:v>
                </c:pt>
                <c:pt idx="403">
                  <c:v>0.861</c:v>
                </c:pt>
                <c:pt idx="404">
                  <c:v>0.737</c:v>
                </c:pt>
                <c:pt idx="405">
                  <c:v>0.758</c:v>
                </c:pt>
                <c:pt idx="406">
                  <c:v>0.78</c:v>
                </c:pt>
                <c:pt idx="407">
                  <c:v>0.748</c:v>
                </c:pt>
                <c:pt idx="408">
                  <c:v>0.756</c:v>
                </c:pt>
                <c:pt idx="409">
                  <c:v>0.82</c:v>
                </c:pt>
                <c:pt idx="410">
                  <c:v>0.572</c:v>
                </c:pt>
                <c:pt idx="411">
                  <c:v>0.736</c:v>
                </c:pt>
                <c:pt idx="412">
                  <c:v>0.893</c:v>
                </c:pt>
                <c:pt idx="413">
                  <c:v>0.86</c:v>
                </c:pt>
                <c:pt idx="414">
                  <c:v>0.519</c:v>
                </c:pt>
                <c:pt idx="415">
                  <c:v>0.808</c:v>
                </c:pt>
                <c:pt idx="416">
                  <c:v>0.913</c:v>
                </c:pt>
                <c:pt idx="417">
                  <c:v>0.873</c:v>
                </c:pt>
                <c:pt idx="418">
                  <c:v>0.588</c:v>
                </c:pt>
                <c:pt idx="419">
                  <c:v>0.555</c:v>
                </c:pt>
                <c:pt idx="420">
                  <c:v>0.864</c:v>
                </c:pt>
                <c:pt idx="421">
                  <c:v>0.427</c:v>
                </c:pt>
                <c:pt idx="422">
                  <c:v>0.87</c:v>
                </c:pt>
                <c:pt idx="423">
                  <c:v>0.409</c:v>
                </c:pt>
                <c:pt idx="424">
                  <c:v>0.249</c:v>
                </c:pt>
                <c:pt idx="425">
                  <c:v>0.672</c:v>
                </c:pt>
                <c:pt idx="426">
                  <c:v>0.94</c:v>
                </c:pt>
                <c:pt idx="427">
                  <c:v>0.921</c:v>
                </c:pt>
                <c:pt idx="428">
                  <c:v>0.785</c:v>
                </c:pt>
                <c:pt idx="429">
                  <c:v>0.197</c:v>
                </c:pt>
                <c:pt idx="430">
                  <c:v>0.807</c:v>
                </c:pt>
                <c:pt idx="431">
                  <c:v>0.851</c:v>
                </c:pt>
                <c:pt idx="432">
                  <c:v>0.823</c:v>
                </c:pt>
                <c:pt idx="433">
                  <c:v>0.873</c:v>
                </c:pt>
                <c:pt idx="434">
                  <c:v>0.741</c:v>
                </c:pt>
                <c:pt idx="435">
                  <c:v>0.576</c:v>
                </c:pt>
                <c:pt idx="436">
                  <c:v>0.86</c:v>
                </c:pt>
                <c:pt idx="437">
                  <c:v>0.635</c:v>
                </c:pt>
                <c:pt idx="438">
                  <c:v>0.917</c:v>
                </c:pt>
                <c:pt idx="439">
                  <c:v>0.762</c:v>
                </c:pt>
                <c:pt idx="440">
                  <c:v>0.876</c:v>
                </c:pt>
                <c:pt idx="441">
                  <c:v>0.76</c:v>
                </c:pt>
                <c:pt idx="442">
                  <c:v>0.884</c:v>
                </c:pt>
                <c:pt idx="443">
                  <c:v>0.062</c:v>
                </c:pt>
                <c:pt idx="444">
                  <c:v>0.853</c:v>
                </c:pt>
                <c:pt idx="445">
                  <c:v>0.657</c:v>
                </c:pt>
                <c:pt idx="446">
                  <c:v>0.677</c:v>
                </c:pt>
                <c:pt idx="447">
                  <c:v>0.625</c:v>
                </c:pt>
                <c:pt idx="448">
                  <c:v>0.702</c:v>
                </c:pt>
                <c:pt idx="449">
                  <c:v>0.864</c:v>
                </c:pt>
                <c:pt idx="450">
                  <c:v>0.81</c:v>
                </c:pt>
                <c:pt idx="451">
                  <c:v>0.867</c:v>
                </c:pt>
                <c:pt idx="452">
                  <c:v>0.771</c:v>
                </c:pt>
                <c:pt idx="453">
                  <c:v>0.469</c:v>
                </c:pt>
                <c:pt idx="454">
                  <c:v>0.626</c:v>
                </c:pt>
                <c:pt idx="455">
                  <c:v>0.453</c:v>
                </c:pt>
                <c:pt idx="456">
                  <c:v>0.76</c:v>
                </c:pt>
                <c:pt idx="457">
                  <c:v>0.671</c:v>
                </c:pt>
                <c:pt idx="458">
                  <c:v>0.568</c:v>
                </c:pt>
                <c:pt idx="459">
                  <c:v>0.645</c:v>
                </c:pt>
                <c:pt idx="460">
                  <c:v>0.863</c:v>
                </c:pt>
                <c:pt idx="461">
                  <c:v>0.914</c:v>
                </c:pt>
                <c:pt idx="462">
                  <c:v>0.601</c:v>
                </c:pt>
                <c:pt idx="463">
                  <c:v>0.257</c:v>
                </c:pt>
                <c:pt idx="464">
                  <c:v>0.746</c:v>
                </c:pt>
                <c:pt idx="465">
                  <c:v>0.595</c:v>
                </c:pt>
                <c:pt idx="466">
                  <c:v>0.248</c:v>
                </c:pt>
                <c:pt idx="467">
                  <c:v>0.833</c:v>
                </c:pt>
                <c:pt idx="468">
                  <c:v>0.5</c:v>
                </c:pt>
                <c:pt idx="469">
                  <c:v>0.841</c:v>
                </c:pt>
                <c:pt idx="470">
                  <c:v>0.837</c:v>
                </c:pt>
                <c:pt idx="471">
                  <c:v>0.924</c:v>
                </c:pt>
                <c:pt idx="472">
                  <c:v>0.539</c:v>
                </c:pt>
                <c:pt idx="473">
                  <c:v>0.819</c:v>
                </c:pt>
                <c:pt idx="474">
                  <c:v>0.767</c:v>
                </c:pt>
                <c:pt idx="475">
                  <c:v>0.071</c:v>
                </c:pt>
                <c:pt idx="476">
                  <c:v>0.905</c:v>
                </c:pt>
                <c:pt idx="477">
                  <c:v>0.773</c:v>
                </c:pt>
                <c:pt idx="478">
                  <c:v>0.809</c:v>
                </c:pt>
                <c:pt idx="479">
                  <c:v>0.861</c:v>
                </c:pt>
                <c:pt idx="480">
                  <c:v>0.341</c:v>
                </c:pt>
                <c:pt idx="481">
                  <c:v>0.715</c:v>
                </c:pt>
                <c:pt idx="482">
                  <c:v>0.443</c:v>
                </c:pt>
                <c:pt idx="483">
                  <c:v>0.862</c:v>
                </c:pt>
                <c:pt idx="484">
                  <c:v>0.659</c:v>
                </c:pt>
                <c:pt idx="485">
                  <c:v>0.808</c:v>
                </c:pt>
                <c:pt idx="486">
                  <c:v>0.361</c:v>
                </c:pt>
                <c:pt idx="487">
                  <c:v>0.886</c:v>
                </c:pt>
                <c:pt idx="488">
                  <c:v>0.679</c:v>
                </c:pt>
                <c:pt idx="489">
                  <c:v>0.601</c:v>
                </c:pt>
                <c:pt idx="490">
                  <c:v>0.059</c:v>
                </c:pt>
                <c:pt idx="491">
                  <c:v>0.539</c:v>
                </c:pt>
                <c:pt idx="492">
                  <c:v>0.846</c:v>
                </c:pt>
                <c:pt idx="493">
                  <c:v>0.467</c:v>
                </c:pt>
                <c:pt idx="494">
                  <c:v>0.476</c:v>
                </c:pt>
                <c:pt idx="495">
                  <c:v>0.852</c:v>
                </c:pt>
                <c:pt idx="496">
                  <c:v>0.599</c:v>
                </c:pt>
                <c:pt idx="497">
                  <c:v>0.759</c:v>
                </c:pt>
                <c:pt idx="498">
                  <c:v>0.421</c:v>
                </c:pt>
                <c:pt idx="499">
                  <c:v>0.71</c:v>
                </c:pt>
                <c:pt idx="500">
                  <c:v>0.603</c:v>
                </c:pt>
                <c:pt idx="501">
                  <c:v>0.474</c:v>
                </c:pt>
                <c:pt idx="502">
                  <c:v>0.451</c:v>
                </c:pt>
                <c:pt idx="503">
                  <c:v>0.381</c:v>
                </c:pt>
                <c:pt idx="504">
                  <c:v>0.448</c:v>
                </c:pt>
                <c:pt idx="505">
                  <c:v>0.402</c:v>
                </c:pt>
                <c:pt idx="506">
                  <c:v>0.672</c:v>
                </c:pt>
                <c:pt idx="507">
                  <c:v>0.381</c:v>
                </c:pt>
                <c:pt idx="508">
                  <c:v>0.258</c:v>
                </c:pt>
                <c:pt idx="509">
                  <c:v>0.885</c:v>
                </c:pt>
                <c:pt idx="510">
                  <c:v>0.461</c:v>
                </c:pt>
                <c:pt idx="511">
                  <c:v>0.558</c:v>
                </c:pt>
                <c:pt idx="512">
                  <c:v>0.657</c:v>
                </c:pt>
                <c:pt idx="513">
                  <c:v>0.36</c:v>
                </c:pt>
                <c:pt idx="514">
                  <c:v>0.86</c:v>
                </c:pt>
                <c:pt idx="515">
                  <c:v>0.468</c:v>
                </c:pt>
                <c:pt idx="516">
                  <c:v>0.433</c:v>
                </c:pt>
                <c:pt idx="517">
                  <c:v>0.578</c:v>
                </c:pt>
                <c:pt idx="518">
                  <c:v>0.845</c:v>
                </c:pt>
                <c:pt idx="519">
                  <c:v>0.247</c:v>
                </c:pt>
                <c:pt idx="520">
                  <c:v>0.672</c:v>
                </c:pt>
                <c:pt idx="521">
                  <c:v>0.502</c:v>
                </c:pt>
                <c:pt idx="522">
                  <c:v>0.008</c:v>
                </c:pt>
                <c:pt idx="523">
                  <c:v>0.82</c:v>
                </c:pt>
                <c:pt idx="524">
                  <c:v>0.318</c:v>
                </c:pt>
                <c:pt idx="525">
                  <c:v>0.5</c:v>
                </c:pt>
                <c:pt idx="526">
                  <c:v>0.252</c:v>
                </c:pt>
                <c:pt idx="527">
                  <c:v>0.8</c:v>
                </c:pt>
                <c:pt idx="528">
                  <c:v>0.885</c:v>
                </c:pt>
                <c:pt idx="529">
                  <c:v>0.422</c:v>
                </c:pt>
                <c:pt idx="530">
                  <c:v>0.191</c:v>
                </c:pt>
                <c:pt idx="531">
                  <c:v>0.551</c:v>
                </c:pt>
                <c:pt idx="532">
                  <c:v>0.694</c:v>
                </c:pt>
                <c:pt idx="533">
                  <c:v>0.71</c:v>
                </c:pt>
                <c:pt idx="534">
                  <c:v>0.767</c:v>
                </c:pt>
                <c:pt idx="535">
                  <c:v>0.39</c:v>
                </c:pt>
                <c:pt idx="536">
                  <c:v>0.73</c:v>
                </c:pt>
                <c:pt idx="537">
                  <c:v>0.699</c:v>
                </c:pt>
                <c:pt idx="538">
                  <c:v>0.826</c:v>
                </c:pt>
                <c:pt idx="539">
                  <c:v>0.477</c:v>
                </c:pt>
                <c:pt idx="540">
                  <c:v>0.062</c:v>
                </c:pt>
                <c:pt idx="541">
                  <c:v>0.378</c:v>
                </c:pt>
                <c:pt idx="542">
                  <c:v>0.339</c:v>
                </c:pt>
                <c:pt idx="543">
                  <c:v>0.925</c:v>
                </c:pt>
                <c:pt idx="544">
                  <c:v>0.882</c:v>
                </c:pt>
                <c:pt idx="545">
                  <c:v>0.1</c:v>
                </c:pt>
                <c:pt idx="546">
                  <c:v>0.387</c:v>
                </c:pt>
                <c:pt idx="547">
                  <c:v>0.418</c:v>
                </c:pt>
                <c:pt idx="548">
                  <c:v>0.764</c:v>
                </c:pt>
                <c:pt idx="549">
                  <c:v>0.255</c:v>
                </c:pt>
                <c:pt idx="550">
                  <c:v>0.776</c:v>
                </c:pt>
                <c:pt idx="551">
                  <c:v>0.175</c:v>
                </c:pt>
                <c:pt idx="552">
                  <c:v>0.287</c:v>
                </c:pt>
                <c:pt idx="553">
                  <c:v>0.669</c:v>
                </c:pt>
                <c:pt idx="554">
                  <c:v>0.242</c:v>
                </c:pt>
                <c:pt idx="555">
                  <c:v>0.653</c:v>
                </c:pt>
                <c:pt idx="556">
                  <c:v>0.875</c:v>
                </c:pt>
                <c:pt idx="557">
                  <c:v>0.799</c:v>
                </c:pt>
                <c:pt idx="558">
                  <c:v>0.348</c:v>
                </c:pt>
                <c:pt idx="559">
                  <c:v>0.727</c:v>
                </c:pt>
                <c:pt idx="560">
                  <c:v>0.526</c:v>
                </c:pt>
                <c:pt idx="561">
                  <c:v>0.109</c:v>
                </c:pt>
                <c:pt idx="562">
                  <c:v>0.342</c:v>
                </c:pt>
                <c:pt idx="563">
                  <c:v>0.227</c:v>
                </c:pt>
                <c:pt idx="564">
                  <c:v>0.422</c:v>
                </c:pt>
                <c:pt idx="565">
                  <c:v>0.103</c:v>
                </c:pt>
                <c:pt idx="566">
                  <c:v>0.876</c:v>
                </c:pt>
                <c:pt idx="567">
                  <c:v>0.845</c:v>
                </c:pt>
                <c:pt idx="568">
                  <c:v>0.14</c:v>
                </c:pt>
                <c:pt idx="569">
                  <c:v>0.049</c:v>
                </c:pt>
                <c:pt idx="570">
                  <c:v>0.109</c:v>
                </c:pt>
                <c:pt idx="571">
                  <c:v>0.823</c:v>
                </c:pt>
                <c:pt idx="572">
                  <c:v>0.817</c:v>
                </c:pt>
                <c:pt idx="573">
                  <c:v>0.126</c:v>
                </c:pt>
                <c:pt idx="574">
                  <c:v>0.738</c:v>
                </c:pt>
                <c:pt idx="575">
                  <c:v>0.673</c:v>
                </c:pt>
                <c:pt idx="576">
                  <c:v>0.895</c:v>
                </c:pt>
                <c:pt idx="577">
                  <c:v>0.174</c:v>
                </c:pt>
                <c:pt idx="578">
                  <c:v>0.529</c:v>
                </c:pt>
                <c:pt idx="579">
                  <c:v>0.1</c:v>
                </c:pt>
                <c:pt idx="580">
                  <c:v>0.221</c:v>
                </c:pt>
                <c:pt idx="581">
                  <c:v>0.069</c:v>
                </c:pt>
                <c:pt idx="582">
                  <c:v>0.627</c:v>
                </c:pt>
                <c:pt idx="583">
                  <c:v>0.358</c:v>
                </c:pt>
                <c:pt idx="584">
                  <c:v>0.312</c:v>
                </c:pt>
                <c:pt idx="585">
                  <c:v>0.097</c:v>
                </c:pt>
                <c:pt idx="586">
                  <c:v>0.201</c:v>
                </c:pt>
                <c:pt idx="587">
                  <c:v>0.495</c:v>
                </c:pt>
                <c:pt idx="588">
                  <c:v>0.041</c:v>
                </c:pt>
                <c:pt idx="589">
                  <c:v>0.375</c:v>
                </c:pt>
                <c:pt idx="590">
                  <c:v>0.122</c:v>
                </c:pt>
                <c:pt idx="591">
                  <c:v>0.147</c:v>
                </c:pt>
                <c:pt idx="592">
                  <c:v>0.36</c:v>
                </c:pt>
                <c:pt idx="593">
                  <c:v>0.204</c:v>
                </c:pt>
                <c:pt idx="594">
                  <c:v>0.551</c:v>
                </c:pt>
                <c:pt idx="595">
                  <c:v>0.177</c:v>
                </c:pt>
                <c:pt idx="596">
                  <c:v>0.146</c:v>
                </c:pt>
                <c:pt idx="597">
                  <c:v>0.608</c:v>
                </c:pt>
                <c:pt idx="598">
                  <c:v>0.322</c:v>
                </c:pt>
                <c:pt idx="599">
                  <c:v>0.438</c:v>
                </c:pt>
                <c:pt idx="600">
                  <c:v>0.469</c:v>
                </c:pt>
                <c:pt idx="601">
                  <c:v>0.863</c:v>
                </c:pt>
                <c:pt idx="602">
                  <c:v>0.287</c:v>
                </c:pt>
                <c:pt idx="603">
                  <c:v>0.136</c:v>
                </c:pt>
                <c:pt idx="604">
                  <c:v>0.493</c:v>
                </c:pt>
                <c:pt idx="605">
                  <c:v>0.141</c:v>
                </c:pt>
                <c:pt idx="606">
                  <c:v>0.397</c:v>
                </c:pt>
                <c:pt idx="607">
                  <c:v>0.739</c:v>
                </c:pt>
                <c:pt idx="608">
                  <c:v>0.385</c:v>
                </c:pt>
                <c:pt idx="609">
                  <c:v>0.04</c:v>
                </c:pt>
                <c:pt idx="610">
                  <c:v>0.429</c:v>
                </c:pt>
                <c:pt idx="611">
                  <c:v>0.172</c:v>
                </c:pt>
                <c:pt idx="612">
                  <c:v>0.562</c:v>
                </c:pt>
                <c:pt idx="613">
                  <c:v>0.114</c:v>
                </c:pt>
                <c:pt idx="614">
                  <c:v>0.251</c:v>
                </c:pt>
                <c:pt idx="615">
                  <c:v>0.262</c:v>
                </c:pt>
                <c:pt idx="616">
                  <c:v>0.46</c:v>
                </c:pt>
                <c:pt idx="617">
                  <c:v>0.396</c:v>
                </c:pt>
                <c:pt idx="618">
                  <c:v>0.176</c:v>
                </c:pt>
                <c:pt idx="619">
                  <c:v>0.04</c:v>
                </c:pt>
                <c:pt idx="620">
                  <c:v>0.069</c:v>
                </c:pt>
                <c:pt idx="621">
                  <c:v>0.207</c:v>
                </c:pt>
                <c:pt idx="622">
                  <c:v>0.187</c:v>
                </c:pt>
                <c:pt idx="623">
                  <c:v>0.132</c:v>
                </c:pt>
                <c:pt idx="624">
                  <c:v>0.206</c:v>
                </c:pt>
                <c:pt idx="625">
                  <c:v>0.179</c:v>
                </c:pt>
                <c:pt idx="626">
                  <c:v>0.862</c:v>
                </c:pt>
                <c:pt idx="627">
                  <c:v>0.301</c:v>
                </c:pt>
                <c:pt idx="628">
                  <c:v>0.31</c:v>
                </c:pt>
                <c:pt idx="629">
                  <c:v>0.845</c:v>
                </c:pt>
                <c:pt idx="630">
                  <c:v>0.099</c:v>
                </c:pt>
                <c:pt idx="631">
                  <c:v>0.722</c:v>
                </c:pt>
                <c:pt idx="632">
                  <c:v>0.126</c:v>
                </c:pt>
                <c:pt idx="633">
                  <c:v>0.136</c:v>
                </c:pt>
                <c:pt idx="634">
                  <c:v>0.33</c:v>
                </c:pt>
                <c:pt idx="635">
                  <c:v>0.187</c:v>
                </c:pt>
                <c:pt idx="636">
                  <c:v>0.33</c:v>
                </c:pt>
                <c:pt idx="637">
                  <c:v>0.023</c:v>
                </c:pt>
                <c:pt idx="638">
                  <c:v>0.094</c:v>
                </c:pt>
                <c:pt idx="639">
                  <c:v>0.091</c:v>
                </c:pt>
                <c:pt idx="640">
                  <c:v>0.205</c:v>
                </c:pt>
                <c:pt idx="641">
                  <c:v>0.057</c:v>
                </c:pt>
                <c:pt idx="642">
                  <c:v>0.229</c:v>
                </c:pt>
                <c:pt idx="643">
                  <c:v>0.295</c:v>
                </c:pt>
                <c:pt idx="644">
                  <c:v>0.531</c:v>
                </c:pt>
                <c:pt idx="645">
                  <c:v>0.885</c:v>
                </c:pt>
                <c:pt idx="646">
                  <c:v>0.069</c:v>
                </c:pt>
                <c:pt idx="647">
                  <c:v>0.231</c:v>
                </c:pt>
                <c:pt idx="648">
                  <c:v>0.282</c:v>
                </c:pt>
                <c:pt idx="649">
                  <c:v>0.235</c:v>
                </c:pt>
                <c:pt idx="650">
                  <c:v>0.437</c:v>
                </c:pt>
                <c:pt idx="651">
                  <c:v>0.233</c:v>
                </c:pt>
                <c:pt idx="652">
                  <c:v>0.051</c:v>
                </c:pt>
                <c:pt idx="653">
                  <c:v>0.42</c:v>
                </c:pt>
                <c:pt idx="654">
                  <c:v>0.801</c:v>
                </c:pt>
                <c:pt idx="655">
                  <c:v>0.544</c:v>
                </c:pt>
                <c:pt idx="656">
                  <c:v>0.285</c:v>
                </c:pt>
                <c:pt idx="657">
                  <c:v>0.254</c:v>
                </c:pt>
                <c:pt idx="658">
                  <c:v>0.259</c:v>
                </c:pt>
                <c:pt idx="659">
                  <c:v>0.166</c:v>
                </c:pt>
                <c:pt idx="660">
                  <c:v>0.119</c:v>
                </c:pt>
                <c:pt idx="661">
                  <c:v>0.142</c:v>
                </c:pt>
                <c:pt idx="662">
                  <c:v>0.144</c:v>
                </c:pt>
                <c:pt idx="663">
                  <c:v>0.322</c:v>
                </c:pt>
                <c:pt idx="664">
                  <c:v>0.311</c:v>
                </c:pt>
                <c:pt idx="665">
                  <c:v>0.412</c:v>
                </c:pt>
                <c:pt idx="666">
                  <c:v>0.172</c:v>
                </c:pt>
                <c:pt idx="667">
                  <c:v>0.233</c:v>
                </c:pt>
                <c:pt idx="668">
                  <c:v>0.534</c:v>
                </c:pt>
                <c:pt idx="669">
                  <c:v>0.567</c:v>
                </c:pt>
                <c:pt idx="670">
                  <c:v>0.501</c:v>
                </c:pt>
                <c:pt idx="671">
                  <c:v>0.206</c:v>
                </c:pt>
                <c:pt idx="672">
                  <c:v>0.744</c:v>
                </c:pt>
                <c:pt idx="673">
                  <c:v>0.053</c:v>
                </c:pt>
                <c:pt idx="674">
                  <c:v>0.673</c:v>
                </c:pt>
                <c:pt idx="675">
                  <c:v>0.883</c:v>
                </c:pt>
                <c:pt idx="676">
                  <c:v>0.313</c:v>
                </c:pt>
                <c:pt idx="677">
                  <c:v>0.272</c:v>
                </c:pt>
                <c:pt idx="678">
                  <c:v>0.258</c:v>
                </c:pt>
                <c:pt idx="679">
                  <c:v>0.162</c:v>
                </c:pt>
                <c:pt idx="680">
                  <c:v>0.033</c:v>
                </c:pt>
                <c:pt idx="681">
                  <c:v>0.066</c:v>
                </c:pt>
                <c:pt idx="682">
                  <c:v>0.128</c:v>
                </c:pt>
                <c:pt idx="683">
                  <c:v>0.263</c:v>
                </c:pt>
                <c:pt idx="684">
                  <c:v>0.019</c:v>
                </c:pt>
                <c:pt idx="685">
                  <c:v>0.061</c:v>
                </c:pt>
                <c:pt idx="686">
                  <c:v>0.317</c:v>
                </c:pt>
                <c:pt idx="687">
                  <c:v>0.842</c:v>
                </c:pt>
                <c:pt idx="688">
                  <c:v>0.161</c:v>
                </c:pt>
                <c:pt idx="689">
                  <c:v>0.395</c:v>
                </c:pt>
                <c:pt idx="690">
                  <c:v>0.076</c:v>
                </c:pt>
                <c:pt idx="691">
                  <c:v>0.127</c:v>
                </c:pt>
                <c:pt idx="692">
                  <c:v>0.027</c:v>
                </c:pt>
                <c:pt idx="693">
                  <c:v>0.148</c:v>
                </c:pt>
                <c:pt idx="694">
                  <c:v>0.241</c:v>
                </c:pt>
                <c:pt idx="695">
                  <c:v>0.277</c:v>
                </c:pt>
                <c:pt idx="696">
                  <c:v>0.162</c:v>
                </c:pt>
                <c:pt idx="697">
                  <c:v>0.667</c:v>
                </c:pt>
                <c:pt idx="698">
                  <c:v>0.288</c:v>
                </c:pt>
                <c:pt idx="699">
                  <c:v>0.381</c:v>
                </c:pt>
                <c:pt idx="700">
                  <c:v>0.147</c:v>
                </c:pt>
                <c:pt idx="701">
                  <c:v>0.082</c:v>
                </c:pt>
                <c:pt idx="702">
                  <c:v>0.069</c:v>
                </c:pt>
                <c:pt idx="703">
                  <c:v>0.175</c:v>
                </c:pt>
                <c:pt idx="704">
                  <c:v>0.319</c:v>
                </c:pt>
                <c:pt idx="705">
                  <c:v>0.071</c:v>
                </c:pt>
                <c:pt idx="706">
                  <c:v>0.165</c:v>
                </c:pt>
                <c:pt idx="707">
                  <c:v>0.246</c:v>
                </c:pt>
                <c:pt idx="708">
                  <c:v>0.039</c:v>
                </c:pt>
                <c:pt idx="709">
                  <c:v>0.225</c:v>
                </c:pt>
                <c:pt idx="710">
                  <c:v>0.322</c:v>
                </c:pt>
                <c:pt idx="711">
                  <c:v>0.167</c:v>
                </c:pt>
                <c:pt idx="712">
                  <c:v>0.66</c:v>
                </c:pt>
                <c:pt idx="713">
                  <c:v>0.285</c:v>
                </c:pt>
                <c:pt idx="714">
                  <c:v>0.071</c:v>
                </c:pt>
                <c:pt idx="715">
                  <c:v>0.776</c:v>
                </c:pt>
                <c:pt idx="716">
                  <c:v>0.214</c:v>
                </c:pt>
                <c:pt idx="717">
                  <c:v>0.134</c:v>
                </c:pt>
                <c:pt idx="718">
                  <c:v>0.193</c:v>
                </c:pt>
                <c:pt idx="719">
                  <c:v>0.044</c:v>
                </c:pt>
                <c:pt idx="720">
                  <c:v>0.313</c:v>
                </c:pt>
                <c:pt idx="721">
                  <c:v>0.081</c:v>
                </c:pt>
                <c:pt idx="722">
                  <c:v>0.307</c:v>
                </c:pt>
                <c:pt idx="723">
                  <c:v>0.195</c:v>
                </c:pt>
                <c:pt idx="724">
                  <c:v>0.325</c:v>
                </c:pt>
                <c:pt idx="725">
                  <c:v>0.129</c:v>
                </c:pt>
                <c:pt idx="726">
                  <c:v>0.21</c:v>
                </c:pt>
                <c:pt idx="727">
                  <c:v>0.046</c:v>
                </c:pt>
                <c:pt idx="728">
                  <c:v>0.774</c:v>
                </c:pt>
                <c:pt idx="729">
                  <c:v>0.374</c:v>
                </c:pt>
                <c:pt idx="730">
                  <c:v>0.486</c:v>
                </c:pt>
                <c:pt idx="731">
                  <c:v>0.186</c:v>
                </c:pt>
                <c:pt idx="732">
                  <c:v>0.092</c:v>
                </c:pt>
                <c:pt idx="733">
                  <c:v>0.046</c:v>
                </c:pt>
                <c:pt idx="734">
                  <c:v>0.241</c:v>
                </c:pt>
                <c:pt idx="735">
                  <c:v>0.165</c:v>
                </c:pt>
                <c:pt idx="736">
                  <c:v>0.113</c:v>
                </c:pt>
                <c:pt idx="737">
                  <c:v>0.333</c:v>
                </c:pt>
                <c:pt idx="738">
                  <c:v>0.059</c:v>
                </c:pt>
                <c:pt idx="739">
                  <c:v>0.093</c:v>
                </c:pt>
                <c:pt idx="740">
                  <c:v>0.028</c:v>
                </c:pt>
                <c:pt idx="741">
                  <c:v>0.142</c:v>
                </c:pt>
                <c:pt idx="742">
                  <c:v>0.2</c:v>
                </c:pt>
                <c:pt idx="743">
                  <c:v>0.085</c:v>
                </c:pt>
                <c:pt idx="744">
                  <c:v>0.098</c:v>
                </c:pt>
                <c:pt idx="745">
                  <c:v>0.071</c:v>
                </c:pt>
                <c:pt idx="746">
                  <c:v>0.111</c:v>
                </c:pt>
                <c:pt idx="747">
                  <c:v>0.044</c:v>
                </c:pt>
                <c:pt idx="748">
                  <c:v>0.047</c:v>
                </c:pt>
                <c:pt idx="749">
                  <c:v>0.3</c:v>
                </c:pt>
                <c:pt idx="750">
                  <c:v>0.321</c:v>
                </c:pt>
                <c:pt idx="751">
                  <c:v>0.143</c:v>
                </c:pt>
                <c:pt idx="752">
                  <c:v>0.325</c:v>
                </c:pt>
                <c:pt idx="753">
                  <c:v>0.803</c:v>
                </c:pt>
                <c:pt idx="754">
                  <c:v>0.068</c:v>
                </c:pt>
                <c:pt idx="755">
                  <c:v>0.169</c:v>
                </c:pt>
                <c:pt idx="756">
                  <c:v>0.03</c:v>
                </c:pt>
                <c:pt idx="757">
                  <c:v>0.052</c:v>
                </c:pt>
                <c:pt idx="758">
                  <c:v>0.093</c:v>
                </c:pt>
                <c:pt idx="759">
                  <c:v>0.07</c:v>
                </c:pt>
                <c:pt idx="760">
                  <c:v>0.261</c:v>
                </c:pt>
                <c:pt idx="761">
                  <c:v>0.122</c:v>
                </c:pt>
                <c:pt idx="762">
                  <c:v>0.151</c:v>
                </c:pt>
                <c:pt idx="763">
                  <c:v>0.229</c:v>
                </c:pt>
                <c:pt idx="764">
                  <c:v>0.148</c:v>
                </c:pt>
                <c:pt idx="765">
                  <c:v>0.571</c:v>
                </c:pt>
                <c:pt idx="766">
                  <c:v>0.585</c:v>
                </c:pt>
                <c:pt idx="767">
                  <c:v>0.8</c:v>
                </c:pt>
                <c:pt idx="768">
                  <c:v>0.03</c:v>
                </c:pt>
                <c:pt idx="769">
                  <c:v>0.2</c:v>
                </c:pt>
                <c:pt idx="770">
                  <c:v>0.009</c:v>
                </c:pt>
                <c:pt idx="771">
                  <c:v>0.496</c:v>
                </c:pt>
                <c:pt idx="772">
                  <c:v>0.121</c:v>
                </c:pt>
                <c:pt idx="773">
                  <c:v>0.254</c:v>
                </c:pt>
                <c:pt idx="774">
                  <c:v>0.076</c:v>
                </c:pt>
                <c:pt idx="775">
                  <c:v>0.093</c:v>
                </c:pt>
                <c:pt idx="776">
                  <c:v>0.172</c:v>
                </c:pt>
                <c:pt idx="777">
                  <c:v>0.097</c:v>
                </c:pt>
                <c:pt idx="778">
                  <c:v>0.067</c:v>
                </c:pt>
                <c:pt idx="779">
                  <c:v>0.07</c:v>
                </c:pt>
                <c:pt idx="780">
                  <c:v>0.464</c:v>
                </c:pt>
                <c:pt idx="781">
                  <c:v>0.566</c:v>
                </c:pt>
                <c:pt idx="782">
                  <c:v>0.15</c:v>
                </c:pt>
                <c:pt idx="783">
                  <c:v>0.284</c:v>
                </c:pt>
                <c:pt idx="784">
                  <c:v>0.426</c:v>
                </c:pt>
                <c:pt idx="785">
                  <c:v>0.782</c:v>
                </c:pt>
                <c:pt idx="786">
                  <c:v>0.145</c:v>
                </c:pt>
                <c:pt idx="787">
                  <c:v>0.104</c:v>
                </c:pt>
                <c:pt idx="788">
                  <c:v>0.081</c:v>
                </c:pt>
                <c:pt idx="789">
                  <c:v>0.053</c:v>
                </c:pt>
                <c:pt idx="790">
                  <c:v>0.119</c:v>
                </c:pt>
                <c:pt idx="791">
                  <c:v>0.061</c:v>
                </c:pt>
                <c:pt idx="792">
                  <c:v>0.134</c:v>
                </c:pt>
                <c:pt idx="793">
                  <c:v>0.114</c:v>
                </c:pt>
                <c:pt idx="794">
                  <c:v>0.052</c:v>
                </c:pt>
                <c:pt idx="795">
                  <c:v>0.105</c:v>
                </c:pt>
                <c:pt idx="796">
                  <c:v>0.29</c:v>
                </c:pt>
                <c:pt idx="797">
                  <c:v>0.215</c:v>
                </c:pt>
                <c:pt idx="798">
                  <c:v>0.06</c:v>
                </c:pt>
                <c:pt idx="799">
                  <c:v>0.029</c:v>
                </c:pt>
                <c:pt idx="800">
                  <c:v>0.213</c:v>
                </c:pt>
                <c:pt idx="801">
                  <c:v>0.211</c:v>
                </c:pt>
                <c:pt idx="802">
                  <c:v>0.652</c:v>
                </c:pt>
                <c:pt idx="803">
                  <c:v>0.12</c:v>
                </c:pt>
                <c:pt idx="804">
                  <c:v>0.033</c:v>
                </c:pt>
                <c:pt idx="805">
                  <c:v>0.648</c:v>
                </c:pt>
                <c:pt idx="806">
                  <c:v>0.075</c:v>
                </c:pt>
                <c:pt idx="807">
                  <c:v>0.057</c:v>
                </c:pt>
                <c:pt idx="808">
                  <c:v>0.111</c:v>
                </c:pt>
                <c:pt idx="809">
                  <c:v>0.106</c:v>
                </c:pt>
                <c:pt idx="810">
                  <c:v>0.059</c:v>
                </c:pt>
                <c:pt idx="811">
                  <c:v>0.068</c:v>
                </c:pt>
                <c:pt idx="812">
                  <c:v>0.806</c:v>
                </c:pt>
                <c:pt idx="813">
                  <c:v>0.271</c:v>
                </c:pt>
                <c:pt idx="814">
                  <c:v>0.137</c:v>
                </c:pt>
                <c:pt idx="815">
                  <c:v>0.087</c:v>
                </c:pt>
                <c:pt idx="816">
                  <c:v>0.072</c:v>
                </c:pt>
                <c:pt idx="817">
                  <c:v>0.058</c:v>
                </c:pt>
                <c:pt idx="818">
                  <c:v>0.046</c:v>
                </c:pt>
                <c:pt idx="819">
                  <c:v>0.735</c:v>
                </c:pt>
                <c:pt idx="820">
                  <c:v>0.046</c:v>
                </c:pt>
                <c:pt idx="821">
                  <c:v>0.049</c:v>
                </c:pt>
                <c:pt idx="822">
                  <c:v>0.045</c:v>
                </c:pt>
                <c:pt idx="823">
                  <c:v>0.151</c:v>
                </c:pt>
                <c:pt idx="824">
                  <c:v>0.047</c:v>
                </c:pt>
                <c:pt idx="825">
                  <c:v>0.03</c:v>
                </c:pt>
                <c:pt idx="826">
                  <c:v>0.071</c:v>
                </c:pt>
                <c:pt idx="827">
                  <c:v>0.057</c:v>
                </c:pt>
                <c:pt idx="828">
                  <c:v>0.75</c:v>
                </c:pt>
                <c:pt idx="829">
                  <c:v>0.043</c:v>
                </c:pt>
                <c:pt idx="830">
                  <c:v>0.04</c:v>
                </c:pt>
                <c:pt idx="831">
                  <c:v>0.546</c:v>
                </c:pt>
                <c:pt idx="832">
                  <c:v>0.133</c:v>
                </c:pt>
                <c:pt idx="833">
                  <c:v>0.722</c:v>
                </c:pt>
                <c:pt idx="834">
                  <c:v>0.032</c:v>
                </c:pt>
                <c:pt idx="835">
                  <c:v>0.273</c:v>
                </c:pt>
                <c:pt idx="836">
                  <c:v>0.046</c:v>
                </c:pt>
                <c:pt idx="837">
                  <c:v>0.258</c:v>
                </c:pt>
                <c:pt idx="838">
                  <c:v>0.075</c:v>
                </c:pt>
                <c:pt idx="839">
                  <c:v>0.046</c:v>
                </c:pt>
                <c:pt idx="840">
                  <c:v>0.015</c:v>
                </c:pt>
                <c:pt idx="841">
                  <c:v>0.121</c:v>
                </c:pt>
                <c:pt idx="842">
                  <c:v>0.154</c:v>
                </c:pt>
                <c:pt idx="843">
                  <c:v>0.302</c:v>
                </c:pt>
                <c:pt idx="844">
                  <c:v>0.039</c:v>
                </c:pt>
                <c:pt idx="845">
                  <c:v>0.056</c:v>
                </c:pt>
                <c:pt idx="846">
                  <c:v>0.08</c:v>
                </c:pt>
                <c:pt idx="847">
                  <c:v>0.112</c:v>
                </c:pt>
                <c:pt idx="848">
                  <c:v>0.287</c:v>
                </c:pt>
                <c:pt idx="849">
                  <c:v>0.065</c:v>
                </c:pt>
                <c:pt idx="850">
                  <c:v>0.083</c:v>
                </c:pt>
                <c:pt idx="851">
                  <c:v>0.068</c:v>
                </c:pt>
                <c:pt idx="852">
                  <c:v>0.157</c:v>
                </c:pt>
                <c:pt idx="853">
                  <c:v>0.043</c:v>
                </c:pt>
                <c:pt idx="854">
                  <c:v>0.081</c:v>
                </c:pt>
                <c:pt idx="855">
                  <c:v>0.071</c:v>
                </c:pt>
                <c:pt idx="856">
                  <c:v>0.052</c:v>
                </c:pt>
                <c:pt idx="857">
                  <c:v>0.09</c:v>
                </c:pt>
                <c:pt idx="858">
                  <c:v>0.157</c:v>
                </c:pt>
                <c:pt idx="859">
                  <c:v>0.045</c:v>
                </c:pt>
                <c:pt idx="860">
                  <c:v>0.661</c:v>
                </c:pt>
                <c:pt idx="861">
                  <c:v>0.117</c:v>
                </c:pt>
                <c:pt idx="862">
                  <c:v>0.051</c:v>
                </c:pt>
                <c:pt idx="863">
                  <c:v>0.049</c:v>
                </c:pt>
                <c:pt idx="864">
                  <c:v>0.31</c:v>
                </c:pt>
                <c:pt idx="865">
                  <c:v>0.414</c:v>
                </c:pt>
                <c:pt idx="866">
                  <c:v>0.021</c:v>
                </c:pt>
                <c:pt idx="867">
                  <c:v>0.087</c:v>
                </c:pt>
                <c:pt idx="868">
                  <c:v>0.104</c:v>
                </c:pt>
                <c:pt idx="869">
                  <c:v>0.037</c:v>
                </c:pt>
                <c:pt idx="870">
                  <c:v>0.062</c:v>
                </c:pt>
                <c:pt idx="871">
                  <c:v>0.373</c:v>
                </c:pt>
                <c:pt idx="872">
                  <c:v>0.058</c:v>
                </c:pt>
                <c:pt idx="873">
                  <c:v>0.069</c:v>
                </c:pt>
                <c:pt idx="874">
                  <c:v>0.687</c:v>
                </c:pt>
                <c:pt idx="875">
                  <c:v>0.01</c:v>
                </c:pt>
                <c:pt idx="876">
                  <c:v>0.25</c:v>
                </c:pt>
                <c:pt idx="877">
                  <c:v>0.034</c:v>
                </c:pt>
                <c:pt idx="878">
                  <c:v>0.091</c:v>
                </c:pt>
                <c:pt idx="879">
                  <c:v>0.015</c:v>
                </c:pt>
                <c:pt idx="880">
                  <c:v>0.022</c:v>
                </c:pt>
                <c:pt idx="881">
                  <c:v>0.064</c:v>
                </c:pt>
                <c:pt idx="882">
                  <c:v>0.062</c:v>
                </c:pt>
                <c:pt idx="883">
                  <c:v>0.127</c:v>
                </c:pt>
                <c:pt idx="884">
                  <c:v>0.093</c:v>
                </c:pt>
                <c:pt idx="885">
                  <c:v>0.427</c:v>
                </c:pt>
                <c:pt idx="886">
                  <c:v>0.022</c:v>
                </c:pt>
                <c:pt idx="887">
                  <c:v>0.035</c:v>
                </c:pt>
                <c:pt idx="888">
                  <c:v>0.157</c:v>
                </c:pt>
                <c:pt idx="889">
                  <c:v>0.032</c:v>
                </c:pt>
                <c:pt idx="890">
                  <c:v>0.402</c:v>
                </c:pt>
                <c:pt idx="891">
                  <c:v>0.155</c:v>
                </c:pt>
                <c:pt idx="892">
                  <c:v>0.199</c:v>
                </c:pt>
                <c:pt idx="893">
                  <c:v>0.012</c:v>
                </c:pt>
                <c:pt idx="894">
                  <c:v>0.004</c:v>
                </c:pt>
                <c:pt idx="895">
                  <c:v>0.052</c:v>
                </c:pt>
                <c:pt idx="896">
                  <c:v>0.045</c:v>
                </c:pt>
                <c:pt idx="897">
                  <c:v>0.096</c:v>
                </c:pt>
                <c:pt idx="898">
                  <c:v>0.059</c:v>
                </c:pt>
                <c:pt idx="899">
                  <c:v>0.079</c:v>
                </c:pt>
                <c:pt idx="900">
                  <c:v>0.069</c:v>
                </c:pt>
                <c:pt idx="901">
                  <c:v>0.046</c:v>
                </c:pt>
                <c:pt idx="902">
                  <c:v>0.042</c:v>
                </c:pt>
                <c:pt idx="903">
                  <c:v>0.048</c:v>
                </c:pt>
                <c:pt idx="904">
                  <c:v>0.008</c:v>
                </c:pt>
                <c:pt idx="905">
                  <c:v>0.104</c:v>
                </c:pt>
                <c:pt idx="906">
                  <c:v>0.138</c:v>
                </c:pt>
                <c:pt idx="907">
                  <c:v>0.118</c:v>
                </c:pt>
                <c:pt idx="908">
                  <c:v>0.096</c:v>
                </c:pt>
                <c:pt idx="909">
                  <c:v>0.159</c:v>
                </c:pt>
                <c:pt idx="910">
                  <c:v>0.122</c:v>
                </c:pt>
                <c:pt idx="911">
                  <c:v>0.145</c:v>
                </c:pt>
                <c:pt idx="912">
                  <c:v>0.07</c:v>
                </c:pt>
                <c:pt idx="913">
                  <c:v>0.042</c:v>
                </c:pt>
                <c:pt idx="914">
                  <c:v>0.033</c:v>
                </c:pt>
                <c:pt idx="915">
                  <c:v>0.022</c:v>
                </c:pt>
                <c:pt idx="916">
                  <c:v>0.091</c:v>
                </c:pt>
                <c:pt idx="917">
                  <c:v>0.235</c:v>
                </c:pt>
                <c:pt idx="918">
                  <c:v>0.082</c:v>
                </c:pt>
                <c:pt idx="919">
                  <c:v>0.077</c:v>
                </c:pt>
                <c:pt idx="920">
                  <c:v>0.054</c:v>
                </c:pt>
                <c:pt idx="921">
                  <c:v>0.078</c:v>
                </c:pt>
                <c:pt idx="922">
                  <c:v>0.064</c:v>
                </c:pt>
                <c:pt idx="923">
                  <c:v>0.084</c:v>
                </c:pt>
                <c:pt idx="924">
                  <c:v>0.116</c:v>
                </c:pt>
                <c:pt idx="925">
                  <c:v>0.042</c:v>
                </c:pt>
                <c:pt idx="926">
                  <c:v>0.072</c:v>
                </c:pt>
                <c:pt idx="927">
                  <c:v>0.133</c:v>
                </c:pt>
                <c:pt idx="928">
                  <c:v>0.106</c:v>
                </c:pt>
                <c:pt idx="929">
                  <c:v>0.661</c:v>
                </c:pt>
                <c:pt idx="930">
                  <c:v>0.034</c:v>
                </c:pt>
                <c:pt idx="931">
                  <c:v>0.056</c:v>
                </c:pt>
                <c:pt idx="932">
                  <c:v>0.389</c:v>
                </c:pt>
                <c:pt idx="933">
                  <c:v>0.008</c:v>
                </c:pt>
                <c:pt idx="934">
                  <c:v>0.024</c:v>
                </c:pt>
                <c:pt idx="935">
                  <c:v>0.062</c:v>
                </c:pt>
                <c:pt idx="936">
                  <c:v>0.109</c:v>
                </c:pt>
                <c:pt idx="937">
                  <c:v>0.027</c:v>
                </c:pt>
                <c:pt idx="938">
                  <c:v>0.046</c:v>
                </c:pt>
                <c:pt idx="939">
                  <c:v>0.075</c:v>
                </c:pt>
                <c:pt idx="940">
                  <c:v>0.056</c:v>
                </c:pt>
                <c:pt idx="941">
                  <c:v>0.118</c:v>
                </c:pt>
                <c:pt idx="942">
                  <c:v>0.099</c:v>
                </c:pt>
                <c:pt idx="943">
                  <c:v>0.141</c:v>
                </c:pt>
                <c:pt idx="944">
                  <c:v>0.009</c:v>
                </c:pt>
                <c:pt idx="945">
                  <c:v>0.231</c:v>
                </c:pt>
                <c:pt idx="946">
                  <c:v>0.04</c:v>
                </c:pt>
                <c:pt idx="947">
                  <c:v>0.018</c:v>
                </c:pt>
                <c:pt idx="948">
                  <c:v>0.074</c:v>
                </c:pt>
                <c:pt idx="949">
                  <c:v>0.106</c:v>
                </c:pt>
                <c:pt idx="950">
                  <c:v>0.048</c:v>
                </c:pt>
                <c:pt idx="951">
                  <c:v>0.014</c:v>
                </c:pt>
                <c:pt idx="952">
                  <c:v>0.033</c:v>
                </c:pt>
                <c:pt idx="953">
                  <c:v>0.4</c:v>
                </c:pt>
                <c:pt idx="954">
                  <c:v>0.075</c:v>
                </c:pt>
                <c:pt idx="955">
                  <c:v>0.17</c:v>
                </c:pt>
                <c:pt idx="956">
                  <c:v>0.042</c:v>
                </c:pt>
                <c:pt idx="957">
                  <c:v>0.023</c:v>
                </c:pt>
                <c:pt idx="958">
                  <c:v>0.019</c:v>
                </c:pt>
                <c:pt idx="959">
                  <c:v>0.022</c:v>
                </c:pt>
                <c:pt idx="960">
                  <c:v>0.06</c:v>
                </c:pt>
                <c:pt idx="961">
                  <c:v>0.013</c:v>
                </c:pt>
                <c:pt idx="962">
                  <c:v>0.112</c:v>
                </c:pt>
                <c:pt idx="963">
                  <c:v>0.604</c:v>
                </c:pt>
                <c:pt idx="964">
                  <c:v>0.114</c:v>
                </c:pt>
                <c:pt idx="965">
                  <c:v>0.104</c:v>
                </c:pt>
                <c:pt idx="966">
                  <c:v>0.011</c:v>
                </c:pt>
                <c:pt idx="967">
                  <c:v>0.094</c:v>
                </c:pt>
                <c:pt idx="968">
                  <c:v>0.044</c:v>
                </c:pt>
                <c:pt idx="969">
                  <c:v>0.084</c:v>
                </c:pt>
                <c:pt idx="970">
                  <c:v>0.077</c:v>
                </c:pt>
                <c:pt idx="971">
                  <c:v>0.111</c:v>
                </c:pt>
                <c:pt idx="972">
                  <c:v>0.14</c:v>
                </c:pt>
                <c:pt idx="973">
                  <c:v>0.022</c:v>
                </c:pt>
                <c:pt idx="974">
                  <c:v>0.033</c:v>
                </c:pt>
                <c:pt idx="975">
                  <c:v>0.065</c:v>
                </c:pt>
                <c:pt idx="976">
                  <c:v>0.014</c:v>
                </c:pt>
                <c:pt idx="977">
                  <c:v>0.032</c:v>
                </c:pt>
                <c:pt idx="978">
                  <c:v>0.095</c:v>
                </c:pt>
                <c:pt idx="979">
                  <c:v>0.128</c:v>
                </c:pt>
                <c:pt idx="980">
                  <c:v>0.039</c:v>
                </c:pt>
                <c:pt idx="981">
                  <c:v>0.045</c:v>
                </c:pt>
                <c:pt idx="982">
                  <c:v>0.098</c:v>
                </c:pt>
                <c:pt idx="983">
                  <c:v>0.06</c:v>
                </c:pt>
                <c:pt idx="984">
                  <c:v>0.014</c:v>
                </c:pt>
                <c:pt idx="985">
                  <c:v>0.077</c:v>
                </c:pt>
                <c:pt idx="986">
                  <c:v>0.108</c:v>
                </c:pt>
                <c:pt idx="987">
                  <c:v>0.066</c:v>
                </c:pt>
                <c:pt idx="988">
                  <c:v>0.064</c:v>
                </c:pt>
                <c:pt idx="989">
                  <c:v>0.129</c:v>
                </c:pt>
                <c:pt idx="990">
                  <c:v>0.312</c:v>
                </c:pt>
                <c:pt idx="991">
                  <c:v>0.091</c:v>
                </c:pt>
                <c:pt idx="992">
                  <c:v>0.067</c:v>
                </c:pt>
                <c:pt idx="993">
                  <c:v>0.027</c:v>
                </c:pt>
                <c:pt idx="994">
                  <c:v>0.028</c:v>
                </c:pt>
                <c:pt idx="995">
                  <c:v>0.059</c:v>
                </c:pt>
                <c:pt idx="996">
                  <c:v>0.357</c:v>
                </c:pt>
                <c:pt idx="997">
                  <c:v>0.101</c:v>
                </c:pt>
                <c:pt idx="998">
                  <c:v>0.056</c:v>
                </c:pt>
                <c:pt idx="999">
                  <c:v>0.089</c:v>
                </c:pt>
                <c:pt idx="1000">
                  <c:v>0.029</c:v>
                </c:pt>
                <c:pt idx="1001">
                  <c:v>0.087</c:v>
                </c:pt>
                <c:pt idx="1002">
                  <c:v>0.011</c:v>
                </c:pt>
                <c:pt idx="1003">
                  <c:v>0.102</c:v>
                </c:pt>
                <c:pt idx="1004">
                  <c:v>0.023</c:v>
                </c:pt>
                <c:pt idx="1005">
                  <c:v>0.247</c:v>
                </c:pt>
                <c:pt idx="1006">
                  <c:v>0.295</c:v>
                </c:pt>
                <c:pt idx="1007">
                  <c:v>0.033</c:v>
                </c:pt>
                <c:pt idx="1008">
                  <c:v>0.089</c:v>
                </c:pt>
                <c:pt idx="1009">
                  <c:v>0.04</c:v>
                </c:pt>
                <c:pt idx="1010">
                  <c:v>0.013</c:v>
                </c:pt>
                <c:pt idx="1011">
                  <c:v>0.082</c:v>
                </c:pt>
                <c:pt idx="1012">
                  <c:v>0.12</c:v>
                </c:pt>
                <c:pt idx="1013">
                  <c:v>0.075</c:v>
                </c:pt>
                <c:pt idx="1014">
                  <c:v>0.022</c:v>
                </c:pt>
                <c:pt idx="1015">
                  <c:v>0.037</c:v>
                </c:pt>
                <c:pt idx="1016">
                  <c:v>0.095</c:v>
                </c:pt>
                <c:pt idx="1017">
                  <c:v>0.082</c:v>
                </c:pt>
                <c:pt idx="1018">
                  <c:v>0.003</c:v>
                </c:pt>
                <c:pt idx="1019">
                  <c:v>0.015</c:v>
                </c:pt>
                <c:pt idx="1020">
                  <c:v>0.026</c:v>
                </c:pt>
                <c:pt idx="1021">
                  <c:v>0.065</c:v>
                </c:pt>
                <c:pt idx="1022">
                  <c:v>0.276</c:v>
                </c:pt>
                <c:pt idx="1023">
                  <c:v>0.255</c:v>
                </c:pt>
                <c:pt idx="1024">
                  <c:v>0.003</c:v>
                </c:pt>
                <c:pt idx="1025">
                  <c:v>0.01</c:v>
                </c:pt>
                <c:pt idx="1026">
                  <c:v>0.01</c:v>
                </c:pt>
                <c:pt idx="1027">
                  <c:v>0.264</c:v>
                </c:pt>
                <c:pt idx="1028">
                  <c:v>0.032</c:v>
                </c:pt>
                <c:pt idx="1029">
                  <c:v>0.03</c:v>
                </c:pt>
                <c:pt idx="1030">
                  <c:v>0.133</c:v>
                </c:pt>
                <c:pt idx="1031">
                  <c:v>0.09</c:v>
                </c:pt>
                <c:pt idx="1032">
                  <c:v>0.068</c:v>
                </c:pt>
                <c:pt idx="1033">
                  <c:v>0.054</c:v>
                </c:pt>
                <c:pt idx="1034">
                  <c:v>0.044</c:v>
                </c:pt>
                <c:pt idx="1035">
                  <c:v>0.023</c:v>
                </c:pt>
                <c:pt idx="1036">
                  <c:v>0.056</c:v>
                </c:pt>
                <c:pt idx="1037">
                  <c:v>0.048</c:v>
                </c:pt>
                <c:pt idx="1038">
                  <c:v>0.154</c:v>
                </c:pt>
                <c:pt idx="1039">
                  <c:v>0.09</c:v>
                </c:pt>
                <c:pt idx="1040">
                  <c:v>0.023</c:v>
                </c:pt>
                <c:pt idx="1041">
                  <c:v>0.103</c:v>
                </c:pt>
                <c:pt idx="1042">
                  <c:v>0.009</c:v>
                </c:pt>
                <c:pt idx="1043">
                  <c:v>0.125</c:v>
                </c:pt>
                <c:pt idx="1044">
                  <c:v>0.168</c:v>
                </c:pt>
                <c:pt idx="1045">
                  <c:v>0.062</c:v>
                </c:pt>
                <c:pt idx="1046">
                  <c:v>0.037</c:v>
                </c:pt>
                <c:pt idx="1047">
                  <c:v>0.032</c:v>
                </c:pt>
                <c:pt idx="1048">
                  <c:v>0.197</c:v>
                </c:pt>
                <c:pt idx="1049">
                  <c:v>0.019</c:v>
                </c:pt>
                <c:pt idx="1050">
                  <c:v>0.026</c:v>
                </c:pt>
                <c:pt idx="1051">
                  <c:v>0.028</c:v>
                </c:pt>
                <c:pt idx="1052">
                  <c:v>0.136</c:v>
                </c:pt>
                <c:pt idx="1053">
                  <c:v>0.067</c:v>
                </c:pt>
                <c:pt idx="1054">
                  <c:v>0.015</c:v>
                </c:pt>
                <c:pt idx="1055">
                  <c:v>0.01</c:v>
                </c:pt>
                <c:pt idx="1056">
                  <c:v>0.068</c:v>
                </c:pt>
                <c:pt idx="1057">
                  <c:v>0.075</c:v>
                </c:pt>
                <c:pt idx="1058">
                  <c:v>0.067</c:v>
                </c:pt>
                <c:pt idx="1059">
                  <c:v>0.004</c:v>
                </c:pt>
                <c:pt idx="1060">
                  <c:v>0.065</c:v>
                </c:pt>
                <c:pt idx="1061">
                  <c:v>0.033</c:v>
                </c:pt>
                <c:pt idx="1062">
                  <c:v>0.08</c:v>
                </c:pt>
                <c:pt idx="1063">
                  <c:v>0.156</c:v>
                </c:pt>
                <c:pt idx="1064">
                  <c:v>0.061</c:v>
                </c:pt>
                <c:pt idx="1065">
                  <c:v>0.334</c:v>
                </c:pt>
                <c:pt idx="1066">
                  <c:v>0.115</c:v>
                </c:pt>
                <c:pt idx="1067">
                  <c:v>0.01</c:v>
                </c:pt>
                <c:pt idx="1068">
                  <c:v>0.018</c:v>
                </c:pt>
                <c:pt idx="1069">
                  <c:v>0.12</c:v>
                </c:pt>
                <c:pt idx="1070">
                  <c:v>0.01</c:v>
                </c:pt>
                <c:pt idx="1071">
                  <c:v>0.072</c:v>
                </c:pt>
                <c:pt idx="1072">
                  <c:v>0.093</c:v>
                </c:pt>
                <c:pt idx="1073">
                  <c:v>0.087</c:v>
                </c:pt>
                <c:pt idx="1074">
                  <c:v>0.049</c:v>
                </c:pt>
                <c:pt idx="1075">
                  <c:v>0.111</c:v>
                </c:pt>
                <c:pt idx="1076">
                  <c:v>0.001</c:v>
                </c:pt>
                <c:pt idx="1077">
                  <c:v>0.372</c:v>
                </c:pt>
                <c:pt idx="1078">
                  <c:v>0.069</c:v>
                </c:pt>
                <c:pt idx="1079">
                  <c:v>0.004</c:v>
                </c:pt>
                <c:pt idx="1080">
                  <c:v>0.015</c:v>
                </c:pt>
                <c:pt idx="1081">
                  <c:v>0.014</c:v>
                </c:pt>
                <c:pt idx="1082">
                  <c:v>0.079</c:v>
                </c:pt>
                <c:pt idx="1083">
                  <c:v>0.075</c:v>
                </c:pt>
                <c:pt idx="1084">
                  <c:v>0.029</c:v>
                </c:pt>
                <c:pt idx="1085">
                  <c:v>0.022</c:v>
                </c:pt>
                <c:pt idx="1086">
                  <c:v>0.09</c:v>
                </c:pt>
                <c:pt idx="1087">
                  <c:v>0.096</c:v>
                </c:pt>
                <c:pt idx="1088">
                  <c:v>0.107</c:v>
                </c:pt>
                <c:pt idx="1089">
                  <c:v>0.033</c:v>
                </c:pt>
                <c:pt idx="1090">
                  <c:v>0.052</c:v>
                </c:pt>
                <c:pt idx="1091">
                  <c:v>0.04</c:v>
                </c:pt>
                <c:pt idx="1092">
                  <c:v>0.111</c:v>
                </c:pt>
                <c:pt idx="1093">
                  <c:v>0.094</c:v>
                </c:pt>
                <c:pt idx="1094">
                  <c:v>0.014</c:v>
                </c:pt>
                <c:pt idx="1095">
                  <c:v>0.022</c:v>
                </c:pt>
                <c:pt idx="1096">
                  <c:v>0.102</c:v>
                </c:pt>
                <c:pt idx="1097">
                  <c:v>0.068</c:v>
                </c:pt>
                <c:pt idx="1098">
                  <c:v>0.154</c:v>
                </c:pt>
                <c:pt idx="1099">
                  <c:v>0.005</c:v>
                </c:pt>
                <c:pt idx="1100">
                  <c:v>0.001</c:v>
                </c:pt>
                <c:pt idx="1101">
                  <c:v>0.044</c:v>
                </c:pt>
                <c:pt idx="1102">
                  <c:v>0.024</c:v>
                </c:pt>
                <c:pt idx="1103">
                  <c:v>0.074</c:v>
                </c:pt>
                <c:pt idx="1104">
                  <c:v>0.011</c:v>
                </c:pt>
                <c:pt idx="1105">
                  <c:v>0.004</c:v>
                </c:pt>
                <c:pt idx="1106">
                  <c:v>0.049</c:v>
                </c:pt>
                <c:pt idx="1107">
                  <c:v>0.058</c:v>
                </c:pt>
                <c:pt idx="1108">
                  <c:v>0.051</c:v>
                </c:pt>
                <c:pt idx="1109">
                  <c:v>0.12</c:v>
                </c:pt>
                <c:pt idx="1110">
                  <c:v>0.025</c:v>
                </c:pt>
                <c:pt idx="1111">
                  <c:v>0.013</c:v>
                </c:pt>
                <c:pt idx="1112">
                  <c:v>0.019</c:v>
                </c:pt>
                <c:pt idx="1113">
                  <c:v>0.008</c:v>
                </c:pt>
                <c:pt idx="1114">
                  <c:v>0.094</c:v>
                </c:pt>
                <c:pt idx="1115">
                  <c:v>0.008</c:v>
                </c:pt>
                <c:pt idx="1116">
                  <c:v>0.109</c:v>
                </c:pt>
                <c:pt idx="1117">
                  <c:v>0.143</c:v>
                </c:pt>
                <c:pt idx="1118">
                  <c:v>0.008</c:v>
                </c:pt>
                <c:pt idx="1119">
                  <c:v>0.014</c:v>
                </c:pt>
                <c:pt idx="1120">
                  <c:v>0.01</c:v>
                </c:pt>
                <c:pt idx="1121">
                  <c:v>0.02</c:v>
                </c:pt>
                <c:pt idx="1122">
                  <c:v>0.024</c:v>
                </c:pt>
                <c:pt idx="1123">
                  <c:v>0.014</c:v>
                </c:pt>
                <c:pt idx="1124">
                  <c:v>0.011</c:v>
                </c:pt>
                <c:pt idx="1125">
                  <c:v>0.009</c:v>
                </c:pt>
                <c:pt idx="1126">
                  <c:v>0.012</c:v>
                </c:pt>
                <c:pt idx="1127">
                  <c:v>0.016</c:v>
                </c:pt>
                <c:pt idx="1128">
                  <c:v>0.017</c:v>
                </c:pt>
                <c:pt idx="1129">
                  <c:v>0.012</c:v>
                </c:pt>
                <c:pt idx="1130">
                  <c:v>0.013</c:v>
                </c:pt>
                <c:pt idx="1131">
                  <c:v>0.022</c:v>
                </c:pt>
                <c:pt idx="1132">
                  <c:v>0.029</c:v>
                </c:pt>
                <c:pt idx="1133">
                  <c:v>0.02</c:v>
                </c:pt>
                <c:pt idx="1134">
                  <c:v>0.013</c:v>
                </c:pt>
                <c:pt idx="1135">
                  <c:v>0.01</c:v>
                </c:pt>
                <c:pt idx="1136">
                  <c:v>0.032</c:v>
                </c:pt>
                <c:pt idx="1137">
                  <c:v>0.003</c:v>
                </c:pt>
                <c:pt idx="1138">
                  <c:v>0.103</c:v>
                </c:pt>
                <c:pt idx="1139">
                  <c:v>0.028</c:v>
                </c:pt>
                <c:pt idx="1140">
                  <c:v>0.014</c:v>
                </c:pt>
                <c:pt idx="1141">
                  <c:v>0.111</c:v>
                </c:pt>
                <c:pt idx="1142">
                  <c:v>0.035</c:v>
                </c:pt>
                <c:pt idx="1143">
                  <c:v>0.064</c:v>
                </c:pt>
                <c:pt idx="1144">
                  <c:v>0.189</c:v>
                </c:pt>
                <c:pt idx="1145">
                  <c:v>0.094</c:v>
                </c:pt>
                <c:pt idx="1146">
                  <c:v>0.033</c:v>
                </c:pt>
                <c:pt idx="1147">
                  <c:v>0.052</c:v>
                </c:pt>
                <c:pt idx="1148">
                  <c:v>0.011</c:v>
                </c:pt>
                <c:pt idx="1149">
                  <c:v>0.012</c:v>
                </c:pt>
                <c:pt idx="1150">
                  <c:v>0.018</c:v>
                </c:pt>
                <c:pt idx="1151">
                  <c:v>0.067</c:v>
                </c:pt>
                <c:pt idx="1152">
                  <c:v>0.145</c:v>
                </c:pt>
                <c:pt idx="1153">
                  <c:v>0.011</c:v>
                </c:pt>
                <c:pt idx="1154">
                  <c:v>0.009</c:v>
                </c:pt>
                <c:pt idx="1155">
                  <c:v>0.01</c:v>
                </c:pt>
                <c:pt idx="1156">
                  <c:v>0.089</c:v>
                </c:pt>
                <c:pt idx="1157">
                  <c:v>0.058</c:v>
                </c:pt>
                <c:pt idx="1158">
                  <c:v>0.009</c:v>
                </c:pt>
                <c:pt idx="1159">
                  <c:v>0.03</c:v>
                </c:pt>
                <c:pt idx="1160">
                  <c:v>0.024</c:v>
                </c:pt>
                <c:pt idx="1161">
                  <c:v>0.022</c:v>
                </c:pt>
                <c:pt idx="1162">
                  <c:v>0.08</c:v>
                </c:pt>
                <c:pt idx="1163">
                  <c:v>0.013</c:v>
                </c:pt>
                <c:pt idx="1164">
                  <c:v>0.001</c:v>
                </c:pt>
                <c:pt idx="1165">
                  <c:v>0.027</c:v>
                </c:pt>
                <c:pt idx="1166">
                  <c:v>0.009</c:v>
                </c:pt>
                <c:pt idx="1167">
                  <c:v>0.133</c:v>
                </c:pt>
                <c:pt idx="1168">
                  <c:v>0.025</c:v>
                </c:pt>
                <c:pt idx="1169">
                  <c:v>0.035</c:v>
                </c:pt>
                <c:pt idx="1170">
                  <c:v>0.019</c:v>
                </c:pt>
                <c:pt idx="1171">
                  <c:v>0.01</c:v>
                </c:pt>
                <c:pt idx="1172">
                  <c:v>0.028</c:v>
                </c:pt>
                <c:pt idx="1173">
                  <c:v>0.01</c:v>
                </c:pt>
                <c:pt idx="1174">
                  <c:v>0.077</c:v>
                </c:pt>
                <c:pt idx="1175">
                  <c:v>0.05</c:v>
                </c:pt>
                <c:pt idx="1176">
                  <c:v>0.009</c:v>
                </c:pt>
                <c:pt idx="1177">
                  <c:v>0.023</c:v>
                </c:pt>
                <c:pt idx="1178">
                  <c:v>0.029</c:v>
                </c:pt>
                <c:pt idx="1179">
                  <c:v>0.003</c:v>
                </c:pt>
                <c:pt idx="1180">
                  <c:v>0.011</c:v>
                </c:pt>
                <c:pt idx="1181">
                  <c:v>0.113</c:v>
                </c:pt>
                <c:pt idx="1182">
                  <c:v>0.003</c:v>
                </c:pt>
                <c:pt idx="1183">
                  <c:v>0.01</c:v>
                </c:pt>
                <c:pt idx="1184">
                  <c:v>0.103</c:v>
                </c:pt>
                <c:pt idx="1185">
                  <c:v>0.028</c:v>
                </c:pt>
                <c:pt idx="1186">
                  <c:v>0.01</c:v>
                </c:pt>
                <c:pt idx="1187">
                  <c:v>0.014</c:v>
                </c:pt>
                <c:pt idx="1188">
                  <c:v>0.019</c:v>
                </c:pt>
                <c:pt idx="1189">
                  <c:v>0.035</c:v>
                </c:pt>
                <c:pt idx="1190">
                  <c:v>0.014</c:v>
                </c:pt>
                <c:pt idx="1191">
                  <c:v>0.015</c:v>
                </c:pt>
                <c:pt idx="1192">
                  <c:v>0.014</c:v>
                </c:pt>
                <c:pt idx="1193">
                  <c:v>0.025</c:v>
                </c:pt>
                <c:pt idx="1194">
                  <c:v>0.093</c:v>
                </c:pt>
                <c:pt idx="1195">
                  <c:v>0.051</c:v>
                </c:pt>
                <c:pt idx="1196">
                  <c:v>0.01</c:v>
                </c:pt>
                <c:pt idx="1197">
                  <c:v>0.013</c:v>
                </c:pt>
                <c:pt idx="1198">
                  <c:v>0.07</c:v>
                </c:pt>
                <c:pt idx="1199">
                  <c:v>0.017</c:v>
                </c:pt>
                <c:pt idx="1200">
                  <c:v>0.023</c:v>
                </c:pt>
                <c:pt idx="1201">
                  <c:v>0.12</c:v>
                </c:pt>
                <c:pt idx="1202">
                  <c:v>0.001</c:v>
                </c:pt>
                <c:pt idx="1203">
                  <c:v>0.04</c:v>
                </c:pt>
                <c:pt idx="1204">
                  <c:v>0.067</c:v>
                </c:pt>
                <c:pt idx="1205">
                  <c:v>0.054</c:v>
                </c:pt>
                <c:pt idx="1206">
                  <c:v>0.094</c:v>
                </c:pt>
                <c:pt idx="1207">
                  <c:v>0.019</c:v>
                </c:pt>
                <c:pt idx="1208">
                  <c:v>0.01</c:v>
                </c:pt>
                <c:pt idx="1209">
                  <c:v>0.016</c:v>
                </c:pt>
                <c:pt idx="1210">
                  <c:v>0.023</c:v>
                </c:pt>
                <c:pt idx="1211">
                  <c:v>0.029</c:v>
                </c:pt>
                <c:pt idx="1212">
                  <c:v>0.038</c:v>
                </c:pt>
                <c:pt idx="1213">
                  <c:v>0.046</c:v>
                </c:pt>
                <c:pt idx="1214">
                  <c:v>0.078</c:v>
                </c:pt>
                <c:pt idx="1215">
                  <c:v>0.03</c:v>
                </c:pt>
                <c:pt idx="1216">
                  <c:v>0.046</c:v>
                </c:pt>
                <c:pt idx="1217">
                  <c:v>0.013</c:v>
                </c:pt>
                <c:pt idx="1218">
                  <c:v>0.015</c:v>
                </c:pt>
                <c:pt idx="1219">
                  <c:v>0.098</c:v>
                </c:pt>
                <c:pt idx="1220">
                  <c:v>0.01</c:v>
                </c:pt>
                <c:pt idx="1221">
                  <c:v>0.271</c:v>
                </c:pt>
                <c:pt idx="1222">
                  <c:v>0.01</c:v>
                </c:pt>
                <c:pt idx="1223">
                  <c:v>0.01</c:v>
                </c:pt>
                <c:pt idx="1224">
                  <c:v>0.021</c:v>
                </c:pt>
                <c:pt idx="1225">
                  <c:v>0.014</c:v>
                </c:pt>
                <c:pt idx="1226">
                  <c:v>0.027</c:v>
                </c:pt>
                <c:pt idx="1227">
                  <c:v>0.001</c:v>
                </c:pt>
                <c:pt idx="1228">
                  <c:v>0.064</c:v>
                </c:pt>
                <c:pt idx="1229">
                  <c:v>0.236</c:v>
                </c:pt>
                <c:pt idx="1230">
                  <c:v>0.033</c:v>
                </c:pt>
                <c:pt idx="1231">
                  <c:v>0.012</c:v>
                </c:pt>
                <c:pt idx="1232">
                  <c:v>0.022</c:v>
                </c:pt>
                <c:pt idx="1233">
                  <c:v>0.036</c:v>
                </c:pt>
                <c:pt idx="1234">
                  <c:v>0.023</c:v>
                </c:pt>
                <c:pt idx="1235">
                  <c:v>0.025</c:v>
                </c:pt>
                <c:pt idx="1236">
                  <c:v>0.018</c:v>
                </c:pt>
                <c:pt idx="1237">
                  <c:v>0.038</c:v>
                </c:pt>
                <c:pt idx="1238">
                  <c:v>0.032</c:v>
                </c:pt>
                <c:pt idx="1239">
                  <c:v>0.051</c:v>
                </c:pt>
                <c:pt idx="1240">
                  <c:v>0.181</c:v>
                </c:pt>
                <c:pt idx="1241">
                  <c:v>0.039</c:v>
                </c:pt>
                <c:pt idx="1242">
                  <c:v>0.074</c:v>
                </c:pt>
                <c:pt idx="1243">
                  <c:v>0.01</c:v>
                </c:pt>
                <c:pt idx="1244">
                  <c:v>0.015</c:v>
                </c:pt>
                <c:pt idx="1245">
                  <c:v>0.001</c:v>
                </c:pt>
                <c:pt idx="1246">
                  <c:v>0.048</c:v>
                </c:pt>
                <c:pt idx="1247">
                  <c:v>0.004</c:v>
                </c:pt>
                <c:pt idx="1248">
                  <c:v>0.028</c:v>
                </c:pt>
                <c:pt idx="1249">
                  <c:v>0.011</c:v>
                </c:pt>
                <c:pt idx="1250">
                  <c:v>0.097</c:v>
                </c:pt>
                <c:pt idx="1251">
                  <c:v>0.009</c:v>
                </c:pt>
                <c:pt idx="1252">
                  <c:v>0.014</c:v>
                </c:pt>
                <c:pt idx="1253">
                  <c:v>0.009</c:v>
                </c:pt>
                <c:pt idx="1254">
                  <c:v>0.029</c:v>
                </c:pt>
                <c:pt idx="1255">
                  <c:v>0.012</c:v>
                </c:pt>
                <c:pt idx="1256">
                  <c:v>0.033</c:v>
                </c:pt>
                <c:pt idx="1257">
                  <c:v>0.049</c:v>
                </c:pt>
                <c:pt idx="1258">
                  <c:v>0.007</c:v>
                </c:pt>
                <c:pt idx="1259">
                  <c:v>0.008</c:v>
                </c:pt>
                <c:pt idx="1260">
                  <c:v>0.017</c:v>
                </c:pt>
                <c:pt idx="1261">
                  <c:v>0.012</c:v>
                </c:pt>
                <c:pt idx="1262">
                  <c:v>0.011</c:v>
                </c:pt>
                <c:pt idx="1263">
                  <c:v>0.019</c:v>
                </c:pt>
                <c:pt idx="1264">
                  <c:v>0.059</c:v>
                </c:pt>
                <c:pt idx="1265">
                  <c:v>0.087</c:v>
                </c:pt>
                <c:pt idx="1266">
                  <c:v>0.09</c:v>
                </c:pt>
                <c:pt idx="1267">
                  <c:v>0.01</c:v>
                </c:pt>
                <c:pt idx="1268">
                  <c:v>0.001</c:v>
                </c:pt>
                <c:pt idx="1269">
                  <c:v>0.35</c:v>
                </c:pt>
                <c:pt idx="1270">
                  <c:v>0.013</c:v>
                </c:pt>
                <c:pt idx="1271">
                  <c:v>0.045</c:v>
                </c:pt>
                <c:pt idx="1272">
                  <c:v>0.009</c:v>
                </c:pt>
                <c:pt idx="1273">
                  <c:v>0.014</c:v>
                </c:pt>
                <c:pt idx="1274">
                  <c:v>0.004</c:v>
                </c:pt>
                <c:pt idx="1275">
                  <c:v>0.02</c:v>
                </c:pt>
                <c:pt idx="1276">
                  <c:v>0.008</c:v>
                </c:pt>
                <c:pt idx="1277">
                  <c:v>0.015</c:v>
                </c:pt>
                <c:pt idx="1278">
                  <c:v>0.001</c:v>
                </c:pt>
                <c:pt idx="1279">
                  <c:v>0.019</c:v>
                </c:pt>
                <c:pt idx="1280">
                  <c:v>0.011</c:v>
                </c:pt>
                <c:pt idx="1281">
                  <c:v>0.001</c:v>
                </c:pt>
                <c:pt idx="1282">
                  <c:v>0.022</c:v>
                </c:pt>
                <c:pt idx="1283">
                  <c:v>0.046</c:v>
                </c:pt>
                <c:pt idx="1284">
                  <c:v>0.009</c:v>
                </c:pt>
                <c:pt idx="1285">
                  <c:v>0.043</c:v>
                </c:pt>
                <c:pt idx="1286">
                  <c:v>0.03</c:v>
                </c:pt>
                <c:pt idx="1287">
                  <c:v>0.001</c:v>
                </c:pt>
                <c:pt idx="1288">
                  <c:v>0.01</c:v>
                </c:pt>
                <c:pt idx="1289">
                  <c:v>0.009</c:v>
                </c:pt>
                <c:pt idx="1290">
                  <c:v>0.008</c:v>
                </c:pt>
                <c:pt idx="1291">
                  <c:v>0.009</c:v>
                </c:pt>
                <c:pt idx="1292">
                  <c:v>0.036</c:v>
                </c:pt>
                <c:pt idx="1293">
                  <c:v>0.001</c:v>
                </c:pt>
                <c:pt idx="1294">
                  <c:v>0.015</c:v>
                </c:pt>
                <c:pt idx="1295">
                  <c:v>0.01</c:v>
                </c:pt>
                <c:pt idx="1296">
                  <c:v>0.009</c:v>
                </c:pt>
                <c:pt idx="1297">
                  <c:v>0.004</c:v>
                </c:pt>
                <c:pt idx="1298">
                  <c:v>0.061</c:v>
                </c:pt>
                <c:pt idx="1299">
                  <c:v>0.034</c:v>
                </c:pt>
                <c:pt idx="1300">
                  <c:v>0.018</c:v>
                </c:pt>
                <c:pt idx="1301">
                  <c:v>0.014</c:v>
                </c:pt>
                <c:pt idx="1302">
                  <c:v>0.03</c:v>
                </c:pt>
                <c:pt idx="1303">
                  <c:v>0.031</c:v>
                </c:pt>
                <c:pt idx="1304">
                  <c:v>0.01</c:v>
                </c:pt>
                <c:pt idx="1305">
                  <c:v>0.013</c:v>
                </c:pt>
                <c:pt idx="1306">
                  <c:v>0.03</c:v>
                </c:pt>
                <c:pt idx="1307">
                  <c:v>0.014</c:v>
                </c:pt>
                <c:pt idx="1308">
                  <c:v>0.023</c:v>
                </c:pt>
                <c:pt idx="1309">
                  <c:v>0.002</c:v>
                </c:pt>
                <c:pt idx="1310">
                  <c:v>0.013</c:v>
                </c:pt>
                <c:pt idx="1311">
                  <c:v>0.08</c:v>
                </c:pt>
                <c:pt idx="1312">
                  <c:v>0.013</c:v>
                </c:pt>
                <c:pt idx="1313">
                  <c:v>0.012</c:v>
                </c:pt>
                <c:pt idx="1314">
                  <c:v>0.052</c:v>
                </c:pt>
                <c:pt idx="1315">
                  <c:v>0.008</c:v>
                </c:pt>
                <c:pt idx="1316">
                  <c:v>0.004</c:v>
                </c:pt>
                <c:pt idx="1317">
                  <c:v>0.04</c:v>
                </c:pt>
                <c:pt idx="1318">
                  <c:v>0.072</c:v>
                </c:pt>
                <c:pt idx="1319">
                  <c:v>0.033</c:v>
                </c:pt>
                <c:pt idx="1320">
                  <c:v>0.013</c:v>
                </c:pt>
                <c:pt idx="1321">
                  <c:v>0.012</c:v>
                </c:pt>
                <c:pt idx="1322">
                  <c:v>0.051</c:v>
                </c:pt>
                <c:pt idx="1323">
                  <c:v>0.001</c:v>
                </c:pt>
                <c:pt idx="1324">
                  <c:v>0.052</c:v>
                </c:pt>
                <c:pt idx="1325">
                  <c:v>0.017</c:v>
                </c:pt>
                <c:pt idx="1326">
                  <c:v>0.04</c:v>
                </c:pt>
                <c:pt idx="1327">
                  <c:v>0.019</c:v>
                </c:pt>
                <c:pt idx="1328">
                  <c:v>0.013</c:v>
                </c:pt>
                <c:pt idx="1329">
                  <c:v>0.029</c:v>
                </c:pt>
                <c:pt idx="1330">
                  <c:v>0.003</c:v>
                </c:pt>
                <c:pt idx="1331">
                  <c:v>0.001</c:v>
                </c:pt>
                <c:pt idx="1332">
                  <c:v>0.055</c:v>
                </c:pt>
                <c:pt idx="1333">
                  <c:v>0.018</c:v>
                </c:pt>
                <c:pt idx="1334">
                  <c:v>0.019</c:v>
                </c:pt>
                <c:pt idx="1335">
                  <c:v>0.001</c:v>
                </c:pt>
                <c:pt idx="1336">
                  <c:v>0.009</c:v>
                </c:pt>
                <c:pt idx="1337">
                  <c:v>0.055</c:v>
                </c:pt>
                <c:pt idx="1338">
                  <c:v>0.008</c:v>
                </c:pt>
                <c:pt idx="1339">
                  <c:v>0.008</c:v>
                </c:pt>
                <c:pt idx="1340">
                  <c:v>0.009</c:v>
                </c:pt>
                <c:pt idx="1341">
                  <c:v>0.008</c:v>
                </c:pt>
                <c:pt idx="1342">
                  <c:v>0.024</c:v>
                </c:pt>
                <c:pt idx="1343">
                  <c:v>0.001</c:v>
                </c:pt>
                <c:pt idx="1344">
                  <c:v>0.02</c:v>
                </c:pt>
                <c:pt idx="1345">
                  <c:v>0.009</c:v>
                </c:pt>
                <c:pt idx="1346">
                  <c:v>0.051</c:v>
                </c:pt>
                <c:pt idx="1347">
                  <c:v>0.008</c:v>
                </c:pt>
                <c:pt idx="1348">
                  <c:v>0.01</c:v>
                </c:pt>
                <c:pt idx="1349">
                  <c:v>0.008</c:v>
                </c:pt>
                <c:pt idx="1350">
                  <c:v>0.001</c:v>
                </c:pt>
                <c:pt idx="1351">
                  <c:v>0.008</c:v>
                </c:pt>
                <c:pt idx="1352">
                  <c:v>0.053</c:v>
                </c:pt>
                <c:pt idx="1353">
                  <c:v>0.01</c:v>
                </c:pt>
                <c:pt idx="1354">
                  <c:v>0.009</c:v>
                </c:pt>
                <c:pt idx="1355">
                  <c:v>0.029</c:v>
                </c:pt>
                <c:pt idx="1356">
                  <c:v>0.008</c:v>
                </c:pt>
                <c:pt idx="1357">
                  <c:v>0.042</c:v>
                </c:pt>
                <c:pt idx="1358">
                  <c:v>0.008</c:v>
                </c:pt>
                <c:pt idx="1359">
                  <c:v>0.02</c:v>
                </c:pt>
                <c:pt idx="1360">
                  <c:v>0.014</c:v>
                </c:pt>
                <c:pt idx="1361">
                  <c:v>0.011</c:v>
                </c:pt>
                <c:pt idx="1362">
                  <c:v>0.01</c:v>
                </c:pt>
                <c:pt idx="1363">
                  <c:v>0.048</c:v>
                </c:pt>
                <c:pt idx="1364">
                  <c:v>0.02</c:v>
                </c:pt>
                <c:pt idx="1365">
                  <c:v>0.013</c:v>
                </c:pt>
                <c:pt idx="1366">
                  <c:v>0.001</c:v>
                </c:pt>
                <c:pt idx="1367">
                  <c:v>0.013</c:v>
                </c:pt>
                <c:pt idx="1368">
                  <c:v>0.011</c:v>
                </c:pt>
                <c:pt idx="1369">
                  <c:v>0.022</c:v>
                </c:pt>
                <c:pt idx="1370">
                  <c:v>0.005</c:v>
                </c:pt>
                <c:pt idx="1371">
                  <c:v>0.015</c:v>
                </c:pt>
                <c:pt idx="1372">
                  <c:v>0.009</c:v>
                </c:pt>
                <c:pt idx="1373">
                  <c:v>0.004</c:v>
                </c:pt>
                <c:pt idx="1374">
                  <c:v>0.009</c:v>
                </c:pt>
                <c:pt idx="1375">
                  <c:v>0.001</c:v>
                </c:pt>
                <c:pt idx="1376">
                  <c:v>0.008</c:v>
                </c:pt>
                <c:pt idx="1377">
                  <c:v>0.013</c:v>
                </c:pt>
                <c:pt idx="1378">
                  <c:v>0.003</c:v>
                </c:pt>
                <c:pt idx="1379">
                  <c:v>0.019</c:v>
                </c:pt>
                <c:pt idx="1380">
                  <c:v>0.018</c:v>
                </c:pt>
                <c:pt idx="1381">
                  <c:v>0.018</c:v>
                </c:pt>
                <c:pt idx="1382">
                  <c:v>0.041</c:v>
                </c:pt>
                <c:pt idx="1383">
                  <c:v>0.01</c:v>
                </c:pt>
                <c:pt idx="1384">
                  <c:v>0.012</c:v>
                </c:pt>
                <c:pt idx="1385">
                  <c:v>0.01</c:v>
                </c:pt>
                <c:pt idx="1386">
                  <c:v>0.008</c:v>
                </c:pt>
                <c:pt idx="1387">
                  <c:v>0.012</c:v>
                </c:pt>
                <c:pt idx="1388">
                  <c:v>0.004</c:v>
                </c:pt>
                <c:pt idx="1389">
                  <c:v>0.001</c:v>
                </c:pt>
                <c:pt idx="1390">
                  <c:v>0.004</c:v>
                </c:pt>
                <c:pt idx="1391">
                  <c:v>0.02</c:v>
                </c:pt>
                <c:pt idx="1392">
                  <c:v>0.001</c:v>
                </c:pt>
                <c:pt idx="1393">
                  <c:v>0.042</c:v>
                </c:pt>
                <c:pt idx="1394">
                  <c:v>0.01</c:v>
                </c:pt>
                <c:pt idx="1395">
                  <c:v>0.001</c:v>
                </c:pt>
                <c:pt idx="1396">
                  <c:v>0.009</c:v>
                </c:pt>
                <c:pt idx="1397">
                  <c:v>0.019</c:v>
                </c:pt>
                <c:pt idx="1398">
                  <c:v>0.012</c:v>
                </c:pt>
                <c:pt idx="1399">
                  <c:v>0.019</c:v>
                </c:pt>
                <c:pt idx="1400">
                  <c:v>0.01</c:v>
                </c:pt>
                <c:pt idx="1401">
                  <c:v>0.032</c:v>
                </c:pt>
                <c:pt idx="1402">
                  <c:v>0.032</c:v>
                </c:pt>
                <c:pt idx="1403">
                  <c:v>0.016</c:v>
                </c:pt>
                <c:pt idx="1404">
                  <c:v>0.01</c:v>
                </c:pt>
                <c:pt idx="1405">
                  <c:v>0.007</c:v>
                </c:pt>
                <c:pt idx="1406">
                  <c:v>0.01</c:v>
                </c:pt>
                <c:pt idx="1407">
                  <c:v>0.024</c:v>
                </c:pt>
                <c:pt idx="1408">
                  <c:v>0.008</c:v>
                </c:pt>
                <c:pt idx="1409">
                  <c:v>0.001</c:v>
                </c:pt>
                <c:pt idx="1410">
                  <c:v>0.008</c:v>
                </c:pt>
                <c:pt idx="1411">
                  <c:v>0.001</c:v>
                </c:pt>
                <c:pt idx="1412">
                  <c:v>0.009</c:v>
                </c:pt>
                <c:pt idx="1413">
                  <c:v>0.046</c:v>
                </c:pt>
                <c:pt idx="1414">
                  <c:v>0.024</c:v>
                </c:pt>
                <c:pt idx="1415">
                  <c:v>0.012</c:v>
                </c:pt>
                <c:pt idx="1416">
                  <c:v>0.015</c:v>
                </c:pt>
                <c:pt idx="1417">
                  <c:v>0.003</c:v>
                </c:pt>
                <c:pt idx="1418">
                  <c:v>0.015</c:v>
                </c:pt>
                <c:pt idx="1419">
                  <c:v>0.009</c:v>
                </c:pt>
                <c:pt idx="1420">
                  <c:v>0.014</c:v>
                </c:pt>
                <c:pt idx="1421">
                  <c:v>0.008</c:v>
                </c:pt>
                <c:pt idx="1422">
                  <c:v>0.003</c:v>
                </c:pt>
                <c:pt idx="1423">
                  <c:v>0.004</c:v>
                </c:pt>
                <c:pt idx="1424">
                  <c:v>0.004</c:v>
                </c:pt>
                <c:pt idx="1425">
                  <c:v>0.008</c:v>
                </c:pt>
                <c:pt idx="1426">
                  <c:v>0.009</c:v>
                </c:pt>
                <c:pt idx="1427">
                  <c:v>0.012</c:v>
                </c:pt>
                <c:pt idx="1428">
                  <c:v>0.027</c:v>
                </c:pt>
                <c:pt idx="1429">
                  <c:v>0.009</c:v>
                </c:pt>
                <c:pt idx="1430">
                  <c:v>0.035</c:v>
                </c:pt>
                <c:pt idx="1431">
                  <c:v>0.005</c:v>
                </c:pt>
                <c:pt idx="1432">
                  <c:v>0.021</c:v>
                </c:pt>
                <c:pt idx="1433">
                  <c:v>0.021</c:v>
                </c:pt>
                <c:pt idx="1434">
                  <c:v>0.03</c:v>
                </c:pt>
                <c:pt idx="1435">
                  <c:v>0.022</c:v>
                </c:pt>
                <c:pt idx="1436">
                  <c:v>0.022</c:v>
                </c:pt>
                <c:pt idx="1437">
                  <c:v>0.009</c:v>
                </c:pt>
                <c:pt idx="1438">
                  <c:v>0.01</c:v>
                </c:pt>
                <c:pt idx="1439">
                  <c:v>0.015</c:v>
                </c:pt>
                <c:pt idx="1440">
                  <c:v>0.001</c:v>
                </c:pt>
                <c:pt idx="1441">
                  <c:v>0.008</c:v>
                </c:pt>
                <c:pt idx="1442">
                  <c:v>0.011</c:v>
                </c:pt>
                <c:pt idx="1443">
                  <c:v>0.022</c:v>
                </c:pt>
                <c:pt idx="1444">
                  <c:v>0.012</c:v>
                </c:pt>
                <c:pt idx="1445">
                  <c:v>0.001</c:v>
                </c:pt>
                <c:pt idx="1446">
                  <c:v>0.01</c:v>
                </c:pt>
                <c:pt idx="1447">
                  <c:v>0.007</c:v>
                </c:pt>
                <c:pt idx="1448">
                  <c:v>0.021</c:v>
                </c:pt>
                <c:pt idx="1449">
                  <c:v>0.003</c:v>
                </c:pt>
                <c:pt idx="1450">
                  <c:v>0.013</c:v>
                </c:pt>
                <c:pt idx="1451">
                  <c:v>0.044</c:v>
                </c:pt>
                <c:pt idx="1452">
                  <c:v>0.02</c:v>
                </c:pt>
                <c:pt idx="1453">
                  <c:v>0.008</c:v>
                </c:pt>
                <c:pt idx="1454">
                  <c:v>0.01</c:v>
                </c:pt>
                <c:pt idx="1455">
                  <c:v>0.009</c:v>
                </c:pt>
                <c:pt idx="1456">
                  <c:v>0.012</c:v>
                </c:pt>
                <c:pt idx="1457">
                  <c:v>0.008</c:v>
                </c:pt>
                <c:pt idx="1458">
                  <c:v>0.001</c:v>
                </c:pt>
                <c:pt idx="1459">
                  <c:v>0.003</c:v>
                </c:pt>
                <c:pt idx="1460">
                  <c:v>0.013</c:v>
                </c:pt>
                <c:pt idx="1461">
                  <c:v>0.013</c:v>
                </c:pt>
                <c:pt idx="1462">
                  <c:v>0.001</c:v>
                </c:pt>
                <c:pt idx="1463">
                  <c:v>0.001</c:v>
                </c:pt>
                <c:pt idx="1464">
                  <c:v>0.025</c:v>
                </c:pt>
                <c:pt idx="1465">
                  <c:v>0.01</c:v>
                </c:pt>
                <c:pt idx="1466">
                  <c:v>0.003</c:v>
                </c:pt>
                <c:pt idx="1467">
                  <c:v>0.01</c:v>
                </c:pt>
                <c:pt idx="1468">
                  <c:v>0.001</c:v>
                </c:pt>
                <c:pt idx="1469">
                  <c:v>0.003</c:v>
                </c:pt>
                <c:pt idx="1470">
                  <c:v>0.003</c:v>
                </c:pt>
                <c:pt idx="1471">
                  <c:v>0.004</c:v>
                </c:pt>
                <c:pt idx="1472">
                  <c:v>0.011</c:v>
                </c:pt>
                <c:pt idx="1473">
                  <c:v>0.01</c:v>
                </c:pt>
                <c:pt idx="1474">
                  <c:v>0.013</c:v>
                </c:pt>
                <c:pt idx="1475">
                  <c:v>0.001</c:v>
                </c:pt>
                <c:pt idx="1476">
                  <c:v>0.028</c:v>
                </c:pt>
                <c:pt idx="1477">
                  <c:v>0.012</c:v>
                </c:pt>
                <c:pt idx="1478">
                  <c:v>0.112</c:v>
                </c:pt>
                <c:pt idx="1479">
                  <c:v>0.013</c:v>
                </c:pt>
                <c:pt idx="1480">
                  <c:v>0.008</c:v>
                </c:pt>
                <c:pt idx="1481">
                  <c:v>0.001</c:v>
                </c:pt>
                <c:pt idx="1482">
                  <c:v>0.018</c:v>
                </c:pt>
                <c:pt idx="1483">
                  <c:v>0.003</c:v>
                </c:pt>
                <c:pt idx="1484">
                  <c:v>0.002</c:v>
                </c:pt>
                <c:pt idx="1485">
                  <c:v>0.008</c:v>
                </c:pt>
                <c:pt idx="1486">
                  <c:v>0.001</c:v>
                </c:pt>
                <c:pt idx="1487">
                  <c:v>0.001</c:v>
                </c:pt>
                <c:pt idx="1488">
                  <c:v>0.007</c:v>
                </c:pt>
                <c:pt idx="1489">
                  <c:v>0.009</c:v>
                </c:pt>
                <c:pt idx="1490">
                  <c:v>0.003</c:v>
                </c:pt>
                <c:pt idx="1491">
                  <c:v>0.012</c:v>
                </c:pt>
                <c:pt idx="1492">
                  <c:v>0.001</c:v>
                </c:pt>
                <c:pt idx="1493">
                  <c:v>0.045</c:v>
                </c:pt>
                <c:pt idx="1494">
                  <c:v>0.008</c:v>
                </c:pt>
                <c:pt idx="1495">
                  <c:v>0.009</c:v>
                </c:pt>
                <c:pt idx="1496">
                  <c:v>0.002</c:v>
                </c:pt>
                <c:pt idx="1497">
                  <c:v>0.014</c:v>
                </c:pt>
                <c:pt idx="1498">
                  <c:v>0.013</c:v>
                </c:pt>
                <c:pt idx="1499">
                  <c:v>0.009</c:v>
                </c:pt>
                <c:pt idx="1500">
                  <c:v>0.03</c:v>
                </c:pt>
                <c:pt idx="1501">
                  <c:v>0.009</c:v>
                </c:pt>
                <c:pt idx="1502">
                  <c:v>0.009</c:v>
                </c:pt>
                <c:pt idx="1503">
                  <c:v>0.004</c:v>
                </c:pt>
                <c:pt idx="1504">
                  <c:v>0.005</c:v>
                </c:pt>
                <c:pt idx="1505">
                  <c:v>0.001</c:v>
                </c:pt>
                <c:pt idx="1506">
                  <c:v>0.004</c:v>
                </c:pt>
                <c:pt idx="1507">
                  <c:v>0.011</c:v>
                </c:pt>
                <c:pt idx="1508">
                  <c:v>0.008</c:v>
                </c:pt>
                <c:pt idx="1509">
                  <c:v>0.01</c:v>
                </c:pt>
                <c:pt idx="1510">
                  <c:v>0.03</c:v>
                </c:pt>
                <c:pt idx="1511">
                  <c:v>0.004</c:v>
                </c:pt>
                <c:pt idx="1512">
                  <c:v>0.001</c:v>
                </c:pt>
                <c:pt idx="1513">
                  <c:v>0.009</c:v>
                </c:pt>
                <c:pt idx="1514">
                  <c:v>0.001</c:v>
                </c:pt>
                <c:pt idx="1515">
                  <c:v>0.001</c:v>
                </c:pt>
                <c:pt idx="1516">
                  <c:v>0.002</c:v>
                </c:pt>
                <c:pt idx="1517">
                  <c:v>0.01</c:v>
                </c:pt>
                <c:pt idx="1518">
                  <c:v>0.001</c:v>
                </c:pt>
                <c:pt idx="1519">
                  <c:v>0.005</c:v>
                </c:pt>
                <c:pt idx="1520">
                  <c:v>0.004</c:v>
                </c:pt>
                <c:pt idx="1521">
                  <c:v>0.001</c:v>
                </c:pt>
                <c:pt idx="1522">
                  <c:v>0.012</c:v>
                </c:pt>
                <c:pt idx="1523">
                  <c:v>0.008</c:v>
                </c:pt>
                <c:pt idx="1524">
                  <c:v>0.005</c:v>
                </c:pt>
                <c:pt idx="1525">
                  <c:v>0.001</c:v>
                </c:pt>
                <c:pt idx="1526">
                  <c:v>0.009</c:v>
                </c:pt>
                <c:pt idx="1527">
                  <c:v>0.008</c:v>
                </c:pt>
                <c:pt idx="1528">
                  <c:v>0.015</c:v>
                </c:pt>
                <c:pt idx="1529">
                  <c:v>0.004</c:v>
                </c:pt>
                <c:pt idx="1530">
                  <c:v>0.008</c:v>
                </c:pt>
                <c:pt idx="1531">
                  <c:v>0.003</c:v>
                </c:pt>
                <c:pt idx="1532">
                  <c:v>0.014</c:v>
                </c:pt>
                <c:pt idx="1533">
                  <c:v>0.008</c:v>
                </c:pt>
                <c:pt idx="1534">
                  <c:v>0.001</c:v>
                </c:pt>
                <c:pt idx="1535">
                  <c:v>0.008</c:v>
                </c:pt>
                <c:pt idx="1536">
                  <c:v>0.01</c:v>
                </c:pt>
                <c:pt idx="1537">
                  <c:v>0.001</c:v>
                </c:pt>
                <c:pt idx="1538">
                  <c:v>0.009</c:v>
                </c:pt>
                <c:pt idx="1539">
                  <c:v>0.001</c:v>
                </c:pt>
                <c:pt idx="1540">
                  <c:v>0.001</c:v>
                </c:pt>
                <c:pt idx="1541">
                  <c:v>0.001</c:v>
                </c:pt>
                <c:pt idx="1542">
                  <c:v>0.001</c:v>
                </c:pt>
                <c:pt idx="1543">
                  <c:v>0.001</c:v>
                </c:pt>
                <c:pt idx="1544">
                  <c:v>0.002</c:v>
                </c:pt>
                <c:pt idx="1545">
                  <c:v>0.023</c:v>
                </c:pt>
                <c:pt idx="1546">
                  <c:v>0.008</c:v>
                </c:pt>
                <c:pt idx="1547">
                  <c:v>0.001</c:v>
                </c:pt>
                <c:pt idx="1548">
                  <c:v>0.013</c:v>
                </c:pt>
                <c:pt idx="1549">
                  <c:v>0.003</c:v>
                </c:pt>
                <c:pt idx="1550">
                  <c:v>0.002</c:v>
                </c:pt>
                <c:pt idx="1551">
                  <c:v>0.001</c:v>
                </c:pt>
                <c:pt idx="1552">
                  <c:v>0.001</c:v>
                </c:pt>
                <c:pt idx="1553">
                  <c:v>0.001</c:v>
                </c:pt>
                <c:pt idx="1554">
                  <c:v>0.001</c:v>
                </c:pt>
                <c:pt idx="1555">
                  <c:v>0.001</c:v>
                </c:pt>
                <c:pt idx="1556">
                  <c:v>0.008</c:v>
                </c:pt>
                <c:pt idx="1557">
                  <c:v>0.02</c:v>
                </c:pt>
                <c:pt idx="1558">
                  <c:v>0.003</c:v>
                </c:pt>
                <c:pt idx="1559">
                  <c:v>0.001</c:v>
                </c:pt>
                <c:pt idx="1560">
                  <c:v>0.001</c:v>
                </c:pt>
                <c:pt idx="1561">
                  <c:v>0.003</c:v>
                </c:pt>
                <c:pt idx="1562">
                  <c:v>0.004</c:v>
                </c:pt>
                <c:pt idx="1563">
                  <c:v>0.01</c:v>
                </c:pt>
                <c:pt idx="1564">
                  <c:v>0.019</c:v>
                </c:pt>
                <c:pt idx="1565">
                  <c:v>0.008</c:v>
                </c:pt>
                <c:pt idx="1566">
                  <c:v>0.001</c:v>
                </c:pt>
                <c:pt idx="1567">
                  <c:v>0.01</c:v>
                </c:pt>
                <c:pt idx="1568">
                  <c:v>0.003</c:v>
                </c:pt>
                <c:pt idx="1569">
                  <c:v>0.012</c:v>
                </c:pt>
                <c:pt idx="1570">
                  <c:v>0.005</c:v>
                </c:pt>
                <c:pt idx="1571">
                  <c:v>0.001</c:v>
                </c:pt>
                <c:pt idx="1572">
                  <c:v>0.001</c:v>
                </c:pt>
                <c:pt idx="1573">
                  <c:v>0.001</c:v>
                </c:pt>
                <c:pt idx="1574">
                  <c:v>0.001</c:v>
                </c:pt>
                <c:pt idx="1575">
                  <c:v>0.015</c:v>
                </c:pt>
                <c:pt idx="1576">
                  <c:v>0.001</c:v>
                </c:pt>
                <c:pt idx="1577">
                  <c:v>0.009</c:v>
                </c:pt>
                <c:pt idx="1578">
                  <c:v>0.001</c:v>
                </c:pt>
                <c:pt idx="1579">
                  <c:v>0.001</c:v>
                </c:pt>
                <c:pt idx="1580">
                  <c:v>0.003</c:v>
                </c:pt>
                <c:pt idx="1581">
                  <c:v>0.003</c:v>
                </c:pt>
                <c:pt idx="1582">
                  <c:v>0.001</c:v>
                </c:pt>
                <c:pt idx="1583">
                  <c:v>0.008</c:v>
                </c:pt>
                <c:pt idx="1584">
                  <c:v>0.001</c:v>
                </c:pt>
                <c:pt idx="1585">
                  <c:v>0.001</c:v>
                </c:pt>
                <c:pt idx="1586">
                  <c:v>0.001</c:v>
                </c:pt>
                <c:pt idx="1587">
                  <c:v>0.001</c:v>
                </c:pt>
                <c:pt idx="1588">
                  <c:v>0.001</c:v>
                </c:pt>
                <c:pt idx="1589">
                  <c:v>0.008</c:v>
                </c:pt>
                <c:pt idx="1590">
                  <c:v>0.003</c:v>
                </c:pt>
                <c:pt idx="1591">
                  <c:v>0.003</c:v>
                </c:pt>
                <c:pt idx="1592">
                  <c:v>0.001</c:v>
                </c:pt>
                <c:pt idx="1593">
                  <c:v>0.001</c:v>
                </c:pt>
                <c:pt idx="1594">
                  <c:v>0.003</c:v>
                </c:pt>
                <c:pt idx="1595">
                  <c:v>0.001</c:v>
                </c:pt>
                <c:pt idx="1596">
                  <c:v>0.001</c:v>
                </c:pt>
                <c:pt idx="1597">
                  <c:v>0.001</c:v>
                </c:pt>
                <c:pt idx="1598">
                  <c:v>0.001</c:v>
                </c:pt>
                <c:pt idx="1599">
                  <c:v>0.001</c:v>
                </c:pt>
                <c:pt idx="1600">
                  <c:v>0.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Item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00A097"/>
              </a:solidFill>
            </c:spPr>
            <c:extLst>
              <c:ext xmlns:c16="http://schemas.microsoft.com/office/drawing/2014/chart" uri="{C3380CC4-5D6E-409C-BE32-E72D297353CC}">
                <c16:uniqueId val="{000000EB-2993-41DE-A2CB-63102DE87051}"/>
              </c:ext>
            </c:extLst>
          </c:dPt>
          <c:dPt>
            <c:idx val="117"/>
            <c:invertIfNegative val="1"/>
            <c:bubble3D val="0"/>
            <c:spPr>
              <a:solidFill>
                <a:srgbClr val="00A097"/>
              </a:solidFill>
            </c:spPr>
            <c:extLst>
              <c:ext xmlns:c16="http://schemas.microsoft.com/office/drawing/2014/chart" uri="{C3380CC4-5D6E-409C-BE32-E72D297353CC}">
                <c16:uniqueId val="{000000ED-2993-41DE-A2CB-63102DE87051}"/>
              </c:ext>
            </c:extLst>
          </c:dPt>
          <c:dPt>
            <c:idx val="118"/>
            <c:invertIfNegative val="1"/>
            <c:bubble3D val="0"/>
            <c:spPr>
              <a:solidFill>
                <a:srgbClr val="00A097"/>
              </a:solidFill>
            </c:spPr>
            <c:extLst>
              <c:ext xmlns:c16="http://schemas.microsoft.com/office/drawing/2014/chart" uri="{C3380CC4-5D6E-409C-BE32-E72D297353CC}">
                <c16:uniqueId val="{000000EF-2993-41DE-A2CB-63102DE87051}"/>
              </c:ext>
            </c:extLst>
          </c:dPt>
          <c:dPt>
            <c:idx val="119"/>
            <c:invertIfNegative val="1"/>
            <c:bubble3D val="0"/>
            <c:spPr>
              <a:solidFill>
                <a:srgbClr val="00A097"/>
              </a:solidFill>
            </c:spPr>
            <c:extLst>
              <c:ext xmlns:c16="http://schemas.microsoft.com/office/drawing/2014/chart" uri="{C3380CC4-5D6E-409C-BE32-E72D297353CC}">
                <c16:uniqueId val="{000000F1-2993-41DE-A2CB-63102DE87051}"/>
              </c:ext>
            </c:extLst>
          </c:dPt>
          <c:dPt>
            <c:idx val="120"/>
            <c:invertIfNegative val="1"/>
            <c:bubble3D val="0"/>
            <c:spPr>
              <a:solidFill>
                <a:srgbClr val="00A097"/>
              </a:solidFill>
            </c:spPr>
            <c:extLst>
              <c:ext xmlns:c16="http://schemas.microsoft.com/office/drawing/2014/chart" uri="{C3380CC4-5D6E-409C-BE32-E72D297353CC}">
                <c16:uniqueId val="{000000F3-2993-41DE-A2CB-63102DE87051}"/>
              </c:ext>
            </c:extLst>
          </c:dPt>
          <c:dPt>
            <c:idx val="121"/>
            <c:invertIfNegative val="1"/>
            <c:bubble3D val="0"/>
            <c:spPr>
              <a:solidFill>
                <a:srgbClr val="00A097"/>
              </a:solidFill>
            </c:spPr>
            <c:extLst>
              <c:ext xmlns:c16="http://schemas.microsoft.com/office/drawing/2014/chart" uri="{C3380CC4-5D6E-409C-BE32-E72D297353CC}">
                <c16:uniqueId val="{000000F5-2993-41DE-A2CB-63102DE87051}"/>
              </c:ext>
            </c:extLst>
          </c:dPt>
          <c:dPt>
            <c:idx val="122"/>
            <c:invertIfNegative val="1"/>
            <c:bubble3D val="0"/>
            <c:spPr>
              <a:solidFill>
                <a:srgbClr val="00A097"/>
              </a:solidFill>
            </c:spPr>
            <c:extLst>
              <c:ext xmlns:c16="http://schemas.microsoft.com/office/drawing/2014/chart" uri="{C3380CC4-5D6E-409C-BE32-E72D297353CC}">
                <c16:uniqueId val="{000000F7-2993-41DE-A2CB-63102DE87051}"/>
              </c:ext>
            </c:extLst>
          </c:dPt>
          <c:dPt>
            <c:idx val="123"/>
            <c:invertIfNegative val="1"/>
            <c:bubble3D val="0"/>
            <c:spPr>
              <a:solidFill>
                <a:srgbClr val="00A097"/>
              </a:solidFill>
            </c:spPr>
            <c:extLst>
              <c:ext xmlns:c16="http://schemas.microsoft.com/office/drawing/2014/chart" uri="{C3380CC4-5D6E-409C-BE32-E72D297353CC}">
                <c16:uniqueId val="{000000F9-2993-41DE-A2CB-63102DE87051}"/>
              </c:ext>
            </c:extLst>
          </c:dPt>
          <c:dPt>
            <c:idx val="124"/>
            <c:invertIfNegative val="1"/>
            <c:bubble3D val="0"/>
            <c:spPr>
              <a:solidFill>
                <a:srgbClr val="00A097"/>
              </a:solidFill>
            </c:spPr>
            <c:extLst>
              <c:ext xmlns:c16="http://schemas.microsoft.com/office/drawing/2014/chart" uri="{C3380CC4-5D6E-409C-BE32-E72D297353CC}">
                <c16:uniqueId val="{000000FB-2993-41DE-A2CB-63102DE87051}"/>
              </c:ext>
            </c:extLst>
          </c:dPt>
          <c:dPt>
            <c:idx val="125"/>
            <c:invertIfNegative val="1"/>
            <c:bubble3D val="0"/>
            <c:spPr>
              <a:solidFill>
                <a:srgbClr val="00A097"/>
              </a:solidFill>
            </c:spPr>
            <c:extLst>
              <c:ext xmlns:c16="http://schemas.microsoft.com/office/drawing/2014/chart" uri="{C3380CC4-5D6E-409C-BE32-E72D297353CC}">
                <c16:uniqueId val="{000000FD-2993-41DE-A2CB-63102DE87051}"/>
              </c:ext>
            </c:extLst>
          </c:dPt>
          <c:dPt>
            <c:idx val="126"/>
            <c:invertIfNegative val="1"/>
            <c:bubble3D val="0"/>
            <c:spPr>
              <a:solidFill>
                <a:srgbClr val="00A097"/>
              </a:solidFill>
            </c:spPr>
            <c:extLst>
              <c:ext xmlns:c16="http://schemas.microsoft.com/office/drawing/2014/chart" uri="{C3380CC4-5D6E-409C-BE32-E72D297353CC}">
                <c16:uniqueId val="{000000FF-2993-41DE-A2CB-63102DE87051}"/>
              </c:ext>
            </c:extLst>
          </c:dPt>
          <c:dPt>
            <c:idx val="127"/>
            <c:invertIfNegative val="1"/>
            <c:bubble3D val="0"/>
            <c:spPr>
              <a:solidFill>
                <a:srgbClr val="00A097"/>
              </a:solidFill>
            </c:spPr>
            <c:extLst>
              <c:ext xmlns:c16="http://schemas.microsoft.com/office/drawing/2014/chart" uri="{C3380CC4-5D6E-409C-BE32-E72D297353CC}">
                <c16:uniqueId val="{00000101-2993-41DE-A2CB-63102DE87051}"/>
              </c:ext>
            </c:extLst>
          </c:dPt>
          <c:dPt>
            <c:idx val="128"/>
            <c:invertIfNegative val="1"/>
            <c:bubble3D val="0"/>
            <c:spPr>
              <a:solidFill>
                <a:srgbClr val="00A097"/>
              </a:solidFill>
            </c:spPr>
            <c:extLst>
              <c:ext xmlns:c16="http://schemas.microsoft.com/office/drawing/2014/chart" uri="{C3380CC4-5D6E-409C-BE32-E72D297353CC}">
                <c16:uniqueId val="{00000103-2993-41DE-A2CB-63102DE87051}"/>
              </c:ext>
            </c:extLst>
          </c:dPt>
          <c:dPt>
            <c:idx val="129"/>
            <c:invertIfNegative val="1"/>
            <c:bubble3D val="0"/>
            <c:spPr>
              <a:solidFill>
                <a:srgbClr val="00A097"/>
              </a:solidFill>
            </c:spPr>
            <c:extLst>
              <c:ext xmlns:c16="http://schemas.microsoft.com/office/drawing/2014/chart" uri="{C3380CC4-5D6E-409C-BE32-E72D297353CC}">
                <c16:uniqueId val="{00000105-2993-41DE-A2CB-63102DE87051}"/>
              </c:ext>
            </c:extLst>
          </c:dPt>
          <c:dPt>
            <c:idx val="130"/>
            <c:invertIfNegative val="1"/>
            <c:bubble3D val="0"/>
            <c:spPr>
              <a:solidFill>
                <a:srgbClr val="00A097"/>
              </a:solidFill>
            </c:spPr>
            <c:extLst>
              <c:ext xmlns:c16="http://schemas.microsoft.com/office/drawing/2014/chart" uri="{C3380CC4-5D6E-409C-BE32-E72D297353CC}">
                <c16:uniqueId val="{00000107-2993-41DE-A2CB-63102DE87051}"/>
              </c:ext>
            </c:extLst>
          </c:dPt>
          <c:dPt>
            <c:idx val="131"/>
            <c:invertIfNegative val="1"/>
            <c:bubble3D val="0"/>
            <c:spPr>
              <a:solidFill>
                <a:srgbClr val="00A097"/>
              </a:solidFill>
            </c:spPr>
            <c:extLst>
              <c:ext xmlns:c16="http://schemas.microsoft.com/office/drawing/2014/chart" uri="{C3380CC4-5D6E-409C-BE32-E72D297353CC}">
                <c16:uniqueId val="{00000109-2993-41DE-A2CB-63102DE87051}"/>
              </c:ext>
            </c:extLst>
          </c:dPt>
          <c:dPt>
            <c:idx val="132"/>
            <c:invertIfNegative val="1"/>
            <c:bubble3D val="0"/>
            <c:spPr>
              <a:solidFill>
                <a:srgbClr val="00A097"/>
              </a:solidFill>
            </c:spPr>
            <c:extLst>
              <c:ext xmlns:c16="http://schemas.microsoft.com/office/drawing/2014/chart" uri="{C3380CC4-5D6E-409C-BE32-E72D297353CC}">
                <c16:uniqueId val="{0000010B-2993-41DE-A2CB-63102DE87051}"/>
              </c:ext>
            </c:extLst>
          </c:dPt>
          <c:dPt>
            <c:idx val="133"/>
            <c:invertIfNegative val="1"/>
            <c:bubble3D val="0"/>
            <c:spPr>
              <a:solidFill>
                <a:srgbClr val="00A097"/>
              </a:solidFill>
            </c:spPr>
            <c:extLst>
              <c:ext xmlns:c16="http://schemas.microsoft.com/office/drawing/2014/chart" uri="{C3380CC4-5D6E-409C-BE32-E72D297353CC}">
                <c16:uniqueId val="{0000010D-2993-41DE-A2CB-63102DE87051}"/>
              </c:ext>
            </c:extLst>
          </c:dPt>
          <c:dPt>
            <c:idx val="134"/>
            <c:invertIfNegative val="1"/>
            <c:bubble3D val="0"/>
            <c:spPr>
              <a:solidFill>
                <a:srgbClr val="00A097"/>
              </a:solidFill>
            </c:spPr>
            <c:extLst>
              <c:ext xmlns:c16="http://schemas.microsoft.com/office/drawing/2014/chart" uri="{C3380CC4-5D6E-409C-BE32-E72D297353CC}">
                <c16:uniqueId val="{0000010F-2993-41DE-A2CB-63102DE87051}"/>
              </c:ext>
            </c:extLst>
          </c:dPt>
          <c:dPt>
            <c:idx val="135"/>
            <c:invertIfNegative val="1"/>
            <c:bubble3D val="0"/>
            <c:spPr>
              <a:solidFill>
                <a:srgbClr val="00A097"/>
              </a:solidFill>
            </c:spPr>
            <c:extLst>
              <c:ext xmlns:c16="http://schemas.microsoft.com/office/drawing/2014/chart" uri="{C3380CC4-5D6E-409C-BE32-E72D297353CC}">
                <c16:uniqueId val="{00000111-2993-41DE-A2CB-63102DE87051}"/>
              </c:ext>
            </c:extLst>
          </c:dPt>
          <c:dPt>
            <c:idx val="136"/>
            <c:invertIfNegative val="1"/>
            <c:bubble3D val="0"/>
            <c:spPr>
              <a:solidFill>
                <a:srgbClr val="00A097"/>
              </a:solidFill>
            </c:spPr>
            <c:extLst>
              <c:ext xmlns:c16="http://schemas.microsoft.com/office/drawing/2014/chart" uri="{C3380CC4-5D6E-409C-BE32-E72D297353CC}">
                <c16:uniqueId val="{00000113-2993-41DE-A2CB-63102DE87051}"/>
              </c:ext>
            </c:extLst>
          </c:dPt>
          <c:dPt>
            <c:idx val="137"/>
            <c:invertIfNegative val="1"/>
            <c:bubble3D val="0"/>
            <c:spPr>
              <a:solidFill>
                <a:srgbClr val="00A097"/>
              </a:solidFill>
            </c:spPr>
            <c:extLst>
              <c:ext xmlns:c16="http://schemas.microsoft.com/office/drawing/2014/chart" uri="{C3380CC4-5D6E-409C-BE32-E72D297353CC}">
                <c16:uniqueId val="{00000115-2993-41DE-A2CB-63102DE87051}"/>
              </c:ext>
            </c:extLst>
          </c:dPt>
          <c:dPt>
            <c:idx val="138"/>
            <c:invertIfNegative val="1"/>
            <c:bubble3D val="0"/>
            <c:spPr>
              <a:solidFill>
                <a:srgbClr val="00A097"/>
              </a:solidFill>
            </c:spPr>
            <c:extLst>
              <c:ext xmlns:c16="http://schemas.microsoft.com/office/drawing/2014/chart" uri="{C3380CC4-5D6E-409C-BE32-E72D297353CC}">
                <c16:uniqueId val="{00000117-2993-41DE-A2CB-63102DE87051}"/>
              </c:ext>
            </c:extLst>
          </c:dPt>
          <c:dPt>
            <c:idx val="139"/>
            <c:invertIfNegative val="1"/>
            <c:bubble3D val="0"/>
            <c:spPr>
              <a:solidFill>
                <a:srgbClr val="00A097"/>
              </a:solidFill>
            </c:spPr>
            <c:extLst>
              <c:ext xmlns:c16="http://schemas.microsoft.com/office/drawing/2014/chart" uri="{C3380CC4-5D6E-409C-BE32-E72D297353CC}">
                <c16:uniqueId val="{00000119-2993-41DE-A2CB-63102DE87051}"/>
              </c:ext>
            </c:extLst>
          </c:dPt>
          <c:dPt>
            <c:idx val="140"/>
            <c:invertIfNegative val="1"/>
            <c:bubble3D val="0"/>
            <c:spPr>
              <a:solidFill>
                <a:srgbClr val="00A097"/>
              </a:solidFill>
            </c:spPr>
            <c:extLst>
              <c:ext xmlns:c16="http://schemas.microsoft.com/office/drawing/2014/chart" uri="{C3380CC4-5D6E-409C-BE32-E72D297353CC}">
                <c16:uniqueId val="{0000011B-2993-41DE-A2CB-63102DE87051}"/>
              </c:ext>
            </c:extLst>
          </c:dPt>
          <c:dPt>
            <c:idx val="141"/>
            <c:invertIfNegative val="1"/>
            <c:bubble3D val="0"/>
            <c:spPr>
              <a:solidFill>
                <a:srgbClr val="00A097"/>
              </a:solidFill>
            </c:spPr>
            <c:extLst>
              <c:ext xmlns:c16="http://schemas.microsoft.com/office/drawing/2014/chart" uri="{C3380CC4-5D6E-409C-BE32-E72D297353CC}">
                <c16:uniqueId val="{0000011D-2993-41DE-A2CB-63102DE87051}"/>
              </c:ext>
            </c:extLst>
          </c:dPt>
          <c:dPt>
            <c:idx val="142"/>
            <c:invertIfNegative val="1"/>
            <c:bubble3D val="0"/>
            <c:spPr>
              <a:solidFill>
                <a:srgbClr val="00A097"/>
              </a:solidFill>
            </c:spPr>
            <c:extLst>
              <c:ext xmlns:c16="http://schemas.microsoft.com/office/drawing/2014/chart" uri="{C3380CC4-5D6E-409C-BE32-E72D297353CC}">
                <c16:uniqueId val="{0000011F-2993-41DE-A2CB-63102DE87051}"/>
              </c:ext>
            </c:extLst>
          </c:dPt>
          <c:dPt>
            <c:idx val="143"/>
            <c:invertIfNegative val="1"/>
            <c:bubble3D val="0"/>
            <c:spPr>
              <a:solidFill>
                <a:srgbClr val="00A097"/>
              </a:solidFill>
            </c:spPr>
            <c:extLst>
              <c:ext xmlns:c16="http://schemas.microsoft.com/office/drawing/2014/chart" uri="{C3380CC4-5D6E-409C-BE32-E72D297353CC}">
                <c16:uniqueId val="{00000121-2993-41DE-A2CB-63102DE87051}"/>
              </c:ext>
            </c:extLst>
          </c:dPt>
          <c:dPt>
            <c:idx val="144"/>
            <c:invertIfNegative val="1"/>
            <c:bubble3D val="0"/>
            <c:spPr>
              <a:solidFill>
                <a:srgbClr val="00A097"/>
              </a:solidFill>
            </c:spPr>
            <c:extLst>
              <c:ext xmlns:c16="http://schemas.microsoft.com/office/drawing/2014/chart" uri="{C3380CC4-5D6E-409C-BE32-E72D297353CC}">
                <c16:uniqueId val="{00000123-2993-41DE-A2CB-63102DE87051}"/>
              </c:ext>
            </c:extLst>
          </c:dPt>
          <c:dPt>
            <c:idx val="145"/>
            <c:invertIfNegative val="1"/>
            <c:bubble3D val="0"/>
            <c:spPr>
              <a:solidFill>
                <a:srgbClr val="00A097"/>
              </a:solidFill>
            </c:spPr>
            <c:extLst>
              <c:ext xmlns:c16="http://schemas.microsoft.com/office/drawing/2014/chart" uri="{C3380CC4-5D6E-409C-BE32-E72D297353CC}">
                <c16:uniqueId val="{00000125-2993-41DE-A2CB-63102DE87051}"/>
              </c:ext>
            </c:extLst>
          </c:dPt>
          <c:dPt>
            <c:idx val="146"/>
            <c:invertIfNegative val="1"/>
            <c:bubble3D val="0"/>
            <c:spPr>
              <a:solidFill>
                <a:srgbClr val="00A097"/>
              </a:solidFill>
            </c:spPr>
            <c:extLst>
              <c:ext xmlns:c16="http://schemas.microsoft.com/office/drawing/2014/chart" uri="{C3380CC4-5D6E-409C-BE32-E72D297353CC}">
                <c16:uniqueId val="{00000127-2993-41DE-A2CB-63102DE87051}"/>
              </c:ext>
            </c:extLst>
          </c:dPt>
          <c:dPt>
            <c:idx val="147"/>
            <c:invertIfNegative val="1"/>
            <c:bubble3D val="0"/>
            <c:spPr>
              <a:solidFill>
                <a:srgbClr val="00A097"/>
              </a:solidFill>
            </c:spPr>
            <c:extLst>
              <c:ext xmlns:c16="http://schemas.microsoft.com/office/drawing/2014/chart" uri="{C3380CC4-5D6E-409C-BE32-E72D297353CC}">
                <c16:uniqueId val="{00000129-2993-41DE-A2CB-63102DE87051}"/>
              </c:ext>
            </c:extLst>
          </c:dPt>
          <c:dPt>
            <c:idx val="148"/>
            <c:invertIfNegative val="1"/>
            <c:bubble3D val="0"/>
            <c:spPr>
              <a:solidFill>
                <a:srgbClr val="00A097"/>
              </a:solidFill>
            </c:spPr>
            <c:extLst>
              <c:ext xmlns:c16="http://schemas.microsoft.com/office/drawing/2014/chart" uri="{C3380CC4-5D6E-409C-BE32-E72D297353CC}">
                <c16:uniqueId val="{0000012B-2993-41DE-A2CB-63102DE87051}"/>
              </c:ext>
            </c:extLst>
          </c:dPt>
          <c:dPt>
            <c:idx val="149"/>
            <c:invertIfNegative val="1"/>
            <c:bubble3D val="0"/>
            <c:spPr>
              <a:solidFill>
                <a:srgbClr val="00A097"/>
              </a:solidFill>
            </c:spPr>
            <c:extLst>
              <c:ext xmlns:c16="http://schemas.microsoft.com/office/drawing/2014/chart" uri="{C3380CC4-5D6E-409C-BE32-E72D297353CC}">
                <c16:uniqueId val="{0000012D-2993-41DE-A2CB-63102DE87051}"/>
              </c:ext>
            </c:extLst>
          </c:dPt>
          <c:dPt>
            <c:idx val="150"/>
            <c:invertIfNegative val="1"/>
            <c:bubble3D val="0"/>
            <c:spPr>
              <a:solidFill>
                <a:srgbClr val="00A097"/>
              </a:solidFill>
            </c:spPr>
            <c:extLst>
              <c:ext xmlns:c16="http://schemas.microsoft.com/office/drawing/2014/chart" uri="{C3380CC4-5D6E-409C-BE32-E72D297353CC}">
                <c16:uniqueId val="{0000012F-2993-41DE-A2CB-63102DE87051}"/>
              </c:ext>
            </c:extLst>
          </c:dPt>
          <c:dPt>
            <c:idx val="151"/>
            <c:invertIfNegative val="1"/>
            <c:bubble3D val="0"/>
            <c:spPr>
              <a:solidFill>
                <a:srgbClr val="00A097"/>
              </a:solidFill>
            </c:spPr>
            <c:extLst>
              <c:ext xmlns:c16="http://schemas.microsoft.com/office/drawing/2014/chart" uri="{C3380CC4-5D6E-409C-BE32-E72D297353CC}">
                <c16:uniqueId val="{00000131-2993-41DE-A2CB-63102DE87051}"/>
              </c:ext>
            </c:extLst>
          </c:dPt>
          <c:dPt>
            <c:idx val="152"/>
            <c:invertIfNegative val="1"/>
            <c:bubble3D val="0"/>
            <c:spPr>
              <a:solidFill>
                <a:srgbClr val="00A097"/>
              </a:solidFill>
            </c:spPr>
            <c:extLst>
              <c:ext xmlns:c16="http://schemas.microsoft.com/office/drawing/2014/chart" uri="{C3380CC4-5D6E-409C-BE32-E72D297353CC}">
                <c16:uniqueId val="{00000133-2993-41DE-A2CB-63102DE87051}"/>
              </c:ext>
            </c:extLst>
          </c:dPt>
          <c:dPt>
            <c:idx val="153"/>
            <c:invertIfNegative val="1"/>
            <c:bubble3D val="0"/>
            <c:spPr>
              <a:solidFill>
                <a:srgbClr val="00A097"/>
              </a:solidFill>
            </c:spPr>
            <c:extLst>
              <c:ext xmlns:c16="http://schemas.microsoft.com/office/drawing/2014/chart" uri="{C3380CC4-5D6E-409C-BE32-E72D297353CC}">
                <c16:uniqueId val="{00000135-2993-41DE-A2CB-63102DE87051}"/>
              </c:ext>
            </c:extLst>
          </c:dPt>
          <c:dPt>
            <c:idx val="154"/>
            <c:invertIfNegative val="1"/>
            <c:bubble3D val="0"/>
            <c:spPr>
              <a:solidFill>
                <a:srgbClr val="00A097"/>
              </a:solidFill>
            </c:spPr>
            <c:extLst>
              <c:ext xmlns:c16="http://schemas.microsoft.com/office/drawing/2014/chart" uri="{C3380CC4-5D6E-409C-BE32-E72D297353CC}">
                <c16:uniqueId val="{00000137-2993-41DE-A2CB-63102DE87051}"/>
              </c:ext>
            </c:extLst>
          </c:dPt>
          <c:dPt>
            <c:idx val="155"/>
            <c:invertIfNegative val="1"/>
            <c:bubble3D val="0"/>
            <c:spPr>
              <a:solidFill>
                <a:srgbClr val="00A097"/>
              </a:solidFill>
            </c:spPr>
            <c:extLst>
              <c:ext xmlns:c16="http://schemas.microsoft.com/office/drawing/2014/chart" uri="{C3380CC4-5D6E-409C-BE32-E72D297353CC}">
                <c16:uniqueId val="{00000139-2993-41DE-A2CB-63102DE87051}"/>
              </c:ext>
            </c:extLst>
          </c:dPt>
          <c:dPt>
            <c:idx val="156"/>
            <c:invertIfNegative val="1"/>
            <c:bubble3D val="0"/>
            <c:spPr>
              <a:solidFill>
                <a:srgbClr val="00A097"/>
              </a:solidFill>
            </c:spPr>
            <c:extLst>
              <c:ext xmlns:c16="http://schemas.microsoft.com/office/drawing/2014/chart" uri="{C3380CC4-5D6E-409C-BE32-E72D297353CC}">
                <c16:uniqueId val="{0000013B-2993-41DE-A2CB-63102DE87051}"/>
              </c:ext>
            </c:extLst>
          </c:dPt>
          <c:dPt>
            <c:idx val="157"/>
            <c:invertIfNegative val="1"/>
            <c:bubble3D val="0"/>
            <c:spPr>
              <a:solidFill>
                <a:srgbClr val="00A097"/>
              </a:solidFill>
            </c:spPr>
            <c:extLst>
              <c:ext xmlns:c16="http://schemas.microsoft.com/office/drawing/2014/chart" uri="{C3380CC4-5D6E-409C-BE32-E72D297353CC}">
                <c16:uniqueId val="{0000013D-2993-41DE-A2CB-63102DE87051}"/>
              </c:ext>
            </c:extLst>
          </c:dPt>
          <c:dPt>
            <c:idx val="158"/>
            <c:invertIfNegative val="1"/>
            <c:bubble3D val="0"/>
            <c:spPr>
              <a:solidFill>
                <a:srgbClr val="00A097"/>
              </a:solidFill>
            </c:spPr>
            <c:extLst>
              <c:ext xmlns:c16="http://schemas.microsoft.com/office/drawing/2014/chart" uri="{C3380CC4-5D6E-409C-BE32-E72D297353CC}">
                <c16:uniqueId val="{0000013F-2993-41DE-A2CB-63102DE87051}"/>
              </c:ext>
            </c:extLst>
          </c:dPt>
          <c:dPt>
            <c:idx val="159"/>
            <c:invertIfNegative val="1"/>
            <c:bubble3D val="0"/>
            <c:spPr>
              <a:solidFill>
                <a:srgbClr val="00A097"/>
              </a:solidFill>
            </c:spPr>
            <c:extLst>
              <c:ext xmlns:c16="http://schemas.microsoft.com/office/drawing/2014/chart" uri="{C3380CC4-5D6E-409C-BE32-E72D297353CC}">
                <c16:uniqueId val="{00000141-2993-41DE-A2CB-63102DE87051}"/>
              </c:ext>
            </c:extLst>
          </c:dPt>
          <c:dPt>
            <c:idx val="160"/>
            <c:invertIfNegative val="1"/>
            <c:bubble3D val="0"/>
            <c:spPr>
              <a:solidFill>
                <a:srgbClr val="00A097"/>
              </a:solidFill>
            </c:spPr>
            <c:extLst>
              <c:ext xmlns:c16="http://schemas.microsoft.com/office/drawing/2014/chart" uri="{C3380CC4-5D6E-409C-BE32-E72D297353CC}">
                <c16:uniqueId val="{00000143-2993-41DE-A2CB-63102DE87051}"/>
              </c:ext>
            </c:extLst>
          </c:dPt>
          <c:dPt>
            <c:idx val="161"/>
            <c:invertIfNegative val="1"/>
            <c:bubble3D val="0"/>
            <c:spPr>
              <a:solidFill>
                <a:srgbClr val="00A097"/>
              </a:solidFill>
            </c:spPr>
            <c:extLst>
              <c:ext xmlns:c16="http://schemas.microsoft.com/office/drawing/2014/chart" uri="{C3380CC4-5D6E-409C-BE32-E72D297353CC}">
                <c16:uniqueId val="{00000145-2993-41DE-A2CB-63102DE87051}"/>
              </c:ext>
            </c:extLst>
          </c:dPt>
          <c:dPt>
            <c:idx val="162"/>
            <c:invertIfNegative val="1"/>
            <c:bubble3D val="0"/>
            <c:spPr>
              <a:solidFill>
                <a:srgbClr val="00A097"/>
              </a:solidFill>
            </c:spPr>
            <c:extLst>
              <c:ext xmlns:c16="http://schemas.microsoft.com/office/drawing/2014/chart" uri="{C3380CC4-5D6E-409C-BE32-E72D297353CC}">
                <c16:uniqueId val="{00000147-2993-41DE-A2CB-63102DE87051}"/>
              </c:ext>
            </c:extLst>
          </c:dPt>
          <c:dPt>
            <c:idx val="163"/>
            <c:invertIfNegative val="1"/>
            <c:bubble3D val="0"/>
            <c:spPr>
              <a:solidFill>
                <a:srgbClr val="00A097"/>
              </a:solidFill>
            </c:spPr>
            <c:extLst>
              <c:ext xmlns:c16="http://schemas.microsoft.com/office/drawing/2014/chart" uri="{C3380CC4-5D6E-409C-BE32-E72D297353CC}">
                <c16:uniqueId val="{00000149-2993-41DE-A2CB-63102DE87051}"/>
              </c:ext>
            </c:extLst>
          </c:dPt>
          <c:dPt>
            <c:idx val="164"/>
            <c:invertIfNegative val="1"/>
            <c:bubble3D val="0"/>
            <c:spPr>
              <a:solidFill>
                <a:srgbClr val="00A097"/>
              </a:solidFill>
            </c:spPr>
            <c:extLst>
              <c:ext xmlns:c16="http://schemas.microsoft.com/office/drawing/2014/chart" uri="{C3380CC4-5D6E-409C-BE32-E72D297353CC}">
                <c16:uniqueId val="{0000014B-2993-41DE-A2CB-63102DE87051}"/>
              </c:ext>
            </c:extLst>
          </c:dPt>
          <c:dPt>
            <c:idx val="165"/>
            <c:invertIfNegative val="1"/>
            <c:bubble3D val="0"/>
            <c:spPr>
              <a:solidFill>
                <a:srgbClr val="00A097"/>
              </a:solidFill>
            </c:spPr>
            <c:extLst>
              <c:ext xmlns:c16="http://schemas.microsoft.com/office/drawing/2014/chart" uri="{C3380CC4-5D6E-409C-BE32-E72D297353CC}">
                <c16:uniqueId val="{0000014D-2993-41DE-A2CB-63102DE87051}"/>
              </c:ext>
            </c:extLst>
          </c:dPt>
          <c:dPt>
            <c:idx val="166"/>
            <c:invertIfNegative val="1"/>
            <c:bubble3D val="0"/>
            <c:spPr>
              <a:solidFill>
                <a:srgbClr val="00A097"/>
              </a:solidFill>
            </c:spPr>
            <c:extLst>
              <c:ext xmlns:c16="http://schemas.microsoft.com/office/drawing/2014/chart" uri="{C3380CC4-5D6E-409C-BE32-E72D297353CC}">
                <c16:uniqueId val="{0000014F-2993-41DE-A2CB-63102DE87051}"/>
              </c:ext>
            </c:extLst>
          </c:dPt>
          <c:dPt>
            <c:idx val="167"/>
            <c:invertIfNegative val="1"/>
            <c:bubble3D val="0"/>
            <c:spPr>
              <a:solidFill>
                <a:srgbClr val="00A097"/>
              </a:solidFill>
            </c:spPr>
            <c:extLst>
              <c:ext xmlns:c16="http://schemas.microsoft.com/office/drawing/2014/chart" uri="{C3380CC4-5D6E-409C-BE32-E72D297353CC}">
                <c16:uniqueId val="{00000151-2993-41DE-A2CB-63102DE87051}"/>
              </c:ext>
            </c:extLst>
          </c:dPt>
          <c:dPt>
            <c:idx val="168"/>
            <c:invertIfNegative val="1"/>
            <c:bubble3D val="0"/>
            <c:spPr>
              <a:solidFill>
                <a:srgbClr val="00A097"/>
              </a:solidFill>
            </c:spPr>
            <c:extLst>
              <c:ext xmlns:c16="http://schemas.microsoft.com/office/drawing/2014/chart" uri="{C3380CC4-5D6E-409C-BE32-E72D297353CC}">
                <c16:uniqueId val="{00000153-2993-41DE-A2CB-63102DE87051}"/>
              </c:ext>
            </c:extLst>
          </c:dPt>
          <c:dPt>
            <c:idx val="169"/>
            <c:invertIfNegative val="1"/>
            <c:bubble3D val="0"/>
            <c:spPr>
              <a:solidFill>
                <a:srgbClr val="00A097"/>
              </a:solidFill>
            </c:spPr>
            <c:extLst>
              <c:ext xmlns:c16="http://schemas.microsoft.com/office/drawing/2014/chart" uri="{C3380CC4-5D6E-409C-BE32-E72D297353CC}">
                <c16:uniqueId val="{00000155-2993-41DE-A2CB-63102DE87051}"/>
              </c:ext>
            </c:extLst>
          </c:dPt>
          <c:dPt>
            <c:idx val="170"/>
            <c:invertIfNegative val="1"/>
            <c:bubble3D val="0"/>
            <c:spPr>
              <a:solidFill>
                <a:srgbClr val="00A097"/>
              </a:solidFill>
            </c:spPr>
            <c:extLst>
              <c:ext xmlns:c16="http://schemas.microsoft.com/office/drawing/2014/chart" uri="{C3380CC4-5D6E-409C-BE32-E72D297353CC}">
                <c16:uniqueId val="{00000157-2993-41DE-A2CB-63102DE87051}"/>
              </c:ext>
            </c:extLst>
          </c:dPt>
          <c:dPt>
            <c:idx val="171"/>
            <c:invertIfNegative val="1"/>
            <c:bubble3D val="0"/>
            <c:spPr>
              <a:solidFill>
                <a:srgbClr val="00A097"/>
              </a:solidFill>
            </c:spPr>
            <c:extLst>
              <c:ext xmlns:c16="http://schemas.microsoft.com/office/drawing/2014/chart" uri="{C3380CC4-5D6E-409C-BE32-E72D297353CC}">
                <c16:uniqueId val="{00000159-2993-41DE-A2CB-63102DE87051}"/>
              </c:ext>
            </c:extLst>
          </c:dPt>
          <c:dPt>
            <c:idx val="172"/>
            <c:invertIfNegative val="1"/>
            <c:bubble3D val="0"/>
            <c:spPr>
              <a:solidFill>
                <a:srgbClr val="00A097"/>
              </a:solidFill>
            </c:spPr>
            <c:extLst>
              <c:ext xmlns:c16="http://schemas.microsoft.com/office/drawing/2014/chart" uri="{C3380CC4-5D6E-409C-BE32-E72D297353CC}">
                <c16:uniqueId val="{0000015B-2993-41DE-A2CB-63102DE87051}"/>
              </c:ext>
            </c:extLst>
          </c:dPt>
          <c:dPt>
            <c:idx val="173"/>
            <c:invertIfNegative val="1"/>
            <c:bubble3D val="0"/>
            <c:spPr>
              <a:solidFill>
                <a:srgbClr val="00A097"/>
              </a:solidFill>
            </c:spPr>
            <c:extLst>
              <c:ext xmlns:c16="http://schemas.microsoft.com/office/drawing/2014/chart" uri="{C3380CC4-5D6E-409C-BE32-E72D297353CC}">
                <c16:uniqueId val="{0000015D-2993-41DE-A2CB-63102DE87051}"/>
              </c:ext>
            </c:extLst>
          </c:dPt>
          <c:dPt>
            <c:idx val="174"/>
            <c:invertIfNegative val="1"/>
            <c:bubble3D val="0"/>
            <c:spPr>
              <a:solidFill>
                <a:srgbClr val="00A097"/>
              </a:solidFill>
            </c:spPr>
            <c:extLst>
              <c:ext xmlns:c16="http://schemas.microsoft.com/office/drawing/2014/chart" uri="{C3380CC4-5D6E-409C-BE32-E72D297353CC}">
                <c16:uniqueId val="{0000015F-2993-41DE-A2CB-63102DE87051}"/>
              </c:ext>
            </c:extLst>
          </c:dPt>
          <c:dPt>
            <c:idx val="175"/>
            <c:invertIfNegative val="1"/>
            <c:bubble3D val="0"/>
            <c:spPr>
              <a:solidFill>
                <a:srgbClr val="00A097"/>
              </a:solidFill>
            </c:spPr>
            <c:extLst>
              <c:ext xmlns:c16="http://schemas.microsoft.com/office/drawing/2014/chart" uri="{C3380CC4-5D6E-409C-BE32-E72D297353CC}">
                <c16:uniqueId val="{00000161-2993-41DE-A2CB-63102DE87051}"/>
              </c:ext>
            </c:extLst>
          </c:dPt>
          <c:dPt>
            <c:idx val="176"/>
            <c:invertIfNegative val="1"/>
            <c:bubble3D val="0"/>
            <c:spPr>
              <a:solidFill>
                <a:srgbClr val="00A097"/>
              </a:solidFill>
            </c:spPr>
            <c:extLst>
              <c:ext xmlns:c16="http://schemas.microsoft.com/office/drawing/2014/chart" uri="{C3380CC4-5D6E-409C-BE32-E72D297353CC}">
                <c16:uniqueId val="{00000163-2993-41DE-A2CB-63102DE87051}"/>
              </c:ext>
            </c:extLst>
          </c:dPt>
          <c:dPt>
            <c:idx val="177"/>
            <c:invertIfNegative val="1"/>
            <c:bubble3D val="0"/>
            <c:spPr>
              <a:solidFill>
                <a:srgbClr val="00A097"/>
              </a:solidFill>
            </c:spPr>
            <c:extLst>
              <c:ext xmlns:c16="http://schemas.microsoft.com/office/drawing/2014/chart" uri="{C3380CC4-5D6E-409C-BE32-E72D297353CC}">
                <c16:uniqueId val="{00000165-2993-41DE-A2CB-63102DE87051}"/>
              </c:ext>
            </c:extLst>
          </c:dPt>
          <c:dPt>
            <c:idx val="178"/>
            <c:invertIfNegative val="1"/>
            <c:bubble3D val="0"/>
            <c:spPr>
              <a:solidFill>
                <a:srgbClr val="00A097"/>
              </a:solidFill>
            </c:spPr>
            <c:extLst>
              <c:ext xmlns:c16="http://schemas.microsoft.com/office/drawing/2014/chart" uri="{C3380CC4-5D6E-409C-BE32-E72D297353CC}">
                <c16:uniqueId val="{00000167-2993-41DE-A2CB-63102DE87051}"/>
              </c:ext>
            </c:extLst>
          </c:dPt>
          <c:dPt>
            <c:idx val="179"/>
            <c:invertIfNegative val="1"/>
            <c:bubble3D val="0"/>
            <c:spPr>
              <a:solidFill>
                <a:srgbClr val="00A097"/>
              </a:solidFill>
            </c:spPr>
            <c:extLst>
              <c:ext xmlns:c16="http://schemas.microsoft.com/office/drawing/2014/chart" uri="{C3380CC4-5D6E-409C-BE32-E72D297353CC}">
                <c16:uniqueId val="{00000169-2993-41DE-A2CB-63102DE87051}"/>
              </c:ext>
            </c:extLst>
          </c:dPt>
          <c:dPt>
            <c:idx val="180"/>
            <c:invertIfNegative val="1"/>
            <c:bubble3D val="0"/>
            <c:spPr>
              <a:solidFill>
                <a:srgbClr val="00A097"/>
              </a:solidFill>
            </c:spPr>
            <c:extLst>
              <c:ext xmlns:c16="http://schemas.microsoft.com/office/drawing/2014/chart" uri="{C3380CC4-5D6E-409C-BE32-E72D297353CC}">
                <c16:uniqueId val="{0000016B-2993-41DE-A2CB-63102DE87051}"/>
              </c:ext>
            </c:extLst>
          </c:dPt>
          <c:dPt>
            <c:idx val="181"/>
            <c:invertIfNegative val="1"/>
            <c:bubble3D val="0"/>
            <c:spPr>
              <a:solidFill>
                <a:srgbClr val="00A097"/>
              </a:solidFill>
            </c:spPr>
            <c:extLst>
              <c:ext xmlns:c16="http://schemas.microsoft.com/office/drawing/2014/chart" uri="{C3380CC4-5D6E-409C-BE32-E72D297353CC}">
                <c16:uniqueId val="{0000016D-2993-41DE-A2CB-63102DE87051}"/>
              </c:ext>
            </c:extLst>
          </c:dPt>
          <c:dPt>
            <c:idx val="182"/>
            <c:invertIfNegative val="1"/>
            <c:bubble3D val="0"/>
            <c:spPr>
              <a:solidFill>
                <a:srgbClr val="00A097"/>
              </a:solidFill>
            </c:spPr>
            <c:extLst>
              <c:ext xmlns:c16="http://schemas.microsoft.com/office/drawing/2014/chart" uri="{C3380CC4-5D6E-409C-BE32-E72D297353CC}">
                <c16:uniqueId val="{0000016F-2993-41DE-A2CB-63102DE87051}"/>
              </c:ext>
            </c:extLst>
          </c:dPt>
          <c:dPt>
            <c:idx val="183"/>
            <c:invertIfNegative val="1"/>
            <c:bubble3D val="0"/>
            <c:spPr>
              <a:solidFill>
                <a:srgbClr val="00A097"/>
              </a:solidFill>
            </c:spPr>
            <c:extLst>
              <c:ext xmlns:c16="http://schemas.microsoft.com/office/drawing/2014/chart" uri="{C3380CC4-5D6E-409C-BE32-E72D297353CC}">
                <c16:uniqueId val="{00000171-2993-41DE-A2CB-63102DE87051}"/>
              </c:ext>
            </c:extLst>
          </c:dPt>
          <c:dPt>
            <c:idx val="184"/>
            <c:invertIfNegative val="1"/>
            <c:bubble3D val="0"/>
            <c:spPr>
              <a:solidFill>
                <a:srgbClr val="00A097"/>
              </a:solidFill>
            </c:spPr>
            <c:extLst>
              <c:ext xmlns:c16="http://schemas.microsoft.com/office/drawing/2014/chart" uri="{C3380CC4-5D6E-409C-BE32-E72D297353CC}">
                <c16:uniqueId val="{00000173-2993-41DE-A2CB-63102DE87051}"/>
              </c:ext>
            </c:extLst>
          </c:dPt>
          <c:dPt>
            <c:idx val="185"/>
            <c:invertIfNegative val="1"/>
            <c:bubble3D val="0"/>
            <c:spPr>
              <a:solidFill>
                <a:srgbClr val="00A097"/>
              </a:solidFill>
            </c:spPr>
            <c:extLst>
              <c:ext xmlns:c16="http://schemas.microsoft.com/office/drawing/2014/chart" uri="{C3380CC4-5D6E-409C-BE32-E72D297353CC}">
                <c16:uniqueId val="{00000175-2993-41DE-A2CB-63102DE87051}"/>
              </c:ext>
            </c:extLst>
          </c:dPt>
          <c:dPt>
            <c:idx val="186"/>
            <c:invertIfNegative val="1"/>
            <c:bubble3D val="0"/>
            <c:spPr>
              <a:solidFill>
                <a:srgbClr val="00A097"/>
              </a:solidFill>
            </c:spPr>
            <c:extLst>
              <c:ext xmlns:c16="http://schemas.microsoft.com/office/drawing/2014/chart" uri="{C3380CC4-5D6E-409C-BE32-E72D297353CC}">
                <c16:uniqueId val="{00000177-2993-41DE-A2CB-63102DE87051}"/>
              </c:ext>
            </c:extLst>
          </c:dPt>
          <c:dPt>
            <c:idx val="187"/>
            <c:invertIfNegative val="1"/>
            <c:bubble3D val="0"/>
            <c:spPr>
              <a:solidFill>
                <a:srgbClr val="00A097"/>
              </a:solidFill>
            </c:spPr>
            <c:extLst>
              <c:ext xmlns:c16="http://schemas.microsoft.com/office/drawing/2014/chart" uri="{C3380CC4-5D6E-409C-BE32-E72D297353CC}">
                <c16:uniqueId val="{00000179-2993-41DE-A2CB-63102DE87051}"/>
              </c:ext>
            </c:extLst>
          </c:dPt>
          <c:dPt>
            <c:idx val="188"/>
            <c:invertIfNegative val="1"/>
            <c:bubble3D val="0"/>
            <c:spPr>
              <a:solidFill>
                <a:srgbClr val="00A097"/>
              </a:solidFill>
            </c:spPr>
            <c:extLst>
              <c:ext xmlns:c16="http://schemas.microsoft.com/office/drawing/2014/chart" uri="{C3380CC4-5D6E-409C-BE32-E72D297353CC}">
                <c16:uniqueId val="{0000017B-2993-41DE-A2CB-63102DE87051}"/>
              </c:ext>
            </c:extLst>
          </c:dPt>
          <c:dPt>
            <c:idx val="189"/>
            <c:invertIfNegative val="1"/>
            <c:bubble3D val="0"/>
            <c:spPr>
              <a:solidFill>
                <a:srgbClr val="00A097"/>
              </a:solidFill>
            </c:spPr>
            <c:extLst>
              <c:ext xmlns:c16="http://schemas.microsoft.com/office/drawing/2014/chart" uri="{C3380CC4-5D6E-409C-BE32-E72D297353CC}">
                <c16:uniqueId val="{0000017D-2993-41DE-A2CB-63102DE87051}"/>
              </c:ext>
            </c:extLst>
          </c:dPt>
          <c:dPt>
            <c:idx val="190"/>
            <c:invertIfNegative val="1"/>
            <c:bubble3D val="0"/>
            <c:spPr>
              <a:solidFill>
                <a:srgbClr val="00A097"/>
              </a:solidFill>
            </c:spPr>
            <c:extLst>
              <c:ext xmlns:c16="http://schemas.microsoft.com/office/drawing/2014/chart" uri="{C3380CC4-5D6E-409C-BE32-E72D297353CC}">
                <c16:uniqueId val="{0000017F-2993-41DE-A2CB-63102DE87051}"/>
              </c:ext>
            </c:extLst>
          </c:dPt>
          <c:dPt>
            <c:idx val="191"/>
            <c:invertIfNegative val="1"/>
            <c:bubble3D val="0"/>
            <c:spPr>
              <a:solidFill>
                <a:srgbClr val="00A097"/>
              </a:solidFill>
            </c:spPr>
            <c:extLst>
              <c:ext xmlns:c16="http://schemas.microsoft.com/office/drawing/2014/chart" uri="{C3380CC4-5D6E-409C-BE32-E72D297353CC}">
                <c16:uniqueId val="{00000181-2993-41DE-A2CB-63102DE87051}"/>
              </c:ext>
            </c:extLst>
          </c:dPt>
          <c:dPt>
            <c:idx val="192"/>
            <c:invertIfNegative val="1"/>
            <c:bubble3D val="0"/>
            <c:spPr>
              <a:solidFill>
                <a:srgbClr val="00A097"/>
              </a:solidFill>
            </c:spPr>
            <c:extLst>
              <c:ext xmlns:c16="http://schemas.microsoft.com/office/drawing/2014/chart" uri="{C3380CC4-5D6E-409C-BE32-E72D297353CC}">
                <c16:uniqueId val="{00000183-2993-41DE-A2CB-63102DE87051}"/>
              </c:ext>
            </c:extLst>
          </c:dPt>
          <c:dPt>
            <c:idx val="193"/>
            <c:invertIfNegative val="1"/>
            <c:bubble3D val="0"/>
            <c:spPr>
              <a:solidFill>
                <a:srgbClr val="00A097"/>
              </a:solidFill>
            </c:spPr>
            <c:extLst>
              <c:ext xmlns:c16="http://schemas.microsoft.com/office/drawing/2014/chart" uri="{C3380CC4-5D6E-409C-BE32-E72D297353CC}">
                <c16:uniqueId val="{00000185-2993-41DE-A2CB-63102DE87051}"/>
              </c:ext>
            </c:extLst>
          </c:dPt>
          <c:dPt>
            <c:idx val="194"/>
            <c:invertIfNegative val="1"/>
            <c:bubble3D val="0"/>
            <c:spPr>
              <a:solidFill>
                <a:srgbClr val="00A097"/>
              </a:solidFill>
            </c:spPr>
            <c:extLst>
              <c:ext xmlns:c16="http://schemas.microsoft.com/office/drawing/2014/chart" uri="{C3380CC4-5D6E-409C-BE32-E72D297353CC}">
                <c16:uniqueId val="{00000187-2993-41DE-A2CB-63102DE87051}"/>
              </c:ext>
            </c:extLst>
          </c:dPt>
          <c:dPt>
            <c:idx val="195"/>
            <c:invertIfNegative val="1"/>
            <c:bubble3D val="0"/>
            <c:spPr>
              <a:solidFill>
                <a:srgbClr val="00A097"/>
              </a:solidFill>
            </c:spPr>
            <c:extLst>
              <c:ext xmlns:c16="http://schemas.microsoft.com/office/drawing/2014/chart" uri="{C3380CC4-5D6E-409C-BE32-E72D297353CC}">
                <c16:uniqueId val="{00000189-2993-41DE-A2CB-63102DE87051}"/>
              </c:ext>
            </c:extLst>
          </c:dPt>
          <c:dPt>
            <c:idx val="196"/>
            <c:invertIfNegative val="1"/>
            <c:bubble3D val="0"/>
            <c:spPr>
              <a:solidFill>
                <a:srgbClr val="00A097"/>
              </a:solidFill>
            </c:spPr>
            <c:extLst>
              <c:ext xmlns:c16="http://schemas.microsoft.com/office/drawing/2014/chart" uri="{C3380CC4-5D6E-409C-BE32-E72D297353CC}">
                <c16:uniqueId val="{0000018B-2993-41DE-A2CB-63102DE87051}"/>
              </c:ext>
            </c:extLst>
          </c:dPt>
          <c:dPt>
            <c:idx val="197"/>
            <c:invertIfNegative val="1"/>
            <c:bubble3D val="0"/>
            <c:spPr>
              <a:solidFill>
                <a:srgbClr val="00A097"/>
              </a:solidFill>
            </c:spPr>
            <c:extLst>
              <c:ext xmlns:c16="http://schemas.microsoft.com/office/drawing/2014/chart" uri="{C3380CC4-5D6E-409C-BE32-E72D297353CC}">
                <c16:uniqueId val="{0000018D-2993-41DE-A2CB-63102DE87051}"/>
              </c:ext>
            </c:extLst>
          </c:dPt>
          <c:dPt>
            <c:idx val="198"/>
            <c:invertIfNegative val="1"/>
            <c:bubble3D val="0"/>
            <c:spPr>
              <a:solidFill>
                <a:srgbClr val="00A097"/>
              </a:solidFill>
            </c:spPr>
            <c:extLst>
              <c:ext xmlns:c16="http://schemas.microsoft.com/office/drawing/2014/chart" uri="{C3380CC4-5D6E-409C-BE32-E72D297353CC}">
                <c16:uniqueId val="{0000018F-2993-41DE-A2CB-63102DE87051}"/>
              </c:ext>
            </c:extLst>
          </c:dPt>
          <c:dPt>
            <c:idx val="199"/>
            <c:invertIfNegative val="1"/>
            <c:bubble3D val="0"/>
            <c:spPr>
              <a:solidFill>
                <a:srgbClr val="00A097"/>
              </a:solidFill>
            </c:spPr>
            <c:extLst>
              <c:ext xmlns:c16="http://schemas.microsoft.com/office/drawing/2014/chart" uri="{C3380CC4-5D6E-409C-BE32-E72D297353CC}">
                <c16:uniqueId val="{00000191-2993-41DE-A2CB-63102DE87051}"/>
              </c:ext>
            </c:extLst>
          </c:dPt>
          <c:dPt>
            <c:idx val="200"/>
            <c:invertIfNegative val="1"/>
            <c:bubble3D val="0"/>
            <c:spPr>
              <a:solidFill>
                <a:srgbClr val="00A097"/>
              </a:solidFill>
            </c:spPr>
            <c:extLst>
              <c:ext xmlns:c16="http://schemas.microsoft.com/office/drawing/2014/chart" uri="{C3380CC4-5D6E-409C-BE32-E72D297353CC}">
                <c16:uniqueId val="{00000193-2993-41DE-A2CB-63102DE87051}"/>
              </c:ext>
            </c:extLst>
          </c:dPt>
          <c:dPt>
            <c:idx val="201"/>
            <c:invertIfNegative val="1"/>
            <c:bubble3D val="0"/>
            <c:spPr>
              <a:solidFill>
                <a:srgbClr val="00A097"/>
              </a:solidFill>
            </c:spPr>
            <c:extLst>
              <c:ext xmlns:c16="http://schemas.microsoft.com/office/drawing/2014/chart" uri="{C3380CC4-5D6E-409C-BE32-E72D297353CC}">
                <c16:uniqueId val="{00000195-2993-41DE-A2CB-63102DE87051}"/>
              </c:ext>
            </c:extLst>
          </c:dPt>
          <c:dPt>
            <c:idx val="202"/>
            <c:invertIfNegative val="1"/>
            <c:bubble3D val="0"/>
            <c:spPr>
              <a:solidFill>
                <a:srgbClr val="00A097"/>
              </a:solidFill>
            </c:spPr>
            <c:extLst>
              <c:ext xmlns:c16="http://schemas.microsoft.com/office/drawing/2014/chart" uri="{C3380CC4-5D6E-409C-BE32-E72D297353CC}">
                <c16:uniqueId val="{00000197-2993-41DE-A2CB-63102DE87051}"/>
              </c:ext>
            </c:extLst>
          </c:dPt>
          <c:dPt>
            <c:idx val="203"/>
            <c:invertIfNegative val="1"/>
            <c:bubble3D val="0"/>
            <c:spPr>
              <a:solidFill>
                <a:srgbClr val="00A097"/>
              </a:solidFill>
            </c:spPr>
            <c:extLst>
              <c:ext xmlns:c16="http://schemas.microsoft.com/office/drawing/2014/chart" uri="{C3380CC4-5D6E-409C-BE32-E72D297353CC}">
                <c16:uniqueId val="{00000199-2993-41DE-A2CB-63102DE87051}"/>
              </c:ext>
            </c:extLst>
          </c:dPt>
          <c:dPt>
            <c:idx val="204"/>
            <c:invertIfNegative val="1"/>
            <c:bubble3D val="0"/>
            <c:spPr>
              <a:solidFill>
                <a:srgbClr val="00A097"/>
              </a:solidFill>
            </c:spPr>
            <c:extLst>
              <c:ext xmlns:c16="http://schemas.microsoft.com/office/drawing/2014/chart" uri="{C3380CC4-5D6E-409C-BE32-E72D297353CC}">
                <c16:uniqueId val="{0000019B-2993-41DE-A2CB-63102DE87051}"/>
              </c:ext>
            </c:extLst>
          </c:dPt>
          <c:dPt>
            <c:idx val="205"/>
            <c:invertIfNegative val="1"/>
            <c:bubble3D val="0"/>
            <c:spPr>
              <a:solidFill>
                <a:srgbClr val="00A097"/>
              </a:solidFill>
            </c:spPr>
            <c:extLst>
              <c:ext xmlns:c16="http://schemas.microsoft.com/office/drawing/2014/chart" uri="{C3380CC4-5D6E-409C-BE32-E72D297353CC}">
                <c16:uniqueId val="{0000019D-2993-41DE-A2CB-63102DE87051}"/>
              </c:ext>
            </c:extLst>
          </c:dPt>
          <c:dPt>
            <c:idx val="206"/>
            <c:invertIfNegative val="1"/>
            <c:bubble3D val="0"/>
            <c:spPr>
              <a:solidFill>
                <a:srgbClr val="00A097"/>
              </a:solidFill>
            </c:spPr>
            <c:extLst>
              <c:ext xmlns:c16="http://schemas.microsoft.com/office/drawing/2014/chart" uri="{C3380CC4-5D6E-409C-BE32-E72D297353CC}">
                <c16:uniqueId val="{0000019F-2993-41DE-A2CB-63102DE87051}"/>
              </c:ext>
            </c:extLst>
          </c:dPt>
          <c:dPt>
            <c:idx val="207"/>
            <c:invertIfNegative val="1"/>
            <c:bubble3D val="0"/>
            <c:spPr>
              <a:solidFill>
                <a:srgbClr val="00A097"/>
              </a:solidFill>
            </c:spPr>
            <c:extLst>
              <c:ext xmlns:c16="http://schemas.microsoft.com/office/drawing/2014/chart" uri="{C3380CC4-5D6E-409C-BE32-E72D297353CC}">
                <c16:uniqueId val="{000001A1-2993-41DE-A2CB-63102DE87051}"/>
              </c:ext>
            </c:extLst>
          </c:dPt>
          <c:dPt>
            <c:idx val="208"/>
            <c:invertIfNegative val="1"/>
            <c:bubble3D val="0"/>
            <c:spPr>
              <a:solidFill>
                <a:srgbClr val="00A097"/>
              </a:solidFill>
            </c:spPr>
            <c:extLst>
              <c:ext xmlns:c16="http://schemas.microsoft.com/office/drawing/2014/chart" uri="{C3380CC4-5D6E-409C-BE32-E72D297353CC}">
                <c16:uniqueId val="{000001A3-2993-41DE-A2CB-63102DE87051}"/>
              </c:ext>
            </c:extLst>
          </c:dPt>
          <c:dPt>
            <c:idx val="209"/>
            <c:invertIfNegative val="1"/>
            <c:bubble3D val="0"/>
            <c:spPr>
              <a:solidFill>
                <a:srgbClr val="00A097"/>
              </a:solidFill>
            </c:spPr>
            <c:extLst>
              <c:ext xmlns:c16="http://schemas.microsoft.com/office/drawing/2014/chart" uri="{C3380CC4-5D6E-409C-BE32-E72D297353CC}">
                <c16:uniqueId val="{000001A5-2993-41DE-A2CB-63102DE87051}"/>
              </c:ext>
            </c:extLst>
          </c:dPt>
          <c:dPt>
            <c:idx val="210"/>
            <c:spPr>
              <a:solidFill>
                <a:srgbClr val="00A097"/>
              </a:solidFill>
            </c:spPr>
          </c:dPt>
          <c:dPt>
            <c:idx val="211"/>
            <c:spPr>
              <a:solidFill>
                <a:srgbClr val="00A097"/>
              </a:solidFill>
            </c:spPr>
          </c:dPt>
          <c:dPt>
            <c:idx val="212"/>
            <c:spPr>
              <a:solidFill>
                <a:srgbClr val="00A097"/>
              </a:solidFill>
            </c:spPr>
          </c:dPt>
          <c:dPt>
            <c:idx val="213"/>
            <c:spPr>
              <a:solidFill>
                <a:srgbClr val="00A097"/>
              </a:solidFill>
            </c:spPr>
          </c:dPt>
          <c:dPt>
            <c:idx val="214"/>
            <c:spPr>
              <a:solidFill>
                <a:srgbClr val="00A097"/>
              </a:solidFill>
            </c:spPr>
          </c:dPt>
          <c:dPt>
            <c:idx val="215"/>
            <c:spPr>
              <a:solidFill>
                <a:srgbClr val="00A097"/>
              </a:solidFill>
            </c:spPr>
          </c:dPt>
          <c:dPt>
            <c:idx val="216"/>
            <c:spPr>
              <a:solidFill>
                <a:srgbClr val="00A097"/>
              </a:solidFill>
            </c:spPr>
          </c:dPt>
          <c:dPt>
            <c:idx val="217"/>
            <c:spPr>
              <a:solidFill>
                <a:srgbClr val="00A097"/>
              </a:solidFill>
            </c:spPr>
          </c:dPt>
          <c:dPt>
            <c:idx val="218"/>
            <c:spPr>
              <a:solidFill>
                <a:srgbClr val="00A097"/>
              </a:solidFill>
            </c:spPr>
          </c:dPt>
          <c:dPt>
            <c:idx val="219"/>
            <c:spPr>
              <a:solidFill>
                <a:srgbClr val="00A097"/>
              </a:solidFill>
            </c:spPr>
          </c:dPt>
          <c:dPt>
            <c:idx val="220"/>
            <c:spPr>
              <a:solidFill>
                <a:srgbClr val="00A097"/>
              </a:solidFill>
            </c:spPr>
          </c:dPt>
          <c:dPt>
            <c:idx val="221"/>
            <c:spPr>
              <a:solidFill>
                <a:srgbClr val="00A097"/>
              </a:solidFill>
            </c:spPr>
          </c:dPt>
          <c:dPt>
            <c:idx val="222"/>
            <c:spPr>
              <a:solidFill>
                <a:srgbClr val="00A097"/>
              </a:solidFill>
            </c:spPr>
          </c:dPt>
          <c:dPt>
            <c:idx val="223"/>
            <c:spPr>
              <a:solidFill>
                <a:srgbClr val="00A097"/>
              </a:solidFill>
            </c:spPr>
          </c:dPt>
          <c:dPt>
            <c:idx val="224"/>
            <c:spPr>
              <a:solidFill>
                <a:srgbClr val="00A097"/>
              </a:solidFill>
            </c:spPr>
          </c:dPt>
          <c:dPt>
            <c:idx val="225"/>
            <c:spPr>
              <a:solidFill>
                <a:srgbClr val="00A097"/>
              </a:solidFill>
            </c:spPr>
          </c:dPt>
          <c:dPt>
            <c:idx val="226"/>
            <c:spPr>
              <a:solidFill>
                <a:srgbClr val="00A097"/>
              </a:solidFill>
            </c:spPr>
          </c:dPt>
          <c:dPt>
            <c:idx val="227"/>
            <c:spPr>
              <a:solidFill>
                <a:srgbClr val="00A097"/>
              </a:solidFill>
            </c:spPr>
          </c:dPt>
          <c:dPt>
            <c:idx val="228"/>
            <c:spPr>
              <a:solidFill>
                <a:srgbClr val="00A097"/>
              </a:solidFill>
            </c:spPr>
          </c:dPt>
          <c:dPt>
            <c:idx val="229"/>
            <c:spPr>
              <a:solidFill>
                <a:srgbClr val="00A097"/>
              </a:solidFill>
            </c:spPr>
          </c:dPt>
          <c:dPt>
            <c:idx val="230"/>
            <c:spPr>
              <a:solidFill>
                <a:srgbClr val="00A097"/>
              </a:solidFill>
            </c:spPr>
          </c:dPt>
          <c:dPt>
            <c:idx val="231"/>
            <c:spPr>
              <a:solidFill>
                <a:srgbClr val="00A097"/>
              </a:solidFill>
            </c:spPr>
          </c:dPt>
          <c:dPt>
            <c:idx val="232"/>
            <c:spPr>
              <a:solidFill>
                <a:srgbClr val="00A097"/>
              </a:solidFill>
            </c:spPr>
          </c:dPt>
          <c:dPt>
            <c:idx val="233"/>
            <c:spPr>
              <a:solidFill>
                <a:srgbClr val="00A097"/>
              </a:solidFill>
            </c:spPr>
          </c:dPt>
          <c:dPt>
            <c:idx val="234"/>
            <c:spPr>
              <a:solidFill>
                <a:srgbClr val="00A097"/>
              </a:solidFill>
            </c:spPr>
          </c:dPt>
          <c:dPt>
            <c:idx val="235"/>
            <c:spPr>
              <a:solidFill>
                <a:srgbClr val="00A097"/>
              </a:solidFill>
            </c:spPr>
          </c:dPt>
          <c:dPt>
            <c:idx val="236"/>
            <c:spPr>
              <a:solidFill>
                <a:srgbClr val="00A097"/>
              </a:solidFill>
            </c:spPr>
          </c:dPt>
          <c:dPt>
            <c:idx val="237"/>
            <c:spPr>
              <a:solidFill>
                <a:srgbClr val="00A097"/>
              </a:solidFill>
            </c:spPr>
          </c:dPt>
          <c:dPt>
            <c:idx val="238"/>
            <c:spPr>
              <a:solidFill>
                <a:srgbClr val="00A097"/>
              </a:solidFill>
            </c:spPr>
          </c:dPt>
          <c:dPt>
            <c:idx val="239"/>
            <c:spPr>
              <a:solidFill>
                <a:srgbClr val="00A097"/>
              </a:solidFill>
            </c:spPr>
          </c:dPt>
          <c:dPt>
            <c:idx val="240"/>
            <c:spPr>
              <a:solidFill>
                <a:srgbClr val="00A097"/>
              </a:solidFill>
            </c:spPr>
          </c:dPt>
          <c:dPt>
            <c:idx val="241"/>
            <c:spPr>
              <a:solidFill>
                <a:srgbClr val="00A097"/>
              </a:solidFill>
            </c:spPr>
          </c:dPt>
          <c:dPt>
            <c:idx val="242"/>
            <c:spPr>
              <a:solidFill>
                <a:srgbClr val="00A097"/>
              </a:solidFill>
            </c:spPr>
          </c:dPt>
          <c:dPt>
            <c:idx val="243"/>
            <c:spPr>
              <a:solidFill>
                <a:srgbClr val="00A097"/>
              </a:solidFill>
            </c:spPr>
          </c:dPt>
          <c:dPt>
            <c:idx val="244"/>
            <c:spPr>
              <a:solidFill>
                <a:srgbClr val="00A097"/>
              </a:solidFill>
            </c:spPr>
          </c:dPt>
          <c:dPt>
            <c:idx val="245"/>
            <c:spPr>
              <a:solidFill>
                <a:srgbClr val="00A097"/>
              </a:solidFill>
            </c:spPr>
          </c:dPt>
          <c:dPt>
            <c:idx val="246"/>
            <c:spPr>
              <a:solidFill>
                <a:srgbClr val="00A097"/>
              </a:solidFill>
            </c:spPr>
          </c:dPt>
          <c:dPt>
            <c:idx val="247"/>
            <c:spPr>
              <a:solidFill>
                <a:srgbClr val="00A097"/>
              </a:solidFill>
            </c:spPr>
          </c:dPt>
          <c:dPt>
            <c:idx val="248"/>
            <c:spPr>
              <a:solidFill>
                <a:srgbClr val="00A097"/>
              </a:solidFill>
            </c:spPr>
          </c:dPt>
          <c:dPt>
            <c:idx val="249"/>
            <c:spPr>
              <a:solidFill>
                <a:srgbClr val="00A097"/>
              </a:solidFill>
            </c:spPr>
          </c:dPt>
          <c:dPt>
            <c:idx val="250"/>
            <c:spPr>
              <a:solidFill>
                <a:srgbClr val="00A097"/>
              </a:solidFill>
            </c:spPr>
          </c:dPt>
          <c:dPt>
            <c:idx val="251"/>
            <c:spPr>
              <a:solidFill>
                <a:srgbClr val="00A097"/>
              </a:solidFill>
            </c:spPr>
          </c:dPt>
          <c:dPt>
            <c:idx val="252"/>
            <c:spPr>
              <a:solidFill>
                <a:srgbClr val="00A097"/>
              </a:solidFill>
            </c:spPr>
          </c:dPt>
          <c:dPt>
            <c:idx val="253"/>
            <c:spPr>
              <a:solidFill>
                <a:srgbClr val="00A097"/>
              </a:solidFill>
            </c:spPr>
          </c:dPt>
          <c:dPt>
            <c:idx val="254"/>
            <c:spPr>
              <a:solidFill>
                <a:srgbClr val="00A097"/>
              </a:solidFill>
            </c:spPr>
          </c:dPt>
          <c:dPt>
            <c:idx val="255"/>
            <c:spPr>
              <a:solidFill>
                <a:srgbClr val="00A097"/>
              </a:solidFill>
            </c:spPr>
          </c:dPt>
          <c:dPt>
            <c:idx val="256"/>
            <c:spPr>
              <a:solidFill>
                <a:srgbClr val="00A097"/>
              </a:solidFill>
            </c:spPr>
          </c:dPt>
          <c:dPt>
            <c:idx val="257"/>
            <c:spPr>
              <a:solidFill>
                <a:srgbClr val="00A097"/>
              </a:solidFill>
            </c:spPr>
          </c:dPt>
          <c:dPt>
            <c:idx val="258"/>
            <c:spPr>
              <a:solidFill>
                <a:srgbClr val="00A097"/>
              </a:solidFill>
            </c:spPr>
          </c:dPt>
          <c:dPt>
            <c:idx val="259"/>
            <c:spPr>
              <a:solidFill>
                <a:srgbClr val="00A097"/>
              </a:solidFill>
            </c:spPr>
          </c:dPt>
          <c:dPt>
            <c:idx val="260"/>
            <c:spPr>
              <a:solidFill>
                <a:srgbClr val="00A097"/>
              </a:solidFill>
            </c:spPr>
          </c:dPt>
          <c:dPt>
            <c:idx val="261"/>
            <c:spPr>
              <a:solidFill>
                <a:srgbClr val="00A097"/>
              </a:solidFill>
            </c:spPr>
          </c:dPt>
          <c:dPt>
            <c:idx val="262"/>
            <c:spPr>
              <a:solidFill>
                <a:srgbClr val="7ECAC4"/>
              </a:solidFill>
            </c:spPr>
          </c:dPt>
          <c:dPt>
            <c:idx val="263"/>
            <c:spPr>
              <a:solidFill>
                <a:srgbClr val="7ECAC4"/>
              </a:solidFill>
            </c:spPr>
          </c:dPt>
          <c:dPt>
            <c:idx val="264"/>
            <c:spPr>
              <a:solidFill>
                <a:srgbClr val="7ECAC4"/>
              </a:solidFill>
            </c:spPr>
          </c:dPt>
          <c:dPt>
            <c:idx val="265"/>
            <c:spPr>
              <a:solidFill>
                <a:srgbClr val="7ECAC4"/>
              </a:solidFill>
            </c:spPr>
          </c:dPt>
          <c:dPt>
            <c:idx val="266"/>
            <c:spPr>
              <a:solidFill>
                <a:srgbClr val="7ECAC4"/>
              </a:solidFill>
            </c:spPr>
          </c:dPt>
          <c:dPt>
            <c:idx val="267"/>
            <c:spPr>
              <a:solidFill>
                <a:srgbClr val="7ECAC4"/>
              </a:solidFill>
            </c:spPr>
          </c:dPt>
          <c:dPt>
            <c:idx val="268"/>
            <c:spPr>
              <a:solidFill>
                <a:srgbClr val="7ECAC4"/>
              </a:solidFill>
            </c:spPr>
          </c:dPt>
          <c:dPt>
            <c:idx val="269"/>
            <c:spPr>
              <a:solidFill>
                <a:srgbClr val="7ECAC4"/>
              </a:solidFill>
            </c:spPr>
          </c:dPt>
          <c:dPt>
            <c:idx val="270"/>
            <c:spPr>
              <a:solidFill>
                <a:srgbClr val="7ECAC4"/>
              </a:solidFill>
            </c:spPr>
          </c:dPt>
          <c:dPt>
            <c:idx val="271"/>
            <c:spPr>
              <a:solidFill>
                <a:srgbClr val="7ECAC4"/>
              </a:solidFill>
            </c:spPr>
          </c:dPt>
          <c:dPt>
            <c:idx val="272"/>
            <c:spPr>
              <a:solidFill>
                <a:srgbClr val="7ECAC4"/>
              </a:solidFill>
            </c:spPr>
          </c:dPt>
          <c:dPt>
            <c:idx val="273"/>
            <c:spPr>
              <a:solidFill>
                <a:srgbClr val="7ECAC4"/>
              </a:solidFill>
            </c:spPr>
          </c:dPt>
          <c:dPt>
            <c:idx val="274"/>
            <c:spPr>
              <a:solidFill>
                <a:srgbClr val="7ECAC4"/>
              </a:solidFill>
            </c:spPr>
          </c:dPt>
          <c:dPt>
            <c:idx val="275"/>
            <c:spPr>
              <a:solidFill>
                <a:srgbClr val="7ECAC4"/>
              </a:solidFill>
            </c:spPr>
          </c:dPt>
          <c:dPt>
            <c:idx val="276"/>
            <c:spPr>
              <a:solidFill>
                <a:srgbClr val="7ECAC4"/>
              </a:solidFill>
            </c:spPr>
          </c:dPt>
          <c:dPt>
            <c:idx val="277"/>
            <c:spPr>
              <a:solidFill>
                <a:srgbClr val="7ECAC4"/>
              </a:solidFill>
            </c:spPr>
          </c:dPt>
          <c:dPt>
            <c:idx val="278"/>
            <c:spPr>
              <a:solidFill>
                <a:srgbClr val="7ECAC4"/>
              </a:solidFill>
            </c:spPr>
          </c:dPt>
          <c:dPt>
            <c:idx val="279"/>
            <c:spPr>
              <a:solidFill>
                <a:srgbClr val="7ECAC4"/>
              </a:solidFill>
            </c:spPr>
          </c:dPt>
          <c:dPt>
            <c:idx val="280"/>
            <c:spPr>
              <a:solidFill>
                <a:srgbClr val="7ECAC4"/>
              </a:solidFill>
            </c:spPr>
          </c:dPt>
          <c:dPt>
            <c:idx val="281"/>
            <c:spPr>
              <a:solidFill>
                <a:srgbClr val="7ECAC4"/>
              </a:solidFill>
            </c:spPr>
          </c:dPt>
          <c:dPt>
            <c:idx val="282"/>
            <c:spPr>
              <a:solidFill>
                <a:srgbClr val="7ECAC4"/>
              </a:solidFill>
            </c:spPr>
          </c:dPt>
          <c:dPt>
            <c:idx val="283"/>
            <c:spPr>
              <a:solidFill>
                <a:srgbClr val="7ECAC4"/>
              </a:solidFill>
            </c:spPr>
          </c:dPt>
          <c:dPt>
            <c:idx val="284"/>
            <c:spPr>
              <a:solidFill>
                <a:srgbClr val="7ECAC4"/>
              </a:solidFill>
            </c:spPr>
          </c:dPt>
          <c:dPt>
            <c:idx val="285"/>
            <c:spPr>
              <a:solidFill>
                <a:srgbClr val="7ECAC4"/>
              </a:solidFill>
            </c:spPr>
          </c:dPt>
          <c:dPt>
            <c:idx val="286"/>
            <c:spPr>
              <a:solidFill>
                <a:srgbClr val="7ECAC4"/>
              </a:solidFill>
            </c:spPr>
          </c:dPt>
          <c:dPt>
            <c:idx val="287"/>
            <c:spPr>
              <a:solidFill>
                <a:srgbClr val="7ECAC4"/>
              </a:solidFill>
            </c:spPr>
          </c:dPt>
          <c:dPt>
            <c:idx val="288"/>
            <c:spPr>
              <a:solidFill>
                <a:srgbClr val="7ECAC4"/>
              </a:solidFill>
            </c:spPr>
          </c:dPt>
          <c:dPt>
            <c:idx val="289"/>
            <c:spPr>
              <a:solidFill>
                <a:srgbClr val="7ECAC4"/>
              </a:solidFill>
            </c:spPr>
          </c:dPt>
          <c:dPt>
            <c:idx val="290"/>
            <c:spPr>
              <a:solidFill>
                <a:srgbClr val="7ECAC4"/>
              </a:solidFill>
            </c:spPr>
          </c:dPt>
          <c:dPt>
            <c:idx val="291"/>
            <c:spPr>
              <a:solidFill>
                <a:srgbClr val="7ECAC4"/>
              </a:solidFill>
            </c:spPr>
          </c:dPt>
          <c:dPt>
            <c:idx val="292"/>
            <c:spPr>
              <a:solidFill>
                <a:srgbClr val="7ECAC4"/>
              </a:solidFill>
            </c:spPr>
          </c:dPt>
          <c:dPt>
            <c:idx val="293"/>
            <c:spPr>
              <a:solidFill>
                <a:srgbClr val="7ECAC4"/>
              </a:solidFill>
            </c:spPr>
          </c:dPt>
          <c:dPt>
            <c:idx val="294"/>
            <c:spPr>
              <a:solidFill>
                <a:srgbClr val="7ECAC4"/>
              </a:solidFill>
            </c:spPr>
          </c:dPt>
          <c:dPt>
            <c:idx val="295"/>
            <c:spPr>
              <a:solidFill>
                <a:srgbClr val="7ECAC4"/>
              </a:solidFill>
            </c:spPr>
          </c:dPt>
          <c:dPt>
            <c:idx val="296"/>
            <c:spPr>
              <a:solidFill>
                <a:srgbClr val="7ECAC4"/>
              </a:solidFill>
            </c:spPr>
          </c:dPt>
          <c:dPt>
            <c:idx val="297"/>
            <c:spPr>
              <a:solidFill>
                <a:srgbClr val="7ECAC4"/>
              </a:solidFill>
            </c:spPr>
          </c:dPt>
          <c:dPt>
            <c:idx val="298"/>
            <c:spPr>
              <a:solidFill>
                <a:srgbClr val="7ECAC4"/>
              </a:solidFill>
            </c:spPr>
          </c:dPt>
          <c:dPt>
            <c:idx val="299"/>
            <c:spPr>
              <a:solidFill>
                <a:srgbClr val="7ECAC4"/>
              </a:solidFill>
            </c:spPr>
          </c:dPt>
          <c:dPt>
            <c:idx val="300"/>
            <c:spPr>
              <a:solidFill>
                <a:srgbClr val="7ECAC4"/>
              </a:solidFill>
            </c:spPr>
          </c:dPt>
          <c:dPt>
            <c:idx val="301"/>
            <c:spPr>
              <a:solidFill>
                <a:srgbClr val="7ECAC4"/>
              </a:solidFill>
            </c:spPr>
          </c:dPt>
          <c:dPt>
            <c:idx val="302"/>
            <c:spPr>
              <a:solidFill>
                <a:srgbClr val="7ECAC4"/>
              </a:solidFill>
            </c:spPr>
          </c:dPt>
          <c:dPt>
            <c:idx val="303"/>
            <c:spPr>
              <a:solidFill>
                <a:srgbClr val="7ECAC4"/>
              </a:solidFill>
            </c:spPr>
          </c:dPt>
          <c:dPt>
            <c:idx val="304"/>
            <c:spPr>
              <a:solidFill>
                <a:srgbClr val="7ECAC4"/>
              </a:solidFill>
            </c:spPr>
          </c:dPt>
          <c:dPt>
            <c:idx val="305"/>
            <c:spPr>
              <a:solidFill>
                <a:srgbClr val="7ECAC4"/>
              </a:solidFill>
            </c:spPr>
          </c:dPt>
          <c:dPt>
            <c:idx val="306"/>
            <c:spPr>
              <a:solidFill>
                <a:srgbClr val="7ECAC4"/>
              </a:solidFill>
            </c:spPr>
          </c:dPt>
          <c:dPt>
            <c:idx val="307"/>
            <c:spPr>
              <a:solidFill>
                <a:srgbClr val="7ECAC4"/>
              </a:solidFill>
            </c:spPr>
          </c:dPt>
          <c:dPt>
            <c:idx val="308"/>
            <c:spPr>
              <a:solidFill>
                <a:srgbClr val="7ECAC4"/>
              </a:solidFill>
            </c:spPr>
          </c:dPt>
          <c:dPt>
            <c:idx val="309"/>
            <c:spPr>
              <a:solidFill>
                <a:srgbClr val="7ECAC4"/>
              </a:solidFill>
            </c:spPr>
          </c:dPt>
          <c:dPt>
            <c:idx val="310"/>
            <c:spPr>
              <a:solidFill>
                <a:srgbClr val="7ECAC4"/>
              </a:solidFill>
            </c:spPr>
          </c:dPt>
          <c:dPt>
            <c:idx val="311"/>
            <c:spPr>
              <a:solidFill>
                <a:srgbClr val="7ECAC4"/>
              </a:solidFill>
            </c:spPr>
          </c:dPt>
          <c:dPt>
            <c:idx val="312"/>
            <c:spPr>
              <a:solidFill>
                <a:srgbClr val="7ECAC4"/>
              </a:solidFill>
            </c:spPr>
          </c:dPt>
          <c:dPt>
            <c:idx val="313"/>
            <c:spPr>
              <a:solidFill>
                <a:srgbClr val="7ECAC4"/>
              </a:solidFill>
            </c:spPr>
          </c:dPt>
          <c:dPt>
            <c:idx val="314"/>
            <c:spPr>
              <a:solidFill>
                <a:srgbClr val="7ECAC4"/>
              </a:solidFill>
            </c:spPr>
          </c:dPt>
          <c:dPt>
            <c:idx val="315"/>
            <c:spPr>
              <a:solidFill>
                <a:srgbClr val="7ECAC4"/>
              </a:solidFill>
            </c:spPr>
          </c:dPt>
          <c:dPt>
            <c:idx val="316"/>
            <c:spPr>
              <a:solidFill>
                <a:srgbClr val="7ECAC4"/>
              </a:solidFill>
            </c:spPr>
          </c:dPt>
          <c:dPt>
            <c:idx val="317"/>
            <c:spPr>
              <a:solidFill>
                <a:srgbClr val="7ECAC4"/>
              </a:solidFill>
            </c:spPr>
          </c:dPt>
          <c:dPt>
            <c:idx val="318"/>
            <c:spPr>
              <a:solidFill>
                <a:srgbClr val="7ECAC4"/>
              </a:solidFill>
            </c:spPr>
          </c:dPt>
          <c:dPt>
            <c:idx val="319"/>
            <c:spPr>
              <a:solidFill>
                <a:srgbClr val="7ECAC4"/>
              </a:solidFill>
            </c:spPr>
          </c:dPt>
          <c:dPt>
            <c:idx val="320"/>
            <c:spPr>
              <a:solidFill>
                <a:srgbClr val="7ECAC4"/>
              </a:solidFill>
            </c:spPr>
          </c:dPt>
          <c:dPt>
            <c:idx val="321"/>
            <c:spPr>
              <a:solidFill>
                <a:srgbClr val="7ECAC4"/>
              </a:solidFill>
            </c:spPr>
          </c:dPt>
          <c:dPt>
            <c:idx val="322"/>
            <c:spPr>
              <a:solidFill>
                <a:srgbClr val="7ECAC4"/>
              </a:solidFill>
            </c:spPr>
          </c:dPt>
          <c:dPt>
            <c:idx val="323"/>
            <c:spPr>
              <a:solidFill>
                <a:srgbClr val="7ECAC4"/>
              </a:solidFill>
            </c:spPr>
          </c:dPt>
          <c:dPt>
            <c:idx val="324"/>
            <c:spPr>
              <a:solidFill>
                <a:srgbClr val="7ECAC4"/>
              </a:solidFill>
            </c:spPr>
          </c:dPt>
          <c:dPt>
            <c:idx val="325"/>
            <c:spPr>
              <a:solidFill>
                <a:srgbClr val="7ECAC4"/>
              </a:solidFill>
            </c:spPr>
          </c:dPt>
          <c:dPt>
            <c:idx val="326"/>
            <c:spPr>
              <a:solidFill>
                <a:srgbClr val="7ECAC4"/>
              </a:solidFill>
            </c:spPr>
          </c:dPt>
          <c:dPt>
            <c:idx val="327"/>
            <c:spPr>
              <a:solidFill>
                <a:srgbClr val="7ECAC4"/>
              </a:solidFill>
            </c:spPr>
          </c:dPt>
          <c:dPt>
            <c:idx val="328"/>
            <c:spPr>
              <a:solidFill>
                <a:srgbClr val="7ECAC4"/>
              </a:solidFill>
            </c:spPr>
          </c:dPt>
          <c:dPt>
            <c:idx val="329"/>
            <c:spPr>
              <a:solidFill>
                <a:srgbClr val="7ECAC4"/>
              </a:solidFill>
            </c:spPr>
          </c:dPt>
          <c:dPt>
            <c:idx val="330"/>
            <c:spPr>
              <a:solidFill>
                <a:srgbClr val="7ECAC4"/>
              </a:solidFill>
            </c:spPr>
          </c:dPt>
          <c:dPt>
            <c:idx val="331"/>
            <c:spPr>
              <a:solidFill>
                <a:srgbClr val="7ECAC4"/>
              </a:solidFill>
            </c:spPr>
          </c:dPt>
          <c:dPt>
            <c:idx val="332"/>
            <c:spPr>
              <a:solidFill>
                <a:srgbClr val="7ECAC4"/>
              </a:solidFill>
            </c:spPr>
          </c:dPt>
          <c:dPt>
            <c:idx val="333"/>
            <c:spPr>
              <a:solidFill>
                <a:srgbClr val="7ECAC4"/>
              </a:solidFill>
            </c:spPr>
          </c:dPt>
          <c:dPt>
            <c:idx val="334"/>
            <c:spPr>
              <a:solidFill>
                <a:srgbClr val="7ECAC4"/>
              </a:solidFill>
            </c:spPr>
          </c:dPt>
          <c:dPt>
            <c:idx val="335"/>
            <c:spPr>
              <a:solidFill>
                <a:srgbClr val="7ECAC4"/>
              </a:solidFill>
            </c:spPr>
          </c:dPt>
          <c:dPt>
            <c:idx val="336"/>
            <c:spPr>
              <a:solidFill>
                <a:srgbClr val="7ECAC4"/>
              </a:solidFill>
            </c:spPr>
          </c:dPt>
          <c:dPt>
            <c:idx val="337"/>
            <c:spPr>
              <a:solidFill>
                <a:srgbClr val="7ECAC4"/>
              </a:solidFill>
            </c:spPr>
          </c:dPt>
          <c:dPt>
            <c:idx val="338"/>
            <c:spPr>
              <a:solidFill>
                <a:srgbClr val="7ECAC4"/>
              </a:solidFill>
            </c:spPr>
          </c:dPt>
          <c:dPt>
            <c:idx val="339"/>
            <c:spPr>
              <a:solidFill>
                <a:srgbClr val="7ECAC4"/>
              </a:solidFill>
            </c:spPr>
          </c:dPt>
          <c:dPt>
            <c:idx val="340"/>
            <c:spPr>
              <a:solidFill>
                <a:srgbClr val="7ECAC4"/>
              </a:solidFill>
            </c:spPr>
          </c:dPt>
          <c:dPt>
            <c:idx val="341"/>
            <c:spPr>
              <a:solidFill>
                <a:srgbClr val="7ECAC4"/>
              </a:solidFill>
            </c:spPr>
          </c:dPt>
          <c:dPt>
            <c:idx val="342"/>
            <c:spPr>
              <a:solidFill>
                <a:srgbClr val="7ECAC4"/>
              </a:solidFill>
            </c:spPr>
          </c:dPt>
          <c:dPt>
            <c:idx val="343"/>
            <c:spPr>
              <a:solidFill>
                <a:srgbClr val="7ECAC4"/>
              </a:solidFill>
            </c:spPr>
          </c:dPt>
          <c:dPt>
            <c:idx val="344"/>
            <c:spPr>
              <a:solidFill>
                <a:srgbClr val="7ECAC4"/>
              </a:solidFill>
            </c:spPr>
          </c:dPt>
          <c:dPt>
            <c:idx val="345"/>
            <c:spPr>
              <a:solidFill>
                <a:srgbClr val="7ECAC4"/>
              </a:solidFill>
            </c:spPr>
          </c:dPt>
          <c:dPt>
            <c:idx val="346"/>
            <c:spPr>
              <a:solidFill>
                <a:srgbClr val="7ECAC4"/>
              </a:solidFill>
            </c:spPr>
          </c:dPt>
          <c:dPt>
            <c:idx val="347"/>
            <c:spPr>
              <a:solidFill>
                <a:srgbClr val="7ECAC4"/>
              </a:solidFill>
            </c:spPr>
          </c:dPt>
          <c:dPt>
            <c:idx val="348"/>
            <c:spPr>
              <a:solidFill>
                <a:srgbClr val="7ECAC4"/>
              </a:solidFill>
            </c:spPr>
          </c:dPt>
          <c:dPt>
            <c:idx val="349"/>
            <c:spPr>
              <a:solidFill>
                <a:srgbClr val="7ECAC4"/>
              </a:solidFill>
            </c:spPr>
          </c:dPt>
          <c:dPt>
            <c:idx val="350"/>
            <c:spPr>
              <a:solidFill>
                <a:srgbClr val="7ECAC4"/>
              </a:solidFill>
            </c:spPr>
          </c:dPt>
          <c:dPt>
            <c:idx val="351"/>
            <c:spPr>
              <a:solidFill>
                <a:srgbClr val="7ECAC4"/>
              </a:solidFill>
            </c:spPr>
          </c:dPt>
          <c:dPt>
            <c:idx val="352"/>
            <c:spPr>
              <a:solidFill>
                <a:srgbClr val="7ECAC4"/>
              </a:solidFill>
            </c:spPr>
          </c:dPt>
          <c:dPt>
            <c:idx val="353"/>
            <c:spPr>
              <a:solidFill>
                <a:srgbClr val="7ECAC4"/>
              </a:solidFill>
            </c:spPr>
          </c:dPt>
          <c:dPt>
            <c:idx val="354"/>
            <c:spPr>
              <a:solidFill>
                <a:srgbClr val="7ECAC4"/>
              </a:solidFill>
            </c:spPr>
          </c:dPt>
          <c:dPt>
            <c:idx val="355"/>
            <c:spPr>
              <a:solidFill>
                <a:srgbClr val="7ECAC4"/>
              </a:solidFill>
            </c:spPr>
          </c:dPt>
          <c:dPt>
            <c:idx val="356"/>
            <c:spPr>
              <a:solidFill>
                <a:srgbClr val="7ECAC4"/>
              </a:solidFill>
            </c:spPr>
          </c:dPt>
          <c:dPt>
            <c:idx val="357"/>
            <c:spPr>
              <a:solidFill>
                <a:srgbClr val="7ECAC4"/>
              </a:solidFill>
            </c:spPr>
          </c:dPt>
          <c:dPt>
            <c:idx val="358"/>
            <c:spPr>
              <a:solidFill>
                <a:srgbClr val="7ECAC4"/>
              </a:solidFill>
            </c:spPr>
          </c:dPt>
          <c:dPt>
            <c:idx val="359"/>
            <c:spPr>
              <a:solidFill>
                <a:srgbClr val="7ECAC4"/>
              </a:solidFill>
            </c:spPr>
          </c:dPt>
          <c:dPt>
            <c:idx val="360"/>
            <c:spPr>
              <a:solidFill>
                <a:srgbClr val="7ECAC4"/>
              </a:solidFill>
            </c:spPr>
          </c:dPt>
          <c:dPt>
            <c:idx val="361"/>
            <c:spPr>
              <a:solidFill>
                <a:srgbClr val="7ECAC4"/>
              </a:solidFill>
            </c:spPr>
          </c:dPt>
          <c:dPt>
            <c:idx val="362"/>
            <c:spPr>
              <a:solidFill>
                <a:srgbClr val="7ECAC4"/>
              </a:solidFill>
            </c:spPr>
          </c:dPt>
          <c:dPt>
            <c:idx val="363"/>
            <c:spPr>
              <a:solidFill>
                <a:srgbClr val="7ECAC4"/>
              </a:solidFill>
            </c:spPr>
          </c:dPt>
          <c:dPt>
            <c:idx val="364"/>
            <c:spPr>
              <a:solidFill>
                <a:srgbClr val="7ECAC4"/>
              </a:solidFill>
            </c:spPr>
          </c:dPt>
          <c:dPt>
            <c:idx val="365"/>
            <c:spPr>
              <a:solidFill>
                <a:srgbClr val="7ECAC4"/>
              </a:solidFill>
            </c:spPr>
          </c:dPt>
          <c:dPt>
            <c:idx val="366"/>
            <c:spPr>
              <a:solidFill>
                <a:srgbClr val="7ECAC4"/>
              </a:solidFill>
            </c:spPr>
          </c:dPt>
          <c:dPt>
            <c:idx val="367"/>
            <c:spPr>
              <a:solidFill>
                <a:srgbClr val="7ECAC4"/>
              </a:solidFill>
            </c:spPr>
          </c:dPt>
          <c:dPt>
            <c:idx val="368"/>
            <c:spPr>
              <a:solidFill>
                <a:srgbClr val="7ECAC4"/>
              </a:solidFill>
            </c:spPr>
          </c:dPt>
          <c:dPt>
            <c:idx val="369"/>
            <c:spPr>
              <a:solidFill>
                <a:srgbClr val="7ECAC4"/>
              </a:solidFill>
            </c:spPr>
          </c:dPt>
          <c:dPt>
            <c:idx val="370"/>
            <c:spPr>
              <a:solidFill>
                <a:srgbClr val="7ECAC4"/>
              </a:solidFill>
            </c:spPr>
          </c:dPt>
          <c:dPt>
            <c:idx val="371"/>
            <c:spPr>
              <a:solidFill>
                <a:srgbClr val="7ECAC4"/>
              </a:solidFill>
            </c:spPr>
          </c:dPt>
          <c:dPt>
            <c:idx val="372"/>
            <c:spPr>
              <a:solidFill>
                <a:srgbClr val="7ECAC4"/>
              </a:solidFill>
            </c:spPr>
          </c:dPt>
          <c:dPt>
            <c:idx val="373"/>
            <c:spPr>
              <a:solidFill>
                <a:srgbClr val="7ECAC4"/>
              </a:solidFill>
            </c:spPr>
          </c:dPt>
          <c:dPt>
            <c:idx val="374"/>
            <c:spPr>
              <a:solidFill>
                <a:srgbClr val="7ECAC4"/>
              </a:solidFill>
            </c:spPr>
          </c:dPt>
          <c:dPt>
            <c:idx val="375"/>
            <c:spPr>
              <a:solidFill>
                <a:srgbClr val="7ECAC4"/>
              </a:solidFill>
            </c:spPr>
          </c:dPt>
          <c:dPt>
            <c:idx val="376"/>
            <c:spPr>
              <a:solidFill>
                <a:srgbClr val="7ECAC4"/>
              </a:solidFill>
            </c:spPr>
          </c:dPt>
          <c:dPt>
            <c:idx val="377"/>
            <c:spPr>
              <a:solidFill>
                <a:srgbClr val="7ECAC4"/>
              </a:solidFill>
            </c:spPr>
          </c:dPt>
          <c:dPt>
            <c:idx val="378"/>
            <c:spPr>
              <a:solidFill>
                <a:srgbClr val="7ECAC4"/>
              </a:solidFill>
            </c:spPr>
          </c:dPt>
          <c:dPt>
            <c:idx val="379"/>
            <c:spPr>
              <a:solidFill>
                <a:srgbClr val="7ECAC4"/>
              </a:solidFill>
            </c:spPr>
          </c:dPt>
          <c:dPt>
            <c:idx val="380"/>
            <c:spPr>
              <a:solidFill>
                <a:srgbClr val="7ECAC4"/>
              </a:solidFill>
            </c:spPr>
          </c:dPt>
          <c:dPt>
            <c:idx val="381"/>
            <c:spPr>
              <a:solidFill>
                <a:srgbClr val="7ECAC4"/>
              </a:solidFill>
            </c:spPr>
          </c:dPt>
          <c:dPt>
            <c:idx val="382"/>
            <c:spPr>
              <a:solidFill>
                <a:srgbClr val="7ECAC4"/>
              </a:solidFill>
            </c:spPr>
          </c:dPt>
          <c:dPt>
            <c:idx val="383"/>
            <c:spPr>
              <a:solidFill>
                <a:srgbClr val="7ECAC4"/>
              </a:solidFill>
            </c:spPr>
          </c:dPt>
          <c:dPt>
            <c:idx val="384"/>
            <c:spPr>
              <a:solidFill>
                <a:srgbClr val="7ECAC4"/>
              </a:solidFill>
            </c:spPr>
          </c:dPt>
          <c:dPt>
            <c:idx val="385"/>
            <c:spPr>
              <a:solidFill>
                <a:srgbClr val="7ECAC4"/>
              </a:solidFill>
            </c:spPr>
          </c:dPt>
          <c:dPt>
            <c:idx val="386"/>
            <c:spPr>
              <a:solidFill>
                <a:srgbClr val="7ECAC4"/>
              </a:solidFill>
            </c:spPr>
          </c:dPt>
          <c:dPt>
            <c:idx val="387"/>
            <c:spPr>
              <a:solidFill>
                <a:srgbClr val="7ECAC4"/>
              </a:solidFill>
            </c:spPr>
          </c:dPt>
          <c:dPt>
            <c:idx val="388"/>
            <c:spPr>
              <a:solidFill>
                <a:srgbClr val="7ECAC4"/>
              </a:solidFill>
            </c:spPr>
          </c:dPt>
          <c:dPt>
            <c:idx val="389"/>
            <c:spPr>
              <a:solidFill>
                <a:srgbClr val="7ECAC4"/>
              </a:solidFill>
            </c:spPr>
          </c:dPt>
          <c:dPt>
            <c:idx val="390"/>
            <c:spPr>
              <a:solidFill>
                <a:srgbClr val="7ECAC4"/>
              </a:solidFill>
            </c:spPr>
          </c:dPt>
          <c:dPt>
            <c:idx val="391"/>
            <c:spPr>
              <a:solidFill>
                <a:srgbClr val="7ECAC4"/>
              </a:solidFill>
            </c:spPr>
          </c:dPt>
          <c:dPt>
            <c:idx val="392"/>
            <c:spPr>
              <a:solidFill>
                <a:srgbClr val="7ECAC4"/>
              </a:solidFill>
            </c:spPr>
          </c:dPt>
          <c:dPt>
            <c:idx val="393"/>
            <c:spPr>
              <a:solidFill>
                <a:srgbClr val="7ECAC4"/>
              </a:solidFill>
            </c:spPr>
          </c:dPt>
          <c:dPt>
            <c:idx val="394"/>
            <c:spPr>
              <a:solidFill>
                <a:srgbClr val="7ECAC4"/>
              </a:solidFill>
            </c:spPr>
          </c:dPt>
          <c:dPt>
            <c:idx val="395"/>
            <c:spPr>
              <a:solidFill>
                <a:srgbClr val="7ECAC4"/>
              </a:solidFill>
            </c:spPr>
          </c:dPt>
          <c:dPt>
            <c:idx val="396"/>
            <c:spPr>
              <a:solidFill>
                <a:srgbClr val="7ECAC4"/>
              </a:solidFill>
            </c:spPr>
          </c:dPt>
          <c:dPt>
            <c:idx val="397"/>
            <c:spPr>
              <a:solidFill>
                <a:srgbClr val="7ECAC4"/>
              </a:solidFill>
            </c:spPr>
          </c:dPt>
          <c:dPt>
            <c:idx val="398"/>
            <c:spPr>
              <a:solidFill>
                <a:srgbClr val="7ECAC4"/>
              </a:solidFill>
            </c:spPr>
          </c:dPt>
          <c:dPt>
            <c:idx val="399"/>
            <c:spPr>
              <a:solidFill>
                <a:srgbClr val="7ECAC4"/>
              </a:solidFill>
            </c:spPr>
          </c:dPt>
          <c:dPt>
            <c:idx val="400"/>
            <c:spPr>
              <a:solidFill>
                <a:srgbClr val="7ECAC4"/>
              </a:solidFill>
            </c:spPr>
          </c:dPt>
          <c:dPt>
            <c:idx val="401"/>
            <c:spPr>
              <a:solidFill>
                <a:srgbClr val="7ECAC4"/>
              </a:solidFill>
            </c:spPr>
          </c:dPt>
          <c:dPt>
            <c:idx val="402"/>
            <c:spPr>
              <a:solidFill>
                <a:srgbClr val="7ECAC4"/>
              </a:solidFill>
            </c:spPr>
          </c:dPt>
          <c:dPt>
            <c:idx val="403"/>
            <c:spPr>
              <a:solidFill>
                <a:srgbClr val="7ECAC4"/>
              </a:solidFill>
            </c:spPr>
          </c:dPt>
          <c:dPt>
            <c:idx val="404"/>
            <c:spPr>
              <a:solidFill>
                <a:srgbClr val="7ECAC4"/>
              </a:solidFill>
            </c:spPr>
          </c:dPt>
          <c:dPt>
            <c:idx val="405"/>
            <c:spPr>
              <a:solidFill>
                <a:srgbClr val="7ECAC4"/>
              </a:solidFill>
            </c:spPr>
          </c:dPt>
          <c:dPt>
            <c:idx val="406"/>
            <c:spPr>
              <a:solidFill>
                <a:srgbClr val="7ECAC4"/>
              </a:solidFill>
            </c:spPr>
          </c:dPt>
          <c:dPt>
            <c:idx val="407"/>
            <c:spPr>
              <a:solidFill>
                <a:srgbClr val="7ECAC4"/>
              </a:solidFill>
            </c:spPr>
          </c:dPt>
          <c:dPt>
            <c:idx val="408"/>
            <c:spPr>
              <a:solidFill>
                <a:srgbClr val="7ECAC4"/>
              </a:solidFill>
            </c:spPr>
          </c:dPt>
          <c:dPt>
            <c:idx val="409"/>
            <c:spPr>
              <a:solidFill>
                <a:srgbClr val="7ECAC4"/>
              </a:solidFill>
            </c:spPr>
          </c:dPt>
          <c:dPt>
            <c:idx val="410"/>
            <c:spPr>
              <a:solidFill>
                <a:srgbClr val="7ECAC4"/>
              </a:solidFill>
            </c:spPr>
          </c:dPt>
          <c:dPt>
            <c:idx val="411"/>
            <c:spPr>
              <a:solidFill>
                <a:srgbClr val="7ECAC4"/>
              </a:solidFill>
            </c:spPr>
          </c:dPt>
          <c:dPt>
            <c:idx val="412"/>
            <c:spPr>
              <a:solidFill>
                <a:srgbClr val="7ECAC4"/>
              </a:solidFill>
            </c:spPr>
          </c:dPt>
          <c:dPt>
            <c:idx val="413"/>
            <c:spPr>
              <a:solidFill>
                <a:srgbClr val="7ECAC4"/>
              </a:solidFill>
            </c:spPr>
          </c:dPt>
          <c:dPt>
            <c:idx val="414"/>
            <c:spPr>
              <a:solidFill>
                <a:srgbClr val="7ECAC4"/>
              </a:solidFill>
            </c:spPr>
          </c:dPt>
          <c:dPt>
            <c:idx val="415"/>
            <c:spPr>
              <a:solidFill>
                <a:srgbClr val="7ECAC4"/>
              </a:solidFill>
            </c:spPr>
          </c:dPt>
          <c:dPt>
            <c:idx val="416"/>
            <c:spPr>
              <a:solidFill>
                <a:srgbClr val="7ECAC4"/>
              </a:solidFill>
            </c:spPr>
          </c:dPt>
          <c:dPt>
            <c:idx val="417"/>
            <c:spPr>
              <a:solidFill>
                <a:srgbClr val="7ECAC4"/>
              </a:solidFill>
            </c:spPr>
          </c:dPt>
          <c:dPt>
            <c:idx val="418"/>
            <c:spPr>
              <a:solidFill>
                <a:srgbClr val="7ECAC4"/>
              </a:solidFill>
            </c:spPr>
          </c:dPt>
          <c:dPt>
            <c:idx val="419"/>
            <c:spPr>
              <a:solidFill>
                <a:srgbClr val="7ECAC4"/>
              </a:solidFill>
            </c:spPr>
          </c:dPt>
          <c:dPt>
            <c:idx val="420"/>
            <c:spPr>
              <a:solidFill>
                <a:srgbClr val="7ECAC4"/>
              </a:solidFill>
            </c:spPr>
          </c:dPt>
          <c:dPt>
            <c:idx val="421"/>
            <c:spPr>
              <a:solidFill>
                <a:srgbClr val="7ECAC4"/>
              </a:solidFill>
            </c:spPr>
          </c:dPt>
          <c:dPt>
            <c:idx val="422"/>
            <c:spPr>
              <a:solidFill>
                <a:srgbClr val="7ECAC4"/>
              </a:solidFill>
            </c:spPr>
          </c:dPt>
          <c:dPt>
            <c:idx val="423"/>
            <c:spPr>
              <a:solidFill>
                <a:srgbClr val="7ECAC4"/>
              </a:solidFill>
            </c:spPr>
          </c:dPt>
          <c:dPt>
            <c:idx val="424"/>
            <c:spPr>
              <a:solidFill>
                <a:srgbClr val="7ECAC4"/>
              </a:solidFill>
            </c:spPr>
          </c:dPt>
          <c:dPt>
            <c:idx val="425"/>
            <c:spPr>
              <a:solidFill>
                <a:srgbClr val="7ECAC4"/>
              </a:solidFill>
            </c:spPr>
          </c:dPt>
          <c:dPt>
            <c:idx val="426"/>
            <c:spPr>
              <a:solidFill>
                <a:srgbClr val="7ECAC4"/>
              </a:solidFill>
            </c:spPr>
          </c:dPt>
          <c:dPt>
            <c:idx val="427"/>
            <c:spPr>
              <a:solidFill>
                <a:srgbClr val="7ECAC4"/>
              </a:solidFill>
            </c:spPr>
          </c:dPt>
          <c:dPt>
            <c:idx val="428"/>
            <c:spPr>
              <a:solidFill>
                <a:srgbClr val="7ECAC4"/>
              </a:solidFill>
            </c:spPr>
          </c:dPt>
          <c:dPt>
            <c:idx val="429"/>
            <c:spPr>
              <a:solidFill>
                <a:srgbClr val="7ECAC4"/>
              </a:solidFill>
            </c:spPr>
          </c:dPt>
          <c:dPt>
            <c:idx val="430"/>
            <c:spPr>
              <a:solidFill>
                <a:srgbClr val="7ECAC4"/>
              </a:solidFill>
            </c:spPr>
          </c:dPt>
          <c:dPt>
            <c:idx val="431"/>
            <c:spPr>
              <a:solidFill>
                <a:srgbClr val="7ECAC4"/>
              </a:solidFill>
            </c:spPr>
          </c:dPt>
          <c:dPt>
            <c:idx val="432"/>
            <c:spPr>
              <a:solidFill>
                <a:srgbClr val="7ECAC4"/>
              </a:solidFill>
            </c:spPr>
          </c:dPt>
          <c:dPt>
            <c:idx val="433"/>
            <c:spPr>
              <a:solidFill>
                <a:srgbClr val="7ECAC4"/>
              </a:solidFill>
            </c:spPr>
          </c:dPt>
          <c:dPt>
            <c:idx val="434"/>
            <c:spPr>
              <a:solidFill>
                <a:srgbClr val="7ECAC4"/>
              </a:solidFill>
            </c:spPr>
          </c:dPt>
          <c:dPt>
            <c:idx val="435"/>
            <c:spPr>
              <a:solidFill>
                <a:srgbClr val="7ECAC4"/>
              </a:solidFill>
            </c:spPr>
          </c:dPt>
          <c:dPt>
            <c:idx val="436"/>
            <c:spPr>
              <a:solidFill>
                <a:srgbClr val="7ECAC4"/>
              </a:solidFill>
            </c:spPr>
          </c:dPt>
          <c:dPt>
            <c:idx val="437"/>
            <c:spPr>
              <a:solidFill>
                <a:srgbClr val="7ECAC4"/>
              </a:solidFill>
            </c:spPr>
          </c:dPt>
          <c:dPt>
            <c:idx val="438"/>
            <c:spPr>
              <a:solidFill>
                <a:srgbClr val="7ECAC4"/>
              </a:solidFill>
            </c:spPr>
          </c:dPt>
          <c:dPt>
            <c:idx val="439"/>
            <c:spPr>
              <a:solidFill>
                <a:srgbClr val="7ECAC4"/>
              </a:solidFill>
            </c:spPr>
          </c:dPt>
          <c:dPt>
            <c:idx val="440"/>
            <c:spPr>
              <a:solidFill>
                <a:srgbClr val="7ECAC4"/>
              </a:solidFill>
            </c:spPr>
          </c:dPt>
          <c:dPt>
            <c:idx val="441"/>
            <c:spPr>
              <a:solidFill>
                <a:srgbClr val="7ECAC4"/>
              </a:solidFill>
            </c:spPr>
          </c:dPt>
          <c:dPt>
            <c:idx val="442"/>
            <c:spPr>
              <a:solidFill>
                <a:srgbClr val="7ECAC4"/>
              </a:solidFill>
            </c:spPr>
          </c:dPt>
          <c:dPt>
            <c:idx val="443"/>
            <c:spPr>
              <a:solidFill>
                <a:srgbClr val="7ECAC4"/>
              </a:solidFill>
            </c:spPr>
          </c:dPt>
          <c:dPt>
            <c:idx val="444"/>
            <c:spPr>
              <a:solidFill>
                <a:srgbClr val="7ECAC4"/>
              </a:solidFill>
            </c:spPr>
          </c:dPt>
          <c:dPt>
            <c:idx val="445"/>
            <c:spPr>
              <a:solidFill>
                <a:srgbClr val="7ECAC4"/>
              </a:solidFill>
            </c:spPr>
          </c:dPt>
          <c:dPt>
            <c:idx val="446"/>
            <c:spPr>
              <a:solidFill>
                <a:srgbClr val="7ECAC4"/>
              </a:solidFill>
            </c:spPr>
          </c:dPt>
          <c:dPt>
            <c:idx val="447"/>
            <c:spPr>
              <a:solidFill>
                <a:srgbClr val="7ECAC4"/>
              </a:solidFill>
            </c:spPr>
          </c:dPt>
          <c:dPt>
            <c:idx val="448"/>
            <c:spPr>
              <a:solidFill>
                <a:srgbClr val="7ECAC4"/>
              </a:solidFill>
            </c:spPr>
          </c:dPt>
          <c:dPt>
            <c:idx val="449"/>
            <c:spPr>
              <a:solidFill>
                <a:srgbClr val="7ECAC4"/>
              </a:solidFill>
            </c:spPr>
          </c:dPt>
          <c:dPt>
            <c:idx val="450"/>
            <c:spPr>
              <a:solidFill>
                <a:srgbClr val="7ECAC4"/>
              </a:solidFill>
            </c:spPr>
          </c:dPt>
          <c:dPt>
            <c:idx val="451"/>
            <c:spPr>
              <a:solidFill>
                <a:srgbClr val="7ECAC4"/>
              </a:solidFill>
            </c:spPr>
          </c:dPt>
          <c:dPt>
            <c:idx val="452"/>
            <c:spPr>
              <a:solidFill>
                <a:srgbClr val="7ECAC4"/>
              </a:solidFill>
            </c:spPr>
          </c:dPt>
          <c:dPt>
            <c:idx val="453"/>
            <c:spPr>
              <a:solidFill>
                <a:srgbClr val="7ECAC4"/>
              </a:solidFill>
            </c:spPr>
          </c:dPt>
          <c:dPt>
            <c:idx val="454"/>
            <c:spPr>
              <a:solidFill>
                <a:srgbClr val="7ECAC4"/>
              </a:solidFill>
            </c:spPr>
          </c:dPt>
          <c:dPt>
            <c:idx val="455"/>
            <c:spPr>
              <a:solidFill>
                <a:srgbClr val="7ECAC4"/>
              </a:solidFill>
            </c:spPr>
          </c:dPt>
          <c:dPt>
            <c:idx val="456"/>
            <c:spPr>
              <a:solidFill>
                <a:srgbClr val="7ECAC4"/>
              </a:solidFill>
            </c:spPr>
          </c:dPt>
          <c:dPt>
            <c:idx val="457"/>
            <c:spPr>
              <a:solidFill>
                <a:srgbClr val="7ECAC4"/>
              </a:solidFill>
            </c:spPr>
          </c:dPt>
          <c:dPt>
            <c:idx val="458"/>
            <c:spPr>
              <a:solidFill>
                <a:srgbClr val="7ECAC4"/>
              </a:solidFill>
            </c:spPr>
          </c:dPt>
          <c:dPt>
            <c:idx val="459"/>
            <c:spPr>
              <a:solidFill>
                <a:srgbClr val="7ECAC4"/>
              </a:solidFill>
            </c:spPr>
          </c:dPt>
          <c:dPt>
            <c:idx val="460"/>
            <c:spPr>
              <a:solidFill>
                <a:srgbClr val="7ECAC4"/>
              </a:solidFill>
            </c:spPr>
          </c:dPt>
          <c:dPt>
            <c:idx val="461"/>
            <c:spPr>
              <a:solidFill>
                <a:srgbClr val="7ECAC4"/>
              </a:solidFill>
            </c:spPr>
          </c:dPt>
          <c:dPt>
            <c:idx val="462"/>
            <c:spPr>
              <a:solidFill>
                <a:srgbClr val="7ECAC4"/>
              </a:solidFill>
            </c:spPr>
          </c:dPt>
          <c:dPt>
            <c:idx val="463"/>
            <c:spPr>
              <a:solidFill>
                <a:srgbClr val="7ECAC4"/>
              </a:solidFill>
            </c:spPr>
          </c:dPt>
          <c:dPt>
            <c:idx val="464"/>
            <c:spPr>
              <a:solidFill>
                <a:srgbClr val="7ECAC4"/>
              </a:solidFill>
            </c:spPr>
          </c:dPt>
          <c:dPt>
            <c:idx val="465"/>
            <c:spPr>
              <a:solidFill>
                <a:srgbClr val="7ECAC4"/>
              </a:solidFill>
            </c:spPr>
          </c:dPt>
          <c:dPt>
            <c:idx val="466"/>
            <c:spPr>
              <a:solidFill>
                <a:srgbClr val="7ECAC4"/>
              </a:solidFill>
            </c:spPr>
          </c:dPt>
          <c:dPt>
            <c:idx val="467"/>
            <c:spPr>
              <a:solidFill>
                <a:srgbClr val="7ECAC4"/>
              </a:solidFill>
            </c:spPr>
          </c:dPt>
          <c:dPt>
            <c:idx val="468"/>
            <c:spPr>
              <a:solidFill>
                <a:srgbClr val="7ECAC4"/>
              </a:solidFill>
            </c:spPr>
          </c:dPt>
          <c:dPt>
            <c:idx val="469"/>
            <c:spPr>
              <a:solidFill>
                <a:srgbClr val="7ECAC4"/>
              </a:solidFill>
            </c:spPr>
          </c:dPt>
          <c:dPt>
            <c:idx val="470"/>
            <c:spPr>
              <a:solidFill>
                <a:srgbClr val="7ECAC4"/>
              </a:solidFill>
            </c:spPr>
          </c:dPt>
          <c:dPt>
            <c:idx val="471"/>
            <c:spPr>
              <a:solidFill>
                <a:srgbClr val="7ECAC4"/>
              </a:solidFill>
            </c:spPr>
          </c:dPt>
          <c:dPt>
            <c:idx val="472"/>
            <c:spPr>
              <a:solidFill>
                <a:srgbClr val="7ECAC4"/>
              </a:solidFill>
            </c:spPr>
          </c:dPt>
          <c:dPt>
            <c:idx val="473"/>
            <c:spPr>
              <a:solidFill>
                <a:srgbClr val="7ECAC4"/>
              </a:solidFill>
            </c:spPr>
          </c:dPt>
          <c:dPt>
            <c:idx val="474"/>
            <c:spPr>
              <a:solidFill>
                <a:srgbClr val="7ECAC4"/>
              </a:solidFill>
            </c:spPr>
          </c:dPt>
          <c:dPt>
            <c:idx val="475"/>
            <c:spPr>
              <a:solidFill>
                <a:srgbClr val="7ECAC4"/>
              </a:solidFill>
            </c:spPr>
          </c:dPt>
          <c:dPt>
            <c:idx val="476"/>
            <c:spPr>
              <a:solidFill>
                <a:srgbClr val="7ECAC4"/>
              </a:solidFill>
            </c:spPr>
          </c:dPt>
          <c:dPt>
            <c:idx val="477"/>
            <c:spPr>
              <a:solidFill>
                <a:srgbClr val="7ECAC4"/>
              </a:solidFill>
            </c:spPr>
          </c:dPt>
          <c:dPt>
            <c:idx val="478"/>
            <c:spPr>
              <a:solidFill>
                <a:srgbClr val="7ECAC4"/>
              </a:solidFill>
            </c:spPr>
          </c:dPt>
          <c:dPt>
            <c:idx val="479"/>
            <c:spPr>
              <a:solidFill>
                <a:srgbClr val="7ECAC4"/>
              </a:solidFill>
            </c:spPr>
          </c:dPt>
          <c:dPt>
            <c:idx val="480"/>
            <c:spPr>
              <a:solidFill>
                <a:srgbClr val="7ECAC4"/>
              </a:solidFill>
            </c:spPr>
          </c:dPt>
          <c:dPt>
            <c:idx val="481"/>
            <c:spPr>
              <a:solidFill>
                <a:srgbClr val="7ECAC4"/>
              </a:solidFill>
            </c:spPr>
          </c:dPt>
          <c:dPt>
            <c:idx val="482"/>
            <c:spPr>
              <a:solidFill>
                <a:srgbClr val="7ECAC4"/>
              </a:solidFill>
            </c:spPr>
          </c:dPt>
          <c:dPt>
            <c:idx val="483"/>
            <c:spPr>
              <a:solidFill>
                <a:srgbClr val="7ECAC4"/>
              </a:solidFill>
            </c:spPr>
          </c:dPt>
          <c:dPt>
            <c:idx val="484"/>
            <c:spPr>
              <a:solidFill>
                <a:srgbClr val="7ECAC4"/>
              </a:solidFill>
            </c:spPr>
          </c:dPt>
          <c:dPt>
            <c:idx val="485"/>
            <c:spPr>
              <a:solidFill>
                <a:srgbClr val="7ECAC4"/>
              </a:solidFill>
            </c:spPr>
          </c:dPt>
          <c:dPt>
            <c:idx val="486"/>
            <c:spPr>
              <a:solidFill>
                <a:srgbClr val="7ECAC4"/>
              </a:solidFill>
            </c:spPr>
          </c:dPt>
          <c:dPt>
            <c:idx val="487"/>
            <c:spPr>
              <a:solidFill>
                <a:srgbClr val="7ECAC4"/>
              </a:solidFill>
            </c:spPr>
          </c:dPt>
          <c:dPt>
            <c:idx val="488"/>
            <c:spPr>
              <a:solidFill>
                <a:srgbClr val="7ECAC4"/>
              </a:solidFill>
            </c:spPr>
          </c:dPt>
          <c:dPt>
            <c:idx val="489"/>
            <c:spPr>
              <a:solidFill>
                <a:srgbClr val="7ECAC4"/>
              </a:solidFill>
            </c:spPr>
          </c:dPt>
          <c:dPt>
            <c:idx val="490"/>
            <c:spPr>
              <a:solidFill>
                <a:srgbClr val="7ECAC4"/>
              </a:solidFill>
            </c:spPr>
          </c:dPt>
          <c:dPt>
            <c:idx val="491"/>
            <c:spPr>
              <a:solidFill>
                <a:srgbClr val="7ECAC4"/>
              </a:solidFill>
            </c:spPr>
          </c:dPt>
          <c:dPt>
            <c:idx val="492"/>
            <c:spPr>
              <a:solidFill>
                <a:srgbClr val="7ECAC4"/>
              </a:solidFill>
            </c:spPr>
          </c:dPt>
          <c:dPt>
            <c:idx val="493"/>
            <c:spPr>
              <a:solidFill>
                <a:srgbClr val="7ECAC4"/>
              </a:solidFill>
            </c:spPr>
          </c:dPt>
          <c:dPt>
            <c:idx val="494"/>
            <c:spPr>
              <a:solidFill>
                <a:srgbClr val="7ECAC4"/>
              </a:solidFill>
            </c:spPr>
          </c:dPt>
          <c:dPt>
            <c:idx val="495"/>
            <c:spPr>
              <a:solidFill>
                <a:srgbClr val="7ECAC4"/>
              </a:solidFill>
            </c:spPr>
          </c:dPt>
          <c:dPt>
            <c:idx val="496"/>
            <c:spPr>
              <a:solidFill>
                <a:srgbClr val="7ECAC4"/>
              </a:solidFill>
            </c:spPr>
          </c:dPt>
          <c:dPt>
            <c:idx val="497"/>
            <c:spPr>
              <a:solidFill>
                <a:srgbClr val="7ECAC4"/>
              </a:solidFill>
            </c:spPr>
          </c:dPt>
          <c:dPt>
            <c:idx val="498"/>
            <c:spPr>
              <a:solidFill>
                <a:srgbClr val="AEABAB"/>
              </a:solidFill>
            </c:spPr>
          </c:dPt>
          <c:dPt>
            <c:idx val="499"/>
            <c:spPr>
              <a:solidFill>
                <a:srgbClr val="AEABAB"/>
              </a:solidFill>
            </c:spPr>
          </c:dPt>
          <c:dPt>
            <c:idx val="500"/>
            <c:spPr>
              <a:solidFill>
                <a:srgbClr val="AEABAB"/>
              </a:solidFill>
            </c:spPr>
          </c:dPt>
          <c:dPt>
            <c:idx val="501"/>
            <c:spPr>
              <a:solidFill>
                <a:srgbClr val="AEABAB"/>
              </a:solidFill>
            </c:spPr>
          </c:dPt>
          <c:dPt>
            <c:idx val="502"/>
            <c:spPr>
              <a:solidFill>
                <a:srgbClr val="AEABAB"/>
              </a:solidFill>
            </c:spPr>
          </c:dPt>
          <c:dPt>
            <c:idx val="503"/>
            <c:spPr>
              <a:solidFill>
                <a:srgbClr val="AEABAB"/>
              </a:solidFill>
            </c:spPr>
          </c:dPt>
          <c:dPt>
            <c:idx val="504"/>
            <c:spPr>
              <a:solidFill>
                <a:srgbClr val="AEABAB"/>
              </a:solidFill>
            </c:spPr>
          </c:dPt>
          <c:dPt>
            <c:idx val="505"/>
            <c:spPr>
              <a:solidFill>
                <a:srgbClr val="AEABAB"/>
              </a:solidFill>
            </c:spPr>
          </c:dPt>
          <c:dPt>
            <c:idx val="506"/>
            <c:spPr>
              <a:solidFill>
                <a:srgbClr val="AEABAB"/>
              </a:solidFill>
            </c:spPr>
          </c:dPt>
          <c:dPt>
            <c:idx val="507"/>
            <c:spPr>
              <a:solidFill>
                <a:srgbClr val="AEABAB"/>
              </a:solidFill>
            </c:spPr>
          </c:dPt>
          <c:dPt>
            <c:idx val="508"/>
            <c:spPr>
              <a:solidFill>
                <a:srgbClr val="AEABAB"/>
              </a:solidFill>
            </c:spPr>
          </c:dPt>
          <c:dPt>
            <c:idx val="509"/>
            <c:spPr>
              <a:solidFill>
                <a:srgbClr val="AEABAB"/>
              </a:solidFill>
            </c:spPr>
          </c:dPt>
          <c:dPt>
            <c:idx val="510"/>
            <c:spPr>
              <a:solidFill>
                <a:srgbClr val="AEABAB"/>
              </a:solidFill>
            </c:spPr>
          </c:dPt>
          <c:dPt>
            <c:idx val="511"/>
            <c:spPr>
              <a:solidFill>
                <a:srgbClr val="AEABAB"/>
              </a:solidFill>
            </c:spPr>
          </c:dPt>
          <c:dPt>
            <c:idx val="512"/>
            <c:spPr>
              <a:solidFill>
                <a:srgbClr val="AEABAB"/>
              </a:solidFill>
            </c:spPr>
          </c:dPt>
          <c:dPt>
            <c:idx val="513"/>
            <c:spPr>
              <a:solidFill>
                <a:srgbClr val="AEABAB"/>
              </a:solidFill>
            </c:spPr>
          </c:dPt>
          <c:dPt>
            <c:idx val="514"/>
            <c:spPr>
              <a:solidFill>
                <a:srgbClr val="AEABAB"/>
              </a:solidFill>
            </c:spPr>
          </c:dPt>
          <c:dPt>
            <c:idx val="515"/>
            <c:spPr>
              <a:solidFill>
                <a:srgbClr val="AEABAB"/>
              </a:solidFill>
            </c:spPr>
          </c:dPt>
          <c:dPt>
            <c:idx val="516"/>
            <c:spPr>
              <a:solidFill>
                <a:srgbClr val="AEABAB"/>
              </a:solidFill>
            </c:spPr>
          </c:dPt>
          <c:dPt>
            <c:idx val="517"/>
            <c:spPr>
              <a:solidFill>
                <a:srgbClr val="AEABAB"/>
              </a:solidFill>
            </c:spPr>
          </c:dPt>
          <c:dPt>
            <c:idx val="518"/>
            <c:spPr>
              <a:solidFill>
                <a:srgbClr val="AEABAB"/>
              </a:solidFill>
            </c:spPr>
          </c:dPt>
          <c:dPt>
            <c:idx val="519"/>
            <c:spPr>
              <a:solidFill>
                <a:srgbClr val="AEABAB"/>
              </a:solidFill>
            </c:spPr>
          </c:dPt>
          <c:dPt>
            <c:idx val="520"/>
            <c:spPr>
              <a:solidFill>
                <a:srgbClr val="AEABAB"/>
              </a:solidFill>
            </c:spPr>
          </c:dPt>
          <c:dPt>
            <c:idx val="521"/>
            <c:spPr>
              <a:solidFill>
                <a:srgbClr val="AEABAB"/>
              </a:solidFill>
            </c:spPr>
          </c:dPt>
          <c:dPt>
            <c:idx val="522"/>
            <c:spPr>
              <a:solidFill>
                <a:srgbClr val="AEABAB"/>
              </a:solidFill>
            </c:spPr>
          </c:dPt>
          <c:dPt>
            <c:idx val="523"/>
            <c:spPr>
              <a:solidFill>
                <a:srgbClr val="AEABAB"/>
              </a:solidFill>
            </c:spPr>
          </c:dPt>
          <c:dPt>
            <c:idx val="524"/>
            <c:spPr>
              <a:solidFill>
                <a:srgbClr val="AEABAB"/>
              </a:solidFill>
            </c:spPr>
          </c:dPt>
          <c:dPt>
            <c:idx val="525"/>
            <c:spPr>
              <a:solidFill>
                <a:srgbClr val="AEABAB"/>
              </a:solidFill>
            </c:spPr>
          </c:dPt>
          <c:dPt>
            <c:idx val="526"/>
            <c:spPr>
              <a:solidFill>
                <a:srgbClr val="AEABAB"/>
              </a:solidFill>
            </c:spPr>
          </c:dPt>
          <c:dPt>
            <c:idx val="527"/>
            <c:spPr>
              <a:solidFill>
                <a:srgbClr val="AEABAB"/>
              </a:solidFill>
            </c:spPr>
          </c:dPt>
          <c:dPt>
            <c:idx val="528"/>
            <c:spPr>
              <a:solidFill>
                <a:srgbClr val="AEABAB"/>
              </a:solidFill>
            </c:spPr>
          </c:dPt>
          <c:dPt>
            <c:idx val="529"/>
            <c:spPr>
              <a:solidFill>
                <a:srgbClr val="AEABAB"/>
              </a:solidFill>
            </c:spPr>
          </c:dPt>
          <c:dPt>
            <c:idx val="530"/>
            <c:spPr>
              <a:solidFill>
                <a:srgbClr val="AEABAB"/>
              </a:solidFill>
            </c:spPr>
          </c:dPt>
          <c:dPt>
            <c:idx val="531"/>
            <c:spPr>
              <a:solidFill>
                <a:srgbClr val="AEABAB"/>
              </a:solidFill>
            </c:spPr>
          </c:dPt>
          <c:dPt>
            <c:idx val="532"/>
            <c:spPr>
              <a:solidFill>
                <a:srgbClr val="AEABAB"/>
              </a:solidFill>
            </c:spPr>
          </c:dPt>
          <c:dPt>
            <c:idx val="533"/>
            <c:spPr>
              <a:solidFill>
                <a:srgbClr val="AEABAB"/>
              </a:solidFill>
            </c:spPr>
          </c:dPt>
          <c:dPt>
            <c:idx val="534"/>
            <c:spPr>
              <a:solidFill>
                <a:srgbClr val="AEABAB"/>
              </a:solidFill>
            </c:spPr>
          </c:dPt>
          <c:dPt>
            <c:idx val="535"/>
            <c:spPr>
              <a:solidFill>
                <a:srgbClr val="AEABAB"/>
              </a:solidFill>
            </c:spPr>
          </c:dPt>
          <c:dPt>
            <c:idx val="536"/>
            <c:spPr>
              <a:solidFill>
                <a:srgbClr val="AEABAB"/>
              </a:solidFill>
            </c:spPr>
          </c:dPt>
          <c:dPt>
            <c:idx val="537"/>
            <c:spPr>
              <a:solidFill>
                <a:srgbClr val="AEABAB"/>
              </a:solidFill>
            </c:spPr>
          </c:dPt>
          <c:dPt>
            <c:idx val="538"/>
            <c:spPr>
              <a:solidFill>
                <a:srgbClr val="AEABAB"/>
              </a:solidFill>
            </c:spPr>
          </c:dPt>
          <c:dPt>
            <c:idx val="539"/>
            <c:spPr>
              <a:solidFill>
                <a:srgbClr val="AEABAB"/>
              </a:solidFill>
            </c:spPr>
          </c:dPt>
          <c:dPt>
            <c:idx val="540"/>
            <c:spPr>
              <a:solidFill>
                <a:srgbClr val="AEABAB"/>
              </a:solidFill>
            </c:spPr>
          </c:dPt>
          <c:dPt>
            <c:idx val="541"/>
            <c:spPr>
              <a:solidFill>
                <a:srgbClr val="AEABAB"/>
              </a:solidFill>
            </c:spPr>
          </c:dPt>
          <c:dPt>
            <c:idx val="542"/>
            <c:spPr>
              <a:solidFill>
                <a:srgbClr val="AEABAB"/>
              </a:solidFill>
            </c:spPr>
          </c:dPt>
          <c:dPt>
            <c:idx val="543"/>
            <c:spPr>
              <a:solidFill>
                <a:srgbClr val="AEABAB"/>
              </a:solidFill>
            </c:spPr>
          </c:dPt>
          <c:dPt>
            <c:idx val="544"/>
            <c:spPr>
              <a:solidFill>
                <a:srgbClr val="AEABAB"/>
              </a:solidFill>
            </c:spPr>
          </c:dPt>
          <c:dPt>
            <c:idx val="545"/>
            <c:spPr>
              <a:solidFill>
                <a:srgbClr val="AEABAB"/>
              </a:solidFill>
            </c:spPr>
          </c:dPt>
          <c:dPt>
            <c:idx val="546"/>
            <c:spPr>
              <a:solidFill>
                <a:srgbClr val="AEABAB"/>
              </a:solidFill>
            </c:spPr>
          </c:dPt>
          <c:dPt>
            <c:idx val="547"/>
            <c:spPr>
              <a:solidFill>
                <a:srgbClr val="AEABAB"/>
              </a:solidFill>
            </c:spPr>
          </c:dPt>
          <c:dPt>
            <c:idx val="548"/>
            <c:spPr>
              <a:solidFill>
                <a:srgbClr val="AEABAB"/>
              </a:solidFill>
            </c:spPr>
          </c:dPt>
          <c:dPt>
            <c:idx val="549"/>
            <c:spPr>
              <a:solidFill>
                <a:srgbClr val="AEABAB"/>
              </a:solidFill>
            </c:spPr>
          </c:dPt>
          <c:dPt>
            <c:idx val="550"/>
            <c:spPr>
              <a:solidFill>
                <a:srgbClr val="AEABAB"/>
              </a:solidFill>
            </c:spPr>
          </c:dPt>
          <c:dPt>
            <c:idx val="551"/>
            <c:spPr>
              <a:solidFill>
                <a:srgbClr val="AEABAB"/>
              </a:solidFill>
            </c:spPr>
          </c:dPt>
          <c:dPt>
            <c:idx val="552"/>
            <c:spPr>
              <a:solidFill>
                <a:srgbClr val="AEABAB"/>
              </a:solidFill>
            </c:spPr>
          </c:dPt>
          <c:dPt>
            <c:idx val="553"/>
            <c:spPr>
              <a:solidFill>
                <a:srgbClr val="AEABAB"/>
              </a:solidFill>
            </c:spPr>
          </c:dPt>
          <c:dPt>
            <c:idx val="554"/>
            <c:spPr>
              <a:solidFill>
                <a:srgbClr val="AEABAB"/>
              </a:solidFill>
            </c:spPr>
          </c:dPt>
          <c:dPt>
            <c:idx val="555"/>
            <c:spPr>
              <a:solidFill>
                <a:srgbClr val="AEABAB"/>
              </a:solidFill>
            </c:spPr>
          </c:dPt>
          <c:dPt>
            <c:idx val="556"/>
            <c:spPr>
              <a:solidFill>
                <a:srgbClr val="AEABAB"/>
              </a:solidFill>
            </c:spPr>
          </c:dPt>
          <c:dPt>
            <c:idx val="557"/>
            <c:spPr>
              <a:solidFill>
                <a:srgbClr val="AEABAB"/>
              </a:solidFill>
            </c:spPr>
          </c:dPt>
          <c:dPt>
            <c:idx val="558"/>
            <c:spPr>
              <a:solidFill>
                <a:srgbClr val="AEABAB"/>
              </a:solidFill>
            </c:spPr>
          </c:dPt>
          <c:dPt>
            <c:idx val="559"/>
            <c:spPr>
              <a:solidFill>
                <a:srgbClr val="AEABAB"/>
              </a:solidFill>
            </c:spPr>
          </c:dPt>
          <c:dPt>
            <c:idx val="560"/>
            <c:spPr>
              <a:solidFill>
                <a:srgbClr val="AEABAB"/>
              </a:solidFill>
            </c:spPr>
          </c:dPt>
          <c:dPt>
            <c:idx val="561"/>
            <c:spPr>
              <a:solidFill>
                <a:srgbClr val="AEABAB"/>
              </a:solidFill>
            </c:spPr>
          </c:dPt>
          <c:dPt>
            <c:idx val="562"/>
            <c:spPr>
              <a:solidFill>
                <a:srgbClr val="AEABAB"/>
              </a:solidFill>
            </c:spPr>
          </c:dPt>
          <c:dPt>
            <c:idx val="563"/>
            <c:spPr>
              <a:solidFill>
                <a:srgbClr val="AEABAB"/>
              </a:solidFill>
            </c:spPr>
          </c:dPt>
          <c:dPt>
            <c:idx val="564"/>
            <c:spPr>
              <a:solidFill>
                <a:srgbClr val="AEABAB"/>
              </a:solidFill>
            </c:spPr>
          </c:dPt>
          <c:dPt>
            <c:idx val="565"/>
            <c:spPr>
              <a:solidFill>
                <a:srgbClr val="AEABAB"/>
              </a:solidFill>
            </c:spPr>
          </c:dPt>
          <c:dPt>
            <c:idx val="566"/>
            <c:spPr>
              <a:solidFill>
                <a:srgbClr val="AEABAB"/>
              </a:solidFill>
            </c:spPr>
          </c:dPt>
          <c:dPt>
            <c:idx val="567"/>
            <c:spPr>
              <a:solidFill>
                <a:srgbClr val="AEABAB"/>
              </a:solidFill>
            </c:spPr>
          </c:dPt>
          <c:dPt>
            <c:idx val="568"/>
            <c:spPr>
              <a:solidFill>
                <a:srgbClr val="AEABAB"/>
              </a:solidFill>
            </c:spPr>
          </c:dPt>
          <c:dPt>
            <c:idx val="569"/>
            <c:spPr>
              <a:solidFill>
                <a:srgbClr val="AEABAB"/>
              </a:solidFill>
            </c:spPr>
          </c:dPt>
          <c:dPt>
            <c:idx val="570"/>
            <c:spPr>
              <a:solidFill>
                <a:srgbClr val="AEABAB"/>
              </a:solidFill>
            </c:spPr>
          </c:dPt>
          <c:dPt>
            <c:idx val="571"/>
            <c:spPr>
              <a:solidFill>
                <a:srgbClr val="AEABAB"/>
              </a:solidFill>
            </c:spPr>
          </c:dPt>
          <c:dPt>
            <c:idx val="572"/>
            <c:spPr>
              <a:solidFill>
                <a:srgbClr val="AEABAB"/>
              </a:solidFill>
            </c:spPr>
          </c:dPt>
          <c:dPt>
            <c:idx val="573"/>
            <c:spPr>
              <a:solidFill>
                <a:srgbClr val="AEABAB"/>
              </a:solidFill>
            </c:spPr>
          </c:dPt>
          <c:dPt>
            <c:idx val="574"/>
            <c:spPr>
              <a:solidFill>
                <a:srgbClr val="AEABAB"/>
              </a:solidFill>
            </c:spPr>
          </c:dPt>
          <c:dPt>
            <c:idx val="575"/>
            <c:spPr>
              <a:solidFill>
                <a:srgbClr val="AEABAB"/>
              </a:solidFill>
            </c:spPr>
          </c:dPt>
          <c:dPt>
            <c:idx val="576"/>
            <c:spPr>
              <a:solidFill>
                <a:srgbClr val="AEABAB"/>
              </a:solidFill>
            </c:spPr>
          </c:dPt>
          <c:dPt>
            <c:idx val="577"/>
            <c:spPr>
              <a:solidFill>
                <a:srgbClr val="AEABAB"/>
              </a:solidFill>
            </c:spPr>
          </c:dPt>
          <c:dPt>
            <c:idx val="578"/>
            <c:spPr>
              <a:solidFill>
                <a:srgbClr val="AEABAB"/>
              </a:solidFill>
            </c:spPr>
          </c:dPt>
          <c:dPt>
            <c:idx val="579"/>
            <c:spPr>
              <a:solidFill>
                <a:srgbClr val="AEABAB"/>
              </a:solidFill>
            </c:spPr>
          </c:dPt>
          <c:dPt>
            <c:idx val="580"/>
            <c:spPr>
              <a:solidFill>
                <a:srgbClr val="AEABAB"/>
              </a:solidFill>
            </c:spPr>
          </c:dPt>
          <c:dPt>
            <c:idx val="581"/>
            <c:spPr>
              <a:solidFill>
                <a:srgbClr val="AEABAB"/>
              </a:solidFill>
            </c:spPr>
          </c:dPt>
          <c:dPt>
            <c:idx val="582"/>
            <c:spPr>
              <a:solidFill>
                <a:srgbClr val="AEABAB"/>
              </a:solidFill>
            </c:spPr>
          </c:dPt>
          <c:dPt>
            <c:idx val="583"/>
            <c:spPr>
              <a:solidFill>
                <a:srgbClr val="AEABAB"/>
              </a:solidFill>
            </c:spPr>
          </c:dPt>
          <c:dPt>
            <c:idx val="584"/>
            <c:spPr>
              <a:solidFill>
                <a:srgbClr val="AEABAB"/>
              </a:solidFill>
            </c:spPr>
          </c:dPt>
          <c:dPt>
            <c:idx val="585"/>
            <c:spPr>
              <a:solidFill>
                <a:srgbClr val="AEABAB"/>
              </a:solidFill>
            </c:spPr>
          </c:dPt>
          <c:dPt>
            <c:idx val="586"/>
            <c:spPr>
              <a:solidFill>
                <a:srgbClr val="AEABAB"/>
              </a:solidFill>
            </c:spPr>
          </c:dPt>
          <c:dPt>
            <c:idx val="587"/>
            <c:spPr>
              <a:solidFill>
                <a:srgbClr val="AEABAB"/>
              </a:solidFill>
            </c:spPr>
          </c:dPt>
          <c:dPt>
            <c:idx val="588"/>
            <c:spPr>
              <a:solidFill>
                <a:srgbClr val="AEABAB"/>
              </a:solidFill>
            </c:spPr>
          </c:dPt>
          <c:dPt>
            <c:idx val="589"/>
            <c:spPr>
              <a:solidFill>
                <a:srgbClr val="AEABAB"/>
              </a:solidFill>
            </c:spPr>
          </c:dPt>
          <c:dPt>
            <c:idx val="590"/>
            <c:spPr>
              <a:solidFill>
                <a:srgbClr val="AEABAB"/>
              </a:solidFill>
            </c:spPr>
          </c:dPt>
          <c:dPt>
            <c:idx val="591"/>
            <c:spPr>
              <a:solidFill>
                <a:srgbClr val="AEABAB"/>
              </a:solidFill>
            </c:spPr>
          </c:dPt>
          <c:dPt>
            <c:idx val="592"/>
            <c:spPr>
              <a:solidFill>
                <a:srgbClr val="AEABAB"/>
              </a:solidFill>
            </c:spPr>
          </c:dPt>
          <c:dPt>
            <c:idx val="593"/>
            <c:spPr>
              <a:solidFill>
                <a:srgbClr val="AEABAB"/>
              </a:solidFill>
            </c:spPr>
          </c:dPt>
          <c:dPt>
            <c:idx val="594"/>
            <c:spPr>
              <a:solidFill>
                <a:srgbClr val="AEABAB"/>
              </a:solidFill>
            </c:spPr>
          </c:dPt>
          <c:dPt>
            <c:idx val="595"/>
            <c:spPr>
              <a:solidFill>
                <a:srgbClr val="AEABAB"/>
              </a:solidFill>
            </c:spPr>
          </c:dPt>
          <c:dPt>
            <c:idx val="596"/>
            <c:spPr>
              <a:solidFill>
                <a:srgbClr val="AEABAB"/>
              </a:solidFill>
            </c:spPr>
          </c:dPt>
          <c:dPt>
            <c:idx val="597"/>
            <c:spPr>
              <a:solidFill>
                <a:srgbClr val="AEABAB"/>
              </a:solidFill>
            </c:spPr>
          </c:dPt>
          <c:dPt>
            <c:idx val="598"/>
            <c:spPr>
              <a:solidFill>
                <a:srgbClr val="AEABAB"/>
              </a:solidFill>
            </c:spPr>
          </c:dPt>
          <c:dPt>
            <c:idx val="599"/>
            <c:spPr>
              <a:solidFill>
                <a:srgbClr val="AEABAB"/>
              </a:solidFill>
            </c:spPr>
          </c:dPt>
          <c:dPt>
            <c:idx val="600"/>
            <c:spPr>
              <a:solidFill>
                <a:srgbClr val="AEABAB"/>
              </a:solidFill>
            </c:spPr>
          </c:dPt>
          <c:dPt>
            <c:idx val="601"/>
            <c:spPr>
              <a:solidFill>
                <a:srgbClr val="AEABAB"/>
              </a:solidFill>
            </c:spPr>
          </c:dPt>
          <c:dPt>
            <c:idx val="602"/>
            <c:spPr>
              <a:solidFill>
                <a:srgbClr val="AEABAB"/>
              </a:solidFill>
            </c:spPr>
          </c:dPt>
          <c:dPt>
            <c:idx val="603"/>
            <c:spPr>
              <a:solidFill>
                <a:srgbClr val="AEABAB"/>
              </a:solidFill>
            </c:spPr>
          </c:dPt>
          <c:dPt>
            <c:idx val="604"/>
            <c:spPr>
              <a:solidFill>
                <a:srgbClr val="AEABAB"/>
              </a:solidFill>
            </c:spPr>
          </c:dPt>
          <c:dPt>
            <c:idx val="605"/>
            <c:spPr>
              <a:solidFill>
                <a:srgbClr val="AEABAB"/>
              </a:solidFill>
            </c:spPr>
          </c:dPt>
          <c:dPt>
            <c:idx val="606"/>
            <c:spPr>
              <a:solidFill>
                <a:srgbClr val="AEABAB"/>
              </a:solidFill>
            </c:spPr>
          </c:dPt>
          <c:dPt>
            <c:idx val="607"/>
            <c:spPr>
              <a:solidFill>
                <a:srgbClr val="AEABAB"/>
              </a:solidFill>
            </c:spPr>
          </c:dPt>
          <c:dPt>
            <c:idx val="608"/>
            <c:spPr>
              <a:solidFill>
                <a:srgbClr val="AEABAB"/>
              </a:solidFill>
            </c:spPr>
          </c:dPt>
          <c:dPt>
            <c:idx val="609"/>
            <c:spPr>
              <a:solidFill>
                <a:srgbClr val="AEABAB"/>
              </a:solidFill>
            </c:spPr>
          </c:dPt>
          <c:dPt>
            <c:idx val="610"/>
            <c:spPr>
              <a:solidFill>
                <a:srgbClr val="AEABAB"/>
              </a:solidFill>
            </c:spPr>
          </c:dPt>
          <c:dPt>
            <c:idx val="611"/>
            <c:spPr>
              <a:solidFill>
                <a:srgbClr val="AEABAB"/>
              </a:solidFill>
            </c:spPr>
          </c:dPt>
          <c:dPt>
            <c:idx val="612"/>
            <c:spPr>
              <a:solidFill>
                <a:srgbClr val="AEABAB"/>
              </a:solidFill>
            </c:spPr>
          </c:dPt>
          <c:dPt>
            <c:idx val="613"/>
            <c:spPr>
              <a:solidFill>
                <a:srgbClr val="AEABAB"/>
              </a:solidFill>
            </c:spPr>
          </c:dPt>
          <c:dPt>
            <c:idx val="614"/>
            <c:spPr>
              <a:solidFill>
                <a:srgbClr val="AEABAB"/>
              </a:solidFill>
            </c:spPr>
          </c:dPt>
          <c:dPt>
            <c:idx val="615"/>
            <c:spPr>
              <a:solidFill>
                <a:srgbClr val="AEABAB"/>
              </a:solidFill>
            </c:spPr>
          </c:dPt>
          <c:dPt>
            <c:idx val="616"/>
            <c:spPr>
              <a:solidFill>
                <a:srgbClr val="AEABAB"/>
              </a:solidFill>
            </c:spPr>
          </c:dPt>
          <c:dPt>
            <c:idx val="617"/>
            <c:spPr>
              <a:solidFill>
                <a:srgbClr val="AEABAB"/>
              </a:solidFill>
            </c:spPr>
          </c:dPt>
          <c:dPt>
            <c:idx val="618"/>
            <c:spPr>
              <a:solidFill>
                <a:srgbClr val="AEABAB"/>
              </a:solidFill>
            </c:spPr>
          </c:dPt>
          <c:dPt>
            <c:idx val="619"/>
            <c:spPr>
              <a:solidFill>
                <a:srgbClr val="AEABAB"/>
              </a:solidFill>
            </c:spPr>
          </c:dPt>
          <c:dPt>
            <c:idx val="620"/>
            <c:spPr>
              <a:solidFill>
                <a:srgbClr val="AEABAB"/>
              </a:solidFill>
            </c:spPr>
          </c:dPt>
          <c:dPt>
            <c:idx val="621"/>
            <c:spPr>
              <a:solidFill>
                <a:srgbClr val="AEABAB"/>
              </a:solidFill>
            </c:spPr>
          </c:dPt>
          <c:dPt>
            <c:idx val="622"/>
            <c:spPr>
              <a:solidFill>
                <a:srgbClr val="AEABAB"/>
              </a:solidFill>
            </c:spPr>
          </c:dPt>
          <c:dPt>
            <c:idx val="623"/>
            <c:spPr>
              <a:solidFill>
                <a:srgbClr val="AEABAB"/>
              </a:solidFill>
            </c:spPr>
          </c:dPt>
          <c:dPt>
            <c:idx val="624"/>
            <c:spPr>
              <a:solidFill>
                <a:srgbClr val="AEABAB"/>
              </a:solidFill>
            </c:spPr>
          </c:dPt>
          <c:dPt>
            <c:idx val="625"/>
            <c:spPr>
              <a:solidFill>
                <a:srgbClr val="AEABAB"/>
              </a:solidFill>
            </c:spPr>
          </c:dPt>
          <c:dPt>
            <c:idx val="626"/>
            <c:spPr>
              <a:solidFill>
                <a:srgbClr val="AEABAB"/>
              </a:solidFill>
            </c:spPr>
          </c:dPt>
          <c:dPt>
            <c:idx val="627"/>
            <c:spPr>
              <a:solidFill>
                <a:srgbClr val="AEABAB"/>
              </a:solidFill>
            </c:spPr>
          </c:dPt>
          <c:dPt>
            <c:idx val="628"/>
            <c:spPr>
              <a:solidFill>
                <a:srgbClr val="AEABAB"/>
              </a:solidFill>
            </c:spPr>
          </c:dPt>
          <c:dPt>
            <c:idx val="629"/>
            <c:spPr>
              <a:solidFill>
                <a:srgbClr val="AEABAB"/>
              </a:solidFill>
            </c:spPr>
          </c:dPt>
          <c:dPt>
            <c:idx val="630"/>
            <c:spPr>
              <a:solidFill>
                <a:srgbClr val="AEABAB"/>
              </a:solidFill>
            </c:spPr>
          </c:dPt>
          <c:dPt>
            <c:idx val="631"/>
            <c:spPr>
              <a:solidFill>
                <a:srgbClr val="AEABAB"/>
              </a:solidFill>
            </c:spPr>
          </c:dPt>
          <c:dPt>
            <c:idx val="632"/>
            <c:spPr>
              <a:solidFill>
                <a:srgbClr val="AEABAB"/>
              </a:solidFill>
            </c:spPr>
          </c:dPt>
          <c:dPt>
            <c:idx val="633"/>
            <c:spPr>
              <a:solidFill>
                <a:srgbClr val="AEABAB"/>
              </a:solidFill>
            </c:spPr>
          </c:dPt>
          <c:dPt>
            <c:idx val="634"/>
            <c:spPr>
              <a:solidFill>
                <a:srgbClr val="AEABAB"/>
              </a:solidFill>
            </c:spPr>
          </c:dPt>
          <c:dPt>
            <c:idx val="635"/>
            <c:spPr>
              <a:solidFill>
                <a:srgbClr val="AEABAB"/>
              </a:solidFill>
            </c:spPr>
          </c:dPt>
          <c:dPt>
            <c:idx val="636"/>
            <c:spPr>
              <a:solidFill>
                <a:srgbClr val="AEABAB"/>
              </a:solidFill>
            </c:spPr>
          </c:dPt>
          <c:dPt>
            <c:idx val="637"/>
            <c:spPr>
              <a:solidFill>
                <a:srgbClr val="AEABAB"/>
              </a:solidFill>
            </c:spPr>
          </c:dPt>
          <c:dPt>
            <c:idx val="638"/>
            <c:spPr>
              <a:solidFill>
                <a:srgbClr val="AEABAB"/>
              </a:solidFill>
            </c:spPr>
          </c:dPt>
          <c:dPt>
            <c:idx val="639"/>
            <c:spPr>
              <a:solidFill>
                <a:srgbClr val="AEABAB"/>
              </a:solidFill>
            </c:spPr>
          </c:dPt>
          <c:dPt>
            <c:idx val="640"/>
            <c:spPr>
              <a:solidFill>
                <a:srgbClr val="AEABAB"/>
              </a:solidFill>
            </c:spPr>
          </c:dPt>
          <c:dPt>
            <c:idx val="641"/>
            <c:spPr>
              <a:solidFill>
                <a:srgbClr val="AEABAB"/>
              </a:solidFill>
            </c:spPr>
          </c:dPt>
          <c:dPt>
            <c:idx val="642"/>
            <c:spPr>
              <a:solidFill>
                <a:srgbClr val="AEABAB"/>
              </a:solidFill>
            </c:spPr>
          </c:dPt>
          <c:dPt>
            <c:idx val="643"/>
            <c:spPr>
              <a:solidFill>
                <a:srgbClr val="AEABAB"/>
              </a:solidFill>
            </c:spPr>
          </c:dPt>
          <c:dPt>
            <c:idx val="644"/>
            <c:spPr>
              <a:solidFill>
                <a:srgbClr val="AEABAB"/>
              </a:solidFill>
            </c:spPr>
          </c:dPt>
          <c:dPt>
            <c:idx val="645"/>
            <c:spPr>
              <a:solidFill>
                <a:srgbClr val="AEABAB"/>
              </a:solidFill>
            </c:spPr>
          </c:dPt>
          <c:dPt>
            <c:idx val="646"/>
            <c:spPr>
              <a:solidFill>
                <a:srgbClr val="AEABAB"/>
              </a:solidFill>
            </c:spPr>
          </c:dPt>
          <c:dPt>
            <c:idx val="647"/>
            <c:spPr>
              <a:solidFill>
                <a:srgbClr val="AEABAB"/>
              </a:solidFill>
            </c:spPr>
          </c:dPt>
          <c:dPt>
            <c:idx val="648"/>
            <c:spPr>
              <a:solidFill>
                <a:srgbClr val="AEABAB"/>
              </a:solidFill>
            </c:spPr>
          </c:dPt>
          <c:dPt>
            <c:idx val="649"/>
            <c:spPr>
              <a:solidFill>
                <a:srgbClr val="AEABAB"/>
              </a:solidFill>
            </c:spPr>
          </c:dPt>
          <c:dPt>
            <c:idx val="650"/>
            <c:spPr>
              <a:solidFill>
                <a:srgbClr val="AEABAB"/>
              </a:solidFill>
            </c:spPr>
          </c:dPt>
          <c:dPt>
            <c:idx val="651"/>
            <c:spPr>
              <a:solidFill>
                <a:srgbClr val="AEABAB"/>
              </a:solidFill>
            </c:spPr>
          </c:dPt>
          <c:dPt>
            <c:idx val="652"/>
            <c:spPr>
              <a:solidFill>
                <a:srgbClr val="AEABAB"/>
              </a:solidFill>
            </c:spPr>
          </c:dPt>
          <c:dPt>
            <c:idx val="653"/>
            <c:spPr>
              <a:solidFill>
                <a:srgbClr val="AEABAB"/>
              </a:solidFill>
            </c:spPr>
          </c:dPt>
          <c:dPt>
            <c:idx val="654"/>
            <c:spPr>
              <a:solidFill>
                <a:srgbClr val="AEABAB"/>
              </a:solidFill>
            </c:spPr>
          </c:dPt>
          <c:dPt>
            <c:idx val="655"/>
            <c:spPr>
              <a:solidFill>
                <a:srgbClr val="AEABAB"/>
              </a:solidFill>
            </c:spPr>
          </c:dPt>
          <c:dPt>
            <c:idx val="656"/>
            <c:spPr>
              <a:solidFill>
                <a:srgbClr val="AEABAB"/>
              </a:solidFill>
            </c:spPr>
          </c:dPt>
          <c:dPt>
            <c:idx val="657"/>
            <c:spPr>
              <a:solidFill>
                <a:srgbClr val="AEABAB"/>
              </a:solidFill>
            </c:spPr>
          </c:dPt>
          <c:dPt>
            <c:idx val="658"/>
            <c:spPr>
              <a:solidFill>
                <a:srgbClr val="AEABAB"/>
              </a:solidFill>
            </c:spPr>
          </c:dPt>
          <c:dPt>
            <c:idx val="659"/>
            <c:spPr>
              <a:solidFill>
                <a:srgbClr val="AEABAB"/>
              </a:solidFill>
            </c:spPr>
          </c:dPt>
          <c:dPt>
            <c:idx val="660"/>
            <c:spPr>
              <a:solidFill>
                <a:srgbClr val="AEABAB"/>
              </a:solidFill>
            </c:spPr>
          </c:dPt>
          <c:dPt>
            <c:idx val="661"/>
            <c:spPr>
              <a:solidFill>
                <a:srgbClr val="AEABAB"/>
              </a:solidFill>
            </c:spPr>
          </c:dPt>
          <c:dPt>
            <c:idx val="662"/>
            <c:spPr>
              <a:solidFill>
                <a:srgbClr val="AEABAB"/>
              </a:solidFill>
            </c:spPr>
          </c:dPt>
          <c:dPt>
            <c:idx val="663"/>
            <c:spPr>
              <a:solidFill>
                <a:srgbClr val="AEABAB"/>
              </a:solidFill>
            </c:spPr>
          </c:dPt>
          <c:dPt>
            <c:idx val="664"/>
            <c:spPr>
              <a:solidFill>
                <a:srgbClr val="AEABAB"/>
              </a:solidFill>
            </c:spPr>
          </c:dPt>
          <c:dPt>
            <c:idx val="665"/>
            <c:spPr>
              <a:solidFill>
                <a:srgbClr val="AEABAB"/>
              </a:solidFill>
            </c:spPr>
          </c:dPt>
          <c:dPt>
            <c:idx val="666"/>
            <c:spPr>
              <a:solidFill>
                <a:srgbClr val="AEABAB"/>
              </a:solidFill>
            </c:spPr>
          </c:dPt>
          <c:dPt>
            <c:idx val="667"/>
            <c:spPr>
              <a:solidFill>
                <a:srgbClr val="AEABAB"/>
              </a:solidFill>
            </c:spPr>
          </c:dPt>
          <c:dPt>
            <c:idx val="668"/>
            <c:spPr>
              <a:solidFill>
                <a:srgbClr val="AEABAB"/>
              </a:solidFill>
            </c:spPr>
          </c:dPt>
          <c:dPt>
            <c:idx val="669"/>
            <c:spPr>
              <a:solidFill>
                <a:srgbClr val="AEABAB"/>
              </a:solidFill>
            </c:spPr>
          </c:dPt>
          <c:dPt>
            <c:idx val="670"/>
            <c:spPr>
              <a:solidFill>
                <a:srgbClr val="AEABAB"/>
              </a:solidFill>
            </c:spPr>
          </c:dPt>
          <c:dPt>
            <c:idx val="671"/>
            <c:spPr>
              <a:solidFill>
                <a:srgbClr val="AEABAB"/>
              </a:solidFill>
            </c:spPr>
          </c:dPt>
          <c:dPt>
            <c:idx val="672"/>
            <c:spPr>
              <a:solidFill>
                <a:srgbClr val="AEABAB"/>
              </a:solidFill>
            </c:spPr>
          </c:dPt>
          <c:dPt>
            <c:idx val="673"/>
            <c:spPr>
              <a:solidFill>
                <a:srgbClr val="AEABAB"/>
              </a:solidFill>
            </c:spPr>
          </c:dPt>
          <c:dPt>
            <c:idx val="674"/>
            <c:spPr>
              <a:solidFill>
                <a:srgbClr val="AEABAB"/>
              </a:solidFill>
            </c:spPr>
          </c:dPt>
          <c:dPt>
            <c:idx val="675"/>
            <c:spPr>
              <a:solidFill>
                <a:srgbClr val="AEABAB"/>
              </a:solidFill>
            </c:spPr>
          </c:dPt>
          <c:dPt>
            <c:idx val="676"/>
            <c:spPr>
              <a:solidFill>
                <a:srgbClr val="AEABAB"/>
              </a:solidFill>
            </c:spPr>
          </c:dPt>
          <c:dPt>
            <c:idx val="677"/>
            <c:spPr>
              <a:solidFill>
                <a:srgbClr val="AEABAB"/>
              </a:solidFill>
            </c:spPr>
          </c:dPt>
          <c:dPt>
            <c:idx val="678"/>
            <c:spPr>
              <a:solidFill>
                <a:srgbClr val="AEABAB"/>
              </a:solidFill>
            </c:spPr>
          </c:dPt>
          <c:dPt>
            <c:idx val="679"/>
            <c:spPr>
              <a:solidFill>
                <a:srgbClr val="AEABAB"/>
              </a:solidFill>
            </c:spPr>
          </c:dPt>
          <c:dPt>
            <c:idx val="680"/>
            <c:spPr>
              <a:solidFill>
                <a:srgbClr val="AEABAB"/>
              </a:solidFill>
            </c:spPr>
          </c:dPt>
          <c:dPt>
            <c:idx val="681"/>
            <c:spPr>
              <a:solidFill>
                <a:srgbClr val="AEABAB"/>
              </a:solidFill>
            </c:spPr>
          </c:dPt>
          <c:dPt>
            <c:idx val="682"/>
            <c:spPr>
              <a:solidFill>
                <a:srgbClr val="AEABAB"/>
              </a:solidFill>
            </c:spPr>
          </c:dPt>
          <c:dPt>
            <c:idx val="683"/>
            <c:spPr>
              <a:solidFill>
                <a:srgbClr val="AEABAB"/>
              </a:solidFill>
            </c:spPr>
          </c:dPt>
          <c:dPt>
            <c:idx val="684"/>
            <c:spPr>
              <a:solidFill>
                <a:srgbClr val="AEABAB"/>
              </a:solidFill>
            </c:spPr>
          </c:dPt>
          <c:dPt>
            <c:idx val="685"/>
            <c:spPr>
              <a:solidFill>
                <a:srgbClr val="AEABAB"/>
              </a:solidFill>
            </c:spPr>
          </c:dPt>
          <c:dPt>
            <c:idx val="686"/>
            <c:spPr>
              <a:solidFill>
                <a:srgbClr val="AEABAB"/>
              </a:solidFill>
            </c:spPr>
          </c:dPt>
          <c:dPt>
            <c:idx val="687"/>
            <c:spPr>
              <a:solidFill>
                <a:srgbClr val="AEABAB"/>
              </a:solidFill>
            </c:spPr>
          </c:dPt>
          <c:dPt>
            <c:idx val="688"/>
            <c:spPr>
              <a:solidFill>
                <a:srgbClr val="AEABAB"/>
              </a:solidFill>
            </c:spPr>
          </c:dPt>
          <c:dPt>
            <c:idx val="689"/>
            <c:spPr>
              <a:solidFill>
                <a:srgbClr val="AEABAB"/>
              </a:solidFill>
            </c:spPr>
          </c:dPt>
          <c:dPt>
            <c:idx val="690"/>
            <c:spPr>
              <a:solidFill>
                <a:srgbClr val="AEABAB"/>
              </a:solidFill>
            </c:spPr>
          </c:dPt>
          <c:dPt>
            <c:idx val="691"/>
            <c:spPr>
              <a:solidFill>
                <a:srgbClr val="AEABAB"/>
              </a:solidFill>
            </c:spPr>
          </c:dPt>
          <c:dPt>
            <c:idx val="692"/>
            <c:spPr>
              <a:solidFill>
                <a:srgbClr val="AEABAB"/>
              </a:solidFill>
            </c:spPr>
          </c:dPt>
          <c:dPt>
            <c:idx val="693"/>
            <c:spPr>
              <a:solidFill>
                <a:srgbClr val="AEABAB"/>
              </a:solidFill>
            </c:spPr>
          </c:dPt>
          <c:dPt>
            <c:idx val="694"/>
            <c:spPr>
              <a:solidFill>
                <a:srgbClr val="AEABAB"/>
              </a:solidFill>
            </c:spPr>
          </c:dPt>
          <c:dPt>
            <c:idx val="695"/>
            <c:spPr>
              <a:solidFill>
                <a:srgbClr val="AEABAB"/>
              </a:solidFill>
            </c:spPr>
          </c:dPt>
          <c:dPt>
            <c:idx val="696"/>
            <c:spPr>
              <a:solidFill>
                <a:srgbClr val="AEABAB"/>
              </a:solidFill>
            </c:spPr>
          </c:dPt>
          <c:dPt>
            <c:idx val="697"/>
            <c:spPr>
              <a:solidFill>
                <a:srgbClr val="AEABAB"/>
              </a:solidFill>
            </c:spPr>
          </c:dPt>
          <c:dPt>
            <c:idx val="698"/>
            <c:spPr>
              <a:solidFill>
                <a:srgbClr val="AEABAB"/>
              </a:solidFill>
            </c:spPr>
          </c:dPt>
          <c:dPt>
            <c:idx val="699"/>
            <c:spPr>
              <a:solidFill>
                <a:srgbClr val="AEABAB"/>
              </a:solidFill>
            </c:spPr>
          </c:dPt>
          <c:dPt>
            <c:idx val="700"/>
            <c:spPr>
              <a:solidFill>
                <a:srgbClr val="AEABAB"/>
              </a:solidFill>
            </c:spPr>
          </c:dPt>
          <c:dPt>
            <c:idx val="701"/>
            <c:spPr>
              <a:solidFill>
                <a:srgbClr val="AEABAB"/>
              </a:solidFill>
            </c:spPr>
          </c:dPt>
          <c:dPt>
            <c:idx val="702"/>
            <c:spPr>
              <a:solidFill>
                <a:srgbClr val="AEABAB"/>
              </a:solidFill>
            </c:spPr>
          </c:dPt>
          <c:dPt>
            <c:idx val="703"/>
            <c:spPr>
              <a:solidFill>
                <a:srgbClr val="AEABAB"/>
              </a:solidFill>
            </c:spPr>
          </c:dPt>
          <c:dPt>
            <c:idx val="704"/>
            <c:spPr>
              <a:solidFill>
                <a:srgbClr val="AEABAB"/>
              </a:solidFill>
            </c:spPr>
          </c:dPt>
          <c:dPt>
            <c:idx val="705"/>
            <c:spPr>
              <a:solidFill>
                <a:srgbClr val="AEABAB"/>
              </a:solidFill>
            </c:spPr>
          </c:dPt>
          <c:dPt>
            <c:idx val="706"/>
            <c:spPr>
              <a:solidFill>
                <a:srgbClr val="AEABAB"/>
              </a:solidFill>
            </c:spPr>
          </c:dPt>
          <c:dPt>
            <c:idx val="707"/>
            <c:spPr>
              <a:solidFill>
                <a:srgbClr val="AEABAB"/>
              </a:solidFill>
            </c:spPr>
          </c:dPt>
          <c:dPt>
            <c:idx val="708"/>
            <c:spPr>
              <a:solidFill>
                <a:srgbClr val="AEABAB"/>
              </a:solidFill>
            </c:spPr>
          </c:dPt>
          <c:dPt>
            <c:idx val="709"/>
            <c:spPr>
              <a:solidFill>
                <a:srgbClr val="AEABAB"/>
              </a:solidFill>
            </c:spPr>
          </c:dPt>
          <c:dPt>
            <c:idx val="710"/>
            <c:spPr>
              <a:solidFill>
                <a:srgbClr val="AEABAB"/>
              </a:solidFill>
            </c:spPr>
          </c:dPt>
          <c:dPt>
            <c:idx val="711"/>
            <c:spPr>
              <a:solidFill>
                <a:srgbClr val="AEABAB"/>
              </a:solidFill>
            </c:spPr>
          </c:dPt>
          <c:dPt>
            <c:idx val="712"/>
            <c:spPr>
              <a:solidFill>
                <a:srgbClr val="AEABAB"/>
              </a:solidFill>
            </c:spPr>
          </c:dPt>
          <c:dPt>
            <c:idx val="713"/>
            <c:spPr>
              <a:solidFill>
                <a:srgbClr val="AEABAB"/>
              </a:solidFill>
            </c:spPr>
          </c:dPt>
          <c:dPt>
            <c:idx val="714"/>
            <c:spPr>
              <a:solidFill>
                <a:srgbClr val="AEABAB"/>
              </a:solidFill>
            </c:spPr>
          </c:dPt>
          <c:dPt>
            <c:idx val="715"/>
            <c:spPr>
              <a:solidFill>
                <a:srgbClr val="AEABAB"/>
              </a:solidFill>
            </c:spPr>
          </c:dPt>
          <c:dPt>
            <c:idx val="716"/>
            <c:spPr>
              <a:solidFill>
                <a:srgbClr val="AEABAB"/>
              </a:solidFill>
            </c:spPr>
          </c:dPt>
          <c:dPt>
            <c:idx val="717"/>
            <c:spPr>
              <a:solidFill>
                <a:srgbClr val="AEABAB"/>
              </a:solidFill>
            </c:spPr>
          </c:dPt>
          <c:dPt>
            <c:idx val="718"/>
            <c:spPr>
              <a:solidFill>
                <a:srgbClr val="AEABAB"/>
              </a:solidFill>
            </c:spPr>
          </c:dPt>
          <c:dPt>
            <c:idx val="719"/>
            <c:spPr>
              <a:solidFill>
                <a:srgbClr val="AEABAB"/>
              </a:solidFill>
            </c:spPr>
          </c:dPt>
          <c:dPt>
            <c:idx val="720"/>
            <c:spPr>
              <a:solidFill>
                <a:srgbClr val="AEABAB"/>
              </a:solidFill>
            </c:spPr>
          </c:dPt>
          <c:dPt>
            <c:idx val="721"/>
            <c:spPr>
              <a:solidFill>
                <a:srgbClr val="AEABAB"/>
              </a:solidFill>
            </c:spPr>
          </c:dPt>
          <c:dPt>
            <c:idx val="722"/>
            <c:spPr>
              <a:solidFill>
                <a:srgbClr val="AEABAB"/>
              </a:solidFill>
            </c:spPr>
          </c:dPt>
          <c:dPt>
            <c:idx val="723"/>
            <c:spPr>
              <a:solidFill>
                <a:srgbClr val="AEABAB"/>
              </a:solidFill>
            </c:spPr>
          </c:dPt>
          <c:dPt>
            <c:idx val="724"/>
            <c:spPr>
              <a:solidFill>
                <a:srgbClr val="AEABAB"/>
              </a:solidFill>
            </c:spPr>
          </c:dPt>
          <c:dPt>
            <c:idx val="725"/>
            <c:spPr>
              <a:solidFill>
                <a:srgbClr val="AEABAB"/>
              </a:solidFill>
            </c:spPr>
          </c:dPt>
          <c:dPt>
            <c:idx val="726"/>
            <c:spPr>
              <a:solidFill>
                <a:srgbClr val="AEABAB"/>
              </a:solidFill>
            </c:spPr>
          </c:dPt>
          <c:dPt>
            <c:idx val="727"/>
            <c:spPr>
              <a:solidFill>
                <a:srgbClr val="AEABAB"/>
              </a:solidFill>
            </c:spPr>
          </c:dPt>
          <c:dPt>
            <c:idx val="728"/>
            <c:spPr>
              <a:solidFill>
                <a:srgbClr val="AEABAB"/>
              </a:solidFill>
            </c:spPr>
          </c:dPt>
          <c:dPt>
            <c:idx val="729"/>
            <c:spPr>
              <a:solidFill>
                <a:srgbClr val="AEABAB"/>
              </a:solidFill>
            </c:spPr>
          </c:dPt>
          <c:dPt>
            <c:idx val="730"/>
            <c:spPr>
              <a:solidFill>
                <a:srgbClr val="AEABAB"/>
              </a:solidFill>
            </c:spPr>
          </c:dPt>
          <c:dPt>
            <c:idx val="731"/>
            <c:spPr>
              <a:solidFill>
                <a:srgbClr val="AEABAB"/>
              </a:solidFill>
            </c:spPr>
          </c:dPt>
          <c:dPt>
            <c:idx val="732"/>
            <c:spPr>
              <a:solidFill>
                <a:srgbClr val="AEABAB"/>
              </a:solidFill>
            </c:spPr>
          </c:dPt>
          <c:dPt>
            <c:idx val="733"/>
            <c:spPr>
              <a:solidFill>
                <a:srgbClr val="AEABAB"/>
              </a:solidFill>
            </c:spPr>
          </c:dPt>
          <c:dPt>
            <c:idx val="734"/>
            <c:spPr>
              <a:solidFill>
                <a:srgbClr val="AEABAB"/>
              </a:solidFill>
            </c:spPr>
          </c:dPt>
          <c:dPt>
            <c:idx val="735"/>
            <c:spPr>
              <a:solidFill>
                <a:srgbClr val="AEABAB"/>
              </a:solidFill>
            </c:spPr>
          </c:dPt>
          <c:dPt>
            <c:idx val="736"/>
            <c:spPr>
              <a:solidFill>
                <a:srgbClr val="AEABAB"/>
              </a:solidFill>
            </c:spPr>
          </c:dPt>
          <c:dPt>
            <c:idx val="737"/>
            <c:spPr>
              <a:solidFill>
                <a:srgbClr val="AEABAB"/>
              </a:solidFill>
            </c:spPr>
          </c:dPt>
          <c:dPt>
            <c:idx val="738"/>
            <c:spPr>
              <a:solidFill>
                <a:srgbClr val="AEABAB"/>
              </a:solidFill>
            </c:spPr>
          </c:dPt>
          <c:dPt>
            <c:idx val="739"/>
            <c:spPr>
              <a:solidFill>
                <a:srgbClr val="AEABAB"/>
              </a:solidFill>
            </c:spPr>
          </c:dPt>
          <c:dPt>
            <c:idx val="740"/>
            <c:spPr>
              <a:solidFill>
                <a:srgbClr val="AEABAB"/>
              </a:solidFill>
            </c:spPr>
          </c:dPt>
          <c:dPt>
            <c:idx val="741"/>
            <c:spPr>
              <a:solidFill>
                <a:srgbClr val="AEABAB"/>
              </a:solidFill>
            </c:spPr>
          </c:dPt>
          <c:dPt>
            <c:idx val="742"/>
            <c:spPr>
              <a:solidFill>
                <a:srgbClr val="AEABAB"/>
              </a:solidFill>
            </c:spPr>
          </c:dPt>
          <c:dPt>
            <c:idx val="743"/>
            <c:spPr>
              <a:solidFill>
                <a:srgbClr val="AEABAB"/>
              </a:solidFill>
            </c:spPr>
          </c:dPt>
          <c:dPt>
            <c:idx val="744"/>
            <c:spPr>
              <a:solidFill>
                <a:srgbClr val="AEABAB"/>
              </a:solidFill>
            </c:spPr>
          </c:dPt>
          <c:dPt>
            <c:idx val="745"/>
            <c:spPr>
              <a:solidFill>
                <a:srgbClr val="AEABAB"/>
              </a:solidFill>
            </c:spPr>
          </c:dPt>
          <c:dPt>
            <c:idx val="746"/>
            <c:spPr>
              <a:solidFill>
                <a:srgbClr val="AEABAB"/>
              </a:solidFill>
            </c:spPr>
          </c:dPt>
          <c:dPt>
            <c:idx val="747"/>
            <c:spPr>
              <a:solidFill>
                <a:srgbClr val="AEABAB"/>
              </a:solidFill>
            </c:spPr>
          </c:dPt>
          <c:dPt>
            <c:idx val="748"/>
            <c:spPr>
              <a:solidFill>
                <a:srgbClr val="AEABAB"/>
              </a:solidFill>
            </c:spPr>
          </c:dPt>
          <c:dPt>
            <c:idx val="749"/>
            <c:spPr>
              <a:solidFill>
                <a:srgbClr val="AEABAB"/>
              </a:solidFill>
            </c:spPr>
          </c:dPt>
          <c:dPt>
            <c:idx val="750"/>
            <c:spPr>
              <a:solidFill>
                <a:srgbClr val="AEABAB"/>
              </a:solidFill>
            </c:spPr>
          </c:dPt>
          <c:dPt>
            <c:idx val="751"/>
            <c:spPr>
              <a:solidFill>
                <a:srgbClr val="AEABAB"/>
              </a:solidFill>
            </c:spPr>
          </c:dPt>
          <c:dPt>
            <c:idx val="752"/>
            <c:spPr>
              <a:solidFill>
                <a:srgbClr val="AEABAB"/>
              </a:solidFill>
            </c:spPr>
          </c:dPt>
          <c:dPt>
            <c:idx val="753"/>
            <c:spPr>
              <a:solidFill>
                <a:srgbClr val="AEABAB"/>
              </a:solidFill>
            </c:spPr>
          </c:dPt>
          <c:dPt>
            <c:idx val="754"/>
            <c:spPr>
              <a:solidFill>
                <a:srgbClr val="AEABAB"/>
              </a:solidFill>
            </c:spPr>
          </c:dPt>
          <c:dPt>
            <c:idx val="755"/>
            <c:spPr>
              <a:solidFill>
                <a:srgbClr val="AEABAB"/>
              </a:solidFill>
            </c:spPr>
          </c:dPt>
          <c:dPt>
            <c:idx val="756"/>
            <c:spPr>
              <a:solidFill>
                <a:srgbClr val="AEABAB"/>
              </a:solidFill>
            </c:spPr>
          </c:dPt>
          <c:dPt>
            <c:idx val="757"/>
            <c:spPr>
              <a:solidFill>
                <a:srgbClr val="AEABAB"/>
              </a:solidFill>
            </c:spPr>
          </c:dPt>
          <c:dPt>
            <c:idx val="758"/>
            <c:spPr>
              <a:solidFill>
                <a:srgbClr val="AEABAB"/>
              </a:solidFill>
            </c:spPr>
          </c:dPt>
          <c:dPt>
            <c:idx val="759"/>
            <c:spPr>
              <a:solidFill>
                <a:srgbClr val="AEABAB"/>
              </a:solidFill>
            </c:spPr>
          </c:dPt>
          <c:dPt>
            <c:idx val="760"/>
            <c:spPr>
              <a:solidFill>
                <a:srgbClr val="AEABAB"/>
              </a:solidFill>
            </c:spPr>
          </c:dPt>
          <c:dPt>
            <c:idx val="761"/>
            <c:spPr>
              <a:solidFill>
                <a:srgbClr val="AEABAB"/>
              </a:solidFill>
            </c:spPr>
          </c:dPt>
          <c:dPt>
            <c:idx val="762"/>
            <c:spPr>
              <a:solidFill>
                <a:srgbClr val="AEABAB"/>
              </a:solidFill>
            </c:spPr>
          </c:dPt>
          <c:dPt>
            <c:idx val="763"/>
            <c:spPr>
              <a:solidFill>
                <a:srgbClr val="AEABAB"/>
              </a:solidFill>
            </c:spPr>
          </c:dPt>
          <c:dPt>
            <c:idx val="764"/>
            <c:spPr>
              <a:solidFill>
                <a:srgbClr val="AEABAB"/>
              </a:solidFill>
            </c:spPr>
          </c:dPt>
          <c:dPt>
            <c:idx val="765"/>
            <c:spPr>
              <a:solidFill>
                <a:srgbClr val="AEABAB"/>
              </a:solidFill>
            </c:spPr>
          </c:dPt>
          <c:dPt>
            <c:idx val="766"/>
            <c:spPr>
              <a:solidFill>
                <a:srgbClr val="AEABAB"/>
              </a:solidFill>
            </c:spPr>
          </c:dPt>
          <c:dPt>
            <c:idx val="767"/>
            <c:spPr>
              <a:solidFill>
                <a:srgbClr val="AEABAB"/>
              </a:solidFill>
            </c:spPr>
          </c:dPt>
          <c:dPt>
            <c:idx val="768"/>
            <c:spPr>
              <a:solidFill>
                <a:srgbClr val="AEABAB"/>
              </a:solidFill>
            </c:spPr>
          </c:dPt>
          <c:dPt>
            <c:idx val="769"/>
            <c:spPr>
              <a:solidFill>
                <a:srgbClr val="AEABAB"/>
              </a:solidFill>
            </c:spPr>
          </c:dPt>
          <c:dPt>
            <c:idx val="770"/>
            <c:spPr>
              <a:solidFill>
                <a:srgbClr val="AEABAB"/>
              </a:solidFill>
            </c:spPr>
          </c:dPt>
          <c:dPt>
            <c:idx val="771"/>
            <c:spPr>
              <a:solidFill>
                <a:srgbClr val="AEABAB"/>
              </a:solidFill>
            </c:spPr>
          </c:dPt>
          <c:dPt>
            <c:idx val="772"/>
            <c:spPr>
              <a:solidFill>
                <a:srgbClr val="AEABAB"/>
              </a:solidFill>
            </c:spPr>
          </c:dPt>
          <c:dPt>
            <c:idx val="773"/>
            <c:spPr>
              <a:solidFill>
                <a:srgbClr val="AEABAB"/>
              </a:solidFill>
            </c:spPr>
          </c:dPt>
          <c:dPt>
            <c:idx val="774"/>
            <c:spPr>
              <a:solidFill>
                <a:srgbClr val="AEABAB"/>
              </a:solidFill>
            </c:spPr>
          </c:dPt>
          <c:dPt>
            <c:idx val="775"/>
            <c:spPr>
              <a:solidFill>
                <a:srgbClr val="AEABAB"/>
              </a:solidFill>
            </c:spPr>
          </c:dPt>
          <c:dPt>
            <c:idx val="776"/>
            <c:spPr>
              <a:solidFill>
                <a:srgbClr val="AEABAB"/>
              </a:solidFill>
            </c:spPr>
          </c:dPt>
          <c:dPt>
            <c:idx val="777"/>
            <c:spPr>
              <a:solidFill>
                <a:srgbClr val="AEABAB"/>
              </a:solidFill>
            </c:spPr>
          </c:dPt>
          <c:dPt>
            <c:idx val="778"/>
            <c:spPr>
              <a:solidFill>
                <a:srgbClr val="AEABAB"/>
              </a:solidFill>
            </c:spPr>
          </c:dPt>
          <c:dPt>
            <c:idx val="779"/>
            <c:spPr>
              <a:solidFill>
                <a:srgbClr val="AEABAB"/>
              </a:solidFill>
            </c:spPr>
          </c:dPt>
          <c:dPt>
            <c:idx val="780"/>
            <c:spPr>
              <a:solidFill>
                <a:srgbClr val="AEABAB"/>
              </a:solidFill>
            </c:spPr>
          </c:dPt>
          <c:dPt>
            <c:idx val="781"/>
            <c:spPr>
              <a:solidFill>
                <a:srgbClr val="AEABAB"/>
              </a:solidFill>
            </c:spPr>
          </c:dPt>
          <c:dPt>
            <c:idx val="782"/>
            <c:spPr>
              <a:solidFill>
                <a:srgbClr val="AEABAB"/>
              </a:solidFill>
            </c:spPr>
          </c:dPt>
          <c:dPt>
            <c:idx val="783"/>
            <c:spPr>
              <a:solidFill>
                <a:srgbClr val="AEABAB"/>
              </a:solidFill>
            </c:spPr>
          </c:dPt>
          <c:dPt>
            <c:idx val="784"/>
            <c:spPr>
              <a:solidFill>
                <a:srgbClr val="AEABAB"/>
              </a:solidFill>
            </c:spPr>
          </c:dPt>
          <c:dPt>
            <c:idx val="785"/>
            <c:spPr>
              <a:solidFill>
                <a:srgbClr val="AEABAB"/>
              </a:solidFill>
            </c:spPr>
          </c:dPt>
          <c:dPt>
            <c:idx val="786"/>
            <c:spPr>
              <a:solidFill>
                <a:srgbClr val="AEABAB"/>
              </a:solidFill>
            </c:spPr>
          </c:dPt>
          <c:dPt>
            <c:idx val="787"/>
            <c:spPr>
              <a:solidFill>
                <a:srgbClr val="AEABAB"/>
              </a:solidFill>
            </c:spPr>
          </c:dPt>
          <c:dPt>
            <c:idx val="788"/>
            <c:spPr>
              <a:solidFill>
                <a:srgbClr val="AEABAB"/>
              </a:solidFill>
            </c:spPr>
          </c:dPt>
          <c:dPt>
            <c:idx val="789"/>
            <c:spPr>
              <a:solidFill>
                <a:srgbClr val="AEABAB"/>
              </a:solidFill>
            </c:spPr>
          </c:dPt>
          <c:dPt>
            <c:idx val="790"/>
            <c:spPr>
              <a:solidFill>
                <a:srgbClr val="AEABAB"/>
              </a:solidFill>
            </c:spPr>
          </c:dPt>
          <c:dPt>
            <c:idx val="791"/>
            <c:spPr>
              <a:solidFill>
                <a:srgbClr val="AEABAB"/>
              </a:solidFill>
            </c:spPr>
          </c:dPt>
          <c:dPt>
            <c:idx val="792"/>
            <c:spPr>
              <a:solidFill>
                <a:srgbClr val="AEABAB"/>
              </a:solidFill>
            </c:spPr>
          </c:dPt>
          <c:dPt>
            <c:idx val="793"/>
            <c:spPr>
              <a:solidFill>
                <a:srgbClr val="AEABAB"/>
              </a:solidFill>
            </c:spPr>
          </c:dPt>
          <c:dPt>
            <c:idx val="794"/>
            <c:spPr>
              <a:solidFill>
                <a:srgbClr val="AEABAB"/>
              </a:solidFill>
            </c:spPr>
          </c:dPt>
          <c:dPt>
            <c:idx val="795"/>
            <c:spPr>
              <a:solidFill>
                <a:srgbClr val="AEABAB"/>
              </a:solidFill>
            </c:spPr>
          </c:dPt>
          <c:dPt>
            <c:idx val="796"/>
            <c:spPr>
              <a:solidFill>
                <a:srgbClr val="AEABAB"/>
              </a:solidFill>
            </c:spPr>
          </c:dPt>
          <c:dPt>
            <c:idx val="797"/>
            <c:spPr>
              <a:solidFill>
                <a:srgbClr val="AEABAB"/>
              </a:solidFill>
            </c:spPr>
          </c:dPt>
          <c:dPt>
            <c:idx val="798"/>
            <c:spPr>
              <a:solidFill>
                <a:srgbClr val="AEABAB"/>
              </a:solidFill>
            </c:spPr>
          </c:dPt>
          <c:dPt>
            <c:idx val="799"/>
            <c:spPr>
              <a:solidFill>
                <a:srgbClr val="AEABAB"/>
              </a:solidFill>
            </c:spPr>
          </c:dPt>
          <c:dPt>
            <c:idx val="800"/>
            <c:spPr>
              <a:solidFill>
                <a:srgbClr val="AEABAB"/>
              </a:solidFill>
            </c:spPr>
          </c:dPt>
          <c:dPt>
            <c:idx val="801"/>
            <c:spPr>
              <a:solidFill>
                <a:srgbClr val="AEABAB"/>
              </a:solidFill>
            </c:spPr>
          </c:dPt>
          <c:dPt>
            <c:idx val="802"/>
            <c:spPr>
              <a:solidFill>
                <a:srgbClr val="AEABAB"/>
              </a:solidFill>
            </c:spPr>
          </c:dPt>
          <c:dPt>
            <c:idx val="803"/>
            <c:spPr>
              <a:solidFill>
                <a:srgbClr val="AEABAB"/>
              </a:solidFill>
            </c:spPr>
          </c:dPt>
          <c:dPt>
            <c:idx val="804"/>
            <c:spPr>
              <a:solidFill>
                <a:srgbClr val="AEABAB"/>
              </a:solidFill>
            </c:spPr>
          </c:dPt>
          <c:dPt>
            <c:idx val="805"/>
            <c:spPr>
              <a:solidFill>
                <a:srgbClr val="AEABAB"/>
              </a:solidFill>
            </c:spPr>
          </c:dPt>
          <c:dPt>
            <c:idx val="806"/>
            <c:spPr>
              <a:solidFill>
                <a:srgbClr val="AEABAB"/>
              </a:solidFill>
            </c:spPr>
          </c:dPt>
          <c:dPt>
            <c:idx val="807"/>
            <c:spPr>
              <a:solidFill>
                <a:srgbClr val="AEABAB"/>
              </a:solidFill>
            </c:spPr>
          </c:dPt>
          <c:dPt>
            <c:idx val="808"/>
            <c:spPr>
              <a:solidFill>
                <a:srgbClr val="AEABAB"/>
              </a:solidFill>
            </c:spPr>
          </c:dPt>
          <c:dPt>
            <c:idx val="809"/>
            <c:spPr>
              <a:solidFill>
                <a:srgbClr val="AEABAB"/>
              </a:solidFill>
            </c:spPr>
          </c:dPt>
          <c:dPt>
            <c:idx val="810"/>
            <c:spPr>
              <a:solidFill>
                <a:srgbClr val="AEABAB"/>
              </a:solidFill>
            </c:spPr>
          </c:dPt>
          <c:dPt>
            <c:idx val="811"/>
            <c:spPr>
              <a:solidFill>
                <a:srgbClr val="AEABAB"/>
              </a:solidFill>
            </c:spPr>
          </c:dPt>
          <c:dPt>
            <c:idx val="812"/>
            <c:spPr>
              <a:solidFill>
                <a:srgbClr val="AEABAB"/>
              </a:solidFill>
            </c:spPr>
          </c:dPt>
          <c:dPt>
            <c:idx val="813"/>
            <c:spPr>
              <a:solidFill>
                <a:srgbClr val="AEABAB"/>
              </a:solidFill>
            </c:spPr>
          </c:dPt>
          <c:dPt>
            <c:idx val="814"/>
            <c:spPr>
              <a:solidFill>
                <a:srgbClr val="AEABAB"/>
              </a:solidFill>
            </c:spPr>
          </c:dPt>
          <c:dPt>
            <c:idx val="815"/>
            <c:spPr>
              <a:solidFill>
                <a:srgbClr val="AEABAB"/>
              </a:solidFill>
            </c:spPr>
          </c:dPt>
          <c:dPt>
            <c:idx val="816"/>
            <c:spPr>
              <a:solidFill>
                <a:srgbClr val="AEABAB"/>
              </a:solidFill>
            </c:spPr>
          </c:dPt>
          <c:dPt>
            <c:idx val="817"/>
            <c:spPr>
              <a:solidFill>
                <a:srgbClr val="AEABAB"/>
              </a:solidFill>
            </c:spPr>
          </c:dPt>
          <c:dPt>
            <c:idx val="818"/>
            <c:spPr>
              <a:solidFill>
                <a:srgbClr val="AEABAB"/>
              </a:solidFill>
            </c:spPr>
          </c:dPt>
          <c:dPt>
            <c:idx val="819"/>
            <c:spPr>
              <a:solidFill>
                <a:srgbClr val="AEABAB"/>
              </a:solidFill>
            </c:spPr>
          </c:dPt>
          <c:dPt>
            <c:idx val="820"/>
            <c:spPr>
              <a:solidFill>
                <a:srgbClr val="AEABAB"/>
              </a:solidFill>
            </c:spPr>
          </c:dPt>
          <c:dPt>
            <c:idx val="821"/>
            <c:spPr>
              <a:solidFill>
                <a:srgbClr val="AEABAB"/>
              </a:solidFill>
            </c:spPr>
          </c:dPt>
          <c:dPt>
            <c:idx val="822"/>
            <c:spPr>
              <a:solidFill>
                <a:srgbClr val="AEABAB"/>
              </a:solidFill>
            </c:spPr>
          </c:dPt>
          <c:dPt>
            <c:idx val="823"/>
            <c:spPr>
              <a:solidFill>
                <a:srgbClr val="AEABAB"/>
              </a:solidFill>
            </c:spPr>
          </c:dPt>
          <c:dPt>
            <c:idx val="824"/>
            <c:spPr>
              <a:solidFill>
                <a:srgbClr val="AEABAB"/>
              </a:solidFill>
            </c:spPr>
          </c:dPt>
          <c:dPt>
            <c:idx val="825"/>
            <c:spPr>
              <a:solidFill>
                <a:srgbClr val="AEABAB"/>
              </a:solidFill>
            </c:spPr>
          </c:dPt>
          <c:dPt>
            <c:idx val="826"/>
            <c:spPr>
              <a:solidFill>
                <a:srgbClr val="AEABAB"/>
              </a:solidFill>
            </c:spPr>
          </c:dPt>
          <c:dPt>
            <c:idx val="827"/>
            <c:spPr>
              <a:solidFill>
                <a:srgbClr val="AEABAB"/>
              </a:solidFill>
            </c:spPr>
          </c:dPt>
          <c:dPt>
            <c:idx val="828"/>
            <c:spPr>
              <a:solidFill>
                <a:srgbClr val="AEABAB"/>
              </a:solidFill>
            </c:spPr>
          </c:dPt>
          <c:dPt>
            <c:idx val="829"/>
            <c:spPr>
              <a:solidFill>
                <a:srgbClr val="AEABAB"/>
              </a:solidFill>
            </c:spPr>
          </c:dPt>
          <c:dPt>
            <c:idx val="830"/>
            <c:spPr>
              <a:solidFill>
                <a:srgbClr val="AEABAB"/>
              </a:solidFill>
            </c:spPr>
          </c:dPt>
          <c:dPt>
            <c:idx val="831"/>
            <c:spPr>
              <a:solidFill>
                <a:srgbClr val="AEABAB"/>
              </a:solidFill>
            </c:spPr>
          </c:dPt>
          <c:dPt>
            <c:idx val="832"/>
            <c:spPr>
              <a:solidFill>
                <a:srgbClr val="AEABAB"/>
              </a:solidFill>
            </c:spPr>
          </c:dPt>
          <c:dPt>
            <c:idx val="833"/>
            <c:spPr>
              <a:solidFill>
                <a:srgbClr val="AEABAB"/>
              </a:solidFill>
            </c:spPr>
          </c:dPt>
          <c:dPt>
            <c:idx val="834"/>
            <c:spPr>
              <a:solidFill>
                <a:srgbClr val="AEABAB"/>
              </a:solidFill>
            </c:spPr>
          </c:dPt>
          <c:dPt>
            <c:idx val="835"/>
            <c:spPr>
              <a:solidFill>
                <a:srgbClr val="AEABAB"/>
              </a:solidFill>
            </c:spPr>
          </c:dPt>
          <c:dPt>
            <c:idx val="836"/>
            <c:spPr>
              <a:solidFill>
                <a:srgbClr val="AEABAB"/>
              </a:solidFill>
            </c:spPr>
          </c:dPt>
          <c:dPt>
            <c:idx val="837"/>
            <c:spPr>
              <a:solidFill>
                <a:srgbClr val="AEABAB"/>
              </a:solidFill>
            </c:spPr>
          </c:dPt>
          <c:dPt>
            <c:idx val="838"/>
            <c:spPr>
              <a:solidFill>
                <a:srgbClr val="AEABAB"/>
              </a:solidFill>
            </c:spPr>
          </c:dPt>
          <c:dPt>
            <c:idx val="839"/>
            <c:spPr>
              <a:solidFill>
                <a:srgbClr val="AEABAB"/>
              </a:solidFill>
            </c:spPr>
          </c:dPt>
          <c:dPt>
            <c:idx val="840"/>
            <c:spPr>
              <a:solidFill>
                <a:srgbClr val="AEABAB"/>
              </a:solidFill>
            </c:spPr>
          </c:dPt>
          <c:dPt>
            <c:idx val="841"/>
            <c:spPr>
              <a:solidFill>
                <a:srgbClr val="AEABAB"/>
              </a:solidFill>
            </c:spPr>
          </c:dPt>
          <c:dPt>
            <c:idx val="842"/>
            <c:spPr>
              <a:solidFill>
                <a:srgbClr val="AEABAB"/>
              </a:solidFill>
            </c:spPr>
          </c:dPt>
          <c:dPt>
            <c:idx val="843"/>
            <c:spPr>
              <a:solidFill>
                <a:srgbClr val="AEABAB"/>
              </a:solidFill>
            </c:spPr>
          </c:dPt>
          <c:dPt>
            <c:idx val="844"/>
            <c:spPr>
              <a:solidFill>
                <a:srgbClr val="AEABAB"/>
              </a:solidFill>
            </c:spPr>
          </c:dPt>
          <c:dPt>
            <c:idx val="845"/>
            <c:spPr>
              <a:solidFill>
                <a:srgbClr val="AEABAB"/>
              </a:solidFill>
            </c:spPr>
          </c:dPt>
          <c:dPt>
            <c:idx val="846"/>
            <c:spPr>
              <a:solidFill>
                <a:srgbClr val="AEABAB"/>
              </a:solidFill>
            </c:spPr>
          </c:dPt>
          <c:dPt>
            <c:idx val="847"/>
            <c:spPr>
              <a:solidFill>
                <a:srgbClr val="AEABAB"/>
              </a:solidFill>
            </c:spPr>
          </c:dPt>
          <c:dPt>
            <c:idx val="848"/>
            <c:spPr>
              <a:solidFill>
                <a:srgbClr val="AEABAB"/>
              </a:solidFill>
            </c:spPr>
          </c:dPt>
          <c:dPt>
            <c:idx val="849"/>
            <c:spPr>
              <a:solidFill>
                <a:srgbClr val="AEABAB"/>
              </a:solidFill>
            </c:spPr>
          </c:dPt>
          <c:dPt>
            <c:idx val="850"/>
            <c:spPr>
              <a:solidFill>
                <a:srgbClr val="AEABAB"/>
              </a:solidFill>
            </c:spPr>
          </c:dPt>
          <c:dPt>
            <c:idx val="851"/>
            <c:spPr>
              <a:solidFill>
                <a:srgbClr val="AEABAB"/>
              </a:solidFill>
            </c:spPr>
          </c:dPt>
          <c:dPt>
            <c:idx val="852"/>
            <c:spPr>
              <a:solidFill>
                <a:srgbClr val="AEABAB"/>
              </a:solidFill>
            </c:spPr>
          </c:dPt>
          <c:dPt>
            <c:idx val="853"/>
            <c:spPr>
              <a:solidFill>
                <a:srgbClr val="AEABAB"/>
              </a:solidFill>
            </c:spPr>
          </c:dPt>
          <c:dPt>
            <c:idx val="854"/>
            <c:spPr>
              <a:solidFill>
                <a:srgbClr val="AEABAB"/>
              </a:solidFill>
            </c:spPr>
          </c:dPt>
          <c:dPt>
            <c:idx val="855"/>
            <c:spPr>
              <a:solidFill>
                <a:srgbClr val="AEABAB"/>
              </a:solidFill>
            </c:spPr>
          </c:dPt>
          <c:dPt>
            <c:idx val="856"/>
            <c:spPr>
              <a:solidFill>
                <a:srgbClr val="AEABAB"/>
              </a:solidFill>
            </c:spPr>
          </c:dPt>
          <c:dPt>
            <c:idx val="857"/>
            <c:spPr>
              <a:solidFill>
                <a:srgbClr val="AEABAB"/>
              </a:solidFill>
            </c:spPr>
          </c:dPt>
          <c:dPt>
            <c:idx val="858"/>
            <c:spPr>
              <a:solidFill>
                <a:srgbClr val="AEABAB"/>
              </a:solidFill>
            </c:spPr>
          </c:dPt>
          <c:dPt>
            <c:idx val="859"/>
            <c:spPr>
              <a:solidFill>
                <a:srgbClr val="AEABAB"/>
              </a:solidFill>
            </c:spPr>
          </c:dPt>
          <c:dPt>
            <c:idx val="860"/>
            <c:spPr>
              <a:solidFill>
                <a:srgbClr val="AEABAB"/>
              </a:solidFill>
            </c:spPr>
          </c:dPt>
          <c:dPt>
            <c:idx val="861"/>
            <c:spPr>
              <a:solidFill>
                <a:srgbClr val="AEABAB"/>
              </a:solidFill>
            </c:spPr>
          </c:dPt>
          <c:dPt>
            <c:idx val="862"/>
            <c:spPr>
              <a:solidFill>
                <a:srgbClr val="AEABAB"/>
              </a:solidFill>
            </c:spPr>
          </c:dPt>
          <c:dPt>
            <c:idx val="863"/>
            <c:spPr>
              <a:solidFill>
                <a:srgbClr val="AEABAB"/>
              </a:solidFill>
            </c:spPr>
          </c:dPt>
          <c:dPt>
            <c:idx val="864"/>
            <c:spPr>
              <a:solidFill>
                <a:srgbClr val="AEABAB"/>
              </a:solidFill>
            </c:spPr>
          </c:dPt>
          <c:dPt>
            <c:idx val="865"/>
            <c:spPr>
              <a:solidFill>
                <a:srgbClr val="AEABAB"/>
              </a:solidFill>
            </c:spPr>
          </c:dPt>
          <c:dPt>
            <c:idx val="866"/>
            <c:spPr>
              <a:solidFill>
                <a:srgbClr val="AEABAB"/>
              </a:solidFill>
            </c:spPr>
          </c:dPt>
          <c:dPt>
            <c:idx val="867"/>
            <c:spPr>
              <a:solidFill>
                <a:srgbClr val="AEABAB"/>
              </a:solidFill>
            </c:spPr>
          </c:dPt>
          <c:dPt>
            <c:idx val="868"/>
            <c:spPr>
              <a:solidFill>
                <a:srgbClr val="AEABAB"/>
              </a:solidFill>
            </c:spPr>
          </c:dPt>
          <c:dPt>
            <c:idx val="869"/>
            <c:spPr>
              <a:solidFill>
                <a:srgbClr val="AEABAB"/>
              </a:solidFill>
            </c:spPr>
          </c:dPt>
          <c:dPt>
            <c:idx val="870"/>
            <c:spPr>
              <a:solidFill>
                <a:srgbClr val="AEABAB"/>
              </a:solidFill>
            </c:spPr>
          </c:dPt>
          <c:dPt>
            <c:idx val="871"/>
            <c:spPr>
              <a:solidFill>
                <a:srgbClr val="AEABAB"/>
              </a:solidFill>
            </c:spPr>
          </c:dPt>
          <c:dPt>
            <c:idx val="872"/>
            <c:spPr>
              <a:solidFill>
                <a:srgbClr val="AEABAB"/>
              </a:solidFill>
            </c:spPr>
          </c:dPt>
          <c:dPt>
            <c:idx val="873"/>
            <c:spPr>
              <a:solidFill>
                <a:srgbClr val="AEABAB"/>
              </a:solidFill>
            </c:spPr>
          </c:dPt>
          <c:dPt>
            <c:idx val="874"/>
            <c:spPr>
              <a:solidFill>
                <a:srgbClr val="AEABAB"/>
              </a:solidFill>
            </c:spPr>
          </c:dPt>
          <c:dPt>
            <c:idx val="875"/>
            <c:spPr>
              <a:solidFill>
                <a:srgbClr val="AEABAB"/>
              </a:solidFill>
            </c:spPr>
          </c:dPt>
          <c:dPt>
            <c:idx val="876"/>
            <c:spPr>
              <a:solidFill>
                <a:srgbClr val="AEABAB"/>
              </a:solidFill>
            </c:spPr>
          </c:dPt>
          <c:dPt>
            <c:idx val="877"/>
            <c:spPr>
              <a:solidFill>
                <a:srgbClr val="AEABAB"/>
              </a:solidFill>
            </c:spPr>
          </c:dPt>
          <c:dPt>
            <c:idx val="878"/>
            <c:spPr>
              <a:solidFill>
                <a:srgbClr val="AEABAB"/>
              </a:solidFill>
            </c:spPr>
          </c:dPt>
          <c:dPt>
            <c:idx val="879"/>
            <c:spPr>
              <a:solidFill>
                <a:srgbClr val="AEABAB"/>
              </a:solidFill>
            </c:spPr>
          </c:dPt>
          <c:dPt>
            <c:idx val="880"/>
            <c:spPr>
              <a:solidFill>
                <a:srgbClr val="AEABAB"/>
              </a:solidFill>
            </c:spPr>
          </c:dPt>
          <c:dPt>
            <c:idx val="881"/>
            <c:spPr>
              <a:solidFill>
                <a:srgbClr val="AEABAB"/>
              </a:solidFill>
            </c:spPr>
          </c:dPt>
          <c:dPt>
            <c:idx val="882"/>
            <c:spPr>
              <a:solidFill>
                <a:srgbClr val="AEABAB"/>
              </a:solidFill>
            </c:spPr>
          </c:dPt>
          <c:dPt>
            <c:idx val="883"/>
            <c:spPr>
              <a:solidFill>
                <a:srgbClr val="AEABAB"/>
              </a:solidFill>
            </c:spPr>
          </c:dPt>
          <c:dPt>
            <c:idx val="884"/>
            <c:spPr>
              <a:solidFill>
                <a:srgbClr val="AEABAB"/>
              </a:solidFill>
            </c:spPr>
          </c:dPt>
          <c:dPt>
            <c:idx val="885"/>
            <c:spPr>
              <a:solidFill>
                <a:srgbClr val="AEABAB"/>
              </a:solidFill>
            </c:spPr>
          </c:dPt>
          <c:dPt>
            <c:idx val="886"/>
            <c:spPr>
              <a:solidFill>
                <a:srgbClr val="AEABAB"/>
              </a:solidFill>
            </c:spPr>
          </c:dPt>
          <c:dPt>
            <c:idx val="887"/>
            <c:spPr>
              <a:solidFill>
                <a:srgbClr val="AEABAB"/>
              </a:solidFill>
            </c:spPr>
          </c:dPt>
          <c:dPt>
            <c:idx val="888"/>
            <c:spPr>
              <a:solidFill>
                <a:srgbClr val="AEABAB"/>
              </a:solidFill>
            </c:spPr>
          </c:dPt>
          <c:dPt>
            <c:idx val="889"/>
            <c:spPr>
              <a:solidFill>
                <a:srgbClr val="AEABAB"/>
              </a:solidFill>
            </c:spPr>
          </c:dPt>
          <c:dPt>
            <c:idx val="890"/>
            <c:spPr>
              <a:solidFill>
                <a:srgbClr val="AEABAB"/>
              </a:solidFill>
            </c:spPr>
          </c:dPt>
          <c:dPt>
            <c:idx val="891"/>
            <c:spPr>
              <a:solidFill>
                <a:srgbClr val="AEABAB"/>
              </a:solidFill>
            </c:spPr>
          </c:dPt>
          <c:dPt>
            <c:idx val="892"/>
            <c:spPr>
              <a:solidFill>
                <a:srgbClr val="AEABAB"/>
              </a:solidFill>
            </c:spPr>
          </c:dPt>
          <c:dPt>
            <c:idx val="893"/>
            <c:spPr>
              <a:solidFill>
                <a:srgbClr val="AEABAB"/>
              </a:solidFill>
            </c:spPr>
          </c:dPt>
          <c:dPt>
            <c:idx val="894"/>
            <c:spPr>
              <a:solidFill>
                <a:srgbClr val="AEABAB"/>
              </a:solidFill>
            </c:spPr>
          </c:dPt>
          <c:dPt>
            <c:idx val="895"/>
            <c:spPr>
              <a:solidFill>
                <a:srgbClr val="AEABAB"/>
              </a:solidFill>
            </c:spPr>
          </c:dPt>
          <c:dPt>
            <c:idx val="896"/>
            <c:spPr>
              <a:solidFill>
                <a:srgbClr val="AEABAB"/>
              </a:solidFill>
            </c:spPr>
          </c:dPt>
          <c:dPt>
            <c:idx val="897"/>
            <c:spPr>
              <a:solidFill>
                <a:srgbClr val="AEABAB"/>
              </a:solidFill>
            </c:spPr>
          </c:dPt>
          <c:dPt>
            <c:idx val="898"/>
            <c:spPr>
              <a:solidFill>
                <a:srgbClr val="AEABAB"/>
              </a:solidFill>
            </c:spPr>
          </c:dPt>
          <c:dPt>
            <c:idx val="899"/>
            <c:spPr>
              <a:solidFill>
                <a:srgbClr val="AEABAB"/>
              </a:solidFill>
            </c:spPr>
          </c:dPt>
          <c:dPt>
            <c:idx val="900"/>
            <c:spPr>
              <a:solidFill>
                <a:srgbClr val="AEABAB"/>
              </a:solidFill>
            </c:spPr>
          </c:dPt>
          <c:dPt>
            <c:idx val="901"/>
            <c:spPr>
              <a:solidFill>
                <a:srgbClr val="AEABAB"/>
              </a:solidFill>
            </c:spPr>
          </c:dPt>
          <c:dPt>
            <c:idx val="902"/>
            <c:spPr>
              <a:solidFill>
                <a:srgbClr val="AEABAB"/>
              </a:solidFill>
            </c:spPr>
          </c:dPt>
          <c:dPt>
            <c:idx val="903"/>
            <c:spPr>
              <a:solidFill>
                <a:srgbClr val="AEABAB"/>
              </a:solidFill>
            </c:spPr>
          </c:dPt>
          <c:dPt>
            <c:idx val="904"/>
            <c:spPr>
              <a:solidFill>
                <a:srgbClr val="AEABAB"/>
              </a:solidFill>
            </c:spPr>
          </c:dPt>
          <c:dPt>
            <c:idx val="905"/>
            <c:spPr>
              <a:solidFill>
                <a:srgbClr val="AEABAB"/>
              </a:solidFill>
            </c:spPr>
          </c:dPt>
          <c:dPt>
            <c:idx val="906"/>
            <c:spPr>
              <a:solidFill>
                <a:srgbClr val="AEABAB"/>
              </a:solidFill>
            </c:spPr>
          </c:dPt>
          <c:dPt>
            <c:idx val="907"/>
            <c:spPr>
              <a:solidFill>
                <a:srgbClr val="AEABAB"/>
              </a:solidFill>
            </c:spPr>
          </c:dPt>
          <c:dPt>
            <c:idx val="908"/>
            <c:spPr>
              <a:solidFill>
                <a:srgbClr val="AEABAB"/>
              </a:solidFill>
            </c:spPr>
          </c:dPt>
          <c:dPt>
            <c:idx val="909"/>
            <c:spPr>
              <a:solidFill>
                <a:srgbClr val="AEABAB"/>
              </a:solidFill>
            </c:spPr>
          </c:dPt>
          <c:dPt>
            <c:idx val="910"/>
            <c:spPr>
              <a:solidFill>
                <a:srgbClr val="AEABAB"/>
              </a:solidFill>
            </c:spPr>
          </c:dPt>
          <c:dPt>
            <c:idx val="911"/>
            <c:spPr>
              <a:solidFill>
                <a:srgbClr val="AEABAB"/>
              </a:solidFill>
            </c:spPr>
          </c:dPt>
          <c:dPt>
            <c:idx val="912"/>
            <c:spPr>
              <a:solidFill>
                <a:srgbClr val="AEABAB"/>
              </a:solidFill>
            </c:spPr>
          </c:dPt>
          <c:dPt>
            <c:idx val="913"/>
            <c:spPr>
              <a:solidFill>
                <a:srgbClr val="AEABAB"/>
              </a:solidFill>
            </c:spPr>
          </c:dPt>
          <c:dPt>
            <c:idx val="914"/>
            <c:spPr>
              <a:solidFill>
                <a:srgbClr val="AEABAB"/>
              </a:solidFill>
            </c:spPr>
          </c:dPt>
          <c:dPt>
            <c:idx val="915"/>
            <c:spPr>
              <a:solidFill>
                <a:srgbClr val="AEABAB"/>
              </a:solidFill>
            </c:spPr>
          </c:dPt>
          <c:dPt>
            <c:idx val="916"/>
            <c:spPr>
              <a:solidFill>
                <a:srgbClr val="AEABAB"/>
              </a:solidFill>
            </c:spPr>
          </c:dPt>
          <c:dPt>
            <c:idx val="917"/>
            <c:spPr>
              <a:solidFill>
                <a:srgbClr val="AEABAB"/>
              </a:solidFill>
            </c:spPr>
          </c:dPt>
          <c:dPt>
            <c:idx val="918"/>
            <c:spPr>
              <a:solidFill>
                <a:srgbClr val="AEABAB"/>
              </a:solidFill>
            </c:spPr>
          </c:dPt>
          <c:dPt>
            <c:idx val="919"/>
            <c:spPr>
              <a:solidFill>
                <a:srgbClr val="AEABAB"/>
              </a:solidFill>
            </c:spPr>
          </c:dPt>
          <c:dPt>
            <c:idx val="920"/>
            <c:spPr>
              <a:solidFill>
                <a:srgbClr val="AEABAB"/>
              </a:solidFill>
            </c:spPr>
          </c:dPt>
          <c:dPt>
            <c:idx val="921"/>
            <c:spPr>
              <a:solidFill>
                <a:srgbClr val="AEABAB"/>
              </a:solidFill>
            </c:spPr>
          </c:dPt>
          <c:dPt>
            <c:idx val="922"/>
            <c:spPr>
              <a:solidFill>
                <a:srgbClr val="AEABAB"/>
              </a:solidFill>
            </c:spPr>
          </c:dPt>
          <c:dPt>
            <c:idx val="923"/>
            <c:spPr>
              <a:solidFill>
                <a:srgbClr val="AEABAB"/>
              </a:solidFill>
            </c:spPr>
          </c:dPt>
          <c:dPt>
            <c:idx val="924"/>
            <c:spPr>
              <a:solidFill>
                <a:srgbClr val="AEABAB"/>
              </a:solidFill>
            </c:spPr>
          </c:dPt>
          <c:dPt>
            <c:idx val="925"/>
            <c:spPr>
              <a:solidFill>
                <a:srgbClr val="AEABAB"/>
              </a:solidFill>
            </c:spPr>
          </c:dPt>
          <c:dPt>
            <c:idx val="926"/>
            <c:spPr>
              <a:solidFill>
                <a:srgbClr val="AEABAB"/>
              </a:solidFill>
            </c:spPr>
          </c:dPt>
          <c:dPt>
            <c:idx val="927"/>
            <c:spPr>
              <a:solidFill>
                <a:srgbClr val="AEABAB"/>
              </a:solidFill>
            </c:spPr>
          </c:dPt>
          <c:dPt>
            <c:idx val="928"/>
            <c:spPr>
              <a:solidFill>
                <a:srgbClr val="AEABAB"/>
              </a:solidFill>
            </c:spPr>
          </c:dPt>
          <c:dPt>
            <c:idx val="929"/>
            <c:spPr>
              <a:solidFill>
                <a:srgbClr val="AEABAB"/>
              </a:solidFill>
            </c:spPr>
          </c:dPt>
          <c:dPt>
            <c:idx val="930"/>
            <c:spPr>
              <a:solidFill>
                <a:srgbClr val="AEABAB"/>
              </a:solidFill>
            </c:spPr>
          </c:dPt>
          <c:dPt>
            <c:idx val="931"/>
            <c:spPr>
              <a:solidFill>
                <a:srgbClr val="AEABAB"/>
              </a:solidFill>
            </c:spPr>
          </c:dPt>
          <c:dPt>
            <c:idx val="932"/>
            <c:spPr>
              <a:solidFill>
                <a:srgbClr val="AEABAB"/>
              </a:solidFill>
            </c:spPr>
          </c:dPt>
          <c:dPt>
            <c:idx val="933"/>
            <c:spPr>
              <a:solidFill>
                <a:srgbClr val="AEABAB"/>
              </a:solidFill>
            </c:spPr>
          </c:dPt>
          <c:dPt>
            <c:idx val="934"/>
            <c:spPr>
              <a:solidFill>
                <a:srgbClr val="AEABAB"/>
              </a:solidFill>
            </c:spPr>
          </c:dPt>
          <c:dPt>
            <c:idx val="935"/>
            <c:spPr>
              <a:solidFill>
                <a:srgbClr val="AEABAB"/>
              </a:solidFill>
            </c:spPr>
          </c:dPt>
          <c:dPt>
            <c:idx val="936"/>
            <c:spPr>
              <a:solidFill>
                <a:srgbClr val="AEABAB"/>
              </a:solidFill>
            </c:spPr>
          </c:dPt>
          <c:dPt>
            <c:idx val="937"/>
            <c:spPr>
              <a:solidFill>
                <a:srgbClr val="AEABAB"/>
              </a:solidFill>
            </c:spPr>
          </c:dPt>
          <c:dPt>
            <c:idx val="938"/>
            <c:spPr>
              <a:solidFill>
                <a:srgbClr val="AEABAB"/>
              </a:solidFill>
            </c:spPr>
          </c:dPt>
          <c:dPt>
            <c:idx val="939"/>
            <c:spPr>
              <a:solidFill>
                <a:srgbClr val="AEABAB"/>
              </a:solidFill>
            </c:spPr>
          </c:dPt>
          <c:dPt>
            <c:idx val="940"/>
            <c:spPr>
              <a:solidFill>
                <a:srgbClr val="AEABAB"/>
              </a:solidFill>
            </c:spPr>
          </c:dPt>
          <c:dPt>
            <c:idx val="941"/>
            <c:spPr>
              <a:solidFill>
                <a:srgbClr val="AEABAB"/>
              </a:solidFill>
            </c:spPr>
          </c:dPt>
          <c:dPt>
            <c:idx val="942"/>
            <c:spPr>
              <a:solidFill>
                <a:srgbClr val="AEABAB"/>
              </a:solidFill>
            </c:spPr>
          </c:dPt>
          <c:dPt>
            <c:idx val="943"/>
            <c:spPr>
              <a:solidFill>
                <a:srgbClr val="AEABAB"/>
              </a:solidFill>
            </c:spPr>
          </c:dPt>
          <c:dPt>
            <c:idx val="944"/>
            <c:spPr>
              <a:solidFill>
                <a:srgbClr val="AEABAB"/>
              </a:solidFill>
            </c:spPr>
          </c:dPt>
          <c:dPt>
            <c:idx val="945"/>
            <c:spPr>
              <a:solidFill>
                <a:srgbClr val="AEABAB"/>
              </a:solidFill>
            </c:spPr>
          </c:dPt>
          <c:dPt>
            <c:idx val="946"/>
            <c:spPr>
              <a:solidFill>
                <a:srgbClr val="AEABAB"/>
              </a:solidFill>
            </c:spPr>
          </c:dPt>
          <c:dPt>
            <c:idx val="947"/>
            <c:spPr>
              <a:solidFill>
                <a:srgbClr val="AEABAB"/>
              </a:solidFill>
            </c:spPr>
          </c:dPt>
          <c:dPt>
            <c:idx val="948"/>
            <c:spPr>
              <a:solidFill>
                <a:srgbClr val="AEABAB"/>
              </a:solidFill>
            </c:spPr>
          </c:dPt>
          <c:dPt>
            <c:idx val="949"/>
            <c:spPr>
              <a:solidFill>
                <a:srgbClr val="AEABAB"/>
              </a:solidFill>
            </c:spPr>
          </c:dPt>
          <c:dPt>
            <c:idx val="950"/>
            <c:spPr>
              <a:solidFill>
                <a:srgbClr val="AEABAB"/>
              </a:solidFill>
            </c:spPr>
          </c:dPt>
          <c:dPt>
            <c:idx val="951"/>
            <c:spPr>
              <a:solidFill>
                <a:srgbClr val="AEABAB"/>
              </a:solidFill>
            </c:spPr>
          </c:dPt>
          <c:dPt>
            <c:idx val="952"/>
            <c:spPr>
              <a:solidFill>
                <a:srgbClr val="AEABAB"/>
              </a:solidFill>
            </c:spPr>
          </c:dPt>
          <c:dPt>
            <c:idx val="953"/>
            <c:spPr>
              <a:solidFill>
                <a:srgbClr val="AEABAB"/>
              </a:solidFill>
            </c:spPr>
          </c:dPt>
          <c:dPt>
            <c:idx val="954"/>
            <c:spPr>
              <a:solidFill>
                <a:srgbClr val="AEABAB"/>
              </a:solidFill>
            </c:spPr>
          </c:dPt>
          <c:dPt>
            <c:idx val="955"/>
            <c:spPr>
              <a:solidFill>
                <a:srgbClr val="AEABAB"/>
              </a:solidFill>
            </c:spPr>
          </c:dPt>
          <c:dPt>
            <c:idx val="956"/>
            <c:spPr>
              <a:solidFill>
                <a:srgbClr val="AEABAB"/>
              </a:solidFill>
            </c:spPr>
          </c:dPt>
          <c:dPt>
            <c:idx val="957"/>
            <c:spPr>
              <a:solidFill>
                <a:srgbClr val="AEABAB"/>
              </a:solidFill>
            </c:spPr>
          </c:dPt>
          <c:dPt>
            <c:idx val="958"/>
            <c:spPr>
              <a:solidFill>
                <a:srgbClr val="AEABAB"/>
              </a:solidFill>
            </c:spPr>
          </c:dPt>
          <c:dPt>
            <c:idx val="959"/>
            <c:spPr>
              <a:solidFill>
                <a:srgbClr val="AEABAB"/>
              </a:solidFill>
            </c:spPr>
          </c:dPt>
          <c:dPt>
            <c:idx val="960"/>
            <c:spPr>
              <a:solidFill>
                <a:srgbClr val="AEABAB"/>
              </a:solidFill>
            </c:spPr>
          </c:dPt>
          <c:dPt>
            <c:idx val="961"/>
            <c:spPr>
              <a:solidFill>
                <a:srgbClr val="AEABAB"/>
              </a:solidFill>
            </c:spPr>
          </c:dPt>
          <c:dPt>
            <c:idx val="962"/>
            <c:spPr>
              <a:solidFill>
                <a:srgbClr val="AEABAB"/>
              </a:solidFill>
            </c:spPr>
          </c:dPt>
          <c:dPt>
            <c:idx val="963"/>
            <c:spPr>
              <a:solidFill>
                <a:srgbClr val="AEABAB"/>
              </a:solidFill>
            </c:spPr>
          </c:dPt>
          <c:dPt>
            <c:idx val="964"/>
            <c:spPr>
              <a:solidFill>
                <a:srgbClr val="AEABAB"/>
              </a:solidFill>
            </c:spPr>
          </c:dPt>
          <c:dPt>
            <c:idx val="965"/>
            <c:spPr>
              <a:solidFill>
                <a:srgbClr val="AEABAB"/>
              </a:solidFill>
            </c:spPr>
          </c:dPt>
          <c:dPt>
            <c:idx val="966"/>
            <c:spPr>
              <a:solidFill>
                <a:srgbClr val="AEABAB"/>
              </a:solidFill>
            </c:spPr>
          </c:dPt>
          <c:dPt>
            <c:idx val="967"/>
            <c:spPr>
              <a:solidFill>
                <a:srgbClr val="AEABAB"/>
              </a:solidFill>
            </c:spPr>
          </c:dPt>
          <c:dPt>
            <c:idx val="968"/>
            <c:spPr>
              <a:solidFill>
                <a:srgbClr val="AEABAB"/>
              </a:solidFill>
            </c:spPr>
          </c:dPt>
          <c:dPt>
            <c:idx val="969"/>
            <c:spPr>
              <a:solidFill>
                <a:srgbClr val="AEABAB"/>
              </a:solidFill>
            </c:spPr>
          </c:dPt>
          <c:dPt>
            <c:idx val="970"/>
            <c:spPr>
              <a:solidFill>
                <a:srgbClr val="AEABAB"/>
              </a:solidFill>
            </c:spPr>
          </c:dPt>
          <c:dPt>
            <c:idx val="971"/>
            <c:spPr>
              <a:solidFill>
                <a:srgbClr val="AEABAB"/>
              </a:solidFill>
            </c:spPr>
          </c:dPt>
          <c:dPt>
            <c:idx val="972"/>
            <c:spPr>
              <a:solidFill>
                <a:srgbClr val="AEABAB"/>
              </a:solidFill>
            </c:spPr>
          </c:dPt>
          <c:dPt>
            <c:idx val="973"/>
            <c:spPr>
              <a:solidFill>
                <a:srgbClr val="AEABAB"/>
              </a:solidFill>
            </c:spPr>
          </c:dPt>
          <c:dPt>
            <c:idx val="974"/>
            <c:spPr>
              <a:solidFill>
                <a:srgbClr val="AEABAB"/>
              </a:solidFill>
            </c:spPr>
          </c:dPt>
          <c:dPt>
            <c:idx val="975"/>
            <c:spPr>
              <a:solidFill>
                <a:srgbClr val="AEABAB"/>
              </a:solidFill>
            </c:spPr>
          </c:dPt>
          <c:dPt>
            <c:idx val="976"/>
            <c:spPr>
              <a:solidFill>
                <a:srgbClr val="AEABAB"/>
              </a:solidFill>
            </c:spPr>
          </c:dPt>
          <c:dPt>
            <c:idx val="977"/>
            <c:spPr>
              <a:solidFill>
                <a:srgbClr val="AEABAB"/>
              </a:solidFill>
            </c:spPr>
          </c:dPt>
          <c:dPt>
            <c:idx val="978"/>
            <c:spPr>
              <a:solidFill>
                <a:srgbClr val="AEABAB"/>
              </a:solidFill>
            </c:spPr>
          </c:dPt>
          <c:dPt>
            <c:idx val="979"/>
            <c:spPr>
              <a:solidFill>
                <a:srgbClr val="AEABAB"/>
              </a:solidFill>
            </c:spPr>
          </c:dPt>
          <c:dPt>
            <c:idx val="980"/>
            <c:spPr>
              <a:solidFill>
                <a:srgbClr val="AEABAB"/>
              </a:solidFill>
            </c:spPr>
          </c:dPt>
          <c:dPt>
            <c:idx val="981"/>
            <c:spPr>
              <a:solidFill>
                <a:srgbClr val="AEABAB"/>
              </a:solidFill>
            </c:spPr>
          </c:dPt>
          <c:dPt>
            <c:idx val="982"/>
            <c:spPr>
              <a:solidFill>
                <a:srgbClr val="AEABAB"/>
              </a:solidFill>
            </c:spPr>
          </c:dPt>
          <c:dPt>
            <c:idx val="983"/>
            <c:spPr>
              <a:solidFill>
                <a:srgbClr val="AEABAB"/>
              </a:solidFill>
            </c:spPr>
          </c:dPt>
          <c:dPt>
            <c:idx val="984"/>
            <c:spPr>
              <a:solidFill>
                <a:srgbClr val="AEABAB"/>
              </a:solidFill>
            </c:spPr>
          </c:dPt>
          <c:dPt>
            <c:idx val="985"/>
            <c:spPr>
              <a:solidFill>
                <a:srgbClr val="AEABAB"/>
              </a:solidFill>
            </c:spPr>
          </c:dPt>
          <c:dPt>
            <c:idx val="986"/>
            <c:spPr>
              <a:solidFill>
                <a:srgbClr val="AEABAB"/>
              </a:solidFill>
            </c:spPr>
          </c:dPt>
          <c:dPt>
            <c:idx val="987"/>
            <c:spPr>
              <a:solidFill>
                <a:srgbClr val="AEABAB"/>
              </a:solidFill>
            </c:spPr>
          </c:dPt>
          <c:dPt>
            <c:idx val="988"/>
            <c:spPr>
              <a:solidFill>
                <a:srgbClr val="AEABAB"/>
              </a:solidFill>
            </c:spPr>
          </c:dPt>
          <c:dPt>
            <c:idx val="989"/>
            <c:spPr>
              <a:solidFill>
                <a:srgbClr val="AEABAB"/>
              </a:solidFill>
            </c:spPr>
          </c:dPt>
          <c:dPt>
            <c:idx val="990"/>
            <c:spPr>
              <a:solidFill>
                <a:srgbClr val="AEABAB"/>
              </a:solidFill>
            </c:spPr>
          </c:dPt>
          <c:dPt>
            <c:idx val="991"/>
            <c:spPr>
              <a:solidFill>
                <a:srgbClr val="AEABAB"/>
              </a:solidFill>
            </c:spPr>
          </c:dPt>
          <c:dPt>
            <c:idx val="992"/>
            <c:spPr>
              <a:solidFill>
                <a:srgbClr val="AEABAB"/>
              </a:solidFill>
            </c:spPr>
          </c:dPt>
          <c:dPt>
            <c:idx val="993"/>
            <c:spPr>
              <a:solidFill>
                <a:srgbClr val="AEABAB"/>
              </a:solidFill>
            </c:spPr>
          </c:dPt>
          <c:dPt>
            <c:idx val="994"/>
            <c:spPr>
              <a:solidFill>
                <a:srgbClr val="AEABAB"/>
              </a:solidFill>
            </c:spPr>
          </c:dPt>
          <c:dPt>
            <c:idx val="995"/>
            <c:spPr>
              <a:solidFill>
                <a:srgbClr val="AEABAB"/>
              </a:solidFill>
            </c:spPr>
          </c:dPt>
          <c:dPt>
            <c:idx val="996"/>
            <c:spPr>
              <a:solidFill>
                <a:srgbClr val="AEABAB"/>
              </a:solidFill>
            </c:spPr>
          </c:dPt>
          <c:dPt>
            <c:idx val="997"/>
            <c:spPr>
              <a:solidFill>
                <a:srgbClr val="AEABAB"/>
              </a:solidFill>
            </c:spPr>
          </c:dPt>
          <c:dPt>
            <c:idx val="998"/>
            <c:spPr>
              <a:solidFill>
                <a:srgbClr val="AEABAB"/>
              </a:solidFill>
            </c:spPr>
          </c:dPt>
          <c:dPt>
            <c:idx val="999"/>
            <c:spPr>
              <a:solidFill>
                <a:srgbClr val="AEABAB"/>
              </a:solidFill>
            </c:spPr>
          </c:dPt>
          <c:dPt>
            <c:idx val="1000"/>
            <c:spPr>
              <a:solidFill>
                <a:srgbClr val="AEABAB"/>
              </a:solidFill>
            </c:spPr>
          </c:dPt>
          <c:dPt>
            <c:idx val="1001"/>
            <c:spPr>
              <a:solidFill>
                <a:srgbClr val="AEABAB"/>
              </a:solidFill>
            </c:spPr>
          </c:dPt>
          <c:dPt>
            <c:idx val="1002"/>
            <c:spPr>
              <a:solidFill>
                <a:srgbClr val="AEABAB"/>
              </a:solidFill>
            </c:spPr>
          </c:dPt>
          <c:dPt>
            <c:idx val="1003"/>
            <c:spPr>
              <a:solidFill>
                <a:srgbClr val="AEABAB"/>
              </a:solidFill>
            </c:spPr>
          </c:dPt>
          <c:dPt>
            <c:idx val="1004"/>
            <c:spPr>
              <a:solidFill>
                <a:srgbClr val="AEABAB"/>
              </a:solidFill>
            </c:spPr>
          </c:dPt>
          <c:dPt>
            <c:idx val="1005"/>
            <c:spPr>
              <a:solidFill>
                <a:srgbClr val="AEABAB"/>
              </a:solidFill>
            </c:spPr>
          </c:dPt>
          <c:dPt>
            <c:idx val="1006"/>
            <c:spPr>
              <a:solidFill>
                <a:srgbClr val="AEABAB"/>
              </a:solidFill>
            </c:spPr>
          </c:dPt>
          <c:dPt>
            <c:idx val="1007"/>
            <c:spPr>
              <a:solidFill>
                <a:srgbClr val="AEABAB"/>
              </a:solidFill>
            </c:spPr>
          </c:dPt>
          <c:dPt>
            <c:idx val="1008"/>
            <c:spPr>
              <a:solidFill>
                <a:srgbClr val="AEABAB"/>
              </a:solidFill>
            </c:spPr>
          </c:dPt>
          <c:dPt>
            <c:idx val="1009"/>
            <c:spPr>
              <a:solidFill>
                <a:srgbClr val="AEABAB"/>
              </a:solidFill>
            </c:spPr>
          </c:dPt>
          <c:dPt>
            <c:idx val="1010"/>
            <c:spPr>
              <a:solidFill>
                <a:srgbClr val="AEABAB"/>
              </a:solidFill>
            </c:spPr>
          </c:dPt>
          <c:dPt>
            <c:idx val="1011"/>
            <c:spPr>
              <a:solidFill>
                <a:srgbClr val="AEABAB"/>
              </a:solidFill>
            </c:spPr>
          </c:dPt>
          <c:dPt>
            <c:idx val="1012"/>
            <c:spPr>
              <a:solidFill>
                <a:srgbClr val="AEABAB"/>
              </a:solidFill>
            </c:spPr>
          </c:dPt>
          <c:dPt>
            <c:idx val="1013"/>
            <c:spPr>
              <a:solidFill>
                <a:srgbClr val="AEABAB"/>
              </a:solidFill>
            </c:spPr>
          </c:dPt>
          <c:dPt>
            <c:idx val="1014"/>
            <c:spPr>
              <a:solidFill>
                <a:srgbClr val="AEABAB"/>
              </a:solidFill>
            </c:spPr>
          </c:dPt>
          <c:dPt>
            <c:idx val="1015"/>
            <c:spPr>
              <a:solidFill>
                <a:srgbClr val="AEABAB"/>
              </a:solidFill>
            </c:spPr>
          </c:dPt>
          <c:dPt>
            <c:idx val="1016"/>
            <c:spPr>
              <a:solidFill>
                <a:srgbClr val="AEABAB"/>
              </a:solidFill>
            </c:spPr>
          </c:dPt>
          <c:dPt>
            <c:idx val="1017"/>
            <c:spPr>
              <a:solidFill>
                <a:srgbClr val="AEABAB"/>
              </a:solidFill>
            </c:spPr>
          </c:dPt>
          <c:dPt>
            <c:idx val="1018"/>
            <c:spPr>
              <a:solidFill>
                <a:srgbClr val="AEABAB"/>
              </a:solidFill>
            </c:spPr>
          </c:dPt>
          <c:dPt>
            <c:idx val="1019"/>
            <c:spPr>
              <a:solidFill>
                <a:srgbClr val="AEABAB"/>
              </a:solidFill>
            </c:spPr>
          </c:dPt>
          <c:dPt>
            <c:idx val="1020"/>
            <c:spPr>
              <a:solidFill>
                <a:srgbClr val="AEABAB"/>
              </a:solidFill>
            </c:spPr>
          </c:dPt>
          <c:dPt>
            <c:idx val="1021"/>
            <c:spPr>
              <a:solidFill>
                <a:srgbClr val="AEABAB"/>
              </a:solidFill>
            </c:spPr>
          </c:dPt>
          <c:dPt>
            <c:idx val="1022"/>
            <c:spPr>
              <a:solidFill>
                <a:srgbClr val="AEABAB"/>
              </a:solidFill>
            </c:spPr>
          </c:dPt>
          <c:dPt>
            <c:idx val="1023"/>
            <c:spPr>
              <a:solidFill>
                <a:srgbClr val="AEABAB"/>
              </a:solidFill>
            </c:spPr>
          </c:dPt>
          <c:dPt>
            <c:idx val="1024"/>
            <c:spPr>
              <a:solidFill>
                <a:srgbClr val="AEABAB"/>
              </a:solidFill>
            </c:spPr>
          </c:dPt>
          <c:dPt>
            <c:idx val="1025"/>
            <c:spPr>
              <a:solidFill>
                <a:srgbClr val="AEABAB"/>
              </a:solidFill>
            </c:spPr>
          </c:dPt>
          <c:dPt>
            <c:idx val="1026"/>
            <c:spPr>
              <a:solidFill>
                <a:srgbClr val="AEABAB"/>
              </a:solidFill>
            </c:spPr>
          </c:dPt>
          <c:dPt>
            <c:idx val="1027"/>
            <c:spPr>
              <a:solidFill>
                <a:srgbClr val="AEABAB"/>
              </a:solidFill>
            </c:spPr>
          </c:dPt>
          <c:dPt>
            <c:idx val="1028"/>
            <c:spPr>
              <a:solidFill>
                <a:srgbClr val="AEABAB"/>
              </a:solidFill>
            </c:spPr>
          </c:dPt>
          <c:dPt>
            <c:idx val="1029"/>
            <c:spPr>
              <a:solidFill>
                <a:srgbClr val="AEABAB"/>
              </a:solidFill>
            </c:spPr>
          </c:dPt>
          <c:dPt>
            <c:idx val="1030"/>
            <c:spPr>
              <a:solidFill>
                <a:srgbClr val="AEABAB"/>
              </a:solidFill>
            </c:spPr>
          </c:dPt>
          <c:dPt>
            <c:idx val="1031"/>
            <c:spPr>
              <a:solidFill>
                <a:srgbClr val="AEABAB"/>
              </a:solidFill>
            </c:spPr>
          </c:dPt>
          <c:dPt>
            <c:idx val="1032"/>
            <c:spPr>
              <a:solidFill>
                <a:srgbClr val="AEABAB"/>
              </a:solidFill>
            </c:spPr>
          </c:dPt>
          <c:dPt>
            <c:idx val="1033"/>
            <c:spPr>
              <a:solidFill>
                <a:srgbClr val="AEABAB"/>
              </a:solidFill>
            </c:spPr>
          </c:dPt>
          <c:dPt>
            <c:idx val="1034"/>
            <c:spPr>
              <a:solidFill>
                <a:srgbClr val="AEABAB"/>
              </a:solidFill>
            </c:spPr>
          </c:dPt>
          <c:dPt>
            <c:idx val="1035"/>
            <c:spPr>
              <a:solidFill>
                <a:srgbClr val="AEABAB"/>
              </a:solidFill>
            </c:spPr>
          </c:dPt>
          <c:dPt>
            <c:idx val="1036"/>
            <c:spPr>
              <a:solidFill>
                <a:srgbClr val="AEABAB"/>
              </a:solidFill>
            </c:spPr>
          </c:dPt>
          <c:dPt>
            <c:idx val="1037"/>
            <c:spPr>
              <a:solidFill>
                <a:srgbClr val="AEABAB"/>
              </a:solidFill>
            </c:spPr>
          </c:dPt>
          <c:dPt>
            <c:idx val="1038"/>
            <c:spPr>
              <a:solidFill>
                <a:srgbClr val="AEABAB"/>
              </a:solidFill>
            </c:spPr>
          </c:dPt>
          <c:dPt>
            <c:idx val="1039"/>
            <c:spPr>
              <a:solidFill>
                <a:srgbClr val="AEABAB"/>
              </a:solidFill>
            </c:spPr>
          </c:dPt>
          <c:dPt>
            <c:idx val="1040"/>
            <c:spPr>
              <a:solidFill>
                <a:srgbClr val="AEABAB"/>
              </a:solidFill>
            </c:spPr>
          </c:dPt>
          <c:dPt>
            <c:idx val="1041"/>
            <c:spPr>
              <a:solidFill>
                <a:srgbClr val="AEABAB"/>
              </a:solidFill>
            </c:spPr>
          </c:dPt>
          <c:dPt>
            <c:idx val="1042"/>
            <c:spPr>
              <a:solidFill>
                <a:srgbClr val="AEABAB"/>
              </a:solidFill>
            </c:spPr>
          </c:dPt>
          <c:dPt>
            <c:idx val="1043"/>
            <c:spPr>
              <a:solidFill>
                <a:srgbClr val="AEABAB"/>
              </a:solidFill>
            </c:spPr>
          </c:dPt>
          <c:dPt>
            <c:idx val="1044"/>
            <c:spPr>
              <a:solidFill>
                <a:srgbClr val="AEABAB"/>
              </a:solidFill>
            </c:spPr>
          </c:dPt>
          <c:dPt>
            <c:idx val="1045"/>
            <c:spPr>
              <a:solidFill>
                <a:srgbClr val="AEABAB"/>
              </a:solidFill>
            </c:spPr>
          </c:dPt>
          <c:dPt>
            <c:idx val="1046"/>
            <c:spPr>
              <a:solidFill>
                <a:srgbClr val="AEABAB"/>
              </a:solidFill>
            </c:spPr>
          </c:dPt>
          <c:dPt>
            <c:idx val="1047"/>
            <c:spPr>
              <a:solidFill>
                <a:srgbClr val="AEABAB"/>
              </a:solidFill>
            </c:spPr>
          </c:dPt>
          <c:dPt>
            <c:idx val="1048"/>
            <c:spPr>
              <a:solidFill>
                <a:srgbClr val="AEABAB"/>
              </a:solidFill>
            </c:spPr>
          </c:dPt>
          <c:dPt>
            <c:idx val="1049"/>
            <c:spPr>
              <a:solidFill>
                <a:srgbClr val="AEABAB"/>
              </a:solidFill>
            </c:spPr>
          </c:dPt>
          <c:dPt>
            <c:idx val="1050"/>
            <c:spPr>
              <a:solidFill>
                <a:srgbClr val="AEABAB"/>
              </a:solidFill>
            </c:spPr>
          </c:dPt>
          <c:dPt>
            <c:idx val="1051"/>
            <c:spPr>
              <a:solidFill>
                <a:srgbClr val="AEABAB"/>
              </a:solidFill>
            </c:spPr>
          </c:dPt>
          <c:dPt>
            <c:idx val="1052"/>
            <c:spPr>
              <a:solidFill>
                <a:srgbClr val="AEABAB"/>
              </a:solidFill>
            </c:spPr>
          </c:dPt>
          <c:dPt>
            <c:idx val="1053"/>
            <c:spPr>
              <a:solidFill>
                <a:srgbClr val="AEABAB"/>
              </a:solidFill>
            </c:spPr>
          </c:dPt>
          <c:dPt>
            <c:idx val="1054"/>
            <c:spPr>
              <a:solidFill>
                <a:srgbClr val="AEABAB"/>
              </a:solidFill>
            </c:spPr>
          </c:dPt>
          <c:dPt>
            <c:idx val="1055"/>
            <c:spPr>
              <a:solidFill>
                <a:srgbClr val="AEABAB"/>
              </a:solidFill>
            </c:spPr>
          </c:dPt>
          <c:dPt>
            <c:idx val="1056"/>
            <c:spPr>
              <a:solidFill>
                <a:srgbClr val="AEABAB"/>
              </a:solidFill>
            </c:spPr>
          </c:dPt>
          <c:dPt>
            <c:idx val="1057"/>
            <c:spPr>
              <a:solidFill>
                <a:srgbClr val="AEABAB"/>
              </a:solidFill>
            </c:spPr>
          </c:dPt>
          <c:dPt>
            <c:idx val="1058"/>
            <c:spPr>
              <a:solidFill>
                <a:srgbClr val="AEABAB"/>
              </a:solidFill>
            </c:spPr>
          </c:dPt>
          <c:dPt>
            <c:idx val="1059"/>
            <c:spPr>
              <a:solidFill>
                <a:srgbClr val="AEABAB"/>
              </a:solidFill>
            </c:spPr>
          </c:dPt>
          <c:dPt>
            <c:idx val="1060"/>
            <c:spPr>
              <a:solidFill>
                <a:srgbClr val="AEABAB"/>
              </a:solidFill>
            </c:spPr>
          </c:dPt>
          <c:dPt>
            <c:idx val="1061"/>
            <c:spPr>
              <a:solidFill>
                <a:srgbClr val="AEABAB"/>
              </a:solidFill>
            </c:spPr>
          </c:dPt>
          <c:dPt>
            <c:idx val="1062"/>
            <c:spPr>
              <a:solidFill>
                <a:srgbClr val="AEABAB"/>
              </a:solidFill>
            </c:spPr>
          </c:dPt>
          <c:dPt>
            <c:idx val="1063"/>
            <c:spPr>
              <a:solidFill>
                <a:srgbClr val="AEABAB"/>
              </a:solidFill>
            </c:spPr>
          </c:dPt>
          <c:dPt>
            <c:idx val="1064"/>
            <c:spPr>
              <a:solidFill>
                <a:srgbClr val="AEABAB"/>
              </a:solidFill>
            </c:spPr>
          </c:dPt>
          <c:dPt>
            <c:idx val="1065"/>
            <c:spPr>
              <a:solidFill>
                <a:srgbClr val="AEABAB"/>
              </a:solidFill>
            </c:spPr>
          </c:dPt>
          <c:dPt>
            <c:idx val="1066"/>
            <c:spPr>
              <a:solidFill>
                <a:srgbClr val="AEABAB"/>
              </a:solidFill>
            </c:spPr>
          </c:dPt>
          <c:dPt>
            <c:idx val="1067"/>
            <c:spPr>
              <a:solidFill>
                <a:srgbClr val="AEABAB"/>
              </a:solidFill>
            </c:spPr>
          </c:dPt>
          <c:dPt>
            <c:idx val="1068"/>
            <c:spPr>
              <a:solidFill>
                <a:srgbClr val="AEABAB"/>
              </a:solidFill>
            </c:spPr>
          </c:dPt>
          <c:dPt>
            <c:idx val="1069"/>
            <c:spPr>
              <a:solidFill>
                <a:srgbClr val="AEABAB"/>
              </a:solidFill>
            </c:spPr>
          </c:dPt>
          <c:dPt>
            <c:idx val="1070"/>
            <c:spPr>
              <a:solidFill>
                <a:srgbClr val="AEABAB"/>
              </a:solidFill>
            </c:spPr>
          </c:dPt>
          <c:dPt>
            <c:idx val="1071"/>
            <c:spPr>
              <a:solidFill>
                <a:srgbClr val="AEABAB"/>
              </a:solidFill>
            </c:spPr>
          </c:dPt>
          <c:dPt>
            <c:idx val="1072"/>
            <c:spPr>
              <a:solidFill>
                <a:srgbClr val="AEABAB"/>
              </a:solidFill>
            </c:spPr>
          </c:dPt>
          <c:dPt>
            <c:idx val="1073"/>
            <c:spPr>
              <a:solidFill>
                <a:srgbClr val="AEABAB"/>
              </a:solidFill>
            </c:spPr>
          </c:dPt>
          <c:dPt>
            <c:idx val="1074"/>
            <c:spPr>
              <a:solidFill>
                <a:srgbClr val="AEABAB"/>
              </a:solidFill>
            </c:spPr>
          </c:dPt>
          <c:dPt>
            <c:idx val="1075"/>
            <c:spPr>
              <a:solidFill>
                <a:srgbClr val="AEABAB"/>
              </a:solidFill>
            </c:spPr>
          </c:dPt>
          <c:dPt>
            <c:idx val="1076"/>
            <c:spPr>
              <a:solidFill>
                <a:srgbClr val="AEABAB"/>
              </a:solidFill>
            </c:spPr>
          </c:dPt>
          <c:dPt>
            <c:idx val="1077"/>
            <c:spPr>
              <a:solidFill>
                <a:srgbClr val="AEABAB"/>
              </a:solidFill>
            </c:spPr>
          </c:dPt>
          <c:dPt>
            <c:idx val="1078"/>
            <c:spPr>
              <a:solidFill>
                <a:srgbClr val="AEABAB"/>
              </a:solidFill>
            </c:spPr>
          </c:dPt>
          <c:dPt>
            <c:idx val="1079"/>
            <c:spPr>
              <a:solidFill>
                <a:srgbClr val="AEABAB"/>
              </a:solidFill>
            </c:spPr>
          </c:dPt>
          <c:dPt>
            <c:idx val="1080"/>
            <c:spPr>
              <a:solidFill>
                <a:srgbClr val="AEABAB"/>
              </a:solidFill>
            </c:spPr>
          </c:dPt>
          <c:dPt>
            <c:idx val="1081"/>
            <c:spPr>
              <a:solidFill>
                <a:srgbClr val="AEABAB"/>
              </a:solidFill>
            </c:spPr>
          </c:dPt>
          <c:dPt>
            <c:idx val="1082"/>
            <c:spPr>
              <a:solidFill>
                <a:srgbClr val="AEABAB"/>
              </a:solidFill>
            </c:spPr>
          </c:dPt>
          <c:dPt>
            <c:idx val="1083"/>
            <c:spPr>
              <a:solidFill>
                <a:srgbClr val="AEABAB"/>
              </a:solidFill>
            </c:spPr>
          </c:dPt>
          <c:dPt>
            <c:idx val="1084"/>
            <c:spPr>
              <a:solidFill>
                <a:srgbClr val="AEABAB"/>
              </a:solidFill>
            </c:spPr>
          </c:dPt>
          <c:dPt>
            <c:idx val="1085"/>
            <c:spPr>
              <a:solidFill>
                <a:srgbClr val="AEABAB"/>
              </a:solidFill>
            </c:spPr>
          </c:dPt>
          <c:dPt>
            <c:idx val="1086"/>
            <c:spPr>
              <a:solidFill>
                <a:srgbClr val="AEABAB"/>
              </a:solidFill>
            </c:spPr>
          </c:dPt>
          <c:dPt>
            <c:idx val="1087"/>
            <c:spPr>
              <a:solidFill>
                <a:srgbClr val="AEABAB"/>
              </a:solidFill>
            </c:spPr>
          </c:dPt>
          <c:dPt>
            <c:idx val="1088"/>
            <c:spPr>
              <a:solidFill>
                <a:srgbClr val="AEABAB"/>
              </a:solidFill>
            </c:spPr>
          </c:dPt>
          <c:dPt>
            <c:idx val="1089"/>
            <c:spPr>
              <a:solidFill>
                <a:srgbClr val="AEABAB"/>
              </a:solidFill>
            </c:spPr>
          </c:dPt>
          <c:dPt>
            <c:idx val="1090"/>
            <c:spPr>
              <a:solidFill>
                <a:srgbClr val="AEABAB"/>
              </a:solidFill>
            </c:spPr>
          </c:dPt>
          <c:dPt>
            <c:idx val="1091"/>
            <c:spPr>
              <a:solidFill>
                <a:srgbClr val="AEABAB"/>
              </a:solidFill>
            </c:spPr>
          </c:dPt>
          <c:dPt>
            <c:idx val="1092"/>
            <c:spPr>
              <a:solidFill>
                <a:srgbClr val="AEABAB"/>
              </a:solidFill>
            </c:spPr>
          </c:dPt>
          <c:dPt>
            <c:idx val="1093"/>
            <c:spPr>
              <a:solidFill>
                <a:srgbClr val="AEABAB"/>
              </a:solidFill>
            </c:spPr>
          </c:dPt>
          <c:dPt>
            <c:idx val="1094"/>
            <c:spPr>
              <a:solidFill>
                <a:srgbClr val="AEABAB"/>
              </a:solidFill>
            </c:spPr>
          </c:dPt>
          <c:dPt>
            <c:idx val="1095"/>
            <c:spPr>
              <a:solidFill>
                <a:srgbClr val="AEABAB"/>
              </a:solidFill>
            </c:spPr>
          </c:dPt>
          <c:dPt>
            <c:idx val="1096"/>
            <c:spPr>
              <a:solidFill>
                <a:srgbClr val="AEABAB"/>
              </a:solidFill>
            </c:spPr>
          </c:dPt>
          <c:dPt>
            <c:idx val="1097"/>
            <c:spPr>
              <a:solidFill>
                <a:srgbClr val="AEABAB"/>
              </a:solidFill>
            </c:spPr>
          </c:dPt>
          <c:dPt>
            <c:idx val="1098"/>
            <c:spPr>
              <a:solidFill>
                <a:srgbClr val="AEABAB"/>
              </a:solidFill>
            </c:spPr>
          </c:dPt>
          <c:dPt>
            <c:idx val="1099"/>
            <c:spPr>
              <a:solidFill>
                <a:srgbClr val="AEABAB"/>
              </a:solidFill>
            </c:spPr>
          </c:dPt>
          <c:dPt>
            <c:idx val="1100"/>
            <c:spPr>
              <a:solidFill>
                <a:srgbClr val="AEABAB"/>
              </a:solidFill>
            </c:spPr>
          </c:dPt>
          <c:dPt>
            <c:idx val="1101"/>
            <c:spPr>
              <a:solidFill>
                <a:srgbClr val="AEABAB"/>
              </a:solidFill>
            </c:spPr>
          </c:dPt>
          <c:dPt>
            <c:idx val="1102"/>
            <c:spPr>
              <a:solidFill>
                <a:srgbClr val="AEABAB"/>
              </a:solidFill>
            </c:spPr>
          </c:dPt>
          <c:dPt>
            <c:idx val="1103"/>
            <c:spPr>
              <a:solidFill>
                <a:srgbClr val="AEABAB"/>
              </a:solidFill>
            </c:spPr>
          </c:dPt>
          <c:dPt>
            <c:idx val="1104"/>
            <c:spPr>
              <a:solidFill>
                <a:srgbClr val="AEABAB"/>
              </a:solidFill>
            </c:spPr>
          </c:dPt>
          <c:dPt>
            <c:idx val="1105"/>
            <c:spPr>
              <a:solidFill>
                <a:srgbClr val="AEABAB"/>
              </a:solidFill>
            </c:spPr>
          </c:dPt>
          <c:dPt>
            <c:idx val="1106"/>
            <c:spPr>
              <a:solidFill>
                <a:srgbClr val="AEABAB"/>
              </a:solidFill>
            </c:spPr>
          </c:dPt>
          <c:dPt>
            <c:idx val="1107"/>
            <c:spPr>
              <a:solidFill>
                <a:srgbClr val="AEABAB"/>
              </a:solidFill>
            </c:spPr>
          </c:dPt>
          <c:dPt>
            <c:idx val="1108"/>
            <c:spPr>
              <a:solidFill>
                <a:srgbClr val="AEABAB"/>
              </a:solidFill>
            </c:spPr>
          </c:dPt>
          <c:dPt>
            <c:idx val="1109"/>
            <c:spPr>
              <a:solidFill>
                <a:srgbClr val="AEABAB"/>
              </a:solidFill>
            </c:spPr>
          </c:dPt>
          <c:dPt>
            <c:idx val="1110"/>
            <c:spPr>
              <a:solidFill>
                <a:srgbClr val="AEABAB"/>
              </a:solidFill>
            </c:spPr>
          </c:dPt>
          <c:dPt>
            <c:idx val="1111"/>
            <c:spPr>
              <a:solidFill>
                <a:srgbClr val="AEABAB"/>
              </a:solidFill>
            </c:spPr>
          </c:dPt>
          <c:dPt>
            <c:idx val="1112"/>
            <c:spPr>
              <a:solidFill>
                <a:srgbClr val="AEABAB"/>
              </a:solidFill>
            </c:spPr>
          </c:dPt>
          <c:dPt>
            <c:idx val="1113"/>
            <c:spPr>
              <a:solidFill>
                <a:srgbClr val="AEABAB"/>
              </a:solidFill>
            </c:spPr>
          </c:dPt>
          <c:dPt>
            <c:idx val="1114"/>
            <c:spPr>
              <a:solidFill>
                <a:srgbClr val="AEABAB"/>
              </a:solidFill>
            </c:spPr>
          </c:dPt>
          <c:dPt>
            <c:idx val="1115"/>
            <c:spPr>
              <a:solidFill>
                <a:srgbClr val="AEABAB"/>
              </a:solidFill>
            </c:spPr>
          </c:dPt>
          <c:dPt>
            <c:idx val="1116"/>
            <c:spPr>
              <a:solidFill>
                <a:srgbClr val="AEABAB"/>
              </a:solidFill>
            </c:spPr>
          </c:dPt>
          <c:dPt>
            <c:idx val="1117"/>
            <c:spPr>
              <a:solidFill>
                <a:srgbClr val="AEABAB"/>
              </a:solidFill>
            </c:spPr>
          </c:dPt>
          <c:dPt>
            <c:idx val="1118"/>
            <c:spPr>
              <a:solidFill>
                <a:srgbClr val="AEABAB"/>
              </a:solidFill>
            </c:spPr>
          </c:dPt>
          <c:dPt>
            <c:idx val="1119"/>
            <c:spPr>
              <a:solidFill>
                <a:srgbClr val="AEABAB"/>
              </a:solidFill>
            </c:spPr>
          </c:dPt>
          <c:dPt>
            <c:idx val="1120"/>
            <c:spPr>
              <a:solidFill>
                <a:srgbClr val="AEABAB"/>
              </a:solidFill>
            </c:spPr>
          </c:dPt>
          <c:dPt>
            <c:idx val="1121"/>
            <c:spPr>
              <a:solidFill>
                <a:srgbClr val="AEABAB"/>
              </a:solidFill>
            </c:spPr>
          </c:dPt>
          <c:dPt>
            <c:idx val="1122"/>
            <c:spPr>
              <a:solidFill>
                <a:srgbClr val="AEABAB"/>
              </a:solidFill>
            </c:spPr>
          </c:dPt>
          <c:dPt>
            <c:idx val="1123"/>
            <c:spPr>
              <a:solidFill>
                <a:srgbClr val="AEABAB"/>
              </a:solidFill>
            </c:spPr>
          </c:dPt>
          <c:dPt>
            <c:idx val="1124"/>
            <c:spPr>
              <a:solidFill>
                <a:srgbClr val="AEABAB"/>
              </a:solidFill>
            </c:spPr>
          </c:dPt>
          <c:dPt>
            <c:idx val="1125"/>
            <c:spPr>
              <a:solidFill>
                <a:srgbClr val="AEABAB"/>
              </a:solidFill>
            </c:spPr>
          </c:dPt>
          <c:dPt>
            <c:idx val="1126"/>
            <c:spPr>
              <a:solidFill>
                <a:srgbClr val="AEABAB"/>
              </a:solidFill>
            </c:spPr>
          </c:dPt>
          <c:dPt>
            <c:idx val="1127"/>
            <c:spPr>
              <a:solidFill>
                <a:srgbClr val="AEABAB"/>
              </a:solidFill>
            </c:spPr>
          </c:dPt>
          <c:dPt>
            <c:idx val="1128"/>
            <c:spPr>
              <a:solidFill>
                <a:srgbClr val="AEABAB"/>
              </a:solidFill>
            </c:spPr>
          </c:dPt>
          <c:dPt>
            <c:idx val="1129"/>
            <c:spPr>
              <a:solidFill>
                <a:srgbClr val="AEABAB"/>
              </a:solidFill>
            </c:spPr>
          </c:dPt>
          <c:dPt>
            <c:idx val="1130"/>
            <c:spPr>
              <a:solidFill>
                <a:srgbClr val="AEABAB"/>
              </a:solidFill>
            </c:spPr>
          </c:dPt>
          <c:dPt>
            <c:idx val="1131"/>
            <c:spPr>
              <a:solidFill>
                <a:srgbClr val="AEABAB"/>
              </a:solidFill>
            </c:spPr>
          </c:dPt>
          <c:dPt>
            <c:idx val="1132"/>
            <c:spPr>
              <a:solidFill>
                <a:srgbClr val="AEABAB"/>
              </a:solidFill>
            </c:spPr>
          </c:dPt>
          <c:dPt>
            <c:idx val="1133"/>
            <c:spPr>
              <a:solidFill>
                <a:srgbClr val="AEABAB"/>
              </a:solidFill>
            </c:spPr>
          </c:dPt>
          <c:dPt>
            <c:idx val="1134"/>
            <c:spPr>
              <a:solidFill>
                <a:srgbClr val="AEABAB"/>
              </a:solidFill>
            </c:spPr>
          </c:dPt>
          <c:dPt>
            <c:idx val="1135"/>
            <c:spPr>
              <a:solidFill>
                <a:srgbClr val="AEABAB"/>
              </a:solidFill>
            </c:spPr>
          </c:dPt>
          <c:dPt>
            <c:idx val="1136"/>
            <c:spPr>
              <a:solidFill>
                <a:srgbClr val="AEABAB"/>
              </a:solidFill>
            </c:spPr>
          </c:dPt>
          <c:dPt>
            <c:idx val="1137"/>
            <c:spPr>
              <a:solidFill>
                <a:srgbClr val="AEABAB"/>
              </a:solidFill>
            </c:spPr>
          </c:dPt>
          <c:dPt>
            <c:idx val="1138"/>
            <c:spPr>
              <a:solidFill>
                <a:srgbClr val="AEABAB"/>
              </a:solidFill>
            </c:spPr>
          </c:dPt>
          <c:dPt>
            <c:idx val="1139"/>
            <c:spPr>
              <a:solidFill>
                <a:srgbClr val="AEABAB"/>
              </a:solidFill>
            </c:spPr>
          </c:dPt>
          <c:dPt>
            <c:idx val="1140"/>
            <c:spPr>
              <a:solidFill>
                <a:srgbClr val="AEABAB"/>
              </a:solidFill>
            </c:spPr>
          </c:dPt>
          <c:dPt>
            <c:idx val="1141"/>
            <c:spPr>
              <a:solidFill>
                <a:srgbClr val="AEABAB"/>
              </a:solidFill>
            </c:spPr>
          </c:dPt>
          <c:dPt>
            <c:idx val="1142"/>
            <c:spPr>
              <a:solidFill>
                <a:srgbClr val="AEABAB"/>
              </a:solidFill>
            </c:spPr>
          </c:dPt>
          <c:dPt>
            <c:idx val="1143"/>
            <c:spPr>
              <a:solidFill>
                <a:srgbClr val="AEABAB"/>
              </a:solidFill>
            </c:spPr>
          </c:dPt>
          <c:dPt>
            <c:idx val="1144"/>
            <c:spPr>
              <a:solidFill>
                <a:srgbClr val="AEABAB"/>
              </a:solidFill>
            </c:spPr>
          </c:dPt>
          <c:dPt>
            <c:idx val="1145"/>
            <c:spPr>
              <a:solidFill>
                <a:srgbClr val="AEABAB"/>
              </a:solidFill>
            </c:spPr>
          </c:dPt>
          <c:dPt>
            <c:idx val="1146"/>
            <c:spPr>
              <a:solidFill>
                <a:srgbClr val="AEABAB"/>
              </a:solidFill>
            </c:spPr>
          </c:dPt>
          <c:dPt>
            <c:idx val="1147"/>
            <c:spPr>
              <a:solidFill>
                <a:srgbClr val="AEABAB"/>
              </a:solidFill>
            </c:spPr>
          </c:dPt>
          <c:dPt>
            <c:idx val="1148"/>
            <c:spPr>
              <a:solidFill>
                <a:srgbClr val="AEABAB"/>
              </a:solidFill>
            </c:spPr>
          </c:dPt>
          <c:dPt>
            <c:idx val="1149"/>
            <c:spPr>
              <a:solidFill>
                <a:srgbClr val="AEABAB"/>
              </a:solidFill>
            </c:spPr>
          </c:dPt>
          <c:dPt>
            <c:idx val="1150"/>
            <c:spPr>
              <a:solidFill>
                <a:srgbClr val="AEABAB"/>
              </a:solidFill>
            </c:spPr>
          </c:dPt>
          <c:dPt>
            <c:idx val="1151"/>
            <c:spPr>
              <a:solidFill>
                <a:srgbClr val="AEABAB"/>
              </a:solidFill>
            </c:spPr>
          </c:dPt>
          <c:dPt>
            <c:idx val="1152"/>
            <c:spPr>
              <a:solidFill>
                <a:srgbClr val="AEABAB"/>
              </a:solidFill>
            </c:spPr>
          </c:dPt>
          <c:dPt>
            <c:idx val="1153"/>
            <c:spPr>
              <a:solidFill>
                <a:srgbClr val="AEABAB"/>
              </a:solidFill>
            </c:spPr>
          </c:dPt>
          <c:dPt>
            <c:idx val="1154"/>
            <c:spPr>
              <a:solidFill>
                <a:srgbClr val="AEABAB"/>
              </a:solidFill>
            </c:spPr>
          </c:dPt>
          <c:dPt>
            <c:idx val="1155"/>
            <c:spPr>
              <a:solidFill>
                <a:srgbClr val="AEABAB"/>
              </a:solidFill>
            </c:spPr>
          </c:dPt>
          <c:dPt>
            <c:idx val="1156"/>
            <c:spPr>
              <a:solidFill>
                <a:srgbClr val="AEABAB"/>
              </a:solidFill>
            </c:spPr>
          </c:dPt>
          <c:dPt>
            <c:idx val="1157"/>
            <c:spPr>
              <a:solidFill>
                <a:srgbClr val="AEABAB"/>
              </a:solidFill>
            </c:spPr>
          </c:dPt>
          <c:dPt>
            <c:idx val="1158"/>
            <c:spPr>
              <a:solidFill>
                <a:srgbClr val="AEABAB"/>
              </a:solidFill>
            </c:spPr>
          </c:dPt>
          <c:dPt>
            <c:idx val="1159"/>
            <c:spPr>
              <a:solidFill>
                <a:srgbClr val="AEABAB"/>
              </a:solidFill>
            </c:spPr>
          </c:dPt>
          <c:dPt>
            <c:idx val="1160"/>
            <c:spPr>
              <a:solidFill>
                <a:srgbClr val="AEABAB"/>
              </a:solidFill>
            </c:spPr>
          </c:dPt>
          <c:dPt>
            <c:idx val="1161"/>
            <c:spPr>
              <a:solidFill>
                <a:srgbClr val="AEABAB"/>
              </a:solidFill>
            </c:spPr>
          </c:dPt>
          <c:dPt>
            <c:idx val="1162"/>
            <c:spPr>
              <a:solidFill>
                <a:srgbClr val="AEABAB"/>
              </a:solidFill>
            </c:spPr>
          </c:dPt>
          <c:dPt>
            <c:idx val="1163"/>
            <c:spPr>
              <a:solidFill>
                <a:srgbClr val="AEABAB"/>
              </a:solidFill>
            </c:spPr>
          </c:dPt>
          <c:dPt>
            <c:idx val="1164"/>
            <c:spPr>
              <a:solidFill>
                <a:srgbClr val="AEABAB"/>
              </a:solidFill>
            </c:spPr>
          </c:dPt>
          <c:dPt>
            <c:idx val="1165"/>
            <c:spPr>
              <a:solidFill>
                <a:srgbClr val="AEABAB"/>
              </a:solidFill>
            </c:spPr>
          </c:dPt>
          <c:dPt>
            <c:idx val="1166"/>
            <c:spPr>
              <a:solidFill>
                <a:srgbClr val="AEABAB"/>
              </a:solidFill>
            </c:spPr>
          </c:dPt>
          <c:dPt>
            <c:idx val="1167"/>
            <c:spPr>
              <a:solidFill>
                <a:srgbClr val="AEABAB"/>
              </a:solidFill>
            </c:spPr>
          </c:dPt>
          <c:dPt>
            <c:idx val="1168"/>
            <c:spPr>
              <a:solidFill>
                <a:srgbClr val="AEABAB"/>
              </a:solidFill>
            </c:spPr>
          </c:dPt>
          <c:dPt>
            <c:idx val="1169"/>
            <c:spPr>
              <a:solidFill>
                <a:srgbClr val="AEABAB"/>
              </a:solidFill>
            </c:spPr>
          </c:dPt>
          <c:dPt>
            <c:idx val="1170"/>
            <c:spPr>
              <a:solidFill>
                <a:srgbClr val="AEABAB"/>
              </a:solidFill>
            </c:spPr>
          </c:dPt>
          <c:dPt>
            <c:idx val="1171"/>
            <c:spPr>
              <a:solidFill>
                <a:srgbClr val="AEABAB"/>
              </a:solidFill>
            </c:spPr>
          </c:dPt>
          <c:dPt>
            <c:idx val="1172"/>
            <c:spPr>
              <a:solidFill>
                <a:srgbClr val="AEABAB"/>
              </a:solidFill>
            </c:spPr>
          </c:dPt>
          <c:dPt>
            <c:idx val="1173"/>
            <c:spPr>
              <a:solidFill>
                <a:srgbClr val="AEABAB"/>
              </a:solidFill>
            </c:spPr>
          </c:dPt>
          <c:dPt>
            <c:idx val="1174"/>
            <c:spPr>
              <a:solidFill>
                <a:srgbClr val="AEABAB"/>
              </a:solidFill>
            </c:spPr>
          </c:dPt>
          <c:dPt>
            <c:idx val="1175"/>
            <c:spPr>
              <a:solidFill>
                <a:srgbClr val="AEABAB"/>
              </a:solidFill>
            </c:spPr>
          </c:dPt>
          <c:dPt>
            <c:idx val="1176"/>
            <c:spPr>
              <a:solidFill>
                <a:srgbClr val="AEABAB"/>
              </a:solidFill>
            </c:spPr>
          </c:dPt>
          <c:dPt>
            <c:idx val="1177"/>
            <c:spPr>
              <a:solidFill>
                <a:srgbClr val="AEABAB"/>
              </a:solidFill>
            </c:spPr>
          </c:dPt>
          <c:dPt>
            <c:idx val="1178"/>
            <c:spPr>
              <a:solidFill>
                <a:srgbClr val="AEABAB"/>
              </a:solidFill>
            </c:spPr>
          </c:dPt>
          <c:dPt>
            <c:idx val="1179"/>
            <c:spPr>
              <a:solidFill>
                <a:srgbClr val="AEABAB"/>
              </a:solidFill>
            </c:spPr>
          </c:dPt>
          <c:dPt>
            <c:idx val="1180"/>
            <c:spPr>
              <a:solidFill>
                <a:srgbClr val="AEABAB"/>
              </a:solidFill>
            </c:spPr>
          </c:dPt>
          <c:dPt>
            <c:idx val="1181"/>
            <c:spPr>
              <a:solidFill>
                <a:srgbClr val="AEABAB"/>
              </a:solidFill>
            </c:spPr>
          </c:dPt>
          <c:dPt>
            <c:idx val="1182"/>
            <c:spPr>
              <a:solidFill>
                <a:srgbClr val="AEABAB"/>
              </a:solidFill>
            </c:spPr>
          </c:dPt>
          <c:dPt>
            <c:idx val="1183"/>
            <c:spPr>
              <a:solidFill>
                <a:srgbClr val="AEABAB"/>
              </a:solidFill>
            </c:spPr>
          </c:dPt>
          <c:dPt>
            <c:idx val="1184"/>
            <c:spPr>
              <a:solidFill>
                <a:srgbClr val="AEABAB"/>
              </a:solidFill>
            </c:spPr>
          </c:dPt>
          <c:dPt>
            <c:idx val="1185"/>
            <c:spPr>
              <a:solidFill>
                <a:srgbClr val="AEABAB"/>
              </a:solidFill>
            </c:spPr>
          </c:dPt>
          <c:dPt>
            <c:idx val="1186"/>
            <c:spPr>
              <a:solidFill>
                <a:srgbClr val="AEABAB"/>
              </a:solidFill>
            </c:spPr>
          </c:dPt>
          <c:dPt>
            <c:idx val="1187"/>
            <c:spPr>
              <a:solidFill>
                <a:srgbClr val="AEABAB"/>
              </a:solidFill>
            </c:spPr>
          </c:dPt>
          <c:dPt>
            <c:idx val="1188"/>
            <c:spPr>
              <a:solidFill>
                <a:srgbClr val="AEABAB"/>
              </a:solidFill>
            </c:spPr>
          </c:dPt>
          <c:dPt>
            <c:idx val="1189"/>
            <c:spPr>
              <a:solidFill>
                <a:srgbClr val="AEABAB"/>
              </a:solidFill>
            </c:spPr>
          </c:dPt>
          <c:dPt>
            <c:idx val="1190"/>
            <c:spPr>
              <a:solidFill>
                <a:srgbClr val="AEABAB"/>
              </a:solidFill>
            </c:spPr>
          </c:dPt>
          <c:dPt>
            <c:idx val="1191"/>
            <c:spPr>
              <a:solidFill>
                <a:srgbClr val="AEABAB"/>
              </a:solidFill>
            </c:spPr>
          </c:dPt>
          <c:dPt>
            <c:idx val="1192"/>
            <c:spPr>
              <a:solidFill>
                <a:srgbClr val="AEABAB"/>
              </a:solidFill>
            </c:spPr>
          </c:dPt>
          <c:dPt>
            <c:idx val="1193"/>
            <c:spPr>
              <a:solidFill>
                <a:srgbClr val="AEABAB"/>
              </a:solidFill>
            </c:spPr>
          </c:dPt>
          <c:dPt>
            <c:idx val="1194"/>
            <c:spPr>
              <a:solidFill>
                <a:srgbClr val="AEABAB"/>
              </a:solidFill>
            </c:spPr>
          </c:dPt>
          <c:dPt>
            <c:idx val="1195"/>
            <c:spPr>
              <a:solidFill>
                <a:srgbClr val="AEABAB"/>
              </a:solidFill>
            </c:spPr>
          </c:dPt>
          <c:dPt>
            <c:idx val="1196"/>
            <c:spPr>
              <a:solidFill>
                <a:srgbClr val="AEABAB"/>
              </a:solidFill>
            </c:spPr>
          </c:dPt>
          <c:dPt>
            <c:idx val="1197"/>
            <c:spPr>
              <a:solidFill>
                <a:srgbClr val="AEABAB"/>
              </a:solidFill>
            </c:spPr>
          </c:dPt>
          <c:dPt>
            <c:idx val="1198"/>
            <c:spPr>
              <a:solidFill>
                <a:srgbClr val="AEABAB"/>
              </a:solidFill>
            </c:spPr>
          </c:dPt>
          <c:dPt>
            <c:idx val="1199"/>
            <c:spPr>
              <a:solidFill>
                <a:srgbClr val="AEABAB"/>
              </a:solidFill>
            </c:spPr>
          </c:dPt>
          <c:dPt>
            <c:idx val="1200"/>
            <c:spPr>
              <a:solidFill>
                <a:srgbClr val="AEABAB"/>
              </a:solidFill>
            </c:spPr>
          </c:dPt>
          <c:dPt>
            <c:idx val="1201"/>
            <c:spPr>
              <a:solidFill>
                <a:srgbClr val="AEABAB"/>
              </a:solidFill>
            </c:spPr>
          </c:dPt>
          <c:dPt>
            <c:idx val="1202"/>
            <c:spPr>
              <a:solidFill>
                <a:srgbClr val="AEABAB"/>
              </a:solidFill>
            </c:spPr>
          </c:dPt>
          <c:dPt>
            <c:idx val="1203"/>
            <c:spPr>
              <a:solidFill>
                <a:srgbClr val="AEABAB"/>
              </a:solidFill>
            </c:spPr>
          </c:dPt>
          <c:dPt>
            <c:idx val="1204"/>
            <c:spPr>
              <a:solidFill>
                <a:srgbClr val="AEABAB"/>
              </a:solidFill>
            </c:spPr>
          </c:dPt>
          <c:dPt>
            <c:idx val="1205"/>
            <c:spPr>
              <a:solidFill>
                <a:srgbClr val="AEABAB"/>
              </a:solidFill>
            </c:spPr>
          </c:dPt>
          <c:dPt>
            <c:idx val="1206"/>
            <c:spPr>
              <a:solidFill>
                <a:srgbClr val="AEABAB"/>
              </a:solidFill>
            </c:spPr>
          </c:dPt>
          <c:dPt>
            <c:idx val="1207"/>
            <c:spPr>
              <a:solidFill>
                <a:srgbClr val="AEABAB"/>
              </a:solidFill>
            </c:spPr>
          </c:dPt>
          <c:dPt>
            <c:idx val="1208"/>
            <c:spPr>
              <a:solidFill>
                <a:srgbClr val="AEABAB"/>
              </a:solidFill>
            </c:spPr>
          </c:dPt>
          <c:dPt>
            <c:idx val="1209"/>
            <c:spPr>
              <a:solidFill>
                <a:srgbClr val="AEABAB"/>
              </a:solidFill>
            </c:spPr>
          </c:dPt>
          <c:dPt>
            <c:idx val="1210"/>
            <c:spPr>
              <a:solidFill>
                <a:srgbClr val="AEABAB"/>
              </a:solidFill>
            </c:spPr>
          </c:dPt>
          <c:dPt>
            <c:idx val="1211"/>
            <c:spPr>
              <a:solidFill>
                <a:srgbClr val="AEABAB"/>
              </a:solidFill>
            </c:spPr>
          </c:dPt>
          <c:dPt>
            <c:idx val="1212"/>
            <c:spPr>
              <a:solidFill>
                <a:srgbClr val="AEABAB"/>
              </a:solidFill>
            </c:spPr>
          </c:dPt>
          <c:dPt>
            <c:idx val="1213"/>
            <c:spPr>
              <a:solidFill>
                <a:srgbClr val="AEABAB"/>
              </a:solidFill>
            </c:spPr>
          </c:dPt>
          <c:dPt>
            <c:idx val="1214"/>
            <c:spPr>
              <a:solidFill>
                <a:srgbClr val="AEABAB"/>
              </a:solidFill>
            </c:spPr>
          </c:dPt>
          <c:dPt>
            <c:idx val="1215"/>
            <c:spPr>
              <a:solidFill>
                <a:srgbClr val="AEABAB"/>
              </a:solidFill>
            </c:spPr>
          </c:dPt>
          <c:dPt>
            <c:idx val="1216"/>
            <c:spPr>
              <a:solidFill>
                <a:srgbClr val="AEABAB"/>
              </a:solidFill>
            </c:spPr>
          </c:dPt>
          <c:dPt>
            <c:idx val="1217"/>
            <c:spPr>
              <a:solidFill>
                <a:srgbClr val="AEABAB"/>
              </a:solidFill>
            </c:spPr>
          </c:dPt>
          <c:dPt>
            <c:idx val="1218"/>
            <c:spPr>
              <a:solidFill>
                <a:srgbClr val="AEABAB"/>
              </a:solidFill>
            </c:spPr>
          </c:dPt>
          <c:dPt>
            <c:idx val="1219"/>
            <c:spPr>
              <a:solidFill>
                <a:srgbClr val="AEABAB"/>
              </a:solidFill>
            </c:spPr>
          </c:dPt>
          <c:dPt>
            <c:idx val="1220"/>
            <c:spPr>
              <a:solidFill>
                <a:srgbClr val="AEABAB"/>
              </a:solidFill>
            </c:spPr>
          </c:dPt>
          <c:dPt>
            <c:idx val="1221"/>
            <c:spPr>
              <a:solidFill>
                <a:srgbClr val="AEABAB"/>
              </a:solidFill>
            </c:spPr>
          </c:dPt>
          <c:dPt>
            <c:idx val="1222"/>
            <c:spPr>
              <a:solidFill>
                <a:srgbClr val="AEABAB"/>
              </a:solidFill>
            </c:spPr>
          </c:dPt>
          <c:dPt>
            <c:idx val="1223"/>
            <c:spPr>
              <a:solidFill>
                <a:srgbClr val="AEABAB"/>
              </a:solidFill>
            </c:spPr>
          </c:dPt>
          <c:dPt>
            <c:idx val="1224"/>
            <c:spPr>
              <a:solidFill>
                <a:srgbClr val="AEABAB"/>
              </a:solidFill>
            </c:spPr>
          </c:dPt>
          <c:dPt>
            <c:idx val="1225"/>
            <c:spPr>
              <a:solidFill>
                <a:srgbClr val="AEABAB"/>
              </a:solidFill>
            </c:spPr>
          </c:dPt>
          <c:dPt>
            <c:idx val="1226"/>
            <c:spPr>
              <a:solidFill>
                <a:srgbClr val="AEABAB"/>
              </a:solidFill>
            </c:spPr>
          </c:dPt>
          <c:dPt>
            <c:idx val="1227"/>
            <c:spPr>
              <a:solidFill>
                <a:srgbClr val="AEABAB"/>
              </a:solidFill>
            </c:spPr>
          </c:dPt>
          <c:dPt>
            <c:idx val="1228"/>
            <c:spPr>
              <a:solidFill>
                <a:srgbClr val="AEABAB"/>
              </a:solidFill>
            </c:spPr>
          </c:dPt>
          <c:dPt>
            <c:idx val="1229"/>
            <c:spPr>
              <a:solidFill>
                <a:srgbClr val="AEABAB"/>
              </a:solidFill>
            </c:spPr>
          </c:dPt>
          <c:dPt>
            <c:idx val="1230"/>
            <c:spPr>
              <a:solidFill>
                <a:srgbClr val="AEABAB"/>
              </a:solidFill>
            </c:spPr>
          </c:dPt>
          <c:dPt>
            <c:idx val="1231"/>
            <c:spPr>
              <a:solidFill>
                <a:srgbClr val="AEABAB"/>
              </a:solidFill>
            </c:spPr>
          </c:dPt>
          <c:dPt>
            <c:idx val="1232"/>
            <c:spPr>
              <a:solidFill>
                <a:srgbClr val="AEABAB"/>
              </a:solidFill>
            </c:spPr>
          </c:dPt>
          <c:dPt>
            <c:idx val="1233"/>
            <c:spPr>
              <a:solidFill>
                <a:srgbClr val="AEABAB"/>
              </a:solidFill>
            </c:spPr>
          </c:dPt>
          <c:dPt>
            <c:idx val="1234"/>
            <c:spPr>
              <a:solidFill>
                <a:srgbClr val="AEABAB"/>
              </a:solidFill>
            </c:spPr>
          </c:dPt>
          <c:dPt>
            <c:idx val="1235"/>
            <c:spPr>
              <a:solidFill>
                <a:srgbClr val="AEABAB"/>
              </a:solidFill>
            </c:spPr>
          </c:dPt>
          <c:dPt>
            <c:idx val="1236"/>
            <c:spPr>
              <a:solidFill>
                <a:srgbClr val="AEABAB"/>
              </a:solidFill>
            </c:spPr>
          </c:dPt>
          <c:dPt>
            <c:idx val="1237"/>
            <c:spPr>
              <a:solidFill>
                <a:srgbClr val="AEABAB"/>
              </a:solidFill>
            </c:spPr>
          </c:dPt>
          <c:dPt>
            <c:idx val="1238"/>
            <c:spPr>
              <a:solidFill>
                <a:srgbClr val="AEABAB"/>
              </a:solidFill>
            </c:spPr>
          </c:dPt>
          <c:dPt>
            <c:idx val="1239"/>
            <c:spPr>
              <a:solidFill>
                <a:srgbClr val="AEABAB"/>
              </a:solidFill>
            </c:spPr>
          </c:dPt>
          <c:dPt>
            <c:idx val="1240"/>
            <c:spPr>
              <a:solidFill>
                <a:srgbClr val="AEABAB"/>
              </a:solidFill>
            </c:spPr>
          </c:dPt>
          <c:dPt>
            <c:idx val="1241"/>
            <c:spPr>
              <a:solidFill>
                <a:srgbClr val="AEABAB"/>
              </a:solidFill>
            </c:spPr>
          </c:dPt>
          <c:dPt>
            <c:idx val="1242"/>
            <c:spPr>
              <a:solidFill>
                <a:srgbClr val="AEABAB"/>
              </a:solidFill>
            </c:spPr>
          </c:dPt>
          <c:dPt>
            <c:idx val="1243"/>
            <c:spPr>
              <a:solidFill>
                <a:srgbClr val="AEABAB"/>
              </a:solidFill>
            </c:spPr>
          </c:dPt>
          <c:dPt>
            <c:idx val="1244"/>
            <c:spPr>
              <a:solidFill>
                <a:srgbClr val="AEABAB"/>
              </a:solidFill>
            </c:spPr>
          </c:dPt>
          <c:dPt>
            <c:idx val="1245"/>
            <c:spPr>
              <a:solidFill>
                <a:srgbClr val="AEABAB"/>
              </a:solidFill>
            </c:spPr>
          </c:dPt>
          <c:dPt>
            <c:idx val="1246"/>
            <c:spPr>
              <a:solidFill>
                <a:srgbClr val="AEABAB"/>
              </a:solidFill>
            </c:spPr>
          </c:dPt>
          <c:dPt>
            <c:idx val="1247"/>
            <c:spPr>
              <a:solidFill>
                <a:srgbClr val="AEABAB"/>
              </a:solidFill>
            </c:spPr>
          </c:dPt>
          <c:dPt>
            <c:idx val="1248"/>
            <c:spPr>
              <a:solidFill>
                <a:srgbClr val="AEABAB"/>
              </a:solidFill>
            </c:spPr>
          </c:dPt>
          <c:dPt>
            <c:idx val="1249"/>
            <c:spPr>
              <a:solidFill>
                <a:srgbClr val="AEABAB"/>
              </a:solidFill>
            </c:spPr>
          </c:dPt>
          <c:dPt>
            <c:idx val="1250"/>
            <c:spPr>
              <a:solidFill>
                <a:srgbClr val="AEABAB"/>
              </a:solidFill>
            </c:spPr>
          </c:dPt>
          <c:dPt>
            <c:idx val="1251"/>
            <c:spPr>
              <a:solidFill>
                <a:srgbClr val="AEABAB"/>
              </a:solidFill>
            </c:spPr>
          </c:dPt>
          <c:dPt>
            <c:idx val="1252"/>
            <c:spPr>
              <a:solidFill>
                <a:srgbClr val="AEABAB"/>
              </a:solidFill>
            </c:spPr>
          </c:dPt>
          <c:dPt>
            <c:idx val="1253"/>
            <c:spPr>
              <a:solidFill>
                <a:srgbClr val="AEABAB"/>
              </a:solidFill>
            </c:spPr>
          </c:dPt>
          <c:dPt>
            <c:idx val="1254"/>
            <c:spPr>
              <a:solidFill>
                <a:srgbClr val="AEABAB"/>
              </a:solidFill>
            </c:spPr>
          </c:dPt>
          <c:dPt>
            <c:idx val="1255"/>
            <c:spPr>
              <a:solidFill>
                <a:srgbClr val="AEABAB"/>
              </a:solidFill>
            </c:spPr>
          </c:dPt>
          <c:dPt>
            <c:idx val="1256"/>
            <c:spPr>
              <a:solidFill>
                <a:srgbClr val="AEABAB"/>
              </a:solidFill>
            </c:spPr>
          </c:dPt>
          <c:dPt>
            <c:idx val="1257"/>
            <c:spPr>
              <a:solidFill>
                <a:srgbClr val="AEABAB"/>
              </a:solidFill>
            </c:spPr>
          </c:dPt>
          <c:dPt>
            <c:idx val="1258"/>
            <c:spPr>
              <a:solidFill>
                <a:srgbClr val="AEABAB"/>
              </a:solidFill>
            </c:spPr>
          </c:dPt>
          <c:dPt>
            <c:idx val="1259"/>
            <c:spPr>
              <a:solidFill>
                <a:srgbClr val="AEABAB"/>
              </a:solidFill>
            </c:spPr>
          </c:dPt>
          <c:dPt>
            <c:idx val="1260"/>
            <c:spPr>
              <a:solidFill>
                <a:srgbClr val="AEABAB"/>
              </a:solidFill>
            </c:spPr>
          </c:dPt>
          <c:dPt>
            <c:idx val="1261"/>
            <c:spPr>
              <a:solidFill>
                <a:srgbClr val="AEABAB"/>
              </a:solidFill>
            </c:spPr>
          </c:dPt>
          <c:dPt>
            <c:idx val="1262"/>
            <c:spPr>
              <a:solidFill>
                <a:srgbClr val="AEABAB"/>
              </a:solidFill>
            </c:spPr>
          </c:dPt>
          <c:dPt>
            <c:idx val="1263"/>
            <c:spPr>
              <a:solidFill>
                <a:srgbClr val="AEABAB"/>
              </a:solidFill>
            </c:spPr>
          </c:dPt>
          <c:dPt>
            <c:idx val="1264"/>
            <c:spPr>
              <a:solidFill>
                <a:srgbClr val="AEABAB"/>
              </a:solidFill>
            </c:spPr>
          </c:dPt>
          <c:dPt>
            <c:idx val="1265"/>
            <c:spPr>
              <a:solidFill>
                <a:srgbClr val="AEABAB"/>
              </a:solidFill>
            </c:spPr>
          </c:dPt>
          <c:dPt>
            <c:idx val="1266"/>
            <c:spPr>
              <a:solidFill>
                <a:srgbClr val="AEABAB"/>
              </a:solidFill>
            </c:spPr>
          </c:dPt>
          <c:dPt>
            <c:idx val="1267"/>
            <c:spPr>
              <a:solidFill>
                <a:srgbClr val="AEABAB"/>
              </a:solidFill>
            </c:spPr>
          </c:dPt>
          <c:dPt>
            <c:idx val="1268"/>
            <c:spPr>
              <a:solidFill>
                <a:srgbClr val="AEABAB"/>
              </a:solidFill>
            </c:spPr>
          </c:dPt>
          <c:dPt>
            <c:idx val="1269"/>
            <c:spPr>
              <a:solidFill>
                <a:srgbClr val="AEABAB"/>
              </a:solidFill>
            </c:spPr>
          </c:dPt>
          <c:dPt>
            <c:idx val="1270"/>
            <c:spPr>
              <a:solidFill>
                <a:srgbClr val="AEABAB"/>
              </a:solidFill>
            </c:spPr>
          </c:dPt>
          <c:dPt>
            <c:idx val="1271"/>
            <c:spPr>
              <a:solidFill>
                <a:srgbClr val="AEABAB"/>
              </a:solidFill>
            </c:spPr>
          </c:dPt>
          <c:dPt>
            <c:idx val="1272"/>
            <c:spPr>
              <a:solidFill>
                <a:srgbClr val="AEABAB"/>
              </a:solidFill>
            </c:spPr>
          </c:dPt>
          <c:dPt>
            <c:idx val="1273"/>
            <c:spPr>
              <a:solidFill>
                <a:srgbClr val="AEABAB"/>
              </a:solidFill>
            </c:spPr>
          </c:dPt>
          <c:dPt>
            <c:idx val="1274"/>
            <c:spPr>
              <a:solidFill>
                <a:srgbClr val="AEABAB"/>
              </a:solidFill>
            </c:spPr>
          </c:dPt>
          <c:dPt>
            <c:idx val="1275"/>
            <c:spPr>
              <a:solidFill>
                <a:srgbClr val="AEABAB"/>
              </a:solidFill>
            </c:spPr>
          </c:dPt>
          <c:dPt>
            <c:idx val="1276"/>
            <c:spPr>
              <a:solidFill>
                <a:srgbClr val="AEABAB"/>
              </a:solidFill>
            </c:spPr>
          </c:dPt>
          <c:dPt>
            <c:idx val="1277"/>
            <c:spPr>
              <a:solidFill>
                <a:srgbClr val="AEABAB"/>
              </a:solidFill>
            </c:spPr>
          </c:dPt>
          <c:dPt>
            <c:idx val="1278"/>
            <c:spPr>
              <a:solidFill>
                <a:srgbClr val="AEABAB"/>
              </a:solidFill>
            </c:spPr>
          </c:dPt>
          <c:dPt>
            <c:idx val="1279"/>
            <c:spPr>
              <a:solidFill>
                <a:srgbClr val="AEABAB"/>
              </a:solidFill>
            </c:spPr>
          </c:dPt>
          <c:dPt>
            <c:idx val="1280"/>
            <c:spPr>
              <a:solidFill>
                <a:srgbClr val="AEABAB"/>
              </a:solidFill>
            </c:spPr>
          </c:dPt>
          <c:dPt>
            <c:idx val="1281"/>
            <c:spPr>
              <a:solidFill>
                <a:srgbClr val="AEABAB"/>
              </a:solidFill>
            </c:spPr>
          </c:dPt>
          <c:dPt>
            <c:idx val="1282"/>
            <c:spPr>
              <a:solidFill>
                <a:srgbClr val="AEABAB"/>
              </a:solidFill>
            </c:spPr>
          </c:dPt>
          <c:dPt>
            <c:idx val="1283"/>
            <c:spPr>
              <a:solidFill>
                <a:srgbClr val="AEABAB"/>
              </a:solidFill>
            </c:spPr>
          </c:dPt>
          <c:dPt>
            <c:idx val="1284"/>
            <c:spPr>
              <a:solidFill>
                <a:srgbClr val="AEABAB"/>
              </a:solidFill>
            </c:spPr>
          </c:dPt>
          <c:dPt>
            <c:idx val="1285"/>
            <c:spPr>
              <a:solidFill>
                <a:srgbClr val="AEABAB"/>
              </a:solidFill>
            </c:spPr>
          </c:dPt>
          <c:dPt>
            <c:idx val="1286"/>
            <c:spPr>
              <a:solidFill>
                <a:srgbClr val="AEABAB"/>
              </a:solidFill>
            </c:spPr>
          </c:dPt>
          <c:dPt>
            <c:idx val="1287"/>
            <c:spPr>
              <a:solidFill>
                <a:srgbClr val="AEABAB"/>
              </a:solidFill>
            </c:spPr>
          </c:dPt>
          <c:dPt>
            <c:idx val="1288"/>
            <c:spPr>
              <a:solidFill>
                <a:srgbClr val="AEABAB"/>
              </a:solidFill>
            </c:spPr>
          </c:dPt>
          <c:dPt>
            <c:idx val="1289"/>
            <c:spPr>
              <a:solidFill>
                <a:srgbClr val="AEABAB"/>
              </a:solidFill>
            </c:spPr>
          </c:dPt>
          <c:dPt>
            <c:idx val="1290"/>
            <c:spPr>
              <a:solidFill>
                <a:srgbClr val="AEABAB"/>
              </a:solidFill>
            </c:spPr>
          </c:dPt>
          <c:dPt>
            <c:idx val="1291"/>
            <c:spPr>
              <a:solidFill>
                <a:srgbClr val="AEABAB"/>
              </a:solidFill>
            </c:spPr>
          </c:dPt>
          <c:dPt>
            <c:idx val="1292"/>
            <c:spPr>
              <a:solidFill>
                <a:srgbClr val="AEABAB"/>
              </a:solidFill>
            </c:spPr>
          </c:dPt>
          <c:dPt>
            <c:idx val="1293"/>
            <c:spPr>
              <a:solidFill>
                <a:srgbClr val="AEABAB"/>
              </a:solidFill>
            </c:spPr>
          </c:dPt>
          <c:dPt>
            <c:idx val="1294"/>
            <c:spPr>
              <a:solidFill>
                <a:srgbClr val="AEABAB"/>
              </a:solidFill>
            </c:spPr>
          </c:dPt>
          <c:dPt>
            <c:idx val="1295"/>
            <c:spPr>
              <a:solidFill>
                <a:srgbClr val="AEABAB"/>
              </a:solidFill>
            </c:spPr>
          </c:dPt>
          <c:dPt>
            <c:idx val="1296"/>
            <c:spPr>
              <a:solidFill>
                <a:srgbClr val="AEABAB"/>
              </a:solidFill>
            </c:spPr>
          </c:dPt>
          <c:dPt>
            <c:idx val="1297"/>
            <c:spPr>
              <a:solidFill>
                <a:srgbClr val="AEABAB"/>
              </a:solidFill>
            </c:spPr>
          </c:dPt>
          <c:dPt>
            <c:idx val="1298"/>
            <c:spPr>
              <a:solidFill>
                <a:srgbClr val="AEABAB"/>
              </a:solidFill>
            </c:spPr>
          </c:dPt>
          <c:dPt>
            <c:idx val="1299"/>
            <c:spPr>
              <a:solidFill>
                <a:srgbClr val="AEABAB"/>
              </a:solidFill>
            </c:spPr>
          </c:dPt>
          <c:dPt>
            <c:idx val="1300"/>
            <c:spPr>
              <a:solidFill>
                <a:srgbClr val="AEABAB"/>
              </a:solidFill>
            </c:spPr>
          </c:dPt>
          <c:dPt>
            <c:idx val="1301"/>
            <c:spPr>
              <a:solidFill>
                <a:srgbClr val="AEABAB"/>
              </a:solidFill>
            </c:spPr>
          </c:dPt>
          <c:dPt>
            <c:idx val="1302"/>
            <c:spPr>
              <a:solidFill>
                <a:srgbClr val="AEABAB"/>
              </a:solidFill>
            </c:spPr>
          </c:dPt>
          <c:dPt>
            <c:idx val="1303"/>
            <c:spPr>
              <a:solidFill>
                <a:srgbClr val="AEABAB"/>
              </a:solidFill>
            </c:spPr>
          </c:dPt>
          <c:dPt>
            <c:idx val="1304"/>
            <c:spPr>
              <a:solidFill>
                <a:srgbClr val="AEABAB"/>
              </a:solidFill>
            </c:spPr>
          </c:dPt>
          <c:dPt>
            <c:idx val="1305"/>
            <c:spPr>
              <a:solidFill>
                <a:srgbClr val="AEABAB"/>
              </a:solidFill>
            </c:spPr>
          </c:dPt>
          <c:dPt>
            <c:idx val="1306"/>
            <c:spPr>
              <a:solidFill>
                <a:srgbClr val="AEABAB"/>
              </a:solidFill>
            </c:spPr>
          </c:dPt>
          <c:dPt>
            <c:idx val="1307"/>
            <c:spPr>
              <a:solidFill>
                <a:srgbClr val="AEABAB"/>
              </a:solidFill>
            </c:spPr>
          </c:dPt>
          <c:dPt>
            <c:idx val="1308"/>
            <c:spPr>
              <a:solidFill>
                <a:srgbClr val="AEABAB"/>
              </a:solidFill>
            </c:spPr>
          </c:dPt>
          <c:dPt>
            <c:idx val="1309"/>
            <c:spPr>
              <a:solidFill>
                <a:srgbClr val="AEABAB"/>
              </a:solidFill>
            </c:spPr>
          </c:dPt>
          <c:dPt>
            <c:idx val="1310"/>
            <c:spPr>
              <a:solidFill>
                <a:srgbClr val="AEABAB"/>
              </a:solidFill>
            </c:spPr>
          </c:dPt>
          <c:dPt>
            <c:idx val="1311"/>
            <c:spPr>
              <a:solidFill>
                <a:srgbClr val="AEABAB"/>
              </a:solidFill>
            </c:spPr>
          </c:dPt>
          <c:dPt>
            <c:idx val="1312"/>
            <c:spPr>
              <a:solidFill>
                <a:srgbClr val="AEABAB"/>
              </a:solidFill>
            </c:spPr>
          </c:dPt>
          <c:dPt>
            <c:idx val="1313"/>
            <c:spPr>
              <a:solidFill>
                <a:srgbClr val="AEABAB"/>
              </a:solidFill>
            </c:spPr>
          </c:dPt>
          <c:dPt>
            <c:idx val="1314"/>
            <c:spPr>
              <a:solidFill>
                <a:srgbClr val="AEABAB"/>
              </a:solidFill>
            </c:spPr>
          </c:dPt>
          <c:dPt>
            <c:idx val="1315"/>
            <c:spPr>
              <a:solidFill>
                <a:srgbClr val="AEABAB"/>
              </a:solidFill>
            </c:spPr>
          </c:dPt>
          <c:dPt>
            <c:idx val="1316"/>
            <c:spPr>
              <a:solidFill>
                <a:srgbClr val="AEABAB"/>
              </a:solidFill>
            </c:spPr>
          </c:dPt>
          <c:dPt>
            <c:idx val="1317"/>
            <c:spPr>
              <a:solidFill>
                <a:srgbClr val="AEABAB"/>
              </a:solidFill>
            </c:spPr>
          </c:dPt>
          <c:dPt>
            <c:idx val="1318"/>
            <c:spPr>
              <a:solidFill>
                <a:srgbClr val="AEABAB"/>
              </a:solidFill>
            </c:spPr>
          </c:dPt>
          <c:dPt>
            <c:idx val="1319"/>
            <c:spPr>
              <a:solidFill>
                <a:srgbClr val="AEABAB"/>
              </a:solidFill>
            </c:spPr>
          </c:dPt>
          <c:dPt>
            <c:idx val="1320"/>
            <c:spPr>
              <a:solidFill>
                <a:srgbClr val="AEABAB"/>
              </a:solidFill>
            </c:spPr>
          </c:dPt>
          <c:dPt>
            <c:idx val="1321"/>
            <c:spPr>
              <a:solidFill>
                <a:srgbClr val="AEABAB"/>
              </a:solidFill>
            </c:spPr>
          </c:dPt>
          <c:dPt>
            <c:idx val="1322"/>
            <c:spPr>
              <a:solidFill>
                <a:srgbClr val="AEABAB"/>
              </a:solidFill>
            </c:spPr>
          </c:dPt>
          <c:dPt>
            <c:idx val="1323"/>
            <c:spPr>
              <a:solidFill>
                <a:srgbClr val="AEABAB"/>
              </a:solidFill>
            </c:spPr>
          </c:dPt>
          <c:dPt>
            <c:idx val="1324"/>
            <c:spPr>
              <a:solidFill>
                <a:srgbClr val="AEABAB"/>
              </a:solidFill>
            </c:spPr>
          </c:dPt>
          <c:dPt>
            <c:idx val="1325"/>
            <c:spPr>
              <a:solidFill>
                <a:srgbClr val="AEABAB"/>
              </a:solidFill>
            </c:spPr>
          </c:dPt>
          <c:dPt>
            <c:idx val="1326"/>
            <c:spPr>
              <a:solidFill>
                <a:srgbClr val="AEABAB"/>
              </a:solidFill>
            </c:spPr>
          </c:dPt>
          <c:dPt>
            <c:idx val="1327"/>
            <c:spPr>
              <a:solidFill>
                <a:srgbClr val="AEABAB"/>
              </a:solidFill>
            </c:spPr>
          </c:dPt>
          <c:dPt>
            <c:idx val="1328"/>
            <c:spPr>
              <a:solidFill>
                <a:srgbClr val="AEABAB"/>
              </a:solidFill>
            </c:spPr>
          </c:dPt>
          <c:dPt>
            <c:idx val="1329"/>
            <c:spPr>
              <a:solidFill>
                <a:srgbClr val="AEABAB"/>
              </a:solidFill>
            </c:spPr>
          </c:dPt>
          <c:dPt>
            <c:idx val="1330"/>
            <c:spPr>
              <a:solidFill>
                <a:srgbClr val="AEABAB"/>
              </a:solidFill>
            </c:spPr>
          </c:dPt>
          <c:dPt>
            <c:idx val="1331"/>
            <c:spPr>
              <a:solidFill>
                <a:srgbClr val="AEABAB"/>
              </a:solidFill>
            </c:spPr>
          </c:dPt>
          <c:dPt>
            <c:idx val="1332"/>
            <c:spPr>
              <a:solidFill>
                <a:srgbClr val="AEABAB"/>
              </a:solidFill>
            </c:spPr>
          </c:dPt>
          <c:dPt>
            <c:idx val="1333"/>
            <c:spPr>
              <a:solidFill>
                <a:srgbClr val="AEABAB"/>
              </a:solidFill>
            </c:spPr>
          </c:dPt>
          <c:dPt>
            <c:idx val="1334"/>
            <c:spPr>
              <a:solidFill>
                <a:srgbClr val="AEABAB"/>
              </a:solidFill>
            </c:spPr>
          </c:dPt>
          <c:dPt>
            <c:idx val="1335"/>
            <c:spPr>
              <a:solidFill>
                <a:srgbClr val="AEABAB"/>
              </a:solidFill>
            </c:spPr>
          </c:dPt>
          <c:dPt>
            <c:idx val="1336"/>
            <c:spPr>
              <a:solidFill>
                <a:srgbClr val="AEABAB"/>
              </a:solidFill>
            </c:spPr>
          </c:dPt>
          <c:dPt>
            <c:idx val="1337"/>
            <c:spPr>
              <a:solidFill>
                <a:srgbClr val="AEABAB"/>
              </a:solidFill>
            </c:spPr>
          </c:dPt>
          <c:dPt>
            <c:idx val="1338"/>
            <c:spPr>
              <a:solidFill>
                <a:srgbClr val="AEABAB"/>
              </a:solidFill>
            </c:spPr>
          </c:dPt>
          <c:dPt>
            <c:idx val="1339"/>
            <c:spPr>
              <a:solidFill>
                <a:srgbClr val="AEABAB"/>
              </a:solidFill>
            </c:spPr>
          </c:dPt>
          <c:dPt>
            <c:idx val="1340"/>
            <c:spPr>
              <a:solidFill>
                <a:srgbClr val="AEABAB"/>
              </a:solidFill>
            </c:spPr>
          </c:dPt>
          <c:dPt>
            <c:idx val="1341"/>
            <c:spPr>
              <a:solidFill>
                <a:srgbClr val="AEABAB"/>
              </a:solidFill>
            </c:spPr>
          </c:dPt>
          <c:dPt>
            <c:idx val="1342"/>
            <c:spPr>
              <a:solidFill>
                <a:srgbClr val="AEABAB"/>
              </a:solidFill>
            </c:spPr>
          </c:dPt>
          <c:dPt>
            <c:idx val="1343"/>
            <c:spPr>
              <a:solidFill>
                <a:srgbClr val="AEABAB"/>
              </a:solidFill>
            </c:spPr>
          </c:dPt>
          <c:dPt>
            <c:idx val="1344"/>
            <c:spPr>
              <a:solidFill>
                <a:srgbClr val="AEABAB"/>
              </a:solidFill>
            </c:spPr>
          </c:dPt>
          <c:dPt>
            <c:idx val="1345"/>
            <c:spPr>
              <a:solidFill>
                <a:srgbClr val="AEABAB"/>
              </a:solidFill>
            </c:spPr>
          </c:dPt>
          <c:dPt>
            <c:idx val="1346"/>
            <c:spPr>
              <a:solidFill>
                <a:srgbClr val="AEABAB"/>
              </a:solidFill>
            </c:spPr>
          </c:dPt>
          <c:dPt>
            <c:idx val="1347"/>
            <c:spPr>
              <a:solidFill>
                <a:srgbClr val="AEABAB"/>
              </a:solidFill>
            </c:spPr>
          </c:dPt>
          <c:dPt>
            <c:idx val="1348"/>
            <c:spPr>
              <a:solidFill>
                <a:srgbClr val="AEABAB"/>
              </a:solidFill>
            </c:spPr>
          </c:dPt>
          <c:dPt>
            <c:idx val="1349"/>
            <c:spPr>
              <a:solidFill>
                <a:srgbClr val="AEABAB"/>
              </a:solidFill>
            </c:spPr>
          </c:dPt>
          <c:dPt>
            <c:idx val="1350"/>
            <c:spPr>
              <a:solidFill>
                <a:srgbClr val="AEABAB"/>
              </a:solidFill>
            </c:spPr>
          </c:dPt>
          <c:dPt>
            <c:idx val="1351"/>
            <c:spPr>
              <a:solidFill>
                <a:srgbClr val="AEABAB"/>
              </a:solidFill>
            </c:spPr>
          </c:dPt>
          <c:dPt>
            <c:idx val="1352"/>
            <c:spPr>
              <a:solidFill>
                <a:srgbClr val="AEABAB"/>
              </a:solidFill>
            </c:spPr>
          </c:dPt>
          <c:dPt>
            <c:idx val="1353"/>
            <c:spPr>
              <a:solidFill>
                <a:srgbClr val="AEABAB"/>
              </a:solidFill>
            </c:spPr>
          </c:dPt>
          <c:dPt>
            <c:idx val="1354"/>
            <c:spPr>
              <a:solidFill>
                <a:srgbClr val="AEABAB"/>
              </a:solidFill>
            </c:spPr>
          </c:dPt>
          <c:dPt>
            <c:idx val="1355"/>
            <c:spPr>
              <a:solidFill>
                <a:srgbClr val="AEABAB"/>
              </a:solidFill>
            </c:spPr>
          </c:dPt>
          <c:dPt>
            <c:idx val="1356"/>
            <c:spPr>
              <a:solidFill>
                <a:srgbClr val="AEABAB"/>
              </a:solidFill>
            </c:spPr>
          </c:dPt>
          <c:dPt>
            <c:idx val="1357"/>
            <c:spPr>
              <a:solidFill>
                <a:srgbClr val="AEABAB"/>
              </a:solidFill>
            </c:spPr>
          </c:dPt>
          <c:dPt>
            <c:idx val="1358"/>
            <c:spPr>
              <a:solidFill>
                <a:srgbClr val="AEABAB"/>
              </a:solidFill>
            </c:spPr>
          </c:dPt>
          <c:dPt>
            <c:idx val="1359"/>
            <c:spPr>
              <a:solidFill>
                <a:srgbClr val="AEABAB"/>
              </a:solidFill>
            </c:spPr>
          </c:dPt>
          <c:dPt>
            <c:idx val="1360"/>
            <c:spPr>
              <a:solidFill>
                <a:srgbClr val="AEABAB"/>
              </a:solidFill>
            </c:spPr>
          </c:dPt>
          <c:dPt>
            <c:idx val="1361"/>
            <c:spPr>
              <a:solidFill>
                <a:srgbClr val="AEABAB"/>
              </a:solidFill>
            </c:spPr>
          </c:dPt>
          <c:dPt>
            <c:idx val="1362"/>
            <c:spPr>
              <a:solidFill>
                <a:srgbClr val="AEABAB"/>
              </a:solidFill>
            </c:spPr>
          </c:dPt>
          <c:dPt>
            <c:idx val="1363"/>
            <c:spPr>
              <a:solidFill>
                <a:srgbClr val="AEABAB"/>
              </a:solidFill>
            </c:spPr>
          </c:dPt>
          <c:dPt>
            <c:idx val="1364"/>
            <c:spPr>
              <a:solidFill>
                <a:srgbClr val="AEABAB"/>
              </a:solidFill>
            </c:spPr>
          </c:dPt>
          <c:dPt>
            <c:idx val="1365"/>
            <c:spPr>
              <a:solidFill>
                <a:srgbClr val="AEABAB"/>
              </a:solidFill>
            </c:spPr>
          </c:dPt>
          <c:dPt>
            <c:idx val="1366"/>
            <c:spPr>
              <a:solidFill>
                <a:srgbClr val="AEABAB"/>
              </a:solidFill>
            </c:spPr>
          </c:dPt>
          <c:dPt>
            <c:idx val="1367"/>
            <c:spPr>
              <a:solidFill>
                <a:srgbClr val="AEABAB"/>
              </a:solidFill>
            </c:spPr>
          </c:dPt>
          <c:dPt>
            <c:idx val="1368"/>
            <c:spPr>
              <a:solidFill>
                <a:srgbClr val="AEABAB"/>
              </a:solidFill>
            </c:spPr>
          </c:dPt>
          <c:dPt>
            <c:idx val="1369"/>
            <c:spPr>
              <a:solidFill>
                <a:srgbClr val="AEABAB"/>
              </a:solidFill>
            </c:spPr>
          </c:dPt>
          <c:dPt>
            <c:idx val="1370"/>
            <c:spPr>
              <a:solidFill>
                <a:srgbClr val="AEABAB"/>
              </a:solidFill>
            </c:spPr>
          </c:dPt>
          <c:dPt>
            <c:idx val="1371"/>
            <c:spPr>
              <a:solidFill>
                <a:srgbClr val="AEABAB"/>
              </a:solidFill>
            </c:spPr>
          </c:dPt>
          <c:dPt>
            <c:idx val="1372"/>
            <c:spPr>
              <a:solidFill>
                <a:srgbClr val="AEABAB"/>
              </a:solidFill>
            </c:spPr>
          </c:dPt>
          <c:dPt>
            <c:idx val="1373"/>
            <c:spPr>
              <a:solidFill>
                <a:srgbClr val="AEABAB"/>
              </a:solidFill>
            </c:spPr>
          </c:dPt>
          <c:dPt>
            <c:idx val="1374"/>
            <c:spPr>
              <a:solidFill>
                <a:srgbClr val="AEABAB"/>
              </a:solidFill>
            </c:spPr>
          </c:dPt>
          <c:dPt>
            <c:idx val="1375"/>
            <c:spPr>
              <a:solidFill>
                <a:srgbClr val="AEABAB"/>
              </a:solidFill>
            </c:spPr>
          </c:dPt>
          <c:dPt>
            <c:idx val="1376"/>
            <c:spPr>
              <a:solidFill>
                <a:srgbClr val="AEABAB"/>
              </a:solidFill>
            </c:spPr>
          </c:dPt>
          <c:dPt>
            <c:idx val="1377"/>
            <c:spPr>
              <a:solidFill>
                <a:srgbClr val="AEABAB"/>
              </a:solidFill>
            </c:spPr>
          </c:dPt>
          <c:dPt>
            <c:idx val="1378"/>
            <c:spPr>
              <a:solidFill>
                <a:srgbClr val="AEABAB"/>
              </a:solidFill>
            </c:spPr>
          </c:dPt>
          <c:dPt>
            <c:idx val="1379"/>
            <c:spPr>
              <a:solidFill>
                <a:srgbClr val="AEABAB"/>
              </a:solidFill>
            </c:spPr>
          </c:dPt>
          <c:dPt>
            <c:idx val="1380"/>
            <c:spPr>
              <a:solidFill>
                <a:srgbClr val="AEABAB"/>
              </a:solidFill>
            </c:spPr>
          </c:dPt>
          <c:dPt>
            <c:idx val="1381"/>
            <c:spPr>
              <a:solidFill>
                <a:srgbClr val="AEABAB"/>
              </a:solidFill>
            </c:spPr>
          </c:dPt>
          <c:dPt>
            <c:idx val="1382"/>
            <c:spPr>
              <a:solidFill>
                <a:srgbClr val="AEABAB"/>
              </a:solidFill>
            </c:spPr>
          </c:dPt>
          <c:dPt>
            <c:idx val="1383"/>
            <c:spPr>
              <a:solidFill>
                <a:srgbClr val="AEABAB"/>
              </a:solidFill>
            </c:spPr>
          </c:dPt>
          <c:dPt>
            <c:idx val="1384"/>
            <c:spPr>
              <a:solidFill>
                <a:srgbClr val="AEABAB"/>
              </a:solidFill>
            </c:spPr>
          </c:dPt>
          <c:dPt>
            <c:idx val="1385"/>
            <c:spPr>
              <a:solidFill>
                <a:srgbClr val="AEABAB"/>
              </a:solidFill>
            </c:spPr>
          </c:dPt>
          <c:dPt>
            <c:idx val="1386"/>
            <c:spPr>
              <a:solidFill>
                <a:srgbClr val="AEABAB"/>
              </a:solidFill>
            </c:spPr>
          </c:dPt>
          <c:dPt>
            <c:idx val="1387"/>
            <c:spPr>
              <a:solidFill>
                <a:srgbClr val="AEABAB"/>
              </a:solidFill>
            </c:spPr>
          </c:dPt>
          <c:dPt>
            <c:idx val="1388"/>
            <c:spPr>
              <a:solidFill>
                <a:srgbClr val="AEABAB"/>
              </a:solidFill>
            </c:spPr>
          </c:dPt>
          <c:dPt>
            <c:idx val="1389"/>
            <c:spPr>
              <a:solidFill>
                <a:srgbClr val="AEABAB"/>
              </a:solidFill>
            </c:spPr>
          </c:dPt>
          <c:dPt>
            <c:idx val="1390"/>
            <c:spPr>
              <a:solidFill>
                <a:srgbClr val="AEABAB"/>
              </a:solidFill>
            </c:spPr>
          </c:dPt>
          <c:dPt>
            <c:idx val="1391"/>
            <c:spPr>
              <a:solidFill>
                <a:srgbClr val="AEABAB"/>
              </a:solidFill>
            </c:spPr>
          </c:dPt>
          <c:dPt>
            <c:idx val="1392"/>
            <c:spPr>
              <a:solidFill>
                <a:srgbClr val="AEABAB"/>
              </a:solidFill>
            </c:spPr>
          </c:dPt>
          <c:dPt>
            <c:idx val="1393"/>
            <c:spPr>
              <a:solidFill>
                <a:srgbClr val="AEABAB"/>
              </a:solidFill>
            </c:spPr>
          </c:dPt>
          <c:dPt>
            <c:idx val="1394"/>
            <c:spPr>
              <a:solidFill>
                <a:srgbClr val="AEABAB"/>
              </a:solidFill>
            </c:spPr>
          </c:dPt>
          <c:dPt>
            <c:idx val="1395"/>
            <c:spPr>
              <a:solidFill>
                <a:srgbClr val="AEABAB"/>
              </a:solidFill>
            </c:spPr>
          </c:dPt>
          <c:dPt>
            <c:idx val="1396"/>
            <c:spPr>
              <a:solidFill>
                <a:srgbClr val="AEABAB"/>
              </a:solidFill>
            </c:spPr>
          </c:dPt>
          <c:dPt>
            <c:idx val="1397"/>
            <c:spPr>
              <a:solidFill>
                <a:srgbClr val="AEABAB"/>
              </a:solidFill>
            </c:spPr>
          </c:dPt>
          <c:dPt>
            <c:idx val="1398"/>
            <c:spPr>
              <a:solidFill>
                <a:srgbClr val="AEABAB"/>
              </a:solidFill>
            </c:spPr>
          </c:dPt>
          <c:dPt>
            <c:idx val="1399"/>
            <c:spPr>
              <a:solidFill>
                <a:srgbClr val="AEABAB"/>
              </a:solidFill>
            </c:spPr>
          </c:dPt>
          <c:dPt>
            <c:idx val="1400"/>
            <c:spPr>
              <a:solidFill>
                <a:srgbClr val="AEABAB"/>
              </a:solidFill>
            </c:spPr>
          </c:dPt>
          <c:dPt>
            <c:idx val="1401"/>
            <c:spPr>
              <a:solidFill>
                <a:srgbClr val="AEABAB"/>
              </a:solidFill>
            </c:spPr>
          </c:dPt>
          <c:dPt>
            <c:idx val="1402"/>
            <c:spPr>
              <a:solidFill>
                <a:srgbClr val="AEABAB"/>
              </a:solidFill>
            </c:spPr>
          </c:dPt>
          <c:dPt>
            <c:idx val="1403"/>
            <c:spPr>
              <a:solidFill>
                <a:srgbClr val="AEABAB"/>
              </a:solidFill>
            </c:spPr>
          </c:dPt>
          <c:dPt>
            <c:idx val="1404"/>
            <c:spPr>
              <a:solidFill>
                <a:srgbClr val="AEABAB"/>
              </a:solidFill>
            </c:spPr>
          </c:dPt>
          <c:dPt>
            <c:idx val="1405"/>
            <c:spPr>
              <a:solidFill>
                <a:srgbClr val="AEABAB"/>
              </a:solidFill>
            </c:spPr>
          </c:dPt>
          <c:dPt>
            <c:idx val="1406"/>
            <c:spPr>
              <a:solidFill>
                <a:srgbClr val="AEABAB"/>
              </a:solidFill>
            </c:spPr>
          </c:dPt>
          <c:dPt>
            <c:idx val="1407"/>
            <c:spPr>
              <a:solidFill>
                <a:srgbClr val="AEABAB"/>
              </a:solidFill>
            </c:spPr>
          </c:dPt>
          <c:dPt>
            <c:idx val="1408"/>
            <c:spPr>
              <a:solidFill>
                <a:srgbClr val="AEABAB"/>
              </a:solidFill>
            </c:spPr>
          </c:dPt>
          <c:dPt>
            <c:idx val="1409"/>
            <c:spPr>
              <a:solidFill>
                <a:srgbClr val="AEABAB"/>
              </a:solidFill>
            </c:spPr>
          </c:dPt>
          <c:dPt>
            <c:idx val="1410"/>
            <c:spPr>
              <a:solidFill>
                <a:srgbClr val="AEABAB"/>
              </a:solidFill>
            </c:spPr>
          </c:dPt>
          <c:dPt>
            <c:idx val="1411"/>
            <c:spPr>
              <a:solidFill>
                <a:srgbClr val="AEABAB"/>
              </a:solidFill>
            </c:spPr>
          </c:dPt>
          <c:dPt>
            <c:idx val="1412"/>
            <c:spPr>
              <a:solidFill>
                <a:srgbClr val="AEABAB"/>
              </a:solidFill>
            </c:spPr>
          </c:dPt>
          <c:dPt>
            <c:idx val="1413"/>
            <c:spPr>
              <a:solidFill>
                <a:srgbClr val="AEABAB"/>
              </a:solidFill>
            </c:spPr>
          </c:dPt>
          <c:dPt>
            <c:idx val="1414"/>
            <c:spPr>
              <a:solidFill>
                <a:srgbClr val="AEABAB"/>
              </a:solidFill>
            </c:spPr>
          </c:dPt>
          <c:dPt>
            <c:idx val="1415"/>
            <c:spPr>
              <a:solidFill>
                <a:srgbClr val="AEABAB"/>
              </a:solidFill>
            </c:spPr>
          </c:dPt>
          <c:dPt>
            <c:idx val="1416"/>
            <c:spPr>
              <a:solidFill>
                <a:srgbClr val="AEABAB"/>
              </a:solidFill>
            </c:spPr>
          </c:dPt>
          <c:dPt>
            <c:idx val="1417"/>
            <c:spPr>
              <a:solidFill>
                <a:srgbClr val="AEABAB"/>
              </a:solidFill>
            </c:spPr>
          </c:dPt>
          <c:dPt>
            <c:idx val="1418"/>
            <c:spPr>
              <a:solidFill>
                <a:srgbClr val="AEABAB"/>
              </a:solidFill>
            </c:spPr>
          </c:dPt>
          <c:dPt>
            <c:idx val="1419"/>
            <c:spPr>
              <a:solidFill>
                <a:srgbClr val="AEABAB"/>
              </a:solidFill>
            </c:spPr>
          </c:dPt>
          <c:dPt>
            <c:idx val="1420"/>
            <c:spPr>
              <a:solidFill>
                <a:srgbClr val="AEABAB"/>
              </a:solidFill>
            </c:spPr>
          </c:dPt>
          <c:dPt>
            <c:idx val="1421"/>
            <c:spPr>
              <a:solidFill>
                <a:srgbClr val="AEABAB"/>
              </a:solidFill>
            </c:spPr>
          </c:dPt>
          <c:dPt>
            <c:idx val="1422"/>
            <c:spPr>
              <a:solidFill>
                <a:srgbClr val="AEABAB"/>
              </a:solidFill>
            </c:spPr>
          </c:dPt>
          <c:dPt>
            <c:idx val="1423"/>
            <c:spPr>
              <a:solidFill>
                <a:srgbClr val="AEABAB"/>
              </a:solidFill>
            </c:spPr>
          </c:dPt>
          <c:dPt>
            <c:idx val="1424"/>
            <c:spPr>
              <a:solidFill>
                <a:srgbClr val="AEABAB"/>
              </a:solidFill>
            </c:spPr>
          </c:dPt>
          <c:dPt>
            <c:idx val="1425"/>
            <c:spPr>
              <a:solidFill>
                <a:srgbClr val="AEABAB"/>
              </a:solidFill>
            </c:spPr>
          </c:dPt>
          <c:dPt>
            <c:idx val="1426"/>
            <c:spPr>
              <a:solidFill>
                <a:srgbClr val="AEABAB"/>
              </a:solidFill>
            </c:spPr>
          </c:dPt>
          <c:dPt>
            <c:idx val="1427"/>
            <c:spPr>
              <a:solidFill>
                <a:srgbClr val="AEABAB"/>
              </a:solidFill>
            </c:spPr>
          </c:dPt>
          <c:dPt>
            <c:idx val="1428"/>
            <c:spPr>
              <a:solidFill>
                <a:srgbClr val="AEABAB"/>
              </a:solidFill>
            </c:spPr>
          </c:dPt>
          <c:dPt>
            <c:idx val="1429"/>
            <c:spPr>
              <a:solidFill>
                <a:srgbClr val="AEABAB"/>
              </a:solidFill>
            </c:spPr>
          </c:dPt>
          <c:dPt>
            <c:idx val="1430"/>
            <c:spPr>
              <a:solidFill>
                <a:srgbClr val="AEABAB"/>
              </a:solidFill>
            </c:spPr>
          </c:dPt>
          <c:dPt>
            <c:idx val="1431"/>
            <c:spPr>
              <a:solidFill>
                <a:srgbClr val="AEABAB"/>
              </a:solidFill>
            </c:spPr>
          </c:dPt>
          <c:dPt>
            <c:idx val="1432"/>
            <c:spPr>
              <a:solidFill>
                <a:srgbClr val="AEABAB"/>
              </a:solidFill>
            </c:spPr>
          </c:dPt>
          <c:dPt>
            <c:idx val="1433"/>
            <c:spPr>
              <a:solidFill>
                <a:srgbClr val="AEABAB"/>
              </a:solidFill>
            </c:spPr>
          </c:dPt>
          <c:dPt>
            <c:idx val="1434"/>
            <c:spPr>
              <a:solidFill>
                <a:srgbClr val="AEABAB"/>
              </a:solidFill>
            </c:spPr>
          </c:dPt>
          <c:dPt>
            <c:idx val="1435"/>
            <c:spPr>
              <a:solidFill>
                <a:srgbClr val="AEABAB"/>
              </a:solidFill>
            </c:spPr>
          </c:dPt>
          <c:dPt>
            <c:idx val="1436"/>
            <c:spPr>
              <a:solidFill>
                <a:srgbClr val="AEABAB"/>
              </a:solidFill>
            </c:spPr>
          </c:dPt>
          <c:dPt>
            <c:idx val="1437"/>
            <c:spPr>
              <a:solidFill>
                <a:srgbClr val="AEABAB"/>
              </a:solidFill>
            </c:spPr>
          </c:dPt>
          <c:dPt>
            <c:idx val="1438"/>
            <c:spPr>
              <a:solidFill>
                <a:srgbClr val="AEABAB"/>
              </a:solidFill>
            </c:spPr>
          </c:dPt>
          <c:dPt>
            <c:idx val="1439"/>
            <c:spPr>
              <a:solidFill>
                <a:srgbClr val="AEABAB"/>
              </a:solidFill>
            </c:spPr>
          </c:dPt>
          <c:dPt>
            <c:idx val="1440"/>
            <c:spPr>
              <a:solidFill>
                <a:srgbClr val="AEABAB"/>
              </a:solidFill>
            </c:spPr>
          </c:dPt>
          <c:dPt>
            <c:idx val="1441"/>
            <c:spPr>
              <a:solidFill>
                <a:srgbClr val="AEABAB"/>
              </a:solidFill>
            </c:spPr>
          </c:dPt>
          <c:dPt>
            <c:idx val="1442"/>
            <c:spPr>
              <a:solidFill>
                <a:srgbClr val="AEABAB"/>
              </a:solidFill>
            </c:spPr>
          </c:dPt>
          <c:dPt>
            <c:idx val="1443"/>
            <c:spPr>
              <a:solidFill>
                <a:srgbClr val="AEABAB"/>
              </a:solidFill>
            </c:spPr>
          </c:dPt>
          <c:dPt>
            <c:idx val="1444"/>
            <c:spPr>
              <a:solidFill>
                <a:srgbClr val="AEABAB"/>
              </a:solidFill>
            </c:spPr>
          </c:dPt>
          <c:dPt>
            <c:idx val="1445"/>
            <c:spPr>
              <a:solidFill>
                <a:srgbClr val="AEABAB"/>
              </a:solidFill>
            </c:spPr>
          </c:dPt>
          <c:dPt>
            <c:idx val="1446"/>
            <c:spPr>
              <a:solidFill>
                <a:srgbClr val="AEABAB"/>
              </a:solidFill>
            </c:spPr>
          </c:dPt>
          <c:dPt>
            <c:idx val="1447"/>
            <c:spPr>
              <a:solidFill>
                <a:srgbClr val="AEABAB"/>
              </a:solidFill>
            </c:spPr>
          </c:dPt>
          <c:dPt>
            <c:idx val="1448"/>
            <c:spPr>
              <a:solidFill>
                <a:srgbClr val="AEABAB"/>
              </a:solidFill>
            </c:spPr>
          </c:dPt>
          <c:dPt>
            <c:idx val="1449"/>
            <c:spPr>
              <a:solidFill>
                <a:srgbClr val="AEABAB"/>
              </a:solidFill>
            </c:spPr>
          </c:dPt>
          <c:dPt>
            <c:idx val="1450"/>
            <c:spPr>
              <a:solidFill>
                <a:srgbClr val="AEABAB"/>
              </a:solidFill>
            </c:spPr>
          </c:dPt>
          <c:dPt>
            <c:idx val="1451"/>
            <c:spPr>
              <a:solidFill>
                <a:srgbClr val="AEABAB"/>
              </a:solidFill>
            </c:spPr>
          </c:dPt>
          <c:dPt>
            <c:idx val="1452"/>
            <c:spPr>
              <a:solidFill>
                <a:srgbClr val="AEABAB"/>
              </a:solidFill>
            </c:spPr>
          </c:dPt>
          <c:dPt>
            <c:idx val="1453"/>
            <c:spPr>
              <a:solidFill>
                <a:srgbClr val="AEABAB"/>
              </a:solidFill>
            </c:spPr>
          </c:dPt>
          <c:dPt>
            <c:idx val="1454"/>
            <c:spPr>
              <a:solidFill>
                <a:srgbClr val="AEABAB"/>
              </a:solidFill>
            </c:spPr>
          </c:dPt>
          <c:dPt>
            <c:idx val="1455"/>
            <c:spPr>
              <a:solidFill>
                <a:srgbClr val="AEABAB"/>
              </a:solidFill>
            </c:spPr>
          </c:dPt>
          <c:dPt>
            <c:idx val="1456"/>
            <c:spPr>
              <a:solidFill>
                <a:srgbClr val="AEABAB"/>
              </a:solidFill>
            </c:spPr>
          </c:dPt>
          <c:dPt>
            <c:idx val="1457"/>
            <c:spPr>
              <a:solidFill>
                <a:srgbClr val="AEABAB"/>
              </a:solidFill>
            </c:spPr>
          </c:dPt>
          <c:dPt>
            <c:idx val="1458"/>
            <c:spPr>
              <a:solidFill>
                <a:srgbClr val="AEABAB"/>
              </a:solidFill>
            </c:spPr>
          </c:dPt>
          <c:dPt>
            <c:idx val="1459"/>
            <c:spPr>
              <a:solidFill>
                <a:srgbClr val="AEABAB"/>
              </a:solidFill>
            </c:spPr>
          </c:dPt>
          <c:dPt>
            <c:idx val="1460"/>
            <c:spPr>
              <a:solidFill>
                <a:srgbClr val="AEABAB"/>
              </a:solidFill>
            </c:spPr>
          </c:dPt>
          <c:dPt>
            <c:idx val="1461"/>
            <c:spPr>
              <a:solidFill>
                <a:srgbClr val="AEABAB"/>
              </a:solidFill>
            </c:spPr>
          </c:dPt>
          <c:dPt>
            <c:idx val="1462"/>
            <c:spPr>
              <a:solidFill>
                <a:srgbClr val="AEABAB"/>
              </a:solidFill>
            </c:spPr>
          </c:dPt>
          <c:dPt>
            <c:idx val="1463"/>
            <c:spPr>
              <a:solidFill>
                <a:srgbClr val="AEABAB"/>
              </a:solidFill>
            </c:spPr>
          </c:dPt>
          <c:dPt>
            <c:idx val="1464"/>
            <c:spPr>
              <a:solidFill>
                <a:srgbClr val="AEABAB"/>
              </a:solidFill>
            </c:spPr>
          </c:dPt>
          <c:dPt>
            <c:idx val="1465"/>
            <c:spPr>
              <a:solidFill>
                <a:srgbClr val="AEABAB"/>
              </a:solidFill>
            </c:spPr>
          </c:dPt>
          <c:dPt>
            <c:idx val="1466"/>
            <c:spPr>
              <a:solidFill>
                <a:srgbClr val="AEABAB"/>
              </a:solidFill>
            </c:spPr>
          </c:dPt>
          <c:dPt>
            <c:idx val="1467"/>
            <c:spPr>
              <a:solidFill>
                <a:srgbClr val="AEABAB"/>
              </a:solidFill>
            </c:spPr>
          </c:dPt>
          <c:dPt>
            <c:idx val="1468"/>
            <c:spPr>
              <a:solidFill>
                <a:srgbClr val="AEABAB"/>
              </a:solidFill>
            </c:spPr>
          </c:dPt>
          <c:dPt>
            <c:idx val="1469"/>
            <c:spPr>
              <a:solidFill>
                <a:srgbClr val="AEABAB"/>
              </a:solidFill>
            </c:spPr>
          </c:dPt>
          <c:dPt>
            <c:idx val="1470"/>
            <c:spPr>
              <a:solidFill>
                <a:srgbClr val="AEABAB"/>
              </a:solidFill>
            </c:spPr>
          </c:dPt>
          <c:dPt>
            <c:idx val="1471"/>
            <c:spPr>
              <a:solidFill>
                <a:srgbClr val="AEABAB"/>
              </a:solidFill>
            </c:spPr>
          </c:dPt>
          <c:dPt>
            <c:idx val="1472"/>
            <c:spPr>
              <a:solidFill>
                <a:srgbClr val="AEABAB"/>
              </a:solidFill>
            </c:spPr>
          </c:dPt>
          <c:dPt>
            <c:idx val="1473"/>
            <c:spPr>
              <a:solidFill>
                <a:srgbClr val="AEABAB"/>
              </a:solidFill>
            </c:spPr>
          </c:dPt>
          <c:dPt>
            <c:idx val="1474"/>
            <c:spPr>
              <a:solidFill>
                <a:srgbClr val="AEABAB"/>
              </a:solidFill>
            </c:spPr>
          </c:dPt>
          <c:dPt>
            <c:idx val="1475"/>
            <c:spPr>
              <a:solidFill>
                <a:srgbClr val="AEABAB"/>
              </a:solidFill>
            </c:spPr>
          </c:dPt>
          <c:dPt>
            <c:idx val="1476"/>
            <c:spPr>
              <a:solidFill>
                <a:srgbClr val="AEABAB"/>
              </a:solidFill>
            </c:spPr>
          </c:dPt>
          <c:dPt>
            <c:idx val="1477"/>
            <c:spPr>
              <a:solidFill>
                <a:srgbClr val="AEABAB"/>
              </a:solidFill>
            </c:spPr>
          </c:dPt>
          <c:dPt>
            <c:idx val="1478"/>
            <c:spPr>
              <a:solidFill>
                <a:srgbClr val="AEABAB"/>
              </a:solidFill>
            </c:spPr>
          </c:dPt>
          <c:dPt>
            <c:idx val="1479"/>
            <c:spPr>
              <a:solidFill>
                <a:srgbClr val="AEABAB"/>
              </a:solidFill>
            </c:spPr>
          </c:dPt>
          <c:dPt>
            <c:idx val="1480"/>
            <c:spPr>
              <a:solidFill>
                <a:srgbClr val="AEABAB"/>
              </a:solidFill>
            </c:spPr>
          </c:dPt>
          <c:dPt>
            <c:idx val="1481"/>
            <c:spPr>
              <a:solidFill>
                <a:srgbClr val="AEABAB"/>
              </a:solidFill>
            </c:spPr>
          </c:dPt>
          <c:dPt>
            <c:idx val="1482"/>
            <c:spPr>
              <a:solidFill>
                <a:srgbClr val="AEABAB"/>
              </a:solidFill>
            </c:spPr>
          </c:dPt>
          <c:dPt>
            <c:idx val="1483"/>
            <c:spPr>
              <a:solidFill>
                <a:srgbClr val="AEABAB"/>
              </a:solidFill>
            </c:spPr>
          </c:dPt>
          <c:dPt>
            <c:idx val="1484"/>
            <c:spPr>
              <a:solidFill>
                <a:srgbClr val="AEABAB"/>
              </a:solidFill>
            </c:spPr>
          </c:dPt>
          <c:dPt>
            <c:idx val="1485"/>
            <c:spPr>
              <a:solidFill>
                <a:srgbClr val="AEABAB"/>
              </a:solidFill>
            </c:spPr>
          </c:dPt>
          <c:dPt>
            <c:idx val="1486"/>
            <c:spPr>
              <a:solidFill>
                <a:srgbClr val="AEABAB"/>
              </a:solidFill>
            </c:spPr>
          </c:dPt>
          <c:dPt>
            <c:idx val="1487"/>
            <c:spPr>
              <a:solidFill>
                <a:srgbClr val="AEABAB"/>
              </a:solidFill>
            </c:spPr>
          </c:dPt>
          <c:dPt>
            <c:idx val="1488"/>
            <c:spPr>
              <a:solidFill>
                <a:srgbClr val="AEABAB"/>
              </a:solidFill>
            </c:spPr>
          </c:dPt>
          <c:dPt>
            <c:idx val="1489"/>
            <c:spPr>
              <a:solidFill>
                <a:srgbClr val="AEABAB"/>
              </a:solidFill>
            </c:spPr>
          </c:dPt>
          <c:dPt>
            <c:idx val="1490"/>
            <c:spPr>
              <a:solidFill>
                <a:srgbClr val="AEABAB"/>
              </a:solidFill>
            </c:spPr>
          </c:dPt>
          <c:dPt>
            <c:idx val="1491"/>
            <c:spPr>
              <a:solidFill>
                <a:srgbClr val="AEABAB"/>
              </a:solidFill>
            </c:spPr>
          </c:dPt>
          <c:dPt>
            <c:idx val="1492"/>
            <c:spPr>
              <a:solidFill>
                <a:srgbClr val="AEABAB"/>
              </a:solidFill>
            </c:spPr>
          </c:dPt>
          <c:dPt>
            <c:idx val="1493"/>
            <c:spPr>
              <a:solidFill>
                <a:srgbClr val="AEABAB"/>
              </a:solidFill>
            </c:spPr>
          </c:dPt>
          <c:dPt>
            <c:idx val="1494"/>
            <c:spPr>
              <a:solidFill>
                <a:srgbClr val="AEABAB"/>
              </a:solidFill>
            </c:spPr>
          </c:dPt>
          <c:dPt>
            <c:idx val="1495"/>
            <c:spPr>
              <a:solidFill>
                <a:srgbClr val="AEABAB"/>
              </a:solidFill>
            </c:spPr>
          </c:dPt>
          <c:dPt>
            <c:idx val="1496"/>
            <c:spPr>
              <a:solidFill>
                <a:srgbClr val="AEABAB"/>
              </a:solidFill>
            </c:spPr>
          </c:dPt>
          <c:dPt>
            <c:idx val="1497"/>
            <c:spPr>
              <a:solidFill>
                <a:srgbClr val="AEABAB"/>
              </a:solidFill>
            </c:spPr>
          </c:dPt>
          <c:dPt>
            <c:idx val="1498"/>
            <c:spPr>
              <a:solidFill>
                <a:srgbClr val="AEABAB"/>
              </a:solidFill>
            </c:spPr>
          </c:dPt>
          <c:dPt>
            <c:idx val="1499"/>
            <c:spPr>
              <a:solidFill>
                <a:srgbClr val="AEABAB"/>
              </a:solidFill>
            </c:spPr>
          </c:dPt>
          <c:dPt>
            <c:idx val="1500"/>
            <c:spPr>
              <a:solidFill>
                <a:srgbClr val="AEABAB"/>
              </a:solidFill>
            </c:spPr>
          </c:dPt>
          <c:dPt>
            <c:idx val="1501"/>
            <c:spPr>
              <a:solidFill>
                <a:srgbClr val="AEABAB"/>
              </a:solidFill>
            </c:spPr>
          </c:dPt>
          <c:dPt>
            <c:idx val="1502"/>
            <c:spPr>
              <a:solidFill>
                <a:srgbClr val="AEABAB"/>
              </a:solidFill>
            </c:spPr>
          </c:dPt>
          <c:dPt>
            <c:idx val="1503"/>
            <c:spPr>
              <a:solidFill>
                <a:srgbClr val="AEABAB"/>
              </a:solidFill>
            </c:spPr>
          </c:dPt>
          <c:dPt>
            <c:idx val="1504"/>
            <c:spPr>
              <a:solidFill>
                <a:srgbClr val="AEABAB"/>
              </a:solidFill>
            </c:spPr>
          </c:dPt>
          <c:dPt>
            <c:idx val="1505"/>
            <c:spPr>
              <a:solidFill>
                <a:srgbClr val="AEABAB"/>
              </a:solidFill>
            </c:spPr>
          </c:dPt>
          <c:dPt>
            <c:idx val="1506"/>
            <c:spPr>
              <a:solidFill>
                <a:srgbClr val="AEABAB"/>
              </a:solidFill>
            </c:spPr>
          </c:dPt>
          <c:dPt>
            <c:idx val="1507"/>
            <c:spPr>
              <a:solidFill>
                <a:srgbClr val="AEABAB"/>
              </a:solidFill>
            </c:spPr>
          </c:dPt>
          <c:dPt>
            <c:idx val="1508"/>
            <c:spPr>
              <a:solidFill>
                <a:srgbClr val="AEABAB"/>
              </a:solidFill>
            </c:spPr>
          </c:dPt>
          <c:dPt>
            <c:idx val="1509"/>
            <c:spPr>
              <a:solidFill>
                <a:srgbClr val="AEABAB"/>
              </a:solidFill>
            </c:spPr>
          </c:dPt>
          <c:dPt>
            <c:idx val="1510"/>
            <c:spPr>
              <a:solidFill>
                <a:srgbClr val="AEABAB"/>
              </a:solidFill>
            </c:spPr>
          </c:dPt>
          <c:dPt>
            <c:idx val="1511"/>
            <c:spPr>
              <a:solidFill>
                <a:srgbClr val="AEABAB"/>
              </a:solidFill>
            </c:spPr>
          </c:dPt>
          <c:dPt>
            <c:idx val="1512"/>
            <c:spPr>
              <a:solidFill>
                <a:srgbClr val="AEABAB"/>
              </a:solidFill>
            </c:spPr>
          </c:dPt>
          <c:dPt>
            <c:idx val="1513"/>
            <c:spPr>
              <a:solidFill>
                <a:srgbClr val="AEABAB"/>
              </a:solidFill>
            </c:spPr>
          </c:dPt>
          <c:dPt>
            <c:idx val="1514"/>
            <c:spPr>
              <a:solidFill>
                <a:srgbClr val="AEABAB"/>
              </a:solidFill>
            </c:spPr>
          </c:dPt>
          <c:dPt>
            <c:idx val="1515"/>
            <c:spPr>
              <a:solidFill>
                <a:srgbClr val="AEABAB"/>
              </a:solidFill>
            </c:spPr>
          </c:dPt>
          <c:dPt>
            <c:idx val="1516"/>
            <c:spPr>
              <a:solidFill>
                <a:srgbClr val="AEABAB"/>
              </a:solidFill>
            </c:spPr>
          </c:dPt>
          <c:dPt>
            <c:idx val="1517"/>
            <c:spPr>
              <a:solidFill>
                <a:srgbClr val="AEABAB"/>
              </a:solidFill>
            </c:spPr>
          </c:dPt>
          <c:dPt>
            <c:idx val="1518"/>
            <c:spPr>
              <a:solidFill>
                <a:srgbClr val="AEABAB"/>
              </a:solidFill>
            </c:spPr>
          </c:dPt>
          <c:dPt>
            <c:idx val="1519"/>
            <c:spPr>
              <a:solidFill>
                <a:srgbClr val="AEABAB"/>
              </a:solidFill>
            </c:spPr>
          </c:dPt>
          <c:dPt>
            <c:idx val="1520"/>
            <c:spPr>
              <a:solidFill>
                <a:srgbClr val="AEABAB"/>
              </a:solidFill>
            </c:spPr>
          </c:dPt>
          <c:dPt>
            <c:idx val="1521"/>
            <c:spPr>
              <a:solidFill>
                <a:srgbClr val="AEABAB"/>
              </a:solidFill>
            </c:spPr>
          </c:dPt>
          <c:dPt>
            <c:idx val="1522"/>
            <c:spPr>
              <a:solidFill>
                <a:srgbClr val="AEABAB"/>
              </a:solidFill>
            </c:spPr>
          </c:dPt>
          <c:dPt>
            <c:idx val="1523"/>
            <c:spPr>
              <a:solidFill>
                <a:srgbClr val="AEABAB"/>
              </a:solidFill>
            </c:spPr>
          </c:dPt>
          <c:dPt>
            <c:idx val="1524"/>
            <c:spPr>
              <a:solidFill>
                <a:srgbClr val="AEABAB"/>
              </a:solidFill>
            </c:spPr>
          </c:dPt>
          <c:dPt>
            <c:idx val="1525"/>
            <c:spPr>
              <a:solidFill>
                <a:srgbClr val="AEABAB"/>
              </a:solidFill>
            </c:spPr>
          </c:dPt>
          <c:dPt>
            <c:idx val="1526"/>
            <c:spPr>
              <a:solidFill>
                <a:srgbClr val="AEABAB"/>
              </a:solidFill>
            </c:spPr>
          </c:dPt>
          <c:dPt>
            <c:idx val="1527"/>
            <c:spPr>
              <a:solidFill>
                <a:srgbClr val="AEABAB"/>
              </a:solidFill>
            </c:spPr>
          </c:dPt>
          <c:dPt>
            <c:idx val="1528"/>
            <c:spPr>
              <a:solidFill>
                <a:srgbClr val="AEABAB"/>
              </a:solidFill>
            </c:spPr>
          </c:dPt>
          <c:dPt>
            <c:idx val="1529"/>
            <c:spPr>
              <a:solidFill>
                <a:srgbClr val="AEABAB"/>
              </a:solidFill>
            </c:spPr>
          </c:dPt>
          <c:dPt>
            <c:idx val="1530"/>
            <c:spPr>
              <a:solidFill>
                <a:srgbClr val="AEABAB"/>
              </a:solidFill>
            </c:spPr>
          </c:dPt>
          <c:dPt>
            <c:idx val="1531"/>
            <c:spPr>
              <a:solidFill>
                <a:srgbClr val="AEABAB"/>
              </a:solidFill>
            </c:spPr>
          </c:dPt>
          <c:dPt>
            <c:idx val="1532"/>
            <c:spPr>
              <a:solidFill>
                <a:srgbClr val="AEABAB"/>
              </a:solidFill>
            </c:spPr>
          </c:dPt>
          <c:dPt>
            <c:idx val="1533"/>
            <c:spPr>
              <a:solidFill>
                <a:srgbClr val="AEABAB"/>
              </a:solidFill>
            </c:spPr>
          </c:dPt>
          <c:dPt>
            <c:idx val="1534"/>
            <c:spPr>
              <a:solidFill>
                <a:srgbClr val="AEABAB"/>
              </a:solidFill>
            </c:spPr>
          </c:dPt>
          <c:dPt>
            <c:idx val="1535"/>
            <c:spPr>
              <a:solidFill>
                <a:srgbClr val="AEABAB"/>
              </a:solidFill>
            </c:spPr>
          </c:dPt>
          <c:dPt>
            <c:idx val="1536"/>
            <c:spPr>
              <a:solidFill>
                <a:srgbClr val="AEABAB"/>
              </a:solidFill>
            </c:spPr>
          </c:dPt>
          <c:dPt>
            <c:idx val="1537"/>
            <c:spPr>
              <a:solidFill>
                <a:srgbClr val="AEABAB"/>
              </a:solidFill>
            </c:spPr>
          </c:dPt>
          <c:dPt>
            <c:idx val="1538"/>
            <c:spPr>
              <a:solidFill>
                <a:srgbClr val="AEABAB"/>
              </a:solidFill>
            </c:spPr>
          </c:dPt>
          <c:dPt>
            <c:idx val="1539"/>
            <c:spPr>
              <a:solidFill>
                <a:srgbClr val="AEABAB"/>
              </a:solidFill>
            </c:spPr>
          </c:dPt>
          <c:dPt>
            <c:idx val="1540"/>
            <c:spPr>
              <a:solidFill>
                <a:srgbClr val="AEABAB"/>
              </a:solidFill>
            </c:spPr>
          </c:dPt>
          <c:dPt>
            <c:idx val="1541"/>
            <c:spPr>
              <a:solidFill>
                <a:srgbClr val="AEABAB"/>
              </a:solidFill>
            </c:spPr>
          </c:dPt>
          <c:dPt>
            <c:idx val="1542"/>
            <c:spPr>
              <a:solidFill>
                <a:srgbClr val="AEABAB"/>
              </a:solidFill>
            </c:spPr>
          </c:dPt>
          <c:dPt>
            <c:idx val="1543"/>
            <c:spPr>
              <a:solidFill>
                <a:srgbClr val="AEABAB"/>
              </a:solidFill>
            </c:spPr>
          </c:dPt>
          <c:dPt>
            <c:idx val="1544"/>
            <c:spPr>
              <a:solidFill>
                <a:srgbClr val="AEABAB"/>
              </a:solidFill>
            </c:spPr>
          </c:dPt>
          <c:dPt>
            <c:idx val="1545"/>
            <c:spPr>
              <a:solidFill>
                <a:srgbClr val="AEABAB"/>
              </a:solidFill>
            </c:spPr>
          </c:dPt>
          <c:dPt>
            <c:idx val="1546"/>
            <c:spPr>
              <a:solidFill>
                <a:srgbClr val="AEABAB"/>
              </a:solidFill>
            </c:spPr>
          </c:dPt>
          <c:dPt>
            <c:idx val="1547"/>
            <c:spPr>
              <a:solidFill>
                <a:srgbClr val="AEABAB"/>
              </a:solidFill>
            </c:spPr>
          </c:dPt>
          <c:dPt>
            <c:idx val="1548"/>
            <c:spPr>
              <a:solidFill>
                <a:srgbClr val="AEABAB"/>
              </a:solidFill>
            </c:spPr>
          </c:dPt>
          <c:dPt>
            <c:idx val="1549"/>
            <c:spPr>
              <a:solidFill>
                <a:srgbClr val="AEABAB"/>
              </a:solidFill>
            </c:spPr>
          </c:dPt>
          <c:dPt>
            <c:idx val="1550"/>
            <c:spPr>
              <a:solidFill>
                <a:srgbClr val="AEABAB"/>
              </a:solidFill>
            </c:spPr>
          </c:dPt>
          <c:dPt>
            <c:idx val="1551"/>
            <c:spPr>
              <a:solidFill>
                <a:srgbClr val="AEABAB"/>
              </a:solidFill>
            </c:spPr>
          </c:dPt>
          <c:dPt>
            <c:idx val="1552"/>
            <c:spPr>
              <a:solidFill>
                <a:srgbClr val="AEABAB"/>
              </a:solidFill>
            </c:spPr>
          </c:dPt>
          <c:dPt>
            <c:idx val="1553"/>
            <c:spPr>
              <a:solidFill>
                <a:srgbClr val="AEABAB"/>
              </a:solidFill>
            </c:spPr>
          </c:dPt>
          <c:dPt>
            <c:idx val="1554"/>
            <c:spPr>
              <a:solidFill>
                <a:srgbClr val="AEABAB"/>
              </a:solidFill>
            </c:spPr>
          </c:dPt>
          <c:dPt>
            <c:idx val="1555"/>
            <c:spPr>
              <a:solidFill>
                <a:srgbClr val="AEABAB"/>
              </a:solidFill>
            </c:spPr>
          </c:dPt>
          <c:dPt>
            <c:idx val="1556"/>
            <c:spPr>
              <a:solidFill>
                <a:srgbClr val="AEABAB"/>
              </a:solidFill>
            </c:spPr>
          </c:dPt>
          <c:dPt>
            <c:idx val="1557"/>
            <c:spPr>
              <a:solidFill>
                <a:srgbClr val="AEABAB"/>
              </a:solidFill>
            </c:spPr>
          </c:dPt>
          <c:dPt>
            <c:idx val="1558"/>
            <c:spPr>
              <a:solidFill>
                <a:srgbClr val="AEABAB"/>
              </a:solidFill>
            </c:spPr>
          </c:dPt>
          <c:dPt>
            <c:idx val="1559"/>
            <c:spPr>
              <a:solidFill>
                <a:srgbClr val="AEABAB"/>
              </a:solidFill>
            </c:spPr>
          </c:dPt>
          <c:dPt>
            <c:idx val="1560"/>
            <c:spPr>
              <a:solidFill>
                <a:srgbClr val="AEABAB"/>
              </a:solidFill>
            </c:spPr>
          </c:dPt>
          <c:dPt>
            <c:idx val="1561"/>
            <c:spPr>
              <a:solidFill>
                <a:srgbClr val="AEABAB"/>
              </a:solidFill>
            </c:spPr>
          </c:dPt>
          <c:dPt>
            <c:idx val="1562"/>
            <c:spPr>
              <a:solidFill>
                <a:srgbClr val="AEABAB"/>
              </a:solidFill>
            </c:spPr>
          </c:dPt>
          <c:dPt>
            <c:idx val="1563"/>
            <c:spPr>
              <a:solidFill>
                <a:srgbClr val="AEABAB"/>
              </a:solidFill>
            </c:spPr>
          </c:dPt>
          <c:dPt>
            <c:idx val="1564"/>
            <c:spPr>
              <a:solidFill>
                <a:srgbClr val="AEABAB"/>
              </a:solidFill>
            </c:spPr>
          </c:dPt>
          <c:dPt>
            <c:idx val="1565"/>
            <c:spPr>
              <a:solidFill>
                <a:srgbClr val="AEABAB"/>
              </a:solidFill>
            </c:spPr>
          </c:dPt>
          <c:dPt>
            <c:idx val="1566"/>
            <c:spPr>
              <a:solidFill>
                <a:srgbClr val="AEABAB"/>
              </a:solidFill>
            </c:spPr>
          </c:dPt>
          <c:dPt>
            <c:idx val="1567"/>
            <c:spPr>
              <a:solidFill>
                <a:srgbClr val="AEABAB"/>
              </a:solidFill>
            </c:spPr>
          </c:dPt>
          <c:dPt>
            <c:idx val="1568"/>
            <c:spPr>
              <a:solidFill>
                <a:srgbClr val="AEABAB"/>
              </a:solidFill>
            </c:spPr>
          </c:dPt>
          <c:dPt>
            <c:idx val="1569"/>
            <c:spPr>
              <a:solidFill>
                <a:srgbClr val="AEABAB"/>
              </a:solidFill>
            </c:spPr>
          </c:dPt>
          <c:dPt>
            <c:idx val="1570"/>
            <c:spPr>
              <a:solidFill>
                <a:srgbClr val="AEABAB"/>
              </a:solidFill>
            </c:spPr>
          </c:dPt>
          <c:dPt>
            <c:idx val="1571"/>
            <c:spPr>
              <a:solidFill>
                <a:srgbClr val="AEABAB"/>
              </a:solidFill>
            </c:spPr>
          </c:dPt>
          <c:dPt>
            <c:idx val="1572"/>
            <c:spPr>
              <a:solidFill>
                <a:srgbClr val="AEABAB"/>
              </a:solidFill>
            </c:spPr>
          </c:dPt>
          <c:dPt>
            <c:idx val="1573"/>
            <c:spPr>
              <a:solidFill>
                <a:srgbClr val="AEABAB"/>
              </a:solidFill>
            </c:spPr>
          </c:dPt>
          <c:dPt>
            <c:idx val="1574"/>
            <c:spPr>
              <a:solidFill>
                <a:srgbClr val="AEABAB"/>
              </a:solidFill>
            </c:spPr>
          </c:dPt>
          <c:dPt>
            <c:idx val="1575"/>
            <c:spPr>
              <a:solidFill>
                <a:srgbClr val="AEABAB"/>
              </a:solidFill>
            </c:spPr>
          </c:dPt>
          <c:dPt>
            <c:idx val="1576"/>
            <c:spPr>
              <a:solidFill>
                <a:srgbClr val="AEABAB"/>
              </a:solidFill>
            </c:spPr>
          </c:dPt>
          <c:dPt>
            <c:idx val="1577"/>
            <c:spPr>
              <a:solidFill>
                <a:srgbClr val="AEABAB"/>
              </a:solidFill>
            </c:spPr>
          </c:dPt>
          <c:dPt>
            <c:idx val="1578"/>
            <c:spPr>
              <a:solidFill>
                <a:srgbClr val="AEABAB"/>
              </a:solidFill>
            </c:spPr>
          </c:dPt>
          <c:dPt>
            <c:idx val="1579"/>
            <c:spPr>
              <a:solidFill>
                <a:srgbClr val="AEABAB"/>
              </a:solidFill>
            </c:spPr>
          </c:dPt>
          <c:dPt>
            <c:idx val="1580"/>
            <c:spPr>
              <a:solidFill>
                <a:srgbClr val="AEABAB"/>
              </a:solidFill>
            </c:spPr>
          </c:dPt>
          <c:dPt>
            <c:idx val="1581"/>
            <c:spPr>
              <a:solidFill>
                <a:srgbClr val="AEABAB"/>
              </a:solidFill>
            </c:spPr>
          </c:dPt>
          <c:dPt>
            <c:idx val="1582"/>
            <c:spPr>
              <a:solidFill>
                <a:srgbClr val="AEABAB"/>
              </a:solidFill>
            </c:spPr>
          </c:dPt>
          <c:dPt>
            <c:idx val="1583"/>
            <c:spPr>
              <a:solidFill>
                <a:srgbClr val="AEABAB"/>
              </a:solidFill>
            </c:spPr>
          </c:dPt>
          <c:dPt>
            <c:idx val="1584"/>
            <c:spPr>
              <a:solidFill>
                <a:srgbClr val="AEABAB"/>
              </a:solidFill>
            </c:spPr>
          </c:dPt>
          <c:dPt>
            <c:idx val="1585"/>
            <c:spPr>
              <a:solidFill>
                <a:srgbClr val="AEABAB"/>
              </a:solidFill>
            </c:spPr>
          </c:dPt>
          <c:dPt>
            <c:idx val="1586"/>
            <c:spPr>
              <a:solidFill>
                <a:srgbClr val="AEABAB"/>
              </a:solidFill>
            </c:spPr>
          </c:dPt>
          <c:dPt>
            <c:idx val="1587"/>
            <c:spPr>
              <a:solidFill>
                <a:srgbClr val="AEABAB"/>
              </a:solidFill>
            </c:spPr>
          </c:dPt>
          <c:dPt>
            <c:idx val="1588"/>
            <c:spPr>
              <a:solidFill>
                <a:srgbClr val="AEABAB"/>
              </a:solidFill>
            </c:spPr>
          </c:dPt>
          <c:dPt>
            <c:idx val="1589"/>
            <c:spPr>
              <a:solidFill>
                <a:srgbClr val="AEABAB"/>
              </a:solidFill>
            </c:spPr>
          </c:dPt>
          <c:dPt>
            <c:idx val="1590"/>
            <c:spPr>
              <a:solidFill>
                <a:srgbClr val="AEABAB"/>
              </a:solidFill>
            </c:spPr>
          </c:dPt>
          <c:dPt>
            <c:idx val="1591"/>
            <c:spPr>
              <a:solidFill>
                <a:srgbClr val="AEABAB"/>
              </a:solidFill>
            </c:spPr>
          </c:dPt>
          <c:dPt>
            <c:idx val="1592"/>
            <c:spPr>
              <a:solidFill>
                <a:srgbClr val="AEABAB"/>
              </a:solidFill>
            </c:spPr>
          </c:dPt>
          <c:dPt>
            <c:idx val="1593"/>
            <c:spPr>
              <a:solidFill>
                <a:srgbClr val="AEABAB"/>
              </a:solidFill>
            </c:spPr>
          </c:dPt>
          <c:dPt>
            <c:idx val="1594"/>
            <c:spPr>
              <a:solidFill>
                <a:srgbClr val="AEABAB"/>
              </a:solidFill>
            </c:spPr>
          </c:dPt>
          <c:dPt>
            <c:idx val="1595"/>
            <c:spPr>
              <a:solidFill>
                <a:srgbClr val="AEABAB"/>
              </a:solidFill>
            </c:spPr>
          </c:dPt>
          <c:dPt>
            <c:idx val="1596"/>
            <c:spPr>
              <a:solidFill>
                <a:srgbClr val="AEABAB"/>
              </a:solidFill>
            </c:spPr>
          </c:dPt>
          <c:dPt>
            <c:idx val="1597"/>
            <c:spPr>
              <a:solidFill>
                <a:srgbClr val="AEABAB"/>
              </a:solidFill>
            </c:spPr>
          </c:dPt>
          <c:dPt>
            <c:idx val="1598"/>
            <c:spPr>
              <a:solidFill>
                <a:srgbClr val="AEABAB"/>
              </a:solidFill>
            </c:spPr>
          </c:dPt>
          <c:dPt>
            <c:idx val="1599"/>
            <c:spPr>
              <a:solidFill>
                <a:srgbClr val="AEABAB"/>
              </a:solidFill>
            </c:spPr>
          </c:dPt>
          <c:dPt>
            <c:idx val="1600"/>
            <c:spPr>
              <a:solidFill>
                <a:srgbClr val="AEABAB"/>
              </a:solidFill>
            </c:spPr>
          </c:dPt>
          <c:cat>
            <c:strRef>
              <c:f>Sheet1!$A$2:$A$1602</c:f>
              <c:strCache>
                <c:ptCount val="1601"/>
                <c:pt idx="0">
                  <c:v>Private Lab</c:v>
                </c:pt>
                <c:pt idx="1">
                  <c:v>Private Lab</c:v>
                </c:pt>
                <c:pt idx="2">
                  <c:v>Private Lab</c:v>
                </c:pt>
                <c:pt idx="3">
                  <c:v>Private Lab</c:v>
                </c:pt>
                <c:pt idx="4">
                  <c:v>Private Lab</c:v>
                </c:pt>
                <c:pt idx="5">
                  <c:v>Caprice Des</c:v>
                </c:pt>
                <c:pt idx="6">
                  <c:v>Private Lab</c:v>
                </c:pt>
                <c:pt idx="7">
                  <c:v>Private Lab</c:v>
                </c:pt>
                <c:pt idx="8">
                  <c:v>Private Lab</c:v>
                </c:pt>
                <c:pt idx="9">
                  <c:v>Private Lab</c:v>
                </c:pt>
                <c:pt idx="10">
                  <c:v>Private Lab</c:v>
                </c:pt>
                <c:pt idx="11">
                  <c:v>Private Lab</c:v>
                </c:pt>
                <c:pt idx="12">
                  <c:v>Private Lab</c:v>
                </c:pt>
                <c:pt idx="13">
                  <c:v>Private Lab</c:v>
                </c:pt>
                <c:pt idx="14">
                  <c:v>Private Lab</c:v>
                </c:pt>
                <c:pt idx="15">
                  <c:v>Coeur De Li</c:v>
                </c:pt>
                <c:pt idx="16">
                  <c:v>President</c:v>
                </c:pt>
                <c:pt idx="17">
                  <c:v>Private Lab</c:v>
                </c:pt>
                <c:pt idx="18">
                  <c:v>Mini Babybe</c:v>
                </c:pt>
                <c:pt idx="19">
                  <c:v>Soignon</c:v>
                </c:pt>
                <c:pt idx="20">
                  <c:v>Private Lab</c:v>
                </c:pt>
                <c:pt idx="21">
                  <c:v>Private Lab</c:v>
                </c:pt>
                <c:pt idx="22">
                  <c:v>Entremont</c:v>
                </c:pt>
                <c:pt idx="23">
                  <c:v>Richesmonts</c:v>
                </c:pt>
                <c:pt idx="24">
                  <c:v>Chaussee Au</c:v>
                </c:pt>
                <c:pt idx="25">
                  <c:v>Caprice Des</c:v>
                </c:pt>
                <c:pt idx="26">
                  <c:v>President</c:v>
                </c:pt>
                <c:pt idx="27">
                  <c:v>President</c:v>
                </c:pt>
                <c:pt idx="28">
                  <c:v>Private Lab</c:v>
                </c:pt>
                <c:pt idx="29">
                  <c:v>President</c:v>
                </c:pt>
                <c:pt idx="30">
                  <c:v>La Vache Qu</c:v>
                </c:pt>
                <c:pt idx="31">
                  <c:v>Entremont</c:v>
                </c:pt>
                <c:pt idx="32">
                  <c:v>Private Lab</c:v>
                </c:pt>
                <c:pt idx="33">
                  <c:v>President</c:v>
                </c:pt>
                <c:pt idx="34">
                  <c:v>Private Lab</c:v>
                </c:pt>
                <c:pt idx="35">
                  <c:v>Private Lab</c:v>
                </c:pt>
                <c:pt idx="36">
                  <c:v>Soignon</c:v>
                </c:pt>
                <c:pt idx="37">
                  <c:v>Le Rustique</c:v>
                </c:pt>
                <c:pt idx="38">
                  <c:v>Private Lab</c:v>
                </c:pt>
                <c:pt idx="39">
                  <c:v>Private Lab</c:v>
                </c:pt>
                <c:pt idx="40">
                  <c:v>Private Lab</c:v>
                </c:pt>
                <c:pt idx="41">
                  <c:v>St Moret</c:v>
                </c:pt>
                <c:pt idx="42">
                  <c:v>Private Lab</c:v>
                </c:pt>
                <c:pt idx="43">
                  <c:v>St Moret</c:v>
                </c:pt>
                <c:pt idx="44">
                  <c:v>La Vache Qu</c:v>
                </c:pt>
                <c:pt idx="45">
                  <c:v>Private Lab</c:v>
                </c:pt>
                <c:pt idx="46">
                  <c:v>President</c:v>
                </c:pt>
                <c:pt idx="47">
                  <c:v>Private Lab</c:v>
                </c:pt>
                <c:pt idx="48">
                  <c:v>Societe</c:v>
                </c:pt>
                <c:pt idx="49">
                  <c:v>Leerdammer</c:v>
                </c:pt>
                <c:pt idx="50">
                  <c:v>Private Lab</c:v>
                </c:pt>
                <c:pt idx="51">
                  <c:v>President</c:v>
                </c:pt>
                <c:pt idx="52">
                  <c:v>Private Lab</c:v>
                </c:pt>
                <c:pt idx="53">
                  <c:v>Private Lab</c:v>
                </c:pt>
                <c:pt idx="54">
                  <c:v>Private Lab</c:v>
                </c:pt>
                <c:pt idx="55">
                  <c:v>St Moret</c:v>
                </c:pt>
                <c:pt idx="56">
                  <c:v>President</c:v>
                </c:pt>
                <c:pt idx="57">
                  <c:v>Private Lab</c:v>
                </c:pt>
                <c:pt idx="58">
                  <c:v>Private Lab</c:v>
                </c:pt>
                <c:pt idx="59">
                  <c:v>Private Lab</c:v>
                </c:pt>
                <c:pt idx="60">
                  <c:v>Private Lab</c:v>
                </c:pt>
                <c:pt idx="61">
                  <c:v>Galbani</c:v>
                </c:pt>
                <c:pt idx="62">
                  <c:v>Saint Agur</c:v>
                </c:pt>
                <c:pt idx="63">
                  <c:v>Mini Babybe</c:v>
                </c:pt>
                <c:pt idx="64">
                  <c:v>Tartare</c:v>
                </c:pt>
                <c:pt idx="65">
                  <c:v>Leerdammer</c:v>
                </c:pt>
                <c:pt idx="66">
                  <c:v>Private Lab</c:v>
                </c:pt>
                <c:pt idx="67">
                  <c:v>Chaussee Au</c:v>
                </c:pt>
                <c:pt idx="68">
                  <c:v>Private Lab</c:v>
                </c:pt>
                <c:pt idx="69">
                  <c:v>La Vache Qu</c:v>
                </c:pt>
                <c:pt idx="70">
                  <c:v>Private Lab</c:v>
                </c:pt>
                <c:pt idx="71">
                  <c:v>Coeur De Li</c:v>
                </c:pt>
                <c:pt idx="72">
                  <c:v>Entremont</c:v>
                </c:pt>
                <c:pt idx="73">
                  <c:v>St Moret</c:v>
                </c:pt>
                <c:pt idx="74">
                  <c:v>Entremont</c:v>
                </c:pt>
                <c:pt idx="75">
                  <c:v>Entremont</c:v>
                </c:pt>
                <c:pt idx="76">
                  <c:v>Private Lab</c:v>
                </c:pt>
                <c:pt idx="77">
                  <c:v>Private Lab</c:v>
                </c:pt>
                <c:pt idx="78">
                  <c:v>Salakis</c:v>
                </c:pt>
                <c:pt idx="79">
                  <c:v>President</c:v>
                </c:pt>
                <c:pt idx="80">
                  <c:v>Leerdammer</c:v>
                </c:pt>
                <c:pt idx="81">
                  <c:v>Kiri</c:v>
                </c:pt>
                <c:pt idx="82">
                  <c:v>Soignon</c:v>
                </c:pt>
                <c:pt idx="83">
                  <c:v>Private Lab</c:v>
                </c:pt>
                <c:pt idx="84">
                  <c:v>All Others</c:v>
                </c:pt>
                <c:pt idx="85">
                  <c:v>Entremont</c:v>
                </c:pt>
                <c:pt idx="86">
                  <c:v>Private Lab</c:v>
                </c:pt>
                <c:pt idx="87">
                  <c:v>Entremont</c:v>
                </c:pt>
                <c:pt idx="88">
                  <c:v>Juraflore</c:v>
                </c:pt>
                <c:pt idx="89">
                  <c:v>Private Lab</c:v>
                </c:pt>
                <c:pt idx="90">
                  <c:v>Private Lab</c:v>
                </c:pt>
                <c:pt idx="91">
                  <c:v>Private Lab</c:v>
                </c:pt>
                <c:pt idx="92">
                  <c:v>Private Lab</c:v>
                </c:pt>
                <c:pt idx="93">
                  <c:v>Private Lab</c:v>
                </c:pt>
                <c:pt idx="94">
                  <c:v>Private Lab</c:v>
                </c:pt>
                <c:pt idx="95">
                  <c:v>Bresse Bleu</c:v>
                </c:pt>
                <c:pt idx="96">
                  <c:v>Private Lab</c:v>
                </c:pt>
                <c:pt idx="97">
                  <c:v>Private Lab</c:v>
                </c:pt>
                <c:pt idx="98">
                  <c:v>Apericube</c:v>
                </c:pt>
                <c:pt idx="99">
                  <c:v>Saint Albra</c:v>
                </c:pt>
                <c:pt idx="100">
                  <c:v>Private Lab</c:v>
                </c:pt>
                <c:pt idx="101">
                  <c:v>Galbani</c:v>
                </c:pt>
                <c:pt idx="102">
                  <c:v>Private Lab</c:v>
                </c:pt>
                <c:pt idx="103">
                  <c:v>Saint Agur</c:v>
                </c:pt>
                <c:pt idx="104">
                  <c:v>President</c:v>
                </c:pt>
                <c:pt idx="105">
                  <c:v>Kiri</c:v>
                </c:pt>
                <c:pt idx="106">
                  <c:v>Entremont</c:v>
                </c:pt>
                <c:pt idx="107">
                  <c:v>Private Lab</c:v>
                </c:pt>
                <c:pt idx="108">
                  <c:v>President</c:v>
                </c:pt>
                <c:pt idx="109">
                  <c:v>L'Ortolan</c:v>
                </c:pt>
                <c:pt idx="110">
                  <c:v>Private Lab</c:v>
                </c:pt>
                <c:pt idx="111">
                  <c:v>Private Lab</c:v>
                </c:pt>
                <c:pt idx="112">
                  <c:v>Private Lab</c:v>
                </c:pt>
                <c:pt idx="113">
                  <c:v>President</c:v>
                </c:pt>
                <c:pt idx="114">
                  <c:v>Galbani</c:v>
                </c:pt>
                <c:pt idx="115">
                  <c:v>Apericube</c:v>
                </c:pt>
                <c:pt idx="116">
                  <c:v>Private Lab</c:v>
                </c:pt>
                <c:pt idx="117">
                  <c:v>Private Lab</c:v>
                </c:pt>
                <c:pt idx="118">
                  <c:v>Private Lab</c:v>
                </c:pt>
                <c:pt idx="119">
                  <c:v>Richesmonts</c:v>
                </c:pt>
                <c:pt idx="120">
                  <c:v>Istara</c:v>
                </c:pt>
                <c:pt idx="121">
                  <c:v>Private Lab</c:v>
                </c:pt>
                <c:pt idx="122">
                  <c:v>Parmareggio</c:v>
                </c:pt>
                <c:pt idx="123">
                  <c:v>Leerdammer</c:v>
                </c:pt>
                <c:pt idx="124">
                  <c:v>Paysan Bret</c:v>
                </c:pt>
                <c:pt idx="125">
                  <c:v>Paysan Bret</c:v>
                </c:pt>
                <c:pt idx="126">
                  <c:v>Richesmonts</c:v>
                </c:pt>
                <c:pt idx="127">
                  <c:v>Private Lab</c:v>
                </c:pt>
                <c:pt idx="128">
                  <c:v>Private Lab</c:v>
                </c:pt>
                <c:pt idx="129">
                  <c:v>Apericube</c:v>
                </c:pt>
                <c:pt idx="130">
                  <c:v>Ficello</c:v>
                </c:pt>
                <c:pt idx="131">
                  <c:v>Casa Azzurr</c:v>
                </c:pt>
                <c:pt idx="132">
                  <c:v>Private Lab</c:v>
                </c:pt>
                <c:pt idx="133">
                  <c:v>Pochat</c:v>
                </c:pt>
                <c:pt idx="134">
                  <c:v>Private Lab</c:v>
                </c:pt>
                <c:pt idx="135">
                  <c:v>Tartare</c:v>
                </c:pt>
                <c:pt idx="136">
                  <c:v>Saint Albra</c:v>
                </c:pt>
                <c:pt idx="137">
                  <c:v>Leerdammer</c:v>
                </c:pt>
                <c:pt idx="138">
                  <c:v>L'Ortolan</c:v>
                </c:pt>
                <c:pt idx="139">
                  <c:v>Boursin</c:v>
                </c:pt>
                <c:pt idx="140">
                  <c:v>Entremont</c:v>
                </c:pt>
                <c:pt idx="141">
                  <c:v>Leerdammer</c:v>
                </c:pt>
                <c:pt idx="142">
                  <c:v>President</c:v>
                </c:pt>
                <c:pt idx="143">
                  <c:v>Boursin</c:v>
                </c:pt>
                <c:pt idx="144">
                  <c:v>Private Lab</c:v>
                </c:pt>
                <c:pt idx="145">
                  <c:v>Lou Perac</c:v>
                </c:pt>
                <c:pt idx="146">
                  <c:v>Private Lab</c:v>
                </c:pt>
                <c:pt idx="147">
                  <c:v>Galbani</c:v>
                </c:pt>
                <c:pt idx="148">
                  <c:v>Private Lab</c:v>
                </c:pt>
                <c:pt idx="149">
                  <c:v>Kiri</c:v>
                </c:pt>
                <c:pt idx="150">
                  <c:v>Galbani</c:v>
                </c:pt>
                <c:pt idx="151">
                  <c:v>Galbani</c:v>
                </c:pt>
                <c:pt idx="152">
                  <c:v>Private Lab</c:v>
                </c:pt>
                <c:pt idx="153">
                  <c:v>Kiri</c:v>
                </c:pt>
                <c:pt idx="154">
                  <c:v>Private Lab</c:v>
                </c:pt>
                <c:pt idx="155">
                  <c:v>St Moret</c:v>
                </c:pt>
                <c:pt idx="156">
                  <c:v>Carre Frais</c:v>
                </c:pt>
                <c:pt idx="157">
                  <c:v>Private Lab</c:v>
                </c:pt>
                <c:pt idx="158">
                  <c:v>Private Lab</c:v>
                </c:pt>
                <c:pt idx="159">
                  <c:v>Lepetit</c:v>
                </c:pt>
                <c:pt idx="160">
                  <c:v>President</c:v>
                </c:pt>
                <c:pt idx="161">
                  <c:v>Entremont</c:v>
                </c:pt>
                <c:pt idx="162">
                  <c:v>Boursin</c:v>
                </c:pt>
                <c:pt idx="163">
                  <c:v>Islos</c:v>
                </c:pt>
                <c:pt idx="164">
                  <c:v>Caprice Des</c:v>
                </c:pt>
                <c:pt idx="165">
                  <c:v>Apericube</c:v>
                </c:pt>
                <c:pt idx="166">
                  <c:v>President</c:v>
                </c:pt>
                <c:pt idx="167">
                  <c:v>Private Lab</c:v>
                </c:pt>
                <c:pt idx="168">
                  <c:v>All Others</c:v>
                </c:pt>
                <c:pt idx="169">
                  <c:v>Salakis</c:v>
                </c:pt>
                <c:pt idx="170">
                  <c:v>Carre Frais</c:v>
                </c:pt>
                <c:pt idx="171">
                  <c:v>Coeur De Li</c:v>
                </c:pt>
                <c:pt idx="172">
                  <c:v>President</c:v>
                </c:pt>
                <c:pt idx="173">
                  <c:v>Port Salut</c:v>
                </c:pt>
                <c:pt idx="174">
                  <c:v>Philadelphi</c:v>
                </c:pt>
                <c:pt idx="175">
                  <c:v>President</c:v>
                </c:pt>
                <c:pt idx="176">
                  <c:v>Private Lab</c:v>
                </c:pt>
                <c:pt idx="177">
                  <c:v>Leerdammer</c:v>
                </c:pt>
                <c:pt idx="178">
                  <c:v>Private Lab</c:v>
                </c:pt>
                <c:pt idx="179">
                  <c:v>Boursin</c:v>
                </c:pt>
                <c:pt idx="180">
                  <c:v>Entremont</c:v>
                </c:pt>
                <c:pt idx="181">
                  <c:v>Private Lab</c:v>
                </c:pt>
                <c:pt idx="182">
                  <c:v>Private Lab</c:v>
                </c:pt>
                <c:pt idx="183">
                  <c:v>Entremont</c:v>
                </c:pt>
                <c:pt idx="184">
                  <c:v>Entremont</c:v>
                </c:pt>
                <c:pt idx="185">
                  <c:v>Apericube</c:v>
                </c:pt>
                <c:pt idx="186">
                  <c:v>Private Lab</c:v>
                </c:pt>
                <c:pt idx="187">
                  <c:v>Richesmonts</c:v>
                </c:pt>
                <c:pt idx="188">
                  <c:v>Coeur De Li</c:v>
                </c:pt>
                <c:pt idx="189">
                  <c:v>President</c:v>
                </c:pt>
                <c:pt idx="190">
                  <c:v>Galbani</c:v>
                </c:pt>
                <c:pt idx="191">
                  <c:v>Kiri</c:v>
                </c:pt>
                <c:pt idx="192">
                  <c:v>Galbani</c:v>
                </c:pt>
                <c:pt idx="193">
                  <c:v>St Moret</c:v>
                </c:pt>
                <c:pt idx="194">
                  <c:v>All Others</c:v>
                </c:pt>
                <c:pt idx="195">
                  <c:v>Soignon</c:v>
                </c:pt>
                <c:pt idx="196">
                  <c:v>Private Lab</c:v>
                </c:pt>
                <c:pt idx="197">
                  <c:v>Pave D'Affi</c:v>
                </c:pt>
                <c:pt idx="198">
                  <c:v>President</c:v>
                </c:pt>
                <c:pt idx="199">
                  <c:v>Private Lab</c:v>
                </c:pt>
                <c:pt idx="200">
                  <c:v>Private Lab</c:v>
                </c:pt>
                <c:pt idx="201">
                  <c:v>President</c:v>
                </c:pt>
                <c:pt idx="202">
                  <c:v>Private Lab</c:v>
                </c:pt>
                <c:pt idx="203">
                  <c:v>Coeur De Li</c:v>
                </c:pt>
                <c:pt idx="204">
                  <c:v>Societe</c:v>
                </c:pt>
                <c:pt idx="205">
                  <c:v>Mini Babybe</c:v>
                </c:pt>
                <c:pt idx="206">
                  <c:v>President</c:v>
                </c:pt>
                <c:pt idx="207">
                  <c:v>Private Lab</c:v>
                </c:pt>
                <c:pt idx="208">
                  <c:v>All Others</c:v>
                </c:pt>
                <c:pt idx="209">
                  <c:v>Le Rustique</c:v>
                </c:pt>
                <c:pt idx="210">
                  <c:v>Petit Billy</c:v>
                </c:pt>
                <c:pt idx="211">
                  <c:v>Richesmonts</c:v>
                </c:pt>
                <c:pt idx="212">
                  <c:v>Entremont</c:v>
                </c:pt>
                <c:pt idx="213">
                  <c:v>Private Lab</c:v>
                </c:pt>
                <c:pt idx="214">
                  <c:v>Private Lab</c:v>
                </c:pt>
                <c:pt idx="215">
                  <c:v>Private Lab</c:v>
                </c:pt>
                <c:pt idx="216">
                  <c:v>Private Lab</c:v>
                </c:pt>
                <c:pt idx="217">
                  <c:v>Vieux Pane</c:v>
                </c:pt>
                <c:pt idx="218">
                  <c:v>Private Lab</c:v>
                </c:pt>
                <c:pt idx="219">
                  <c:v>Istara</c:v>
                </c:pt>
                <c:pt idx="220">
                  <c:v>Private Lab</c:v>
                </c:pt>
                <c:pt idx="221">
                  <c:v>Private Lab</c:v>
                </c:pt>
                <c:pt idx="222">
                  <c:v>President</c:v>
                </c:pt>
                <c:pt idx="223">
                  <c:v>Apericube</c:v>
                </c:pt>
                <c:pt idx="224">
                  <c:v>Private Lab</c:v>
                </c:pt>
                <c:pt idx="225">
                  <c:v>Private Lab</c:v>
                </c:pt>
                <c:pt idx="226">
                  <c:v>Saint Agur</c:v>
                </c:pt>
                <c:pt idx="227">
                  <c:v>Babybel</c:v>
                </c:pt>
                <c:pt idx="228">
                  <c:v>President</c:v>
                </c:pt>
                <c:pt idx="229">
                  <c:v>Private Lab</c:v>
                </c:pt>
                <c:pt idx="230">
                  <c:v>Philadelphi</c:v>
                </c:pt>
                <c:pt idx="231">
                  <c:v>Pochat</c:v>
                </c:pt>
                <c:pt idx="232">
                  <c:v>Apericube</c:v>
                </c:pt>
                <c:pt idx="233">
                  <c:v>Ficello</c:v>
                </c:pt>
                <c:pt idx="234">
                  <c:v>Private Lab</c:v>
                </c:pt>
                <c:pt idx="235">
                  <c:v>Aperivrais</c:v>
                </c:pt>
                <c:pt idx="236">
                  <c:v>Private Lab</c:v>
                </c:pt>
                <c:pt idx="237">
                  <c:v>Private Lab</c:v>
                </c:pt>
                <c:pt idx="238">
                  <c:v>Private Lab</c:v>
                </c:pt>
                <c:pt idx="239">
                  <c:v>President</c:v>
                </c:pt>
                <c:pt idx="240">
                  <c:v>Saint Agur</c:v>
                </c:pt>
                <c:pt idx="241">
                  <c:v>Entremont</c:v>
                </c:pt>
                <c:pt idx="242">
                  <c:v>Private Lab</c:v>
                </c:pt>
                <c:pt idx="243">
                  <c:v>Private Lab</c:v>
                </c:pt>
                <c:pt idx="244">
                  <c:v>Private Lab</c:v>
                </c:pt>
                <c:pt idx="245">
                  <c:v>Private Lab</c:v>
                </c:pt>
                <c:pt idx="246">
                  <c:v>Private Lab</c:v>
                </c:pt>
                <c:pt idx="247">
                  <c:v>Cousteron</c:v>
                </c:pt>
                <c:pt idx="248">
                  <c:v>Soignon</c:v>
                </c:pt>
                <c:pt idx="249">
                  <c:v>All Others</c:v>
                </c:pt>
                <c:pt idx="250">
                  <c:v>Le Rustique</c:v>
                </c:pt>
                <c:pt idx="251">
                  <c:v>Soignon</c:v>
                </c:pt>
                <c:pt idx="252">
                  <c:v>Etorki</c:v>
                </c:pt>
                <c:pt idx="253">
                  <c:v>Private Lab</c:v>
                </c:pt>
                <c:pt idx="254">
                  <c:v>Private Lab</c:v>
                </c:pt>
                <c:pt idx="255">
                  <c:v>Apericube</c:v>
                </c:pt>
                <c:pt idx="256">
                  <c:v>Private Lab</c:v>
                </c:pt>
                <c:pt idx="257">
                  <c:v>Casa Azzurr</c:v>
                </c:pt>
                <c:pt idx="258">
                  <c:v>Private Lab</c:v>
                </c:pt>
                <c:pt idx="259">
                  <c:v>Private Lab</c:v>
                </c:pt>
                <c:pt idx="260">
                  <c:v>St Moret</c:v>
                </c:pt>
                <c:pt idx="261">
                  <c:v>Private Lab</c:v>
                </c:pt>
                <c:pt idx="262">
                  <c:v>Private Lab</c:v>
                </c:pt>
                <c:pt idx="263">
                  <c:v>Saint Agur</c:v>
                </c:pt>
                <c:pt idx="264">
                  <c:v>Private Lab</c:v>
                </c:pt>
                <c:pt idx="265">
                  <c:v>Soignon</c:v>
                </c:pt>
                <c:pt idx="266">
                  <c:v>All Others</c:v>
                </c:pt>
                <c:pt idx="267">
                  <c:v>Private Lab</c:v>
                </c:pt>
                <c:pt idx="268">
                  <c:v>Private Lab</c:v>
                </c:pt>
                <c:pt idx="269">
                  <c:v>All Others</c:v>
                </c:pt>
                <c:pt idx="270">
                  <c:v>Societe</c:v>
                </c:pt>
                <c:pt idx="271">
                  <c:v>Richesmonts</c:v>
                </c:pt>
                <c:pt idx="272">
                  <c:v>Lactalis: A</c:v>
                </c:pt>
                <c:pt idx="273">
                  <c:v>Casa Azzurr</c:v>
                </c:pt>
                <c:pt idx="274">
                  <c:v>Private Lab</c:v>
                </c:pt>
                <c:pt idx="275">
                  <c:v>Tartare</c:v>
                </c:pt>
                <c:pt idx="276">
                  <c:v>Private Lab</c:v>
                </c:pt>
                <c:pt idx="277">
                  <c:v>Private Lab</c:v>
                </c:pt>
                <c:pt idx="278">
                  <c:v>Private Lab</c:v>
                </c:pt>
                <c:pt idx="279">
                  <c:v>Leerdammer</c:v>
                </c:pt>
                <c:pt idx="280">
                  <c:v>La Vache Qu</c:v>
                </c:pt>
                <c:pt idx="281">
                  <c:v>All Others</c:v>
                </c:pt>
                <c:pt idx="282">
                  <c:v>Societe</c:v>
                </c:pt>
                <c:pt idx="283">
                  <c:v>Caprice Des</c:v>
                </c:pt>
                <c:pt idx="284">
                  <c:v>Private Lab</c:v>
                </c:pt>
                <c:pt idx="285">
                  <c:v>Boursin</c:v>
                </c:pt>
                <c:pt idx="286">
                  <c:v>Soignon</c:v>
                </c:pt>
                <c:pt idx="287">
                  <c:v>Parmareggio</c:v>
                </c:pt>
                <c:pt idx="288">
                  <c:v>Apericube</c:v>
                </c:pt>
                <c:pt idx="289">
                  <c:v>Private Lab</c:v>
                </c:pt>
                <c:pt idx="290">
                  <c:v>Private Lab</c:v>
                </c:pt>
                <c:pt idx="291">
                  <c:v>Ficello</c:v>
                </c:pt>
                <c:pt idx="292">
                  <c:v>Richesmonts</c:v>
                </c:pt>
                <c:pt idx="293">
                  <c:v>Fol Epi</c:v>
                </c:pt>
                <c:pt idx="294">
                  <c:v>President</c:v>
                </c:pt>
                <c:pt idx="295">
                  <c:v>Entremont</c:v>
                </c:pt>
                <c:pt idx="296">
                  <c:v>Private Lab</c:v>
                </c:pt>
                <c:pt idx="297">
                  <c:v>P'Tit Louis</c:v>
                </c:pt>
                <c:pt idx="298">
                  <c:v>Coeur De Li</c:v>
                </c:pt>
                <c:pt idx="299">
                  <c:v>Leerdammer</c:v>
                </c:pt>
                <c:pt idx="300">
                  <c:v>Casa Azzurr</c:v>
                </c:pt>
                <c:pt idx="301">
                  <c:v>La Vache Qu</c:v>
                </c:pt>
                <c:pt idx="302">
                  <c:v>Private Lab</c:v>
                </c:pt>
                <c:pt idx="303">
                  <c:v>Soignon</c:v>
                </c:pt>
                <c:pt idx="304">
                  <c:v>All Others</c:v>
                </c:pt>
                <c:pt idx="305">
                  <c:v>All Others</c:v>
                </c:pt>
                <c:pt idx="306">
                  <c:v>Private Lab</c:v>
                </c:pt>
                <c:pt idx="307">
                  <c:v>All Others</c:v>
                </c:pt>
                <c:pt idx="308">
                  <c:v>Private Lab</c:v>
                </c:pt>
                <c:pt idx="309">
                  <c:v>Pave D'Affi</c:v>
                </c:pt>
                <c:pt idx="310">
                  <c:v>Chavroux</c:v>
                </c:pt>
                <c:pt idx="311">
                  <c:v>Boursin</c:v>
                </c:pt>
                <c:pt idx="312">
                  <c:v>Private Lab</c:v>
                </c:pt>
                <c:pt idx="313">
                  <c:v>Private Lab</c:v>
                </c:pt>
                <c:pt idx="314">
                  <c:v>Private Lab</c:v>
                </c:pt>
                <c:pt idx="315">
                  <c:v>Lactalis: A</c:v>
                </c:pt>
                <c:pt idx="316">
                  <c:v>President</c:v>
                </c:pt>
                <c:pt idx="317">
                  <c:v>Paysan Bret</c:v>
                </c:pt>
                <c:pt idx="318">
                  <c:v>Salakis</c:v>
                </c:pt>
                <c:pt idx="319">
                  <c:v>Le Brebiou</c:v>
                </c:pt>
                <c:pt idx="320">
                  <c:v>Private Lab</c:v>
                </c:pt>
                <c:pt idx="321">
                  <c:v>Bresse Bleu</c:v>
                </c:pt>
                <c:pt idx="322">
                  <c:v>Private Lab</c:v>
                </c:pt>
                <c:pt idx="323">
                  <c:v>Richesmonts</c:v>
                </c:pt>
                <c:pt idx="324">
                  <c:v>President</c:v>
                </c:pt>
                <c:pt idx="325">
                  <c:v>Private Lab</c:v>
                </c:pt>
                <c:pt idx="326">
                  <c:v>Private Lab</c:v>
                </c:pt>
                <c:pt idx="327">
                  <c:v>Boursin</c:v>
                </c:pt>
                <c:pt idx="328">
                  <c:v>Private Lab</c:v>
                </c:pt>
                <c:pt idx="329">
                  <c:v>St Moret</c:v>
                </c:pt>
                <c:pt idx="330">
                  <c:v>Private Lab</c:v>
                </c:pt>
                <c:pt idx="331">
                  <c:v>Boursin</c:v>
                </c:pt>
                <c:pt idx="332">
                  <c:v>Galbani</c:v>
                </c:pt>
                <c:pt idx="333">
                  <c:v>Savencia: A</c:v>
                </c:pt>
                <c:pt idx="334">
                  <c:v>Apericube</c:v>
                </c:pt>
                <c:pt idx="335">
                  <c:v>Private Lab</c:v>
                </c:pt>
                <c:pt idx="336">
                  <c:v>Private Lab</c:v>
                </c:pt>
                <c:pt idx="337">
                  <c:v>Savencia: A</c:v>
                </c:pt>
                <c:pt idx="338">
                  <c:v>Entremont</c:v>
                </c:pt>
                <c:pt idx="339">
                  <c:v>Soignon</c:v>
                </c:pt>
                <c:pt idx="340">
                  <c:v>Boursin</c:v>
                </c:pt>
                <c:pt idx="341">
                  <c:v>President</c:v>
                </c:pt>
                <c:pt idx="342">
                  <c:v>Paturages</c:v>
                </c:pt>
                <c:pt idx="343">
                  <c:v>Private Lab</c:v>
                </c:pt>
                <c:pt idx="344">
                  <c:v>Soignon</c:v>
                </c:pt>
                <c:pt idx="345">
                  <c:v>Private Lab</c:v>
                </c:pt>
                <c:pt idx="346">
                  <c:v>Casa Azzurr</c:v>
                </c:pt>
                <c:pt idx="347">
                  <c:v>Galbani</c:v>
                </c:pt>
                <c:pt idx="348">
                  <c:v>All Others</c:v>
                </c:pt>
                <c:pt idx="349">
                  <c:v>Casa Azzurr</c:v>
                </c:pt>
                <c:pt idx="350">
                  <c:v>Paysan Bret</c:v>
                </c:pt>
                <c:pt idx="351">
                  <c:v>Private Lab</c:v>
                </c:pt>
                <c:pt idx="352">
                  <c:v>Aperivrais</c:v>
                </c:pt>
                <c:pt idx="353">
                  <c:v>Private Lab</c:v>
                </c:pt>
                <c:pt idx="354">
                  <c:v>Milleret: A</c:v>
                </c:pt>
                <c:pt idx="355">
                  <c:v>Aperivrais</c:v>
                </c:pt>
                <c:pt idx="356">
                  <c:v>Private Lab</c:v>
                </c:pt>
                <c:pt idx="357">
                  <c:v>Le Rustique</c:v>
                </c:pt>
                <c:pt idx="358">
                  <c:v>Pave D'Affi</c:v>
                </c:pt>
                <c:pt idx="359">
                  <c:v>Private Lab</c:v>
                </c:pt>
                <c:pt idx="360">
                  <c:v>Private Lab</c:v>
                </c:pt>
                <c:pt idx="361">
                  <c:v>Private Lab</c:v>
                </c:pt>
                <c:pt idx="362">
                  <c:v>Fauquet</c:v>
                </c:pt>
                <c:pt idx="363">
                  <c:v>All Others</c:v>
                </c:pt>
                <c:pt idx="364">
                  <c:v>Savencia: A</c:v>
                </c:pt>
                <c:pt idx="365">
                  <c:v>All Others</c:v>
                </c:pt>
                <c:pt idx="366">
                  <c:v>Paysan Bret</c:v>
                </c:pt>
                <c:pt idx="367">
                  <c:v>Galbani</c:v>
                </c:pt>
                <c:pt idx="368">
                  <c:v>Private Lab</c:v>
                </c:pt>
                <c:pt idx="369">
                  <c:v>Private Lab</c:v>
                </c:pt>
                <c:pt idx="370">
                  <c:v>Private Lab</c:v>
                </c:pt>
                <c:pt idx="371">
                  <c:v>Salakis</c:v>
                </c:pt>
                <c:pt idx="372">
                  <c:v>Entremont</c:v>
                </c:pt>
                <c:pt idx="373">
                  <c:v>Soignon</c:v>
                </c:pt>
                <c:pt idx="374">
                  <c:v>President</c:v>
                </c:pt>
                <c:pt idx="375">
                  <c:v>La Vache Qu</c:v>
                </c:pt>
                <c:pt idx="376">
                  <c:v>Casa Azzurr</c:v>
                </c:pt>
                <c:pt idx="377">
                  <c:v>Private Lab</c:v>
                </c:pt>
                <c:pt idx="378">
                  <c:v>Galbani</c:v>
                </c:pt>
                <c:pt idx="379">
                  <c:v>Casa Azzurr</c:v>
                </c:pt>
                <c:pt idx="380">
                  <c:v>Lou Perac</c:v>
                </c:pt>
                <c:pt idx="381">
                  <c:v>Carre Frais</c:v>
                </c:pt>
                <c:pt idx="382">
                  <c:v>Private Lab</c:v>
                </c:pt>
                <c:pt idx="383">
                  <c:v>Paysan Bret</c:v>
                </c:pt>
                <c:pt idx="384">
                  <c:v>Galbani</c:v>
                </c:pt>
                <c:pt idx="385">
                  <c:v>Private Lab</c:v>
                </c:pt>
                <c:pt idx="386">
                  <c:v>Galbani</c:v>
                </c:pt>
                <c:pt idx="387">
                  <c:v>Boursin</c:v>
                </c:pt>
                <c:pt idx="388">
                  <c:v>Private Lab</c:v>
                </c:pt>
                <c:pt idx="389">
                  <c:v>Societe</c:v>
                </c:pt>
                <c:pt idx="390">
                  <c:v>Private Lab</c:v>
                </c:pt>
                <c:pt idx="391">
                  <c:v>Richesmonts</c:v>
                </c:pt>
                <c:pt idx="392">
                  <c:v>All Others</c:v>
                </c:pt>
                <c:pt idx="393">
                  <c:v>Tartare</c:v>
                </c:pt>
                <c:pt idx="394">
                  <c:v>Entremont</c:v>
                </c:pt>
                <c:pt idx="395">
                  <c:v>Private Lab</c:v>
                </c:pt>
                <c:pt idx="396">
                  <c:v>Chavroux</c:v>
                </c:pt>
                <c:pt idx="397">
                  <c:v>Casa Azzurr</c:v>
                </c:pt>
                <c:pt idx="398">
                  <c:v>Private Lab</c:v>
                </c:pt>
                <c:pt idx="399">
                  <c:v>L'Ortolan</c:v>
                </c:pt>
                <c:pt idx="400">
                  <c:v>Lactalis: A</c:v>
                </c:pt>
                <c:pt idx="401">
                  <c:v>Soignon</c:v>
                </c:pt>
                <c:pt idx="402">
                  <c:v>Private Lab</c:v>
                </c:pt>
                <c:pt idx="403">
                  <c:v>Galbani</c:v>
                </c:pt>
                <c:pt idx="404">
                  <c:v>Private Lab</c:v>
                </c:pt>
                <c:pt idx="405">
                  <c:v>Pave D'Affi</c:v>
                </c:pt>
                <c:pt idx="406">
                  <c:v>Private Lab</c:v>
                </c:pt>
                <c:pt idx="407">
                  <c:v>Societe</c:v>
                </c:pt>
                <c:pt idx="408">
                  <c:v>Private Lab</c:v>
                </c:pt>
                <c:pt idx="409">
                  <c:v>Private Lab</c:v>
                </c:pt>
                <c:pt idx="410">
                  <c:v>Private Lab</c:v>
                </c:pt>
                <c:pt idx="411">
                  <c:v>All Others</c:v>
                </c:pt>
                <c:pt idx="412">
                  <c:v>Private Lab</c:v>
                </c:pt>
                <c:pt idx="413">
                  <c:v>Boursin</c:v>
                </c:pt>
                <c:pt idx="414">
                  <c:v>Private Lab</c:v>
                </c:pt>
                <c:pt idx="415">
                  <c:v>Private Lab</c:v>
                </c:pt>
                <c:pt idx="416">
                  <c:v>Private Lab</c:v>
                </c:pt>
                <c:pt idx="417">
                  <c:v>Boursin</c:v>
                </c:pt>
                <c:pt idx="418">
                  <c:v>All Others</c:v>
                </c:pt>
                <c:pt idx="419">
                  <c:v>Paysan Bret</c:v>
                </c:pt>
                <c:pt idx="420">
                  <c:v>Private Lab</c:v>
                </c:pt>
                <c:pt idx="421">
                  <c:v>All Others</c:v>
                </c:pt>
                <c:pt idx="422">
                  <c:v>Caprice Des</c:v>
                </c:pt>
                <c:pt idx="423">
                  <c:v>Eurial Autr</c:v>
                </c:pt>
                <c:pt idx="424">
                  <c:v>All Others</c:v>
                </c:pt>
                <c:pt idx="425">
                  <c:v>Casa Azzurr</c:v>
                </c:pt>
                <c:pt idx="426">
                  <c:v>Boursin</c:v>
                </c:pt>
                <c:pt idx="427">
                  <c:v>President</c:v>
                </c:pt>
                <c:pt idx="428">
                  <c:v>Mini Babybe</c:v>
                </c:pt>
                <c:pt idx="429">
                  <c:v>All Others</c:v>
                </c:pt>
                <c:pt idx="430">
                  <c:v>Private Lab</c:v>
                </c:pt>
                <c:pt idx="431">
                  <c:v>Private Lab</c:v>
                </c:pt>
                <c:pt idx="432">
                  <c:v>President</c:v>
                </c:pt>
                <c:pt idx="433">
                  <c:v>Boursin</c:v>
                </c:pt>
                <c:pt idx="434">
                  <c:v>Societe</c:v>
                </c:pt>
                <c:pt idx="435">
                  <c:v>Salakis</c:v>
                </c:pt>
                <c:pt idx="436">
                  <c:v>St Moret</c:v>
                </c:pt>
                <c:pt idx="437">
                  <c:v>Private Lab</c:v>
                </c:pt>
                <c:pt idx="438">
                  <c:v>Leerdammer</c:v>
                </c:pt>
                <c:pt idx="439">
                  <c:v>Private Lab</c:v>
                </c:pt>
                <c:pt idx="440">
                  <c:v>Top Budget</c:v>
                </c:pt>
                <c:pt idx="441">
                  <c:v>Juraflore</c:v>
                </c:pt>
                <c:pt idx="442">
                  <c:v>Private Lab</c:v>
                </c:pt>
                <c:pt idx="443">
                  <c:v>La Belle Et</c:v>
                </c:pt>
                <c:pt idx="444">
                  <c:v>Richesmonts</c:v>
                </c:pt>
                <c:pt idx="445">
                  <c:v>Private Lab</c:v>
                </c:pt>
                <c:pt idx="446">
                  <c:v>Savencia: A</c:v>
                </c:pt>
                <c:pt idx="447">
                  <c:v>Private Lab</c:v>
                </c:pt>
                <c:pt idx="448">
                  <c:v>Richesmonts</c:v>
                </c:pt>
                <c:pt idx="449">
                  <c:v>Tartare</c:v>
                </c:pt>
                <c:pt idx="450">
                  <c:v>Mini Babybe</c:v>
                </c:pt>
                <c:pt idx="451">
                  <c:v>St Moret</c:v>
                </c:pt>
                <c:pt idx="452">
                  <c:v>Private Lab</c:v>
                </c:pt>
                <c:pt idx="453">
                  <c:v>Etorki</c:v>
                </c:pt>
                <c:pt idx="454">
                  <c:v>Lactalis: A</c:v>
                </c:pt>
                <c:pt idx="455">
                  <c:v>Galbani</c:v>
                </c:pt>
                <c:pt idx="456">
                  <c:v>Lou Perac</c:v>
                </c:pt>
                <c:pt idx="457">
                  <c:v>Private Lab</c:v>
                </c:pt>
                <c:pt idx="458">
                  <c:v>President</c:v>
                </c:pt>
                <c:pt idx="459">
                  <c:v>Private Lab</c:v>
                </c:pt>
                <c:pt idx="460">
                  <c:v>Savencia: A</c:v>
                </c:pt>
                <c:pt idx="461">
                  <c:v>Entremont</c:v>
                </c:pt>
                <c:pt idx="462">
                  <c:v>Private Lab</c:v>
                </c:pt>
                <c:pt idx="463">
                  <c:v>St Moret</c:v>
                </c:pt>
                <c:pt idx="464">
                  <c:v>Eurial Autr</c:v>
                </c:pt>
                <c:pt idx="465">
                  <c:v>Private Lab</c:v>
                </c:pt>
                <c:pt idx="466">
                  <c:v>Paysan Bret</c:v>
                </c:pt>
                <c:pt idx="467">
                  <c:v>Saint Agur</c:v>
                </c:pt>
                <c:pt idx="468">
                  <c:v>Pave D'Affi</c:v>
                </c:pt>
                <c:pt idx="469">
                  <c:v>Caprice Des</c:v>
                </c:pt>
                <c:pt idx="470">
                  <c:v>Kiri</c:v>
                </c:pt>
                <c:pt idx="471">
                  <c:v>Salakis</c:v>
                </c:pt>
                <c:pt idx="472">
                  <c:v>Lou Perac</c:v>
                </c:pt>
                <c:pt idx="473">
                  <c:v>Caprice Des</c:v>
                </c:pt>
                <c:pt idx="474">
                  <c:v>Apericube</c:v>
                </c:pt>
                <c:pt idx="475">
                  <c:v>All Others</c:v>
                </c:pt>
                <c:pt idx="476">
                  <c:v>President</c:v>
                </c:pt>
                <c:pt idx="477">
                  <c:v>Tartare</c:v>
                </c:pt>
                <c:pt idx="478">
                  <c:v>Private Lab</c:v>
                </c:pt>
                <c:pt idx="479">
                  <c:v>Aperivrais</c:v>
                </c:pt>
                <c:pt idx="480">
                  <c:v>Casa Azzurr</c:v>
                </c:pt>
                <c:pt idx="481">
                  <c:v>Private Lab</c:v>
                </c:pt>
                <c:pt idx="482">
                  <c:v>Private Lab</c:v>
                </c:pt>
                <c:pt idx="483">
                  <c:v>Aperivrais</c:v>
                </c:pt>
                <c:pt idx="484">
                  <c:v>St Moret</c:v>
                </c:pt>
                <c:pt idx="485">
                  <c:v>Boursin</c:v>
                </c:pt>
                <c:pt idx="486">
                  <c:v>Casa Azzurr</c:v>
                </c:pt>
                <c:pt idx="487">
                  <c:v>Tartare</c:v>
                </c:pt>
                <c:pt idx="488">
                  <c:v>La Vache Qu</c:v>
                </c:pt>
                <c:pt idx="489">
                  <c:v>Vieux Pane</c:v>
                </c:pt>
                <c:pt idx="490">
                  <c:v>La Belle Et</c:v>
                </c:pt>
                <c:pt idx="491">
                  <c:v>Paysan Bret</c:v>
                </c:pt>
                <c:pt idx="492">
                  <c:v>Tartare</c:v>
                </c:pt>
                <c:pt idx="493">
                  <c:v>Etoile Du V</c:v>
                </c:pt>
                <c:pt idx="494">
                  <c:v>Pochat</c:v>
                </c:pt>
                <c:pt idx="495">
                  <c:v>Vieux Pane</c:v>
                </c:pt>
                <c:pt idx="496">
                  <c:v>Le Rustique</c:v>
                </c:pt>
                <c:pt idx="497">
                  <c:v>Private Lab</c:v>
                </c:pt>
                <c:pt idx="498">
                  <c:v>Juraflore</c:v>
                </c:pt>
                <c:pt idx="499">
                  <c:v>Soignon</c:v>
                </c:pt>
                <c:pt idx="500">
                  <c:v>Kiri</c:v>
                </c:pt>
                <c:pt idx="501">
                  <c:v>All Others</c:v>
                </c:pt>
                <c:pt idx="502">
                  <c:v>Private Lab</c:v>
                </c:pt>
                <c:pt idx="503">
                  <c:v>Private Lab</c:v>
                </c:pt>
                <c:pt idx="504">
                  <c:v>Private Lab</c:v>
                </c:pt>
                <c:pt idx="505">
                  <c:v>All Others</c:v>
                </c:pt>
                <c:pt idx="506">
                  <c:v>Entremont</c:v>
                </c:pt>
                <c:pt idx="507">
                  <c:v>Istara</c:v>
                </c:pt>
                <c:pt idx="508">
                  <c:v>L'Ortolan</c:v>
                </c:pt>
                <c:pt idx="509">
                  <c:v>All Others</c:v>
                </c:pt>
                <c:pt idx="510">
                  <c:v>L'Ortolan</c:v>
                </c:pt>
                <c:pt idx="511">
                  <c:v>Bresse Bleu</c:v>
                </c:pt>
                <c:pt idx="512">
                  <c:v>Entremont</c:v>
                </c:pt>
                <c:pt idx="513">
                  <c:v>Galbani</c:v>
                </c:pt>
                <c:pt idx="514">
                  <c:v>Soignon</c:v>
                </c:pt>
                <c:pt idx="515">
                  <c:v>Private Lab</c:v>
                </c:pt>
                <c:pt idx="516">
                  <c:v>All Others</c:v>
                </c:pt>
                <c:pt idx="517">
                  <c:v>Le Coq Crem</c:v>
                </c:pt>
                <c:pt idx="518">
                  <c:v>Soignon</c:v>
                </c:pt>
                <c:pt idx="519">
                  <c:v>All Others</c:v>
                </c:pt>
                <c:pt idx="520">
                  <c:v>Kiri</c:v>
                </c:pt>
                <c:pt idx="521">
                  <c:v>President</c:v>
                </c:pt>
                <c:pt idx="522">
                  <c:v>All Others</c:v>
                </c:pt>
                <c:pt idx="523">
                  <c:v>St Moret</c:v>
                </c:pt>
                <c:pt idx="524">
                  <c:v>All Others</c:v>
                </c:pt>
                <c:pt idx="525">
                  <c:v>Galbani</c:v>
                </c:pt>
                <c:pt idx="526">
                  <c:v>All Others</c:v>
                </c:pt>
                <c:pt idx="527">
                  <c:v>Casa Azzurr</c:v>
                </c:pt>
                <c:pt idx="528">
                  <c:v>Entremont</c:v>
                </c:pt>
                <c:pt idx="529">
                  <c:v>Savencia: A</c:v>
                </c:pt>
                <c:pt idx="530">
                  <c:v>All Others</c:v>
                </c:pt>
                <c:pt idx="531">
                  <c:v>Private Lab</c:v>
                </c:pt>
                <c:pt idx="532">
                  <c:v>Paturages</c:v>
                </c:pt>
                <c:pt idx="533">
                  <c:v>Mini Babybe</c:v>
                </c:pt>
                <c:pt idx="534">
                  <c:v>Apericube</c:v>
                </c:pt>
                <c:pt idx="535">
                  <c:v>All Others</c:v>
                </c:pt>
                <c:pt idx="536">
                  <c:v>Soignon</c:v>
                </c:pt>
                <c:pt idx="537">
                  <c:v>Private Lab</c:v>
                </c:pt>
                <c:pt idx="538">
                  <c:v>All Others</c:v>
                </c:pt>
                <c:pt idx="539">
                  <c:v>Paysan Bret</c:v>
                </c:pt>
                <c:pt idx="540">
                  <c:v>All Others</c:v>
                </c:pt>
                <c:pt idx="541">
                  <c:v>Pochat</c:v>
                </c:pt>
                <c:pt idx="542">
                  <c:v>Casa Azzurr</c:v>
                </c:pt>
                <c:pt idx="543">
                  <c:v>Private Lab</c:v>
                </c:pt>
                <c:pt idx="544">
                  <c:v>Leerdammer</c:v>
                </c:pt>
                <c:pt idx="545">
                  <c:v>All Others</c:v>
                </c:pt>
                <c:pt idx="546">
                  <c:v>Le Saint Am</c:v>
                </c:pt>
                <c:pt idx="547">
                  <c:v>Entremont</c:v>
                </c:pt>
                <c:pt idx="548">
                  <c:v>Coeur De Li</c:v>
                </c:pt>
                <c:pt idx="549">
                  <c:v>Corsica</c:v>
                </c:pt>
                <c:pt idx="550">
                  <c:v>Casa Azzurr</c:v>
                </c:pt>
                <c:pt idx="551">
                  <c:v>All Others</c:v>
                </c:pt>
                <c:pt idx="552">
                  <c:v>Private Lab</c:v>
                </c:pt>
                <c:pt idx="553">
                  <c:v>Islos</c:v>
                </c:pt>
                <c:pt idx="554">
                  <c:v>All Others</c:v>
                </c:pt>
                <c:pt idx="555">
                  <c:v>Soignon</c:v>
                </c:pt>
                <c:pt idx="556">
                  <c:v>Paturages</c:v>
                </c:pt>
                <c:pt idx="557">
                  <c:v>Top Budget</c:v>
                </c:pt>
                <c:pt idx="558">
                  <c:v>All Others</c:v>
                </c:pt>
                <c:pt idx="559">
                  <c:v>Richesmonts</c:v>
                </c:pt>
                <c:pt idx="560">
                  <c:v>Eurial Autr</c:v>
                </c:pt>
                <c:pt idx="561">
                  <c:v>Lactalis: A</c:v>
                </c:pt>
                <c:pt idx="562">
                  <c:v>Entremont</c:v>
                </c:pt>
                <c:pt idx="563">
                  <c:v>Paysan Bret</c:v>
                </c:pt>
                <c:pt idx="564">
                  <c:v>Private Lab</c:v>
                </c:pt>
                <c:pt idx="565">
                  <c:v>La Belle Et</c:v>
                </c:pt>
                <c:pt idx="566">
                  <c:v>Mini Babybe</c:v>
                </c:pt>
                <c:pt idx="567">
                  <c:v>Fol Epi</c:v>
                </c:pt>
                <c:pt idx="568">
                  <c:v>Milleret: A</c:v>
                </c:pt>
                <c:pt idx="569">
                  <c:v>Raguin</c:v>
                </c:pt>
                <c:pt idx="570">
                  <c:v>All Others</c:v>
                </c:pt>
                <c:pt idx="571">
                  <c:v>Boursin</c:v>
                </c:pt>
                <c:pt idx="572">
                  <c:v>Kiri</c:v>
                </c:pt>
                <c:pt idx="573">
                  <c:v>Savencia: A</c:v>
                </c:pt>
                <c:pt idx="574">
                  <c:v>Societe</c:v>
                </c:pt>
                <c:pt idx="575">
                  <c:v>Soignon</c:v>
                </c:pt>
                <c:pt idx="576">
                  <c:v>Kiri</c:v>
                </c:pt>
                <c:pt idx="577">
                  <c:v>All Others</c:v>
                </c:pt>
                <c:pt idx="578">
                  <c:v>Ranou</c:v>
                </c:pt>
                <c:pt idx="579">
                  <c:v>La Belle Et</c:v>
                </c:pt>
                <c:pt idx="580">
                  <c:v>Paysan Bret</c:v>
                </c:pt>
                <c:pt idx="581">
                  <c:v>Raguin</c:v>
                </c:pt>
                <c:pt idx="582">
                  <c:v>Private Lab</c:v>
                </c:pt>
                <c:pt idx="583">
                  <c:v>Private Lab</c:v>
                </c:pt>
                <c:pt idx="584">
                  <c:v>Milleret: A</c:v>
                </c:pt>
                <c:pt idx="585">
                  <c:v>Lactalis: A</c:v>
                </c:pt>
                <c:pt idx="586">
                  <c:v>All Others</c:v>
                </c:pt>
                <c:pt idx="587">
                  <c:v>Private Lab</c:v>
                </c:pt>
                <c:pt idx="588">
                  <c:v>All Others</c:v>
                </c:pt>
                <c:pt idx="589">
                  <c:v>P'Tit Louis</c:v>
                </c:pt>
                <c:pt idx="590">
                  <c:v>All Others</c:v>
                </c:pt>
                <c:pt idx="591">
                  <c:v>All Others</c:v>
                </c:pt>
                <c:pt idx="592">
                  <c:v>All Others</c:v>
                </c:pt>
                <c:pt idx="593">
                  <c:v>Etoile Du Q</c:v>
                </c:pt>
                <c:pt idx="594">
                  <c:v>Galbani</c:v>
                </c:pt>
                <c:pt idx="595">
                  <c:v>All Others</c:v>
                </c:pt>
                <c:pt idx="596">
                  <c:v>Caprice Des</c:v>
                </c:pt>
                <c:pt idx="597">
                  <c:v>Triballat N</c:v>
                </c:pt>
                <c:pt idx="598">
                  <c:v>Lactalis: A</c:v>
                </c:pt>
                <c:pt idx="599">
                  <c:v>Salakis</c:v>
                </c:pt>
                <c:pt idx="600">
                  <c:v>Soignon</c:v>
                </c:pt>
                <c:pt idx="601">
                  <c:v>Entremont</c:v>
                </c:pt>
                <c:pt idx="602">
                  <c:v>Violife</c:v>
                </c:pt>
                <c:pt idx="603">
                  <c:v>All Others</c:v>
                </c:pt>
                <c:pt idx="604">
                  <c:v>Private Lab</c:v>
                </c:pt>
                <c:pt idx="605">
                  <c:v>Bresse Bleu</c:v>
                </c:pt>
                <c:pt idx="606">
                  <c:v>Galbani</c:v>
                </c:pt>
                <c:pt idx="607">
                  <c:v>Mini Babybe</c:v>
                </c:pt>
                <c:pt idx="608">
                  <c:v>Saint Albra</c:v>
                </c:pt>
                <c:pt idx="609">
                  <c:v>La Belle Et</c:v>
                </c:pt>
                <c:pt idx="610">
                  <c:v>Lactalis: A</c:v>
                </c:pt>
                <c:pt idx="611">
                  <c:v>All Others</c:v>
                </c:pt>
                <c:pt idx="612">
                  <c:v>Savencia: A</c:v>
                </c:pt>
                <c:pt idx="613">
                  <c:v>All Others</c:v>
                </c:pt>
                <c:pt idx="614">
                  <c:v>Etoile Du V</c:v>
                </c:pt>
                <c:pt idx="615">
                  <c:v>L'Ortolan</c:v>
                </c:pt>
                <c:pt idx="616">
                  <c:v>President</c:v>
                </c:pt>
                <c:pt idx="617">
                  <c:v>Private Lab</c:v>
                </c:pt>
                <c:pt idx="618">
                  <c:v>All Others</c:v>
                </c:pt>
                <c:pt idx="619">
                  <c:v>Raguin</c:v>
                </c:pt>
                <c:pt idx="620">
                  <c:v>Raguin</c:v>
                </c:pt>
                <c:pt idx="621">
                  <c:v>All Others</c:v>
                </c:pt>
                <c:pt idx="622">
                  <c:v>Lactalis: A</c:v>
                </c:pt>
                <c:pt idx="623">
                  <c:v>All Others</c:v>
                </c:pt>
                <c:pt idx="624">
                  <c:v>Lactalis: A</c:v>
                </c:pt>
                <c:pt idx="625">
                  <c:v>All Others</c:v>
                </c:pt>
                <c:pt idx="626">
                  <c:v>Le Brebiou</c:v>
                </c:pt>
                <c:pt idx="627">
                  <c:v>Galbani</c:v>
                </c:pt>
                <c:pt idx="628">
                  <c:v>All Others</c:v>
                </c:pt>
                <c:pt idx="629">
                  <c:v>Boursin</c:v>
                </c:pt>
                <c:pt idx="630">
                  <c:v>Etoile Du V</c:v>
                </c:pt>
                <c:pt idx="631">
                  <c:v>Saint Agur</c:v>
                </c:pt>
                <c:pt idx="632">
                  <c:v>All Others</c:v>
                </c:pt>
                <c:pt idx="633">
                  <c:v>Pochat</c:v>
                </c:pt>
                <c:pt idx="634">
                  <c:v>Entremont</c:v>
                </c:pt>
                <c:pt idx="635">
                  <c:v>Paysan Bret</c:v>
                </c:pt>
                <c:pt idx="636">
                  <c:v>Savencia: A</c:v>
                </c:pt>
                <c:pt idx="637">
                  <c:v>All Others</c:v>
                </c:pt>
                <c:pt idx="638">
                  <c:v>Paysan Bret</c:v>
                </c:pt>
                <c:pt idx="639">
                  <c:v>All Others</c:v>
                </c:pt>
                <c:pt idx="640">
                  <c:v>Savencia: A</c:v>
                </c:pt>
                <c:pt idx="641">
                  <c:v>Paysan Bret</c:v>
                </c:pt>
                <c:pt idx="642">
                  <c:v>All Others</c:v>
                </c:pt>
                <c:pt idx="643">
                  <c:v>Private Lab</c:v>
                </c:pt>
                <c:pt idx="644">
                  <c:v>Eurial Autr</c:v>
                </c:pt>
                <c:pt idx="645">
                  <c:v>Entremont</c:v>
                </c:pt>
                <c:pt idx="646">
                  <c:v>Lactalis: A</c:v>
                </c:pt>
                <c:pt idx="647">
                  <c:v>All Others</c:v>
                </c:pt>
                <c:pt idx="648">
                  <c:v>Milleret: A</c:v>
                </c:pt>
                <c:pt idx="649">
                  <c:v>Milleret: A</c:v>
                </c:pt>
                <c:pt idx="650">
                  <c:v>Salakis</c:v>
                </c:pt>
                <c:pt idx="651">
                  <c:v>Savencia: A</c:v>
                </c:pt>
                <c:pt idx="652">
                  <c:v>All Others</c:v>
                </c:pt>
                <c:pt idx="653">
                  <c:v>Etorki</c:v>
                </c:pt>
                <c:pt idx="654">
                  <c:v>Saint Agur</c:v>
                </c:pt>
                <c:pt idx="655">
                  <c:v>Islos</c:v>
                </c:pt>
                <c:pt idx="656">
                  <c:v>Carre Frais</c:v>
                </c:pt>
                <c:pt idx="657">
                  <c:v>All Others</c:v>
                </c:pt>
                <c:pt idx="658">
                  <c:v>Milleret: A</c:v>
                </c:pt>
                <c:pt idx="659">
                  <c:v>All Others</c:v>
                </c:pt>
                <c:pt idx="660">
                  <c:v>Milleret: A</c:v>
                </c:pt>
                <c:pt idx="661">
                  <c:v>All Others</c:v>
                </c:pt>
                <c:pt idx="662">
                  <c:v>All Others</c:v>
                </c:pt>
                <c:pt idx="663">
                  <c:v>All Others</c:v>
                </c:pt>
                <c:pt idx="664">
                  <c:v>All Others</c:v>
                </c:pt>
                <c:pt idx="665">
                  <c:v>Entremont</c:v>
                </c:pt>
                <c:pt idx="666">
                  <c:v>Casa Azzurr</c:v>
                </c:pt>
                <c:pt idx="667">
                  <c:v>All Others</c:v>
                </c:pt>
                <c:pt idx="668">
                  <c:v>Triballat N</c:v>
                </c:pt>
                <c:pt idx="669">
                  <c:v>Galbani</c:v>
                </c:pt>
                <c:pt idx="670">
                  <c:v>Apericube</c:v>
                </c:pt>
                <c:pt idx="671">
                  <c:v>Pochat</c:v>
                </c:pt>
                <c:pt idx="672">
                  <c:v>Nurishh</c:v>
                </c:pt>
                <c:pt idx="673">
                  <c:v>All Others</c:v>
                </c:pt>
                <c:pt idx="674">
                  <c:v>Private Lab</c:v>
                </c:pt>
                <c:pt idx="675">
                  <c:v>Entremont</c:v>
                </c:pt>
                <c:pt idx="676">
                  <c:v>Entremont</c:v>
                </c:pt>
                <c:pt idx="677">
                  <c:v>Entremont</c:v>
                </c:pt>
                <c:pt idx="678">
                  <c:v>Richesmonts</c:v>
                </c:pt>
                <c:pt idx="679">
                  <c:v>All Others</c:v>
                </c:pt>
                <c:pt idx="680">
                  <c:v>All Others</c:v>
                </c:pt>
                <c:pt idx="681">
                  <c:v>All Others</c:v>
                </c:pt>
                <c:pt idx="682">
                  <c:v>Paysan Bret</c:v>
                </c:pt>
                <c:pt idx="683">
                  <c:v>All Others</c:v>
                </c:pt>
                <c:pt idx="684">
                  <c:v>All Others</c:v>
                </c:pt>
                <c:pt idx="685">
                  <c:v>All Others</c:v>
                </c:pt>
                <c:pt idx="686">
                  <c:v>Savencia: A</c:v>
                </c:pt>
                <c:pt idx="687">
                  <c:v>Entremont</c:v>
                </c:pt>
                <c:pt idx="688">
                  <c:v>All Others</c:v>
                </c:pt>
                <c:pt idx="689">
                  <c:v>Lactalis: A</c:v>
                </c:pt>
                <c:pt idx="690">
                  <c:v>All Others</c:v>
                </c:pt>
                <c:pt idx="691">
                  <c:v>All Others</c:v>
                </c:pt>
                <c:pt idx="692">
                  <c:v>La Belle Et</c:v>
                </c:pt>
                <c:pt idx="693">
                  <c:v>Istara</c:v>
                </c:pt>
                <c:pt idx="694">
                  <c:v>Triballat N</c:v>
                </c:pt>
                <c:pt idx="695">
                  <c:v>All Others</c:v>
                </c:pt>
                <c:pt idx="696">
                  <c:v>All Others</c:v>
                </c:pt>
                <c:pt idx="697">
                  <c:v>Apericube</c:v>
                </c:pt>
                <c:pt idx="698">
                  <c:v>Casa Azzurr</c:v>
                </c:pt>
                <c:pt idx="699">
                  <c:v>President</c:v>
                </c:pt>
                <c:pt idx="700">
                  <c:v>All Others</c:v>
                </c:pt>
                <c:pt idx="701">
                  <c:v>All Others</c:v>
                </c:pt>
                <c:pt idx="702">
                  <c:v>Etoile Du V</c:v>
                </c:pt>
                <c:pt idx="703">
                  <c:v>All Others</c:v>
                </c:pt>
                <c:pt idx="704">
                  <c:v>Nurishh</c:v>
                </c:pt>
                <c:pt idx="705">
                  <c:v>All Others</c:v>
                </c:pt>
                <c:pt idx="706">
                  <c:v>Savencia: A</c:v>
                </c:pt>
                <c:pt idx="707">
                  <c:v>Private Lab</c:v>
                </c:pt>
                <c:pt idx="708">
                  <c:v>All Others</c:v>
                </c:pt>
                <c:pt idx="709">
                  <c:v>All Others</c:v>
                </c:pt>
                <c:pt idx="710">
                  <c:v>Casa Azzurr</c:v>
                </c:pt>
                <c:pt idx="711">
                  <c:v>All Others</c:v>
                </c:pt>
                <c:pt idx="712">
                  <c:v>Boursin</c:v>
                </c:pt>
                <c:pt idx="713">
                  <c:v>Violife</c:v>
                </c:pt>
                <c:pt idx="714">
                  <c:v>All Others</c:v>
                </c:pt>
                <c:pt idx="715">
                  <c:v>Chavroux</c:v>
                </c:pt>
                <c:pt idx="716">
                  <c:v>All Others</c:v>
                </c:pt>
                <c:pt idx="717">
                  <c:v>All Others</c:v>
                </c:pt>
                <c:pt idx="718">
                  <c:v>All Others</c:v>
                </c:pt>
                <c:pt idx="719">
                  <c:v>Etoile Du V</c:v>
                </c:pt>
                <c:pt idx="720">
                  <c:v>Aperivrais</c:v>
                </c:pt>
                <c:pt idx="721">
                  <c:v>All Others</c:v>
                </c:pt>
                <c:pt idx="722">
                  <c:v>All Others</c:v>
                </c:pt>
                <c:pt idx="723">
                  <c:v>President</c:v>
                </c:pt>
                <c:pt idx="724">
                  <c:v>Richesmonts</c:v>
                </c:pt>
                <c:pt idx="725">
                  <c:v>All Others</c:v>
                </c:pt>
                <c:pt idx="726">
                  <c:v>All Others</c:v>
                </c:pt>
                <c:pt idx="727">
                  <c:v>All Others</c:v>
                </c:pt>
                <c:pt idx="728">
                  <c:v>Fol Epi</c:v>
                </c:pt>
                <c:pt idx="729">
                  <c:v>President</c:v>
                </c:pt>
                <c:pt idx="730">
                  <c:v>Tartare</c:v>
                </c:pt>
                <c:pt idx="731">
                  <c:v>All Others</c:v>
                </c:pt>
                <c:pt idx="732">
                  <c:v>Lactalis: A</c:v>
                </c:pt>
                <c:pt idx="733">
                  <c:v>All Others</c:v>
                </c:pt>
                <c:pt idx="734">
                  <c:v>Casa Azzurr</c:v>
                </c:pt>
                <c:pt idx="735">
                  <c:v>All Others</c:v>
                </c:pt>
                <c:pt idx="736">
                  <c:v>All Others</c:v>
                </c:pt>
                <c:pt idx="737">
                  <c:v>Entremont</c:v>
                </c:pt>
                <c:pt idx="738">
                  <c:v>Lactalis: A</c:v>
                </c:pt>
                <c:pt idx="739">
                  <c:v>All Others</c:v>
                </c:pt>
                <c:pt idx="740">
                  <c:v>All Others</c:v>
                </c:pt>
                <c:pt idx="741">
                  <c:v>All Others</c:v>
                </c:pt>
                <c:pt idx="742">
                  <c:v>All Others</c:v>
                </c:pt>
                <c:pt idx="743">
                  <c:v>Fauquet</c:v>
                </c:pt>
                <c:pt idx="744">
                  <c:v>All Others</c:v>
                </c:pt>
                <c:pt idx="745">
                  <c:v>Etoile Du V</c:v>
                </c:pt>
                <c:pt idx="746">
                  <c:v>L'Ortolan</c:v>
                </c:pt>
                <c:pt idx="747">
                  <c:v>All Others</c:v>
                </c:pt>
                <c:pt idx="748">
                  <c:v>All Others</c:v>
                </c:pt>
                <c:pt idx="749">
                  <c:v>Lactalis: A</c:v>
                </c:pt>
                <c:pt idx="750">
                  <c:v>Private Lab</c:v>
                </c:pt>
                <c:pt idx="751">
                  <c:v>All Others</c:v>
                </c:pt>
                <c:pt idx="752">
                  <c:v>Boursin</c:v>
                </c:pt>
                <c:pt idx="753">
                  <c:v>Boursin</c:v>
                </c:pt>
                <c:pt idx="754">
                  <c:v>All Others</c:v>
                </c:pt>
                <c:pt idx="755">
                  <c:v>All Others</c:v>
                </c:pt>
                <c:pt idx="756">
                  <c:v>All Others</c:v>
                </c:pt>
                <c:pt idx="757">
                  <c:v>La Belle Et</c:v>
                </c:pt>
                <c:pt idx="758">
                  <c:v>All Others</c:v>
                </c:pt>
                <c:pt idx="759">
                  <c:v>All Others</c:v>
                </c:pt>
                <c:pt idx="760">
                  <c:v>Triballat N</c:v>
                </c:pt>
                <c:pt idx="761">
                  <c:v>All Others</c:v>
                </c:pt>
                <c:pt idx="762">
                  <c:v>Pochat</c:v>
                </c:pt>
                <c:pt idx="763">
                  <c:v>Violife</c:v>
                </c:pt>
                <c:pt idx="764">
                  <c:v>All Others</c:v>
                </c:pt>
                <c:pt idx="765">
                  <c:v>Tartare</c:v>
                </c:pt>
                <c:pt idx="766">
                  <c:v>Mini Babybe</c:v>
                </c:pt>
                <c:pt idx="767">
                  <c:v>Pave D'Affi</c:v>
                </c:pt>
                <c:pt idx="768">
                  <c:v>All Others</c:v>
                </c:pt>
                <c:pt idx="769">
                  <c:v>All Others</c:v>
                </c:pt>
                <c:pt idx="770">
                  <c:v>All Others</c:v>
                </c:pt>
                <c:pt idx="771">
                  <c:v>Entremont</c:v>
                </c:pt>
                <c:pt idx="772">
                  <c:v>All Others</c:v>
                </c:pt>
                <c:pt idx="773">
                  <c:v>Nurishh</c:v>
                </c:pt>
                <c:pt idx="774">
                  <c:v>All Others</c:v>
                </c:pt>
                <c:pt idx="775">
                  <c:v>All Others</c:v>
                </c:pt>
                <c:pt idx="776">
                  <c:v>All Others</c:v>
                </c:pt>
                <c:pt idx="777">
                  <c:v>All Others</c:v>
                </c:pt>
                <c:pt idx="778">
                  <c:v>All Others</c:v>
                </c:pt>
                <c:pt idx="779">
                  <c:v>All Others</c:v>
                </c:pt>
                <c:pt idx="780">
                  <c:v>Paturages</c:v>
                </c:pt>
                <c:pt idx="781">
                  <c:v>Ids</c:v>
                </c:pt>
                <c:pt idx="782">
                  <c:v>All Others</c:v>
                </c:pt>
                <c:pt idx="783">
                  <c:v>Apericube</c:v>
                </c:pt>
                <c:pt idx="784">
                  <c:v>Coeur Lion</c:v>
                </c:pt>
                <c:pt idx="785">
                  <c:v>Entremont</c:v>
                </c:pt>
                <c:pt idx="786">
                  <c:v>Milleret: A</c:v>
                </c:pt>
                <c:pt idx="787">
                  <c:v>All Others</c:v>
                </c:pt>
                <c:pt idx="788">
                  <c:v>All Others</c:v>
                </c:pt>
                <c:pt idx="789">
                  <c:v>All Others</c:v>
                </c:pt>
                <c:pt idx="790">
                  <c:v>All Others</c:v>
                </c:pt>
                <c:pt idx="791">
                  <c:v>All Others</c:v>
                </c:pt>
                <c:pt idx="792">
                  <c:v>All Others</c:v>
                </c:pt>
                <c:pt idx="793">
                  <c:v>All Others</c:v>
                </c:pt>
                <c:pt idx="794">
                  <c:v>All Others</c:v>
                </c:pt>
                <c:pt idx="795">
                  <c:v>All Others</c:v>
                </c:pt>
                <c:pt idx="796">
                  <c:v>Chavroux</c:v>
                </c:pt>
                <c:pt idx="797">
                  <c:v>Nurishh</c:v>
                </c:pt>
                <c:pt idx="798">
                  <c:v>All Others</c:v>
                </c:pt>
                <c:pt idx="799">
                  <c:v>All Others</c:v>
                </c:pt>
                <c:pt idx="800">
                  <c:v>All Others</c:v>
                </c:pt>
                <c:pt idx="801">
                  <c:v>Nurishh</c:v>
                </c:pt>
                <c:pt idx="802">
                  <c:v>Casa Azzur</c:v>
                </c:pt>
                <c:pt idx="803">
                  <c:v>All Others</c:v>
                </c:pt>
                <c:pt idx="804">
                  <c:v>All Others</c:v>
                </c:pt>
                <c:pt idx="805">
                  <c:v>Nurishh</c:v>
                </c:pt>
                <c:pt idx="806">
                  <c:v>All Others</c:v>
                </c:pt>
                <c:pt idx="807">
                  <c:v>All Others</c:v>
                </c:pt>
                <c:pt idx="808">
                  <c:v>All Others</c:v>
                </c:pt>
                <c:pt idx="809">
                  <c:v>All Others</c:v>
                </c:pt>
                <c:pt idx="810">
                  <c:v>Etoile Du V</c:v>
                </c:pt>
                <c:pt idx="811">
                  <c:v>Paysan Bret</c:v>
                </c:pt>
                <c:pt idx="812">
                  <c:v>Entremont</c:v>
                </c:pt>
                <c:pt idx="813">
                  <c:v>Apericube</c:v>
                </c:pt>
                <c:pt idx="814">
                  <c:v>All Others</c:v>
                </c:pt>
                <c:pt idx="815">
                  <c:v>All Others</c:v>
                </c:pt>
                <c:pt idx="816">
                  <c:v>All Others</c:v>
                </c:pt>
                <c:pt idx="817">
                  <c:v>All Others</c:v>
                </c:pt>
                <c:pt idx="818">
                  <c:v>All Others</c:v>
                </c:pt>
                <c:pt idx="819">
                  <c:v>Aperivrais</c:v>
                </c:pt>
                <c:pt idx="820">
                  <c:v>La Belle Et</c:v>
                </c:pt>
                <c:pt idx="821">
                  <c:v>All Others</c:v>
                </c:pt>
                <c:pt idx="822">
                  <c:v>Savencia: A</c:v>
                </c:pt>
                <c:pt idx="823">
                  <c:v>All Others</c:v>
                </c:pt>
                <c:pt idx="824">
                  <c:v>All Others</c:v>
                </c:pt>
                <c:pt idx="825">
                  <c:v>All Others</c:v>
                </c:pt>
                <c:pt idx="826">
                  <c:v>All Others</c:v>
                </c:pt>
                <c:pt idx="827">
                  <c:v>All Others</c:v>
                </c:pt>
                <c:pt idx="828">
                  <c:v>Boursin</c:v>
                </c:pt>
                <c:pt idx="829">
                  <c:v>La Belle Et</c:v>
                </c:pt>
                <c:pt idx="830">
                  <c:v>All Others</c:v>
                </c:pt>
                <c:pt idx="831">
                  <c:v>Soignon</c:v>
                </c:pt>
                <c:pt idx="832">
                  <c:v>Milleret: A</c:v>
                </c:pt>
                <c:pt idx="833">
                  <c:v>Aperivrais</c:v>
                </c:pt>
                <c:pt idx="834">
                  <c:v>All Others</c:v>
                </c:pt>
                <c:pt idx="835">
                  <c:v>All Others</c:v>
                </c:pt>
                <c:pt idx="836">
                  <c:v>La Belle Et</c:v>
                </c:pt>
                <c:pt idx="837">
                  <c:v>All Others</c:v>
                </c:pt>
                <c:pt idx="838">
                  <c:v>All Others</c:v>
                </c:pt>
                <c:pt idx="839">
                  <c:v>La Belle Et</c:v>
                </c:pt>
                <c:pt idx="840">
                  <c:v>All Others</c:v>
                </c:pt>
                <c:pt idx="841">
                  <c:v>All Others</c:v>
                </c:pt>
                <c:pt idx="842">
                  <c:v>All Others</c:v>
                </c:pt>
                <c:pt idx="843">
                  <c:v>Chaussee Au</c:v>
                </c:pt>
                <c:pt idx="844">
                  <c:v>All Others</c:v>
                </c:pt>
                <c:pt idx="845">
                  <c:v>La Belle Et</c:v>
                </c:pt>
                <c:pt idx="846">
                  <c:v>All Others</c:v>
                </c:pt>
                <c:pt idx="847">
                  <c:v>All Others</c:v>
                </c:pt>
                <c:pt idx="848">
                  <c:v>Entremont</c:v>
                </c:pt>
                <c:pt idx="849">
                  <c:v>All Others</c:v>
                </c:pt>
                <c:pt idx="850">
                  <c:v>All Others</c:v>
                </c:pt>
                <c:pt idx="851">
                  <c:v>All Others</c:v>
                </c:pt>
                <c:pt idx="852">
                  <c:v>L'Ortolan</c:v>
                </c:pt>
                <c:pt idx="853">
                  <c:v>All Others</c:v>
                </c:pt>
                <c:pt idx="854">
                  <c:v>All Others</c:v>
                </c:pt>
                <c:pt idx="855">
                  <c:v>All Others</c:v>
                </c:pt>
                <c:pt idx="856">
                  <c:v>La Belle Et</c:v>
                </c:pt>
                <c:pt idx="857">
                  <c:v>All Others</c:v>
                </c:pt>
                <c:pt idx="858">
                  <c:v>All Others</c:v>
                </c:pt>
                <c:pt idx="859">
                  <c:v>All Others</c:v>
                </c:pt>
                <c:pt idx="860">
                  <c:v>Boursin</c:v>
                </c:pt>
                <c:pt idx="861">
                  <c:v>All Others</c:v>
                </c:pt>
                <c:pt idx="862">
                  <c:v>All Others</c:v>
                </c:pt>
                <c:pt idx="863">
                  <c:v>All Others</c:v>
                </c:pt>
                <c:pt idx="864">
                  <c:v>Chavroux</c:v>
                </c:pt>
                <c:pt idx="865">
                  <c:v>Boursin</c:v>
                </c:pt>
                <c:pt idx="866">
                  <c:v>All Others</c:v>
                </c:pt>
                <c:pt idx="867">
                  <c:v>All Others</c:v>
                </c:pt>
                <c:pt idx="868">
                  <c:v>All Others</c:v>
                </c:pt>
                <c:pt idx="869">
                  <c:v>All Others</c:v>
                </c:pt>
                <c:pt idx="870">
                  <c:v>All Others</c:v>
                </c:pt>
                <c:pt idx="871">
                  <c:v>Societe</c:v>
                </c:pt>
                <c:pt idx="872">
                  <c:v>All Others</c:v>
                </c:pt>
                <c:pt idx="873">
                  <c:v>All Others</c:v>
                </c:pt>
                <c:pt idx="874">
                  <c:v>Boursin</c:v>
                </c:pt>
                <c:pt idx="875">
                  <c:v>All Others</c:v>
                </c:pt>
                <c:pt idx="876">
                  <c:v>Salakis</c:v>
                </c:pt>
                <c:pt idx="877">
                  <c:v>All Others</c:v>
                </c:pt>
                <c:pt idx="878">
                  <c:v>All Others</c:v>
                </c:pt>
                <c:pt idx="879">
                  <c:v>All Others</c:v>
                </c:pt>
                <c:pt idx="880">
                  <c:v>All Others</c:v>
                </c:pt>
                <c:pt idx="881">
                  <c:v>All Others</c:v>
                </c:pt>
                <c:pt idx="882">
                  <c:v>Savencia: A</c:v>
                </c:pt>
                <c:pt idx="883">
                  <c:v>Lactalis: A</c:v>
                </c:pt>
                <c:pt idx="884">
                  <c:v>All Others</c:v>
                </c:pt>
                <c:pt idx="885">
                  <c:v>All Others</c:v>
                </c:pt>
                <c:pt idx="886">
                  <c:v>All Others</c:v>
                </c:pt>
                <c:pt idx="887">
                  <c:v>All Others</c:v>
                </c:pt>
                <c:pt idx="888">
                  <c:v>Milleret: A</c:v>
                </c:pt>
                <c:pt idx="889">
                  <c:v>All Others</c:v>
                </c:pt>
                <c:pt idx="890">
                  <c:v>President</c:v>
                </c:pt>
                <c:pt idx="891">
                  <c:v>All Others</c:v>
                </c:pt>
                <c:pt idx="892">
                  <c:v>Private Lab</c:v>
                </c:pt>
                <c:pt idx="893">
                  <c:v>All Others</c:v>
                </c:pt>
                <c:pt idx="894">
                  <c:v>All Others</c:v>
                </c:pt>
                <c:pt idx="895">
                  <c:v>All Others</c:v>
                </c:pt>
                <c:pt idx="896">
                  <c:v>All Others</c:v>
                </c:pt>
                <c:pt idx="897">
                  <c:v>All Others</c:v>
                </c:pt>
                <c:pt idx="898">
                  <c:v>All Others</c:v>
                </c:pt>
                <c:pt idx="899">
                  <c:v>La Belle Et</c:v>
                </c:pt>
                <c:pt idx="900">
                  <c:v>All Others</c:v>
                </c:pt>
                <c:pt idx="901">
                  <c:v>All Others</c:v>
                </c:pt>
                <c:pt idx="902">
                  <c:v>All Others</c:v>
                </c:pt>
                <c:pt idx="903">
                  <c:v>All Others</c:v>
                </c:pt>
                <c:pt idx="904">
                  <c:v>All Others</c:v>
                </c:pt>
                <c:pt idx="905">
                  <c:v>All Others</c:v>
                </c:pt>
                <c:pt idx="906">
                  <c:v>All Others</c:v>
                </c:pt>
                <c:pt idx="907">
                  <c:v>All Others</c:v>
                </c:pt>
                <c:pt idx="908">
                  <c:v>All Others</c:v>
                </c:pt>
                <c:pt idx="909">
                  <c:v>Petit Billy</c:v>
                </c:pt>
                <c:pt idx="910">
                  <c:v>All Others</c:v>
                </c:pt>
                <c:pt idx="911">
                  <c:v>Lactalis: A</c:v>
                </c:pt>
                <c:pt idx="912">
                  <c:v>All Others</c:v>
                </c:pt>
                <c:pt idx="913">
                  <c:v>All Others</c:v>
                </c:pt>
                <c:pt idx="914">
                  <c:v>La Table M</c:v>
                </c:pt>
                <c:pt idx="915">
                  <c:v>All Others</c:v>
                </c:pt>
                <c:pt idx="916">
                  <c:v>All Others</c:v>
                </c:pt>
                <c:pt idx="917">
                  <c:v>Salakis</c:v>
                </c:pt>
                <c:pt idx="918">
                  <c:v>Etoile Du V</c:v>
                </c:pt>
                <c:pt idx="919">
                  <c:v>All Others</c:v>
                </c:pt>
                <c:pt idx="920">
                  <c:v>All Others</c:v>
                </c:pt>
                <c:pt idx="921">
                  <c:v>All Others</c:v>
                </c:pt>
                <c:pt idx="922">
                  <c:v>All Others</c:v>
                </c:pt>
                <c:pt idx="923">
                  <c:v>All Others</c:v>
                </c:pt>
                <c:pt idx="924">
                  <c:v>All Others</c:v>
                </c:pt>
                <c:pt idx="925">
                  <c:v>All Others</c:v>
                </c:pt>
                <c:pt idx="926">
                  <c:v>All Others</c:v>
                </c:pt>
                <c:pt idx="927">
                  <c:v>Galbani</c:v>
                </c:pt>
                <c:pt idx="928">
                  <c:v>All Others</c:v>
                </c:pt>
                <c:pt idx="929">
                  <c:v>Chavroux</c:v>
                </c:pt>
                <c:pt idx="930">
                  <c:v>All Others</c:v>
                </c:pt>
                <c:pt idx="931">
                  <c:v>All Others</c:v>
                </c:pt>
                <c:pt idx="932">
                  <c:v>Entremont</c:v>
                </c:pt>
                <c:pt idx="933">
                  <c:v>All Others</c:v>
                </c:pt>
                <c:pt idx="934">
                  <c:v>All Others</c:v>
                </c:pt>
                <c:pt idx="935">
                  <c:v>All Others</c:v>
                </c:pt>
                <c:pt idx="936">
                  <c:v>All Others</c:v>
                </c:pt>
                <c:pt idx="937">
                  <c:v>Lactalis: A</c:v>
                </c:pt>
                <c:pt idx="938">
                  <c:v>All Others</c:v>
                </c:pt>
                <c:pt idx="939">
                  <c:v>All Others</c:v>
                </c:pt>
                <c:pt idx="940">
                  <c:v>All Others</c:v>
                </c:pt>
                <c:pt idx="941">
                  <c:v>All Others</c:v>
                </c:pt>
                <c:pt idx="942">
                  <c:v>All Others</c:v>
                </c:pt>
                <c:pt idx="943">
                  <c:v>Lactalis: A</c:v>
                </c:pt>
                <c:pt idx="944">
                  <c:v>All Others</c:v>
                </c:pt>
                <c:pt idx="945">
                  <c:v>La Vache Qu</c:v>
                </c:pt>
                <c:pt idx="946">
                  <c:v>Lactalis: A</c:v>
                </c:pt>
                <c:pt idx="947">
                  <c:v>All Others</c:v>
                </c:pt>
                <c:pt idx="948">
                  <c:v>All Others</c:v>
                </c:pt>
                <c:pt idx="949">
                  <c:v>All Others</c:v>
                </c:pt>
                <c:pt idx="950">
                  <c:v>All Others</c:v>
                </c:pt>
                <c:pt idx="951">
                  <c:v>All Others</c:v>
                </c:pt>
                <c:pt idx="952">
                  <c:v>La Belle Et</c:v>
                </c:pt>
                <c:pt idx="953">
                  <c:v>Entremont</c:v>
                </c:pt>
                <c:pt idx="954">
                  <c:v>All Others</c:v>
                </c:pt>
                <c:pt idx="955">
                  <c:v>Private Lab</c:v>
                </c:pt>
                <c:pt idx="956">
                  <c:v>All Others</c:v>
                </c:pt>
                <c:pt idx="957">
                  <c:v>All Others</c:v>
                </c:pt>
                <c:pt idx="958">
                  <c:v>All Others</c:v>
                </c:pt>
                <c:pt idx="959">
                  <c:v>All Others</c:v>
                </c:pt>
                <c:pt idx="960">
                  <c:v>All Others</c:v>
                </c:pt>
                <c:pt idx="961">
                  <c:v>All Others</c:v>
                </c:pt>
                <c:pt idx="962">
                  <c:v>All Others</c:v>
                </c:pt>
                <c:pt idx="963">
                  <c:v>Chavroux</c:v>
                </c:pt>
                <c:pt idx="964">
                  <c:v>Mini Babybe</c:v>
                </c:pt>
                <c:pt idx="965">
                  <c:v>All Others</c:v>
                </c:pt>
                <c:pt idx="966">
                  <c:v>All Others</c:v>
                </c:pt>
                <c:pt idx="967">
                  <c:v>All Others</c:v>
                </c:pt>
                <c:pt idx="968">
                  <c:v>La Belle Et</c:v>
                </c:pt>
                <c:pt idx="969">
                  <c:v>All Others</c:v>
                </c:pt>
                <c:pt idx="970">
                  <c:v>All Others</c:v>
                </c:pt>
                <c:pt idx="971">
                  <c:v>All Others</c:v>
                </c:pt>
                <c:pt idx="972">
                  <c:v>All Others</c:v>
                </c:pt>
                <c:pt idx="973">
                  <c:v>All Others</c:v>
                </c:pt>
                <c:pt idx="974">
                  <c:v>All Others</c:v>
                </c:pt>
                <c:pt idx="975">
                  <c:v>All Others</c:v>
                </c:pt>
                <c:pt idx="976">
                  <c:v>All Others</c:v>
                </c:pt>
                <c:pt idx="977">
                  <c:v>All Others</c:v>
                </c:pt>
                <c:pt idx="978">
                  <c:v>All Others</c:v>
                </c:pt>
                <c:pt idx="979">
                  <c:v>Lactalis: A</c:v>
                </c:pt>
                <c:pt idx="980">
                  <c:v>Paysan Bret</c:v>
                </c:pt>
                <c:pt idx="981">
                  <c:v>All Others</c:v>
                </c:pt>
                <c:pt idx="982">
                  <c:v>All Others</c:v>
                </c:pt>
                <c:pt idx="983">
                  <c:v>All Others</c:v>
                </c:pt>
                <c:pt idx="984">
                  <c:v>All Others</c:v>
                </c:pt>
                <c:pt idx="985">
                  <c:v>All Others</c:v>
                </c:pt>
                <c:pt idx="986">
                  <c:v>All Others</c:v>
                </c:pt>
                <c:pt idx="987">
                  <c:v>All Others</c:v>
                </c:pt>
                <c:pt idx="988">
                  <c:v>All Others</c:v>
                </c:pt>
                <c:pt idx="989">
                  <c:v>All Others</c:v>
                </c:pt>
                <c:pt idx="990">
                  <c:v>Mini Babybe</c:v>
                </c:pt>
                <c:pt idx="991">
                  <c:v>All Others</c:v>
                </c:pt>
                <c:pt idx="992">
                  <c:v>All Others</c:v>
                </c:pt>
                <c:pt idx="993">
                  <c:v>All Others</c:v>
                </c:pt>
                <c:pt idx="994">
                  <c:v>All Others</c:v>
                </c:pt>
                <c:pt idx="995">
                  <c:v>All Others</c:v>
                </c:pt>
                <c:pt idx="996">
                  <c:v>All Others</c:v>
                </c:pt>
                <c:pt idx="997">
                  <c:v>All Others</c:v>
                </c:pt>
                <c:pt idx="998">
                  <c:v>All Others</c:v>
                </c:pt>
                <c:pt idx="999">
                  <c:v>All Others</c:v>
                </c:pt>
                <c:pt idx="1000">
                  <c:v>All Others</c:v>
                </c:pt>
                <c:pt idx="1001">
                  <c:v>All Others</c:v>
                </c:pt>
                <c:pt idx="1002">
                  <c:v>All Others</c:v>
                </c:pt>
                <c:pt idx="1003">
                  <c:v>All Others</c:v>
                </c:pt>
                <c:pt idx="1004">
                  <c:v>All Others</c:v>
                </c:pt>
                <c:pt idx="1005">
                  <c:v>Richesmonts</c:v>
                </c:pt>
                <c:pt idx="1006">
                  <c:v>British H</c:v>
                </c:pt>
                <c:pt idx="1007">
                  <c:v>La Belle Et</c:v>
                </c:pt>
                <c:pt idx="1008">
                  <c:v>All Others</c:v>
                </c:pt>
                <c:pt idx="1009">
                  <c:v>All Others</c:v>
                </c:pt>
                <c:pt idx="1010">
                  <c:v>All Others</c:v>
                </c:pt>
                <c:pt idx="1011">
                  <c:v>Casa Azzurr</c:v>
                </c:pt>
                <c:pt idx="1012">
                  <c:v>All Others</c:v>
                </c:pt>
                <c:pt idx="1013">
                  <c:v>Corsica</c:v>
                </c:pt>
                <c:pt idx="1014">
                  <c:v>All Others</c:v>
                </c:pt>
                <c:pt idx="1015">
                  <c:v>La Belle Et</c:v>
                </c:pt>
                <c:pt idx="1016">
                  <c:v>All Others</c:v>
                </c:pt>
                <c:pt idx="1017">
                  <c:v>All Others</c:v>
                </c:pt>
                <c:pt idx="1018">
                  <c:v>All Others</c:v>
                </c:pt>
                <c:pt idx="1019">
                  <c:v>All Others</c:v>
                </c:pt>
                <c:pt idx="1020">
                  <c:v>All Others</c:v>
                </c:pt>
                <c:pt idx="1021">
                  <c:v>All Others</c:v>
                </c:pt>
                <c:pt idx="1022">
                  <c:v>Savencia: A</c:v>
                </c:pt>
                <c:pt idx="1023">
                  <c:v>Savencia: A</c:v>
                </c:pt>
                <c:pt idx="1024">
                  <c:v>All Others</c:v>
                </c:pt>
                <c:pt idx="1025">
                  <c:v>All Others</c:v>
                </c:pt>
                <c:pt idx="1026">
                  <c:v>All Others</c:v>
                </c:pt>
                <c:pt idx="1027">
                  <c:v>Rians</c:v>
                </c:pt>
                <c:pt idx="1028">
                  <c:v>Raguin</c:v>
                </c:pt>
                <c:pt idx="1029">
                  <c:v>All Others</c:v>
                </c:pt>
                <c:pt idx="1030">
                  <c:v>Lactalis: A</c:v>
                </c:pt>
                <c:pt idx="1031">
                  <c:v>All Others</c:v>
                </c:pt>
                <c:pt idx="1032">
                  <c:v>All Others</c:v>
                </c:pt>
                <c:pt idx="1033">
                  <c:v>All Others</c:v>
                </c:pt>
                <c:pt idx="1034">
                  <c:v>All Others</c:v>
                </c:pt>
                <c:pt idx="1035">
                  <c:v>All Others</c:v>
                </c:pt>
                <c:pt idx="1036">
                  <c:v>All Others</c:v>
                </c:pt>
                <c:pt idx="1037">
                  <c:v>All Others</c:v>
                </c:pt>
                <c:pt idx="1038">
                  <c:v>Richesmonts</c:v>
                </c:pt>
                <c:pt idx="1039">
                  <c:v>All Others</c:v>
                </c:pt>
                <c:pt idx="1040">
                  <c:v>Raguin</c:v>
                </c:pt>
                <c:pt idx="1041">
                  <c:v>All Others</c:v>
                </c:pt>
                <c:pt idx="1042">
                  <c:v>All Others</c:v>
                </c:pt>
                <c:pt idx="1043">
                  <c:v>All Others</c:v>
                </c:pt>
                <c:pt idx="1044">
                  <c:v>Lactalis: A</c:v>
                </c:pt>
                <c:pt idx="1045">
                  <c:v>All Others</c:v>
                </c:pt>
                <c:pt idx="1046">
                  <c:v>All Others</c:v>
                </c:pt>
                <c:pt idx="1047">
                  <c:v>All Others</c:v>
                </c:pt>
                <c:pt idx="1048">
                  <c:v>Fol Epi</c:v>
                </c:pt>
                <c:pt idx="1049">
                  <c:v>All Others</c:v>
                </c:pt>
                <c:pt idx="1050">
                  <c:v>All Others</c:v>
                </c:pt>
                <c:pt idx="1051">
                  <c:v>All Others</c:v>
                </c:pt>
                <c:pt idx="1052">
                  <c:v>All Others</c:v>
                </c:pt>
                <c:pt idx="1053">
                  <c:v>All Others</c:v>
                </c:pt>
                <c:pt idx="1054">
                  <c:v>All Others</c:v>
                </c:pt>
                <c:pt idx="1055">
                  <c:v>Etoile Du V</c:v>
                </c:pt>
                <c:pt idx="1056">
                  <c:v>All Others</c:v>
                </c:pt>
                <c:pt idx="1057">
                  <c:v>All Others</c:v>
                </c:pt>
                <c:pt idx="1058">
                  <c:v>All Others</c:v>
                </c:pt>
                <c:pt idx="1059">
                  <c:v>Raguin</c:v>
                </c:pt>
                <c:pt idx="1060">
                  <c:v>All Others</c:v>
                </c:pt>
                <c:pt idx="1061">
                  <c:v>Paysan Bret</c:v>
                </c:pt>
                <c:pt idx="1062">
                  <c:v>All Others</c:v>
                </c:pt>
                <c:pt idx="1063">
                  <c:v>All Others</c:v>
                </c:pt>
                <c:pt idx="1064">
                  <c:v>All Others</c:v>
                </c:pt>
                <c:pt idx="1065">
                  <c:v>Entremont</c:v>
                </c:pt>
                <c:pt idx="1066">
                  <c:v>All Others</c:v>
                </c:pt>
                <c:pt idx="1067">
                  <c:v>Raguin</c:v>
                </c:pt>
                <c:pt idx="1068">
                  <c:v>All Others</c:v>
                </c:pt>
                <c:pt idx="1069">
                  <c:v>Private Lab</c:v>
                </c:pt>
                <c:pt idx="1070">
                  <c:v>All Others</c:v>
                </c:pt>
                <c:pt idx="1071">
                  <c:v>All Others</c:v>
                </c:pt>
                <c:pt idx="1072">
                  <c:v>All Others</c:v>
                </c:pt>
                <c:pt idx="1073">
                  <c:v>All Others</c:v>
                </c:pt>
                <c:pt idx="1074">
                  <c:v>All Others</c:v>
                </c:pt>
                <c:pt idx="1075">
                  <c:v>All Others</c:v>
                </c:pt>
                <c:pt idx="1076">
                  <c:v>All Others</c:v>
                </c:pt>
                <c:pt idx="1077">
                  <c:v>Kiri</c:v>
                </c:pt>
                <c:pt idx="1078">
                  <c:v>All Others</c:v>
                </c:pt>
                <c:pt idx="1079">
                  <c:v>Raguin</c:v>
                </c:pt>
                <c:pt idx="1080">
                  <c:v>All Others</c:v>
                </c:pt>
                <c:pt idx="1081">
                  <c:v>All Others</c:v>
                </c:pt>
                <c:pt idx="1082">
                  <c:v>All Others</c:v>
                </c:pt>
                <c:pt idx="1083">
                  <c:v>All Others</c:v>
                </c:pt>
                <c:pt idx="1084">
                  <c:v>All Others</c:v>
                </c:pt>
                <c:pt idx="1085">
                  <c:v>All Others</c:v>
                </c:pt>
                <c:pt idx="1086">
                  <c:v>All Others</c:v>
                </c:pt>
                <c:pt idx="1087">
                  <c:v>All Others</c:v>
                </c:pt>
                <c:pt idx="1088">
                  <c:v>All Others</c:v>
                </c:pt>
                <c:pt idx="1089">
                  <c:v>La Belle Et</c:v>
                </c:pt>
                <c:pt idx="1090">
                  <c:v>All Others</c:v>
                </c:pt>
                <c:pt idx="1091">
                  <c:v>All Others</c:v>
                </c:pt>
                <c:pt idx="1092">
                  <c:v>All Others</c:v>
                </c:pt>
                <c:pt idx="1093">
                  <c:v>All Others</c:v>
                </c:pt>
                <c:pt idx="1094">
                  <c:v>Juraflore</c:v>
                </c:pt>
                <c:pt idx="1095">
                  <c:v>All Others</c:v>
                </c:pt>
                <c:pt idx="1096">
                  <c:v>All Others</c:v>
                </c:pt>
                <c:pt idx="1097">
                  <c:v>All Others</c:v>
                </c:pt>
                <c:pt idx="1098">
                  <c:v>Pave D'Affi</c:v>
                </c:pt>
                <c:pt idx="1099">
                  <c:v>All Others</c:v>
                </c:pt>
                <c:pt idx="1100">
                  <c:v>Etoile Du V</c:v>
                </c:pt>
                <c:pt idx="1101">
                  <c:v>All Others</c:v>
                </c:pt>
                <c:pt idx="1102">
                  <c:v>All Others</c:v>
                </c:pt>
                <c:pt idx="1103">
                  <c:v>All Others</c:v>
                </c:pt>
                <c:pt idx="1104">
                  <c:v>All Others</c:v>
                </c:pt>
                <c:pt idx="1105">
                  <c:v>All Others</c:v>
                </c:pt>
                <c:pt idx="1106">
                  <c:v>All Others</c:v>
                </c:pt>
                <c:pt idx="1107">
                  <c:v>All Others</c:v>
                </c:pt>
                <c:pt idx="1108">
                  <c:v>All Others</c:v>
                </c:pt>
                <c:pt idx="1109">
                  <c:v>All Others</c:v>
                </c:pt>
                <c:pt idx="1110">
                  <c:v>All Others</c:v>
                </c:pt>
                <c:pt idx="1111">
                  <c:v>All Others</c:v>
                </c:pt>
                <c:pt idx="1112">
                  <c:v>All Others</c:v>
                </c:pt>
                <c:pt idx="1113">
                  <c:v>All Others</c:v>
                </c:pt>
                <c:pt idx="1114">
                  <c:v>All Others</c:v>
                </c:pt>
                <c:pt idx="1115">
                  <c:v>All Others</c:v>
                </c:pt>
                <c:pt idx="1116">
                  <c:v>Gillot</c:v>
                </c:pt>
                <c:pt idx="1117">
                  <c:v>Violife</c:v>
                </c:pt>
                <c:pt idx="1118">
                  <c:v>Lactalis: A</c:v>
                </c:pt>
                <c:pt idx="1119">
                  <c:v>All Others</c:v>
                </c:pt>
                <c:pt idx="1120">
                  <c:v>All Others</c:v>
                </c:pt>
                <c:pt idx="1121">
                  <c:v>All Others</c:v>
                </c:pt>
                <c:pt idx="1122">
                  <c:v>All Others</c:v>
                </c:pt>
                <c:pt idx="1123">
                  <c:v>All Others</c:v>
                </c:pt>
                <c:pt idx="1124">
                  <c:v>All Others</c:v>
                </c:pt>
                <c:pt idx="1125">
                  <c:v>All Others</c:v>
                </c:pt>
                <c:pt idx="1126">
                  <c:v>All Others</c:v>
                </c:pt>
                <c:pt idx="1127">
                  <c:v>All Others</c:v>
                </c:pt>
                <c:pt idx="1128">
                  <c:v>All Others</c:v>
                </c:pt>
                <c:pt idx="1129">
                  <c:v>All Others</c:v>
                </c:pt>
                <c:pt idx="1130">
                  <c:v>All Others</c:v>
                </c:pt>
                <c:pt idx="1131">
                  <c:v>All Others</c:v>
                </c:pt>
                <c:pt idx="1132">
                  <c:v>All Others</c:v>
                </c:pt>
                <c:pt idx="1133">
                  <c:v>Baillon</c:v>
                </c:pt>
                <c:pt idx="1134">
                  <c:v>All Others</c:v>
                </c:pt>
                <c:pt idx="1135">
                  <c:v>All Others</c:v>
                </c:pt>
                <c:pt idx="1136">
                  <c:v>All Others</c:v>
                </c:pt>
                <c:pt idx="1137">
                  <c:v>All Others</c:v>
                </c:pt>
                <c:pt idx="1138">
                  <c:v>All Others</c:v>
                </c:pt>
                <c:pt idx="1139">
                  <c:v>All Others</c:v>
                </c:pt>
                <c:pt idx="1140">
                  <c:v>All Others</c:v>
                </c:pt>
                <c:pt idx="1141">
                  <c:v>Milleret</c:v>
                </c:pt>
                <c:pt idx="1142">
                  <c:v>All Others</c:v>
                </c:pt>
                <c:pt idx="1143">
                  <c:v>All Others</c:v>
                </c:pt>
                <c:pt idx="1144">
                  <c:v>All Others</c:v>
                </c:pt>
                <c:pt idx="1145">
                  <c:v>All Others</c:v>
                </c:pt>
                <c:pt idx="1146">
                  <c:v>All Others</c:v>
                </c:pt>
                <c:pt idx="1147">
                  <c:v>All Others</c:v>
                </c:pt>
                <c:pt idx="1148">
                  <c:v>All Others</c:v>
                </c:pt>
                <c:pt idx="1149">
                  <c:v>Vivaldi</c:v>
                </c:pt>
                <c:pt idx="1150">
                  <c:v>All Others</c:v>
                </c:pt>
                <c:pt idx="1151">
                  <c:v>All Others</c:v>
                </c:pt>
                <c:pt idx="1152">
                  <c:v>Lindahls Pr</c:v>
                </c:pt>
                <c:pt idx="1153">
                  <c:v>All Others</c:v>
                </c:pt>
                <c:pt idx="1154">
                  <c:v>All Others</c:v>
                </c:pt>
                <c:pt idx="1155">
                  <c:v>All Others</c:v>
                </c:pt>
                <c:pt idx="1156">
                  <c:v>Milleret</c:v>
                </c:pt>
                <c:pt idx="1157">
                  <c:v>All Others</c:v>
                </c:pt>
                <c:pt idx="1158">
                  <c:v>All Others</c:v>
                </c:pt>
                <c:pt idx="1159">
                  <c:v>All Others</c:v>
                </c:pt>
                <c:pt idx="1160">
                  <c:v>All Others</c:v>
                </c:pt>
                <c:pt idx="1161">
                  <c:v>Raguin</c:v>
                </c:pt>
                <c:pt idx="1162">
                  <c:v>All Others</c:v>
                </c:pt>
                <c:pt idx="1163">
                  <c:v>All Others</c:v>
                </c:pt>
                <c:pt idx="1164">
                  <c:v>All Others</c:v>
                </c:pt>
                <c:pt idx="1165">
                  <c:v>All Others</c:v>
                </c:pt>
                <c:pt idx="1166">
                  <c:v>All Others</c:v>
                </c:pt>
                <c:pt idx="1167">
                  <c:v>Paysan Bret</c:v>
                </c:pt>
                <c:pt idx="1168">
                  <c:v>All Others</c:v>
                </c:pt>
                <c:pt idx="1169">
                  <c:v>Casa Sant</c:v>
                </c:pt>
                <c:pt idx="1170">
                  <c:v>All Others</c:v>
                </c:pt>
                <c:pt idx="1171">
                  <c:v>All Others</c:v>
                </c:pt>
                <c:pt idx="1172">
                  <c:v>All Others</c:v>
                </c:pt>
                <c:pt idx="1173">
                  <c:v>Limiano</c:v>
                </c:pt>
                <c:pt idx="1174">
                  <c:v>All Others</c:v>
                </c:pt>
                <c:pt idx="1175">
                  <c:v>All Others</c:v>
                </c:pt>
                <c:pt idx="1176">
                  <c:v>All Others</c:v>
                </c:pt>
                <c:pt idx="1177">
                  <c:v>All Others</c:v>
                </c:pt>
                <c:pt idx="1178">
                  <c:v>All Others</c:v>
                </c:pt>
                <c:pt idx="1179">
                  <c:v>All Others</c:v>
                </c:pt>
                <c:pt idx="1180">
                  <c:v>All Others</c:v>
                </c:pt>
                <c:pt idx="1181">
                  <c:v>All Others</c:v>
                </c:pt>
                <c:pt idx="1182">
                  <c:v>Raguin</c:v>
                </c:pt>
                <c:pt idx="1183">
                  <c:v>All Others</c:v>
                </c:pt>
                <c:pt idx="1184">
                  <c:v>All Others</c:v>
                </c:pt>
                <c:pt idx="1185">
                  <c:v>All Others</c:v>
                </c:pt>
                <c:pt idx="1186">
                  <c:v>All Others</c:v>
                </c:pt>
                <c:pt idx="1187">
                  <c:v>All Others</c:v>
                </c:pt>
                <c:pt idx="1188">
                  <c:v>All Others</c:v>
                </c:pt>
                <c:pt idx="1189">
                  <c:v>All Others</c:v>
                </c:pt>
                <c:pt idx="1190">
                  <c:v>Raguin</c:v>
                </c:pt>
                <c:pt idx="1191">
                  <c:v>All Others</c:v>
                </c:pt>
                <c:pt idx="1192">
                  <c:v>All Others</c:v>
                </c:pt>
                <c:pt idx="1193">
                  <c:v>All Others</c:v>
                </c:pt>
                <c:pt idx="1194">
                  <c:v>All Others</c:v>
                </c:pt>
                <c:pt idx="1195">
                  <c:v>All Others</c:v>
                </c:pt>
                <c:pt idx="1196">
                  <c:v>All Others</c:v>
                </c:pt>
                <c:pt idx="1197">
                  <c:v>All Others</c:v>
                </c:pt>
                <c:pt idx="1198">
                  <c:v>All Others</c:v>
                </c:pt>
                <c:pt idx="1199">
                  <c:v>All Others</c:v>
                </c:pt>
                <c:pt idx="1200">
                  <c:v>All Others</c:v>
                </c:pt>
                <c:pt idx="1201">
                  <c:v>All Others</c:v>
                </c:pt>
                <c:pt idx="1202">
                  <c:v>Etoile Du V</c:v>
                </c:pt>
                <c:pt idx="1203">
                  <c:v>All Others</c:v>
                </c:pt>
                <c:pt idx="1204">
                  <c:v>All Others</c:v>
                </c:pt>
                <c:pt idx="1205">
                  <c:v>All Others</c:v>
                </c:pt>
                <c:pt idx="1206">
                  <c:v>All Others</c:v>
                </c:pt>
                <c:pt idx="1207">
                  <c:v>All Others</c:v>
                </c:pt>
                <c:pt idx="1208">
                  <c:v>All Others</c:v>
                </c:pt>
                <c:pt idx="1209">
                  <c:v>All Others</c:v>
                </c:pt>
                <c:pt idx="1210">
                  <c:v>All Others</c:v>
                </c:pt>
                <c:pt idx="1211">
                  <c:v>Etoile Du V</c:v>
                </c:pt>
                <c:pt idx="1212">
                  <c:v>All Others</c:v>
                </c:pt>
                <c:pt idx="1213">
                  <c:v>All Others</c:v>
                </c:pt>
                <c:pt idx="1214">
                  <c:v>All Others</c:v>
                </c:pt>
                <c:pt idx="1215">
                  <c:v>Lactalis: A</c:v>
                </c:pt>
                <c:pt idx="1216">
                  <c:v>All Others</c:v>
                </c:pt>
                <c:pt idx="1217">
                  <c:v>Raguin</c:v>
                </c:pt>
                <c:pt idx="1218">
                  <c:v>All Others</c:v>
                </c:pt>
                <c:pt idx="1219">
                  <c:v>All Others</c:v>
                </c:pt>
                <c:pt idx="1220">
                  <c:v>All Others</c:v>
                </c:pt>
                <c:pt idx="1221">
                  <c:v>All Others</c:v>
                </c:pt>
                <c:pt idx="1222">
                  <c:v>All Others</c:v>
                </c:pt>
                <c:pt idx="1223">
                  <c:v>All Others</c:v>
                </c:pt>
                <c:pt idx="1224">
                  <c:v>All Others</c:v>
                </c:pt>
                <c:pt idx="1225">
                  <c:v>Raguin</c:v>
                </c:pt>
                <c:pt idx="1226">
                  <c:v>All Others</c:v>
                </c:pt>
                <c:pt idx="1227">
                  <c:v>All Others</c:v>
                </c:pt>
                <c:pt idx="1228">
                  <c:v>All Others</c:v>
                </c:pt>
                <c:pt idx="1229">
                  <c:v>Rians</c:v>
                </c:pt>
                <c:pt idx="1230">
                  <c:v>All Others</c:v>
                </c:pt>
                <c:pt idx="1231">
                  <c:v>All Others</c:v>
                </c:pt>
                <c:pt idx="1232">
                  <c:v>All Others</c:v>
                </c:pt>
                <c:pt idx="1233">
                  <c:v>All Others</c:v>
                </c:pt>
                <c:pt idx="1234">
                  <c:v>Raguin</c:v>
                </c:pt>
                <c:pt idx="1235">
                  <c:v>All Others</c:v>
                </c:pt>
                <c:pt idx="1236">
                  <c:v>All Others</c:v>
                </c:pt>
                <c:pt idx="1237">
                  <c:v>All Others</c:v>
                </c:pt>
                <c:pt idx="1238">
                  <c:v>All Others</c:v>
                </c:pt>
                <c:pt idx="1239">
                  <c:v>All Others</c:v>
                </c:pt>
                <c:pt idx="1240">
                  <c:v>All Others</c:v>
                </c:pt>
                <c:pt idx="1241">
                  <c:v>All Others</c:v>
                </c:pt>
                <c:pt idx="1242">
                  <c:v>All Others</c:v>
                </c:pt>
                <c:pt idx="1243">
                  <c:v>All Others</c:v>
                </c:pt>
                <c:pt idx="1244">
                  <c:v>All Others</c:v>
                </c:pt>
                <c:pt idx="1245">
                  <c:v>All Others</c:v>
                </c:pt>
                <c:pt idx="1246">
                  <c:v>Ambrosi</c:v>
                </c:pt>
                <c:pt idx="1247">
                  <c:v>Raguin</c:v>
                </c:pt>
                <c:pt idx="1248">
                  <c:v>All Others</c:v>
                </c:pt>
                <c:pt idx="1249">
                  <c:v>All Others</c:v>
                </c:pt>
                <c:pt idx="1250">
                  <c:v>All Others</c:v>
                </c:pt>
                <c:pt idx="1251">
                  <c:v>Savall</c:v>
                </c:pt>
                <c:pt idx="1252">
                  <c:v>Raguin</c:v>
                </c:pt>
                <c:pt idx="1253">
                  <c:v>All Others</c:v>
                </c:pt>
                <c:pt idx="1254">
                  <c:v>All Others</c:v>
                </c:pt>
                <c:pt idx="1255">
                  <c:v>All Others</c:v>
                </c:pt>
                <c:pt idx="1256">
                  <c:v>Jperrin</c:v>
                </c:pt>
                <c:pt idx="1257">
                  <c:v>Gillot</c:v>
                </c:pt>
                <c:pt idx="1258">
                  <c:v>All Others</c:v>
                </c:pt>
                <c:pt idx="1259">
                  <c:v>All Others</c:v>
                </c:pt>
                <c:pt idx="1260">
                  <c:v>All Others</c:v>
                </c:pt>
                <c:pt idx="1261">
                  <c:v>Limiano</c:v>
                </c:pt>
                <c:pt idx="1262">
                  <c:v>All Others</c:v>
                </c:pt>
                <c:pt idx="1263">
                  <c:v>All Others</c:v>
                </c:pt>
                <c:pt idx="1264">
                  <c:v>All Others</c:v>
                </c:pt>
                <c:pt idx="1265">
                  <c:v>Etoile Du V</c:v>
                </c:pt>
                <c:pt idx="1266">
                  <c:v>Pave D'Affi</c:v>
                </c:pt>
                <c:pt idx="1267">
                  <c:v>All Others</c:v>
                </c:pt>
                <c:pt idx="1268">
                  <c:v>All Others</c:v>
                </c:pt>
                <c:pt idx="1269">
                  <c:v>Rians</c:v>
                </c:pt>
                <c:pt idx="1270">
                  <c:v>All Others</c:v>
                </c:pt>
                <c:pt idx="1271">
                  <c:v>All Others</c:v>
                </c:pt>
                <c:pt idx="1272">
                  <c:v>All Others</c:v>
                </c:pt>
                <c:pt idx="1273">
                  <c:v>All Others</c:v>
                </c:pt>
                <c:pt idx="1274">
                  <c:v>Raguin</c:v>
                </c:pt>
                <c:pt idx="1275">
                  <c:v>All Others</c:v>
                </c:pt>
                <c:pt idx="1276">
                  <c:v>All Others</c:v>
                </c:pt>
                <c:pt idx="1277">
                  <c:v>All Others</c:v>
                </c:pt>
                <c:pt idx="1278">
                  <c:v>All Others</c:v>
                </c:pt>
                <c:pt idx="1279">
                  <c:v>All Others</c:v>
                </c:pt>
                <c:pt idx="1280">
                  <c:v>All Others</c:v>
                </c:pt>
                <c:pt idx="1281">
                  <c:v>All Others</c:v>
                </c:pt>
                <c:pt idx="1282">
                  <c:v>All Others</c:v>
                </c:pt>
                <c:pt idx="1283">
                  <c:v>All Others</c:v>
                </c:pt>
                <c:pt idx="1284">
                  <c:v>All Others</c:v>
                </c:pt>
                <c:pt idx="1285">
                  <c:v>All Others</c:v>
                </c:pt>
                <c:pt idx="1286">
                  <c:v>Jperrin</c:v>
                </c:pt>
                <c:pt idx="1287">
                  <c:v>All Others</c:v>
                </c:pt>
                <c:pt idx="1288">
                  <c:v>All Others</c:v>
                </c:pt>
                <c:pt idx="1289">
                  <c:v>All Others</c:v>
                </c:pt>
                <c:pt idx="1290">
                  <c:v>All Others</c:v>
                </c:pt>
                <c:pt idx="1291">
                  <c:v>All Others</c:v>
                </c:pt>
                <c:pt idx="1292">
                  <c:v>All Others</c:v>
                </c:pt>
                <c:pt idx="1293">
                  <c:v>All Others</c:v>
                </c:pt>
                <c:pt idx="1294">
                  <c:v>All Others</c:v>
                </c:pt>
                <c:pt idx="1295">
                  <c:v>All Others</c:v>
                </c:pt>
                <c:pt idx="1296">
                  <c:v>All Others</c:v>
                </c:pt>
                <c:pt idx="1297">
                  <c:v>Raguin</c:v>
                </c:pt>
                <c:pt idx="1298">
                  <c:v>All Others</c:v>
                </c:pt>
                <c:pt idx="1299">
                  <c:v>All Others</c:v>
                </c:pt>
                <c:pt idx="1300">
                  <c:v>Savencia: A</c:v>
                </c:pt>
                <c:pt idx="1301">
                  <c:v>All Others</c:v>
                </c:pt>
                <c:pt idx="1302">
                  <c:v>Lincet</c:v>
                </c:pt>
                <c:pt idx="1303">
                  <c:v>All Others</c:v>
                </c:pt>
                <c:pt idx="1304">
                  <c:v>All Others</c:v>
                </c:pt>
                <c:pt idx="1305">
                  <c:v>All Others</c:v>
                </c:pt>
                <c:pt idx="1306">
                  <c:v>All Others</c:v>
                </c:pt>
                <c:pt idx="1307">
                  <c:v>All Others</c:v>
                </c:pt>
                <c:pt idx="1308">
                  <c:v>All Others</c:v>
                </c:pt>
                <c:pt idx="1309">
                  <c:v>All Others</c:v>
                </c:pt>
                <c:pt idx="1310">
                  <c:v>All Others</c:v>
                </c:pt>
                <c:pt idx="1311">
                  <c:v>Dodin</c:v>
                </c:pt>
                <c:pt idx="1312">
                  <c:v>All Others</c:v>
                </c:pt>
                <c:pt idx="1313">
                  <c:v>All Others</c:v>
                </c:pt>
                <c:pt idx="1314">
                  <c:v>All Others</c:v>
                </c:pt>
                <c:pt idx="1315">
                  <c:v>All Others</c:v>
                </c:pt>
                <c:pt idx="1316">
                  <c:v>All Others</c:v>
                </c:pt>
                <c:pt idx="1317">
                  <c:v>Gillot</c:v>
                </c:pt>
                <c:pt idx="1318">
                  <c:v>Pave D'Affi</c:v>
                </c:pt>
                <c:pt idx="1319">
                  <c:v>All Others</c:v>
                </c:pt>
                <c:pt idx="1320">
                  <c:v>All Others</c:v>
                </c:pt>
                <c:pt idx="1321">
                  <c:v>All Others</c:v>
                </c:pt>
                <c:pt idx="1322">
                  <c:v>All Others</c:v>
                </c:pt>
                <c:pt idx="1323">
                  <c:v>All Others</c:v>
                </c:pt>
                <c:pt idx="1324">
                  <c:v>All Others</c:v>
                </c:pt>
                <c:pt idx="1325">
                  <c:v>All Others</c:v>
                </c:pt>
                <c:pt idx="1326">
                  <c:v>Tomasoni</c:v>
                </c:pt>
                <c:pt idx="1327">
                  <c:v>All Others</c:v>
                </c:pt>
                <c:pt idx="1328">
                  <c:v>All Others</c:v>
                </c:pt>
                <c:pt idx="1329">
                  <c:v>Casa Sant</c:v>
                </c:pt>
                <c:pt idx="1330">
                  <c:v>All Others</c:v>
                </c:pt>
                <c:pt idx="1331">
                  <c:v>All Others</c:v>
                </c:pt>
                <c:pt idx="1332">
                  <c:v>All Others</c:v>
                </c:pt>
                <c:pt idx="1333">
                  <c:v>All Others</c:v>
                </c:pt>
                <c:pt idx="1334">
                  <c:v>All Others</c:v>
                </c:pt>
                <c:pt idx="1335">
                  <c:v>All Others</c:v>
                </c:pt>
                <c:pt idx="1336">
                  <c:v>All Others</c:v>
                </c:pt>
                <c:pt idx="1337">
                  <c:v>All Others</c:v>
                </c:pt>
                <c:pt idx="1338">
                  <c:v>All Others</c:v>
                </c:pt>
                <c:pt idx="1339">
                  <c:v>All Others</c:v>
                </c:pt>
                <c:pt idx="1340">
                  <c:v>All Others</c:v>
                </c:pt>
                <c:pt idx="1341">
                  <c:v>All Others</c:v>
                </c:pt>
                <c:pt idx="1342">
                  <c:v>All Others</c:v>
                </c:pt>
                <c:pt idx="1343">
                  <c:v>All Others</c:v>
                </c:pt>
                <c:pt idx="1344">
                  <c:v>All Others</c:v>
                </c:pt>
                <c:pt idx="1345">
                  <c:v>All Others</c:v>
                </c:pt>
                <c:pt idx="1346">
                  <c:v>All Others</c:v>
                </c:pt>
                <c:pt idx="1347">
                  <c:v>All Others</c:v>
                </c:pt>
                <c:pt idx="1348">
                  <c:v>All Others</c:v>
                </c:pt>
                <c:pt idx="1349">
                  <c:v>All Others</c:v>
                </c:pt>
                <c:pt idx="1350">
                  <c:v>All Others</c:v>
                </c:pt>
                <c:pt idx="1351">
                  <c:v>All Others</c:v>
                </c:pt>
                <c:pt idx="1352">
                  <c:v>All Others</c:v>
                </c:pt>
                <c:pt idx="1353">
                  <c:v>All Others</c:v>
                </c:pt>
                <c:pt idx="1354">
                  <c:v>All Others</c:v>
                </c:pt>
                <c:pt idx="1355">
                  <c:v>All Others</c:v>
                </c:pt>
                <c:pt idx="1356">
                  <c:v>All Others</c:v>
                </c:pt>
                <c:pt idx="1357">
                  <c:v>All Others</c:v>
                </c:pt>
                <c:pt idx="1358">
                  <c:v>All Others</c:v>
                </c:pt>
                <c:pt idx="1359">
                  <c:v>All Others</c:v>
                </c:pt>
                <c:pt idx="1360">
                  <c:v>Raguin</c:v>
                </c:pt>
                <c:pt idx="1361">
                  <c:v>All Others</c:v>
                </c:pt>
                <c:pt idx="1362">
                  <c:v>All Others</c:v>
                </c:pt>
                <c:pt idx="1363">
                  <c:v>All Others</c:v>
                </c:pt>
                <c:pt idx="1364">
                  <c:v>All Others</c:v>
                </c:pt>
                <c:pt idx="1365">
                  <c:v>All Others</c:v>
                </c:pt>
                <c:pt idx="1366">
                  <c:v>All Others</c:v>
                </c:pt>
                <c:pt idx="1367">
                  <c:v>All Others</c:v>
                </c:pt>
                <c:pt idx="1368">
                  <c:v>All Others</c:v>
                </c:pt>
                <c:pt idx="1369">
                  <c:v>All Others</c:v>
                </c:pt>
                <c:pt idx="1370">
                  <c:v>All Others</c:v>
                </c:pt>
                <c:pt idx="1371">
                  <c:v>All Others</c:v>
                </c:pt>
                <c:pt idx="1372">
                  <c:v>All Others</c:v>
                </c:pt>
                <c:pt idx="1373">
                  <c:v>All Others</c:v>
                </c:pt>
                <c:pt idx="1374">
                  <c:v>All Others</c:v>
                </c:pt>
                <c:pt idx="1375">
                  <c:v>All Others</c:v>
                </c:pt>
                <c:pt idx="1376">
                  <c:v>All Others</c:v>
                </c:pt>
                <c:pt idx="1377">
                  <c:v>All Others</c:v>
                </c:pt>
                <c:pt idx="1378">
                  <c:v>All Others</c:v>
                </c:pt>
                <c:pt idx="1379">
                  <c:v>All Others</c:v>
                </c:pt>
                <c:pt idx="1380">
                  <c:v>All Others</c:v>
                </c:pt>
                <c:pt idx="1381">
                  <c:v>All Others</c:v>
                </c:pt>
                <c:pt idx="1382">
                  <c:v>All Others</c:v>
                </c:pt>
                <c:pt idx="1383">
                  <c:v>All Others</c:v>
                </c:pt>
                <c:pt idx="1384">
                  <c:v>All Others</c:v>
                </c:pt>
                <c:pt idx="1385">
                  <c:v>All Others</c:v>
                </c:pt>
                <c:pt idx="1386">
                  <c:v>All Others</c:v>
                </c:pt>
                <c:pt idx="1387">
                  <c:v>Vivaldi</c:v>
                </c:pt>
                <c:pt idx="1388">
                  <c:v>Raguin</c:v>
                </c:pt>
                <c:pt idx="1389">
                  <c:v>Raguin</c:v>
                </c:pt>
                <c:pt idx="1390">
                  <c:v>All Others</c:v>
                </c:pt>
                <c:pt idx="1391">
                  <c:v>All Others</c:v>
                </c:pt>
                <c:pt idx="1392">
                  <c:v>All Others</c:v>
                </c:pt>
                <c:pt idx="1393">
                  <c:v>All Others</c:v>
                </c:pt>
                <c:pt idx="1394">
                  <c:v>All Others</c:v>
                </c:pt>
                <c:pt idx="1395">
                  <c:v>All Others</c:v>
                </c:pt>
                <c:pt idx="1396">
                  <c:v>All Others</c:v>
                </c:pt>
                <c:pt idx="1397">
                  <c:v>All Others</c:v>
                </c:pt>
                <c:pt idx="1398">
                  <c:v>All Others</c:v>
                </c:pt>
                <c:pt idx="1399">
                  <c:v>All Others</c:v>
                </c:pt>
                <c:pt idx="1400">
                  <c:v>All Others</c:v>
                </c:pt>
                <c:pt idx="1401">
                  <c:v>Casa Azzur</c:v>
                </c:pt>
                <c:pt idx="1402">
                  <c:v>All Others</c:v>
                </c:pt>
                <c:pt idx="1403">
                  <c:v>All Others</c:v>
                </c:pt>
                <c:pt idx="1404">
                  <c:v>All Others</c:v>
                </c:pt>
                <c:pt idx="1405">
                  <c:v>All Others</c:v>
                </c:pt>
                <c:pt idx="1406">
                  <c:v>All Others</c:v>
                </c:pt>
                <c:pt idx="1407">
                  <c:v>All Others</c:v>
                </c:pt>
                <c:pt idx="1408">
                  <c:v>All Others</c:v>
                </c:pt>
                <c:pt idx="1409">
                  <c:v>All Others</c:v>
                </c:pt>
                <c:pt idx="1410">
                  <c:v>All Others</c:v>
                </c:pt>
                <c:pt idx="1411">
                  <c:v>All Others</c:v>
                </c:pt>
                <c:pt idx="1412">
                  <c:v>All Others</c:v>
                </c:pt>
                <c:pt idx="1413">
                  <c:v>Gioiella</c:v>
                </c:pt>
                <c:pt idx="1414">
                  <c:v>All Others</c:v>
                </c:pt>
                <c:pt idx="1415">
                  <c:v>All Others</c:v>
                </c:pt>
                <c:pt idx="1416">
                  <c:v>Savencia: A</c:v>
                </c:pt>
                <c:pt idx="1417">
                  <c:v>All Others</c:v>
                </c:pt>
                <c:pt idx="1418">
                  <c:v>Lactalis: A</c:v>
                </c:pt>
                <c:pt idx="1419">
                  <c:v>All Others</c:v>
                </c:pt>
                <c:pt idx="1420">
                  <c:v>All Others</c:v>
                </c:pt>
                <c:pt idx="1421">
                  <c:v>All Others</c:v>
                </c:pt>
                <c:pt idx="1422">
                  <c:v>No Informat</c:v>
                </c:pt>
                <c:pt idx="1423">
                  <c:v>All Others</c:v>
                </c:pt>
                <c:pt idx="1424">
                  <c:v>All Others</c:v>
                </c:pt>
                <c:pt idx="1425">
                  <c:v>All Others</c:v>
                </c:pt>
                <c:pt idx="1426">
                  <c:v>All Others</c:v>
                </c:pt>
                <c:pt idx="1427">
                  <c:v>All Others</c:v>
                </c:pt>
                <c:pt idx="1428">
                  <c:v>All Others</c:v>
                </c:pt>
                <c:pt idx="1429">
                  <c:v>All Others</c:v>
                </c:pt>
                <c:pt idx="1430">
                  <c:v>All Others</c:v>
                </c:pt>
                <c:pt idx="1431">
                  <c:v>All Others</c:v>
                </c:pt>
                <c:pt idx="1432">
                  <c:v>Delamelie</c:v>
                </c:pt>
                <c:pt idx="1433">
                  <c:v>All Others</c:v>
                </c:pt>
                <c:pt idx="1434">
                  <c:v>Caprice Des</c:v>
                </c:pt>
                <c:pt idx="1435">
                  <c:v>Private Lab</c:v>
                </c:pt>
                <c:pt idx="1436">
                  <c:v>Alsacelait</c:v>
                </c:pt>
                <c:pt idx="1437">
                  <c:v>All Others</c:v>
                </c:pt>
                <c:pt idx="1438">
                  <c:v>All Others</c:v>
                </c:pt>
                <c:pt idx="1439">
                  <c:v>All Others</c:v>
                </c:pt>
                <c:pt idx="1440">
                  <c:v>All Others</c:v>
                </c:pt>
                <c:pt idx="1441">
                  <c:v>All Others</c:v>
                </c:pt>
                <c:pt idx="1442">
                  <c:v>Ambrosi</c:v>
                </c:pt>
                <c:pt idx="1443">
                  <c:v>All Others</c:v>
                </c:pt>
                <c:pt idx="1444">
                  <c:v>All Others</c:v>
                </c:pt>
                <c:pt idx="1445">
                  <c:v>Pochat</c:v>
                </c:pt>
                <c:pt idx="1446">
                  <c:v>All Others</c:v>
                </c:pt>
                <c:pt idx="1447">
                  <c:v>All Others</c:v>
                </c:pt>
                <c:pt idx="1448">
                  <c:v>Richesmonts</c:v>
                </c:pt>
                <c:pt idx="1449">
                  <c:v>All Others</c:v>
                </c:pt>
                <c:pt idx="1450">
                  <c:v>All Others</c:v>
                </c:pt>
                <c:pt idx="1451">
                  <c:v>All Others</c:v>
                </c:pt>
                <c:pt idx="1452">
                  <c:v>Milleret: A</c:v>
                </c:pt>
                <c:pt idx="1453">
                  <c:v>All Others</c:v>
                </c:pt>
                <c:pt idx="1454">
                  <c:v>Ambrosi</c:v>
                </c:pt>
                <c:pt idx="1455">
                  <c:v>All Others</c:v>
                </c:pt>
                <c:pt idx="1456">
                  <c:v>All Others</c:v>
                </c:pt>
                <c:pt idx="1457">
                  <c:v>All Others</c:v>
                </c:pt>
                <c:pt idx="1458">
                  <c:v>Private Lab</c:v>
                </c:pt>
                <c:pt idx="1459">
                  <c:v>All Others</c:v>
                </c:pt>
                <c:pt idx="1460">
                  <c:v>All Others</c:v>
                </c:pt>
                <c:pt idx="1461">
                  <c:v>All Others</c:v>
                </c:pt>
                <c:pt idx="1462">
                  <c:v>Pochat</c:v>
                </c:pt>
                <c:pt idx="1463">
                  <c:v>All Others</c:v>
                </c:pt>
                <c:pt idx="1464">
                  <c:v>All Others</c:v>
                </c:pt>
                <c:pt idx="1465">
                  <c:v>All Others</c:v>
                </c:pt>
                <c:pt idx="1466">
                  <c:v>Private Lab</c:v>
                </c:pt>
                <c:pt idx="1467">
                  <c:v>Pays Auge</c:v>
                </c:pt>
                <c:pt idx="1468">
                  <c:v>Private Lab</c:v>
                </c:pt>
                <c:pt idx="1469">
                  <c:v>All Others</c:v>
                </c:pt>
                <c:pt idx="1470">
                  <c:v>Lactalis: A</c:v>
                </c:pt>
                <c:pt idx="1471">
                  <c:v>Laiteries H</c:v>
                </c:pt>
                <c:pt idx="1472">
                  <c:v>All Others</c:v>
                </c:pt>
                <c:pt idx="1473">
                  <c:v>All Others</c:v>
                </c:pt>
                <c:pt idx="1474">
                  <c:v>All Others</c:v>
                </c:pt>
                <c:pt idx="1475">
                  <c:v>All Others</c:v>
                </c:pt>
                <c:pt idx="1476">
                  <c:v>Private Lab</c:v>
                </c:pt>
                <c:pt idx="1477">
                  <c:v>All Others</c:v>
                </c:pt>
                <c:pt idx="1478">
                  <c:v>La Vache Qu</c:v>
                </c:pt>
                <c:pt idx="1479">
                  <c:v>All Others</c:v>
                </c:pt>
                <c:pt idx="1480">
                  <c:v>All Others</c:v>
                </c:pt>
                <c:pt idx="1481">
                  <c:v>All Others</c:v>
                </c:pt>
                <c:pt idx="1482">
                  <c:v>All Others</c:v>
                </c:pt>
                <c:pt idx="1483">
                  <c:v>All Others</c:v>
                </c:pt>
                <c:pt idx="1484">
                  <c:v>All Others</c:v>
                </c:pt>
                <c:pt idx="1485">
                  <c:v>All Others</c:v>
                </c:pt>
                <c:pt idx="1486">
                  <c:v>Gillot</c:v>
                </c:pt>
                <c:pt idx="1487">
                  <c:v>All Others</c:v>
                </c:pt>
                <c:pt idx="1488">
                  <c:v>All Others</c:v>
                </c:pt>
                <c:pt idx="1489">
                  <c:v>Private Lab</c:v>
                </c:pt>
                <c:pt idx="1490">
                  <c:v>All Others</c:v>
                </c:pt>
                <c:pt idx="1491">
                  <c:v>All Others</c:v>
                </c:pt>
                <c:pt idx="1492">
                  <c:v>Private Lab</c:v>
                </c:pt>
                <c:pt idx="1493">
                  <c:v>All Others</c:v>
                </c:pt>
                <c:pt idx="1494">
                  <c:v>All Others</c:v>
                </c:pt>
                <c:pt idx="1495">
                  <c:v>Lactalis: A</c:v>
                </c:pt>
                <c:pt idx="1496">
                  <c:v>Private Lab</c:v>
                </c:pt>
                <c:pt idx="1497">
                  <c:v>All Others</c:v>
                </c:pt>
                <c:pt idx="1498">
                  <c:v>R Du Nord</c:v>
                </c:pt>
                <c:pt idx="1499">
                  <c:v>All Others</c:v>
                </c:pt>
                <c:pt idx="1500">
                  <c:v>All Others</c:v>
                </c:pt>
                <c:pt idx="1501">
                  <c:v>All Others</c:v>
                </c:pt>
                <c:pt idx="1502">
                  <c:v>Private Lab</c:v>
                </c:pt>
                <c:pt idx="1503">
                  <c:v>All Others</c:v>
                </c:pt>
                <c:pt idx="1504">
                  <c:v>All Others</c:v>
                </c:pt>
                <c:pt idx="1505">
                  <c:v>All Others</c:v>
                </c:pt>
                <c:pt idx="1506">
                  <c:v>Private Lab</c:v>
                </c:pt>
                <c:pt idx="1507">
                  <c:v>Chirag</c:v>
                </c:pt>
                <c:pt idx="1508">
                  <c:v>Etoile Du V</c:v>
                </c:pt>
                <c:pt idx="1509">
                  <c:v>Gillot</c:v>
                </c:pt>
                <c:pt idx="1510">
                  <c:v>All Others</c:v>
                </c:pt>
                <c:pt idx="1511">
                  <c:v>All Others</c:v>
                </c:pt>
                <c:pt idx="1512">
                  <c:v>All Others</c:v>
                </c:pt>
                <c:pt idx="1513">
                  <c:v>All Others</c:v>
                </c:pt>
                <c:pt idx="1514">
                  <c:v>Private Lab</c:v>
                </c:pt>
                <c:pt idx="1515">
                  <c:v>Leerdammer</c:v>
                </c:pt>
                <c:pt idx="1516">
                  <c:v>All Others</c:v>
                </c:pt>
                <c:pt idx="1517">
                  <c:v>All Others</c:v>
                </c:pt>
                <c:pt idx="1518">
                  <c:v>Lactalis: A</c:v>
                </c:pt>
                <c:pt idx="1519">
                  <c:v>All Others</c:v>
                </c:pt>
                <c:pt idx="1520">
                  <c:v>Duo Lozere</c:v>
                </c:pt>
                <c:pt idx="1521">
                  <c:v>Pochat</c:v>
                </c:pt>
                <c:pt idx="1522">
                  <c:v>Pave D'Affi</c:v>
                </c:pt>
                <c:pt idx="1523">
                  <c:v>All Others</c:v>
                </c:pt>
                <c:pt idx="1524">
                  <c:v>All Others</c:v>
                </c:pt>
                <c:pt idx="1525">
                  <c:v>All Others</c:v>
                </c:pt>
                <c:pt idx="1526">
                  <c:v>Private Lab</c:v>
                </c:pt>
                <c:pt idx="1527">
                  <c:v>All Others</c:v>
                </c:pt>
                <c:pt idx="1528">
                  <c:v>All Others</c:v>
                </c:pt>
                <c:pt idx="1529">
                  <c:v>All Others</c:v>
                </c:pt>
                <c:pt idx="1530">
                  <c:v>Private Lab</c:v>
                </c:pt>
                <c:pt idx="1531">
                  <c:v>All Others</c:v>
                </c:pt>
                <c:pt idx="1532">
                  <c:v>All Others</c:v>
                </c:pt>
                <c:pt idx="1533">
                  <c:v>All Others</c:v>
                </c:pt>
                <c:pt idx="1534">
                  <c:v>Netto</c:v>
                </c:pt>
                <c:pt idx="1535">
                  <c:v>All Others</c:v>
                </c:pt>
                <c:pt idx="1536">
                  <c:v>All Others</c:v>
                </c:pt>
                <c:pt idx="1537">
                  <c:v>All Others</c:v>
                </c:pt>
                <c:pt idx="1538">
                  <c:v>Private Lab</c:v>
                </c:pt>
                <c:pt idx="1539">
                  <c:v>La Vache Qu</c:v>
                </c:pt>
                <c:pt idx="1540">
                  <c:v>Private Lab</c:v>
                </c:pt>
                <c:pt idx="1541">
                  <c:v>All Others</c:v>
                </c:pt>
                <c:pt idx="1542">
                  <c:v>All Others</c:v>
                </c:pt>
                <c:pt idx="1543">
                  <c:v>Private Lab</c:v>
                </c:pt>
                <c:pt idx="1544">
                  <c:v>All Others</c:v>
                </c:pt>
                <c:pt idx="1545">
                  <c:v>All Others</c:v>
                </c:pt>
                <c:pt idx="1546">
                  <c:v>All Others</c:v>
                </c:pt>
                <c:pt idx="1547">
                  <c:v>All Others</c:v>
                </c:pt>
                <c:pt idx="1548">
                  <c:v>All Others</c:v>
                </c:pt>
                <c:pt idx="1549">
                  <c:v>Private Lab</c:v>
                </c:pt>
                <c:pt idx="1550">
                  <c:v>Private Lab</c:v>
                </c:pt>
                <c:pt idx="1551">
                  <c:v>Private Lab</c:v>
                </c:pt>
                <c:pt idx="1552">
                  <c:v>Gillot</c:v>
                </c:pt>
                <c:pt idx="1553">
                  <c:v>All Others</c:v>
                </c:pt>
                <c:pt idx="1554">
                  <c:v>All Others</c:v>
                </c:pt>
                <c:pt idx="1555">
                  <c:v>All Others</c:v>
                </c:pt>
                <c:pt idx="1556">
                  <c:v>All Others</c:v>
                </c:pt>
                <c:pt idx="1557">
                  <c:v>Private Lab</c:v>
                </c:pt>
                <c:pt idx="1558">
                  <c:v>Private Lab</c:v>
                </c:pt>
                <c:pt idx="1559">
                  <c:v>Private Lab</c:v>
                </c:pt>
                <c:pt idx="1560">
                  <c:v>All Others</c:v>
                </c:pt>
                <c:pt idx="1561">
                  <c:v>All Others</c:v>
                </c:pt>
                <c:pt idx="1562">
                  <c:v>All Others</c:v>
                </c:pt>
                <c:pt idx="1563">
                  <c:v>All Others</c:v>
                </c:pt>
                <c:pt idx="1564">
                  <c:v>O'Tapas Ape</c:v>
                </c:pt>
                <c:pt idx="1565">
                  <c:v>All Others</c:v>
                </c:pt>
                <c:pt idx="1566">
                  <c:v>All Others</c:v>
                </c:pt>
                <c:pt idx="1567">
                  <c:v>All Others</c:v>
                </c:pt>
                <c:pt idx="1568">
                  <c:v>All Others</c:v>
                </c:pt>
                <c:pt idx="1569">
                  <c:v>Private Lab</c:v>
                </c:pt>
                <c:pt idx="1570">
                  <c:v>All Others</c:v>
                </c:pt>
                <c:pt idx="1571">
                  <c:v>Private Lab</c:v>
                </c:pt>
                <c:pt idx="1572">
                  <c:v>All Others</c:v>
                </c:pt>
                <c:pt idx="1573">
                  <c:v>Private Lab</c:v>
                </c:pt>
                <c:pt idx="1574">
                  <c:v>Private Lab</c:v>
                </c:pt>
                <c:pt idx="1575">
                  <c:v>O'Tapas Ape</c:v>
                </c:pt>
                <c:pt idx="1576">
                  <c:v>All Others</c:v>
                </c:pt>
                <c:pt idx="1577">
                  <c:v>All Others</c:v>
                </c:pt>
                <c:pt idx="1578">
                  <c:v>Apericube</c:v>
                </c:pt>
                <c:pt idx="1579">
                  <c:v>La Vache Qu</c:v>
                </c:pt>
                <c:pt idx="1580">
                  <c:v>All Others</c:v>
                </c:pt>
                <c:pt idx="1581">
                  <c:v>Societe</c:v>
                </c:pt>
                <c:pt idx="1582">
                  <c:v>Private Lab</c:v>
                </c:pt>
                <c:pt idx="1583">
                  <c:v>All Others</c:v>
                </c:pt>
                <c:pt idx="1584">
                  <c:v>Lactalis: A</c:v>
                </c:pt>
                <c:pt idx="1585">
                  <c:v>La Vache Qu</c:v>
                </c:pt>
                <c:pt idx="1586">
                  <c:v>All Others</c:v>
                </c:pt>
                <c:pt idx="1587">
                  <c:v>Bien Bon</c:v>
                </c:pt>
                <c:pt idx="1588">
                  <c:v>All Others</c:v>
                </c:pt>
                <c:pt idx="1589">
                  <c:v>All Others</c:v>
                </c:pt>
                <c:pt idx="1590">
                  <c:v>All Others</c:v>
                </c:pt>
                <c:pt idx="1591">
                  <c:v>All Others</c:v>
                </c:pt>
                <c:pt idx="1592">
                  <c:v>Lactalis: A</c:v>
                </c:pt>
                <c:pt idx="1593">
                  <c:v>All Others</c:v>
                </c:pt>
                <c:pt idx="1594">
                  <c:v>President</c:v>
                </c:pt>
                <c:pt idx="1595">
                  <c:v>Bien Bon</c:v>
                </c:pt>
                <c:pt idx="1596">
                  <c:v>Netto</c:v>
                </c:pt>
                <c:pt idx="1597">
                  <c:v>President</c:v>
                </c:pt>
                <c:pt idx="1598">
                  <c:v>Lactalis: A</c:v>
                </c:pt>
                <c:pt idx="1599">
                  <c:v>All Others</c:v>
                </c:pt>
                <c:pt idx="1600">
                  <c:v>Bien Bon</c:v>
                </c:pt>
              </c:strCache>
            </c:strRef>
          </c:cat>
          <c:val>
            <c:numRef>
              <c:f>Sheet1!$C$2:$C$1602</c:f>
              <c:numCache>
                <c:formatCode>General</c:formatCode>
                <c:ptCount val="1601"/>
                <c:pt idx="0">
                  <c:v>0.0215508966274595</c:v>
                </c:pt>
                <c:pt idx="1">
                  <c:v>0.04033098374051595</c:v>
                </c:pt>
                <c:pt idx="2">
                  <c:v>0.057940931102245005</c:v>
                </c:pt>
                <c:pt idx="3">
                  <c:v>0.07287106609370211</c:v>
                </c:pt>
                <c:pt idx="4">
                  <c:v>0.08639174729075223</c:v>
                </c:pt>
                <c:pt idx="5">
                  <c:v>0.09714816905158664</c:v>
                </c:pt>
                <c:pt idx="6">
                  <c:v>0.10654977948786365</c:v>
                </c:pt>
                <c:pt idx="7">
                  <c:v>0.11533734690954776</c:v>
                </c:pt>
                <c:pt idx="8">
                  <c:v>0.12401427831803609</c:v>
                </c:pt>
                <c:pt idx="9">
                  <c:v>0.13267558927111398</c:v>
                </c:pt>
                <c:pt idx="10">
                  <c:v>0.14113297194674534</c:v>
                </c:pt>
                <c:pt idx="11">
                  <c:v>0.14938405379735986</c:v>
                </c:pt>
                <c:pt idx="12">
                  <c:v>0.15752767273956797</c:v>
                </c:pt>
                <c:pt idx="13">
                  <c:v>0.16540052220411328</c:v>
                </c:pt>
                <c:pt idx="14">
                  <c:v>0.17280321869179918</c:v>
                </c:pt>
                <c:pt idx="15">
                  <c:v>0.18001858407987686</c:v>
                </c:pt>
                <c:pt idx="16">
                  <c:v>0.18716844868608115</c:v>
                </c:pt>
                <c:pt idx="17">
                  <c:v>0.19428532280521738</c:v>
                </c:pt>
                <c:pt idx="18">
                  <c:v>0.20135173979890048</c:v>
                </c:pt>
                <c:pt idx="19">
                  <c:v>0.20827263722666858</c:v>
                </c:pt>
                <c:pt idx="20">
                  <c:v>0.21499670910248578</c:v>
                </c:pt>
                <c:pt idx="21">
                  <c:v>0.2216899684046632</c:v>
                </c:pt>
                <c:pt idx="22">
                  <c:v>0.22836856905664282</c:v>
                </c:pt>
                <c:pt idx="23">
                  <c:v>0.2349547596911029</c:v>
                </c:pt>
                <c:pt idx="24">
                  <c:v>0.24129547334154933</c:v>
                </c:pt>
                <c:pt idx="25">
                  <c:v>0.2473611859976035</c:v>
                </c:pt>
                <c:pt idx="26">
                  <c:v>0.2532865709889976</c:v>
                </c:pt>
                <c:pt idx="27">
                  <c:v>0.25880875856906554</c:v>
                </c:pt>
                <c:pt idx="28">
                  <c:v>0.2642776071597604</c:v>
                </c:pt>
                <c:pt idx="29">
                  <c:v>0.2696406102943894</c:v>
                </c:pt>
                <c:pt idx="30">
                  <c:v>0.2749778585016962</c:v>
                </c:pt>
                <c:pt idx="31">
                  <c:v>0.28026332408242227</c:v>
                </c:pt>
                <c:pt idx="32">
                  <c:v>0.28553473480499686</c:v>
                </c:pt>
                <c:pt idx="33">
                  <c:v>0.2907246314702857</c:v>
                </c:pt>
                <c:pt idx="34">
                  <c:v>0.2957864858631984</c:v>
                </c:pt>
                <c:pt idx="35">
                  <c:v>0.3008004652295855</c:v>
                </c:pt>
                <c:pt idx="36">
                  <c:v>0.3057649677446653</c:v>
                </c:pt>
                <c:pt idx="37">
                  <c:v>0.3106417712408741</c:v>
                </c:pt>
                <c:pt idx="38">
                  <c:v>0.31549029524866345</c:v>
                </c:pt>
                <c:pt idx="39">
                  <c:v>0.32028110739197707</c:v>
                </c:pt>
                <c:pt idx="40">
                  <c:v>0.32493471951343056</c:v>
                </c:pt>
                <c:pt idx="41">
                  <c:v>0.3295358443474681</c:v>
                </c:pt>
                <c:pt idx="42">
                  <c:v>0.33410345232984184</c:v>
                </c:pt>
                <c:pt idx="43">
                  <c:v>0.33862081415880696</c:v>
                </c:pt>
                <c:pt idx="44">
                  <c:v>0.34299701082802647</c:v>
                </c:pt>
                <c:pt idx="45">
                  <c:v>0.3472541759332319</c:v>
                </c:pt>
                <c:pt idx="46">
                  <c:v>0.3514787199300328</c:v>
                </c:pt>
                <c:pt idx="47">
                  <c:v>0.3556610524697028</c:v>
                </c:pt>
                <c:pt idx="48">
                  <c:v>0.3598162633809951</c:v>
                </c:pt>
                <c:pt idx="49">
                  <c:v>0.3639052212565586</c:v>
                </c:pt>
                <c:pt idx="50">
                  <c:v>0.36799126601308446</c:v>
                </c:pt>
                <c:pt idx="51">
                  <c:v>0.372056100620538</c:v>
                </c:pt>
                <c:pt idx="52">
                  <c:v>0.3761194882581111</c:v>
                </c:pt>
                <c:pt idx="53">
                  <c:v>0.3801402993219511</c:v>
                </c:pt>
                <c:pt idx="54">
                  <c:v>0.3840963121337222</c:v>
                </c:pt>
                <c:pt idx="55">
                  <c:v>0.3880490893304685</c:v>
                </c:pt>
                <c:pt idx="56">
                  <c:v>0.3919992197870211</c:v>
                </c:pt>
                <c:pt idx="57">
                  <c:v>0.3959422709594164</c:v>
                </c:pt>
                <c:pt idx="58">
                  <c:v>0.3998810408910314</c:v>
                </c:pt>
                <c:pt idx="59">
                  <c:v>0.40379934227227565</c:v>
                </c:pt>
                <c:pt idx="60">
                  <c:v>0.40760595278010203</c:v>
                </c:pt>
                <c:pt idx="61">
                  <c:v>0.4114036435035451</c:v>
                </c:pt>
                <c:pt idx="62">
                  <c:v>0.4151358270520225</c:v>
                </c:pt>
                <c:pt idx="63">
                  <c:v>0.4188671546364813</c:v>
                </c:pt>
                <c:pt idx="64">
                  <c:v>0.4225808507828435</c:v>
                </c:pt>
                <c:pt idx="65">
                  <c:v>0.4262815355657791</c:v>
                </c:pt>
                <c:pt idx="66">
                  <c:v>0.42995727308204734</c:v>
                </c:pt>
                <c:pt idx="67">
                  <c:v>0.43354327928645103</c:v>
                </c:pt>
                <c:pt idx="68">
                  <c:v>0.43703920611063407</c:v>
                </c:pt>
                <c:pt idx="69">
                  <c:v>0.44053022659168295</c:v>
                </c:pt>
                <c:pt idx="70">
                  <c:v>0.44398049821304014</c:v>
                </c:pt>
                <c:pt idx="71">
                  <c:v>0.44742031854924713</c:v>
                </c:pt>
                <c:pt idx="72">
                  <c:v>0.45085998687192713</c:v>
                </c:pt>
                <c:pt idx="73">
                  <c:v>0.45428135248182383</c:v>
                </c:pt>
                <c:pt idx="74">
                  <c:v>0.45765563367760387</c:v>
                </c:pt>
                <c:pt idx="75">
                  <c:v>0.4609885494354614</c:v>
                </c:pt>
                <c:pt idx="76">
                  <c:v>0.4643184597296154</c:v>
                </c:pt>
                <c:pt idx="77">
                  <c:v>0.46763348122225035</c:v>
                </c:pt>
                <c:pt idx="78">
                  <c:v>0.4709248113356744</c:v>
                </c:pt>
                <c:pt idx="79">
                  <c:v>0.47420826444909625</c:v>
                </c:pt>
                <c:pt idx="80">
                  <c:v>0.477406518242719</c:v>
                </c:pt>
                <c:pt idx="81">
                  <c:v>0.4805733556706557</c:v>
                </c:pt>
                <c:pt idx="82">
                  <c:v>0.4836878997349748</c:v>
                </c:pt>
                <c:pt idx="83">
                  <c:v>0.4867829363437922</c:v>
                </c:pt>
                <c:pt idx="84">
                  <c:v>0.48987069406190525</c:v>
                </c:pt>
                <c:pt idx="85">
                  <c:v>0.49293872624903634</c:v>
                </c:pt>
                <c:pt idx="86">
                  <c:v>0.4960013484594323</c:v>
                </c:pt>
                <c:pt idx="87">
                  <c:v>0.4990207405799979</c:v>
                </c:pt>
                <c:pt idx="88">
                  <c:v>0.5020278394945002</c:v>
                </c:pt>
                <c:pt idx="89">
                  <c:v>0.5050204104620242</c:v>
                </c:pt>
                <c:pt idx="90">
                  <c:v>0.5080025542960798</c:v>
                </c:pt>
                <c:pt idx="91">
                  <c:v>0.5109757968146852</c:v>
                </c:pt>
                <c:pt idx="92">
                  <c:v>0.5139188142137948</c:v>
                </c:pt>
                <c:pt idx="93">
                  <c:v>0.5168613549723596</c:v>
                </c:pt>
                <c:pt idx="94">
                  <c:v>0.5197461121217467</c:v>
                </c:pt>
                <c:pt idx="95">
                  <c:v>0.5226163484275913</c:v>
                </c:pt>
                <c:pt idx="96">
                  <c:v>0.5254853743079688</c:v>
                </c:pt>
                <c:pt idx="97">
                  <c:v>0.5282622522876094</c:v>
                </c:pt>
                <c:pt idx="98">
                  <c:v>0.5310185757653055</c:v>
                </c:pt>
                <c:pt idx="99">
                  <c:v>0.5337709213189317</c:v>
                </c:pt>
                <c:pt idx="100">
                  <c:v>0.536492597788322</c:v>
                </c:pt>
                <c:pt idx="101">
                  <c:v>0.5392046128746275</c:v>
                </c:pt>
                <c:pt idx="102">
                  <c:v>0.5418804210381168</c:v>
                </c:pt>
                <c:pt idx="103">
                  <c:v>0.5445557184645694</c:v>
                </c:pt>
                <c:pt idx="104">
                  <c:v>0.5472093170255639</c:v>
                </c:pt>
                <c:pt idx="105">
                  <c:v>0.5498612896100947</c:v>
                </c:pt>
                <c:pt idx="106">
                  <c:v>0.5524943144898681</c:v>
                </c:pt>
                <c:pt idx="107">
                  <c:v>0.5551241378511087</c:v>
                </c:pt>
                <c:pt idx="108">
                  <c:v>0.5577513023963148</c:v>
                </c:pt>
                <c:pt idx="109">
                  <c:v>0.5603476572092554</c:v>
                </c:pt>
                <c:pt idx="110">
                  <c:v>0.5629416501297795</c:v>
                </c:pt>
                <c:pt idx="111">
                  <c:v>0.5654656322970159</c:v>
                </c:pt>
                <c:pt idx="112">
                  <c:v>0.5679889616584985</c:v>
                </c:pt>
                <c:pt idx="113">
                  <c:v>0.5704880377589954</c:v>
                </c:pt>
                <c:pt idx="114">
                  <c:v>0.5729611706911203</c:v>
                </c:pt>
                <c:pt idx="115">
                  <c:v>0.5754148260021741</c:v>
                </c:pt>
                <c:pt idx="116">
                  <c:v>0.5778367594998006</c:v>
                </c:pt>
                <c:pt idx="117">
                  <c:v>0.5802369451182618</c:v>
                </c:pt>
                <c:pt idx="118">
                  <c:v>0.5826062194253252</c:v>
                </c:pt>
                <c:pt idx="119">
                  <c:v>0.5849579361700247</c:v>
                </c:pt>
                <c:pt idx="120">
                  <c:v>0.5873014349498018</c:v>
                </c:pt>
                <c:pt idx="121">
                  <c:v>0.589637472990917</c:v>
                </c:pt>
                <c:pt idx="122">
                  <c:v>0.59197079325748</c:v>
                </c:pt>
                <c:pt idx="123">
                  <c:v>0.5942894385359428</c:v>
                </c:pt>
                <c:pt idx="124">
                  <c:v>0.5965985595276325</c:v>
                </c:pt>
                <c:pt idx="125">
                  <c:v>0.5988953866029152</c:v>
                </c:pt>
                <c:pt idx="126">
                  <c:v>0.6011182889317628</c:v>
                </c:pt>
                <c:pt idx="127">
                  <c:v>0.6033327282271516</c:v>
                </c:pt>
                <c:pt idx="128">
                  <c:v>0.6055104072420724</c:v>
                </c:pt>
                <c:pt idx="129">
                  <c:v>0.6075853201403637</c:v>
                </c:pt>
                <c:pt idx="130">
                  <c:v>0.609605625375641</c:v>
                </c:pt>
                <c:pt idx="131">
                  <c:v>0.6116174860463927</c:v>
                </c:pt>
                <c:pt idx="132">
                  <c:v>0.6136148003012327</c:v>
                </c:pt>
                <c:pt idx="133">
                  <c:v>0.6155826480835246</c:v>
                </c:pt>
                <c:pt idx="134">
                  <c:v>0.6175466330174071</c:v>
                </c:pt>
                <c:pt idx="135">
                  <c:v>0.6195102890622103</c:v>
                </c:pt>
                <c:pt idx="136">
                  <c:v>0.6214663394582604</c:v>
                </c:pt>
                <c:pt idx="137">
                  <c:v>0.6234088272642626</c:v>
                </c:pt>
                <c:pt idx="138">
                  <c:v>0.6253474195460507</c:v>
                </c:pt>
                <c:pt idx="139">
                  <c:v>0.6272853412634956</c:v>
                </c:pt>
                <c:pt idx="140">
                  <c:v>0.6292196842699647</c:v>
                </c:pt>
                <c:pt idx="141">
                  <c:v>0.6311405932585746</c:v>
                </c:pt>
                <c:pt idx="142">
                  <c:v>0.6330605979798022</c:v>
                </c:pt>
                <c:pt idx="143">
                  <c:v>0.6349788374972237</c:v>
                </c:pt>
                <c:pt idx="144">
                  <c:v>0.6368724444301856</c:v>
                </c:pt>
                <c:pt idx="145">
                  <c:v>0.638758615486511</c:v>
                </c:pt>
                <c:pt idx="146">
                  <c:v>0.6406318746275115</c:v>
                </c:pt>
                <c:pt idx="147">
                  <c:v>0.6425036477297343</c:v>
                </c:pt>
                <c:pt idx="148">
                  <c:v>0.6443534101256658</c:v>
                </c:pt>
                <c:pt idx="149">
                  <c:v>0.6461856391109154</c:v>
                </c:pt>
                <c:pt idx="150">
                  <c:v>0.6480016736831388</c:v>
                </c:pt>
                <c:pt idx="151">
                  <c:v>0.6498120226653163</c:v>
                </c:pt>
                <c:pt idx="152">
                  <c:v>0.651615185811799</c:v>
                </c:pt>
                <c:pt idx="153">
                  <c:v>0.653415808059282</c:v>
                </c:pt>
                <c:pt idx="154">
                  <c:v>0.6552137920906943</c:v>
                </c:pt>
                <c:pt idx="155">
                  <c:v>0.6570070509165864</c:v>
                </c:pt>
                <c:pt idx="156">
                  <c:v>0.6587986709798304</c:v>
                </c:pt>
                <c:pt idx="157">
                  <c:v>0.6605738352236091</c:v>
                </c:pt>
                <c:pt idx="158">
                  <c:v>0.662346913188282</c:v>
                </c:pt>
                <c:pt idx="159">
                  <c:v>0.664113563253864</c:v>
                </c:pt>
                <c:pt idx="160">
                  <c:v>0.6658786967358942</c:v>
                </c:pt>
                <c:pt idx="161">
                  <c:v>0.6676299344767358</c:v>
                </c:pt>
                <c:pt idx="162">
                  <c:v>0.6693709439803125</c:v>
                </c:pt>
                <c:pt idx="163">
                  <c:v>0.6711058331635701</c:v>
                </c:pt>
                <c:pt idx="164">
                  <c:v>0.6728295038906068</c:v>
                </c:pt>
                <c:pt idx="165">
                  <c:v>0.6745418496098851</c:v>
                </c:pt>
                <c:pt idx="166">
                  <c:v>0.6762472886584969</c:v>
                </c:pt>
                <c:pt idx="167">
                  <c:v>0.6779453181131849</c:v>
                </c:pt>
                <c:pt idx="168">
                  <c:v>0.6796353952714509</c:v>
                </c:pt>
                <c:pt idx="169">
                  <c:v>0.6812802448537285</c:v>
                </c:pt>
                <c:pt idx="170">
                  <c:v>0.6829097368077218</c:v>
                </c:pt>
                <c:pt idx="171">
                  <c:v>0.6845361103533817</c:v>
                </c:pt>
                <c:pt idx="172">
                  <c:v>0.686160926115562</c:v>
                </c:pt>
                <c:pt idx="173">
                  <c:v>0.6877734138648434</c:v>
                </c:pt>
                <c:pt idx="174">
                  <c:v>0.6893776815181716</c:v>
                </c:pt>
                <c:pt idx="175">
                  <c:v>0.6909661212957628</c:v>
                </c:pt>
                <c:pt idx="176">
                  <c:v>0.692539074872881</c:v>
                </c:pt>
                <c:pt idx="177">
                  <c:v>0.6940903203500746</c:v>
                </c:pt>
                <c:pt idx="178">
                  <c:v>0.695636193498743</c:v>
                </c:pt>
                <c:pt idx="179">
                  <c:v>0.6971797310377074</c:v>
                </c:pt>
                <c:pt idx="180">
                  <c:v>0.6987073455148947</c:v>
                </c:pt>
                <c:pt idx="181">
                  <c:v>0.7002274459776512</c:v>
                </c:pt>
                <c:pt idx="182">
                  <c:v>0.701741565347431</c:v>
                </c:pt>
                <c:pt idx="183">
                  <c:v>0.7032370936049326</c:v>
                </c:pt>
                <c:pt idx="184">
                  <c:v>0.704705475372031</c:v>
                </c:pt>
                <c:pt idx="185">
                  <c:v>0.7061665498346815</c:v>
                </c:pt>
                <c:pt idx="186">
                  <c:v>0.7076225481820814</c:v>
                </c:pt>
                <c:pt idx="187">
                  <c:v>0.7090733013524575</c:v>
                </c:pt>
                <c:pt idx="188">
                  <c:v>0.7105229421247813</c:v>
                </c:pt>
                <c:pt idx="189">
                  <c:v>0.711962399411486</c:v>
                </c:pt>
                <c:pt idx="190">
                  <c:v>0.7133979299188588</c:v>
                </c:pt>
                <c:pt idx="191">
                  <c:v>0.7148324346900963</c:v>
                </c:pt>
                <c:pt idx="192">
                  <c:v>0.716262920337336</c:v>
                </c:pt>
                <c:pt idx="193">
                  <c:v>0.7176918418080039</c:v>
                </c:pt>
                <c:pt idx="194">
                  <c:v>0.7191120708042354</c:v>
                </c:pt>
                <c:pt idx="195">
                  <c:v>0.7205069170931827</c:v>
                </c:pt>
                <c:pt idx="196">
                  <c:v>0.7218956430618109</c:v>
                </c:pt>
                <c:pt idx="197">
                  <c:v>0.7232786457921834</c:v>
                </c:pt>
                <c:pt idx="198">
                  <c:v>0.7246576024055018</c:v>
                </c:pt>
                <c:pt idx="199">
                  <c:v>0.7260303378297123</c:v>
                </c:pt>
                <c:pt idx="200">
                  <c:v>0.7274022322071194</c:v>
                </c:pt>
                <c:pt idx="201">
                  <c:v>0.7287613141173034</c:v>
                </c:pt>
                <c:pt idx="202">
                  <c:v>0.7301115423050574</c:v>
                </c:pt>
                <c:pt idx="203">
                  <c:v>0.7314578053549259</c:v>
                </c:pt>
                <c:pt idx="204">
                  <c:v>0.7327976397953598</c:v>
                </c:pt>
                <c:pt idx="205">
                  <c:v>0.7341368896230243</c:v>
                </c:pt>
                <c:pt idx="206">
                  <c:v>0.7354745674603375</c:v>
                </c:pt>
                <c:pt idx="207">
                  <c:v>0.7368121067806518</c:v>
                </c:pt>
                <c:pt idx="208">
                  <c:v>0.7381446417304174</c:v>
                </c:pt>
                <c:pt idx="209">
                  <c:v>0.7394759740684954</c:v>
                </c:pt>
                <c:pt idx="210">
                  <c:v>0.7408066905386862</c:v>
                </c:pt>
                <c:pt idx="211">
                  <c:v>0.7421350692681423</c:v>
                </c:pt>
                <c:pt idx="212">
                  <c:v>0.7434607032299901</c:v>
                </c:pt>
                <c:pt idx="213">
                  <c:v>0.7447778727376919</c:v>
                </c:pt>
                <c:pt idx="214">
                  <c:v>0.7460938936198185</c:v>
                </c:pt>
                <c:pt idx="215">
                  <c:v>0.747399164162146</c:v>
                </c:pt>
                <c:pt idx="216">
                  <c:v>0.7486992328584086</c:v>
                </c:pt>
                <c:pt idx="217">
                  <c:v>0.7499934596890369</c:v>
                </c:pt>
                <c:pt idx="218">
                  <c:v>0.7512858559642495</c:v>
                </c:pt>
                <c:pt idx="219">
                  <c:v>0.7525616820546799</c:v>
                </c:pt>
                <c:pt idx="220">
                  <c:v>0.7538352407283904</c:v>
                </c:pt>
                <c:pt idx="221">
                  <c:v>0.7551075172319319</c:v>
                </c:pt>
                <c:pt idx="222">
                  <c:v>0.7563630125786469</c:v>
                </c:pt>
                <c:pt idx="223">
                  <c:v>0.7576154683651664</c:v>
                </c:pt>
                <c:pt idx="224">
                  <c:v>0.7588640762204917</c:v>
                </c:pt>
                <c:pt idx="225">
                  <c:v>0.7601021411563444</c:v>
                </c:pt>
                <c:pt idx="226">
                  <c:v>0.7613310149565649</c:v>
                </c:pt>
                <c:pt idx="227">
                  <c:v>0.7625562077563334</c:v>
                </c:pt>
                <c:pt idx="228">
                  <c:v>0.7637639104763785</c:v>
                </c:pt>
                <c:pt idx="229">
                  <c:v>0.7649656129241703</c:v>
                </c:pt>
                <c:pt idx="230">
                  <c:v>0.7661667257867875</c:v>
                </c:pt>
                <c:pt idx="231">
                  <c:v>0.7673568176687</c:v>
                </c:pt>
                <c:pt idx="232">
                  <c:v>0.7685421324900107</c:v>
                </c:pt>
                <c:pt idx="233">
                  <c:v>0.76972070615071</c:v>
                </c:pt>
                <c:pt idx="234">
                  <c:v>0.7708938364485257</c:v>
                </c:pt>
                <c:pt idx="235">
                  <c:v>0.7720651113289002</c:v>
                </c:pt>
                <c:pt idx="236">
                  <c:v>0.7732353178525245</c:v>
                </c:pt>
                <c:pt idx="237">
                  <c:v>0.7744044617021473</c:v>
                </c:pt>
                <c:pt idx="238">
                  <c:v>0.7755705475226412</c:v>
                </c:pt>
                <c:pt idx="239">
                  <c:v>0.7767256386451432</c:v>
                </c:pt>
                <c:pt idx="240">
                  <c:v>0.7778721402930284</c:v>
                </c:pt>
                <c:pt idx="241">
                  <c:v>0.7790178683767508</c:v>
                </c:pt>
                <c:pt idx="242">
                  <c:v>0.7801576771673884</c:v>
                </c:pt>
                <c:pt idx="243">
                  <c:v>0.7812882699603682</c:v>
                </c:pt>
                <c:pt idx="244">
                  <c:v>0.7824154928833857</c:v>
                </c:pt>
                <c:pt idx="245">
                  <c:v>0.7835379032286223</c:v>
                </c:pt>
                <c:pt idx="246">
                  <c:v>0.7846535773856524</c:v>
                </c:pt>
                <c:pt idx="247">
                  <c:v>0.7857665174302282</c:v>
                </c:pt>
                <c:pt idx="248">
                  <c:v>0.7868757700812598</c:v>
                </c:pt>
                <c:pt idx="249">
                  <c:v>0.7879808040017464</c:v>
                </c:pt>
                <c:pt idx="250">
                  <c:v>0.7890733912819556</c:v>
                </c:pt>
                <c:pt idx="251">
                  <c:v>0.7901594199598545</c:v>
                </c:pt>
                <c:pt idx="252">
                  <c:v>0.7912437821717054</c:v>
                </c:pt>
                <c:pt idx="253">
                  <c:v>0.7923243341005722</c:v>
                </c:pt>
                <c:pt idx="254">
                  <c:v>0.7934008867950616</c:v>
                </c:pt>
                <c:pt idx="255">
                  <c:v>0.7944689622492204</c:v>
                </c:pt>
                <c:pt idx="256">
                  <c:v>0.7955363479597591</c:v>
                </c:pt>
                <c:pt idx="257">
                  <c:v>0.7966033927053776</c:v>
                </c:pt>
                <c:pt idx="258">
                  <c:v>0.7976676841592648</c:v>
                </c:pt>
                <c:pt idx="259">
                  <c:v>0.7987274869520452</c:v>
                </c:pt>
                <c:pt idx="260">
                  <c:v>0.799781989871346</c:v>
                </c:pt>
                <c:pt idx="261">
                  <c:v>0.8008239133161191</c:v>
                </c:pt>
                <c:pt idx="262">
                  <c:v>0.8018592071242235</c:v>
                </c:pt>
                <c:pt idx="263">
                  <c:v>0.8028943446567395</c:v>
                </c:pt>
                <c:pt idx="264">
                  <c:v>0.8039247925009143</c:v>
                </c:pt>
                <c:pt idx="265">
                  <c:v>0.8049494304449163</c:v>
                </c:pt>
                <c:pt idx="266">
                  <c:v>0.8059669102566231</c:v>
                </c:pt>
                <c:pt idx="267">
                  <c:v>0.8069793658081609</c:v>
                </c:pt>
                <c:pt idx="268">
                  <c:v>0.8079905342171245</c:v>
                </c:pt>
                <c:pt idx="269">
                  <c:v>0.8089973695302263</c:v>
                </c:pt>
                <c:pt idx="270">
                  <c:v>0.8100028729491082</c:v>
                </c:pt>
                <c:pt idx="271">
                  <c:v>0.8110072774664658</c:v>
                </c:pt>
                <c:pt idx="272">
                  <c:v>0.8120102428277224</c:v>
                </c:pt>
                <c:pt idx="273">
                  <c:v>0.8130094263197382</c:v>
                </c:pt>
                <c:pt idx="274">
                  <c:v>0.8140071074350739</c:v>
                </c:pt>
                <c:pt idx="275">
                  <c:v>0.81500245578208</c:v>
                </c:pt>
                <c:pt idx="276">
                  <c:v>0.8159971825784502</c:v>
                </c:pt>
                <c:pt idx="277">
                  <c:v>0.8169905888460979</c:v>
                </c:pt>
                <c:pt idx="278">
                  <c:v>0.8179825772679521</c:v>
                </c:pt>
                <c:pt idx="279">
                  <c:v>0.8189739569253549</c:v>
                </c:pt>
                <c:pt idx="280">
                  <c:v>0.8199415088175787</c:v>
                </c:pt>
                <c:pt idx="281">
                  <c:v>0.8209045450556394</c:v>
                </c:pt>
                <c:pt idx="282">
                  <c:v>0.8218659759172005</c:v>
                </c:pt>
                <c:pt idx="283">
                  <c:v>0.8228240475639531</c:v>
                </c:pt>
                <c:pt idx="284">
                  <c:v>0.8237762297520516</c:v>
                </c:pt>
                <c:pt idx="285">
                  <c:v>0.8247277250379043</c:v>
                </c:pt>
                <c:pt idx="286">
                  <c:v>0.8256780162913823</c:v>
                </c:pt>
                <c:pt idx="287">
                  <c:v>0.826626337762102</c:v>
                </c:pt>
                <c:pt idx="288">
                  <c:v>0.8275745192951358</c:v>
                </c:pt>
                <c:pt idx="289">
                  <c:v>0.8285195454819698</c:v>
                </c:pt>
                <c:pt idx="290">
                  <c:v>0.8294439908841469</c:v>
                </c:pt>
                <c:pt idx="291">
                  <c:v>0.8303648625477532</c:v>
                </c:pt>
                <c:pt idx="292">
                  <c:v>0.8312849826678478</c:v>
                </c:pt>
                <c:pt idx="293">
                  <c:v>0.8322034860459453</c:v>
                </c:pt>
                <c:pt idx="294">
                  <c:v>0.83311610422745</c:v>
                </c:pt>
                <c:pt idx="295">
                  <c:v>0.8340283104096761</c:v>
                </c:pt>
                <c:pt idx="296">
                  <c:v>0.8349344637542235</c:v>
                </c:pt>
                <c:pt idx="297">
                  <c:v>0.8358402143339589</c:v>
                </c:pt>
                <c:pt idx="298">
                  <c:v>0.8367410891153343</c:v>
                </c:pt>
                <c:pt idx="299">
                  <c:v>0.8376367421610242</c:v>
                </c:pt>
                <c:pt idx="300">
                  <c:v>0.8385300688314768</c:v>
                </c:pt>
                <c:pt idx="301">
                  <c:v>0.8394180643733321</c:v>
                </c:pt>
                <c:pt idx="302">
                  <c:v>0.8403029287206695</c:v>
                </c:pt>
                <c:pt idx="303">
                  <c:v>0.8411867723042767</c:v>
                </c:pt>
                <c:pt idx="304">
                  <c:v>0.8420658231997232</c:v>
                </c:pt>
                <c:pt idx="305">
                  <c:v>0.8429421556102741</c:v>
                </c:pt>
                <c:pt idx="306">
                  <c:v>0.8438128315548662</c:v>
                </c:pt>
                <c:pt idx="307">
                  <c:v>0.8446790955554585</c:v>
                </c:pt>
                <c:pt idx="308">
                  <c:v>0.845538813739925</c:v>
                </c:pt>
                <c:pt idx="309">
                  <c:v>0.8463929187893914</c:v>
                </c:pt>
                <c:pt idx="310">
                  <c:v>0.8472463617986375</c:v>
                </c:pt>
                <c:pt idx="311">
                  <c:v>0.8480914916569211</c:v>
                </c:pt>
                <c:pt idx="312">
                  <c:v>0.8489341459678147</c:v>
                </c:pt>
                <c:pt idx="313">
                  <c:v>0.8497712844607791</c:v>
                </c:pt>
                <c:pt idx="314">
                  <c:v>0.8506057882893907</c:v>
                </c:pt>
                <c:pt idx="315">
                  <c:v>0.8514385375693501</c:v>
                </c:pt>
                <c:pt idx="316">
                  <c:v>0.8522708379121644</c:v>
                </c:pt>
                <c:pt idx="317">
                  <c:v>0.853089952857374</c:v>
                </c:pt>
                <c:pt idx="318">
                  <c:v>0.8538960869839309</c:v>
                </c:pt>
                <c:pt idx="319">
                  <c:v>0.8546945884686786</c:v>
                </c:pt>
                <c:pt idx="320">
                  <c:v>0.8554916806317558</c:v>
                </c:pt>
                <c:pt idx="321">
                  <c:v>0.8562861288960137</c:v>
                </c:pt>
                <c:pt idx="322">
                  <c:v>0.8570773841658619</c:v>
                </c:pt>
                <c:pt idx="323">
                  <c:v>0.8578682693467028</c:v>
                </c:pt>
                <c:pt idx="324">
                  <c:v>0.8586485363116513</c:v>
                </c:pt>
                <c:pt idx="325">
                  <c:v>0.8594267304940219</c:v>
                </c:pt>
                <c:pt idx="326">
                  <c:v>0.8602047286215633</c:v>
                </c:pt>
                <c:pt idx="327">
                  <c:v>0.8609812883033473</c:v>
                </c:pt>
                <c:pt idx="328">
                  <c:v>0.861756021691777</c:v>
                </c:pt>
                <c:pt idx="329">
                  <c:v>0.8625252442346827</c:v>
                </c:pt>
                <c:pt idx="330">
                  <c:v>0.8632899113441846</c:v>
                </c:pt>
                <c:pt idx="331">
                  <c:v>0.864052846636029</c:v>
                </c:pt>
                <c:pt idx="332">
                  <c:v>0.8648150282533308</c:v>
                </c:pt>
                <c:pt idx="333">
                  <c:v>0.8655664559791156</c:v>
                </c:pt>
                <c:pt idx="334">
                  <c:v>0.8663165361831218</c:v>
                </c:pt>
                <c:pt idx="335">
                  <c:v>0.8670652717067235</c:v>
                </c:pt>
                <c:pt idx="336">
                  <c:v>0.8678121070612383</c:v>
                </c:pt>
                <c:pt idx="337">
                  <c:v>0.8685587300230215</c:v>
                </c:pt>
                <c:pt idx="338">
                  <c:v>0.8692924076833314</c:v>
                </c:pt>
                <c:pt idx="339">
                  <c:v>0.8700161980712966</c:v>
                </c:pt>
                <c:pt idx="340">
                  <c:v>0.8707338617458504</c:v>
                </c:pt>
                <c:pt idx="341">
                  <c:v>0.8714466673806339</c:v>
                </c:pt>
                <c:pt idx="342">
                  <c:v>0.872158048066188</c:v>
                </c:pt>
                <c:pt idx="343">
                  <c:v>0.8728689556629152</c:v>
                </c:pt>
                <c:pt idx="344">
                  <c:v>0.873579609666983</c:v>
                </c:pt>
                <c:pt idx="345">
                  <c:v>0.874289829651121</c:v>
                </c:pt>
                <c:pt idx="346">
                  <c:v>0.8749995573671553</c:v>
                </c:pt>
                <c:pt idx="347">
                  <c:v>0.8756949737910044</c:v>
                </c:pt>
                <c:pt idx="348">
                  <c:v>0.8763894845267839</c:v>
                </c:pt>
                <c:pt idx="349">
                  <c:v>0.8770806871924931</c:v>
                </c:pt>
                <c:pt idx="350">
                  <c:v>0.8777669394737659</c:v>
                </c:pt>
                <c:pt idx="351">
                  <c:v>0.8784529445554716</c:v>
                </c:pt>
                <c:pt idx="352">
                  <c:v>0.8791328492064786</c:v>
                </c:pt>
                <c:pt idx="353">
                  <c:v>0.8798097675730587</c:v>
                </c:pt>
                <c:pt idx="354">
                  <c:v>0.880486428084918</c:v>
                </c:pt>
                <c:pt idx="355">
                  <c:v>0.8811582916465549</c:v>
                </c:pt>
                <c:pt idx="356">
                  <c:v>0.8818300408428749</c:v>
                </c:pt>
                <c:pt idx="357">
                  <c:v>0.882501186957492</c:v>
                </c:pt>
                <c:pt idx="358">
                  <c:v>0.8831685646993965</c:v>
                </c:pt>
                <c:pt idx="359">
                  <c:v>0.8838297056246341</c:v>
                </c:pt>
                <c:pt idx="360">
                  <c:v>0.8844885286987575</c:v>
                </c:pt>
                <c:pt idx="361">
                  <c:v>0.8851456576034331</c:v>
                </c:pt>
                <c:pt idx="362">
                  <c:v>0.8857944790398948</c:v>
                </c:pt>
                <c:pt idx="363">
                  <c:v>0.8864428621943653</c:v>
                </c:pt>
                <c:pt idx="364">
                  <c:v>0.8870868518737691</c:v>
                </c:pt>
                <c:pt idx="365">
                  <c:v>0.8877279788685298</c:v>
                </c:pt>
                <c:pt idx="366">
                  <c:v>0.8883683500577172</c:v>
                </c:pt>
                <c:pt idx="367">
                  <c:v>0.8890075328420887</c:v>
                </c:pt>
                <c:pt idx="368">
                  <c:v>0.8896451635257293</c:v>
                </c:pt>
                <c:pt idx="369">
                  <c:v>0.8902811092743889</c:v>
                </c:pt>
                <c:pt idx="370">
                  <c:v>0.8909142690555123</c:v>
                </c:pt>
                <c:pt idx="371">
                  <c:v>0.8915423413558876</c:v>
                </c:pt>
                <c:pt idx="372">
                  <c:v>0.8921658639056079</c:v>
                </c:pt>
                <c:pt idx="373">
                  <c:v>0.8927828449012639</c:v>
                </c:pt>
                <c:pt idx="374">
                  <c:v>0.8933991375739871</c:v>
                </c:pt>
                <c:pt idx="375">
                  <c:v>0.8940147071169419</c:v>
                </c:pt>
                <c:pt idx="376">
                  <c:v>0.8946287842280268</c:v>
                </c:pt>
                <c:pt idx="377">
                  <c:v>0.8952408801908562</c:v>
                </c:pt>
                <c:pt idx="378">
                  <c:v>0.8958512180533154</c:v>
                </c:pt>
                <c:pt idx="379">
                  <c:v>0.8964606409932384</c:v>
                </c:pt>
                <c:pt idx="380">
                  <c:v>0.8970677063028064</c:v>
                </c:pt>
                <c:pt idx="381">
                  <c:v>0.8976746132057553</c:v>
                </c:pt>
                <c:pt idx="382">
                  <c:v>0.898280164773146</c:v>
                </c:pt>
                <c:pt idx="383">
                  <c:v>0.8988844050462808</c:v>
                </c:pt>
                <c:pt idx="384">
                  <c:v>0.8994858380415719</c:v>
                </c:pt>
                <c:pt idx="385">
                  <c:v>0.9000862900523736</c:v>
                </c:pt>
                <c:pt idx="386">
                  <c:v>0.900685714906353</c:v>
                </c:pt>
                <c:pt idx="387">
                  <c:v>0.9012825477165947</c:v>
                </c:pt>
                <c:pt idx="388">
                  <c:v>0.9018782652874096</c:v>
                </c:pt>
                <c:pt idx="389">
                  <c:v>0.902473445838475</c:v>
                </c:pt>
                <c:pt idx="390">
                  <c:v>0.9030638955012715</c:v>
                </c:pt>
                <c:pt idx="391">
                  <c:v>0.903652639629123</c:v>
                </c:pt>
                <c:pt idx="392">
                  <c:v>0.9042389607750098</c:v>
                </c:pt>
                <c:pt idx="393">
                  <c:v>0.9048198051718644</c:v>
                </c:pt>
                <c:pt idx="394">
                  <c:v>0.9053929061133108</c:v>
                </c:pt>
                <c:pt idx="395">
                  <c:v>0.9059651624562359</c:v>
                </c:pt>
                <c:pt idx="396">
                  <c:v>0.9065346576936504</c:v>
                </c:pt>
                <c:pt idx="397">
                  <c:v>0.9071028700505522</c:v>
                </c:pt>
                <c:pt idx="398">
                  <c:v>0.9076708344975433</c:v>
                </c:pt>
                <c:pt idx="399">
                  <c:v>0.9082383720280404</c:v>
                </c:pt>
                <c:pt idx="400">
                  <c:v>0.9088048028432337</c:v>
                </c:pt>
                <c:pt idx="401">
                  <c:v>0.9093621774880757</c:v>
                </c:pt>
                <c:pt idx="402">
                  <c:v>0.9099120253323024</c:v>
                </c:pt>
                <c:pt idx="403">
                  <c:v>0.9104601527243689</c:v>
                </c:pt>
                <c:pt idx="404">
                  <c:v>0.9110079057653666</c:v>
                </c:pt>
                <c:pt idx="405">
                  <c:v>0.9115533231966604</c:v>
                </c:pt>
                <c:pt idx="406">
                  <c:v>0.9120957095918816</c:v>
                </c:pt>
                <c:pt idx="407">
                  <c:v>0.9126368074238416</c:v>
                </c:pt>
                <c:pt idx="408">
                  <c:v>0.9131764959341311</c:v>
                </c:pt>
                <c:pt idx="409">
                  <c:v>0.9137152588667308</c:v>
                </c:pt>
                <c:pt idx="410">
                  <c:v>0.9142509886322271</c:v>
                </c:pt>
                <c:pt idx="411">
                  <c:v>0.9147832547624082</c:v>
                </c:pt>
                <c:pt idx="412">
                  <c:v>0.9153101954467406</c:v>
                </c:pt>
                <c:pt idx="413">
                  <c:v>0.9158297982818512</c:v>
                </c:pt>
                <c:pt idx="414">
                  <c:v>0.9163485075047332</c:v>
                </c:pt>
                <c:pt idx="415">
                  <c:v>0.9168636429890444</c:v>
                </c:pt>
                <c:pt idx="416">
                  <c:v>0.9173737343235663</c:v>
                </c:pt>
                <c:pt idx="417">
                  <c:v>0.9178772961798647</c:v>
                </c:pt>
                <c:pt idx="418">
                  <c:v>0.918378969942917</c:v>
                </c:pt>
                <c:pt idx="419">
                  <c:v>0.9188802459135623</c:v>
                </c:pt>
                <c:pt idx="420">
                  <c:v>0.9193814714498132</c:v>
                </c:pt>
                <c:pt idx="421">
                  <c:v>0.9198797796049649</c:v>
                </c:pt>
                <c:pt idx="422">
                  <c:v>0.9203768695208702</c:v>
                </c:pt>
                <c:pt idx="423">
                  <c:v>0.9208714568963293</c:v>
                </c:pt>
                <c:pt idx="424">
                  <c:v>0.9213612025699205</c:v>
                </c:pt>
                <c:pt idx="425">
                  <c:v>0.9218455652598326</c:v>
                </c:pt>
                <c:pt idx="426">
                  <c:v>0.9223282714285072</c:v>
                </c:pt>
                <c:pt idx="427">
                  <c:v>0.9228050746419992</c:v>
                </c:pt>
                <c:pt idx="428">
                  <c:v>0.9232785569992364</c:v>
                </c:pt>
                <c:pt idx="429">
                  <c:v>0.9237504581316559</c:v>
                </c:pt>
                <c:pt idx="430">
                  <c:v>0.9242220708645803</c:v>
                </c:pt>
                <c:pt idx="431">
                  <c:v>0.9246898910731101</c:v>
                </c:pt>
                <c:pt idx="432">
                  <c:v>0.925157366054658</c:v>
                </c:pt>
                <c:pt idx="433">
                  <c:v>0.9256240681823867</c:v>
                </c:pt>
                <c:pt idx="434">
                  <c:v>0.926090081276839</c:v>
                </c:pt>
                <c:pt idx="435">
                  <c:v>0.9265515971860615</c:v>
                </c:pt>
                <c:pt idx="436">
                  <c:v>0.9270077549736305</c:v>
                </c:pt>
                <c:pt idx="437">
                  <c:v>0.927461069255833</c:v>
                </c:pt>
                <c:pt idx="438">
                  <c:v>0.9279040679285099</c:v>
                </c:pt>
                <c:pt idx="439">
                  <c:v>0.9283449156808146</c:v>
                </c:pt>
                <c:pt idx="440">
                  <c:v>0.9287809948966405</c:v>
                </c:pt>
                <c:pt idx="441">
                  <c:v>0.929216787844002</c:v>
                </c:pt>
                <c:pt idx="442">
                  <c:v>0.929651332007343</c:v>
                </c:pt>
                <c:pt idx="443">
                  <c:v>0.930079368002768</c:v>
                </c:pt>
                <c:pt idx="444">
                  <c:v>0.930506624040938</c:v>
                </c:pt>
                <c:pt idx="445">
                  <c:v>0.9309319756479595</c:v>
                </c:pt>
                <c:pt idx="446">
                  <c:v>0.931354703245782</c:v>
                </c:pt>
                <c:pt idx="447">
                  <c:v>0.9317749197790353</c:v>
                </c:pt>
                <c:pt idx="448">
                  <c:v>0.9321934535083383</c:v>
                </c:pt>
                <c:pt idx="449">
                  <c:v>0.9326108130396971</c:v>
                </c:pt>
                <c:pt idx="450">
                  <c:v>0.9330271553590437</c:v>
                </c:pt>
                <c:pt idx="451">
                  <c:v>0.933439885581266</c:v>
                </c:pt>
                <c:pt idx="452">
                  <c:v>0.9338519303219299</c:v>
                </c:pt>
                <c:pt idx="453">
                  <c:v>0.9342634003946344</c:v>
                </c:pt>
                <c:pt idx="454">
                  <c:v>0.9346703881993244</c:v>
                </c:pt>
                <c:pt idx="455">
                  <c:v>0.9350769654254227</c:v>
                </c:pt>
                <c:pt idx="456">
                  <c:v>0.9354831192867451</c:v>
                </c:pt>
                <c:pt idx="457">
                  <c:v>0.9358794682755787</c:v>
                </c:pt>
                <c:pt idx="458">
                  <c:v>0.9362756119751164</c:v>
                </c:pt>
                <c:pt idx="459">
                  <c:v>0.9366674666200945</c:v>
                </c:pt>
                <c:pt idx="460">
                  <c:v>0.9370577762677775</c:v>
                </c:pt>
                <c:pt idx="461">
                  <c:v>0.9374460934017077</c:v>
                </c:pt>
                <c:pt idx="462">
                  <c:v>0.9378335481785269</c:v>
                </c:pt>
                <c:pt idx="463">
                  <c:v>0.9382201420189225</c:v>
                </c:pt>
                <c:pt idx="464">
                  <c:v>0.9386062634808346</c:v>
                </c:pt>
                <c:pt idx="465">
                  <c:v>0.9389920333226729</c:v>
                </c:pt>
                <c:pt idx="466">
                  <c:v>0.9393724414911396</c:v>
                </c:pt>
                <c:pt idx="467">
                  <c:v>0.9397465595671708</c:v>
                </c:pt>
                <c:pt idx="468">
                  <c:v>0.9401197399896711</c:v>
                </c:pt>
                <c:pt idx="469">
                  <c:v>0.9404886356196733</c:v>
                </c:pt>
                <c:pt idx="470">
                  <c:v>0.940853684028825</c:v>
                </c:pt>
                <c:pt idx="471">
                  <c:v>0.9412173231163061</c:v>
                </c:pt>
                <c:pt idx="472">
                  <c:v>0.9415772499482177</c:v>
                </c:pt>
                <c:pt idx="473">
                  <c:v>0.9419287904637774</c:v>
                </c:pt>
                <c:pt idx="474">
                  <c:v>0.9422788889818619</c:v>
                </c:pt>
                <c:pt idx="475">
                  <c:v>0.9426262469943995</c:v>
                </c:pt>
                <c:pt idx="476">
                  <c:v>0.942971771610147</c:v>
                </c:pt>
                <c:pt idx="477">
                  <c:v>0.9433170028539943</c:v>
                </c:pt>
                <c:pt idx="478">
                  <c:v>0.9436615308576937</c:v>
                </c:pt>
                <c:pt idx="479">
                  <c:v>0.9440024119574331</c:v>
                </c:pt>
                <c:pt idx="480">
                  <c:v>0.9443432539882753</c:v>
                </c:pt>
                <c:pt idx="481">
                  <c:v>0.9446831221380642</c:v>
                </c:pt>
                <c:pt idx="482">
                  <c:v>0.9450227189366038</c:v>
                </c:pt>
                <c:pt idx="483">
                  <c:v>0.9453621331768425</c:v>
                </c:pt>
                <c:pt idx="484">
                  <c:v>0.9456964492811794</c:v>
                </c:pt>
                <c:pt idx="485">
                  <c:v>0.9460298817180978</c:v>
                </c:pt>
                <c:pt idx="486">
                  <c:v>0.9463623161222808</c:v>
                </c:pt>
                <c:pt idx="487">
                  <c:v>0.9466881968965586</c:v>
                </c:pt>
                <c:pt idx="488">
                  <c:v>0.947013308368735</c:v>
                </c:pt>
                <c:pt idx="489">
                  <c:v>0.9473380405174375</c:v>
                </c:pt>
                <c:pt idx="490">
                  <c:v>0.9476610941242513</c:v>
                </c:pt>
                <c:pt idx="491">
                  <c:v>0.9479829777951823</c:v>
                </c:pt>
                <c:pt idx="492">
                  <c:v>0.948302297836119</c:v>
                </c:pt>
                <c:pt idx="493">
                  <c:v>0.9486187310407306</c:v>
                </c:pt>
                <c:pt idx="494">
                  <c:v>0.9489335815998372</c:v>
                </c:pt>
                <c:pt idx="495">
                  <c:v>0.9492436664638393</c:v>
                </c:pt>
                <c:pt idx="496">
                  <c:v>0.9495524173025908</c:v>
                </c:pt>
                <c:pt idx="497">
                  <c:v>0.9498606673491156</c:v>
                </c:pt>
                <c:pt idx="498">
                  <c:v>0.9501684109206651</c:v>
                </c:pt>
                <c:pt idx="499">
                  <c:v>0.9504746087845759</c:v>
                </c:pt>
                <c:pt idx="500">
                  <c:v>0.9507783396252198</c:v>
                </c:pt>
                <c:pt idx="501">
                  <c:v>0.9510809381781911</c:v>
                </c:pt>
                <c:pt idx="502">
                  <c:v>0.9513823881055871</c:v>
                </c:pt>
                <c:pt idx="503">
                  <c:v>0.9516801058877931</c:v>
                </c:pt>
                <c:pt idx="504">
                  <c:v>0.9519752195504204</c:v>
                </c:pt>
                <c:pt idx="505">
                  <c:v>0.9522688052639988</c:v>
                </c:pt>
                <c:pt idx="506">
                  <c:v>0.9525621380952614</c:v>
                </c:pt>
                <c:pt idx="507">
                  <c:v>0.9528509218862125</c:v>
                </c:pt>
                <c:pt idx="508">
                  <c:v>0.9531394634500014</c:v>
                </c:pt>
                <c:pt idx="509">
                  <c:v>0.9534242195928316</c:v>
                </c:pt>
                <c:pt idx="510">
                  <c:v>0.9537038790204472</c:v>
                </c:pt>
                <c:pt idx="511">
                  <c:v>0.9539807752115212</c:v>
                </c:pt>
                <c:pt idx="512">
                  <c:v>0.9542564226185748</c:v>
                </c:pt>
                <c:pt idx="513">
                  <c:v>0.9545298374157442</c:v>
                </c:pt>
                <c:pt idx="514">
                  <c:v>0.9548018748567042</c:v>
                </c:pt>
                <c:pt idx="515">
                  <c:v>0.9550734129261248</c:v>
                </c:pt>
                <c:pt idx="516">
                  <c:v>0.9553414980153839</c:v>
                </c:pt>
                <c:pt idx="517">
                  <c:v>0.955605443222236</c:v>
                </c:pt>
                <c:pt idx="518">
                  <c:v>0.9558692683810224</c:v>
                </c:pt>
                <c:pt idx="519">
                  <c:v>0.9561327923541292</c:v>
                </c:pt>
                <c:pt idx="520">
                  <c:v>0.9563955299768886</c:v>
                </c:pt>
                <c:pt idx="521">
                  <c:v>0.9566566536990253</c:v>
                </c:pt>
                <c:pt idx="522">
                  <c:v>0.9569149175778932</c:v>
                </c:pt>
                <c:pt idx="523">
                  <c:v>0.957172382320229</c:v>
                </c:pt>
                <c:pt idx="524">
                  <c:v>0.9574294180150403</c:v>
                </c:pt>
                <c:pt idx="525">
                  <c:v>0.9576852624636614</c:v>
                </c:pt>
                <c:pt idx="526">
                  <c:v>0.9579409243539814</c:v>
                </c:pt>
                <c:pt idx="527">
                  <c:v>0.9581935516565108</c:v>
                </c:pt>
                <c:pt idx="528">
                  <c:v>0.9584444521137877</c:v>
                </c:pt>
                <c:pt idx="529">
                  <c:v>0.9586944987380768</c:v>
                </c:pt>
                <c:pt idx="530">
                  <c:v>0.9589432631921968</c:v>
                </c:pt>
                <c:pt idx="531">
                  <c:v>0.9591880902118312</c:v>
                </c:pt>
                <c:pt idx="532">
                  <c:v>0.9594301667811086</c:v>
                </c:pt>
                <c:pt idx="533">
                  <c:v>0.9596712794141427</c:v>
                </c:pt>
                <c:pt idx="534">
                  <c:v>0.9599081214615502</c:v>
                </c:pt>
                <c:pt idx="535">
                  <c:v>0.9601438461385002</c:v>
                </c:pt>
                <c:pt idx="536">
                  <c:v>0.9603781927488975</c:v>
                </c:pt>
                <c:pt idx="537">
                  <c:v>0.9606124590904697</c:v>
                </c:pt>
                <c:pt idx="538">
                  <c:v>0.9608445098704037</c:v>
                </c:pt>
                <c:pt idx="539">
                  <c:v>0.9610762338922891</c:v>
                </c:pt>
                <c:pt idx="540">
                  <c:v>0.9613072830877698</c:v>
                </c:pt>
                <c:pt idx="541">
                  <c:v>0.9615364988864603</c:v>
                </c:pt>
                <c:pt idx="542">
                  <c:v>0.9617656450714797</c:v>
                </c:pt>
                <c:pt idx="543">
                  <c:v>0.9619934685967457</c:v>
                </c:pt>
                <c:pt idx="544">
                  <c:v>0.962219427470104</c:v>
                </c:pt>
                <c:pt idx="545">
                  <c:v>0.9624453231228833</c:v>
                </c:pt>
                <c:pt idx="546">
                  <c:v>0.9626705460802887</c:v>
                </c:pt>
                <c:pt idx="547">
                  <c:v>0.9628919033479103</c:v>
                </c:pt>
                <c:pt idx="548">
                  <c:v>0.9631124039411697</c:v>
                </c:pt>
                <c:pt idx="549">
                  <c:v>0.9633306001798428</c:v>
                </c:pt>
                <c:pt idx="550">
                  <c:v>0.9635487488254959</c:v>
                </c:pt>
                <c:pt idx="551">
                  <c:v>0.9637664904442754</c:v>
                </c:pt>
                <c:pt idx="552">
                  <c:v>0.9639820214738217</c:v>
                </c:pt>
                <c:pt idx="553">
                  <c:v>0.9641949377286356</c:v>
                </c:pt>
                <c:pt idx="554">
                  <c:v>0.9644066854682539</c:v>
                </c:pt>
                <c:pt idx="555">
                  <c:v>0.9646178741674717</c:v>
                </c:pt>
                <c:pt idx="556">
                  <c:v>0.9648263486438553</c:v>
                </c:pt>
                <c:pt idx="557">
                  <c:v>0.9650332710195081</c:v>
                </c:pt>
                <c:pt idx="558">
                  <c:v>0.9652395448514687</c:v>
                </c:pt>
                <c:pt idx="559">
                  <c:v>0.9654452859257414</c:v>
                </c:pt>
                <c:pt idx="560">
                  <c:v>0.9656490003897692</c:v>
                </c:pt>
                <c:pt idx="561">
                  <c:v>0.9658521870685142</c:v>
                </c:pt>
                <c:pt idx="562">
                  <c:v>0.9660551471476558</c:v>
                </c:pt>
                <c:pt idx="563">
                  <c:v>0.9662578323238306</c:v>
                </c:pt>
                <c:pt idx="564">
                  <c:v>0.9664594732949369</c:v>
                </c:pt>
                <c:pt idx="565">
                  <c:v>0.9666604841912843</c:v>
                </c:pt>
                <c:pt idx="566">
                  <c:v>0.966860813157791</c:v>
                </c:pt>
                <c:pt idx="567">
                  <c:v>0.9670607862421623</c:v>
                </c:pt>
                <c:pt idx="568">
                  <c:v>0.9672603430651934</c:v>
                </c:pt>
                <c:pt idx="569">
                  <c:v>0.9674570869276321</c:v>
                </c:pt>
                <c:pt idx="570">
                  <c:v>0.9676534926665249</c:v>
                </c:pt>
                <c:pt idx="571">
                  <c:v>0.9678485118147419</c:v>
                </c:pt>
                <c:pt idx="572">
                  <c:v>0.9680433370391605</c:v>
                </c:pt>
                <c:pt idx="573">
                  <c:v>0.9682372409479507</c:v>
                </c:pt>
                <c:pt idx="574">
                  <c:v>0.9684304146235366</c:v>
                </c:pt>
                <c:pt idx="575">
                  <c:v>0.9686233815891396</c:v>
                </c:pt>
                <c:pt idx="576">
                  <c:v>0.9688158577073261</c:v>
                </c:pt>
                <c:pt idx="577">
                  <c:v>0.969006330656606</c:v>
                </c:pt>
                <c:pt idx="578">
                  <c:v>0.9691943443963984</c:v>
                </c:pt>
                <c:pt idx="579">
                  <c:v>0.9693805183463085</c:v>
                </c:pt>
                <c:pt idx="580">
                  <c:v>0.969564487389734</c:v>
                </c:pt>
                <c:pt idx="581">
                  <c:v>0.9697457329758588</c:v>
                </c:pt>
                <c:pt idx="582">
                  <c:v>0.9699254008888836</c:v>
                </c:pt>
                <c:pt idx="583">
                  <c:v>0.9701042028930796</c:v>
                </c:pt>
                <c:pt idx="584">
                  <c:v>0.9702829629870042</c:v>
                </c:pt>
                <c:pt idx="585">
                  <c:v>0.9704611029509801</c:v>
                </c:pt>
                <c:pt idx="586">
                  <c:v>0.9706390262601629</c:v>
                </c:pt>
                <c:pt idx="587">
                  <c:v>0.9708162022878953</c:v>
                </c:pt>
                <c:pt idx="588">
                  <c:v>0.9709928668682474</c:v>
                </c:pt>
                <c:pt idx="589">
                  <c:v>0.971168931208271</c:v>
                </c:pt>
                <c:pt idx="590">
                  <c:v>0.9713446211972259</c:v>
                </c:pt>
                <c:pt idx="591">
                  <c:v>0.9715165705168678</c:v>
                </c:pt>
                <c:pt idx="592">
                  <c:v>0.971688183133651</c:v>
                </c:pt>
                <c:pt idx="593">
                  <c:v>0.9718590747516965</c:v>
                </c:pt>
                <c:pt idx="594">
                  <c:v>0.9720297894941896</c:v>
                </c:pt>
                <c:pt idx="595">
                  <c:v>0.97219974061733</c:v>
                </c:pt>
                <c:pt idx="596">
                  <c:v>0.9723692918170327</c:v>
                </c:pt>
                <c:pt idx="597">
                  <c:v>0.9725379891837475</c:v>
                </c:pt>
                <c:pt idx="598">
                  <c:v>0.9727041889824212</c:v>
                </c:pt>
                <c:pt idx="599">
                  <c:v>0.9728697828580178</c:v>
                </c:pt>
                <c:pt idx="600">
                  <c:v>0.9730342004046395</c:v>
                </c:pt>
                <c:pt idx="601">
                  <c:v>0.9731967959199684</c:v>
                </c:pt>
                <c:pt idx="602">
                  <c:v>0.9733589872497981</c:v>
                </c:pt>
                <c:pt idx="603">
                  <c:v>0.973520000119622</c:v>
                </c:pt>
                <c:pt idx="604">
                  <c:v>0.9736799652326596</c:v>
                </c:pt>
                <c:pt idx="605">
                  <c:v>0.9738375599291578</c:v>
                </c:pt>
                <c:pt idx="606">
                  <c:v>0.9739947319712234</c:v>
                </c:pt>
                <c:pt idx="607">
                  <c:v>0.9741509123736459</c:v>
                </c:pt>
                <c:pt idx="608">
                  <c:v>0.9743061849569682</c:v>
                </c:pt>
                <c:pt idx="609">
                  <c:v>0.9744612053683182</c:v>
                </c:pt>
                <c:pt idx="610">
                  <c:v>0.9746161135453818</c:v>
                </c:pt>
                <c:pt idx="611">
                  <c:v>0.974768960305365</c:v>
                </c:pt>
                <c:pt idx="612">
                  <c:v>0.9749205369710201</c:v>
                </c:pt>
                <c:pt idx="613">
                  <c:v>0.9750717002167094</c:v>
                </c:pt>
                <c:pt idx="614">
                  <c:v>0.9752146000354869</c:v>
                </c:pt>
                <c:pt idx="615">
                  <c:v>0.9753556181541105</c:v>
                </c:pt>
                <c:pt idx="616">
                  <c:v>0.9754964508730588</c:v>
                </c:pt>
                <c:pt idx="617">
                  <c:v>0.9756369419167432</c:v>
                </c:pt>
                <c:pt idx="618">
                  <c:v>0.9757762573417963</c:v>
                </c:pt>
                <c:pt idx="619">
                  <c:v>0.9759149419817468</c:v>
                </c:pt>
                <c:pt idx="620">
                  <c:v>0.9760525589752906</c:v>
                </c:pt>
                <c:pt idx="621">
                  <c:v>0.9761899834657233</c:v>
                </c:pt>
                <c:pt idx="622">
                  <c:v>0.976326731709064</c:v>
                </c:pt>
                <c:pt idx="623">
                  <c:v>0.9764624662921105</c:v>
                </c:pt>
                <c:pt idx="624">
                  <c:v>0.9765980410478506</c:v>
                </c:pt>
                <c:pt idx="625">
                  <c:v>0.9767335667898834</c:v>
                </c:pt>
                <c:pt idx="626">
                  <c:v>0.9768672825764644</c:v>
                </c:pt>
                <c:pt idx="627">
                  <c:v>0.9770008740529181</c:v>
                </c:pt>
                <c:pt idx="628">
                  <c:v>0.9771342069643074</c:v>
                </c:pt>
                <c:pt idx="629">
                  <c:v>0.9772662143745691</c:v>
                </c:pt>
                <c:pt idx="630">
                  <c:v>0.9773979490128945</c:v>
                </c:pt>
                <c:pt idx="631">
                  <c:v>0.9775296097754872</c:v>
                </c:pt>
                <c:pt idx="632">
                  <c:v>0.977659400913767</c:v>
                </c:pt>
                <c:pt idx="633">
                  <c:v>0.9777890485626429</c:v>
                </c:pt>
                <c:pt idx="634">
                  <c:v>0.9779180526402318</c:v>
                </c:pt>
                <c:pt idx="635">
                  <c:v>0.9780469061249808</c:v>
                </c:pt>
                <c:pt idx="636">
                  <c:v>0.9781753490311383</c:v>
                </c:pt>
                <c:pt idx="637">
                  <c:v>0.9783022064504165</c:v>
                </c:pt>
                <c:pt idx="638">
                  <c:v>0.9784277674926541</c:v>
                </c:pt>
                <c:pt idx="639">
                  <c:v>0.9785530387147094</c:v>
                </c:pt>
                <c:pt idx="640">
                  <c:v>0.9786775946207757</c:v>
                </c:pt>
                <c:pt idx="641">
                  <c:v>0.9788008193429658</c:v>
                </c:pt>
                <c:pt idx="642">
                  <c:v>0.978923490707504</c:v>
                </c:pt>
                <c:pt idx="643">
                  <c:v>0.9790461166100527</c:v>
                </c:pt>
                <c:pt idx="644">
                  <c:v>0.9791680286172997</c:v>
                </c:pt>
                <c:pt idx="645">
                  <c:v>0.9792897324938765</c:v>
                </c:pt>
                <c:pt idx="646">
                  <c:v>0.97941026430354</c:v>
                </c:pt>
                <c:pt idx="647">
                  <c:v>0.9795306718030762</c:v>
                </c:pt>
                <c:pt idx="648">
                  <c:v>0.9796509265787419</c:v>
                </c:pt>
                <c:pt idx="649">
                  <c:v>0.9797708077136824</c:v>
                </c:pt>
                <c:pt idx="650">
                  <c:v>0.979888797203659</c:v>
                </c:pt>
                <c:pt idx="651">
                  <c:v>0.9800066495973238</c:v>
                </c:pt>
                <c:pt idx="652">
                  <c:v>0.9801241553433196</c:v>
                </c:pt>
                <c:pt idx="653">
                  <c:v>0.9802414778206708</c:v>
                </c:pt>
                <c:pt idx="654">
                  <c:v>0.9803581744853246</c:v>
                </c:pt>
                <c:pt idx="655">
                  <c:v>0.9804733439112729</c:v>
                </c:pt>
                <c:pt idx="656">
                  <c:v>0.9805858253970997</c:v>
                </c:pt>
                <c:pt idx="657">
                  <c:v>0.9806970481540959</c:v>
                </c:pt>
                <c:pt idx="658">
                  <c:v>0.9808062940248979</c:v>
                </c:pt>
                <c:pt idx="659">
                  <c:v>0.980914194504952</c:v>
                </c:pt>
                <c:pt idx="660">
                  <c:v>0.9810201770573295</c:v>
                </c:pt>
                <c:pt idx="661">
                  <c:v>0.9811258584240274</c:v>
                </c:pt>
                <c:pt idx="662">
                  <c:v>0.9812308003230545</c:v>
                </c:pt>
                <c:pt idx="663">
                  <c:v>0.9813353018090596</c:v>
                </c:pt>
                <c:pt idx="664">
                  <c:v>0.9814394886128569</c:v>
                </c:pt>
                <c:pt idx="665">
                  <c:v>0.9815421361021079</c:v>
                </c:pt>
                <c:pt idx="666">
                  <c:v>0.9816436917932705</c:v>
                </c:pt>
                <c:pt idx="667">
                  <c:v>0.9817451856845412</c:v>
                </c:pt>
                <c:pt idx="668">
                  <c:v>0.9818460416872735</c:v>
                </c:pt>
                <c:pt idx="669">
                  <c:v>0.9819461852153912</c:v>
                </c:pt>
                <c:pt idx="670">
                  <c:v>0.9820456070344277</c:v>
                </c:pt>
                <c:pt idx="671">
                  <c:v>0.9821447219850359</c:v>
                </c:pt>
                <c:pt idx="672">
                  <c:v>0.9822418863321626</c:v>
                </c:pt>
                <c:pt idx="673">
                  <c:v>0.9823388652796139</c:v>
                </c:pt>
                <c:pt idx="674">
                  <c:v>0.9824354620622171</c:v>
                </c:pt>
                <c:pt idx="675">
                  <c:v>0.9825290548018039</c:v>
                </c:pt>
                <c:pt idx="676">
                  <c:v>0.9826222838454757</c:v>
                </c:pt>
                <c:pt idx="677">
                  <c:v>0.9827154652961273</c:v>
                </c:pt>
                <c:pt idx="678">
                  <c:v>0.9828086162020049</c:v>
                </c:pt>
                <c:pt idx="679">
                  <c:v>0.9829015675013354</c:v>
                </c:pt>
                <c:pt idx="680">
                  <c:v>0.9829943284285854</c:v>
                </c:pt>
                <c:pt idx="681">
                  <c:v>0.9830865736463934</c:v>
                </c:pt>
                <c:pt idx="682">
                  <c:v>0.9831786945540743</c:v>
                </c:pt>
                <c:pt idx="683">
                  <c:v>0.9832706258000182</c:v>
                </c:pt>
                <c:pt idx="684">
                  <c:v>0.9833615455166986</c:v>
                </c:pt>
                <c:pt idx="685">
                  <c:v>0.9834519516549679</c:v>
                </c:pt>
                <c:pt idx="686">
                  <c:v>0.9835405513895032</c:v>
                </c:pt>
                <c:pt idx="687">
                  <c:v>0.9836291482826642</c:v>
                </c:pt>
                <c:pt idx="688">
                  <c:v>0.983717738782733</c:v>
                </c:pt>
                <c:pt idx="689">
                  <c:v>0.9838052793949847</c:v>
                </c:pt>
                <c:pt idx="690">
                  <c:v>0.9838928065107084</c:v>
                </c:pt>
                <c:pt idx="691">
                  <c:v>0.9839802178404279</c:v>
                </c:pt>
                <c:pt idx="692">
                  <c:v>0.9840675084117381</c:v>
                </c:pt>
                <c:pt idx="693">
                  <c:v>0.9841545603076041</c:v>
                </c:pt>
                <c:pt idx="694">
                  <c:v>0.9842396544965528</c:v>
                </c:pt>
                <c:pt idx="695">
                  <c:v>0.9843244510515399</c:v>
                </c:pt>
                <c:pt idx="696">
                  <c:v>0.9844088810692376</c:v>
                </c:pt>
                <c:pt idx="697">
                  <c:v>0.9844926895362994</c:v>
                </c:pt>
                <c:pt idx="698">
                  <c:v>0.98457577629428</c:v>
                </c:pt>
                <c:pt idx="699">
                  <c:v>0.9846587543696922</c:v>
                </c:pt>
                <c:pt idx="700">
                  <c:v>0.984741652886623</c:v>
                </c:pt>
                <c:pt idx="701">
                  <c:v>0.9848238090945086</c:v>
                </c:pt>
                <c:pt idx="702">
                  <c:v>0.9849056662477454</c:v>
                </c:pt>
                <c:pt idx="703">
                  <c:v>0.9849861481758038</c:v>
                </c:pt>
                <c:pt idx="704">
                  <c:v>0.9850661769046556</c:v>
                </c:pt>
                <c:pt idx="705">
                  <c:v>0.9851460763509751</c:v>
                </c:pt>
                <c:pt idx="706">
                  <c:v>0.9852251993917573</c:v>
                </c:pt>
                <c:pt idx="707">
                  <c:v>0.9853042059361918</c:v>
                </c:pt>
                <c:pt idx="708">
                  <c:v>0.9853824545440223</c:v>
                </c:pt>
                <c:pt idx="709">
                  <c:v>0.9854598635257366</c:v>
                </c:pt>
                <c:pt idx="710">
                  <c:v>0.9855362695023103</c:v>
                </c:pt>
                <c:pt idx="711">
                  <c:v>0.9856125504584133</c:v>
                </c:pt>
                <c:pt idx="712">
                  <c:v>0.985688222650065</c:v>
                </c:pt>
                <c:pt idx="713">
                  <c:v>0.9857636952351695</c:v>
                </c:pt>
                <c:pt idx="714">
                  <c:v>0.9858375318990003</c:v>
                </c:pt>
                <c:pt idx="715">
                  <c:v>0.9859110347013466</c:v>
                </c:pt>
                <c:pt idx="716">
                  <c:v>0.9859844678900216</c:v>
                </c:pt>
                <c:pt idx="717">
                  <c:v>0.986057002494063</c:v>
                </c:pt>
                <c:pt idx="718">
                  <c:v>0.9861291059195489</c:v>
                </c:pt>
                <c:pt idx="719">
                  <c:v>0.986201202241599</c:v>
                </c:pt>
                <c:pt idx="720">
                  <c:v>0.986273204798296</c:v>
                </c:pt>
                <c:pt idx="721">
                  <c:v>0.9863451981205265</c:v>
                </c:pt>
                <c:pt idx="722">
                  <c:v>0.9864166544230074</c:v>
                </c:pt>
                <c:pt idx="723">
                  <c:v>0.986487307326895</c:v>
                </c:pt>
                <c:pt idx="724">
                  <c:v>0.9865577904586661</c:v>
                </c:pt>
                <c:pt idx="725">
                  <c:v>0.9866282117905453</c:v>
                </c:pt>
                <c:pt idx="726">
                  <c:v>0.9866985713225327</c:v>
                </c:pt>
                <c:pt idx="727">
                  <c:v>0.9867688861028744</c:v>
                </c:pt>
                <c:pt idx="728">
                  <c:v>0.9868385566015854</c:v>
                </c:pt>
                <c:pt idx="729">
                  <c:v>0.9869081049212</c:v>
                </c:pt>
                <c:pt idx="730">
                  <c:v>0.9869771375313726</c:v>
                </c:pt>
                <c:pt idx="731">
                  <c:v>0.9870457446457385</c:v>
                </c:pt>
                <c:pt idx="732">
                  <c:v>0.9871140363675531</c:v>
                </c:pt>
                <c:pt idx="733">
                  <c:v>0.9871822812066913</c:v>
                </c:pt>
                <c:pt idx="734">
                  <c:v>0.9872504294391019</c:v>
                </c:pt>
                <c:pt idx="735">
                  <c:v>0.9873181464929571</c:v>
                </c:pt>
                <c:pt idx="736">
                  <c:v>0.9873857868297053</c:v>
                </c:pt>
                <c:pt idx="737">
                  <c:v>0.9874532339529987</c:v>
                </c:pt>
                <c:pt idx="738">
                  <c:v>0.9875205454006675</c:v>
                </c:pt>
                <c:pt idx="739">
                  <c:v>0.9875874725524574</c:v>
                </c:pt>
                <c:pt idx="740">
                  <c:v>0.9876543897594371</c:v>
                </c:pt>
                <c:pt idx="741">
                  <c:v>0.9877211379046439</c:v>
                </c:pt>
                <c:pt idx="742">
                  <c:v>0.9877872801267735</c:v>
                </c:pt>
                <c:pt idx="743">
                  <c:v>0.9878526793295145</c:v>
                </c:pt>
                <c:pt idx="744">
                  <c:v>0.9879180472771377</c:v>
                </c:pt>
                <c:pt idx="745">
                  <c:v>0.9879833136456284</c:v>
                </c:pt>
                <c:pt idx="746">
                  <c:v>0.9880485508900322</c:v>
                </c:pt>
                <c:pt idx="747">
                  <c:v>0.988113094839098</c:v>
                </c:pt>
                <c:pt idx="748">
                  <c:v>0.9881773141611461</c:v>
                </c:pt>
                <c:pt idx="749">
                  <c:v>0.9882410547116185</c:v>
                </c:pt>
                <c:pt idx="750">
                  <c:v>0.9883046198072257</c:v>
                </c:pt>
                <c:pt idx="751">
                  <c:v>0.9883681493856538</c:v>
                </c:pt>
                <c:pt idx="752">
                  <c:v>0.9884311952201011</c:v>
                </c:pt>
                <c:pt idx="753">
                  <c:v>0.9884938375793928</c:v>
                </c:pt>
                <c:pt idx="754">
                  <c:v>0.9885563257941268</c:v>
                </c:pt>
                <c:pt idx="755">
                  <c:v>0.9886187273469436</c:v>
                </c:pt>
                <c:pt idx="756">
                  <c:v>0.9886806210040978</c:v>
                </c:pt>
                <c:pt idx="757">
                  <c:v>0.9887421673032395</c:v>
                </c:pt>
                <c:pt idx="758">
                  <c:v>0.9888035921336283</c:v>
                </c:pt>
                <c:pt idx="759">
                  <c:v>0.988864570157903</c:v>
                </c:pt>
                <c:pt idx="760">
                  <c:v>0.9889250395761715</c:v>
                </c:pt>
                <c:pt idx="761">
                  <c:v>0.988984633140801</c:v>
                </c:pt>
                <c:pt idx="762">
                  <c:v>0.9890442181813075</c:v>
                </c:pt>
                <c:pt idx="763">
                  <c:v>0.9891032463124442</c:v>
                </c:pt>
                <c:pt idx="764">
                  <c:v>0.9891619057752609</c:v>
                </c:pt>
                <c:pt idx="765">
                  <c:v>0.9892201887559781</c:v>
                </c:pt>
                <c:pt idx="766">
                  <c:v>0.9892781961233846</c:v>
                </c:pt>
                <c:pt idx="767">
                  <c:v>0.9893356032504629</c:v>
                </c:pt>
                <c:pt idx="768">
                  <c:v>0.9893921082411895</c:v>
                </c:pt>
                <c:pt idx="769">
                  <c:v>0.9894481657154582</c:v>
                </c:pt>
                <c:pt idx="770">
                  <c:v>0.9895040448934874</c:v>
                </c:pt>
                <c:pt idx="771">
                  <c:v>0.9895598771888401</c:v>
                </c:pt>
                <c:pt idx="772">
                  <c:v>0.989615610036091</c:v>
                </c:pt>
                <c:pt idx="773">
                  <c:v>0.9896710182563241</c:v>
                </c:pt>
                <c:pt idx="774">
                  <c:v>0.9897261913528309</c:v>
                </c:pt>
                <c:pt idx="775">
                  <c:v>0.989780512037037</c:v>
                </c:pt>
                <c:pt idx="776">
                  <c:v>0.9898347922316588</c:v>
                </c:pt>
                <c:pt idx="777">
                  <c:v>0.9898890440125373</c:v>
                </c:pt>
                <c:pt idx="778">
                  <c:v>0.989943018759418</c:v>
                </c:pt>
                <c:pt idx="779">
                  <c:v>0.9899969274443454</c:v>
                </c:pt>
                <c:pt idx="780">
                  <c:v>0.9900508098465602</c:v>
                </c:pt>
                <c:pt idx="781">
                  <c:v>0.9901042163185738</c:v>
                </c:pt>
                <c:pt idx="782">
                  <c:v>0.9901568527781424</c:v>
                </c:pt>
                <c:pt idx="783">
                  <c:v>0.9902093123621586</c:v>
                </c:pt>
                <c:pt idx="784">
                  <c:v>0.9902615382431357</c:v>
                </c:pt>
                <c:pt idx="785">
                  <c:v>0.990313732868995</c:v>
                </c:pt>
                <c:pt idx="786">
                  <c:v>0.9903658834535523</c:v>
                </c:pt>
                <c:pt idx="787">
                  <c:v>0.9904179445348179</c:v>
                </c:pt>
                <c:pt idx="788">
                  <c:v>0.9904699700989044</c:v>
                </c:pt>
                <c:pt idx="789">
                  <c:v>0.9905218656701149</c:v>
                </c:pt>
                <c:pt idx="790">
                  <c:v>0.9905734280901846</c:v>
                </c:pt>
                <c:pt idx="791">
                  <c:v>0.9906248761449372</c:v>
                </c:pt>
                <c:pt idx="792">
                  <c:v>0.9906763085721311</c:v>
                </c:pt>
                <c:pt idx="793">
                  <c:v>0.9907276749373716</c:v>
                </c:pt>
                <c:pt idx="794">
                  <c:v>0.9907789944199356</c:v>
                </c:pt>
                <c:pt idx="795">
                  <c:v>0.9908297328414479</c:v>
                </c:pt>
                <c:pt idx="796">
                  <c:v>0.9908800237465024</c:v>
                </c:pt>
                <c:pt idx="797">
                  <c:v>0.9909297428249718</c:v>
                </c:pt>
                <c:pt idx="798">
                  <c:v>0.9909793134416321</c:v>
                </c:pt>
                <c:pt idx="799">
                  <c:v>0.9910288201273699</c:v>
                </c:pt>
                <c:pt idx="800">
                  <c:v>0.9910775319386373</c:v>
                </c:pt>
                <c:pt idx="801">
                  <c:v>0.991125944695256</c:v>
                </c:pt>
                <c:pt idx="802">
                  <c:v>0.9911742352727781</c:v>
                </c:pt>
                <c:pt idx="803">
                  <c:v>0.9912223745471169</c:v>
                </c:pt>
                <c:pt idx="804">
                  <c:v>0.9912699974016702</c:v>
                </c:pt>
                <c:pt idx="805">
                  <c:v>0.9913168211196915</c:v>
                </c:pt>
                <c:pt idx="806">
                  <c:v>0.9913635716723238</c:v>
                </c:pt>
                <c:pt idx="807">
                  <c:v>0.9914100714736709</c:v>
                </c:pt>
                <c:pt idx="808">
                  <c:v>0.9914565108958133</c:v>
                </c:pt>
                <c:pt idx="809">
                  <c:v>0.9915028863870332</c:v>
                </c:pt>
                <c:pt idx="810">
                  <c:v>0.991548498969244</c:v>
                </c:pt>
                <c:pt idx="811">
                  <c:v>0.9915938814001336</c:v>
                </c:pt>
                <c:pt idx="812">
                  <c:v>0.991639219789721</c:v>
                </c:pt>
                <c:pt idx="813">
                  <c:v>0.9916844203726531</c:v>
                </c:pt>
                <c:pt idx="814">
                  <c:v>0.9917296131418059</c:v>
                </c:pt>
                <c:pt idx="815">
                  <c:v>0.9917747178283541</c:v>
                </c:pt>
                <c:pt idx="816">
                  <c:v>0.991819814701123</c:v>
                </c:pt>
                <c:pt idx="817">
                  <c:v>0.9918646231743968</c:v>
                </c:pt>
                <c:pt idx="818">
                  <c:v>0.9919092171239082</c:v>
                </c:pt>
                <c:pt idx="819">
                  <c:v>0.9919537783976148</c:v>
                </c:pt>
                <c:pt idx="820">
                  <c:v>0.9919982267266915</c:v>
                </c:pt>
                <c:pt idx="821">
                  <c:v>0.9920414042510965</c:v>
                </c:pt>
                <c:pt idx="822">
                  <c:v>0.9920842493347044</c:v>
                </c:pt>
                <c:pt idx="823">
                  <c:v>0.9921269125703547</c:v>
                </c:pt>
                <c:pt idx="824">
                  <c:v>0.9921692021652798</c:v>
                </c:pt>
                <c:pt idx="825">
                  <c:v>0.9922113127536218</c:v>
                </c:pt>
                <c:pt idx="826">
                  <c:v>0.9922527797706768</c:v>
                </c:pt>
                <c:pt idx="827">
                  <c:v>0.992294104719015</c:v>
                </c:pt>
                <c:pt idx="828">
                  <c:v>0.9923354012536099</c:v>
                </c:pt>
                <c:pt idx="829">
                  <c:v>0.9923765763194519</c:v>
                </c:pt>
                <c:pt idx="830">
                  <c:v>0.9924174217858709</c:v>
                </c:pt>
                <c:pt idx="831">
                  <c:v>0.9924580790112403</c:v>
                </c:pt>
                <c:pt idx="832">
                  <c:v>0.9924986865125588</c:v>
                </c:pt>
                <c:pt idx="833">
                  <c:v>0.9925391178486684</c:v>
                </c:pt>
                <c:pt idx="834">
                  <c:v>0.992579197564704</c:v>
                </c:pt>
                <c:pt idx="835">
                  <c:v>0.9926190116122392</c:v>
                </c:pt>
                <c:pt idx="836">
                  <c:v>0.9926581685919593</c:v>
                </c:pt>
                <c:pt idx="837">
                  <c:v>0.9926972730062542</c:v>
                </c:pt>
                <c:pt idx="838">
                  <c:v>0.9927362467173296</c:v>
                </c:pt>
                <c:pt idx="839">
                  <c:v>0.9927747700705729</c:v>
                </c:pt>
                <c:pt idx="840">
                  <c:v>0.9928132586169806</c:v>
                </c:pt>
                <c:pt idx="841">
                  <c:v>0.9928514381639292</c:v>
                </c:pt>
                <c:pt idx="842">
                  <c:v>0.9928895956902267</c:v>
                </c:pt>
                <c:pt idx="843">
                  <c:v>0.9929274520308446</c:v>
                </c:pt>
                <c:pt idx="844">
                  <c:v>0.9929642932904812</c:v>
                </c:pt>
                <c:pt idx="845">
                  <c:v>0.9930010748812567</c:v>
                </c:pt>
                <c:pt idx="846">
                  <c:v>0.9930377001964437</c:v>
                </c:pt>
                <c:pt idx="847">
                  <c:v>0.9930743205392256</c:v>
                </c:pt>
                <c:pt idx="848">
                  <c:v>0.9931106574549176</c:v>
                </c:pt>
                <c:pt idx="849">
                  <c:v>0.9931469112604102</c:v>
                </c:pt>
                <c:pt idx="850">
                  <c:v>0.9931829647490121</c:v>
                </c:pt>
                <c:pt idx="851">
                  <c:v>0.9932187504380829</c:v>
                </c:pt>
                <c:pt idx="852">
                  <c:v>0.9932544800100106</c:v>
                </c:pt>
                <c:pt idx="853">
                  <c:v>0.9932899964788631</c:v>
                </c:pt>
                <c:pt idx="854">
                  <c:v>0.9933254483064494</c:v>
                </c:pt>
                <c:pt idx="855">
                  <c:v>0.9933608731409795</c:v>
                </c:pt>
                <c:pt idx="856">
                  <c:v>0.9933962674307356</c:v>
                </c:pt>
                <c:pt idx="857">
                  <c:v>0.9934312312522798</c:v>
                </c:pt>
                <c:pt idx="858">
                  <c:v>0.9934660487430458</c:v>
                </c:pt>
                <c:pt idx="859">
                  <c:v>0.9935006005653113</c:v>
                </c:pt>
                <c:pt idx="860">
                  <c:v>0.9935349023466353</c:v>
                </c:pt>
                <c:pt idx="861">
                  <c:v>0.9935688766595672</c:v>
                </c:pt>
                <c:pt idx="862">
                  <c:v>0.9936025064558608</c:v>
                </c:pt>
                <c:pt idx="863">
                  <c:v>0.9936360069696221</c:v>
                </c:pt>
                <c:pt idx="864">
                  <c:v>0.9936689939049722</c:v>
                </c:pt>
                <c:pt idx="865">
                  <c:v>0.9937016753925813</c:v>
                </c:pt>
                <c:pt idx="866">
                  <c:v>0.9937341615357047</c:v>
                </c:pt>
                <c:pt idx="867">
                  <c:v>0.9937665212376703</c:v>
                </c:pt>
                <c:pt idx="868">
                  <c:v>0.9937988013811544</c:v>
                </c:pt>
                <c:pt idx="869">
                  <c:v>0.9938309415869525</c:v>
                </c:pt>
                <c:pt idx="870">
                  <c:v>0.993862949668844</c:v>
                </c:pt>
                <c:pt idx="871">
                  <c:v>0.993894716233917</c:v>
                </c:pt>
                <c:pt idx="872">
                  <c:v>0.9939263719853909</c:v>
                </c:pt>
                <c:pt idx="873">
                  <c:v>0.9939580106886188</c:v>
                </c:pt>
                <c:pt idx="874">
                  <c:v>0.9939896458401287</c:v>
                </c:pt>
                <c:pt idx="875">
                  <c:v>0.9940209606266823</c:v>
                </c:pt>
                <c:pt idx="876">
                  <c:v>0.9940519614413719</c:v>
                </c:pt>
                <c:pt idx="877">
                  <c:v>0.994082937394036</c:v>
                </c:pt>
                <c:pt idx="878">
                  <c:v>0.9941135894300258</c:v>
                </c:pt>
                <c:pt idx="879">
                  <c:v>0.9941441881902469</c:v>
                </c:pt>
                <c:pt idx="880">
                  <c:v>0.9941746676127458</c:v>
                </c:pt>
                <c:pt idx="881">
                  <c:v>0.9942043400849333</c:v>
                </c:pt>
                <c:pt idx="882">
                  <c:v>0.9942337738816767</c:v>
                </c:pt>
                <c:pt idx="883">
                  <c:v>0.9942632041267021</c:v>
                </c:pt>
                <c:pt idx="884">
                  <c:v>0.9942924226893396</c:v>
                </c:pt>
                <c:pt idx="885">
                  <c:v>0.9943215034453218</c:v>
                </c:pt>
                <c:pt idx="886">
                  <c:v>0.9943504407119</c:v>
                </c:pt>
                <c:pt idx="887">
                  <c:v>0.9943789027586206</c:v>
                </c:pt>
                <c:pt idx="888">
                  <c:v>0.9944073157916339</c:v>
                </c:pt>
                <c:pt idx="889">
                  <c:v>0.9944356719971604</c:v>
                </c:pt>
                <c:pt idx="890">
                  <c:v>0.9944640125751282</c:v>
                </c:pt>
                <c:pt idx="891">
                  <c:v>0.9944921997188818</c:v>
                </c:pt>
                <c:pt idx="892">
                  <c:v>0.9945203002007181</c:v>
                </c:pt>
                <c:pt idx="893">
                  <c:v>0.9945481193864952</c:v>
                </c:pt>
                <c:pt idx="894">
                  <c:v>0.9945758973723445</c:v>
                </c:pt>
                <c:pt idx="895">
                  <c:v>0.9946034935102362</c:v>
                </c:pt>
                <c:pt idx="896">
                  <c:v>0.9946310619447283</c:v>
                </c:pt>
                <c:pt idx="897">
                  <c:v>0.9946585202759648</c:v>
                </c:pt>
                <c:pt idx="898">
                  <c:v>0.9946853329048835</c:v>
                </c:pt>
                <c:pt idx="899">
                  <c:v>0.9947118287205637</c:v>
                </c:pt>
                <c:pt idx="900">
                  <c:v>0.9947381874399324</c:v>
                </c:pt>
                <c:pt idx="901">
                  <c:v>0.9947643799389023</c:v>
                </c:pt>
                <c:pt idx="902">
                  <c:v>0.994790477251832</c:v>
                </c:pt>
                <c:pt idx="903">
                  <c:v>0.9948165497027363</c:v>
                </c:pt>
                <c:pt idx="904">
                  <c:v>0.994842537622754</c:v>
                </c:pt>
                <c:pt idx="905">
                  <c:v>0.9948685170186488</c:v>
                </c:pt>
                <c:pt idx="906">
                  <c:v>0.9948944616077079</c:v>
                </c:pt>
                <c:pt idx="907">
                  <c:v>0.9949202449487735</c:v>
                </c:pt>
                <c:pt idx="908">
                  <c:v>0.9949457590696208</c:v>
                </c:pt>
                <c:pt idx="909">
                  <c:v>0.9949711929216432</c:v>
                </c:pt>
                <c:pt idx="910">
                  <c:v>0.9949964733394513</c:v>
                </c:pt>
                <c:pt idx="911">
                  <c:v>0.995021723922829</c:v>
                </c:pt>
                <c:pt idx="912">
                  <c:v>0.995046936147653</c:v>
                </c:pt>
                <c:pt idx="913">
                  <c:v>0.9950720965173956</c:v>
                </c:pt>
                <c:pt idx="914">
                  <c:v>0.9950969400738997</c:v>
                </c:pt>
                <c:pt idx="915">
                  <c:v>0.9951217019408917</c:v>
                </c:pt>
                <c:pt idx="916">
                  <c:v>0.9951463444701615</c:v>
                </c:pt>
                <c:pt idx="917">
                  <c:v>0.9951709145443858</c:v>
                </c:pt>
                <c:pt idx="918">
                  <c:v>0.9951953205292422</c:v>
                </c:pt>
                <c:pt idx="919">
                  <c:v>0.9952197073348218</c:v>
                </c:pt>
                <c:pt idx="920">
                  <c:v>0.9952440344715403</c:v>
                </c:pt>
                <c:pt idx="921">
                  <c:v>0.9952680753397946</c:v>
                </c:pt>
                <c:pt idx="922">
                  <c:v>0.9952920238633829</c:v>
                </c:pt>
                <c:pt idx="923">
                  <c:v>0.9953157649666448</c:v>
                </c:pt>
                <c:pt idx="924">
                  <c:v>0.9953394407182968</c:v>
                </c:pt>
                <c:pt idx="925">
                  <c:v>0.9953630518286828</c:v>
                </c:pt>
                <c:pt idx="926">
                  <c:v>0.9953866387873869</c:v>
                </c:pt>
                <c:pt idx="927">
                  <c:v>0.9954102072771578</c:v>
                </c:pt>
                <c:pt idx="928">
                  <c:v>0.99543364719474</c:v>
                </c:pt>
                <c:pt idx="929">
                  <c:v>0.9954570821399172</c:v>
                </c:pt>
                <c:pt idx="930">
                  <c:v>0.9954803835405006</c:v>
                </c:pt>
                <c:pt idx="931">
                  <c:v>0.9955036053826026</c:v>
                </c:pt>
                <c:pt idx="932">
                  <c:v>0.9955265473493325</c:v>
                </c:pt>
                <c:pt idx="933">
                  <c:v>0.9955492200958441</c:v>
                </c:pt>
                <c:pt idx="934">
                  <c:v>0.995571713125429</c:v>
                </c:pt>
                <c:pt idx="935">
                  <c:v>0.9955940981827891</c:v>
                </c:pt>
                <c:pt idx="936">
                  <c:v>0.9956164441712521</c:v>
                </c:pt>
                <c:pt idx="937">
                  <c:v>0.995638764587346</c:v>
                </c:pt>
                <c:pt idx="938">
                  <c:v>0.9956610430931685</c:v>
                </c:pt>
                <c:pt idx="939">
                  <c:v>0.9956831916061152</c:v>
                </c:pt>
                <c:pt idx="940">
                  <c:v>0.9957052619812676</c:v>
                </c:pt>
                <c:pt idx="941">
                  <c:v>0.9957273074943946</c:v>
                </c:pt>
                <c:pt idx="942">
                  <c:v>0.9957493288558398</c:v>
                </c:pt>
                <c:pt idx="943">
                  <c:v>0.995771326065603</c:v>
                </c:pt>
                <c:pt idx="944">
                  <c:v>0.9957932387444799</c:v>
                </c:pt>
                <c:pt idx="945">
                  <c:v>0.9958149837822708</c:v>
                </c:pt>
                <c:pt idx="946">
                  <c:v>0.9958365313445455</c:v>
                </c:pt>
                <c:pt idx="947">
                  <c:v>0.9958580646999485</c:v>
                </c:pt>
                <c:pt idx="948">
                  <c:v>0.9958795149451523</c:v>
                </c:pt>
                <c:pt idx="949">
                  <c:v>0.9959008685836285</c:v>
                </c:pt>
                <c:pt idx="950">
                  <c:v>0.9959221582911821</c:v>
                </c:pt>
                <c:pt idx="951">
                  <c:v>0.995943313033455</c:v>
                </c:pt>
                <c:pt idx="952">
                  <c:v>0.9959643264173546</c:v>
                </c:pt>
                <c:pt idx="953">
                  <c:v>0.9959851657670761</c:v>
                </c:pt>
                <c:pt idx="954">
                  <c:v>0.9960060051167976</c:v>
                </c:pt>
                <c:pt idx="955">
                  <c:v>0.9960268068183091</c:v>
                </c:pt>
                <c:pt idx="956">
                  <c:v>0.9960475765543594</c:v>
                </c:pt>
                <c:pt idx="957">
                  <c:v>0.9960683327938815</c:v>
                </c:pt>
                <c:pt idx="958">
                  <c:v>0.9960888006339086</c:v>
                </c:pt>
                <c:pt idx="959">
                  <c:v>0.9961092223016027</c:v>
                </c:pt>
                <c:pt idx="960">
                  <c:v>0.9961295068729852</c:v>
                </c:pt>
                <c:pt idx="961">
                  <c:v>0.996149536431021</c:v>
                </c:pt>
                <c:pt idx="962">
                  <c:v>0.9961694743547345</c:v>
                </c:pt>
                <c:pt idx="963">
                  <c:v>0.996189400202607</c:v>
                </c:pt>
                <c:pt idx="964">
                  <c:v>0.9962092443609675</c:v>
                </c:pt>
                <c:pt idx="965">
                  <c:v>0.9962485270715019</c:v>
                </c:pt>
                <c:pt idx="966">
                  <c:v>0.9962680878027723</c:v>
                </c:pt>
                <c:pt idx="967">
                  <c:v>0.9962874837343313</c:v>
                </c:pt>
                <c:pt idx="968">
                  <c:v>0.9963068278108086</c:v>
                </c:pt>
                <c:pt idx="969">
                  <c:v>0.99632615483904</c:v>
                </c:pt>
                <c:pt idx="970">
                  <c:v>0.9963448873096916</c:v>
                </c:pt>
                <c:pt idx="971">
                  <c:v>0.9963635771597282</c:v>
                </c:pt>
                <c:pt idx="972">
                  <c:v>0.9963821256513916</c:v>
                </c:pt>
                <c:pt idx="973">
                  <c:v>0.996400530653651</c:v>
                </c:pt>
                <c:pt idx="974">
                  <c:v>0.9964189129249157</c:v>
                </c:pt>
                <c:pt idx="975">
                  <c:v>0.9964372717548421</c:v>
                </c:pt>
                <c:pt idx="976">
                  <c:v>0.996455563102128</c:v>
                </c:pt>
                <c:pt idx="977">
                  <c:v>0.9964737344013483</c:v>
                </c:pt>
                <c:pt idx="978">
                  <c:v>0.996491730956047</c:v>
                </c:pt>
                <c:pt idx="979">
                  <c:v>0.996509628062644</c:v>
                </c:pt>
                <c:pt idx="980">
                  <c:v>0.9965274619486619</c:v>
                </c:pt>
                <c:pt idx="981">
                  <c:v>0.9965452617381878</c:v>
                </c:pt>
                <c:pt idx="982">
                  <c:v>0.9965629436106788</c:v>
                </c:pt>
                <c:pt idx="983">
                  <c:v>0.9965806055935494</c:v>
                </c:pt>
                <c:pt idx="984">
                  <c:v>0.9965982668660764</c:v>
                </c:pt>
                <c:pt idx="985">
                  <c:v>0.996615783938856</c:v>
                </c:pt>
                <c:pt idx="986">
                  <c:v>0.9966332235841848</c:v>
                </c:pt>
                <c:pt idx="987">
                  <c:v>0.9966505446021352</c:v>
                </c:pt>
                <c:pt idx="988">
                  <c:v>0.9966678350753114</c:v>
                </c:pt>
                <c:pt idx="989">
                  <c:v>0.9966850580658472</c:v>
                </c:pt>
                <c:pt idx="990">
                  <c:v>0.9967022746632906</c:v>
                </c:pt>
                <c:pt idx="991">
                  <c:v>0.9967193932333196</c:v>
                </c:pt>
                <c:pt idx="992">
                  <c:v>0.9967364926240717</c:v>
                </c:pt>
                <c:pt idx="993">
                  <c:v>0.9967535202701219</c:v>
                </c:pt>
                <c:pt idx="994">
                  <c:v>0.9967703987440194</c:v>
                </c:pt>
                <c:pt idx="995">
                  <c:v>0.9967869824253296</c:v>
                </c:pt>
                <c:pt idx="996">
                  <c:v>0.9968035632652655</c:v>
                </c:pt>
                <c:pt idx="997">
                  <c:v>0.9968201235052375</c:v>
                </c:pt>
                <c:pt idx="998">
                  <c:v>0.9968366752210864</c:v>
                </c:pt>
                <c:pt idx="999">
                  <c:v>0.9968531821852896</c:v>
                </c:pt>
                <c:pt idx="1000">
                  <c:v>0.9968696458185342</c:v>
                </c:pt>
                <c:pt idx="1001">
                  <c:v>0.9968860789070046</c:v>
                </c:pt>
                <c:pt idx="1002">
                  <c:v>0.9969025112851315</c:v>
                </c:pt>
                <c:pt idx="1003">
                  <c:v>0.9969188690771821</c:v>
                </c:pt>
                <c:pt idx="1004">
                  <c:v>0.9969351806968997</c:v>
                </c:pt>
                <c:pt idx="1005">
                  <c:v>0.9969514887648994</c:v>
                </c:pt>
                <c:pt idx="1006">
                  <c:v>0.9969677584743455</c:v>
                </c:pt>
                <c:pt idx="1007">
                  <c:v>0.9969839322874078</c:v>
                </c:pt>
                <c:pt idx="1008">
                  <c:v>0.9969998795008668</c:v>
                </c:pt>
                <c:pt idx="1009">
                  <c:v>0.9970157556799674</c:v>
                </c:pt>
                <c:pt idx="1010">
                  <c:v>0.9970316219142579</c:v>
                </c:pt>
                <c:pt idx="1011">
                  <c:v>0.9970474810451125</c:v>
                </c:pt>
                <c:pt idx="1012">
                  <c:v>0.9970632940036342</c:v>
                </c:pt>
                <c:pt idx="1013">
                  <c:v>0.9970790472932949</c:v>
                </c:pt>
                <c:pt idx="1014">
                  <c:v>0.9970947856657403</c:v>
                </c:pt>
                <c:pt idx="1015">
                  <c:v>0.9971104700520733</c:v>
                </c:pt>
                <c:pt idx="1016">
                  <c:v>0.997125974011136</c:v>
                </c:pt>
                <c:pt idx="1017">
                  <c:v>0.9971414694460756</c:v>
                </c:pt>
                <c:pt idx="1018">
                  <c:v>0.9971569563568923</c:v>
                </c:pt>
                <c:pt idx="1019">
                  <c:v>0.9971723331644534</c:v>
                </c:pt>
                <c:pt idx="1020">
                  <c:v>0.9971877071306402</c:v>
                </c:pt>
                <c:pt idx="1021">
                  <c:v>0.9972030647589246</c:v>
                </c:pt>
                <c:pt idx="1022">
                  <c:v>0.9972184188354911</c:v>
                </c:pt>
                <c:pt idx="1023">
                  <c:v>0.9972337473396886</c:v>
                </c:pt>
                <c:pt idx="1024">
                  <c:v>0.9972490715818245</c:v>
                </c:pt>
                <c:pt idx="1025">
                  <c:v>0.9972643901412118</c:v>
                </c:pt>
                <c:pt idx="1026">
                  <c:v>0.9972796923626966</c:v>
                </c:pt>
                <c:pt idx="1027">
                  <c:v>0.9972949029498591</c:v>
                </c:pt>
                <c:pt idx="1028">
                  <c:v>0.9973101106956473</c:v>
                </c:pt>
                <c:pt idx="1029">
                  <c:v>0.9973253063655946</c:v>
                </c:pt>
                <c:pt idx="1030">
                  <c:v>0.9973404409459936</c:v>
                </c:pt>
                <c:pt idx="1031">
                  <c:v>0.997355446954204</c:v>
                </c:pt>
                <c:pt idx="1032">
                  <c:v>0.9973703385970973</c:v>
                </c:pt>
                <c:pt idx="1033">
                  <c:v>0.9973851727021604</c:v>
                </c:pt>
                <c:pt idx="1034">
                  <c:v>0.9974000004141312</c:v>
                </c:pt>
                <c:pt idx="1035">
                  <c:v>0.9974148117881996</c:v>
                </c:pt>
                <c:pt idx="1036">
                  <c:v>0.9974294711487409</c:v>
                </c:pt>
                <c:pt idx="1037">
                  <c:v>0.9974440814955751</c:v>
                </c:pt>
                <c:pt idx="1038">
                  <c:v>0.9974585646909077</c:v>
                </c:pt>
                <c:pt idx="1039">
                  <c:v>0.9974730010035637</c:v>
                </c:pt>
                <c:pt idx="1040">
                  <c:v>0.9974873911438868</c:v>
                </c:pt>
                <c:pt idx="1041">
                  <c:v>0.9975017003050414</c:v>
                </c:pt>
                <c:pt idx="1042">
                  <c:v>0.9975159931282934</c:v>
                </c:pt>
                <c:pt idx="1043">
                  <c:v>0.9975302717446738</c:v>
                </c:pt>
                <c:pt idx="1044">
                  <c:v>0.997544485719788</c:v>
                </c:pt>
                <c:pt idx="1045">
                  <c:v>0.9975586293708875</c:v>
                </c:pt>
                <c:pt idx="1046">
                  <c:v>0.9975727673392383</c:v>
                </c:pt>
                <c:pt idx="1047">
                  <c:v>0.9975867916526157</c:v>
                </c:pt>
                <c:pt idx="1048">
                  <c:v>0.9976008131246187</c:v>
                </c:pt>
                <c:pt idx="1049">
                  <c:v>0.9976148196794065</c:v>
                </c:pt>
                <c:pt idx="1050">
                  <c:v>0.9976288205514455</c:v>
                </c:pt>
                <c:pt idx="1051">
                  <c:v>0.9976427162926342</c:v>
                </c:pt>
                <c:pt idx="1052">
                  <c:v>0.997656608482105</c:v>
                </c:pt>
                <c:pt idx="1053">
                  <c:v>0.9976704523682121</c:v>
                </c:pt>
                <c:pt idx="1054">
                  <c:v>0.9976842493716426</c:v>
                </c:pt>
                <c:pt idx="1055">
                  <c:v>0.9976980208027041</c:v>
                </c:pt>
                <c:pt idx="1056">
                  <c:v>0.9977117531648685</c:v>
                </c:pt>
                <c:pt idx="1057">
                  <c:v>0.9977254308305769</c:v>
                </c:pt>
                <c:pt idx="1058">
                  <c:v>0.9977390651653266</c:v>
                </c:pt>
                <c:pt idx="1059">
                  <c:v>0.9977525624037648</c:v>
                </c:pt>
                <c:pt idx="1060">
                  <c:v>0.9977659992629982</c:v>
                </c:pt>
                <c:pt idx="1061">
                  <c:v>0.9977794169429549</c:v>
                </c:pt>
                <c:pt idx="1062">
                  <c:v>0.9977928111815734</c:v>
                </c:pt>
                <c:pt idx="1063">
                  <c:v>0.9978061123651824</c:v>
                </c:pt>
                <c:pt idx="1064">
                  <c:v>0.9978193133903459</c:v>
                </c:pt>
                <c:pt idx="1065">
                  <c:v>0.9978324490638998</c:v>
                </c:pt>
                <c:pt idx="1066">
                  <c:v>0.9978455747926435</c:v>
                </c:pt>
                <c:pt idx="1067">
                  <c:v>0.9978585783422907</c:v>
                </c:pt>
                <c:pt idx="1068">
                  <c:v>0.9978714980713951</c:v>
                </c:pt>
                <c:pt idx="1069">
                  <c:v>0.9978843616833564</c:v>
                </c:pt>
                <c:pt idx="1070">
                  <c:v>0.9978971975919179</c:v>
                </c:pt>
                <c:pt idx="1071">
                  <c:v>0.9979100320797921</c:v>
                </c:pt>
                <c:pt idx="1072">
                  <c:v>0.9979228530711384</c:v>
                </c:pt>
                <c:pt idx="1073">
                  <c:v>0.9979356513314899</c:v>
                </c:pt>
                <c:pt idx="1074">
                  <c:v>0.9979484140746622</c:v>
                </c:pt>
                <c:pt idx="1075">
                  <c:v>0.9979611576385577</c:v>
                </c:pt>
                <c:pt idx="1076">
                  <c:v>0.9979738884162688</c:v>
                </c:pt>
                <c:pt idx="1077">
                  <c:v>0.997986608538826</c:v>
                </c:pt>
                <c:pt idx="1078">
                  <c:v>0.9979992903028297</c:v>
                </c:pt>
                <c:pt idx="1079">
                  <c:v>0.9980116602260002</c:v>
                </c:pt>
                <c:pt idx="1080">
                  <c:v>0.9980238738735822</c:v>
                </c:pt>
                <c:pt idx="1081">
                  <c:v>0.9980360669212002</c:v>
                </c:pt>
                <c:pt idx="1082">
                  <c:v>0.998048224451639</c:v>
                </c:pt>
                <c:pt idx="1083">
                  <c:v>0.9980602491478276</c:v>
                </c:pt>
                <c:pt idx="1084">
                  <c:v>0.9980720912857152</c:v>
                </c:pt>
                <c:pt idx="1085">
                  <c:v>0.9980839064305466</c:v>
                </c:pt>
                <c:pt idx="1086">
                  <c:v>0.9980956363341479</c:v>
                </c:pt>
                <c:pt idx="1087">
                  <c:v>0.9981073172240419</c:v>
                </c:pt>
                <c:pt idx="1088">
                  <c:v>0.9981189725415669</c:v>
                </c:pt>
                <c:pt idx="1089">
                  <c:v>0.9981306172039381</c:v>
                </c:pt>
                <c:pt idx="1090">
                  <c:v>0.9981422433973762</c:v>
                </c:pt>
                <c:pt idx="1091">
                  <c:v>0.9981537836392406</c:v>
                </c:pt>
                <c:pt idx="1092">
                  <c:v>0.9981651391917732</c:v>
                </c:pt>
                <c:pt idx="1093">
                  <c:v>0.9981763995582655</c:v>
                </c:pt>
                <c:pt idx="1094">
                  <c:v>0.998187555504251</c:v>
                </c:pt>
                <c:pt idx="1095">
                  <c:v>0.9981985935332015</c:v>
                </c:pt>
                <c:pt idx="1096">
                  <c:v>0.9982096301414649</c:v>
                </c:pt>
                <c:pt idx="1097">
                  <c:v>0.9982206070808672</c:v>
                </c:pt>
                <c:pt idx="1098">
                  <c:v>0.9982314717859834</c:v>
                </c:pt>
                <c:pt idx="1099">
                  <c:v>0.9982423357807558</c:v>
                </c:pt>
                <c:pt idx="1100">
                  <c:v>0.9982530477620014</c:v>
                </c:pt>
                <c:pt idx="1101">
                  <c:v>0.9982637384329395</c:v>
                </c:pt>
                <c:pt idx="1102">
                  <c:v>0.9982744220004417</c:v>
                </c:pt>
                <c:pt idx="1103">
                  <c:v>0.9982850409266777</c:v>
                </c:pt>
                <c:pt idx="1104">
                  <c:v>0.9982956065771449</c:v>
                </c:pt>
                <c:pt idx="1105">
                  <c:v>0.9983061146897818</c:v>
                </c:pt>
                <c:pt idx="1106">
                  <c:v>0.9983165126991632</c:v>
                </c:pt>
                <c:pt idx="1107">
                  <c:v>0.9983269028947652</c:v>
                </c:pt>
                <c:pt idx="1108">
                  <c:v>0.9983372376835677</c:v>
                </c:pt>
                <c:pt idx="1109">
                  <c:v>0.9983474595277404</c:v>
                </c:pt>
                <c:pt idx="1110">
                  <c:v>0.998357681371913</c:v>
                </c:pt>
                <c:pt idx="1111">
                  <c:v>0.9983678591747834</c:v>
                </c:pt>
                <c:pt idx="1112">
                  <c:v>0.9983779176399318</c:v>
                </c:pt>
                <c:pt idx="1113">
                  <c:v>0.9983879647395828</c:v>
                </c:pt>
                <c:pt idx="1114">
                  <c:v>0.9983979990530493</c:v>
                </c:pt>
                <c:pt idx="1115">
                  <c:v>0.9984080305251414</c:v>
                </c:pt>
                <c:pt idx="1116">
                  <c:v>0.9984180016180288</c:v>
                </c:pt>
                <c:pt idx="1117">
                  <c:v>0.9984279073593066</c:v>
                </c:pt>
                <c:pt idx="1118">
                  <c:v>0.9984376539836216</c:v>
                </c:pt>
                <c:pt idx="1119">
                  <c:v>0.9984473885320957</c:v>
                </c:pt>
                <c:pt idx="1120">
                  <c:v>0.998456960411889</c:v>
                </c:pt>
                <c:pt idx="1121">
                  <c:v>0.9984664996158775</c:v>
                </c:pt>
                <c:pt idx="1122">
                  <c:v>0.9984760274543687</c:v>
                </c:pt>
                <c:pt idx="1123">
                  <c:v>0.9984855169343063</c:v>
                </c:pt>
                <c:pt idx="1124">
                  <c:v>0.9984949190419831</c:v>
                </c:pt>
                <c:pt idx="1125">
                  <c:v>0.9985042394601477</c:v>
                </c:pt>
                <c:pt idx="1126">
                  <c:v>0.9985134497750567</c:v>
                </c:pt>
                <c:pt idx="1127">
                  <c:v>0.9985225791107973</c:v>
                </c:pt>
                <c:pt idx="1128">
                  <c:v>0.9985316644052357</c:v>
                </c:pt>
                <c:pt idx="1129">
                  <c:v>0.9985406026585522</c:v>
                </c:pt>
                <c:pt idx="1130">
                  <c:v>0.9985495295463713</c:v>
                </c:pt>
                <c:pt idx="1131">
                  <c:v>0.9985584173652934</c:v>
                </c:pt>
                <c:pt idx="1132">
                  <c:v>0.9985671474879397</c:v>
                </c:pt>
                <c:pt idx="1133">
                  <c:v>0.9985758364106583</c:v>
                </c:pt>
                <c:pt idx="1134">
                  <c:v>0.9985844130990905</c:v>
                </c:pt>
                <c:pt idx="1135">
                  <c:v>0.9985929144911029</c:v>
                </c:pt>
                <c:pt idx="1136">
                  <c:v>0.9986013597659721</c:v>
                </c:pt>
                <c:pt idx="1137">
                  <c:v>0.9986097439512931</c:v>
                </c:pt>
                <c:pt idx="1138">
                  <c:v>0.9986180073782048</c:v>
                </c:pt>
                <c:pt idx="1139">
                  <c:v>0.9986262061638504</c:v>
                </c:pt>
                <c:pt idx="1140">
                  <c:v>0.9986343481220094</c:v>
                </c:pt>
                <c:pt idx="1141">
                  <c:v>0.9986504913902976</c:v>
                </c:pt>
                <c:pt idx="1142">
                  <c:v>0.9986584252177865</c:v>
                </c:pt>
                <c:pt idx="1143">
                  <c:v>0.9986663221074089</c:v>
                </c:pt>
                <c:pt idx="1144">
                  <c:v>0.998674185610883</c:v>
                </c:pt>
                <c:pt idx="1145">
                  <c:v>0.9986820476936697</c:v>
                </c:pt>
                <c:pt idx="1146">
                  <c:v>0.9986898977006157</c:v>
                </c:pt>
                <c:pt idx="1147">
                  <c:v>0.9986977263972541</c:v>
                </c:pt>
                <c:pt idx="1148">
                  <c:v>0.998705504659498</c:v>
                </c:pt>
                <c:pt idx="1149">
                  <c:v>0.9987132545079986</c:v>
                </c:pt>
                <c:pt idx="1150">
                  <c:v>0.9987209809151609</c:v>
                </c:pt>
                <c:pt idx="1151">
                  <c:v>0.9987286789085799</c:v>
                </c:pt>
                <c:pt idx="1152">
                  <c:v>0.9987363335710402</c:v>
                </c:pt>
                <c:pt idx="1153">
                  <c:v>0.9987439335370446</c:v>
                </c:pt>
                <c:pt idx="1154">
                  <c:v>0.9987514979858698</c:v>
                </c:pt>
                <c:pt idx="1155">
                  <c:v>0.9987589921106802</c:v>
                </c:pt>
                <c:pt idx="1156">
                  <c:v>0.9987664805527419</c:v>
                </c:pt>
                <c:pt idx="1157">
                  <c:v>0.9987739668637728</c:v>
                </c:pt>
                <c:pt idx="1158">
                  <c:v>0.9987814361265578</c:v>
                </c:pt>
                <c:pt idx="1159">
                  <c:v>0.9987889011272812</c:v>
                </c:pt>
                <c:pt idx="1160">
                  <c:v>0.9987963327418562</c:v>
                </c:pt>
                <c:pt idx="1161">
                  <c:v>0.9988037338116571</c:v>
                </c:pt>
                <c:pt idx="1162">
                  <c:v>0.9988185096685462</c:v>
                </c:pt>
                <c:pt idx="1163">
                  <c:v>0.9988258574625783</c:v>
                </c:pt>
                <c:pt idx="1164">
                  <c:v>0.9988331896290515</c:v>
                </c:pt>
                <c:pt idx="1165">
                  <c:v>0.9988404614163201</c:v>
                </c:pt>
                <c:pt idx="1166">
                  <c:v>0.9988476962657223</c:v>
                </c:pt>
                <c:pt idx="1167">
                  <c:v>0.998854867184202</c:v>
                </c:pt>
                <c:pt idx="1168">
                  <c:v>0.9988620352613073</c:v>
                </c:pt>
                <c:pt idx="1169">
                  <c:v>0.998876222953709</c:v>
                </c:pt>
                <c:pt idx="1170">
                  <c:v>0.9988832915827126</c:v>
                </c:pt>
                <c:pt idx="1171">
                  <c:v>0.998890341742783</c:v>
                </c:pt>
                <c:pt idx="1172">
                  <c:v>0.9988973812476997</c:v>
                </c:pt>
                <c:pt idx="1173">
                  <c:v>0.9989044065457446</c:v>
                </c:pt>
                <c:pt idx="1174">
                  <c:v>0.9989114190576052</c:v>
                </c:pt>
                <c:pt idx="1175">
                  <c:v>0.998918316493805</c:v>
                </c:pt>
                <c:pt idx="1176">
                  <c:v>0.998925159233549</c:v>
                </c:pt>
                <c:pt idx="1177">
                  <c:v>0.9989319344906524</c:v>
                </c:pt>
                <c:pt idx="1178">
                  <c:v>0.9989386919891663</c:v>
                </c:pt>
                <c:pt idx="1179">
                  <c:v>0.9989454331497777</c:v>
                </c:pt>
                <c:pt idx="1180">
                  <c:v>0.9989521558414559</c:v>
                </c:pt>
                <c:pt idx="1181">
                  <c:v>0.9989587755333145</c:v>
                </c:pt>
                <c:pt idx="1182">
                  <c:v>0.9989653540252451</c:v>
                </c:pt>
                <c:pt idx="1183">
                  <c:v>0.998971916889617</c:v>
                </c:pt>
                <c:pt idx="1184">
                  <c:v>0.9989784790436452</c:v>
                </c:pt>
                <c:pt idx="1185">
                  <c:v>0.9989850227287403</c:v>
                </c:pt>
                <c:pt idx="1186">
                  <c:v>0.9989915351587177</c:v>
                </c:pt>
                <c:pt idx="1187">
                  <c:v>0.99899795737506</c:v>
                </c:pt>
                <c:pt idx="1188">
                  <c:v>0.999004351177659</c:v>
                </c:pt>
                <c:pt idx="1189">
                  <c:v>0.9990107272216683</c:v>
                </c:pt>
                <c:pt idx="1190">
                  <c:v>0.9990170542519703</c:v>
                </c:pt>
                <c:pt idx="1191">
                  <c:v>0.9990233770202108</c:v>
                </c:pt>
                <c:pt idx="1192">
                  <c:v>0.9990296671126464</c:v>
                </c:pt>
                <c:pt idx="1193">
                  <c:v>0.9990359309223694</c:v>
                </c:pt>
                <c:pt idx="1194">
                  <c:v>0.9990421847872822</c:v>
                </c:pt>
                <c:pt idx="1195">
                  <c:v>0.9990483768523033</c:v>
                </c:pt>
                <c:pt idx="1196">
                  <c:v>0.9990545639449192</c:v>
                </c:pt>
                <c:pt idx="1197">
                  <c:v>0.9990607197824175</c:v>
                </c:pt>
                <c:pt idx="1198">
                  <c:v>0.99906686851648</c:v>
                </c:pt>
                <c:pt idx="1199">
                  <c:v>0.9990790438055084</c:v>
                </c:pt>
                <c:pt idx="1200">
                  <c:v>0.9990850810156281</c:v>
                </c:pt>
                <c:pt idx="1201">
                  <c:v>0.9990910699223842</c:v>
                </c:pt>
                <c:pt idx="1202">
                  <c:v>0.9990970339671148</c:v>
                </c:pt>
                <c:pt idx="1203">
                  <c:v>0.9991029454464202</c:v>
                </c:pt>
                <c:pt idx="1204">
                  <c:v>0.9991088093327055</c:v>
                </c:pt>
                <c:pt idx="1205">
                  <c:v>0.9991146341500937</c:v>
                </c:pt>
                <c:pt idx="1206">
                  <c:v>0.9991204390778615</c:v>
                </c:pt>
                <c:pt idx="1207">
                  <c:v>0.999126237612537</c:v>
                </c:pt>
                <c:pt idx="1208">
                  <c:v>0.9991320077334692</c:v>
                </c:pt>
                <c:pt idx="1209">
                  <c:v>0.9991377352337864</c:v>
                </c:pt>
                <c:pt idx="1210">
                  <c:v>0.9991434606030728</c:v>
                </c:pt>
                <c:pt idx="1211">
                  <c:v>0.9991491809999541</c:v>
                </c:pt>
                <c:pt idx="1212">
                  <c:v>0.9991549006864918</c:v>
                </c:pt>
                <c:pt idx="1213">
                  <c:v>0.9991605237663022</c:v>
                </c:pt>
                <c:pt idx="1214">
                  <c:v>0.9991661454254253</c:v>
                </c:pt>
                <c:pt idx="1215">
                  <c:v>0.9991717351190872</c:v>
                </c:pt>
                <c:pt idx="1216">
                  <c:v>0.9991773219713748</c:v>
                </c:pt>
                <c:pt idx="1217">
                  <c:v>0.9991828818306061</c:v>
                </c:pt>
                <c:pt idx="1218">
                  <c:v>0.9991883770485713</c:v>
                </c:pt>
                <c:pt idx="1219">
                  <c:v>0.9991938118873319</c:v>
                </c:pt>
                <c:pt idx="1220">
                  <c:v>0.9992046581235149</c:v>
                </c:pt>
                <c:pt idx="1221">
                  <c:v>0.9992100546037219</c:v>
                </c:pt>
                <c:pt idx="1222">
                  <c:v>0.9992154404287752</c:v>
                </c:pt>
                <c:pt idx="1223">
                  <c:v>0.9992208056538645</c:v>
                </c:pt>
                <c:pt idx="1224">
                  <c:v>0.9992261261273081</c:v>
                </c:pt>
                <c:pt idx="1225">
                  <c:v>0.9992314302628492</c:v>
                </c:pt>
                <c:pt idx="1226">
                  <c:v>0.9992367052743034</c:v>
                </c:pt>
                <c:pt idx="1227">
                  <c:v>0.9992472013110993</c:v>
                </c:pt>
                <c:pt idx="1228">
                  <c:v>0.9992524344122821</c:v>
                </c:pt>
                <c:pt idx="1229">
                  <c:v>0.9992576270238805</c:v>
                </c:pt>
                <c:pt idx="1230">
                  <c:v>0.9992628096906688</c:v>
                </c:pt>
                <c:pt idx="1231">
                  <c:v>0.9992679923574571</c:v>
                </c:pt>
                <c:pt idx="1232">
                  <c:v>0.9992731728932146</c:v>
                </c:pt>
                <c:pt idx="1233">
                  <c:v>0.9992783186221366</c:v>
                </c:pt>
                <c:pt idx="1234">
                  <c:v>0.9992834117856333</c:v>
                </c:pt>
                <c:pt idx="1235">
                  <c:v>0.9992884843491661</c:v>
                </c:pt>
                <c:pt idx="1236">
                  <c:v>0.9992935341817042</c:v>
                </c:pt>
                <c:pt idx="1237">
                  <c:v>0.9992985449453452</c:v>
                </c:pt>
                <c:pt idx="1238">
                  <c:v>0.9993035443434889</c:v>
                </c:pt>
                <c:pt idx="1239">
                  <c:v>0.9993084847831151</c:v>
                </c:pt>
                <c:pt idx="1240">
                  <c:v>0.9993134166986183</c:v>
                </c:pt>
                <c:pt idx="1241">
                  <c:v>0.9993183251727832</c:v>
                </c:pt>
                <c:pt idx="1242">
                  <c:v>0.9993232158883585</c:v>
                </c:pt>
                <c:pt idx="1243">
                  <c:v>0.9993280881350006</c:v>
                </c:pt>
                <c:pt idx="1244">
                  <c:v>0.9993329298368686</c:v>
                </c:pt>
                <c:pt idx="1245">
                  <c:v>0.9993377346008703</c:v>
                </c:pt>
                <c:pt idx="1246">
                  <c:v>0.999342510240785</c:v>
                </c:pt>
                <c:pt idx="1247">
                  <c:v>0.9993472453911154</c:v>
                </c:pt>
                <c:pt idx="1248">
                  <c:v>0.9993519301070514</c:v>
                </c:pt>
                <c:pt idx="1249">
                  <c:v>0.9993565636782493</c:v>
                </c:pt>
                <c:pt idx="1250">
                  <c:v>0.9993611368702426</c:v>
                </c:pt>
                <c:pt idx="1251">
                  <c:v>0.9993655949865753</c:v>
                </c:pt>
                <c:pt idx="1252">
                  <c:v>0.9993700246891646</c:v>
                </c:pt>
                <c:pt idx="1253">
                  <c:v>0.9993744479986617</c:v>
                </c:pt>
                <c:pt idx="1254">
                  <c:v>0.9993788684667845</c:v>
                </c:pt>
                <c:pt idx="1255">
                  <c:v>0.9993832598108203</c:v>
                </c:pt>
                <c:pt idx="1256">
                  <c:v>0.9993876390790152</c:v>
                </c:pt>
                <c:pt idx="1257">
                  <c:v>0.9993920155058357</c:v>
                </c:pt>
                <c:pt idx="1258">
                  <c:v>0.9993963706223487</c:v>
                </c:pt>
                <c:pt idx="1259">
                  <c:v>0.9994007150837079</c:v>
                </c:pt>
                <c:pt idx="1260">
                  <c:v>0.9994050048486112</c:v>
                </c:pt>
                <c:pt idx="1261">
                  <c:v>0.9994092754342377</c:v>
                </c:pt>
                <c:pt idx="1262">
                  <c:v>0.9994135460198643</c:v>
                </c:pt>
                <c:pt idx="1263">
                  <c:v>0.999417809502055</c:v>
                </c:pt>
                <c:pt idx="1264">
                  <c:v>0.9994220587773741</c:v>
                </c:pt>
                <c:pt idx="1265">
                  <c:v>0.9994262640113909</c:v>
                </c:pt>
                <c:pt idx="1266">
                  <c:v>0.999430467114377</c:v>
                </c:pt>
                <c:pt idx="1267">
                  <c:v>0.9994346510380863</c:v>
                </c:pt>
                <c:pt idx="1268">
                  <c:v>0.9994388299893905</c:v>
                </c:pt>
                <c:pt idx="1269">
                  <c:v>0.9994429840786693</c:v>
                </c:pt>
                <c:pt idx="1270">
                  <c:v>0.9994471268024507</c:v>
                </c:pt>
                <c:pt idx="1271">
                  <c:v>0.9994512617124528</c:v>
                </c:pt>
                <c:pt idx="1272">
                  <c:v>0.9994553639466499</c:v>
                </c:pt>
                <c:pt idx="1273">
                  <c:v>0.9994593816499606</c:v>
                </c:pt>
                <c:pt idx="1274">
                  <c:v>0.9994633936705226</c:v>
                </c:pt>
                <c:pt idx="1275">
                  <c:v>0.9994674028497103</c:v>
                </c:pt>
                <c:pt idx="1276">
                  <c:v>0.9994713807737802</c:v>
                </c:pt>
                <c:pt idx="1277">
                  <c:v>0.9994752997393327</c:v>
                </c:pt>
                <c:pt idx="1278">
                  <c:v>0.999479208760075</c:v>
                </c:pt>
                <c:pt idx="1279">
                  <c:v>0.9994831170704738</c:v>
                </c:pt>
                <c:pt idx="1280">
                  <c:v>0.9994870182774367</c:v>
                </c:pt>
                <c:pt idx="1281">
                  <c:v>0.9994909123809638</c:v>
                </c:pt>
                <c:pt idx="1282">
                  <c:v>0.9994985940364803</c:v>
                </c:pt>
                <c:pt idx="1283">
                  <c:v>0.9995023908229363</c:v>
                </c:pt>
                <c:pt idx="1284">
                  <c:v>0.9995061840576744</c:v>
                </c:pt>
                <c:pt idx="1285">
                  <c:v>0.999513633430839</c:v>
                </c:pt>
                <c:pt idx="1286">
                  <c:v>0.9995173392933163</c:v>
                </c:pt>
                <c:pt idx="1287">
                  <c:v>0.999521035921327</c:v>
                </c:pt>
                <c:pt idx="1288">
                  <c:v>0.9995283453568056</c:v>
                </c:pt>
                <c:pt idx="1289">
                  <c:v>0.9995319574539299</c:v>
                </c:pt>
                <c:pt idx="1290">
                  <c:v>0.9995355169856289</c:v>
                </c:pt>
                <c:pt idx="1291">
                  <c:v>0.9995390701242357</c:v>
                </c:pt>
                <c:pt idx="1292">
                  <c:v>0.9995426232628425</c:v>
                </c:pt>
                <c:pt idx="1293">
                  <c:v>0.9995461721393878</c:v>
                </c:pt>
                <c:pt idx="1294">
                  <c:v>0.9995497082297485</c:v>
                </c:pt>
                <c:pt idx="1295">
                  <c:v>0.9995532251408326</c:v>
                </c:pt>
                <c:pt idx="1296">
                  <c:v>0.9995567363691679</c:v>
                </c:pt>
                <c:pt idx="1297">
                  <c:v>0.9995602447561288</c:v>
                </c:pt>
                <c:pt idx="1298">
                  <c:v>0.9995637382258745</c:v>
                </c:pt>
                <c:pt idx="1299">
                  <c:v>0.9995672096749691</c:v>
                </c:pt>
                <c:pt idx="1300">
                  <c:v>0.9995706477379154</c:v>
                </c:pt>
                <c:pt idx="1301">
                  <c:v>0.9995740829594872</c:v>
                </c:pt>
                <c:pt idx="1302">
                  <c:v>0.9995775139189976</c:v>
                </c:pt>
                <c:pt idx="1303">
                  <c:v>0.9995808461407498</c:v>
                </c:pt>
                <c:pt idx="1304">
                  <c:v>0.9995841698383789</c:v>
                </c:pt>
                <c:pt idx="1305">
                  <c:v>0.9995907980543605</c:v>
                </c:pt>
                <c:pt idx="1306">
                  <c:v>0.9995973587877016</c:v>
                </c:pt>
                <c:pt idx="1307">
                  <c:v>0.9996006057682237</c:v>
                </c:pt>
                <c:pt idx="1308">
                  <c:v>0.9996038527487459</c:v>
                </c:pt>
                <c:pt idx="1309">
                  <c:v>0.999607053556935</c:v>
                </c:pt>
                <c:pt idx="1310">
                  <c:v>0.999610198247981</c:v>
                </c:pt>
                <c:pt idx="1311">
                  <c:v>0.9996133138149401</c:v>
                </c:pt>
                <c:pt idx="1312">
                  <c:v>0.999616398837125</c:v>
                </c:pt>
                <c:pt idx="1313">
                  <c:v>0.9996194767558741</c:v>
                </c:pt>
                <c:pt idx="1314">
                  <c:v>0.9996255644003884</c:v>
                </c:pt>
                <c:pt idx="1315">
                  <c:v>0.9996284746780517</c:v>
                </c:pt>
                <c:pt idx="1316">
                  <c:v>0.99963137998331</c:v>
                </c:pt>
                <c:pt idx="1317">
                  <c:v>0.9996342817368503</c:v>
                </c:pt>
                <c:pt idx="1318">
                  <c:v>0.9996371650214575</c:v>
                </c:pt>
                <c:pt idx="1319">
                  <c:v>0.9996400241543828</c:v>
                </c:pt>
                <c:pt idx="1320">
                  <c:v>0.9996428754735287</c:v>
                </c:pt>
                <c:pt idx="1321">
                  <c:v>0.9996457267926746</c:v>
                </c:pt>
                <c:pt idx="1322">
                  <c:v>0.9996485475670464</c:v>
                </c:pt>
                <c:pt idx="1323">
                  <c:v>0.9996513569759208</c:v>
                </c:pt>
                <c:pt idx="1324">
                  <c:v>0.9996541344193339</c:v>
                </c:pt>
                <c:pt idx="1325">
                  <c:v>0.9996569047593112</c:v>
                </c:pt>
                <c:pt idx="1326">
                  <c:v>0.9996596729682578</c:v>
                </c:pt>
                <c:pt idx="1327">
                  <c:v>0.9996624120531173</c:v>
                </c:pt>
                <c:pt idx="1328">
                  <c:v>0.999665139062136</c:v>
                </c:pt>
                <c:pt idx="1329">
                  <c:v>0.9996705263078765</c:v>
                </c:pt>
                <c:pt idx="1330">
                  <c:v>0.999673205723875</c:v>
                </c:pt>
                <c:pt idx="1331">
                  <c:v>0.9996785439559082</c:v>
                </c:pt>
                <c:pt idx="1332">
                  <c:v>0.999681209165035</c:v>
                </c:pt>
                <c:pt idx="1333">
                  <c:v>0.9996838125742701</c:v>
                </c:pt>
                <c:pt idx="1334">
                  <c:v>0.9996864074593822</c:v>
                </c:pt>
                <c:pt idx="1335">
                  <c:v>0.9996889767721252</c:v>
                </c:pt>
                <c:pt idx="1336">
                  <c:v>0.9996915332986838</c:v>
                </c:pt>
                <c:pt idx="1337">
                  <c:v>0.9996940791700886</c:v>
                </c:pt>
                <c:pt idx="1338">
                  <c:v>0.999696613675996</c:v>
                </c:pt>
                <c:pt idx="1339">
                  <c:v>0.9996991332646882</c:v>
                </c:pt>
                <c:pt idx="1340">
                  <c:v>0.9997016421982265</c:v>
                </c:pt>
                <c:pt idx="1341">
                  <c:v>0.9997066245481242</c:v>
                </c:pt>
                <c:pt idx="1342">
                  <c:v>0.9997091064886064</c:v>
                </c:pt>
                <c:pt idx="1343">
                  <c:v>0.9997115855877143</c:v>
                </c:pt>
                <c:pt idx="1344">
                  <c:v>0.9997140632661351</c:v>
                </c:pt>
                <c:pt idx="1345">
                  <c:v>0.9997165402342122</c:v>
                </c:pt>
                <c:pt idx="1346">
                  <c:v>0.9997189994436997</c:v>
                </c:pt>
                <c:pt idx="1347">
                  <c:v>0.9997214543911257</c:v>
                </c:pt>
                <c:pt idx="1348">
                  <c:v>0.9997238752420597</c:v>
                </c:pt>
                <c:pt idx="1349">
                  <c:v>0.9997286423578515</c:v>
                </c:pt>
                <c:pt idx="1350">
                  <c:v>0.9997356570007427</c:v>
                </c:pt>
                <c:pt idx="1351">
                  <c:v>0.9997379755622007</c:v>
                </c:pt>
                <c:pt idx="1352">
                  <c:v>0.999740293413315</c:v>
                </c:pt>
                <c:pt idx="1353">
                  <c:v>0.9997426084230551</c:v>
                </c:pt>
                <c:pt idx="1354">
                  <c:v>0.9997448999914568</c:v>
                </c:pt>
                <c:pt idx="1355">
                  <c:v>0.999747187297797</c:v>
                </c:pt>
                <c:pt idx="1356">
                  <c:v>0.9997494667903578</c:v>
                </c:pt>
                <c:pt idx="1357">
                  <c:v>0.9997517398898264</c:v>
                </c:pt>
                <c:pt idx="1358">
                  <c:v>0.9997540037548283</c:v>
                </c:pt>
                <c:pt idx="1359">
                  <c:v>0.9997562519922714</c:v>
                </c:pt>
                <c:pt idx="1360">
                  <c:v>0.9997584860228428</c:v>
                </c:pt>
                <c:pt idx="1361">
                  <c:v>0.9997629079116527</c:v>
                </c:pt>
                <c:pt idx="1362">
                  <c:v>0.9997650886664553</c:v>
                </c:pt>
                <c:pt idx="1363">
                  <c:v>0.999767260897135</c:v>
                </c:pt>
                <c:pt idx="1364">
                  <c:v>0.9997694331278146</c:v>
                </c:pt>
                <c:pt idx="1365">
                  <c:v>0.9997716032274635</c:v>
                </c:pt>
                <c:pt idx="1366">
                  <c:v>0.9997737648029894</c:v>
                </c:pt>
                <c:pt idx="1367">
                  <c:v>0.9997759242474845</c:v>
                </c:pt>
                <c:pt idx="1368">
                  <c:v>0.9997780744575131</c:v>
                </c:pt>
                <c:pt idx="1369">
                  <c:v>0.999780218984793</c:v>
                </c:pt>
                <c:pt idx="1370">
                  <c:v>0.999782318760427</c:v>
                </c:pt>
                <c:pt idx="1371">
                  <c:v>0.9997843695223538</c:v>
                </c:pt>
                <c:pt idx="1372">
                  <c:v>0.9997863911601936</c:v>
                </c:pt>
                <c:pt idx="1373">
                  <c:v>0.9997884106670027</c:v>
                </c:pt>
                <c:pt idx="1374">
                  <c:v>0.9997904117048787</c:v>
                </c:pt>
                <c:pt idx="1375">
                  <c:v>0.9997924106117239</c:v>
                </c:pt>
                <c:pt idx="1376">
                  <c:v>0.9997963778806401</c:v>
                </c:pt>
                <c:pt idx="1377">
                  <c:v>0.9998002371773316</c:v>
                </c:pt>
                <c:pt idx="1378">
                  <c:v>0.9998021600774133</c:v>
                </c:pt>
                <c:pt idx="1379">
                  <c:v>0.9998040602465003</c:v>
                </c:pt>
                <c:pt idx="1380">
                  <c:v>0.9998059462087155</c:v>
                </c:pt>
                <c:pt idx="1381">
                  <c:v>0.999807799495126</c:v>
                </c:pt>
                <c:pt idx="1382">
                  <c:v>0.9998096399953519</c:v>
                </c:pt>
                <c:pt idx="1383">
                  <c:v>0.9998114620266446</c:v>
                </c:pt>
                <c:pt idx="1384">
                  <c:v>0.9998132805062194</c:v>
                </c:pt>
                <c:pt idx="1385">
                  <c:v>0.999815092592702</c:v>
                </c:pt>
                <c:pt idx="1386">
                  <c:v>0.9998169011274666</c:v>
                </c:pt>
                <c:pt idx="1387">
                  <c:v>0.9998186926139853</c:v>
                </c:pt>
                <c:pt idx="1388">
                  <c:v>0.9998204649212271</c:v>
                </c:pt>
                <c:pt idx="1389">
                  <c:v>0.9998222272836588</c:v>
                </c:pt>
                <c:pt idx="1390">
                  <c:v>0.9998239669150958</c:v>
                </c:pt>
                <c:pt idx="1391">
                  <c:v>0.9998257058361892</c:v>
                </c:pt>
                <c:pt idx="1392">
                  <c:v>0.9998273992952933</c:v>
                </c:pt>
                <c:pt idx="1393">
                  <c:v>0.9998290906233667</c:v>
                </c:pt>
                <c:pt idx="1394">
                  <c:v>0.9998324434450828</c:v>
                </c:pt>
                <c:pt idx="1395">
                  <c:v>0.999835741570343</c:v>
                </c:pt>
                <c:pt idx="1396">
                  <c:v>0.9998373725192118</c:v>
                </c:pt>
                <c:pt idx="1397">
                  <c:v>0.9998389992060189</c:v>
                </c:pt>
                <c:pt idx="1398">
                  <c:v>0.9998406187893902</c:v>
                </c:pt>
                <c:pt idx="1399">
                  <c:v>0.9998438288320459</c:v>
                </c:pt>
                <c:pt idx="1400">
                  <c:v>0.9998454136085817</c:v>
                </c:pt>
                <c:pt idx="1401">
                  <c:v>0.9998469962540867</c:v>
                </c:pt>
                <c:pt idx="1402">
                  <c:v>0.9998485710858123</c:v>
                </c:pt>
                <c:pt idx="1403">
                  <c:v>0.9998501452071943</c:v>
                </c:pt>
                <c:pt idx="1404">
                  <c:v>0.9998516965975816</c:v>
                </c:pt>
                <c:pt idx="1405">
                  <c:v>0.9998532437259073</c:v>
                </c:pt>
                <c:pt idx="1406">
                  <c:v>0.9998547887232023</c:v>
                </c:pt>
                <c:pt idx="1407">
                  <c:v>0.9998562648171697</c:v>
                </c:pt>
                <c:pt idx="1408">
                  <c:v>0.9998577153387681</c:v>
                </c:pt>
                <c:pt idx="1409">
                  <c:v>0.9998591516534948</c:v>
                </c:pt>
                <c:pt idx="1410">
                  <c:v>0.9998605829958164</c:v>
                </c:pt>
                <c:pt idx="1411">
                  <c:v>0.9998620079450458</c:v>
                </c:pt>
                <c:pt idx="1412">
                  <c:v>0.9998634286322136</c:v>
                </c:pt>
                <c:pt idx="1413">
                  <c:v>0.9998648443469763</c:v>
                </c:pt>
                <c:pt idx="1414">
                  <c:v>0.9998662572203647</c:v>
                </c:pt>
                <c:pt idx="1415">
                  <c:v>0.9998676644110045</c:v>
                </c:pt>
                <c:pt idx="1416">
                  <c:v>0.9998690623671777</c:v>
                </c:pt>
                <c:pt idx="1417">
                  <c:v>0.9998704503785406</c:v>
                </c:pt>
                <c:pt idx="1418">
                  <c:v>0.9998718341278421</c:v>
                </c:pt>
                <c:pt idx="1419">
                  <c:v>0.9998732036702719</c:v>
                </c:pt>
                <c:pt idx="1420">
                  <c:v>0.9998745646885787</c:v>
                </c:pt>
                <c:pt idx="1421">
                  <c:v>0.9998759186034497</c:v>
                </c:pt>
                <c:pt idx="1422">
                  <c:v>0.9998772426838901</c:v>
                </c:pt>
                <c:pt idx="1423">
                  <c:v>0.9998785539781461</c:v>
                </c:pt>
                <c:pt idx="1424">
                  <c:v>0.9998798340172843</c:v>
                </c:pt>
                <c:pt idx="1425">
                  <c:v>0.9998811048219559</c:v>
                </c:pt>
                <c:pt idx="1426">
                  <c:v>0.999882374916284</c:v>
                </c:pt>
                <c:pt idx="1427">
                  <c:v>0.9998848909532582</c:v>
                </c:pt>
                <c:pt idx="1428">
                  <c:v>0.9998861397372787</c:v>
                </c:pt>
                <c:pt idx="1429">
                  <c:v>0.9998886209674173</c:v>
                </c:pt>
                <c:pt idx="1430">
                  <c:v>0.9998898384963201</c:v>
                </c:pt>
                <c:pt idx="1431">
                  <c:v>0.999891052473505</c:v>
                </c:pt>
                <c:pt idx="1432">
                  <c:v>0.9998922650300027</c:v>
                </c:pt>
                <c:pt idx="1433">
                  <c:v>0.9998934726140954</c:v>
                </c:pt>
                <c:pt idx="1434">
                  <c:v>0.9998946794878445</c:v>
                </c:pt>
                <c:pt idx="1435">
                  <c:v>0.9998958806788449</c:v>
                </c:pt>
                <c:pt idx="1436">
                  <c:v>0.9998970783181275</c:v>
                </c:pt>
                <c:pt idx="1437">
                  <c:v>0.9998982745367228</c:v>
                </c:pt>
                <c:pt idx="1438">
                  <c:v>0.9998994650725694</c:v>
                </c:pt>
                <c:pt idx="1439">
                  <c:v>0.9999006406912009</c:v>
                </c:pt>
                <c:pt idx="1440">
                  <c:v>0.9999029763009049</c:v>
                </c:pt>
                <c:pt idx="1441">
                  <c:v>0.9999041362919774</c:v>
                </c:pt>
                <c:pt idx="1442">
                  <c:v>0.9999052934416756</c:v>
                </c:pt>
                <c:pt idx="1443">
                  <c:v>0.9999064491706866</c:v>
                </c:pt>
                <c:pt idx="1444">
                  <c:v>0.9999076013479797</c:v>
                </c:pt>
                <c:pt idx="1445">
                  <c:v>0.9999087130356886</c:v>
                </c:pt>
                <c:pt idx="1446">
                  <c:v>0.9999098105165258</c:v>
                </c:pt>
                <c:pt idx="1447">
                  <c:v>0.9999109051559887</c:v>
                </c:pt>
                <c:pt idx="1448">
                  <c:v>0.9999119962437336</c:v>
                </c:pt>
                <c:pt idx="1449">
                  <c:v>0.9999130852004477</c:v>
                </c:pt>
                <c:pt idx="1450">
                  <c:v>0.9999141592399466</c:v>
                </c:pt>
                <c:pt idx="1451">
                  <c:v>0.9999152304380712</c:v>
                </c:pt>
                <c:pt idx="1452">
                  <c:v>0.9999162533328321</c:v>
                </c:pt>
                <c:pt idx="1453">
                  <c:v>0.9999172748069057</c:v>
                </c:pt>
                <c:pt idx="1454">
                  <c:v>0.999918279943077</c:v>
                </c:pt>
                <c:pt idx="1455">
                  <c:v>0.999919282237874</c:v>
                </c:pt>
                <c:pt idx="1456">
                  <c:v>0.9999202738775171</c:v>
                </c:pt>
                <c:pt idx="1457">
                  <c:v>0.9999212655171603</c:v>
                </c:pt>
                <c:pt idx="1458">
                  <c:v>0.9999222557361163</c:v>
                </c:pt>
                <c:pt idx="1459">
                  <c:v>0.9999251965585537</c:v>
                </c:pt>
                <c:pt idx="1460">
                  <c:v>0.9999261739913252</c:v>
                </c:pt>
                <c:pt idx="1461">
                  <c:v>0.9999271500034095</c:v>
                </c:pt>
                <c:pt idx="1462">
                  <c:v>0.9999281238844631</c:v>
                </c:pt>
                <c:pt idx="1463">
                  <c:v>0.9999290771655527</c:v>
                </c:pt>
                <c:pt idx="1464">
                  <c:v>0.99993002405355</c:v>
                </c:pt>
                <c:pt idx="1465">
                  <c:v>0.9999309446588348</c:v>
                </c:pt>
                <c:pt idx="1466">
                  <c:v>0.9999318261952225</c:v>
                </c:pt>
                <c:pt idx="1467">
                  <c:v>0.9999326956557691</c:v>
                </c:pt>
                <c:pt idx="1468">
                  <c:v>0.9999335629852851</c:v>
                </c:pt>
                <c:pt idx="1469">
                  <c:v>0.9999344061631192</c:v>
                </c:pt>
                <c:pt idx="1470">
                  <c:v>0.9999352173754921</c:v>
                </c:pt>
                <c:pt idx="1471">
                  <c:v>0.9999360257464905</c:v>
                </c:pt>
                <c:pt idx="1472">
                  <c:v>0.999936834117489</c:v>
                </c:pt>
                <c:pt idx="1473">
                  <c:v>0.9999376410678004</c:v>
                </c:pt>
                <c:pt idx="1474">
                  <c:v>0.9999384387836451</c:v>
                </c:pt>
                <c:pt idx="1475">
                  <c:v>0.9999392343684591</c:v>
                </c:pt>
                <c:pt idx="1476">
                  <c:v>0.9999400171670886</c:v>
                </c:pt>
                <c:pt idx="1477">
                  <c:v>0.9999407992553745</c:v>
                </c:pt>
                <c:pt idx="1478">
                  <c:v>0.9999438395259137</c:v>
                </c:pt>
                <c:pt idx="1479">
                  <c:v>0.9999452999923223</c:v>
                </c:pt>
                <c:pt idx="1480">
                  <c:v>0.9999460181496856</c:v>
                </c:pt>
                <c:pt idx="1481">
                  <c:v>0.9999474452299458</c:v>
                </c:pt>
                <c:pt idx="1482">
                  <c:v>0.9999481250287556</c:v>
                </c:pt>
                <c:pt idx="1483">
                  <c:v>0.9999487984344732</c:v>
                </c:pt>
                <c:pt idx="1484">
                  <c:v>0.99994946970916</c:v>
                </c:pt>
                <c:pt idx="1485">
                  <c:v>0.9999501402735033</c:v>
                </c:pt>
                <c:pt idx="1486">
                  <c:v>0.9999514778504718</c:v>
                </c:pt>
                <c:pt idx="1487">
                  <c:v>0.9999527351586154</c:v>
                </c:pt>
                <c:pt idx="1488">
                  <c:v>0.9999539569495798</c:v>
                </c:pt>
                <c:pt idx="1489">
                  <c:v>0.9999545600312826</c:v>
                </c:pt>
                <c:pt idx="1490">
                  <c:v>0.9999551631129854</c:v>
                </c:pt>
                <c:pt idx="1491">
                  <c:v>0.9999557583809087</c:v>
                </c:pt>
                <c:pt idx="1492">
                  <c:v>0.9999563387316167</c:v>
                </c:pt>
                <c:pt idx="1493">
                  <c:v>0.9999569176616376</c:v>
                </c:pt>
                <c:pt idx="1494">
                  <c:v>0.9999574880675355</c:v>
                </c:pt>
                <c:pt idx="1495">
                  <c:v>0.9999580570527462</c:v>
                </c:pt>
                <c:pt idx="1496">
                  <c:v>0.9999586125414288</c:v>
                </c:pt>
                <c:pt idx="1497">
                  <c:v>0.9999591658990807</c:v>
                </c:pt>
                <c:pt idx="1498">
                  <c:v>0.9999602662212923</c:v>
                </c:pt>
                <c:pt idx="1499">
                  <c:v>0.9999608124755084</c:v>
                </c:pt>
                <c:pt idx="1500">
                  <c:v>0.9999613544676629</c:v>
                </c:pt>
                <c:pt idx="1501">
                  <c:v>0.9999618964598174</c:v>
                </c:pt>
                <c:pt idx="1502">
                  <c:v>0.999962926458014</c:v>
                </c:pt>
                <c:pt idx="1503">
                  <c:v>0.999963433643333</c:v>
                </c:pt>
                <c:pt idx="1504">
                  <c:v>0.999963937276934</c:v>
                </c:pt>
                <c:pt idx="1505">
                  <c:v>0.9999644394898478</c:v>
                </c:pt>
                <c:pt idx="1506">
                  <c:v>0.9999649345993258</c:v>
                </c:pt>
                <c:pt idx="1507">
                  <c:v>0.9999659006666</c:v>
                </c:pt>
                <c:pt idx="1508">
                  <c:v>0.9999663744657704</c:v>
                </c:pt>
                <c:pt idx="1509">
                  <c:v>0.9999673142503319</c:v>
                </c:pt>
                <c:pt idx="1510">
                  <c:v>0.9999677667391949</c:v>
                </c:pt>
                <c:pt idx="1511">
                  <c:v>0.9999686653238286</c:v>
                </c:pt>
                <c:pt idx="1512">
                  <c:v>0.9999695255499087</c:v>
                </c:pt>
                <c:pt idx="1513">
                  <c:v>0.9999699489146847</c:v>
                </c:pt>
                <c:pt idx="1514">
                  <c:v>0.9999707807270215</c:v>
                </c:pt>
                <c:pt idx="1515">
                  <c:v>0.9999716082772967</c:v>
                </c:pt>
                <c:pt idx="1516">
                  <c:v>0.9999720188558882</c:v>
                </c:pt>
                <c:pt idx="1517">
                  <c:v>0.9999728208337945</c:v>
                </c:pt>
                <c:pt idx="1518">
                  <c:v>0.9999732129434528</c:v>
                </c:pt>
                <c:pt idx="1519">
                  <c:v>0.9999735929772702</c:v>
                </c:pt>
                <c:pt idx="1520">
                  <c:v>0.9999739701697132</c:v>
                </c:pt>
                <c:pt idx="1521">
                  <c:v>0.9999747153201327</c:v>
                </c:pt>
                <c:pt idx="1522">
                  <c:v>0.9999754348981833</c:v>
                </c:pt>
                <c:pt idx="1523">
                  <c:v>0.999975792201006</c:v>
                </c:pt>
                <c:pt idx="1524">
                  <c:v>0.9999761452417671</c:v>
                </c:pt>
                <c:pt idx="1525">
                  <c:v>0.999976847061228</c:v>
                </c:pt>
                <c:pt idx="1526">
                  <c:v>0.9999771908675227</c:v>
                </c:pt>
                <c:pt idx="1527">
                  <c:v>0.9999775204669457</c:v>
                </c:pt>
                <c:pt idx="1528">
                  <c:v>0.999977849356025</c:v>
                </c:pt>
                <c:pt idx="1529">
                  <c:v>0.9999781725623557</c:v>
                </c:pt>
                <c:pt idx="1530">
                  <c:v>0.9999784936376556</c:v>
                </c:pt>
                <c:pt idx="1531">
                  <c:v>0.9999788147129555</c:v>
                </c:pt>
                <c:pt idx="1532">
                  <c:v>0.999979127974476</c:v>
                </c:pt>
                <c:pt idx="1533">
                  <c:v>0.9999794398153093</c:v>
                </c:pt>
                <c:pt idx="1534">
                  <c:v>0.9999800571038837</c:v>
                </c:pt>
                <c:pt idx="1535">
                  <c:v>0.9999803582895633</c:v>
                </c:pt>
                <c:pt idx="1536">
                  <c:v>0.9999809528471431</c:v>
                </c:pt>
                <c:pt idx="1537">
                  <c:v>0.9999823550653777</c:v>
                </c:pt>
                <c:pt idx="1538">
                  <c:v>0.9999826207338781</c:v>
                </c:pt>
                <c:pt idx="1539">
                  <c:v>0.9999828750368811</c:v>
                </c:pt>
                <c:pt idx="1540">
                  <c:v>0.9999833772497949</c:v>
                </c:pt>
                <c:pt idx="1541">
                  <c:v>0.999983865255837</c:v>
                </c:pt>
                <c:pt idx="1542">
                  <c:v>0.9999841053519685</c:v>
                </c:pt>
                <c:pt idx="1543">
                  <c:v>0.9999843454480999</c:v>
                </c:pt>
                <c:pt idx="1544">
                  <c:v>0.9999857327491194</c:v>
                </c:pt>
                <c:pt idx="1545">
                  <c:v>0.9999861646380185</c:v>
                </c:pt>
                <c:pt idx="1546">
                  <c:v>0.9999863748997193</c:v>
                </c:pt>
                <c:pt idx="1547">
                  <c:v>0.9999871854017486</c:v>
                </c:pt>
                <c:pt idx="1548">
                  <c:v>0.999987379325547</c:v>
                </c:pt>
                <c:pt idx="1549">
                  <c:v>0.9999877614903953</c:v>
                </c:pt>
                <c:pt idx="1550">
                  <c:v>0.9999879476004142</c:v>
                </c:pt>
                <c:pt idx="1551">
                  <c:v>0.9999881301587152</c:v>
                </c:pt>
                <c:pt idx="1552">
                  <c:v>0.9999886749922441</c:v>
                </c:pt>
                <c:pt idx="1553">
                  <c:v>0.9999888419229863</c:v>
                </c:pt>
                <c:pt idx="1554">
                  <c:v>0.9999891686810349</c:v>
                </c:pt>
                <c:pt idx="1555">
                  <c:v>0.9999893292186849</c:v>
                </c:pt>
                <c:pt idx="1556">
                  <c:v>0.9999898058592297</c:v>
                </c:pt>
                <c:pt idx="1557">
                  <c:v>0.9999899635555053</c:v>
                </c:pt>
                <c:pt idx="1558">
                  <c:v>0.999990887712508</c:v>
                </c:pt>
                <c:pt idx="1559">
                  <c:v>0.9999910361743171</c:v>
                </c:pt>
                <c:pt idx="1560">
                  <c:v>0.9999914744563083</c:v>
                </c:pt>
                <c:pt idx="1561">
                  <c:v>0.9999920484139242</c:v>
                </c:pt>
                <c:pt idx="1562">
                  <c:v>0.9999921869309231</c:v>
                </c:pt>
                <c:pt idx="1563">
                  <c:v>0.999992316923799</c:v>
                </c:pt>
                <c:pt idx="1564">
                  <c:v>0.9999924462063312</c:v>
                </c:pt>
                <c:pt idx="1565">
                  <c:v>0.9999926997989907</c:v>
                </c:pt>
                <c:pt idx="1566">
                  <c:v>0.9999933149565344</c:v>
                </c:pt>
                <c:pt idx="1567">
                  <c:v>0.9999939912036263</c:v>
                </c:pt>
                <c:pt idx="1568">
                  <c:v>0.9999943925477514</c:v>
                </c:pt>
                <c:pt idx="1569">
                  <c:v>0.9999944863131044</c:v>
                </c:pt>
                <c:pt idx="1570">
                  <c:v>0.9999945793681139</c:v>
                </c:pt>
                <c:pt idx="1571">
                  <c:v>0.9999946717127798</c:v>
                </c:pt>
                <c:pt idx="1572">
                  <c:v>0.9999950304362897</c:v>
                </c:pt>
                <c:pt idx="1573">
                  <c:v>0.9999951163878633</c:v>
                </c:pt>
                <c:pt idx="1574">
                  <c:v>0.9999952868703235</c:v>
                </c:pt>
                <c:pt idx="1575">
                  <c:v>0.99999537140121</c:v>
                </c:pt>
                <c:pt idx="1576">
                  <c:v>0.9999956186007771</c:v>
                </c:pt>
                <c:pt idx="1577">
                  <c:v>0.9999957002902893</c:v>
                </c:pt>
                <c:pt idx="1578">
                  <c:v>0.9999960100000919</c:v>
                </c:pt>
                <c:pt idx="1579">
                  <c:v>0.9999964511234574</c:v>
                </c:pt>
                <c:pt idx="1580">
                  <c:v>0.9999965221578158</c:v>
                </c:pt>
                <c:pt idx="1581">
                  <c:v>0.9999968673847975</c:v>
                </c:pt>
                <c:pt idx="1582">
                  <c:v>0.9999970634396268</c:v>
                </c:pt>
                <c:pt idx="1583">
                  <c:v>0.9999973085081633</c:v>
                </c:pt>
                <c:pt idx="1584">
                  <c:v>0.9999976963557601</c:v>
                </c:pt>
                <c:pt idx="1585">
                  <c:v>0.9999981516859971</c:v>
                </c:pt>
                <c:pt idx="1586">
                  <c:v>0.9999986425334138</c:v>
                </c:pt>
                <c:pt idx="1587">
                  <c:v>0.9999986844436852</c:v>
                </c:pt>
                <c:pt idx="1588">
                  <c:v>0.9999988471123661</c:v>
                </c:pt>
                <c:pt idx="1589">
                  <c:v>0.9999989920224571</c:v>
                </c:pt>
                <c:pt idx="1590">
                  <c:v>0.9999990268292928</c:v>
                </c:pt>
                <c:pt idx="1591">
                  <c:v>0.9999990921809025</c:v>
                </c:pt>
                <c:pt idx="1592">
                  <c:v>0.9999994416699459</c:v>
                </c:pt>
                <c:pt idx="1593">
                  <c:v>0.9999995212284273</c:v>
                </c:pt>
                <c:pt idx="1594">
                  <c:v>0.9999995723731653</c:v>
                </c:pt>
                <c:pt idx="1595">
                  <c:v>0.9999995972351907</c:v>
                </c:pt>
                <c:pt idx="1596">
                  <c:v>0.9999997087591332</c:v>
                </c:pt>
                <c:pt idx="1597">
                  <c:v>0.9999997698486816</c:v>
                </c:pt>
                <c:pt idx="1598">
                  <c:v>0.9999998678760961</c:v>
                </c:pt>
                <c:pt idx="1599">
                  <c:v>0.9999999339380493</c:v>
                </c:pt>
                <c:pt idx="1600">
                  <c:v>0.9999999694552286</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3171</c:f>
              <c:strCache>
                <c:ptCount val="3170"/>
                <c:pt idx="0">
                  <c:v>Caprice Des</c:v>
                </c:pt>
                <c:pt idx="1">
                  <c:v>La Vache Qu</c:v>
                </c:pt>
                <c:pt idx="2">
                  <c:v>Private Lab</c:v>
                </c:pt>
                <c:pt idx="3">
                  <c:v>Private Lab</c:v>
                </c:pt>
                <c:pt idx="4">
                  <c:v>Private Lab</c:v>
                </c:pt>
                <c:pt idx="5">
                  <c:v>Private Lab</c:v>
                </c:pt>
                <c:pt idx="6">
                  <c:v>Private Lab</c:v>
                </c:pt>
                <c:pt idx="7">
                  <c:v>Mini Babybe</c:v>
                </c:pt>
                <c:pt idx="8">
                  <c:v>Kiri</c:v>
                </c:pt>
                <c:pt idx="9">
                  <c:v>Coeur De Li</c:v>
                </c:pt>
                <c:pt idx="10">
                  <c:v>Caprice Des</c:v>
                </c:pt>
                <c:pt idx="11">
                  <c:v>President</c:v>
                </c:pt>
                <c:pt idx="12">
                  <c:v>Private Lab</c:v>
                </c:pt>
                <c:pt idx="13">
                  <c:v>Private Lab</c:v>
                </c:pt>
                <c:pt idx="14">
                  <c:v>Soignon</c:v>
                </c:pt>
                <c:pt idx="15">
                  <c:v>Private Lab</c:v>
                </c:pt>
                <c:pt idx="16">
                  <c:v>Soignon</c:v>
                </c:pt>
                <c:pt idx="17">
                  <c:v>Private Lab</c:v>
                </c:pt>
                <c:pt idx="18">
                  <c:v>La Vache Qu</c:v>
                </c:pt>
                <c:pt idx="19">
                  <c:v>Private Lab</c:v>
                </c:pt>
                <c:pt idx="20">
                  <c:v>Tartare</c:v>
                </c:pt>
                <c:pt idx="21">
                  <c:v>Coeur De Li</c:v>
                </c:pt>
                <c:pt idx="22">
                  <c:v>Private Lab</c:v>
                </c:pt>
                <c:pt idx="23">
                  <c:v>President</c:v>
                </c:pt>
                <c:pt idx="24">
                  <c:v>President</c:v>
                </c:pt>
                <c:pt idx="25">
                  <c:v>Private Lab</c:v>
                </c:pt>
                <c:pt idx="26">
                  <c:v>Le Rustique</c:v>
                </c:pt>
                <c:pt idx="27">
                  <c:v>Galbani</c:v>
                </c:pt>
                <c:pt idx="28">
                  <c:v>Ficello</c:v>
                </c:pt>
                <c:pt idx="29">
                  <c:v>Soignon</c:v>
                </c:pt>
                <c:pt idx="30">
                  <c:v>St Moret</c:v>
                </c:pt>
                <c:pt idx="31">
                  <c:v>Private Lab</c:v>
                </c:pt>
                <c:pt idx="32">
                  <c:v>St Moret</c:v>
                </c:pt>
                <c:pt idx="33">
                  <c:v>President</c:v>
                </c:pt>
                <c:pt idx="34">
                  <c:v>Mini Babybe</c:v>
                </c:pt>
                <c:pt idx="35">
                  <c:v>Private Lab</c:v>
                </c:pt>
                <c:pt idx="36">
                  <c:v>Kiri</c:v>
                </c:pt>
                <c:pt idx="37">
                  <c:v>St Moret</c:v>
                </c:pt>
                <c:pt idx="38">
                  <c:v>Private Lab</c:v>
                </c:pt>
                <c:pt idx="39">
                  <c:v>Private Lab</c:v>
                </c:pt>
                <c:pt idx="40">
                  <c:v>Richesmonts</c:v>
                </c:pt>
                <c:pt idx="41">
                  <c:v>Private Lab</c:v>
                </c:pt>
                <c:pt idx="42">
                  <c:v>Private Lab</c:v>
                </c:pt>
                <c:pt idx="43">
                  <c:v>La Vache Qu</c:v>
                </c:pt>
                <c:pt idx="44">
                  <c:v>Private Lab</c:v>
                </c:pt>
                <c:pt idx="45">
                  <c:v>All Others</c:v>
                </c:pt>
                <c:pt idx="46">
                  <c:v>St Moret</c:v>
                </c:pt>
                <c:pt idx="47">
                  <c:v>Salakis</c:v>
                </c:pt>
                <c:pt idx="48">
                  <c:v>Carre Frais</c:v>
                </c:pt>
                <c:pt idx="49">
                  <c:v>Coeur De Li</c:v>
                </c:pt>
                <c:pt idx="50">
                  <c:v>St Moret</c:v>
                </c:pt>
                <c:pt idx="51">
                  <c:v>Paysan Bret</c:v>
                </c:pt>
                <c:pt idx="52">
                  <c:v>President</c:v>
                </c:pt>
                <c:pt idx="53">
                  <c:v>Galbani</c:v>
                </c:pt>
                <c:pt idx="54">
                  <c:v>Philadelphi</c:v>
                </c:pt>
                <c:pt idx="55">
                  <c:v>Kiri</c:v>
                </c:pt>
                <c:pt idx="56">
                  <c:v>Societe</c:v>
                </c:pt>
                <c:pt idx="57">
                  <c:v>Private Lab</c:v>
                </c:pt>
                <c:pt idx="58">
                  <c:v>Private Lab</c:v>
                </c:pt>
                <c:pt idx="59">
                  <c:v>Apericube</c:v>
                </c:pt>
                <c:pt idx="60">
                  <c:v>Boursin</c:v>
                </c:pt>
                <c:pt idx="61">
                  <c:v>Entremont</c:v>
                </c:pt>
                <c:pt idx="62">
                  <c:v>Carre Frais</c:v>
                </c:pt>
                <c:pt idx="63">
                  <c:v>Private Lab</c:v>
                </c:pt>
                <c:pt idx="64">
                  <c:v>Private Lab</c:v>
                </c:pt>
                <c:pt idx="65">
                  <c:v>Chaussee Au</c:v>
                </c:pt>
                <c:pt idx="66">
                  <c:v>Apericube</c:v>
                </c:pt>
                <c:pt idx="67">
                  <c:v>Paysan Bret</c:v>
                </c:pt>
                <c:pt idx="68">
                  <c:v>Islos</c:v>
                </c:pt>
                <c:pt idx="69">
                  <c:v>St Moret</c:v>
                </c:pt>
                <c:pt idx="70">
                  <c:v>Apericube</c:v>
                </c:pt>
                <c:pt idx="71">
                  <c:v>President</c:v>
                </c:pt>
                <c:pt idx="72">
                  <c:v>President</c:v>
                </c:pt>
                <c:pt idx="73">
                  <c:v>Private Lab</c:v>
                </c:pt>
                <c:pt idx="74">
                  <c:v>Paysan Bret</c:v>
                </c:pt>
                <c:pt idx="75">
                  <c:v>Galbani</c:v>
                </c:pt>
                <c:pt idx="76">
                  <c:v>Salakis</c:v>
                </c:pt>
                <c:pt idx="77">
                  <c:v>Tartare</c:v>
                </c:pt>
                <c:pt idx="78">
                  <c:v>President</c:v>
                </c:pt>
                <c:pt idx="79">
                  <c:v>President</c:v>
                </c:pt>
                <c:pt idx="80">
                  <c:v>Private Lab</c:v>
                </c:pt>
                <c:pt idx="81">
                  <c:v>Kiri</c:v>
                </c:pt>
                <c:pt idx="82">
                  <c:v>Lepetit</c:v>
                </c:pt>
                <c:pt idx="83">
                  <c:v>Istara</c:v>
                </c:pt>
                <c:pt idx="84">
                  <c:v>Coeur De Li</c:v>
                </c:pt>
                <c:pt idx="85">
                  <c:v>Casa Azzurr</c:v>
                </c:pt>
                <c:pt idx="86">
                  <c:v>Boursin</c:v>
                </c:pt>
                <c:pt idx="87">
                  <c:v>Richesmonts</c:v>
                </c:pt>
                <c:pt idx="88">
                  <c:v>Richesmonts</c:v>
                </c:pt>
                <c:pt idx="89">
                  <c:v>Private Lab</c:v>
                </c:pt>
                <c:pt idx="90">
                  <c:v>Entremont</c:v>
                </c:pt>
                <c:pt idx="91">
                  <c:v>Private Lab</c:v>
                </c:pt>
                <c:pt idx="92">
                  <c:v>All Others</c:v>
                </c:pt>
                <c:pt idx="93">
                  <c:v>Kiri</c:v>
                </c:pt>
                <c:pt idx="94">
                  <c:v>Private Lab</c:v>
                </c:pt>
                <c:pt idx="95">
                  <c:v>Private Lab</c:v>
                </c:pt>
                <c:pt idx="96">
                  <c:v>Private Lab</c:v>
                </c:pt>
                <c:pt idx="97">
                  <c:v>Private Lab</c:v>
                </c:pt>
                <c:pt idx="98">
                  <c:v>All Others</c:v>
                </c:pt>
                <c:pt idx="99">
                  <c:v>Private Lab</c:v>
                </c:pt>
                <c:pt idx="100">
                  <c:v>Petit Billy</c:v>
                </c:pt>
                <c:pt idx="101">
                  <c:v>Lou Perac</c:v>
                </c:pt>
                <c:pt idx="102">
                  <c:v>Mini Babybe</c:v>
                </c:pt>
                <c:pt idx="103">
                  <c:v>Private Lab</c:v>
                </c:pt>
                <c:pt idx="104">
                  <c:v>Carre Frais</c:v>
                </c:pt>
                <c:pt idx="105">
                  <c:v>Mini Babybe</c:v>
                </c:pt>
                <c:pt idx="106">
                  <c:v>Apericube</c:v>
                </c:pt>
                <c:pt idx="107">
                  <c:v>Boursin</c:v>
                </c:pt>
                <c:pt idx="108">
                  <c:v>Chaussee Au</c:v>
                </c:pt>
                <c:pt idx="109">
                  <c:v>All Others</c:v>
                </c:pt>
                <c:pt idx="110">
                  <c:v>Private Lab</c:v>
                </c:pt>
                <c:pt idx="111">
                  <c:v>Leerdammer</c:v>
                </c:pt>
                <c:pt idx="112">
                  <c:v>Richesmonts</c:v>
                </c:pt>
                <c:pt idx="113">
                  <c:v>Galbani</c:v>
                </c:pt>
                <c:pt idx="114">
                  <c:v>La Vache Qu</c:v>
                </c:pt>
                <c:pt idx="115">
                  <c:v>Entremont</c:v>
                </c:pt>
                <c:pt idx="116">
                  <c:v>All Others</c:v>
                </c:pt>
                <c:pt idx="117">
                  <c:v>Saint Agur</c:v>
                </c:pt>
                <c:pt idx="118">
                  <c:v>Apericube</c:v>
                </c:pt>
                <c:pt idx="119">
                  <c:v>Private Lab</c:v>
                </c:pt>
                <c:pt idx="120">
                  <c:v>Private Lab</c:v>
                </c:pt>
                <c:pt idx="121">
                  <c:v>St Moret</c:v>
                </c:pt>
                <c:pt idx="122">
                  <c:v>Private Lab</c:v>
                </c:pt>
                <c:pt idx="123">
                  <c:v>President</c:v>
                </c:pt>
                <c:pt idx="124">
                  <c:v>St Moret</c:v>
                </c:pt>
                <c:pt idx="125">
                  <c:v>Private Lab</c:v>
                </c:pt>
                <c:pt idx="126">
                  <c:v>Private Lab</c:v>
                </c:pt>
                <c:pt idx="127">
                  <c:v>Caprice Des</c:v>
                </c:pt>
                <c:pt idx="128">
                  <c:v>All Others</c:v>
                </c:pt>
                <c:pt idx="129">
                  <c:v>Private Lab</c:v>
                </c:pt>
                <c:pt idx="130">
                  <c:v>President</c:v>
                </c:pt>
                <c:pt idx="131">
                  <c:v>Philadelphi</c:v>
                </c:pt>
                <c:pt idx="132">
                  <c:v>President</c:v>
                </c:pt>
                <c:pt idx="133">
                  <c:v>Private Lab</c:v>
                </c:pt>
                <c:pt idx="134">
                  <c:v>Pochat</c:v>
                </c:pt>
                <c:pt idx="135">
                  <c:v>Philadelphi</c:v>
                </c:pt>
                <c:pt idx="136">
                  <c:v>President</c:v>
                </c:pt>
                <c:pt idx="137">
                  <c:v>Private Lab</c:v>
                </c:pt>
                <c:pt idx="138">
                  <c:v>Casa Azzurr</c:v>
                </c:pt>
                <c:pt idx="139">
                  <c:v>Salakis</c:v>
                </c:pt>
                <c:pt idx="140">
                  <c:v>Kiri</c:v>
                </c:pt>
                <c:pt idx="141">
                  <c:v>Private Lab</c:v>
                </c:pt>
                <c:pt idx="142">
                  <c:v>Leerdammer</c:v>
                </c:pt>
                <c:pt idx="143">
                  <c:v>Apericube</c:v>
                </c:pt>
                <c:pt idx="144">
                  <c:v>Istara</c:v>
                </c:pt>
                <c:pt idx="145">
                  <c:v>Private Lab</c:v>
                </c:pt>
                <c:pt idx="146">
                  <c:v>Boursin</c:v>
                </c:pt>
                <c:pt idx="147">
                  <c:v>Juraflore</c:v>
                </c:pt>
                <c:pt idx="148">
                  <c:v>Casa Azzurr</c:v>
                </c:pt>
                <c:pt idx="149">
                  <c:v>All Others</c:v>
                </c:pt>
                <c:pt idx="150">
                  <c:v>La Vache Qu</c:v>
                </c:pt>
                <c:pt idx="151">
                  <c:v>President</c:v>
                </c:pt>
                <c:pt idx="152">
                  <c:v>Apericube</c:v>
                </c:pt>
                <c:pt idx="153">
                  <c:v>Ficello</c:v>
                </c:pt>
                <c:pt idx="154">
                  <c:v>President</c:v>
                </c:pt>
                <c:pt idx="155">
                  <c:v>Entremont</c:v>
                </c:pt>
                <c:pt idx="156">
                  <c:v>Private Lab</c:v>
                </c:pt>
                <c:pt idx="157">
                  <c:v>Entremont</c:v>
                </c:pt>
                <c:pt idx="158">
                  <c:v>Private Lab</c:v>
                </c:pt>
                <c:pt idx="159">
                  <c:v>Mini Babybe</c:v>
                </c:pt>
                <c:pt idx="160">
                  <c:v>Laita: All </c:v>
                </c:pt>
                <c:pt idx="161">
                  <c:v>La Vache Qu</c:v>
                </c:pt>
                <c:pt idx="162">
                  <c:v>Apericube</c:v>
                </c:pt>
                <c:pt idx="163">
                  <c:v>All Others</c:v>
                </c:pt>
                <c:pt idx="164">
                  <c:v>Private Lab</c:v>
                </c:pt>
                <c:pt idx="165">
                  <c:v>Le Rustique</c:v>
                </c:pt>
                <c:pt idx="166">
                  <c:v>Private Lab</c:v>
                </c:pt>
                <c:pt idx="167">
                  <c:v>Private Lab</c:v>
                </c:pt>
                <c:pt idx="168">
                  <c:v>All Others</c:v>
                </c:pt>
                <c:pt idx="169">
                  <c:v>Etorki</c:v>
                </c:pt>
                <c:pt idx="170">
                  <c:v>Leerdammer</c:v>
                </c:pt>
                <c:pt idx="171">
                  <c:v>L'Ortolan</c:v>
                </c:pt>
                <c:pt idx="172">
                  <c:v>Private Lab</c:v>
                </c:pt>
                <c:pt idx="173">
                  <c:v>Private Lab</c:v>
                </c:pt>
                <c:pt idx="174">
                  <c:v>Lactalis: A</c:v>
                </c:pt>
                <c:pt idx="175">
                  <c:v>Soignon</c:v>
                </c:pt>
                <c:pt idx="176">
                  <c:v>Private Lab</c:v>
                </c:pt>
                <c:pt idx="177">
                  <c:v>Private Lab</c:v>
                </c:pt>
                <c:pt idx="178">
                  <c:v>Leerdammer</c:v>
                </c:pt>
                <c:pt idx="179">
                  <c:v>All Others</c:v>
                </c:pt>
                <c:pt idx="180">
                  <c:v>Private Lab</c:v>
                </c:pt>
                <c:pt idx="181">
                  <c:v>Coeur De Li</c:v>
                </c:pt>
                <c:pt idx="182">
                  <c:v>Caprice Des</c:v>
                </c:pt>
                <c:pt idx="183">
                  <c:v>Tartare</c:v>
                </c:pt>
                <c:pt idx="184">
                  <c:v>All Others</c:v>
                </c:pt>
                <c:pt idx="185">
                  <c:v>Salakis</c:v>
                </c:pt>
                <c:pt idx="186">
                  <c:v>Boursin</c:v>
                </c:pt>
                <c:pt idx="187">
                  <c:v>St Moret</c:v>
                </c:pt>
                <c:pt idx="188">
                  <c:v>Soignon</c:v>
                </c:pt>
                <c:pt idx="189">
                  <c:v>Bresse Bleu</c:v>
                </c:pt>
                <c:pt idx="190">
                  <c:v>Private Lab</c:v>
                </c:pt>
                <c:pt idx="191">
                  <c:v>Private Lab</c:v>
                </c:pt>
                <c:pt idx="192">
                  <c:v>L'Ortolan</c:v>
                </c:pt>
                <c:pt idx="193">
                  <c:v>President</c:v>
                </c:pt>
                <c:pt idx="194">
                  <c:v>All Others</c:v>
                </c:pt>
                <c:pt idx="195">
                  <c:v>Private Lab</c:v>
                </c:pt>
                <c:pt idx="196">
                  <c:v>Richesmonts</c:v>
                </c:pt>
                <c:pt idx="197">
                  <c:v>Private Lab</c:v>
                </c:pt>
                <c:pt idx="198">
                  <c:v>Private Lab</c:v>
                </c:pt>
                <c:pt idx="199">
                  <c:v>Private Lab</c:v>
                </c:pt>
                <c:pt idx="200">
                  <c:v>President</c:v>
                </c:pt>
                <c:pt idx="201">
                  <c:v>Entremont</c:v>
                </c:pt>
                <c:pt idx="202">
                  <c:v>Private Lab</c:v>
                </c:pt>
                <c:pt idx="203">
                  <c:v>Soignon</c:v>
                </c:pt>
                <c:pt idx="204">
                  <c:v>Mini Babybe</c:v>
                </c:pt>
                <c:pt idx="205">
                  <c:v>Le Rustique</c:v>
                </c:pt>
                <c:pt idx="206">
                  <c:v>President</c:v>
                </c:pt>
                <c:pt idx="207">
                  <c:v>Entremont</c:v>
                </c:pt>
                <c:pt idx="208">
                  <c:v>Soignon</c:v>
                </c:pt>
                <c:pt idx="209">
                  <c:v>Galbani</c:v>
                </c:pt>
                <c:pt idx="210">
                  <c:v>Private Lab</c:v>
                </c:pt>
                <c:pt idx="211">
                  <c:v>President</c:v>
                </c:pt>
                <c:pt idx="212">
                  <c:v>Lactalis: A</c:v>
                </c:pt>
                <c:pt idx="213">
                  <c:v>Apericube</c:v>
                </c:pt>
                <c:pt idx="214">
                  <c:v>Caprice Des</c:v>
                </c:pt>
                <c:pt idx="215">
                  <c:v>Casa Azzurr</c:v>
                </c:pt>
                <c:pt idx="216">
                  <c:v>Private Lab</c:v>
                </c:pt>
                <c:pt idx="217">
                  <c:v>All Others</c:v>
                </c:pt>
                <c:pt idx="218">
                  <c:v>Casa Azzurr</c:v>
                </c:pt>
                <c:pt idx="219">
                  <c:v>Paysan Bret</c:v>
                </c:pt>
                <c:pt idx="220">
                  <c:v>Private Lab</c:v>
                </c:pt>
                <c:pt idx="221">
                  <c:v>Aperivrais</c:v>
                </c:pt>
                <c:pt idx="222">
                  <c:v>Casa Azzurr</c:v>
                </c:pt>
                <c:pt idx="223">
                  <c:v>All Others</c:v>
                </c:pt>
                <c:pt idx="224">
                  <c:v>Saint Albra</c:v>
                </c:pt>
                <c:pt idx="225">
                  <c:v>Paysan Bret</c:v>
                </c:pt>
                <c:pt idx="226">
                  <c:v>Salakis</c:v>
                </c:pt>
                <c:pt idx="227">
                  <c:v>Le Brebiou</c:v>
                </c:pt>
                <c:pt idx="228">
                  <c:v>Lactalis: A</c:v>
                </c:pt>
                <c:pt idx="229">
                  <c:v>President</c:v>
                </c:pt>
                <c:pt idx="230">
                  <c:v>All Others</c:v>
                </c:pt>
                <c:pt idx="231">
                  <c:v>Aperivrais</c:v>
                </c:pt>
                <c:pt idx="232">
                  <c:v>Private Lab</c:v>
                </c:pt>
                <c:pt idx="233">
                  <c:v>Coeur De Li</c:v>
                </c:pt>
                <c:pt idx="234">
                  <c:v>Galbani</c:v>
                </c:pt>
                <c:pt idx="235">
                  <c:v>President</c:v>
                </c:pt>
                <c:pt idx="236">
                  <c:v>Richesmonts</c:v>
                </c:pt>
                <c:pt idx="237">
                  <c:v>Savencia: A</c:v>
                </c:pt>
                <c:pt idx="238">
                  <c:v>Private Lab</c:v>
                </c:pt>
                <c:pt idx="239">
                  <c:v>Casa Azzurr</c:v>
                </c:pt>
                <c:pt idx="240">
                  <c:v>Saint Agur</c:v>
                </c:pt>
                <c:pt idx="241">
                  <c:v>Chavroux</c:v>
                </c:pt>
                <c:pt idx="242">
                  <c:v>Chavroux</c:v>
                </c:pt>
                <c:pt idx="243">
                  <c:v>Paysan Bret</c:v>
                </c:pt>
                <c:pt idx="244">
                  <c:v>Savencia: A</c:v>
                </c:pt>
                <c:pt idx="245">
                  <c:v>All Others</c:v>
                </c:pt>
                <c:pt idx="246">
                  <c:v>Private Lab</c:v>
                </c:pt>
                <c:pt idx="247">
                  <c:v>Casa Azzurr</c:v>
                </c:pt>
                <c:pt idx="248">
                  <c:v>Private Lab</c:v>
                </c:pt>
                <c:pt idx="249">
                  <c:v>Entremont</c:v>
                </c:pt>
                <c:pt idx="250">
                  <c:v>All Others</c:v>
                </c:pt>
                <c:pt idx="251">
                  <c:v>All Others</c:v>
                </c:pt>
                <c:pt idx="252">
                  <c:v>Private Lab</c:v>
                </c:pt>
                <c:pt idx="253">
                  <c:v>Richesmonts</c:v>
                </c:pt>
                <c:pt idx="254">
                  <c:v>All Others</c:v>
                </c:pt>
                <c:pt idx="255">
                  <c:v>President</c:v>
                </c:pt>
                <c:pt idx="256">
                  <c:v>All Others</c:v>
                </c:pt>
                <c:pt idx="257">
                  <c:v>Casa Azzurr</c:v>
                </c:pt>
                <c:pt idx="258">
                  <c:v>Paysan Bret</c:v>
                </c:pt>
                <c:pt idx="259">
                  <c:v>Salakis</c:v>
                </c:pt>
                <c:pt idx="260">
                  <c:v>All Others</c:v>
                </c:pt>
                <c:pt idx="261">
                  <c:v>Leerdammer</c:v>
                </c:pt>
                <c:pt idx="262">
                  <c:v>Private Lab</c:v>
                </c:pt>
                <c:pt idx="263">
                  <c:v>Private Lab</c:v>
                </c:pt>
                <c:pt idx="264">
                  <c:v>Lactalis: A</c:v>
                </c:pt>
                <c:pt idx="265">
                  <c:v>Richesmonts</c:v>
                </c:pt>
                <c:pt idx="266">
                  <c:v>President</c:v>
                </c:pt>
                <c:pt idx="267">
                  <c:v>All Others</c:v>
                </c:pt>
                <c:pt idx="268">
                  <c:v>Saint Agur</c:v>
                </c:pt>
                <c:pt idx="269">
                  <c:v>La Vache Qu</c:v>
                </c:pt>
                <c:pt idx="270">
                  <c:v>La Vache Qu</c:v>
                </c:pt>
                <c:pt idx="271">
                  <c:v>Parmareggio</c:v>
                </c:pt>
                <c:pt idx="272">
                  <c:v>Apericube</c:v>
                </c:pt>
                <c:pt idx="273">
                  <c:v>President</c:v>
                </c:pt>
                <c:pt idx="274">
                  <c:v>La Vache Qu</c:v>
                </c:pt>
                <c:pt idx="275">
                  <c:v>Juraflore</c:v>
                </c:pt>
                <c:pt idx="276">
                  <c:v>Le Rustique</c:v>
                </c:pt>
                <c:pt idx="277">
                  <c:v>Port Salut</c:v>
                </c:pt>
                <c:pt idx="278">
                  <c:v>Richesmonts</c:v>
                </c:pt>
                <c:pt idx="279">
                  <c:v>Private Lab</c:v>
                </c:pt>
                <c:pt idx="280">
                  <c:v>Saint Agur</c:v>
                </c:pt>
                <c:pt idx="281">
                  <c:v>Private Lab</c:v>
                </c:pt>
                <c:pt idx="282">
                  <c:v>Boursin</c:v>
                </c:pt>
                <c:pt idx="283">
                  <c:v>Private Lab</c:v>
                </c:pt>
                <c:pt idx="284">
                  <c:v>Private Lab</c:v>
                </c:pt>
                <c:pt idx="285">
                  <c:v>Private Lab</c:v>
                </c:pt>
                <c:pt idx="286">
                  <c:v>Private Lab</c:v>
                </c:pt>
                <c:pt idx="287">
                  <c:v>Lou Perac</c:v>
                </c:pt>
                <c:pt idx="288">
                  <c:v>Saint Albra</c:v>
                </c:pt>
                <c:pt idx="289">
                  <c:v>Entremont</c:v>
                </c:pt>
                <c:pt idx="290">
                  <c:v>Private Lab</c:v>
                </c:pt>
                <c:pt idx="291">
                  <c:v>Casa Azzurr</c:v>
                </c:pt>
                <c:pt idx="292">
                  <c:v>Leerdammer</c:v>
                </c:pt>
                <c:pt idx="293">
                  <c:v>Soignon</c:v>
                </c:pt>
                <c:pt idx="294">
                  <c:v>Chavroux</c:v>
                </c:pt>
                <c:pt idx="295">
                  <c:v>All Others</c:v>
                </c:pt>
                <c:pt idx="296">
                  <c:v>Entremont</c:v>
                </c:pt>
                <c:pt idx="297">
                  <c:v>Soignon</c:v>
                </c:pt>
                <c:pt idx="298">
                  <c:v>Etorki</c:v>
                </c:pt>
                <c:pt idx="299">
                  <c:v>All Others</c:v>
                </c:pt>
                <c:pt idx="300">
                  <c:v>Private Lab</c:v>
                </c:pt>
                <c:pt idx="301">
                  <c:v>Entremont</c:v>
                </c:pt>
                <c:pt idx="302">
                  <c:v>President</c:v>
                </c:pt>
                <c:pt idx="303">
                  <c:v>Private Lab</c:v>
                </c:pt>
                <c:pt idx="304">
                  <c:v>Rondele</c:v>
                </c:pt>
                <c:pt idx="305">
                  <c:v>Leerdammer</c:v>
                </c:pt>
                <c:pt idx="306">
                  <c:v>Private Lab</c:v>
                </c:pt>
                <c:pt idx="307">
                  <c:v>Boursin</c:v>
                </c:pt>
                <c:pt idx="308">
                  <c:v>Soignon</c:v>
                </c:pt>
                <c:pt idx="309">
                  <c:v>P'Tit Louis</c:v>
                </c:pt>
                <c:pt idx="310">
                  <c:v>President</c:v>
                </c:pt>
                <c:pt idx="311">
                  <c:v>Galbani</c:v>
                </c:pt>
                <c:pt idx="312">
                  <c:v>Private Lab</c:v>
                </c:pt>
                <c:pt idx="313">
                  <c:v>All Others</c:v>
                </c:pt>
                <c:pt idx="314">
                  <c:v>Boursin</c:v>
                </c:pt>
                <c:pt idx="315">
                  <c:v>Private Lab</c:v>
                </c:pt>
                <c:pt idx="316">
                  <c:v>President</c:v>
                </c:pt>
                <c:pt idx="317">
                  <c:v>Caprice Des</c:v>
                </c:pt>
                <c:pt idx="318">
                  <c:v>All Others</c:v>
                </c:pt>
                <c:pt idx="319">
                  <c:v>All Others</c:v>
                </c:pt>
                <c:pt idx="320">
                  <c:v>Entremont</c:v>
                </c:pt>
                <c:pt idx="321">
                  <c:v>Private Lab</c:v>
                </c:pt>
                <c:pt idx="322">
                  <c:v>Private Lab</c:v>
                </c:pt>
                <c:pt idx="323">
                  <c:v>Private Lab</c:v>
                </c:pt>
                <c:pt idx="324">
                  <c:v>Private Lab</c:v>
                </c:pt>
                <c:pt idx="325">
                  <c:v>All Others</c:v>
                </c:pt>
                <c:pt idx="326">
                  <c:v>All Others</c:v>
                </c:pt>
                <c:pt idx="327">
                  <c:v>Private Lab</c:v>
                </c:pt>
                <c:pt idx="328">
                  <c:v>Ficello</c:v>
                </c:pt>
                <c:pt idx="329">
                  <c:v>Societe</c:v>
                </c:pt>
                <c:pt idx="330">
                  <c:v>Private Lab</c:v>
                </c:pt>
                <c:pt idx="331">
                  <c:v>La Pointe P</c:v>
                </c:pt>
                <c:pt idx="332">
                  <c:v>Casa Azzurr</c:v>
                </c:pt>
                <c:pt idx="333">
                  <c:v>All Others</c:v>
                </c:pt>
                <c:pt idx="334">
                  <c:v>Soignon</c:v>
                </c:pt>
                <c:pt idx="335">
                  <c:v>Galbani</c:v>
                </c:pt>
                <c:pt idx="336">
                  <c:v>Private Lab</c:v>
                </c:pt>
                <c:pt idx="337">
                  <c:v>Private Lab</c:v>
                </c:pt>
                <c:pt idx="338">
                  <c:v>Soignon</c:v>
                </c:pt>
                <c:pt idx="339">
                  <c:v>P'Tit Louis</c:v>
                </c:pt>
                <c:pt idx="340">
                  <c:v>Tartare</c:v>
                </c:pt>
                <c:pt idx="341">
                  <c:v>Lactalis: A</c:v>
                </c:pt>
                <c:pt idx="342">
                  <c:v>All Others</c:v>
                </c:pt>
                <c:pt idx="343">
                  <c:v>Private Lab</c:v>
                </c:pt>
                <c:pt idx="344">
                  <c:v>All Others</c:v>
                </c:pt>
                <c:pt idx="345">
                  <c:v>Soignon</c:v>
                </c:pt>
                <c:pt idx="346">
                  <c:v>Galbani</c:v>
                </c:pt>
                <c:pt idx="347">
                  <c:v>President</c:v>
                </c:pt>
                <c:pt idx="348">
                  <c:v>Caprice Des</c:v>
                </c:pt>
                <c:pt idx="349">
                  <c:v>Entremont</c:v>
                </c:pt>
                <c:pt idx="350">
                  <c:v>Private Lab</c:v>
                </c:pt>
                <c:pt idx="351">
                  <c:v>Private Lab</c:v>
                </c:pt>
                <c:pt idx="352">
                  <c:v>Kiri</c:v>
                </c:pt>
                <c:pt idx="353">
                  <c:v>Galbani</c:v>
                </c:pt>
                <c:pt idx="354">
                  <c:v>President</c:v>
                </c:pt>
                <c:pt idx="355">
                  <c:v>Galbani</c:v>
                </c:pt>
                <c:pt idx="356">
                  <c:v>Boursin</c:v>
                </c:pt>
                <c:pt idx="357">
                  <c:v>All Others</c:v>
                </c:pt>
                <c:pt idx="358">
                  <c:v>Etoile Du V</c:v>
                </c:pt>
                <c:pt idx="359">
                  <c:v>Aperivrais</c:v>
                </c:pt>
                <c:pt idx="360">
                  <c:v>All Others</c:v>
                </c:pt>
                <c:pt idx="361">
                  <c:v>All Others</c:v>
                </c:pt>
                <c:pt idx="362">
                  <c:v>Private Lab</c:v>
                </c:pt>
                <c:pt idx="363">
                  <c:v>Private Lab</c:v>
                </c:pt>
                <c:pt idx="364">
                  <c:v>Private Lab</c:v>
                </c:pt>
                <c:pt idx="365">
                  <c:v>St Moret</c:v>
                </c:pt>
                <c:pt idx="366">
                  <c:v>Entremont</c:v>
                </c:pt>
                <c:pt idx="367">
                  <c:v>Salakis</c:v>
                </c:pt>
                <c:pt idx="368">
                  <c:v>All Others</c:v>
                </c:pt>
                <c:pt idx="369">
                  <c:v>Apericube</c:v>
                </c:pt>
                <c:pt idx="370">
                  <c:v>La Pointe P</c:v>
                </c:pt>
                <c:pt idx="371">
                  <c:v>All Others</c:v>
                </c:pt>
                <c:pt idx="372">
                  <c:v>Casa Azzurr</c:v>
                </c:pt>
                <c:pt idx="373">
                  <c:v>Private Lab</c:v>
                </c:pt>
                <c:pt idx="374">
                  <c:v>All Others</c:v>
                </c:pt>
                <c:pt idx="375">
                  <c:v>All Others</c:v>
                </c:pt>
                <c:pt idx="376">
                  <c:v>Private Lab</c:v>
                </c:pt>
                <c:pt idx="377">
                  <c:v>Private Lab</c:v>
                </c:pt>
                <c:pt idx="378">
                  <c:v>All Others</c:v>
                </c:pt>
                <c:pt idx="379">
                  <c:v>Private Lab</c:v>
                </c:pt>
                <c:pt idx="380">
                  <c:v>Leerdammer</c:v>
                </c:pt>
                <c:pt idx="381">
                  <c:v>Cousteron</c:v>
                </c:pt>
                <c:pt idx="382">
                  <c:v>Caprice Des</c:v>
                </c:pt>
                <c:pt idx="383">
                  <c:v>Leerdammer</c:v>
                </c:pt>
                <c:pt idx="384">
                  <c:v>Pochat</c:v>
                </c:pt>
                <c:pt idx="385">
                  <c:v>Mini Babybe</c:v>
                </c:pt>
                <c:pt idx="386">
                  <c:v>Private Lab</c:v>
                </c:pt>
                <c:pt idx="387">
                  <c:v>Casa Azzurr</c:v>
                </c:pt>
                <c:pt idx="388">
                  <c:v>Private Lab</c:v>
                </c:pt>
                <c:pt idx="389">
                  <c:v>Bresse Bleu</c:v>
                </c:pt>
                <c:pt idx="390">
                  <c:v>Private Lab</c:v>
                </c:pt>
                <c:pt idx="391">
                  <c:v>Paysan Bret</c:v>
                </c:pt>
                <c:pt idx="392">
                  <c:v>Tartare</c:v>
                </c:pt>
                <c:pt idx="393">
                  <c:v>All Others</c:v>
                </c:pt>
                <c:pt idx="394">
                  <c:v>Private Lab</c:v>
                </c:pt>
                <c:pt idx="395">
                  <c:v>Chaussee Au</c:v>
                </c:pt>
                <c:pt idx="396">
                  <c:v>Pave D'Affi</c:v>
                </c:pt>
                <c:pt idx="397">
                  <c:v>All Others</c:v>
                </c:pt>
                <c:pt idx="398">
                  <c:v>Societe</c:v>
                </c:pt>
                <c:pt idx="399">
                  <c:v>P'Tit Louis</c:v>
                </c:pt>
                <c:pt idx="400">
                  <c:v>All Others</c:v>
                </c:pt>
                <c:pt idx="401">
                  <c:v>Galbani</c:v>
                </c:pt>
                <c:pt idx="402">
                  <c:v>Private Lab</c:v>
                </c:pt>
                <c:pt idx="403">
                  <c:v>Saint Agur</c:v>
                </c:pt>
                <c:pt idx="404">
                  <c:v>All Others</c:v>
                </c:pt>
                <c:pt idx="405">
                  <c:v>Casa Azzurr</c:v>
                </c:pt>
                <c:pt idx="406">
                  <c:v>Casa Azzurr</c:v>
                </c:pt>
                <c:pt idx="407">
                  <c:v>Boursin</c:v>
                </c:pt>
                <c:pt idx="408">
                  <c:v>Private Lab</c:v>
                </c:pt>
                <c:pt idx="409">
                  <c:v>All Others</c:v>
                </c:pt>
                <c:pt idx="410">
                  <c:v>Aperivrais</c:v>
                </c:pt>
                <c:pt idx="411">
                  <c:v>Societe</c:v>
                </c:pt>
                <c:pt idx="412">
                  <c:v>Private Lab</c:v>
                </c:pt>
                <c:pt idx="413">
                  <c:v>Apericube</c:v>
                </c:pt>
                <c:pt idx="414">
                  <c:v>Pave D'Affi</c:v>
                </c:pt>
                <c:pt idx="415">
                  <c:v>Mini Babybe</c:v>
                </c:pt>
                <c:pt idx="416">
                  <c:v>Private Lab</c:v>
                </c:pt>
                <c:pt idx="417">
                  <c:v>La Vache Qu</c:v>
                </c:pt>
                <c:pt idx="418">
                  <c:v>Private Lab</c:v>
                </c:pt>
                <c:pt idx="419">
                  <c:v>Babybel</c:v>
                </c:pt>
                <c:pt idx="420">
                  <c:v>Boursin</c:v>
                </c:pt>
                <c:pt idx="421">
                  <c:v>Tartare</c:v>
                </c:pt>
                <c:pt idx="422">
                  <c:v>Fauquet</c:v>
                </c:pt>
                <c:pt idx="423">
                  <c:v>All Others</c:v>
                </c:pt>
                <c:pt idx="424">
                  <c:v>All Others</c:v>
                </c:pt>
                <c:pt idx="425">
                  <c:v>Private Lab</c:v>
                </c:pt>
                <c:pt idx="426">
                  <c:v>All Others</c:v>
                </c:pt>
                <c:pt idx="427">
                  <c:v>Private Lab</c:v>
                </c:pt>
                <c:pt idx="428">
                  <c:v>All Others</c:v>
                </c:pt>
                <c:pt idx="429">
                  <c:v>All Others</c:v>
                </c:pt>
                <c:pt idx="430">
                  <c:v>Richesmonts</c:v>
                </c:pt>
                <c:pt idx="431">
                  <c:v>All Others</c:v>
                </c:pt>
                <c:pt idx="432">
                  <c:v>Private Lab</c:v>
                </c:pt>
                <c:pt idx="433">
                  <c:v>La Pointe P</c:v>
                </c:pt>
                <c:pt idx="434">
                  <c:v>Private Lab</c:v>
                </c:pt>
                <c:pt idx="435">
                  <c:v>Private Lab</c:v>
                </c:pt>
                <c:pt idx="436">
                  <c:v>Fol Epi</c:v>
                </c:pt>
                <c:pt idx="437">
                  <c:v>Private Lab</c:v>
                </c:pt>
                <c:pt idx="438">
                  <c:v>President</c:v>
                </c:pt>
                <c:pt idx="439">
                  <c:v>Private Lab</c:v>
                </c:pt>
                <c:pt idx="440">
                  <c:v>All Others</c:v>
                </c:pt>
                <c:pt idx="441">
                  <c:v>Vieux Pane</c:v>
                </c:pt>
                <c:pt idx="442">
                  <c:v>President</c:v>
                </c:pt>
                <c:pt idx="443">
                  <c:v>Lactalis: A</c:v>
                </c:pt>
                <c:pt idx="444">
                  <c:v>Private Lab</c:v>
                </c:pt>
                <c:pt idx="445">
                  <c:v>Lou Perac</c:v>
                </c:pt>
                <c:pt idx="446">
                  <c:v>Richesmonts</c:v>
                </c:pt>
                <c:pt idx="447">
                  <c:v>All Others</c:v>
                </c:pt>
                <c:pt idx="448">
                  <c:v>All Others</c:v>
                </c:pt>
                <c:pt idx="449">
                  <c:v>All Others</c:v>
                </c:pt>
                <c:pt idx="450">
                  <c:v>Private Lab</c:v>
                </c:pt>
                <c:pt idx="451">
                  <c:v>All Others</c:v>
                </c:pt>
                <c:pt idx="452">
                  <c:v>Private Lab</c:v>
                </c:pt>
                <c:pt idx="453">
                  <c:v>All Others</c:v>
                </c:pt>
                <c:pt idx="454">
                  <c:v>Lactalis: A</c:v>
                </c:pt>
                <c:pt idx="455">
                  <c:v>St Moret</c:v>
                </c:pt>
                <c:pt idx="456">
                  <c:v>Private Lab</c:v>
                </c:pt>
                <c:pt idx="457">
                  <c:v>All Others</c:v>
                </c:pt>
                <c:pt idx="458">
                  <c:v>Apericube</c:v>
                </c:pt>
                <c:pt idx="459">
                  <c:v>All Others</c:v>
                </c:pt>
                <c:pt idx="460">
                  <c:v>Philadelphi</c:v>
                </c:pt>
                <c:pt idx="461">
                  <c:v>Casa Azzurr</c:v>
                </c:pt>
                <c:pt idx="462">
                  <c:v>La Pointe P</c:v>
                </c:pt>
                <c:pt idx="463">
                  <c:v>Societe</c:v>
                </c:pt>
                <c:pt idx="464">
                  <c:v>St Moret</c:v>
                </c:pt>
                <c:pt idx="465">
                  <c:v>Entremont</c:v>
                </c:pt>
                <c:pt idx="466">
                  <c:v>Private Lab</c:v>
                </c:pt>
                <c:pt idx="467">
                  <c:v>Savencia: A</c:v>
                </c:pt>
                <c:pt idx="468">
                  <c:v>Private Lab</c:v>
                </c:pt>
                <c:pt idx="469">
                  <c:v>All Others</c:v>
                </c:pt>
                <c:pt idx="470">
                  <c:v>Apericube</c:v>
                </c:pt>
                <c:pt idx="471">
                  <c:v>All Others</c:v>
                </c:pt>
                <c:pt idx="472">
                  <c:v>All Others</c:v>
                </c:pt>
                <c:pt idx="473">
                  <c:v>Private Lab</c:v>
                </c:pt>
                <c:pt idx="474">
                  <c:v>Private Lab</c:v>
                </c:pt>
                <c:pt idx="475">
                  <c:v>All Others</c:v>
                </c:pt>
                <c:pt idx="476">
                  <c:v>Private Lab</c:v>
                </c:pt>
                <c:pt idx="477">
                  <c:v>Tartare</c:v>
                </c:pt>
                <c:pt idx="478">
                  <c:v>Private Lab</c:v>
                </c:pt>
                <c:pt idx="479">
                  <c:v>All Others</c:v>
                </c:pt>
                <c:pt idx="480">
                  <c:v>Casa Azzurr</c:v>
                </c:pt>
                <c:pt idx="481">
                  <c:v>Richesmonts</c:v>
                </c:pt>
                <c:pt idx="482">
                  <c:v>President</c:v>
                </c:pt>
                <c:pt idx="483">
                  <c:v>Private Lab</c:v>
                </c:pt>
                <c:pt idx="484">
                  <c:v>All Others</c:v>
                </c:pt>
                <c:pt idx="485">
                  <c:v>Private Lab</c:v>
                </c:pt>
                <c:pt idx="486">
                  <c:v>Corsica</c:v>
                </c:pt>
                <c:pt idx="487">
                  <c:v>Kiri</c:v>
                </c:pt>
                <c:pt idx="488">
                  <c:v>Ficello</c:v>
                </c:pt>
                <c:pt idx="489">
                  <c:v>All Others</c:v>
                </c:pt>
                <c:pt idx="490">
                  <c:v>Private Lab</c:v>
                </c:pt>
                <c:pt idx="491">
                  <c:v>Lou Perac</c:v>
                </c:pt>
                <c:pt idx="492">
                  <c:v>Private Lab</c:v>
                </c:pt>
                <c:pt idx="493">
                  <c:v>L'Ortolan</c:v>
                </c:pt>
                <c:pt idx="494">
                  <c:v>Private Lab</c:v>
                </c:pt>
                <c:pt idx="495">
                  <c:v>Private Lab</c:v>
                </c:pt>
                <c:pt idx="496">
                  <c:v>Istara</c:v>
                </c:pt>
                <c:pt idx="497">
                  <c:v>Babybel</c:v>
                </c:pt>
                <c:pt idx="498">
                  <c:v>All Others</c:v>
                </c:pt>
                <c:pt idx="499">
                  <c:v>Private Lab</c:v>
                </c:pt>
                <c:pt idx="500">
                  <c:v>Soignon</c:v>
                </c:pt>
                <c:pt idx="501">
                  <c:v>All Others</c:v>
                </c:pt>
                <c:pt idx="502">
                  <c:v>Private Lab</c:v>
                </c:pt>
                <c:pt idx="503">
                  <c:v>Private Lab</c:v>
                </c:pt>
                <c:pt idx="504">
                  <c:v>Galbani</c:v>
                </c:pt>
                <c:pt idx="505">
                  <c:v>All Others</c:v>
                </c:pt>
                <c:pt idx="506">
                  <c:v>Entremont</c:v>
                </c:pt>
                <c:pt idx="507">
                  <c:v>Paysan Bret</c:v>
                </c:pt>
                <c:pt idx="508">
                  <c:v>All Others</c:v>
                </c:pt>
                <c:pt idx="509">
                  <c:v>All Others</c:v>
                </c:pt>
                <c:pt idx="510">
                  <c:v>Soignon</c:v>
                </c:pt>
                <c:pt idx="511">
                  <c:v>All Others</c:v>
                </c:pt>
                <c:pt idx="512">
                  <c:v>All Others</c:v>
                </c:pt>
                <c:pt idx="513">
                  <c:v>Savencia: A</c:v>
                </c:pt>
                <c:pt idx="514">
                  <c:v>Le Rustique</c:v>
                </c:pt>
                <c:pt idx="515">
                  <c:v>All Others</c:v>
                </c:pt>
                <c:pt idx="516">
                  <c:v>All Others</c:v>
                </c:pt>
                <c:pt idx="517">
                  <c:v>Galbani</c:v>
                </c:pt>
                <c:pt idx="518">
                  <c:v>Boursin</c:v>
                </c:pt>
                <c:pt idx="519">
                  <c:v>Pave D'Affi</c:v>
                </c:pt>
                <c:pt idx="520">
                  <c:v>Private Lab</c:v>
                </c:pt>
                <c:pt idx="521">
                  <c:v>All Others</c:v>
                </c:pt>
                <c:pt idx="522">
                  <c:v>Richesmonts</c:v>
                </c:pt>
                <c:pt idx="523">
                  <c:v>Private Lab</c:v>
                </c:pt>
                <c:pt idx="524">
                  <c:v>Private Lab</c:v>
                </c:pt>
                <c:pt idx="525">
                  <c:v>All Others</c:v>
                </c:pt>
                <c:pt idx="526">
                  <c:v>Private Lab</c:v>
                </c:pt>
                <c:pt idx="527">
                  <c:v>All Others</c:v>
                </c:pt>
                <c:pt idx="528">
                  <c:v>Galbani</c:v>
                </c:pt>
                <c:pt idx="529">
                  <c:v>Apericube</c:v>
                </c:pt>
                <c:pt idx="530">
                  <c:v>La Pointe P</c:v>
                </c:pt>
                <c:pt idx="531">
                  <c:v>President</c:v>
                </c:pt>
                <c:pt idx="532">
                  <c:v>Private Lab</c:v>
                </c:pt>
                <c:pt idx="533">
                  <c:v>All Others</c:v>
                </c:pt>
                <c:pt idx="534">
                  <c:v>President</c:v>
                </c:pt>
                <c:pt idx="535">
                  <c:v>Private Lab</c:v>
                </c:pt>
                <c:pt idx="536">
                  <c:v>Private Lab</c:v>
                </c:pt>
                <c:pt idx="537">
                  <c:v>All Others</c:v>
                </c:pt>
                <c:pt idx="538">
                  <c:v>Fauquet</c:v>
                </c:pt>
                <c:pt idx="539">
                  <c:v>Private Lab</c:v>
                </c:pt>
                <c:pt idx="540">
                  <c:v>Corsica</c:v>
                </c:pt>
                <c:pt idx="541">
                  <c:v>All Others</c:v>
                </c:pt>
                <c:pt idx="542">
                  <c:v>Entremont</c:v>
                </c:pt>
                <c:pt idx="543">
                  <c:v>Casa Azzurr</c:v>
                </c:pt>
                <c:pt idx="544">
                  <c:v>President</c:v>
                </c:pt>
                <c:pt idx="545">
                  <c:v>Soignon</c:v>
                </c:pt>
                <c:pt idx="546">
                  <c:v>Lactalis: A</c:v>
                </c:pt>
                <c:pt idx="547">
                  <c:v>Triballat N</c:v>
                </c:pt>
                <c:pt idx="548">
                  <c:v>Entremont</c:v>
                </c:pt>
                <c:pt idx="549">
                  <c:v>Private Lab</c:v>
                </c:pt>
                <c:pt idx="550">
                  <c:v>Private Lab</c:v>
                </c:pt>
                <c:pt idx="551">
                  <c:v>Private Lab</c:v>
                </c:pt>
                <c:pt idx="552">
                  <c:v>Private Lab</c:v>
                </c:pt>
                <c:pt idx="553">
                  <c:v>Private Lab</c:v>
                </c:pt>
                <c:pt idx="554">
                  <c:v>All Others</c:v>
                </c:pt>
                <c:pt idx="555">
                  <c:v>Private Lab</c:v>
                </c:pt>
                <c:pt idx="556">
                  <c:v>All Others</c:v>
                </c:pt>
                <c:pt idx="557">
                  <c:v>All Others</c:v>
                </c:pt>
                <c:pt idx="558">
                  <c:v>Savencia: A</c:v>
                </c:pt>
                <c:pt idx="559">
                  <c:v>Private Lab</c:v>
                </c:pt>
                <c:pt idx="560">
                  <c:v>Private Lab</c:v>
                </c:pt>
                <c:pt idx="561">
                  <c:v>Savencia: A</c:v>
                </c:pt>
                <c:pt idx="562">
                  <c:v>All Others</c:v>
                </c:pt>
                <c:pt idx="563">
                  <c:v>Casa Azzurr</c:v>
                </c:pt>
                <c:pt idx="564">
                  <c:v>Private Lab</c:v>
                </c:pt>
                <c:pt idx="565">
                  <c:v>Apericube</c:v>
                </c:pt>
                <c:pt idx="566">
                  <c:v>Private Lab</c:v>
                </c:pt>
                <c:pt idx="567">
                  <c:v>Private Lab</c:v>
                </c:pt>
                <c:pt idx="568">
                  <c:v>Le Coq Crem</c:v>
                </c:pt>
                <c:pt idx="569">
                  <c:v>All Others</c:v>
                </c:pt>
                <c:pt idx="570">
                  <c:v>Private Lab</c:v>
                </c:pt>
                <c:pt idx="571">
                  <c:v>All Others</c:v>
                </c:pt>
                <c:pt idx="572">
                  <c:v>Private Lab</c:v>
                </c:pt>
                <c:pt idx="573">
                  <c:v>All Others</c:v>
                </c:pt>
                <c:pt idx="574">
                  <c:v>All Others</c:v>
                </c:pt>
                <c:pt idx="575">
                  <c:v>Private Lab</c:v>
                </c:pt>
                <c:pt idx="576">
                  <c:v>All Others</c:v>
                </c:pt>
                <c:pt idx="577">
                  <c:v>Private Lab</c:v>
                </c:pt>
                <c:pt idx="578">
                  <c:v>Private Lab</c:v>
                </c:pt>
                <c:pt idx="579">
                  <c:v>All Others</c:v>
                </c:pt>
                <c:pt idx="580">
                  <c:v>Private Lab</c:v>
                </c:pt>
                <c:pt idx="581">
                  <c:v>All Others</c:v>
                </c:pt>
                <c:pt idx="582">
                  <c:v>All Others</c:v>
                </c:pt>
                <c:pt idx="583">
                  <c:v>Entremont</c:v>
                </c:pt>
                <c:pt idx="584">
                  <c:v>Boursin</c:v>
                </c:pt>
                <c:pt idx="585">
                  <c:v>All Others</c:v>
                </c:pt>
                <c:pt idx="586">
                  <c:v>Islos</c:v>
                </c:pt>
                <c:pt idx="587">
                  <c:v>Private Lab</c:v>
                </c:pt>
                <c:pt idx="588">
                  <c:v>Violife</c:v>
                </c:pt>
                <c:pt idx="589">
                  <c:v>Leerdammer</c:v>
                </c:pt>
                <c:pt idx="590">
                  <c:v>President</c:v>
                </c:pt>
                <c:pt idx="591">
                  <c:v>Private Lab</c:v>
                </c:pt>
                <c:pt idx="592">
                  <c:v>All Others</c:v>
                </c:pt>
                <c:pt idx="593">
                  <c:v>Mini Babybe</c:v>
                </c:pt>
                <c:pt idx="594">
                  <c:v>Pochat</c:v>
                </c:pt>
                <c:pt idx="595">
                  <c:v>All Others</c:v>
                </c:pt>
                <c:pt idx="596">
                  <c:v>All Others</c:v>
                </c:pt>
                <c:pt idx="597">
                  <c:v>La Pointe P</c:v>
                </c:pt>
                <c:pt idx="598">
                  <c:v>Private Lab</c:v>
                </c:pt>
                <c:pt idx="599">
                  <c:v>Private Lab</c:v>
                </c:pt>
                <c:pt idx="600">
                  <c:v>Pave D'Affi</c:v>
                </c:pt>
                <c:pt idx="601">
                  <c:v>All Others</c:v>
                </c:pt>
                <c:pt idx="602">
                  <c:v>Private Lab</c:v>
                </c:pt>
                <c:pt idx="603">
                  <c:v>Casa Azzurr</c:v>
                </c:pt>
                <c:pt idx="604">
                  <c:v>Galbani</c:v>
                </c:pt>
                <c:pt idx="605">
                  <c:v>Private Lab</c:v>
                </c:pt>
                <c:pt idx="606">
                  <c:v>Etoile Du V</c:v>
                </c:pt>
                <c:pt idx="607">
                  <c:v>Casa Azzurr</c:v>
                </c:pt>
                <c:pt idx="608">
                  <c:v>Private Lab</c:v>
                </c:pt>
                <c:pt idx="609">
                  <c:v>Societe</c:v>
                </c:pt>
                <c:pt idx="610">
                  <c:v>Galbani</c:v>
                </c:pt>
                <c:pt idx="611">
                  <c:v>All Others</c:v>
                </c:pt>
                <c:pt idx="612">
                  <c:v>Private Lab</c:v>
                </c:pt>
                <c:pt idx="613">
                  <c:v>All Others</c:v>
                </c:pt>
                <c:pt idx="614">
                  <c:v>All Others</c:v>
                </c:pt>
                <c:pt idx="615">
                  <c:v>Kiri</c:v>
                </c:pt>
                <c:pt idx="616">
                  <c:v>Rondele</c:v>
                </c:pt>
                <c:pt idx="617">
                  <c:v>Private Lab</c:v>
                </c:pt>
                <c:pt idx="618">
                  <c:v>President</c:v>
                </c:pt>
                <c:pt idx="619">
                  <c:v>Ficello</c:v>
                </c:pt>
                <c:pt idx="620">
                  <c:v>All Others</c:v>
                </c:pt>
                <c:pt idx="621">
                  <c:v>Private Lab</c:v>
                </c:pt>
                <c:pt idx="622">
                  <c:v>All Others</c:v>
                </c:pt>
                <c:pt idx="623">
                  <c:v>Casa Azzurr</c:v>
                </c:pt>
                <c:pt idx="624">
                  <c:v>Private Lab</c:v>
                </c:pt>
                <c:pt idx="625">
                  <c:v>Private Lab</c:v>
                </c:pt>
                <c:pt idx="626">
                  <c:v>Private Lab</c:v>
                </c:pt>
                <c:pt idx="627">
                  <c:v>All Others</c:v>
                </c:pt>
                <c:pt idx="628">
                  <c:v>All Others</c:v>
                </c:pt>
                <c:pt idx="629">
                  <c:v>All Others</c:v>
                </c:pt>
                <c:pt idx="630">
                  <c:v>Casa Azzurr</c:v>
                </c:pt>
                <c:pt idx="631">
                  <c:v>All Others</c:v>
                </c:pt>
                <c:pt idx="632">
                  <c:v>President</c:v>
                </c:pt>
                <c:pt idx="633">
                  <c:v>Societe</c:v>
                </c:pt>
                <c:pt idx="634">
                  <c:v>Leerdammer</c:v>
                </c:pt>
                <c:pt idx="635">
                  <c:v>Private Lab</c:v>
                </c:pt>
                <c:pt idx="636">
                  <c:v>All Others</c:v>
                </c:pt>
                <c:pt idx="637">
                  <c:v>All Others</c:v>
                </c:pt>
                <c:pt idx="638">
                  <c:v>Apericube</c:v>
                </c:pt>
                <c:pt idx="639">
                  <c:v>All Others</c:v>
                </c:pt>
                <c:pt idx="640">
                  <c:v>All Others</c:v>
                </c:pt>
                <c:pt idx="641">
                  <c:v>All Others</c:v>
                </c:pt>
                <c:pt idx="642">
                  <c:v>Entremont</c:v>
                </c:pt>
                <c:pt idx="643">
                  <c:v>Leerdammer</c:v>
                </c:pt>
                <c:pt idx="644">
                  <c:v>Milleret: A</c:v>
                </c:pt>
                <c:pt idx="645">
                  <c:v>Private Lab</c:v>
                </c:pt>
                <c:pt idx="646">
                  <c:v>Casa Azzurr</c:v>
                </c:pt>
                <c:pt idx="647">
                  <c:v>Private Lab</c:v>
                </c:pt>
                <c:pt idx="648">
                  <c:v>All Others</c:v>
                </c:pt>
                <c:pt idx="649">
                  <c:v>Galbani</c:v>
                </c:pt>
                <c:pt idx="650">
                  <c:v>All Others</c:v>
                </c:pt>
                <c:pt idx="651">
                  <c:v>Etoile Du Q</c:v>
                </c:pt>
                <c:pt idx="652">
                  <c:v>Eurial Autr</c:v>
                </c:pt>
                <c:pt idx="653">
                  <c:v>Apericube</c:v>
                </c:pt>
                <c:pt idx="654">
                  <c:v>All Others</c:v>
                </c:pt>
                <c:pt idx="655">
                  <c:v>All Others</c:v>
                </c:pt>
                <c:pt idx="656">
                  <c:v>All Others</c:v>
                </c:pt>
                <c:pt idx="657">
                  <c:v>Private Lab</c:v>
                </c:pt>
                <c:pt idx="658">
                  <c:v>Pave D'Affi</c:v>
                </c:pt>
                <c:pt idx="659">
                  <c:v>All Others</c:v>
                </c:pt>
                <c:pt idx="660">
                  <c:v>All Others</c:v>
                </c:pt>
                <c:pt idx="661">
                  <c:v>All Others</c:v>
                </c:pt>
                <c:pt idx="662">
                  <c:v>Boursin</c:v>
                </c:pt>
                <c:pt idx="663">
                  <c:v>L'Ortolan</c:v>
                </c:pt>
                <c:pt idx="664">
                  <c:v>Private Lab</c:v>
                </c:pt>
                <c:pt idx="665">
                  <c:v>Private Lab</c:v>
                </c:pt>
                <c:pt idx="666">
                  <c:v>Kiri</c:v>
                </c:pt>
                <c:pt idx="667">
                  <c:v>Private Lab</c:v>
                </c:pt>
                <c:pt idx="668">
                  <c:v>Lou Perac</c:v>
                </c:pt>
                <c:pt idx="669">
                  <c:v>Saint Agur</c:v>
                </c:pt>
                <c:pt idx="670">
                  <c:v>All Others</c:v>
                </c:pt>
                <c:pt idx="671">
                  <c:v>Violife</c:v>
                </c:pt>
                <c:pt idx="672">
                  <c:v>All Others</c:v>
                </c:pt>
                <c:pt idx="673">
                  <c:v>All Others</c:v>
                </c:pt>
                <c:pt idx="674">
                  <c:v>Chaussee Au</c:v>
                </c:pt>
                <c:pt idx="675">
                  <c:v>Violife</c:v>
                </c:pt>
                <c:pt idx="676">
                  <c:v>L'Ortolan</c:v>
                </c:pt>
                <c:pt idx="677">
                  <c:v>All Others</c:v>
                </c:pt>
                <c:pt idx="678">
                  <c:v>All Others</c:v>
                </c:pt>
                <c:pt idx="679">
                  <c:v>Richesmonts</c:v>
                </c:pt>
                <c:pt idx="680">
                  <c:v>O'Tapas Ape</c:v>
                </c:pt>
                <c:pt idx="681">
                  <c:v>All Others</c:v>
                </c:pt>
                <c:pt idx="682">
                  <c:v>Boursin</c:v>
                </c:pt>
                <c:pt idx="683">
                  <c:v>Salakis</c:v>
                </c:pt>
                <c:pt idx="684">
                  <c:v>All Others</c:v>
                </c:pt>
                <c:pt idx="685">
                  <c:v>All Others</c:v>
                </c:pt>
                <c:pt idx="686">
                  <c:v>President</c:v>
                </c:pt>
                <c:pt idx="687">
                  <c:v>All Others</c:v>
                </c:pt>
                <c:pt idx="688">
                  <c:v>President</c:v>
                </c:pt>
                <c:pt idx="689">
                  <c:v>Soignon</c:v>
                </c:pt>
                <c:pt idx="690">
                  <c:v>Coeur De Li</c:v>
                </c:pt>
                <c:pt idx="691">
                  <c:v>Le Coq Crem</c:v>
                </c:pt>
                <c:pt idx="692">
                  <c:v>All Others</c:v>
                </c:pt>
                <c:pt idx="693">
                  <c:v>Soignon</c:v>
                </c:pt>
                <c:pt idx="694">
                  <c:v>All Others</c:v>
                </c:pt>
                <c:pt idx="695">
                  <c:v>Mini Babybe</c:v>
                </c:pt>
                <c:pt idx="696">
                  <c:v>Private Lab</c:v>
                </c:pt>
                <c:pt idx="697">
                  <c:v>Etoile Du V</c:v>
                </c:pt>
                <c:pt idx="698">
                  <c:v>All Others</c:v>
                </c:pt>
                <c:pt idx="699">
                  <c:v>President</c:v>
                </c:pt>
                <c:pt idx="700">
                  <c:v>Societe</c:v>
                </c:pt>
                <c:pt idx="701">
                  <c:v>All Others</c:v>
                </c:pt>
                <c:pt idx="702">
                  <c:v>All Others</c:v>
                </c:pt>
                <c:pt idx="703">
                  <c:v>All Others</c:v>
                </c:pt>
                <c:pt idx="704">
                  <c:v>Galbani</c:v>
                </c:pt>
                <c:pt idx="705">
                  <c:v>Private Lab</c:v>
                </c:pt>
                <c:pt idx="706">
                  <c:v>La Pointe P</c:v>
                </c:pt>
                <c:pt idx="707">
                  <c:v>Savencia: A</c:v>
                </c:pt>
                <c:pt idx="708">
                  <c:v>Private Lab</c:v>
                </c:pt>
                <c:pt idx="709">
                  <c:v>All Others</c:v>
                </c:pt>
                <c:pt idx="710">
                  <c:v>All Others</c:v>
                </c:pt>
                <c:pt idx="711">
                  <c:v>Rondele</c:v>
                </c:pt>
                <c:pt idx="712">
                  <c:v>Casa Azzurr</c:v>
                </c:pt>
                <c:pt idx="713">
                  <c:v>Richesmonts</c:v>
                </c:pt>
                <c:pt idx="714">
                  <c:v>Violife</c:v>
                </c:pt>
                <c:pt idx="715">
                  <c:v>Richesmonts</c:v>
                </c:pt>
                <c:pt idx="716">
                  <c:v>All Others</c:v>
                </c:pt>
                <c:pt idx="717">
                  <c:v>All Others</c:v>
                </c:pt>
                <c:pt idx="718">
                  <c:v>Juraflore</c:v>
                </c:pt>
                <c:pt idx="719">
                  <c:v>Savencia: A</c:v>
                </c:pt>
                <c:pt idx="720">
                  <c:v>All Others</c:v>
                </c:pt>
                <c:pt idx="721">
                  <c:v>All Others</c:v>
                </c:pt>
                <c:pt idx="722">
                  <c:v>All Others</c:v>
                </c:pt>
                <c:pt idx="723">
                  <c:v>Private Lab</c:v>
                </c:pt>
                <c:pt idx="724">
                  <c:v>All Others</c:v>
                </c:pt>
                <c:pt idx="725">
                  <c:v>All Others</c:v>
                </c:pt>
                <c:pt idx="726">
                  <c:v>Richesmonts</c:v>
                </c:pt>
                <c:pt idx="727">
                  <c:v>President</c:v>
                </c:pt>
                <c:pt idx="728">
                  <c:v>Entremont</c:v>
                </c:pt>
                <c:pt idx="729">
                  <c:v>Galbani</c:v>
                </c:pt>
                <c:pt idx="730">
                  <c:v>Galbani</c:v>
                </c:pt>
                <c:pt idx="731">
                  <c:v>Fauquet</c:v>
                </c:pt>
                <c:pt idx="732">
                  <c:v>Savencia: A</c:v>
                </c:pt>
                <c:pt idx="733">
                  <c:v>Private Lab</c:v>
                </c:pt>
                <c:pt idx="734">
                  <c:v>Galbani</c:v>
                </c:pt>
                <c:pt idx="735">
                  <c:v>Juraflore</c:v>
                </c:pt>
                <c:pt idx="736">
                  <c:v>All Others</c:v>
                </c:pt>
                <c:pt idx="737">
                  <c:v>All Others</c:v>
                </c:pt>
                <c:pt idx="738">
                  <c:v>All Others</c:v>
                </c:pt>
                <c:pt idx="739">
                  <c:v>Tartare</c:v>
                </c:pt>
                <c:pt idx="740">
                  <c:v>All Others</c:v>
                </c:pt>
                <c:pt idx="741">
                  <c:v>All Others</c:v>
                </c:pt>
                <c:pt idx="742">
                  <c:v>All Others</c:v>
                </c:pt>
                <c:pt idx="743">
                  <c:v>Private Lab</c:v>
                </c:pt>
                <c:pt idx="744">
                  <c:v>All Others</c:v>
                </c:pt>
                <c:pt idx="745">
                  <c:v>Entremont</c:v>
                </c:pt>
                <c:pt idx="746">
                  <c:v>La Belle Et</c:v>
                </c:pt>
                <c:pt idx="747">
                  <c:v>Leerdammer</c:v>
                </c:pt>
                <c:pt idx="748">
                  <c:v>All Others</c:v>
                </c:pt>
                <c:pt idx="749">
                  <c:v>Soignon</c:v>
                </c:pt>
                <c:pt idx="750">
                  <c:v>All Others</c:v>
                </c:pt>
                <c:pt idx="751">
                  <c:v>Eurial Autr</c:v>
                </c:pt>
                <c:pt idx="752">
                  <c:v>Milleret: A</c:v>
                </c:pt>
                <c:pt idx="753">
                  <c:v>Violife</c:v>
                </c:pt>
                <c:pt idx="754">
                  <c:v>Triballat R</c:v>
                </c:pt>
                <c:pt idx="755">
                  <c:v>All Others</c:v>
                </c:pt>
                <c:pt idx="756">
                  <c:v>Casa Azzurr</c:v>
                </c:pt>
                <c:pt idx="757">
                  <c:v>Mini Babybe</c:v>
                </c:pt>
                <c:pt idx="758">
                  <c:v>Private Lab</c:v>
                </c:pt>
                <c:pt idx="759">
                  <c:v>Pave D'Affi</c:v>
                </c:pt>
                <c:pt idx="760">
                  <c:v>All Others</c:v>
                </c:pt>
                <c:pt idx="761">
                  <c:v>All Others</c:v>
                </c:pt>
                <c:pt idx="762">
                  <c:v>Aperivrais</c:v>
                </c:pt>
                <c:pt idx="763">
                  <c:v>All Others</c:v>
                </c:pt>
                <c:pt idx="764">
                  <c:v>Salakis</c:v>
                </c:pt>
                <c:pt idx="765">
                  <c:v>President</c:v>
                </c:pt>
                <c:pt idx="766">
                  <c:v>Private Lab</c:v>
                </c:pt>
                <c:pt idx="767">
                  <c:v>Private Lab</c:v>
                </c:pt>
                <c:pt idx="768">
                  <c:v>Private Lab</c:v>
                </c:pt>
                <c:pt idx="769">
                  <c:v>All Others</c:v>
                </c:pt>
                <c:pt idx="770">
                  <c:v>La Belle Et</c:v>
                </c:pt>
                <c:pt idx="771">
                  <c:v>All Others</c:v>
                </c:pt>
                <c:pt idx="772">
                  <c:v>All Others</c:v>
                </c:pt>
                <c:pt idx="773">
                  <c:v>Saint Agur</c:v>
                </c:pt>
                <c:pt idx="774">
                  <c:v>Private Lab</c:v>
                </c:pt>
                <c:pt idx="775">
                  <c:v>Leerdammer</c:v>
                </c:pt>
                <c:pt idx="776">
                  <c:v>All Others</c:v>
                </c:pt>
                <c:pt idx="777">
                  <c:v>Private Lab</c:v>
                </c:pt>
                <c:pt idx="778">
                  <c:v>All Others</c:v>
                </c:pt>
                <c:pt idx="779">
                  <c:v>All Others</c:v>
                </c:pt>
                <c:pt idx="780">
                  <c:v>Boursin</c:v>
                </c:pt>
                <c:pt idx="781">
                  <c:v>Private Lab</c:v>
                </c:pt>
                <c:pt idx="782">
                  <c:v>Savencia: A</c:v>
                </c:pt>
                <c:pt idx="783">
                  <c:v>Richesmonts</c:v>
                </c:pt>
                <c:pt idx="784">
                  <c:v>All Others</c:v>
                </c:pt>
                <c:pt idx="785">
                  <c:v>Leerdammer</c:v>
                </c:pt>
                <c:pt idx="786">
                  <c:v>All Others</c:v>
                </c:pt>
                <c:pt idx="787">
                  <c:v>Private Lab</c:v>
                </c:pt>
                <c:pt idx="788">
                  <c:v>Bresse Bleu</c:v>
                </c:pt>
                <c:pt idx="789">
                  <c:v>Mini Babybe</c:v>
                </c:pt>
                <c:pt idx="790">
                  <c:v>All Others</c:v>
                </c:pt>
                <c:pt idx="791">
                  <c:v>St Moret</c:v>
                </c:pt>
                <c:pt idx="792">
                  <c:v>All Others</c:v>
                </c:pt>
                <c:pt idx="793">
                  <c:v>President</c:v>
                </c:pt>
                <c:pt idx="794">
                  <c:v>All Others</c:v>
                </c:pt>
                <c:pt idx="795">
                  <c:v>Saint Agur</c:v>
                </c:pt>
                <c:pt idx="796">
                  <c:v>President</c:v>
                </c:pt>
                <c:pt idx="797">
                  <c:v>Lou Perac</c:v>
                </c:pt>
                <c:pt idx="798">
                  <c:v>Fol Epi</c:v>
                </c:pt>
                <c:pt idx="799">
                  <c:v>Etoile Du V</c:v>
                </c:pt>
                <c:pt idx="800">
                  <c:v>All Others</c:v>
                </c:pt>
                <c:pt idx="801">
                  <c:v>All Others</c:v>
                </c:pt>
                <c:pt idx="802">
                  <c:v>Nurishh</c:v>
                </c:pt>
                <c:pt idx="803">
                  <c:v>President</c:v>
                </c:pt>
                <c:pt idx="804">
                  <c:v>Apericube</c:v>
                </c:pt>
                <c:pt idx="805">
                  <c:v>All Others</c:v>
                </c:pt>
                <c:pt idx="806">
                  <c:v>Private Lab</c:v>
                </c:pt>
                <c:pt idx="807">
                  <c:v>La Vache Qu</c:v>
                </c:pt>
                <c:pt idx="808">
                  <c:v>Richesmonts</c:v>
                </c:pt>
                <c:pt idx="809">
                  <c:v>All Others</c:v>
                </c:pt>
                <c:pt idx="810">
                  <c:v>Private Lab</c:v>
                </c:pt>
                <c:pt idx="811">
                  <c:v>Apericube</c:v>
                </c:pt>
                <c:pt idx="812">
                  <c:v>All Others</c:v>
                </c:pt>
                <c:pt idx="813">
                  <c:v>All Others</c:v>
                </c:pt>
                <c:pt idx="814">
                  <c:v>Boursin</c:v>
                </c:pt>
                <c:pt idx="815">
                  <c:v>Triballat R</c:v>
                </c:pt>
                <c:pt idx="816">
                  <c:v>All Others</c:v>
                </c:pt>
                <c:pt idx="817">
                  <c:v>Savencia: A</c:v>
                </c:pt>
                <c:pt idx="818">
                  <c:v>All Others</c:v>
                </c:pt>
                <c:pt idx="819">
                  <c:v>All Others</c:v>
                </c:pt>
                <c:pt idx="820">
                  <c:v>President</c:v>
                </c:pt>
                <c:pt idx="821">
                  <c:v>All Others</c:v>
                </c:pt>
                <c:pt idx="822">
                  <c:v>O'Tapas Ape</c:v>
                </c:pt>
                <c:pt idx="823">
                  <c:v>Eurial Autr</c:v>
                </c:pt>
                <c:pt idx="824">
                  <c:v>St Moret</c:v>
                </c:pt>
                <c:pt idx="825">
                  <c:v>All Others</c:v>
                </c:pt>
                <c:pt idx="826">
                  <c:v>Aperivrais</c:v>
                </c:pt>
                <c:pt idx="827">
                  <c:v>All Others</c:v>
                </c:pt>
                <c:pt idx="828">
                  <c:v>Bresse Bleu</c:v>
                </c:pt>
                <c:pt idx="829">
                  <c:v>Leerdammer</c:v>
                </c:pt>
                <c:pt idx="830">
                  <c:v>All Others</c:v>
                </c:pt>
                <c:pt idx="831">
                  <c:v>Entremont</c:v>
                </c:pt>
                <c:pt idx="832">
                  <c:v>Savencia: A</c:v>
                </c:pt>
                <c:pt idx="833">
                  <c:v>All Others</c:v>
                </c:pt>
                <c:pt idx="834">
                  <c:v>All Others</c:v>
                </c:pt>
                <c:pt idx="835">
                  <c:v>Private Lab</c:v>
                </c:pt>
                <c:pt idx="836">
                  <c:v>All Others</c:v>
                </c:pt>
                <c:pt idx="837">
                  <c:v>All Others</c:v>
                </c:pt>
                <c:pt idx="838">
                  <c:v>Nurishh</c:v>
                </c:pt>
                <c:pt idx="839">
                  <c:v>St Moret</c:v>
                </c:pt>
                <c:pt idx="840">
                  <c:v>Islos</c:v>
                </c:pt>
                <c:pt idx="841">
                  <c:v>All Others</c:v>
                </c:pt>
                <c:pt idx="842">
                  <c:v>All Others</c:v>
                </c:pt>
                <c:pt idx="843">
                  <c:v>Richesmonts</c:v>
                </c:pt>
                <c:pt idx="844">
                  <c:v>Eurial Autr</c:v>
                </c:pt>
                <c:pt idx="845">
                  <c:v>Triballat N</c:v>
                </c:pt>
                <c:pt idx="846">
                  <c:v>Private Lab</c:v>
                </c:pt>
                <c:pt idx="847">
                  <c:v>President</c:v>
                </c:pt>
                <c:pt idx="848">
                  <c:v>All Others</c:v>
                </c:pt>
                <c:pt idx="849">
                  <c:v>All Others</c:v>
                </c:pt>
                <c:pt idx="850">
                  <c:v>Aperivrais</c:v>
                </c:pt>
                <c:pt idx="851">
                  <c:v>La Belle Et</c:v>
                </c:pt>
                <c:pt idx="852">
                  <c:v>All Others</c:v>
                </c:pt>
                <c:pt idx="853">
                  <c:v>All Others</c:v>
                </c:pt>
                <c:pt idx="854">
                  <c:v>All Others</c:v>
                </c:pt>
                <c:pt idx="855">
                  <c:v>Private Lab</c:v>
                </c:pt>
                <c:pt idx="856">
                  <c:v>Private Lab</c:v>
                </c:pt>
                <c:pt idx="857">
                  <c:v>Etorki</c:v>
                </c:pt>
                <c:pt idx="858">
                  <c:v>Private Lab</c:v>
                </c:pt>
                <c:pt idx="859">
                  <c:v>Boursin</c:v>
                </c:pt>
                <c:pt idx="860">
                  <c:v>Apericube</c:v>
                </c:pt>
                <c:pt idx="861">
                  <c:v>Entremont</c:v>
                </c:pt>
                <c:pt idx="862">
                  <c:v>L'Ortolan</c:v>
                </c:pt>
                <c:pt idx="863">
                  <c:v>Violife</c:v>
                </c:pt>
                <c:pt idx="864">
                  <c:v>Etoile Du Q</c:v>
                </c:pt>
                <c:pt idx="865">
                  <c:v>Lactalis: A</c:v>
                </c:pt>
                <c:pt idx="866">
                  <c:v>Tartare</c:v>
                </c:pt>
                <c:pt idx="867">
                  <c:v>Lactalis: A</c:v>
                </c:pt>
                <c:pt idx="868">
                  <c:v>Violife</c:v>
                </c:pt>
                <c:pt idx="869">
                  <c:v>All Others</c:v>
                </c:pt>
                <c:pt idx="870">
                  <c:v>All Others</c:v>
                </c:pt>
                <c:pt idx="871">
                  <c:v>All Others</c:v>
                </c:pt>
                <c:pt idx="872">
                  <c:v>Nurishh</c:v>
                </c:pt>
                <c:pt idx="873">
                  <c:v>Eurial Autr</c:v>
                </c:pt>
                <c:pt idx="874">
                  <c:v>All Others</c:v>
                </c:pt>
                <c:pt idx="875">
                  <c:v>All Others</c:v>
                </c:pt>
                <c:pt idx="876">
                  <c:v>Lactalis: A</c:v>
                </c:pt>
                <c:pt idx="877">
                  <c:v>Private Lab</c:v>
                </c:pt>
                <c:pt idx="878">
                  <c:v>Etoile Du V</c:v>
                </c:pt>
                <c:pt idx="879">
                  <c:v>All Others</c:v>
                </c:pt>
                <c:pt idx="880">
                  <c:v>All Others</c:v>
                </c:pt>
                <c:pt idx="881">
                  <c:v>All Others</c:v>
                </c:pt>
                <c:pt idx="882">
                  <c:v>All Others</c:v>
                </c:pt>
                <c:pt idx="883">
                  <c:v>Nurishh</c:v>
                </c:pt>
                <c:pt idx="884">
                  <c:v>All Others</c:v>
                </c:pt>
                <c:pt idx="885">
                  <c:v>All Others</c:v>
                </c:pt>
                <c:pt idx="886">
                  <c:v>Private Lab</c:v>
                </c:pt>
                <c:pt idx="887">
                  <c:v>Nurishh</c:v>
                </c:pt>
                <c:pt idx="888">
                  <c:v>All Others</c:v>
                </c:pt>
                <c:pt idx="889">
                  <c:v>All Others</c:v>
                </c:pt>
                <c:pt idx="890">
                  <c:v>All Others</c:v>
                </c:pt>
                <c:pt idx="891">
                  <c:v>Nurishh</c:v>
                </c:pt>
                <c:pt idx="892">
                  <c:v>Violife</c:v>
                </c:pt>
                <c:pt idx="893">
                  <c:v>All Others</c:v>
                </c:pt>
                <c:pt idx="894">
                  <c:v>Casa Azzurr</c:v>
                </c:pt>
                <c:pt idx="895">
                  <c:v>Boursin</c:v>
                </c:pt>
                <c:pt idx="896">
                  <c:v>All Others</c:v>
                </c:pt>
                <c:pt idx="897">
                  <c:v>All Others</c:v>
                </c:pt>
                <c:pt idx="898">
                  <c:v>Private Lab</c:v>
                </c:pt>
                <c:pt idx="899">
                  <c:v>All Others</c:v>
                </c:pt>
                <c:pt idx="900">
                  <c:v>Leerdammer</c:v>
                </c:pt>
                <c:pt idx="901">
                  <c:v>All Others</c:v>
                </c:pt>
                <c:pt idx="902">
                  <c:v>All Others</c:v>
                </c:pt>
                <c:pt idx="903">
                  <c:v>Aperivrais</c:v>
                </c:pt>
                <c:pt idx="904">
                  <c:v>Etoile Du Q</c:v>
                </c:pt>
                <c:pt idx="905">
                  <c:v>Boursin</c:v>
                </c:pt>
                <c:pt idx="906">
                  <c:v>All Others</c:v>
                </c:pt>
                <c:pt idx="907">
                  <c:v>All Others</c:v>
                </c:pt>
                <c:pt idx="908">
                  <c:v>Entremont</c:v>
                </c:pt>
                <c:pt idx="909">
                  <c:v>All Others</c:v>
                </c:pt>
                <c:pt idx="910">
                  <c:v>Nurishh</c:v>
                </c:pt>
                <c:pt idx="911">
                  <c:v>Private Lab</c:v>
                </c:pt>
                <c:pt idx="912">
                  <c:v>All Others</c:v>
                </c:pt>
                <c:pt idx="913">
                  <c:v>Private Lab</c:v>
                </c:pt>
                <c:pt idx="914">
                  <c:v>Soignon</c:v>
                </c:pt>
                <c:pt idx="915">
                  <c:v>All Others</c:v>
                </c:pt>
                <c:pt idx="916">
                  <c:v>All Others</c:v>
                </c:pt>
                <c:pt idx="917">
                  <c:v>All Others</c:v>
                </c:pt>
                <c:pt idx="918">
                  <c:v>Lactalis: A</c:v>
                </c:pt>
                <c:pt idx="919">
                  <c:v>All Others</c:v>
                </c:pt>
                <c:pt idx="920">
                  <c:v>La Belle Et</c:v>
                </c:pt>
                <c:pt idx="921">
                  <c:v>All Others</c:v>
                </c:pt>
                <c:pt idx="922">
                  <c:v>Soignon</c:v>
                </c:pt>
                <c:pt idx="923">
                  <c:v>All Others</c:v>
                </c:pt>
                <c:pt idx="924">
                  <c:v>All Others</c:v>
                </c:pt>
                <c:pt idx="925">
                  <c:v>Savencia: A</c:v>
                </c:pt>
                <c:pt idx="926">
                  <c:v>All Others</c:v>
                </c:pt>
                <c:pt idx="927">
                  <c:v>Savencia: A</c:v>
                </c:pt>
                <c:pt idx="928">
                  <c:v>President</c:v>
                </c:pt>
                <c:pt idx="929">
                  <c:v>Triballat N</c:v>
                </c:pt>
                <c:pt idx="930">
                  <c:v>Boursin</c:v>
                </c:pt>
                <c:pt idx="931">
                  <c:v>Eurial Autr</c:v>
                </c:pt>
                <c:pt idx="932">
                  <c:v>All Others</c:v>
                </c:pt>
                <c:pt idx="933">
                  <c:v>Le Brebiou</c:v>
                </c:pt>
                <c:pt idx="934">
                  <c:v>All Others</c:v>
                </c:pt>
                <c:pt idx="935">
                  <c:v>All Others</c:v>
                </c:pt>
                <c:pt idx="936">
                  <c:v>Savencia: A</c:v>
                </c:pt>
                <c:pt idx="937">
                  <c:v>All Others</c:v>
                </c:pt>
                <c:pt idx="938">
                  <c:v>Lactalis: A</c:v>
                </c:pt>
                <c:pt idx="939">
                  <c:v>All Others</c:v>
                </c:pt>
                <c:pt idx="940">
                  <c:v>All Others</c:v>
                </c:pt>
                <c:pt idx="941">
                  <c:v>Private Lab</c:v>
                </c:pt>
                <c:pt idx="942">
                  <c:v>All Others</c:v>
                </c:pt>
                <c:pt idx="943">
                  <c:v>O'Tapas Ape</c:v>
                </c:pt>
                <c:pt idx="944">
                  <c:v>All Others</c:v>
                </c:pt>
                <c:pt idx="945">
                  <c:v>Lactalis: A</c:v>
                </c:pt>
                <c:pt idx="946">
                  <c:v>All Others</c:v>
                </c:pt>
                <c:pt idx="947">
                  <c:v>Private Lab</c:v>
                </c:pt>
                <c:pt idx="948">
                  <c:v>All Others</c:v>
                </c:pt>
                <c:pt idx="949">
                  <c:v>All Others</c:v>
                </c:pt>
                <c:pt idx="950">
                  <c:v>Richesmonts</c:v>
                </c:pt>
                <c:pt idx="951">
                  <c:v>Entremont</c:v>
                </c:pt>
                <c:pt idx="952">
                  <c:v>Bresse Bleu</c:v>
                </c:pt>
                <c:pt idx="953">
                  <c:v>All Others</c:v>
                </c:pt>
                <c:pt idx="954">
                  <c:v>All Others</c:v>
                </c:pt>
                <c:pt idx="955">
                  <c:v>All Others</c:v>
                </c:pt>
                <c:pt idx="956">
                  <c:v>All Others</c:v>
                </c:pt>
                <c:pt idx="957">
                  <c:v>Chavroux</c:v>
                </c:pt>
                <c:pt idx="958">
                  <c:v>Private Lab</c:v>
                </c:pt>
                <c:pt idx="959">
                  <c:v>Coeur De Li</c:v>
                </c:pt>
                <c:pt idx="960">
                  <c:v>Salakis</c:v>
                </c:pt>
                <c:pt idx="961">
                  <c:v>All Others</c:v>
                </c:pt>
                <c:pt idx="962">
                  <c:v>Private Lab</c:v>
                </c:pt>
                <c:pt idx="963">
                  <c:v>All Others</c:v>
                </c:pt>
                <c:pt idx="964">
                  <c:v>All Others</c:v>
                </c:pt>
                <c:pt idx="965">
                  <c:v>Pave D'Affi</c:v>
                </c:pt>
                <c:pt idx="966">
                  <c:v>All Others</c:v>
                </c:pt>
                <c:pt idx="967">
                  <c:v>All Others</c:v>
                </c:pt>
                <c:pt idx="968">
                  <c:v>Milleret: A</c:v>
                </c:pt>
                <c:pt idx="969">
                  <c:v>Violife</c:v>
                </c:pt>
                <c:pt idx="970">
                  <c:v>Etoile Du V</c:v>
                </c:pt>
                <c:pt idx="971">
                  <c:v>Fauquet</c:v>
                </c:pt>
                <c:pt idx="972">
                  <c:v>All Others</c:v>
                </c:pt>
                <c:pt idx="973">
                  <c:v>All Others</c:v>
                </c:pt>
                <c:pt idx="974">
                  <c:v>Etoile Du V</c:v>
                </c:pt>
                <c:pt idx="975">
                  <c:v>Milleret: A</c:v>
                </c:pt>
                <c:pt idx="976">
                  <c:v>Paysan Bret</c:v>
                </c:pt>
                <c:pt idx="977">
                  <c:v>Port Salut</c:v>
                </c:pt>
                <c:pt idx="978">
                  <c:v>Etoile Du V</c:v>
                </c:pt>
                <c:pt idx="979">
                  <c:v>Private Lab</c:v>
                </c:pt>
                <c:pt idx="980">
                  <c:v>Apericube</c:v>
                </c:pt>
                <c:pt idx="981">
                  <c:v>All Others</c:v>
                </c:pt>
                <c:pt idx="982">
                  <c:v>All Others</c:v>
                </c:pt>
                <c:pt idx="983">
                  <c:v>Lactalis: A</c:v>
                </c:pt>
                <c:pt idx="984">
                  <c:v>All Others</c:v>
                </c:pt>
                <c:pt idx="985">
                  <c:v>Casa Azzurr</c:v>
                </c:pt>
                <c:pt idx="986">
                  <c:v>All Others</c:v>
                </c:pt>
                <c:pt idx="987">
                  <c:v>All Others</c:v>
                </c:pt>
                <c:pt idx="988">
                  <c:v>All Others</c:v>
                </c:pt>
                <c:pt idx="989">
                  <c:v>All Others</c:v>
                </c:pt>
                <c:pt idx="990">
                  <c:v>Juraflore</c:v>
                </c:pt>
                <c:pt idx="991">
                  <c:v>All Others</c:v>
                </c:pt>
                <c:pt idx="992">
                  <c:v>All Others</c:v>
                </c:pt>
                <c:pt idx="993">
                  <c:v>Carre Frais</c:v>
                </c:pt>
                <c:pt idx="994">
                  <c:v>All Others</c:v>
                </c:pt>
                <c:pt idx="995">
                  <c:v>President</c:v>
                </c:pt>
                <c:pt idx="996">
                  <c:v>Nurishh</c:v>
                </c:pt>
                <c:pt idx="997">
                  <c:v>Violife</c:v>
                </c:pt>
                <c:pt idx="998">
                  <c:v>Triballat R</c:v>
                </c:pt>
                <c:pt idx="999">
                  <c:v>All Others</c:v>
                </c:pt>
                <c:pt idx="1000">
                  <c:v>All Others</c:v>
                </c:pt>
                <c:pt idx="1001">
                  <c:v>All Others</c:v>
                </c:pt>
                <c:pt idx="1002">
                  <c:v>Tartare</c:v>
                </c:pt>
                <c:pt idx="1003">
                  <c:v>Apericube</c:v>
                </c:pt>
                <c:pt idx="1004">
                  <c:v>All Others</c:v>
                </c:pt>
                <c:pt idx="1005">
                  <c:v>All Others</c:v>
                </c:pt>
                <c:pt idx="1006">
                  <c:v>Eurial Autr</c:v>
                </c:pt>
                <c:pt idx="1007">
                  <c:v>All Others</c:v>
                </c:pt>
                <c:pt idx="1008">
                  <c:v>All Others</c:v>
                </c:pt>
                <c:pt idx="1009">
                  <c:v>Casa Azzurr</c:v>
                </c:pt>
                <c:pt idx="1010">
                  <c:v>Paysan Bret</c:v>
                </c:pt>
                <c:pt idx="1011">
                  <c:v>All Others</c:v>
                </c:pt>
                <c:pt idx="1012">
                  <c:v>All Others</c:v>
                </c:pt>
                <c:pt idx="1013">
                  <c:v>Private Lab</c:v>
                </c:pt>
                <c:pt idx="1014">
                  <c:v>All Others</c:v>
                </c:pt>
                <c:pt idx="1015">
                  <c:v>All Others</c:v>
                </c:pt>
                <c:pt idx="1016">
                  <c:v>All Others</c:v>
                </c:pt>
                <c:pt idx="1017">
                  <c:v>All Others</c:v>
                </c:pt>
                <c:pt idx="1018">
                  <c:v>All Others</c:v>
                </c:pt>
                <c:pt idx="1019">
                  <c:v>Private Lab</c:v>
                </c:pt>
                <c:pt idx="1020">
                  <c:v>All Others</c:v>
                </c:pt>
                <c:pt idx="1021">
                  <c:v>Boursin</c:v>
                </c:pt>
                <c:pt idx="1022">
                  <c:v>Societe</c:v>
                </c:pt>
                <c:pt idx="1023">
                  <c:v>Etoile Du V</c:v>
                </c:pt>
                <c:pt idx="1024">
                  <c:v>Etoile Du Q</c:v>
                </c:pt>
                <c:pt idx="1025">
                  <c:v>Private Lab</c:v>
                </c:pt>
                <c:pt idx="1026">
                  <c:v>All Others</c:v>
                </c:pt>
                <c:pt idx="1027">
                  <c:v>All Others</c:v>
                </c:pt>
                <c:pt idx="1028">
                  <c:v>Saint Albra</c:v>
                </c:pt>
                <c:pt idx="1029">
                  <c:v>La Vache Qu</c:v>
                </c:pt>
                <c:pt idx="1030">
                  <c:v>All Others</c:v>
                </c:pt>
                <c:pt idx="1031">
                  <c:v>Lactalis: A</c:v>
                </c:pt>
                <c:pt idx="1032">
                  <c:v>All Others</c:v>
                </c:pt>
                <c:pt idx="1033">
                  <c:v>Pochat</c:v>
                </c:pt>
                <c:pt idx="1034">
                  <c:v>Private Lab</c:v>
                </c:pt>
                <c:pt idx="1035">
                  <c:v>All Others</c:v>
                </c:pt>
                <c:pt idx="1036">
                  <c:v>All Others</c:v>
                </c:pt>
                <c:pt idx="1037">
                  <c:v>All Others</c:v>
                </c:pt>
                <c:pt idx="1038">
                  <c:v>All Others</c:v>
                </c:pt>
                <c:pt idx="1039">
                  <c:v>Private Lab</c:v>
                </c:pt>
                <c:pt idx="1040">
                  <c:v>All Others</c:v>
                </c:pt>
                <c:pt idx="1041">
                  <c:v>All Others</c:v>
                </c:pt>
                <c:pt idx="1042">
                  <c:v>Private Lab</c:v>
                </c:pt>
                <c:pt idx="1043">
                  <c:v>All Others</c:v>
                </c:pt>
                <c:pt idx="1044">
                  <c:v>Galbani</c:v>
                </c:pt>
                <c:pt idx="1045">
                  <c:v>All Others</c:v>
                </c:pt>
                <c:pt idx="1046">
                  <c:v>All Others</c:v>
                </c:pt>
                <c:pt idx="1047">
                  <c:v>Milleret: A</c:v>
                </c:pt>
                <c:pt idx="1048">
                  <c:v>Etoile Du V</c:v>
                </c:pt>
                <c:pt idx="1049">
                  <c:v>All Others</c:v>
                </c:pt>
                <c:pt idx="1050">
                  <c:v>Corsica</c:v>
                </c:pt>
                <c:pt idx="1051">
                  <c:v>Lactalis: A</c:v>
                </c:pt>
                <c:pt idx="1052">
                  <c:v>Eurial Autr</c:v>
                </c:pt>
                <c:pt idx="1053">
                  <c:v>All Others</c:v>
                </c:pt>
                <c:pt idx="1054">
                  <c:v>All Others</c:v>
                </c:pt>
                <c:pt idx="1055">
                  <c:v>All Others</c:v>
                </c:pt>
                <c:pt idx="1056">
                  <c:v>All Others</c:v>
                </c:pt>
                <c:pt idx="1057">
                  <c:v>Private Lab</c:v>
                </c:pt>
                <c:pt idx="1058">
                  <c:v>All Others</c:v>
                </c:pt>
                <c:pt idx="1059">
                  <c:v>All Others</c:v>
                </c:pt>
                <c:pt idx="1060">
                  <c:v>All Others</c:v>
                </c:pt>
                <c:pt idx="1061">
                  <c:v>All Others</c:v>
                </c:pt>
                <c:pt idx="1062">
                  <c:v>Private Lab</c:v>
                </c:pt>
                <c:pt idx="1063">
                  <c:v>All Others</c:v>
                </c:pt>
                <c:pt idx="1064">
                  <c:v>All Others</c:v>
                </c:pt>
                <c:pt idx="1065">
                  <c:v>O'Tapas Ape</c:v>
                </c:pt>
                <c:pt idx="1066">
                  <c:v>Lactalis: A</c:v>
                </c:pt>
                <c:pt idx="1067">
                  <c:v>Private Lab</c:v>
                </c:pt>
                <c:pt idx="1068">
                  <c:v>Eurial Autr</c:v>
                </c:pt>
                <c:pt idx="1069">
                  <c:v>All Others</c:v>
                </c:pt>
                <c:pt idx="1070">
                  <c:v>All Others</c:v>
                </c:pt>
                <c:pt idx="1071">
                  <c:v>All Others</c:v>
                </c:pt>
                <c:pt idx="1072">
                  <c:v>Private Lab</c:v>
                </c:pt>
                <c:pt idx="1073">
                  <c:v>All Others</c:v>
                </c:pt>
                <c:pt idx="1074">
                  <c:v>All Others</c:v>
                </c:pt>
                <c:pt idx="1075">
                  <c:v>All Others</c:v>
                </c:pt>
                <c:pt idx="1076">
                  <c:v>Private Lab</c:v>
                </c:pt>
                <c:pt idx="1077">
                  <c:v>All Others</c:v>
                </c:pt>
                <c:pt idx="1078">
                  <c:v>Private Lab</c:v>
                </c:pt>
                <c:pt idx="1079">
                  <c:v>Mini Babybe</c:v>
                </c:pt>
                <c:pt idx="1080">
                  <c:v>Pochat</c:v>
                </c:pt>
                <c:pt idx="1081">
                  <c:v>All Others</c:v>
                </c:pt>
                <c:pt idx="1082">
                  <c:v>All Others</c:v>
                </c:pt>
                <c:pt idx="1083">
                  <c:v>Richesmonts</c:v>
                </c:pt>
                <c:pt idx="1084">
                  <c:v>All Others</c:v>
                </c:pt>
                <c:pt idx="1085">
                  <c:v>All Others</c:v>
                </c:pt>
                <c:pt idx="1086">
                  <c:v>All Others</c:v>
                </c:pt>
                <c:pt idx="1087">
                  <c:v>All Others</c:v>
                </c:pt>
                <c:pt idx="1088">
                  <c:v>All Others</c:v>
                </c:pt>
                <c:pt idx="1089">
                  <c:v>All Others</c:v>
                </c:pt>
                <c:pt idx="1090">
                  <c:v>All Others</c:v>
                </c:pt>
                <c:pt idx="1091">
                  <c:v>Galbani</c:v>
                </c:pt>
                <c:pt idx="1092">
                  <c:v>All Others</c:v>
                </c:pt>
                <c:pt idx="1093">
                  <c:v>P'Tit Louis</c:v>
                </c:pt>
                <c:pt idx="1094">
                  <c:v>All Others</c:v>
                </c:pt>
                <c:pt idx="1095">
                  <c:v>All Others</c:v>
                </c:pt>
                <c:pt idx="1096">
                  <c:v>All Others</c:v>
                </c:pt>
                <c:pt idx="1097">
                  <c:v>All Others</c:v>
                </c:pt>
                <c:pt idx="1098">
                  <c:v>All Others</c:v>
                </c:pt>
                <c:pt idx="1099">
                  <c:v>Boursin</c:v>
                </c:pt>
                <c:pt idx="1100">
                  <c:v>All Others</c:v>
                </c:pt>
                <c:pt idx="1101">
                  <c:v>All Others</c:v>
                </c:pt>
                <c:pt idx="1102">
                  <c:v>Private Lab</c:v>
                </c:pt>
                <c:pt idx="1103">
                  <c:v>Boursin</c:v>
                </c:pt>
                <c:pt idx="1104">
                  <c:v>Boursin</c:v>
                </c:pt>
                <c:pt idx="1105">
                  <c:v>All Others</c:v>
                </c:pt>
                <c:pt idx="1106">
                  <c:v>All Others</c:v>
                </c:pt>
                <c:pt idx="1107">
                  <c:v>Private Lab</c:v>
                </c:pt>
                <c:pt idx="1108">
                  <c:v>All Others</c:v>
                </c:pt>
                <c:pt idx="1109">
                  <c:v>All Others</c:v>
                </c:pt>
                <c:pt idx="1110">
                  <c:v>All Others</c:v>
                </c:pt>
                <c:pt idx="1111">
                  <c:v>Private Lab</c:v>
                </c:pt>
                <c:pt idx="1112">
                  <c:v>All Others</c:v>
                </c:pt>
                <c:pt idx="1113">
                  <c:v>All Others</c:v>
                </c:pt>
                <c:pt idx="1114">
                  <c:v>All Others</c:v>
                </c:pt>
                <c:pt idx="1115">
                  <c:v>Triballat N</c:v>
                </c:pt>
                <c:pt idx="1116">
                  <c:v>Lactalis: A</c:v>
                </c:pt>
                <c:pt idx="1117">
                  <c:v>All Others</c:v>
                </c:pt>
                <c:pt idx="1118">
                  <c:v>All Others</c:v>
                </c:pt>
                <c:pt idx="1119">
                  <c:v>Petit Billy</c:v>
                </c:pt>
                <c:pt idx="1120">
                  <c:v>La Vache Qu</c:v>
                </c:pt>
                <c:pt idx="1121">
                  <c:v>Private Lab</c:v>
                </c:pt>
                <c:pt idx="1122">
                  <c:v>All Others</c:v>
                </c:pt>
                <c:pt idx="1123">
                  <c:v>Entremont</c:v>
                </c:pt>
                <c:pt idx="1124">
                  <c:v>All Others</c:v>
                </c:pt>
                <c:pt idx="1125">
                  <c:v>Private Lab</c:v>
                </c:pt>
                <c:pt idx="1126">
                  <c:v>Private Lab</c:v>
                </c:pt>
                <c:pt idx="1127">
                  <c:v>Galbani</c:v>
                </c:pt>
                <c:pt idx="1128">
                  <c:v>All Others</c:v>
                </c:pt>
                <c:pt idx="1129">
                  <c:v>All Others</c:v>
                </c:pt>
                <c:pt idx="1130">
                  <c:v>Lactalis: A</c:v>
                </c:pt>
                <c:pt idx="1131">
                  <c:v>All Others</c:v>
                </c:pt>
                <c:pt idx="1132">
                  <c:v>All Others</c:v>
                </c:pt>
                <c:pt idx="1133">
                  <c:v>All Others</c:v>
                </c:pt>
                <c:pt idx="1134">
                  <c:v>Savencia: A</c:v>
                </c:pt>
                <c:pt idx="1135">
                  <c:v>Pave D'Affi</c:v>
                </c:pt>
                <c:pt idx="1136">
                  <c:v>All Others</c:v>
                </c:pt>
                <c:pt idx="1137">
                  <c:v>Le Saint Am</c:v>
                </c:pt>
                <c:pt idx="1138">
                  <c:v>Societe</c:v>
                </c:pt>
                <c:pt idx="1139">
                  <c:v>St Moret</c:v>
                </c:pt>
                <c:pt idx="1140">
                  <c:v>All Others</c:v>
                </c:pt>
                <c:pt idx="1141">
                  <c:v>All Others</c:v>
                </c:pt>
                <c:pt idx="1142">
                  <c:v>Boursin</c:v>
                </c:pt>
                <c:pt idx="1143">
                  <c:v>All Others</c:v>
                </c:pt>
                <c:pt idx="1144">
                  <c:v>All Others</c:v>
                </c:pt>
                <c:pt idx="1145">
                  <c:v>All Others</c:v>
                </c:pt>
                <c:pt idx="1146">
                  <c:v>Pave D'Affi</c:v>
                </c:pt>
                <c:pt idx="1147">
                  <c:v>L'Ortolan</c:v>
                </c:pt>
                <c:pt idx="1148">
                  <c:v>All Others</c:v>
                </c:pt>
                <c:pt idx="1149">
                  <c:v>Le Saint Am</c:v>
                </c:pt>
                <c:pt idx="1150">
                  <c:v>All Others</c:v>
                </c:pt>
                <c:pt idx="1151">
                  <c:v>All Others</c:v>
                </c:pt>
                <c:pt idx="1152">
                  <c:v>All Others</c:v>
                </c:pt>
                <c:pt idx="1153">
                  <c:v>All Others</c:v>
                </c:pt>
                <c:pt idx="1154">
                  <c:v>Nurishh</c:v>
                </c:pt>
                <c:pt idx="1155">
                  <c:v>Savencia: A</c:v>
                </c:pt>
                <c:pt idx="1156">
                  <c:v>La Vache Qu</c:v>
                </c:pt>
                <c:pt idx="1157">
                  <c:v>All Others</c:v>
                </c:pt>
                <c:pt idx="1158">
                  <c:v>All Others</c:v>
                </c:pt>
                <c:pt idx="1159">
                  <c:v>All Others</c:v>
                </c:pt>
                <c:pt idx="1160">
                  <c:v>All Others</c:v>
                </c:pt>
                <c:pt idx="1161">
                  <c:v>All Others</c:v>
                </c:pt>
                <c:pt idx="1162">
                  <c:v>All Others</c:v>
                </c:pt>
                <c:pt idx="1163">
                  <c:v>Triballat N</c:v>
                </c:pt>
                <c:pt idx="1164">
                  <c:v>All Others</c:v>
                </c:pt>
                <c:pt idx="1165">
                  <c:v>Entremont</c:v>
                </c:pt>
                <c:pt idx="1166">
                  <c:v>All Others</c:v>
                </c:pt>
                <c:pt idx="1167">
                  <c:v>All Others</c:v>
                </c:pt>
                <c:pt idx="1168">
                  <c:v>All Others</c:v>
                </c:pt>
                <c:pt idx="1169">
                  <c:v>All Others</c:v>
                </c:pt>
                <c:pt idx="1170">
                  <c:v>Etoile Du V</c:v>
                </c:pt>
                <c:pt idx="1171">
                  <c:v>All Others</c:v>
                </c:pt>
                <c:pt idx="1172">
                  <c:v>All Others</c:v>
                </c:pt>
                <c:pt idx="1173">
                  <c:v>Boursin</c:v>
                </c:pt>
                <c:pt idx="1174">
                  <c:v>All Others</c:v>
                </c:pt>
                <c:pt idx="1175">
                  <c:v>All Others</c:v>
                </c:pt>
                <c:pt idx="1176">
                  <c:v>Boursin</c:v>
                </c:pt>
                <c:pt idx="1177">
                  <c:v>Leerdammer</c:v>
                </c:pt>
                <c:pt idx="1178">
                  <c:v>All Others</c:v>
                </c:pt>
                <c:pt idx="1179">
                  <c:v>All Others</c:v>
                </c:pt>
                <c:pt idx="1180">
                  <c:v>All Others</c:v>
                </c:pt>
                <c:pt idx="1181">
                  <c:v>Savencia: A</c:v>
                </c:pt>
                <c:pt idx="1182">
                  <c:v>Etoile Du V</c:v>
                </c:pt>
                <c:pt idx="1183">
                  <c:v>Lactalis: A</c:v>
                </c:pt>
                <c:pt idx="1184">
                  <c:v>All Others</c:v>
                </c:pt>
                <c:pt idx="1185">
                  <c:v>La Vache Qu</c:v>
                </c:pt>
                <c:pt idx="1186">
                  <c:v>Etoile Du V</c:v>
                </c:pt>
                <c:pt idx="1187">
                  <c:v>All Others</c:v>
                </c:pt>
                <c:pt idx="1188">
                  <c:v>Paysan Bret</c:v>
                </c:pt>
                <c:pt idx="1189">
                  <c:v>All Others</c:v>
                </c:pt>
                <c:pt idx="1190">
                  <c:v>Private Lab</c:v>
                </c:pt>
                <c:pt idx="1191">
                  <c:v>Etoile Du Q</c:v>
                </c:pt>
                <c:pt idx="1192">
                  <c:v>All Others</c:v>
                </c:pt>
                <c:pt idx="1193">
                  <c:v>Paysan Bret</c:v>
                </c:pt>
                <c:pt idx="1194">
                  <c:v>Private Lab</c:v>
                </c:pt>
                <c:pt idx="1195">
                  <c:v>All Others</c:v>
                </c:pt>
                <c:pt idx="1196">
                  <c:v>Private Lab</c:v>
                </c:pt>
                <c:pt idx="1197">
                  <c:v>Private Lab</c:v>
                </c:pt>
                <c:pt idx="1198">
                  <c:v>All Others</c:v>
                </c:pt>
                <c:pt idx="1199">
                  <c:v>All Others</c:v>
                </c:pt>
                <c:pt idx="1200">
                  <c:v>Savencia: A</c:v>
                </c:pt>
                <c:pt idx="1201">
                  <c:v>All Others</c:v>
                </c:pt>
                <c:pt idx="1202">
                  <c:v>All Others</c:v>
                </c:pt>
                <c:pt idx="1203">
                  <c:v>Salakis</c:v>
                </c:pt>
                <c:pt idx="1204">
                  <c:v>All Others</c:v>
                </c:pt>
                <c:pt idx="1205">
                  <c:v>Triballat N</c:v>
                </c:pt>
                <c:pt idx="1206">
                  <c:v>All Others</c:v>
                </c:pt>
                <c:pt idx="1207">
                  <c:v>Private Lab</c:v>
                </c:pt>
                <c:pt idx="1208">
                  <c:v>All Others</c:v>
                </c:pt>
                <c:pt idx="1209">
                  <c:v>All Others</c:v>
                </c:pt>
                <c:pt idx="1210">
                  <c:v>Raguin</c:v>
                </c:pt>
                <c:pt idx="1211">
                  <c:v>All Others</c:v>
                </c:pt>
                <c:pt idx="1212">
                  <c:v>Private Lab</c:v>
                </c:pt>
                <c:pt idx="1213">
                  <c:v>Raguin</c:v>
                </c:pt>
                <c:pt idx="1214">
                  <c:v>All Others</c:v>
                </c:pt>
                <c:pt idx="1215">
                  <c:v>All Others</c:v>
                </c:pt>
                <c:pt idx="1216">
                  <c:v>All Others</c:v>
                </c:pt>
                <c:pt idx="1217">
                  <c:v>Etoile Du V</c:v>
                </c:pt>
                <c:pt idx="1218">
                  <c:v>All Others</c:v>
                </c:pt>
                <c:pt idx="1219">
                  <c:v>All Others</c:v>
                </c:pt>
                <c:pt idx="1220">
                  <c:v>All Others</c:v>
                </c:pt>
                <c:pt idx="1221">
                  <c:v>Private Lab</c:v>
                </c:pt>
                <c:pt idx="1222">
                  <c:v>All Others</c:v>
                </c:pt>
                <c:pt idx="1223">
                  <c:v>Savencia: A</c:v>
                </c:pt>
                <c:pt idx="1224">
                  <c:v>All Others</c:v>
                </c:pt>
                <c:pt idx="1225">
                  <c:v>Lactalis: A</c:v>
                </c:pt>
                <c:pt idx="1226">
                  <c:v>Private Lab</c:v>
                </c:pt>
                <c:pt idx="1227">
                  <c:v>Raguin</c:v>
                </c:pt>
                <c:pt idx="1228">
                  <c:v>All Others</c:v>
                </c:pt>
                <c:pt idx="1229">
                  <c:v>All Others</c:v>
                </c:pt>
                <c:pt idx="1230">
                  <c:v>Pochat</c:v>
                </c:pt>
                <c:pt idx="1231">
                  <c:v>Savencia: A</c:v>
                </c:pt>
                <c:pt idx="1232">
                  <c:v>All Others</c:v>
                </c:pt>
                <c:pt idx="1233">
                  <c:v>La Pointe P</c:v>
                </c:pt>
                <c:pt idx="1234">
                  <c:v>Petit Billy</c:v>
                </c:pt>
                <c:pt idx="1235">
                  <c:v>Salakis</c:v>
                </c:pt>
                <c:pt idx="1236">
                  <c:v>Lactalis: A</c:v>
                </c:pt>
                <c:pt idx="1237">
                  <c:v>All Others</c:v>
                </c:pt>
                <c:pt idx="1238">
                  <c:v>La Belle Et</c:v>
                </c:pt>
                <c:pt idx="1239">
                  <c:v>Nurishh</c:v>
                </c:pt>
                <c:pt idx="1240">
                  <c:v>All Others</c:v>
                </c:pt>
                <c:pt idx="1241">
                  <c:v>President</c:v>
                </c:pt>
                <c:pt idx="1242">
                  <c:v>All Others</c:v>
                </c:pt>
                <c:pt idx="1243">
                  <c:v>All Others</c:v>
                </c:pt>
                <c:pt idx="1244">
                  <c:v>O'Tapas Ape</c:v>
                </c:pt>
                <c:pt idx="1245">
                  <c:v>All Others</c:v>
                </c:pt>
                <c:pt idx="1246">
                  <c:v>All Others</c:v>
                </c:pt>
                <c:pt idx="1247">
                  <c:v>All Others</c:v>
                </c:pt>
                <c:pt idx="1248">
                  <c:v>All Others</c:v>
                </c:pt>
                <c:pt idx="1249">
                  <c:v>All Others</c:v>
                </c:pt>
                <c:pt idx="1250">
                  <c:v>Private Lab</c:v>
                </c:pt>
                <c:pt idx="1251">
                  <c:v>All Others</c:v>
                </c:pt>
                <c:pt idx="1252">
                  <c:v>Private Lab</c:v>
                </c:pt>
                <c:pt idx="1253">
                  <c:v>Tartare</c:v>
                </c:pt>
                <c:pt idx="1254">
                  <c:v>All Others</c:v>
                </c:pt>
                <c:pt idx="1255">
                  <c:v>All Others</c:v>
                </c:pt>
                <c:pt idx="1256">
                  <c:v>All Others</c:v>
                </c:pt>
                <c:pt idx="1257">
                  <c:v>Lactalis: A</c:v>
                </c:pt>
                <c:pt idx="1258">
                  <c:v>All Others</c:v>
                </c:pt>
                <c:pt idx="1259">
                  <c:v>All Others</c:v>
                </c:pt>
                <c:pt idx="1260">
                  <c:v>All Others</c:v>
                </c:pt>
                <c:pt idx="1261">
                  <c:v>All Others</c:v>
                </c:pt>
                <c:pt idx="1262">
                  <c:v>All Others</c:v>
                </c:pt>
                <c:pt idx="1263">
                  <c:v>All Others</c:v>
                </c:pt>
                <c:pt idx="1264">
                  <c:v>Casa Azzurr</c:v>
                </c:pt>
                <c:pt idx="1265">
                  <c:v>Private Lab</c:v>
                </c:pt>
                <c:pt idx="1266">
                  <c:v>All Others</c:v>
                </c:pt>
                <c:pt idx="1267">
                  <c:v>All Others</c:v>
                </c:pt>
                <c:pt idx="1268">
                  <c:v>Milleret: A</c:v>
                </c:pt>
                <c:pt idx="1269">
                  <c:v>All Others</c:v>
                </c:pt>
                <c:pt idx="1270">
                  <c:v>Islos</c:v>
                </c:pt>
                <c:pt idx="1271">
                  <c:v>All Others</c:v>
                </c:pt>
                <c:pt idx="1272">
                  <c:v>All Others</c:v>
                </c:pt>
                <c:pt idx="1273">
                  <c:v>Etoile Du V</c:v>
                </c:pt>
                <c:pt idx="1274">
                  <c:v>All Others</c:v>
                </c:pt>
                <c:pt idx="1275">
                  <c:v>Philadelphi</c:v>
                </c:pt>
                <c:pt idx="1276">
                  <c:v>All Others</c:v>
                </c:pt>
                <c:pt idx="1277">
                  <c:v>Lactalis: A</c:v>
                </c:pt>
                <c:pt idx="1278">
                  <c:v>All Others</c:v>
                </c:pt>
                <c:pt idx="1279">
                  <c:v>All Others</c:v>
                </c:pt>
                <c:pt idx="1280">
                  <c:v>Milleret: A</c:v>
                </c:pt>
                <c:pt idx="1281">
                  <c:v>All Others</c:v>
                </c:pt>
                <c:pt idx="1282">
                  <c:v>All Others</c:v>
                </c:pt>
                <c:pt idx="1283">
                  <c:v>All Others</c:v>
                </c:pt>
                <c:pt idx="1284">
                  <c:v>All Others</c:v>
                </c:pt>
                <c:pt idx="1285">
                  <c:v>All Others</c:v>
                </c:pt>
                <c:pt idx="1286">
                  <c:v>Pave D'Affi</c:v>
                </c:pt>
                <c:pt idx="1287">
                  <c:v>All Others</c:v>
                </c:pt>
                <c:pt idx="1288">
                  <c:v>All Others</c:v>
                </c:pt>
                <c:pt idx="1289">
                  <c:v>All Others</c:v>
                </c:pt>
                <c:pt idx="1290">
                  <c:v>Private Lab</c:v>
                </c:pt>
                <c:pt idx="1291">
                  <c:v>All Others</c:v>
                </c:pt>
                <c:pt idx="1292">
                  <c:v>All Others</c:v>
                </c:pt>
                <c:pt idx="1293">
                  <c:v>Etoile Du V</c:v>
                </c:pt>
                <c:pt idx="1294">
                  <c:v>All Others</c:v>
                </c:pt>
                <c:pt idx="1295">
                  <c:v>Private Lab</c:v>
                </c:pt>
                <c:pt idx="1296">
                  <c:v>All Others</c:v>
                </c:pt>
                <c:pt idx="1297">
                  <c:v>All Others</c:v>
                </c:pt>
                <c:pt idx="1298">
                  <c:v>Casa Azzurr</c:v>
                </c:pt>
                <c:pt idx="1299">
                  <c:v>All Others</c:v>
                </c:pt>
                <c:pt idx="1300">
                  <c:v>Private Lab</c:v>
                </c:pt>
                <c:pt idx="1301">
                  <c:v>All Others</c:v>
                </c:pt>
                <c:pt idx="1302">
                  <c:v>Pave D'Affi</c:v>
                </c:pt>
                <c:pt idx="1303">
                  <c:v>All Others</c:v>
                </c:pt>
                <c:pt idx="1304">
                  <c:v>All Others</c:v>
                </c:pt>
                <c:pt idx="1305">
                  <c:v>All Others</c:v>
                </c:pt>
                <c:pt idx="1306">
                  <c:v>All Others</c:v>
                </c:pt>
                <c:pt idx="1307">
                  <c:v>Corsica</c:v>
                </c:pt>
                <c:pt idx="1308">
                  <c:v>All Others</c:v>
                </c:pt>
                <c:pt idx="1309">
                  <c:v>All Others</c:v>
                </c:pt>
                <c:pt idx="1310">
                  <c:v>Private Lab</c:v>
                </c:pt>
                <c:pt idx="1311">
                  <c:v>Private Lab</c:v>
                </c:pt>
                <c:pt idx="1312">
                  <c:v>All Others</c:v>
                </c:pt>
                <c:pt idx="1313">
                  <c:v>All Others</c:v>
                </c:pt>
                <c:pt idx="1314">
                  <c:v>All Others</c:v>
                </c:pt>
                <c:pt idx="1315">
                  <c:v>Parmareggio</c:v>
                </c:pt>
                <c:pt idx="1316">
                  <c:v>All Others</c:v>
                </c:pt>
                <c:pt idx="1317">
                  <c:v>All Others</c:v>
                </c:pt>
                <c:pt idx="1318">
                  <c:v>All Others</c:v>
                </c:pt>
                <c:pt idx="1319">
                  <c:v>Raguin</c:v>
                </c:pt>
                <c:pt idx="1320">
                  <c:v>All Others</c:v>
                </c:pt>
                <c:pt idx="1321">
                  <c:v>All Others</c:v>
                </c:pt>
                <c:pt idx="1322">
                  <c:v>Private Lab</c:v>
                </c:pt>
                <c:pt idx="1323">
                  <c:v>All Others</c:v>
                </c:pt>
                <c:pt idx="1324">
                  <c:v>All Others</c:v>
                </c:pt>
                <c:pt idx="1325">
                  <c:v>Private Lab</c:v>
                </c:pt>
                <c:pt idx="1326">
                  <c:v>Eurial Autr</c:v>
                </c:pt>
                <c:pt idx="1327">
                  <c:v>All Others</c:v>
                </c:pt>
                <c:pt idx="1328">
                  <c:v>All Others</c:v>
                </c:pt>
                <c:pt idx="1329">
                  <c:v>All Others</c:v>
                </c:pt>
                <c:pt idx="1330">
                  <c:v>All Others</c:v>
                </c:pt>
                <c:pt idx="1331">
                  <c:v>All Others</c:v>
                </c:pt>
                <c:pt idx="1332">
                  <c:v>All Others</c:v>
                </c:pt>
                <c:pt idx="1333">
                  <c:v>All Others</c:v>
                </c:pt>
                <c:pt idx="1334">
                  <c:v>All Others</c:v>
                </c:pt>
                <c:pt idx="1335">
                  <c:v>All Others</c:v>
                </c:pt>
                <c:pt idx="1336">
                  <c:v>Private Lab</c:v>
                </c:pt>
                <c:pt idx="1337">
                  <c:v>All Others</c:v>
                </c:pt>
                <c:pt idx="1338">
                  <c:v>All Others</c:v>
                </c:pt>
                <c:pt idx="1339">
                  <c:v>All Others</c:v>
                </c:pt>
                <c:pt idx="1340">
                  <c:v>All Others</c:v>
                </c:pt>
                <c:pt idx="1341">
                  <c:v>All Others</c:v>
                </c:pt>
                <c:pt idx="1342">
                  <c:v>All Others</c:v>
                </c:pt>
                <c:pt idx="1343">
                  <c:v>All Others</c:v>
                </c:pt>
                <c:pt idx="1344">
                  <c:v>Pave D'Affi</c:v>
                </c:pt>
                <c:pt idx="1345">
                  <c:v>Lactalis: A</c:v>
                </c:pt>
                <c:pt idx="1346">
                  <c:v>All Others</c:v>
                </c:pt>
                <c:pt idx="1347">
                  <c:v>Soignon</c:v>
                </c:pt>
                <c:pt idx="1348">
                  <c:v>All Others</c:v>
                </c:pt>
                <c:pt idx="1349">
                  <c:v>All Others</c:v>
                </c:pt>
                <c:pt idx="1350">
                  <c:v>Savencia: A</c:v>
                </c:pt>
                <c:pt idx="1351">
                  <c:v>All Others</c:v>
                </c:pt>
                <c:pt idx="1352">
                  <c:v>All Others</c:v>
                </c:pt>
                <c:pt idx="1353">
                  <c:v>All Others</c:v>
                </c:pt>
                <c:pt idx="1354">
                  <c:v>All Others</c:v>
                </c:pt>
                <c:pt idx="1355">
                  <c:v>All Others</c:v>
                </c:pt>
                <c:pt idx="1356">
                  <c:v>Etoile Du V</c:v>
                </c:pt>
                <c:pt idx="1357">
                  <c:v>All Others</c:v>
                </c:pt>
                <c:pt idx="1358">
                  <c:v>All Others</c:v>
                </c:pt>
                <c:pt idx="1359">
                  <c:v>All Others</c:v>
                </c:pt>
                <c:pt idx="1360">
                  <c:v>Pochat</c:v>
                </c:pt>
                <c:pt idx="1361">
                  <c:v>All Others</c:v>
                </c:pt>
                <c:pt idx="1362">
                  <c:v>Private Lab</c:v>
                </c:pt>
                <c:pt idx="1363">
                  <c:v>La Belle Et</c:v>
                </c:pt>
                <c:pt idx="1364">
                  <c:v>Boursin</c:v>
                </c:pt>
                <c:pt idx="1365">
                  <c:v>All Others</c:v>
                </c:pt>
                <c:pt idx="1366">
                  <c:v>Private Lab</c:v>
                </c:pt>
                <c:pt idx="1367">
                  <c:v>All Others</c:v>
                </c:pt>
                <c:pt idx="1368">
                  <c:v>All Others</c:v>
                </c:pt>
                <c:pt idx="1369">
                  <c:v>All Others</c:v>
                </c:pt>
                <c:pt idx="1370">
                  <c:v>All Others</c:v>
                </c:pt>
                <c:pt idx="1371">
                  <c:v>All Others</c:v>
                </c:pt>
                <c:pt idx="1372">
                  <c:v>All Others</c:v>
                </c:pt>
                <c:pt idx="1373">
                  <c:v>All Others</c:v>
                </c:pt>
                <c:pt idx="1374">
                  <c:v>All Others</c:v>
                </c:pt>
                <c:pt idx="1375">
                  <c:v>Milleret: A</c:v>
                </c:pt>
                <c:pt idx="1376">
                  <c:v>All Others</c:v>
                </c:pt>
                <c:pt idx="1377">
                  <c:v>Private Lab</c:v>
                </c:pt>
                <c:pt idx="1378">
                  <c:v>Etoile Du V</c:v>
                </c:pt>
                <c:pt idx="1379">
                  <c:v>All Others</c:v>
                </c:pt>
                <c:pt idx="1380">
                  <c:v>All Others</c:v>
                </c:pt>
                <c:pt idx="1381">
                  <c:v>All Others</c:v>
                </c:pt>
                <c:pt idx="1382">
                  <c:v>All Others</c:v>
                </c:pt>
                <c:pt idx="1383">
                  <c:v>Triballat R</c:v>
                </c:pt>
                <c:pt idx="1384">
                  <c:v>Entremont</c:v>
                </c:pt>
                <c:pt idx="1385">
                  <c:v>All Others</c:v>
                </c:pt>
                <c:pt idx="1386">
                  <c:v>All Others</c:v>
                </c:pt>
                <c:pt idx="1387">
                  <c:v>All Others</c:v>
                </c:pt>
                <c:pt idx="1388">
                  <c:v>Eurial Autr</c:v>
                </c:pt>
                <c:pt idx="1389">
                  <c:v>Lactalis: A</c:v>
                </c:pt>
                <c:pt idx="1390">
                  <c:v>All Others</c:v>
                </c:pt>
                <c:pt idx="1391">
                  <c:v>Port Salut</c:v>
                </c:pt>
                <c:pt idx="1392">
                  <c:v>Kiri</c:v>
                </c:pt>
                <c:pt idx="1393">
                  <c:v>Triballat R</c:v>
                </c:pt>
                <c:pt idx="1394">
                  <c:v>Entremont</c:v>
                </c:pt>
                <c:pt idx="1395">
                  <c:v>All Others</c:v>
                </c:pt>
                <c:pt idx="1396">
                  <c:v>All Others</c:v>
                </c:pt>
                <c:pt idx="1397">
                  <c:v>La Belle Et</c:v>
                </c:pt>
                <c:pt idx="1398">
                  <c:v>Etoile Du V</c:v>
                </c:pt>
                <c:pt idx="1399">
                  <c:v>All Others</c:v>
                </c:pt>
                <c:pt idx="1400">
                  <c:v>All Others</c:v>
                </c:pt>
                <c:pt idx="1401">
                  <c:v>All Others</c:v>
                </c:pt>
                <c:pt idx="1402">
                  <c:v>All Others</c:v>
                </c:pt>
                <c:pt idx="1403">
                  <c:v>All Others</c:v>
                </c:pt>
                <c:pt idx="1404">
                  <c:v>All Others</c:v>
                </c:pt>
                <c:pt idx="1405">
                  <c:v>All Others</c:v>
                </c:pt>
                <c:pt idx="1406">
                  <c:v>All Others</c:v>
                </c:pt>
                <c:pt idx="1407">
                  <c:v>La Belle Et</c:v>
                </c:pt>
                <c:pt idx="1408">
                  <c:v>All Others</c:v>
                </c:pt>
                <c:pt idx="1409">
                  <c:v>All Others</c:v>
                </c:pt>
                <c:pt idx="1410">
                  <c:v>All Others</c:v>
                </c:pt>
                <c:pt idx="1411">
                  <c:v>All Others</c:v>
                </c:pt>
                <c:pt idx="1412">
                  <c:v>All Others</c:v>
                </c:pt>
                <c:pt idx="1413">
                  <c:v>All Others</c:v>
                </c:pt>
                <c:pt idx="1414">
                  <c:v>All Others</c:v>
                </c:pt>
                <c:pt idx="1415">
                  <c:v>All Others</c:v>
                </c:pt>
                <c:pt idx="1416">
                  <c:v>All Others</c:v>
                </c:pt>
                <c:pt idx="1417">
                  <c:v>All Others</c:v>
                </c:pt>
                <c:pt idx="1418">
                  <c:v>Private Lab</c:v>
                </c:pt>
                <c:pt idx="1419">
                  <c:v>Nurishh</c:v>
                </c:pt>
                <c:pt idx="1420">
                  <c:v>All Others</c:v>
                </c:pt>
                <c:pt idx="1421">
                  <c:v>All Others</c:v>
                </c:pt>
                <c:pt idx="1422">
                  <c:v>All Others</c:v>
                </c:pt>
                <c:pt idx="1423">
                  <c:v>La Belle Et</c:v>
                </c:pt>
                <c:pt idx="1424">
                  <c:v>All Others</c:v>
                </c:pt>
                <c:pt idx="1425">
                  <c:v>Nurishh</c:v>
                </c:pt>
                <c:pt idx="1426">
                  <c:v>All Others</c:v>
                </c:pt>
                <c:pt idx="1427">
                  <c:v>All Others</c:v>
                </c:pt>
                <c:pt idx="1428">
                  <c:v>La Belle Et</c:v>
                </c:pt>
                <c:pt idx="1429">
                  <c:v>All Others</c:v>
                </c:pt>
                <c:pt idx="1430">
                  <c:v>Eurial Autr</c:v>
                </c:pt>
                <c:pt idx="1431">
                  <c:v>All Others</c:v>
                </c:pt>
                <c:pt idx="1432">
                  <c:v>Juraflore</c:v>
                </c:pt>
                <c:pt idx="1433">
                  <c:v>All Others</c:v>
                </c:pt>
                <c:pt idx="1434">
                  <c:v>All Others</c:v>
                </c:pt>
                <c:pt idx="1435">
                  <c:v>All Others</c:v>
                </c:pt>
                <c:pt idx="1436">
                  <c:v>All Others</c:v>
                </c:pt>
                <c:pt idx="1437">
                  <c:v>Boursin</c:v>
                </c:pt>
                <c:pt idx="1438">
                  <c:v>All Others</c:v>
                </c:pt>
                <c:pt idx="1439">
                  <c:v>All Others</c:v>
                </c:pt>
                <c:pt idx="1440">
                  <c:v>Milleret: A</c:v>
                </c:pt>
                <c:pt idx="1441">
                  <c:v>Lactalis: A</c:v>
                </c:pt>
                <c:pt idx="1442">
                  <c:v>All Others</c:v>
                </c:pt>
                <c:pt idx="1443">
                  <c:v>All Others</c:v>
                </c:pt>
                <c:pt idx="1444">
                  <c:v>All Others</c:v>
                </c:pt>
                <c:pt idx="1445">
                  <c:v>Eurial Autr</c:v>
                </c:pt>
                <c:pt idx="1446">
                  <c:v>All Others</c:v>
                </c:pt>
                <c:pt idx="1447">
                  <c:v>All Others</c:v>
                </c:pt>
                <c:pt idx="1448">
                  <c:v>Entremont</c:v>
                </c:pt>
                <c:pt idx="1449">
                  <c:v>All Others</c:v>
                </c:pt>
                <c:pt idx="1450">
                  <c:v>All Others</c:v>
                </c:pt>
                <c:pt idx="1451">
                  <c:v>All Others</c:v>
                </c:pt>
                <c:pt idx="1452">
                  <c:v>All Others</c:v>
                </c:pt>
                <c:pt idx="1453">
                  <c:v>All Others</c:v>
                </c:pt>
                <c:pt idx="1454">
                  <c:v>All Others</c:v>
                </c:pt>
                <c:pt idx="1455">
                  <c:v>All Others</c:v>
                </c:pt>
                <c:pt idx="1456">
                  <c:v>All Others</c:v>
                </c:pt>
                <c:pt idx="1457">
                  <c:v>Pave D'Affi</c:v>
                </c:pt>
                <c:pt idx="1458">
                  <c:v>All Others</c:v>
                </c:pt>
                <c:pt idx="1459">
                  <c:v>All Others</c:v>
                </c:pt>
                <c:pt idx="1460">
                  <c:v>Fauquet</c:v>
                </c:pt>
                <c:pt idx="1461">
                  <c:v>All Others</c:v>
                </c:pt>
                <c:pt idx="1462">
                  <c:v>All Others</c:v>
                </c:pt>
                <c:pt idx="1463">
                  <c:v>Paysan Bret</c:v>
                </c:pt>
                <c:pt idx="1464">
                  <c:v>All Others</c:v>
                </c:pt>
                <c:pt idx="1465">
                  <c:v>Lactalis: A</c:v>
                </c:pt>
                <c:pt idx="1466">
                  <c:v>All Others</c:v>
                </c:pt>
                <c:pt idx="1467">
                  <c:v>Etoile Du V</c:v>
                </c:pt>
                <c:pt idx="1468">
                  <c:v>All Others</c:v>
                </c:pt>
                <c:pt idx="1469">
                  <c:v>All Others</c:v>
                </c:pt>
                <c:pt idx="1470">
                  <c:v>President</c:v>
                </c:pt>
                <c:pt idx="1471">
                  <c:v>All Others</c:v>
                </c:pt>
                <c:pt idx="1472">
                  <c:v>Lactalis: A</c:v>
                </c:pt>
                <c:pt idx="1473">
                  <c:v>All Others</c:v>
                </c:pt>
                <c:pt idx="1474">
                  <c:v>All Others</c:v>
                </c:pt>
                <c:pt idx="1475">
                  <c:v>All Others</c:v>
                </c:pt>
                <c:pt idx="1476">
                  <c:v>All Others</c:v>
                </c:pt>
                <c:pt idx="1477">
                  <c:v>All Others</c:v>
                </c:pt>
                <c:pt idx="1478">
                  <c:v>All Others</c:v>
                </c:pt>
                <c:pt idx="1479">
                  <c:v>All Others</c:v>
                </c:pt>
                <c:pt idx="1480">
                  <c:v>All Others</c:v>
                </c:pt>
                <c:pt idx="1481">
                  <c:v>All Others</c:v>
                </c:pt>
                <c:pt idx="1482">
                  <c:v>All Others</c:v>
                </c:pt>
                <c:pt idx="1483">
                  <c:v>All Others</c:v>
                </c:pt>
                <c:pt idx="1484">
                  <c:v>All Others</c:v>
                </c:pt>
                <c:pt idx="1485">
                  <c:v>All Others</c:v>
                </c:pt>
                <c:pt idx="1486">
                  <c:v>Tartare</c:v>
                </c:pt>
                <c:pt idx="1487">
                  <c:v>All Others</c:v>
                </c:pt>
                <c:pt idx="1488">
                  <c:v>All Others</c:v>
                </c:pt>
                <c:pt idx="1489">
                  <c:v>All Others</c:v>
                </c:pt>
                <c:pt idx="1490">
                  <c:v>All Others</c:v>
                </c:pt>
                <c:pt idx="1491">
                  <c:v>President</c:v>
                </c:pt>
                <c:pt idx="1492">
                  <c:v>Juraflore</c:v>
                </c:pt>
                <c:pt idx="1493">
                  <c:v>All Others</c:v>
                </c:pt>
                <c:pt idx="1494">
                  <c:v>La Belle Et</c:v>
                </c:pt>
                <c:pt idx="1495">
                  <c:v>All Others</c:v>
                </c:pt>
                <c:pt idx="1496">
                  <c:v>All Others</c:v>
                </c:pt>
                <c:pt idx="1497">
                  <c:v>Private Lab</c:v>
                </c:pt>
                <c:pt idx="1498">
                  <c:v>Entremont</c:v>
                </c:pt>
                <c:pt idx="1499">
                  <c:v>All Others</c:v>
                </c:pt>
                <c:pt idx="1500">
                  <c:v>All Others</c:v>
                </c:pt>
                <c:pt idx="1501">
                  <c:v>All Others</c:v>
                </c:pt>
                <c:pt idx="1502">
                  <c:v>All Others</c:v>
                </c:pt>
                <c:pt idx="1503">
                  <c:v>All Others</c:v>
                </c:pt>
                <c:pt idx="1504">
                  <c:v>All Others</c:v>
                </c:pt>
                <c:pt idx="1505">
                  <c:v>Private Lab</c:v>
                </c:pt>
                <c:pt idx="1506">
                  <c:v>All Others</c:v>
                </c:pt>
                <c:pt idx="1507">
                  <c:v>Private Lab</c:v>
                </c:pt>
                <c:pt idx="1508">
                  <c:v>All Others</c:v>
                </c:pt>
                <c:pt idx="1509">
                  <c:v>All Others</c:v>
                </c:pt>
                <c:pt idx="1510">
                  <c:v>Private Lab</c:v>
                </c:pt>
                <c:pt idx="1511">
                  <c:v>All Others</c:v>
                </c:pt>
                <c:pt idx="1512">
                  <c:v>All Others</c:v>
                </c:pt>
                <c:pt idx="1513">
                  <c:v>All Others</c:v>
                </c:pt>
                <c:pt idx="1514">
                  <c:v>Etoile Du V</c:v>
                </c:pt>
                <c:pt idx="1515">
                  <c:v>St Moret</c:v>
                </c:pt>
                <c:pt idx="1516">
                  <c:v>All Others</c:v>
                </c:pt>
                <c:pt idx="1517">
                  <c:v>All Others</c:v>
                </c:pt>
                <c:pt idx="1518">
                  <c:v>All Others</c:v>
                </c:pt>
                <c:pt idx="1519">
                  <c:v>All Others</c:v>
                </c:pt>
                <c:pt idx="1520">
                  <c:v>All Others</c:v>
                </c:pt>
                <c:pt idx="1521">
                  <c:v>All Others</c:v>
                </c:pt>
                <c:pt idx="1522">
                  <c:v>All Others</c:v>
                </c:pt>
                <c:pt idx="1523">
                  <c:v>Mini Babybe</c:v>
                </c:pt>
                <c:pt idx="1524">
                  <c:v>All Others</c:v>
                </c:pt>
                <c:pt idx="1525">
                  <c:v>Casa Azzurr</c:v>
                </c:pt>
                <c:pt idx="1526">
                  <c:v>All Others</c:v>
                </c:pt>
                <c:pt idx="1527">
                  <c:v>All Others</c:v>
                </c:pt>
                <c:pt idx="1528">
                  <c:v>All Others</c:v>
                </c:pt>
                <c:pt idx="1529">
                  <c:v>All Others</c:v>
                </c:pt>
                <c:pt idx="1530">
                  <c:v>President</c:v>
                </c:pt>
                <c:pt idx="1531">
                  <c:v>All Others</c:v>
                </c:pt>
                <c:pt idx="1532">
                  <c:v>Soignon</c:v>
                </c:pt>
                <c:pt idx="1533">
                  <c:v>Lactalis: A</c:v>
                </c:pt>
                <c:pt idx="1534">
                  <c:v>Corsica</c:v>
                </c:pt>
                <c:pt idx="1535">
                  <c:v>All Others</c:v>
                </c:pt>
                <c:pt idx="1536">
                  <c:v>Richesmonts</c:v>
                </c:pt>
                <c:pt idx="1537">
                  <c:v>All Others</c:v>
                </c:pt>
                <c:pt idx="1538">
                  <c:v>All Others</c:v>
                </c:pt>
                <c:pt idx="1539">
                  <c:v>All Others</c:v>
                </c:pt>
                <c:pt idx="1540">
                  <c:v>All Others</c:v>
                </c:pt>
                <c:pt idx="1541">
                  <c:v>Lactalis: A</c:v>
                </c:pt>
                <c:pt idx="1542">
                  <c:v>All Others</c:v>
                </c:pt>
                <c:pt idx="1543">
                  <c:v>All Others</c:v>
                </c:pt>
                <c:pt idx="1544">
                  <c:v>Pave D'Affi</c:v>
                </c:pt>
                <c:pt idx="1545">
                  <c:v>All Others</c:v>
                </c:pt>
                <c:pt idx="1546">
                  <c:v>La Belle Et</c:v>
                </c:pt>
                <c:pt idx="1547">
                  <c:v>All Others</c:v>
                </c:pt>
                <c:pt idx="1548">
                  <c:v>All Others</c:v>
                </c:pt>
                <c:pt idx="1549">
                  <c:v>All Others</c:v>
                </c:pt>
                <c:pt idx="1550">
                  <c:v>All Others</c:v>
                </c:pt>
                <c:pt idx="1551">
                  <c:v>Private Lab</c:v>
                </c:pt>
                <c:pt idx="1552">
                  <c:v>All Others</c:v>
                </c:pt>
                <c:pt idx="1553">
                  <c:v>All Others</c:v>
                </c:pt>
                <c:pt idx="1554">
                  <c:v>Mini Babybe</c:v>
                </c:pt>
                <c:pt idx="1555">
                  <c:v>All Others</c:v>
                </c:pt>
                <c:pt idx="1556">
                  <c:v>All Others</c:v>
                </c:pt>
                <c:pt idx="1557">
                  <c:v>Cousteron</c:v>
                </c:pt>
                <c:pt idx="1558">
                  <c:v>All Others</c:v>
                </c:pt>
                <c:pt idx="1559">
                  <c:v>All Others</c:v>
                </c:pt>
                <c:pt idx="1560">
                  <c:v>Eurial Autr</c:v>
                </c:pt>
                <c:pt idx="1561">
                  <c:v>All Others</c:v>
                </c:pt>
                <c:pt idx="1562">
                  <c:v>All Others</c:v>
                </c:pt>
                <c:pt idx="1563">
                  <c:v>All Others</c:v>
                </c:pt>
                <c:pt idx="1564">
                  <c:v>All Others</c:v>
                </c:pt>
                <c:pt idx="1565">
                  <c:v>Entremont</c:v>
                </c:pt>
                <c:pt idx="1566">
                  <c:v>All Others</c:v>
                </c:pt>
                <c:pt idx="1567">
                  <c:v>Lou Perac</c:v>
                </c:pt>
                <c:pt idx="1568">
                  <c:v>All Others</c:v>
                </c:pt>
                <c:pt idx="1569">
                  <c:v>Societe</c:v>
                </c:pt>
                <c:pt idx="1570">
                  <c:v>All Others</c:v>
                </c:pt>
                <c:pt idx="1571">
                  <c:v>All Others</c:v>
                </c:pt>
                <c:pt idx="1572">
                  <c:v>St Moret</c:v>
                </c:pt>
                <c:pt idx="1573">
                  <c:v>Carre Frais</c:v>
                </c:pt>
                <c:pt idx="1574">
                  <c:v>All Others</c:v>
                </c:pt>
                <c:pt idx="1575">
                  <c:v>All Others</c:v>
                </c:pt>
                <c:pt idx="1576">
                  <c:v>All Others</c:v>
                </c:pt>
                <c:pt idx="1577">
                  <c:v>Private Lab</c:v>
                </c:pt>
                <c:pt idx="1578">
                  <c:v>La Pointe P</c:v>
                </c:pt>
                <c:pt idx="1579">
                  <c:v>All Others</c:v>
                </c:pt>
                <c:pt idx="1580">
                  <c:v>Private Lab</c:v>
                </c:pt>
                <c:pt idx="1581">
                  <c:v>Etoile Du V</c:v>
                </c:pt>
                <c:pt idx="1582">
                  <c:v>All Others</c:v>
                </c:pt>
                <c:pt idx="1583">
                  <c:v>Fauquet</c:v>
                </c:pt>
                <c:pt idx="1584">
                  <c:v>All Others</c:v>
                </c:pt>
                <c:pt idx="1585">
                  <c:v>All Others</c:v>
                </c:pt>
                <c:pt idx="1586">
                  <c:v>All Others</c:v>
                </c:pt>
                <c:pt idx="1587">
                  <c:v>All Others</c:v>
                </c:pt>
                <c:pt idx="1588">
                  <c:v>All Others</c:v>
                </c:pt>
                <c:pt idx="1589">
                  <c:v>All Others</c:v>
                </c:pt>
                <c:pt idx="1590">
                  <c:v>All Others</c:v>
                </c:pt>
                <c:pt idx="1591">
                  <c:v>All Others</c:v>
                </c:pt>
                <c:pt idx="1592">
                  <c:v>La Belle Et</c:v>
                </c:pt>
                <c:pt idx="1593">
                  <c:v>All Others</c:v>
                </c:pt>
                <c:pt idx="1594">
                  <c:v>Entremont</c:v>
                </c:pt>
                <c:pt idx="1595">
                  <c:v>All Others</c:v>
                </c:pt>
                <c:pt idx="1596">
                  <c:v>All Others</c:v>
                </c:pt>
                <c:pt idx="1597">
                  <c:v>All Others</c:v>
                </c:pt>
                <c:pt idx="1598">
                  <c:v>All Others</c:v>
                </c:pt>
                <c:pt idx="1599">
                  <c:v>All Others</c:v>
                </c:pt>
                <c:pt idx="1600">
                  <c:v>Milleret: A</c:v>
                </c:pt>
                <c:pt idx="1601">
                  <c:v>All Others</c:v>
                </c:pt>
                <c:pt idx="1602">
                  <c:v>All Others</c:v>
                </c:pt>
                <c:pt idx="1603">
                  <c:v>Savencia: A</c:v>
                </c:pt>
                <c:pt idx="1604">
                  <c:v>All Others</c:v>
                </c:pt>
                <c:pt idx="1605">
                  <c:v>Etoile Du V</c:v>
                </c:pt>
                <c:pt idx="1606">
                  <c:v>All Others</c:v>
                </c:pt>
                <c:pt idx="1607">
                  <c:v>All Others</c:v>
                </c:pt>
                <c:pt idx="1608">
                  <c:v>All Others</c:v>
                </c:pt>
                <c:pt idx="1609">
                  <c:v>All Others</c:v>
                </c:pt>
                <c:pt idx="1610">
                  <c:v>All Others</c:v>
                </c:pt>
                <c:pt idx="1611">
                  <c:v>Lactalis: A</c:v>
                </c:pt>
                <c:pt idx="1612">
                  <c:v>All Others</c:v>
                </c:pt>
                <c:pt idx="1613">
                  <c:v>All Others</c:v>
                </c:pt>
                <c:pt idx="1614">
                  <c:v>All Others</c:v>
                </c:pt>
                <c:pt idx="1615">
                  <c:v>All Others</c:v>
                </c:pt>
                <c:pt idx="1616">
                  <c:v>All Others</c:v>
                </c:pt>
                <c:pt idx="1617">
                  <c:v>All Others</c:v>
                </c:pt>
                <c:pt idx="1618">
                  <c:v>All Others</c:v>
                </c:pt>
                <c:pt idx="1619">
                  <c:v>All Others</c:v>
                </c:pt>
                <c:pt idx="1620">
                  <c:v>Lactalis: A</c:v>
                </c:pt>
                <c:pt idx="1621">
                  <c:v>All Others</c:v>
                </c:pt>
                <c:pt idx="1622">
                  <c:v>All Others</c:v>
                </c:pt>
                <c:pt idx="1623">
                  <c:v>All Others</c:v>
                </c:pt>
                <c:pt idx="1624">
                  <c:v>Savencia: A</c:v>
                </c:pt>
                <c:pt idx="1625">
                  <c:v>All Others</c:v>
                </c:pt>
                <c:pt idx="1626">
                  <c:v>All Others</c:v>
                </c:pt>
                <c:pt idx="1627">
                  <c:v>All Others</c:v>
                </c:pt>
                <c:pt idx="1628">
                  <c:v>Eurial Autr</c:v>
                </c:pt>
                <c:pt idx="1629">
                  <c:v>Etoile Du Q</c:v>
                </c:pt>
                <c:pt idx="1630">
                  <c:v>All Others</c:v>
                </c:pt>
                <c:pt idx="1631">
                  <c:v>All Others</c:v>
                </c:pt>
                <c:pt idx="1632">
                  <c:v>All Others</c:v>
                </c:pt>
                <c:pt idx="1633">
                  <c:v>Milleret: A</c:v>
                </c:pt>
                <c:pt idx="1634">
                  <c:v>All Others</c:v>
                </c:pt>
                <c:pt idx="1635">
                  <c:v>Private Lab</c:v>
                </c:pt>
                <c:pt idx="1636">
                  <c:v>All Others</c:v>
                </c:pt>
                <c:pt idx="1637">
                  <c:v>All Others</c:v>
                </c:pt>
                <c:pt idx="1638">
                  <c:v>All Others</c:v>
                </c:pt>
                <c:pt idx="1639">
                  <c:v>All Others</c:v>
                </c:pt>
                <c:pt idx="1640">
                  <c:v>L'Ortolan</c:v>
                </c:pt>
                <c:pt idx="1641">
                  <c:v>Savencia: A</c:v>
                </c:pt>
                <c:pt idx="1642">
                  <c:v>All Others</c:v>
                </c:pt>
                <c:pt idx="1643">
                  <c:v>All Others</c:v>
                </c:pt>
                <c:pt idx="1644">
                  <c:v>All Others</c:v>
                </c:pt>
                <c:pt idx="1645">
                  <c:v>All Others</c:v>
                </c:pt>
                <c:pt idx="1646">
                  <c:v>All Others</c:v>
                </c:pt>
                <c:pt idx="1647">
                  <c:v>Eurial Autr</c:v>
                </c:pt>
                <c:pt idx="1648">
                  <c:v>All Others</c:v>
                </c:pt>
                <c:pt idx="1649">
                  <c:v>Lou Perac</c:v>
                </c:pt>
                <c:pt idx="1650">
                  <c:v>All Others</c:v>
                </c:pt>
                <c:pt idx="1651">
                  <c:v>All Others</c:v>
                </c:pt>
                <c:pt idx="1652">
                  <c:v>All Others</c:v>
                </c:pt>
                <c:pt idx="1653">
                  <c:v>All Others</c:v>
                </c:pt>
                <c:pt idx="1654">
                  <c:v>President</c:v>
                </c:pt>
                <c:pt idx="1655">
                  <c:v>All Others</c:v>
                </c:pt>
                <c:pt idx="1656">
                  <c:v>All Others</c:v>
                </c:pt>
                <c:pt idx="1657">
                  <c:v>Raguin</c:v>
                </c:pt>
                <c:pt idx="1658">
                  <c:v>All Others</c:v>
                </c:pt>
                <c:pt idx="1659">
                  <c:v>All Others</c:v>
                </c:pt>
                <c:pt idx="1660">
                  <c:v>All Others</c:v>
                </c:pt>
                <c:pt idx="1661">
                  <c:v>All Others</c:v>
                </c:pt>
                <c:pt idx="1662">
                  <c:v>All Others</c:v>
                </c:pt>
                <c:pt idx="1663">
                  <c:v>All Others</c:v>
                </c:pt>
                <c:pt idx="1664">
                  <c:v>President</c:v>
                </c:pt>
                <c:pt idx="1665">
                  <c:v>Private Lab</c:v>
                </c:pt>
                <c:pt idx="1666">
                  <c:v>All Others</c:v>
                </c:pt>
                <c:pt idx="1667">
                  <c:v>All Others</c:v>
                </c:pt>
                <c:pt idx="1668">
                  <c:v>All Others</c:v>
                </c:pt>
                <c:pt idx="1669">
                  <c:v>All Others</c:v>
                </c:pt>
                <c:pt idx="1670">
                  <c:v>All Others</c:v>
                </c:pt>
                <c:pt idx="1671">
                  <c:v>All Others</c:v>
                </c:pt>
                <c:pt idx="1672">
                  <c:v>All Others</c:v>
                </c:pt>
                <c:pt idx="1673">
                  <c:v>All Others</c:v>
                </c:pt>
                <c:pt idx="1674">
                  <c:v>All Others</c:v>
                </c:pt>
                <c:pt idx="1675">
                  <c:v>All Others</c:v>
                </c:pt>
                <c:pt idx="1676">
                  <c:v>All Others</c:v>
                </c:pt>
                <c:pt idx="1677">
                  <c:v>All Others</c:v>
                </c:pt>
                <c:pt idx="1678">
                  <c:v>All Others</c:v>
                </c:pt>
                <c:pt idx="1679">
                  <c:v>All Others</c:v>
                </c:pt>
                <c:pt idx="1680">
                  <c:v>All Others</c:v>
                </c:pt>
                <c:pt idx="1681">
                  <c:v>La Belle Et</c:v>
                </c:pt>
                <c:pt idx="1682">
                  <c:v>All Others</c:v>
                </c:pt>
                <c:pt idx="1683">
                  <c:v>All Others</c:v>
                </c:pt>
                <c:pt idx="1684">
                  <c:v>All Others</c:v>
                </c:pt>
                <c:pt idx="1685">
                  <c:v>All Others</c:v>
                </c:pt>
                <c:pt idx="1686">
                  <c:v>All Others</c:v>
                </c:pt>
                <c:pt idx="1687">
                  <c:v>All Others</c:v>
                </c:pt>
                <c:pt idx="1688">
                  <c:v>All Others</c:v>
                </c:pt>
                <c:pt idx="1689">
                  <c:v>All Others</c:v>
                </c:pt>
                <c:pt idx="1690">
                  <c:v>All Others</c:v>
                </c:pt>
                <c:pt idx="1691">
                  <c:v>All Others</c:v>
                </c:pt>
                <c:pt idx="1692">
                  <c:v>La Belle Et</c:v>
                </c:pt>
                <c:pt idx="1693">
                  <c:v>All Others</c:v>
                </c:pt>
                <c:pt idx="1694">
                  <c:v>All Others</c:v>
                </c:pt>
                <c:pt idx="1695">
                  <c:v>All Others</c:v>
                </c:pt>
                <c:pt idx="1696">
                  <c:v>All Others</c:v>
                </c:pt>
                <c:pt idx="1697">
                  <c:v>All Others</c:v>
                </c:pt>
                <c:pt idx="1698">
                  <c:v>All Others</c:v>
                </c:pt>
                <c:pt idx="1699">
                  <c:v>All Others</c:v>
                </c:pt>
                <c:pt idx="1700">
                  <c:v>All Others</c:v>
                </c:pt>
                <c:pt idx="1701">
                  <c:v>All Others</c:v>
                </c:pt>
                <c:pt idx="1702">
                  <c:v>All Others</c:v>
                </c:pt>
                <c:pt idx="1703">
                  <c:v>Lactalis: A</c:v>
                </c:pt>
                <c:pt idx="1704">
                  <c:v>All Others</c:v>
                </c:pt>
                <c:pt idx="1705">
                  <c:v>All Others</c:v>
                </c:pt>
                <c:pt idx="1706">
                  <c:v>Lactalis: A</c:v>
                </c:pt>
                <c:pt idx="1707">
                  <c:v>All Others</c:v>
                </c:pt>
                <c:pt idx="1708">
                  <c:v>All Others</c:v>
                </c:pt>
                <c:pt idx="1709">
                  <c:v>All Others</c:v>
                </c:pt>
                <c:pt idx="1710">
                  <c:v>All Others</c:v>
                </c:pt>
                <c:pt idx="1711">
                  <c:v>All Others</c:v>
                </c:pt>
                <c:pt idx="1712">
                  <c:v>All Others</c:v>
                </c:pt>
                <c:pt idx="1713">
                  <c:v>All Others</c:v>
                </c:pt>
                <c:pt idx="1714">
                  <c:v>All Others</c:v>
                </c:pt>
                <c:pt idx="1715">
                  <c:v>All Others</c:v>
                </c:pt>
                <c:pt idx="1716">
                  <c:v>All Others</c:v>
                </c:pt>
                <c:pt idx="1717">
                  <c:v>All Others</c:v>
                </c:pt>
                <c:pt idx="1718">
                  <c:v>Savencia: A</c:v>
                </c:pt>
                <c:pt idx="1719">
                  <c:v>Tartare</c:v>
                </c:pt>
                <c:pt idx="1720">
                  <c:v>All Others</c:v>
                </c:pt>
                <c:pt idx="1721">
                  <c:v>All Others</c:v>
                </c:pt>
                <c:pt idx="1722">
                  <c:v>All Others</c:v>
                </c:pt>
                <c:pt idx="1723">
                  <c:v>Vieux Pane</c:v>
                </c:pt>
                <c:pt idx="1724">
                  <c:v>All Others</c:v>
                </c:pt>
                <c:pt idx="1725">
                  <c:v>All Others</c:v>
                </c:pt>
                <c:pt idx="1726">
                  <c:v>All Others</c:v>
                </c:pt>
                <c:pt idx="1727">
                  <c:v>Etoile Du V</c:v>
                </c:pt>
                <c:pt idx="1728">
                  <c:v>All Others</c:v>
                </c:pt>
                <c:pt idx="1729">
                  <c:v>All Others</c:v>
                </c:pt>
                <c:pt idx="1730">
                  <c:v>All Others</c:v>
                </c:pt>
                <c:pt idx="1731">
                  <c:v>Paysan Bret</c:v>
                </c:pt>
                <c:pt idx="1732">
                  <c:v>All Others</c:v>
                </c:pt>
                <c:pt idx="1733">
                  <c:v>All Others</c:v>
                </c:pt>
                <c:pt idx="1734">
                  <c:v>All Others</c:v>
                </c:pt>
                <c:pt idx="1735">
                  <c:v>President</c:v>
                </c:pt>
                <c:pt idx="1736">
                  <c:v>All Others</c:v>
                </c:pt>
                <c:pt idx="1737">
                  <c:v>Lactalis: A</c:v>
                </c:pt>
                <c:pt idx="1738">
                  <c:v>All Others</c:v>
                </c:pt>
                <c:pt idx="1739">
                  <c:v>Pochat</c:v>
                </c:pt>
                <c:pt idx="1740">
                  <c:v>All Others</c:v>
                </c:pt>
                <c:pt idx="1741">
                  <c:v>All Others</c:v>
                </c:pt>
                <c:pt idx="1742">
                  <c:v>All Others</c:v>
                </c:pt>
                <c:pt idx="1743">
                  <c:v>All Others</c:v>
                </c:pt>
                <c:pt idx="1744">
                  <c:v>All Others</c:v>
                </c:pt>
                <c:pt idx="1745">
                  <c:v>All Others</c:v>
                </c:pt>
                <c:pt idx="1746">
                  <c:v>All Others</c:v>
                </c:pt>
                <c:pt idx="1747">
                  <c:v>All Others</c:v>
                </c:pt>
                <c:pt idx="1748">
                  <c:v>All Others</c:v>
                </c:pt>
                <c:pt idx="1749">
                  <c:v>All Others</c:v>
                </c:pt>
                <c:pt idx="1750">
                  <c:v>All Others</c:v>
                </c:pt>
                <c:pt idx="1751">
                  <c:v>All Others</c:v>
                </c:pt>
                <c:pt idx="1752">
                  <c:v>Eurial Autr</c:v>
                </c:pt>
                <c:pt idx="1753">
                  <c:v>All Others</c:v>
                </c:pt>
                <c:pt idx="1754">
                  <c:v>All Others</c:v>
                </c:pt>
                <c:pt idx="1755">
                  <c:v>All Others</c:v>
                </c:pt>
                <c:pt idx="1756">
                  <c:v>All Others</c:v>
                </c:pt>
                <c:pt idx="1757">
                  <c:v>Triballat R</c:v>
                </c:pt>
                <c:pt idx="1758">
                  <c:v>La Belle Et</c:v>
                </c:pt>
                <c:pt idx="1759">
                  <c:v>Savencia: A</c:v>
                </c:pt>
                <c:pt idx="1760">
                  <c:v>Savencia: A</c:v>
                </c:pt>
                <c:pt idx="1761">
                  <c:v>All Others</c:v>
                </c:pt>
                <c:pt idx="1762">
                  <c:v>All Others</c:v>
                </c:pt>
                <c:pt idx="1763">
                  <c:v>Richesmonts</c:v>
                </c:pt>
                <c:pt idx="1764">
                  <c:v>All Others</c:v>
                </c:pt>
                <c:pt idx="1765">
                  <c:v>All Others</c:v>
                </c:pt>
                <c:pt idx="1766">
                  <c:v>Lactalis: A</c:v>
                </c:pt>
                <c:pt idx="1767">
                  <c:v>All Others</c:v>
                </c:pt>
                <c:pt idx="1768">
                  <c:v>Savencia: A</c:v>
                </c:pt>
                <c:pt idx="1769">
                  <c:v>All Others</c:v>
                </c:pt>
                <c:pt idx="1770">
                  <c:v>All Others</c:v>
                </c:pt>
                <c:pt idx="1771">
                  <c:v>All Others</c:v>
                </c:pt>
                <c:pt idx="1772">
                  <c:v>All Others</c:v>
                </c:pt>
                <c:pt idx="1773">
                  <c:v>All Others</c:v>
                </c:pt>
                <c:pt idx="1774">
                  <c:v>All Others</c:v>
                </c:pt>
                <c:pt idx="1775">
                  <c:v>All Others</c:v>
                </c:pt>
                <c:pt idx="1776">
                  <c:v>All Others</c:v>
                </c:pt>
                <c:pt idx="1777">
                  <c:v>All Others</c:v>
                </c:pt>
                <c:pt idx="1778">
                  <c:v>All Others</c:v>
                </c:pt>
                <c:pt idx="1779">
                  <c:v>Milleret: A</c:v>
                </c:pt>
                <c:pt idx="1780">
                  <c:v>All Others</c:v>
                </c:pt>
                <c:pt idx="1781">
                  <c:v>All Others</c:v>
                </c:pt>
                <c:pt idx="1782">
                  <c:v>All Others</c:v>
                </c:pt>
                <c:pt idx="1783">
                  <c:v>All Others</c:v>
                </c:pt>
                <c:pt idx="1784">
                  <c:v>All Others</c:v>
                </c:pt>
                <c:pt idx="1785">
                  <c:v>Eurial Autr</c:v>
                </c:pt>
                <c:pt idx="1786">
                  <c:v>Paysan Bret</c:v>
                </c:pt>
                <c:pt idx="1787">
                  <c:v>All Others</c:v>
                </c:pt>
                <c:pt idx="1788">
                  <c:v>All Others</c:v>
                </c:pt>
                <c:pt idx="1789">
                  <c:v>La Belle Et</c:v>
                </c:pt>
                <c:pt idx="1790">
                  <c:v>All Others</c:v>
                </c:pt>
                <c:pt idx="1791">
                  <c:v>All Others</c:v>
                </c:pt>
                <c:pt idx="1792">
                  <c:v>All Others</c:v>
                </c:pt>
                <c:pt idx="1793">
                  <c:v>Leerdammer</c:v>
                </c:pt>
                <c:pt idx="1794">
                  <c:v>Pave D'Affi</c:v>
                </c:pt>
                <c:pt idx="1795">
                  <c:v>All Others</c:v>
                </c:pt>
                <c:pt idx="1796">
                  <c:v>All Others</c:v>
                </c:pt>
                <c:pt idx="1797">
                  <c:v>Soignon</c:v>
                </c:pt>
                <c:pt idx="1798">
                  <c:v>All Others</c:v>
                </c:pt>
                <c:pt idx="1799">
                  <c:v>All Others</c:v>
                </c:pt>
                <c:pt idx="1800">
                  <c:v>All Others</c:v>
                </c:pt>
                <c:pt idx="1801">
                  <c:v>All Others</c:v>
                </c:pt>
                <c:pt idx="1802">
                  <c:v>All Others</c:v>
                </c:pt>
                <c:pt idx="1803">
                  <c:v>All Others</c:v>
                </c:pt>
                <c:pt idx="1804">
                  <c:v>All Others</c:v>
                </c:pt>
                <c:pt idx="1805">
                  <c:v>Raguin</c:v>
                </c:pt>
                <c:pt idx="1806">
                  <c:v>All Others</c:v>
                </c:pt>
                <c:pt idx="1807">
                  <c:v>Lactalis: A</c:v>
                </c:pt>
                <c:pt idx="1808">
                  <c:v>Private Lab</c:v>
                </c:pt>
                <c:pt idx="1809">
                  <c:v>All Others</c:v>
                </c:pt>
                <c:pt idx="1810">
                  <c:v>All Others</c:v>
                </c:pt>
                <c:pt idx="1811">
                  <c:v>Paysan Bret</c:v>
                </c:pt>
                <c:pt idx="1812">
                  <c:v>Lou Perac</c:v>
                </c:pt>
                <c:pt idx="1813">
                  <c:v>All Others</c:v>
                </c:pt>
                <c:pt idx="1814">
                  <c:v>Pave D'Affi</c:v>
                </c:pt>
                <c:pt idx="1815">
                  <c:v>All Others</c:v>
                </c:pt>
                <c:pt idx="1816">
                  <c:v>Etoile Du V</c:v>
                </c:pt>
                <c:pt idx="1817">
                  <c:v>All Others</c:v>
                </c:pt>
                <c:pt idx="1818">
                  <c:v>All Others</c:v>
                </c:pt>
                <c:pt idx="1819">
                  <c:v>All Others</c:v>
                </c:pt>
                <c:pt idx="1820">
                  <c:v>All Others</c:v>
                </c:pt>
                <c:pt idx="1821">
                  <c:v>All Others</c:v>
                </c:pt>
                <c:pt idx="1822">
                  <c:v>All Others</c:v>
                </c:pt>
                <c:pt idx="1823">
                  <c:v>All Others</c:v>
                </c:pt>
                <c:pt idx="1824">
                  <c:v>All Others</c:v>
                </c:pt>
                <c:pt idx="1825">
                  <c:v>President</c:v>
                </c:pt>
                <c:pt idx="1826">
                  <c:v>All Others</c:v>
                </c:pt>
                <c:pt idx="1827">
                  <c:v>Raguin</c:v>
                </c:pt>
                <c:pt idx="1828">
                  <c:v>All Others</c:v>
                </c:pt>
                <c:pt idx="1829">
                  <c:v>Private Lab</c:v>
                </c:pt>
                <c:pt idx="1830">
                  <c:v>All Others</c:v>
                </c:pt>
                <c:pt idx="1831">
                  <c:v>All Others</c:v>
                </c:pt>
                <c:pt idx="1832">
                  <c:v>All Others</c:v>
                </c:pt>
                <c:pt idx="1833">
                  <c:v>Lactalis: A</c:v>
                </c:pt>
                <c:pt idx="1834">
                  <c:v>All Others</c:v>
                </c:pt>
                <c:pt idx="1835">
                  <c:v>All Others</c:v>
                </c:pt>
                <c:pt idx="1836">
                  <c:v>All Others</c:v>
                </c:pt>
                <c:pt idx="1837">
                  <c:v>All Others</c:v>
                </c:pt>
                <c:pt idx="1838">
                  <c:v>All Others</c:v>
                </c:pt>
                <c:pt idx="1839">
                  <c:v>All Others</c:v>
                </c:pt>
                <c:pt idx="1840">
                  <c:v>All Others</c:v>
                </c:pt>
                <c:pt idx="1841">
                  <c:v>All Others</c:v>
                </c:pt>
                <c:pt idx="1842">
                  <c:v>All Others</c:v>
                </c:pt>
                <c:pt idx="1843">
                  <c:v>All Others</c:v>
                </c:pt>
                <c:pt idx="1844">
                  <c:v>All Others</c:v>
                </c:pt>
                <c:pt idx="1845">
                  <c:v>All Others</c:v>
                </c:pt>
                <c:pt idx="1846">
                  <c:v>All Others</c:v>
                </c:pt>
                <c:pt idx="1847">
                  <c:v>All Others</c:v>
                </c:pt>
                <c:pt idx="1848">
                  <c:v>All Others</c:v>
                </c:pt>
                <c:pt idx="1849">
                  <c:v>All Others</c:v>
                </c:pt>
                <c:pt idx="1850">
                  <c:v>Soignon</c:v>
                </c:pt>
                <c:pt idx="1851">
                  <c:v>All Others</c:v>
                </c:pt>
                <c:pt idx="1852">
                  <c:v>All Others</c:v>
                </c:pt>
                <c:pt idx="1853">
                  <c:v>All Others</c:v>
                </c:pt>
                <c:pt idx="1854">
                  <c:v>Leerdammer</c:v>
                </c:pt>
                <c:pt idx="1855">
                  <c:v>All Others</c:v>
                </c:pt>
                <c:pt idx="1856">
                  <c:v>All Others</c:v>
                </c:pt>
                <c:pt idx="1857">
                  <c:v>All Others</c:v>
                </c:pt>
                <c:pt idx="1858">
                  <c:v>All Others</c:v>
                </c:pt>
                <c:pt idx="1859">
                  <c:v>Milleret: A</c:v>
                </c:pt>
                <c:pt idx="1860">
                  <c:v>Leerdammer</c:v>
                </c:pt>
                <c:pt idx="1861">
                  <c:v>All Others</c:v>
                </c:pt>
                <c:pt idx="1862">
                  <c:v>All Others</c:v>
                </c:pt>
                <c:pt idx="1863">
                  <c:v>All Others</c:v>
                </c:pt>
                <c:pt idx="1864">
                  <c:v>All Others</c:v>
                </c:pt>
                <c:pt idx="1865">
                  <c:v>All Others</c:v>
                </c:pt>
                <c:pt idx="1866">
                  <c:v>Fol Epi</c:v>
                </c:pt>
                <c:pt idx="1867">
                  <c:v>All Others</c:v>
                </c:pt>
                <c:pt idx="1868">
                  <c:v>Fol Epi</c:v>
                </c:pt>
                <c:pt idx="1869">
                  <c:v>Paysan Bret</c:v>
                </c:pt>
                <c:pt idx="1870">
                  <c:v>All Others</c:v>
                </c:pt>
                <c:pt idx="1871">
                  <c:v>All Others</c:v>
                </c:pt>
                <c:pt idx="1872">
                  <c:v>All Others</c:v>
                </c:pt>
                <c:pt idx="1873">
                  <c:v>All Others</c:v>
                </c:pt>
                <c:pt idx="1874">
                  <c:v>All Others</c:v>
                </c:pt>
                <c:pt idx="1875">
                  <c:v>All Others</c:v>
                </c:pt>
                <c:pt idx="1876">
                  <c:v>All Others</c:v>
                </c:pt>
                <c:pt idx="1877">
                  <c:v>All Others</c:v>
                </c:pt>
                <c:pt idx="1878">
                  <c:v>All Others</c:v>
                </c:pt>
                <c:pt idx="1879">
                  <c:v>All Others</c:v>
                </c:pt>
                <c:pt idx="1880">
                  <c:v>All Others</c:v>
                </c:pt>
                <c:pt idx="1881">
                  <c:v>All Others</c:v>
                </c:pt>
                <c:pt idx="1882">
                  <c:v>All Others</c:v>
                </c:pt>
                <c:pt idx="1883">
                  <c:v>Pave D'Affi</c:v>
                </c:pt>
                <c:pt idx="1884">
                  <c:v>All Others</c:v>
                </c:pt>
                <c:pt idx="1885">
                  <c:v>Lactalis: A</c:v>
                </c:pt>
                <c:pt idx="1886">
                  <c:v>All Others</c:v>
                </c:pt>
                <c:pt idx="1887">
                  <c:v>All Others</c:v>
                </c:pt>
                <c:pt idx="1888">
                  <c:v>All Others</c:v>
                </c:pt>
                <c:pt idx="1889">
                  <c:v>All Others</c:v>
                </c:pt>
                <c:pt idx="1890">
                  <c:v>All Others</c:v>
                </c:pt>
                <c:pt idx="1891">
                  <c:v>All Others</c:v>
                </c:pt>
                <c:pt idx="1892">
                  <c:v>All Others</c:v>
                </c:pt>
                <c:pt idx="1893">
                  <c:v>All Others</c:v>
                </c:pt>
                <c:pt idx="1894">
                  <c:v>Richesmonts</c:v>
                </c:pt>
                <c:pt idx="1895">
                  <c:v>All Others</c:v>
                </c:pt>
                <c:pt idx="1896">
                  <c:v>All Others</c:v>
                </c:pt>
                <c:pt idx="1897">
                  <c:v>All Others</c:v>
                </c:pt>
                <c:pt idx="1898">
                  <c:v>La Belle Et</c:v>
                </c:pt>
                <c:pt idx="1899">
                  <c:v>Triballat R</c:v>
                </c:pt>
                <c:pt idx="1900">
                  <c:v>All Others</c:v>
                </c:pt>
                <c:pt idx="1901">
                  <c:v>All Others</c:v>
                </c:pt>
                <c:pt idx="1902">
                  <c:v>Private Lab</c:v>
                </c:pt>
                <c:pt idx="1903">
                  <c:v>Private Lab</c:v>
                </c:pt>
                <c:pt idx="1904">
                  <c:v>All Others</c:v>
                </c:pt>
                <c:pt idx="1905">
                  <c:v>Lactalis: A</c:v>
                </c:pt>
                <c:pt idx="1906">
                  <c:v>All Others</c:v>
                </c:pt>
                <c:pt idx="1907">
                  <c:v>All Others</c:v>
                </c:pt>
                <c:pt idx="1908">
                  <c:v>Triballat R</c:v>
                </c:pt>
                <c:pt idx="1909">
                  <c:v>All Others</c:v>
                </c:pt>
                <c:pt idx="1910">
                  <c:v>All Others</c:v>
                </c:pt>
                <c:pt idx="1911">
                  <c:v>All Others</c:v>
                </c:pt>
                <c:pt idx="1912">
                  <c:v>President</c:v>
                </c:pt>
                <c:pt idx="1913">
                  <c:v>All Others</c:v>
                </c:pt>
                <c:pt idx="1914">
                  <c:v>Entremont</c:v>
                </c:pt>
                <c:pt idx="1915">
                  <c:v>All Others</c:v>
                </c:pt>
                <c:pt idx="1916">
                  <c:v>All Others</c:v>
                </c:pt>
                <c:pt idx="1917">
                  <c:v>All Others</c:v>
                </c:pt>
                <c:pt idx="1918">
                  <c:v>Entremont</c:v>
                </c:pt>
                <c:pt idx="1919">
                  <c:v>All Others</c:v>
                </c:pt>
                <c:pt idx="1920">
                  <c:v>Saint Agur</c:v>
                </c:pt>
                <c:pt idx="1921">
                  <c:v>All Others</c:v>
                </c:pt>
                <c:pt idx="1922">
                  <c:v>Private Lab</c:v>
                </c:pt>
                <c:pt idx="1923">
                  <c:v>Lactalis: A</c:v>
                </c:pt>
                <c:pt idx="1924">
                  <c:v>All Others</c:v>
                </c:pt>
                <c:pt idx="1925">
                  <c:v>All Others</c:v>
                </c:pt>
                <c:pt idx="1926">
                  <c:v>All Others</c:v>
                </c:pt>
                <c:pt idx="1927">
                  <c:v>All Others</c:v>
                </c:pt>
                <c:pt idx="1928">
                  <c:v>All Others</c:v>
                </c:pt>
                <c:pt idx="1929">
                  <c:v>All Others</c:v>
                </c:pt>
                <c:pt idx="1930">
                  <c:v>All Others</c:v>
                </c:pt>
                <c:pt idx="1931">
                  <c:v>All Others</c:v>
                </c:pt>
                <c:pt idx="1932">
                  <c:v>All Others</c:v>
                </c:pt>
                <c:pt idx="1933">
                  <c:v>All Others</c:v>
                </c:pt>
                <c:pt idx="1934">
                  <c:v>All Others</c:v>
                </c:pt>
                <c:pt idx="1935">
                  <c:v>All Others</c:v>
                </c:pt>
                <c:pt idx="1936">
                  <c:v>All Others</c:v>
                </c:pt>
                <c:pt idx="1937">
                  <c:v>All Others</c:v>
                </c:pt>
                <c:pt idx="1938">
                  <c:v>Raguin</c:v>
                </c:pt>
                <c:pt idx="1939">
                  <c:v>All Others</c:v>
                </c:pt>
                <c:pt idx="1940">
                  <c:v>All Others</c:v>
                </c:pt>
                <c:pt idx="1941">
                  <c:v>All Others</c:v>
                </c:pt>
                <c:pt idx="1942">
                  <c:v>All Others</c:v>
                </c:pt>
                <c:pt idx="1943">
                  <c:v>All Others</c:v>
                </c:pt>
                <c:pt idx="1944">
                  <c:v>All Others</c:v>
                </c:pt>
                <c:pt idx="1945">
                  <c:v>All Others</c:v>
                </c:pt>
                <c:pt idx="1946">
                  <c:v>All Others</c:v>
                </c:pt>
                <c:pt idx="1947">
                  <c:v>All Others</c:v>
                </c:pt>
                <c:pt idx="1948">
                  <c:v>All Others</c:v>
                </c:pt>
                <c:pt idx="1949">
                  <c:v>All Others</c:v>
                </c:pt>
                <c:pt idx="1950">
                  <c:v>All Others</c:v>
                </c:pt>
                <c:pt idx="1951">
                  <c:v>All Others</c:v>
                </c:pt>
                <c:pt idx="1952">
                  <c:v>Milleret: A</c:v>
                </c:pt>
                <c:pt idx="1953">
                  <c:v>All Others</c:v>
                </c:pt>
                <c:pt idx="1954">
                  <c:v>All Others</c:v>
                </c:pt>
                <c:pt idx="1955">
                  <c:v>Caprice Des</c:v>
                </c:pt>
                <c:pt idx="1956">
                  <c:v>All Others</c:v>
                </c:pt>
                <c:pt idx="1957">
                  <c:v>All Others</c:v>
                </c:pt>
                <c:pt idx="1958">
                  <c:v>Lactalis: A</c:v>
                </c:pt>
                <c:pt idx="1959">
                  <c:v>All Others</c:v>
                </c:pt>
                <c:pt idx="1960">
                  <c:v>All Others</c:v>
                </c:pt>
                <c:pt idx="1961">
                  <c:v>All Others</c:v>
                </c:pt>
                <c:pt idx="1962">
                  <c:v>Private Lab</c:v>
                </c:pt>
                <c:pt idx="1963">
                  <c:v>All Others</c:v>
                </c:pt>
                <c:pt idx="1964">
                  <c:v>Pave D'Affi</c:v>
                </c:pt>
                <c:pt idx="1965">
                  <c:v>All Others</c:v>
                </c:pt>
                <c:pt idx="1966">
                  <c:v>All Others</c:v>
                </c:pt>
                <c:pt idx="1967">
                  <c:v>All Others</c:v>
                </c:pt>
                <c:pt idx="1968">
                  <c:v>All Others</c:v>
                </c:pt>
                <c:pt idx="1969">
                  <c:v>All Others</c:v>
                </c:pt>
                <c:pt idx="1970">
                  <c:v>All Others</c:v>
                </c:pt>
                <c:pt idx="1971">
                  <c:v>All Others</c:v>
                </c:pt>
                <c:pt idx="1972">
                  <c:v>All Others</c:v>
                </c:pt>
                <c:pt idx="1973">
                  <c:v>La Belle Et</c:v>
                </c:pt>
                <c:pt idx="1974">
                  <c:v>All Others</c:v>
                </c:pt>
                <c:pt idx="1975">
                  <c:v>Raguin</c:v>
                </c:pt>
                <c:pt idx="1976">
                  <c:v>All Others</c:v>
                </c:pt>
                <c:pt idx="1977">
                  <c:v>All Others</c:v>
                </c:pt>
                <c:pt idx="1978">
                  <c:v>All Others</c:v>
                </c:pt>
                <c:pt idx="1979">
                  <c:v>All Others</c:v>
                </c:pt>
                <c:pt idx="1980">
                  <c:v>Lactalis: A</c:v>
                </c:pt>
                <c:pt idx="1981">
                  <c:v>All Others</c:v>
                </c:pt>
                <c:pt idx="1982">
                  <c:v>La Belle Et</c:v>
                </c:pt>
                <c:pt idx="1983">
                  <c:v>All Others</c:v>
                </c:pt>
                <c:pt idx="1984">
                  <c:v>All Others</c:v>
                </c:pt>
                <c:pt idx="1985">
                  <c:v>All Others</c:v>
                </c:pt>
                <c:pt idx="1986">
                  <c:v>All Others</c:v>
                </c:pt>
                <c:pt idx="1987">
                  <c:v>Lou Perac</c:v>
                </c:pt>
                <c:pt idx="1988">
                  <c:v>All Others</c:v>
                </c:pt>
                <c:pt idx="1989">
                  <c:v>All Others</c:v>
                </c:pt>
                <c:pt idx="1990">
                  <c:v>Savencia: A</c:v>
                </c:pt>
                <c:pt idx="1991">
                  <c:v>All Others</c:v>
                </c:pt>
                <c:pt idx="1992">
                  <c:v>All Others</c:v>
                </c:pt>
                <c:pt idx="1993">
                  <c:v>All Others</c:v>
                </c:pt>
                <c:pt idx="1994">
                  <c:v>All Others</c:v>
                </c:pt>
                <c:pt idx="1995">
                  <c:v>Private Lab</c:v>
                </c:pt>
                <c:pt idx="1996">
                  <c:v>Pochat</c:v>
                </c:pt>
                <c:pt idx="1997">
                  <c:v>All Others</c:v>
                </c:pt>
                <c:pt idx="1998">
                  <c:v>All Others</c:v>
                </c:pt>
                <c:pt idx="1999">
                  <c:v>All Others</c:v>
                </c:pt>
                <c:pt idx="2000">
                  <c:v>All Others</c:v>
                </c:pt>
                <c:pt idx="2001">
                  <c:v>All Others</c:v>
                </c:pt>
                <c:pt idx="2002">
                  <c:v>Mini Babybe</c:v>
                </c:pt>
                <c:pt idx="2003">
                  <c:v>All Others</c:v>
                </c:pt>
                <c:pt idx="2004">
                  <c:v>All Others</c:v>
                </c:pt>
                <c:pt idx="2005">
                  <c:v>All Others</c:v>
                </c:pt>
                <c:pt idx="2006">
                  <c:v>All Others</c:v>
                </c:pt>
                <c:pt idx="2007">
                  <c:v>All Others</c:v>
                </c:pt>
                <c:pt idx="2008">
                  <c:v>All Others</c:v>
                </c:pt>
                <c:pt idx="2009">
                  <c:v>Lactalis: A</c:v>
                </c:pt>
                <c:pt idx="2010">
                  <c:v>All Others</c:v>
                </c:pt>
                <c:pt idx="2011">
                  <c:v>All Others</c:v>
                </c:pt>
                <c:pt idx="2012">
                  <c:v>All Others</c:v>
                </c:pt>
                <c:pt idx="2013">
                  <c:v>Port Salut</c:v>
                </c:pt>
                <c:pt idx="2014">
                  <c:v>All Others</c:v>
                </c:pt>
                <c:pt idx="2015">
                  <c:v>All Others</c:v>
                </c:pt>
                <c:pt idx="2016">
                  <c:v>All Others</c:v>
                </c:pt>
                <c:pt idx="2017">
                  <c:v>All Others</c:v>
                </c:pt>
                <c:pt idx="2018">
                  <c:v>All Others</c:v>
                </c:pt>
                <c:pt idx="2019">
                  <c:v>All Others</c:v>
                </c:pt>
                <c:pt idx="2020">
                  <c:v>All Others</c:v>
                </c:pt>
                <c:pt idx="2021">
                  <c:v>All Others</c:v>
                </c:pt>
                <c:pt idx="2022">
                  <c:v>All Others</c:v>
                </c:pt>
                <c:pt idx="2023">
                  <c:v>All Others</c:v>
                </c:pt>
                <c:pt idx="2024">
                  <c:v>Richesmonts</c:v>
                </c:pt>
                <c:pt idx="2025">
                  <c:v>Private Lab</c:v>
                </c:pt>
                <c:pt idx="2026">
                  <c:v>All Others</c:v>
                </c:pt>
                <c:pt idx="2027">
                  <c:v>All Others</c:v>
                </c:pt>
                <c:pt idx="2028">
                  <c:v>All Others</c:v>
                </c:pt>
                <c:pt idx="2029">
                  <c:v>All Others</c:v>
                </c:pt>
                <c:pt idx="2030">
                  <c:v>All Others</c:v>
                </c:pt>
                <c:pt idx="2031">
                  <c:v>All Others</c:v>
                </c:pt>
                <c:pt idx="2032">
                  <c:v>All Others</c:v>
                </c:pt>
                <c:pt idx="2033">
                  <c:v>All Others</c:v>
                </c:pt>
                <c:pt idx="2034">
                  <c:v>All Others</c:v>
                </c:pt>
                <c:pt idx="2035">
                  <c:v>All Others</c:v>
                </c:pt>
                <c:pt idx="2036">
                  <c:v>All Others</c:v>
                </c:pt>
                <c:pt idx="2037">
                  <c:v>All Others</c:v>
                </c:pt>
                <c:pt idx="2038">
                  <c:v>All Others</c:v>
                </c:pt>
                <c:pt idx="2039">
                  <c:v>All Others</c:v>
                </c:pt>
                <c:pt idx="2040">
                  <c:v>All Others</c:v>
                </c:pt>
                <c:pt idx="2041">
                  <c:v>All Others</c:v>
                </c:pt>
                <c:pt idx="2042">
                  <c:v>All Others</c:v>
                </c:pt>
                <c:pt idx="2043">
                  <c:v>All Others</c:v>
                </c:pt>
                <c:pt idx="2044">
                  <c:v>Eurial Autr</c:v>
                </c:pt>
                <c:pt idx="2045">
                  <c:v>All Others</c:v>
                </c:pt>
                <c:pt idx="2046">
                  <c:v>All Others</c:v>
                </c:pt>
                <c:pt idx="2047">
                  <c:v>All Others</c:v>
                </c:pt>
                <c:pt idx="2048">
                  <c:v>All Others</c:v>
                </c:pt>
                <c:pt idx="2049">
                  <c:v>All Others</c:v>
                </c:pt>
                <c:pt idx="2050">
                  <c:v>All Others</c:v>
                </c:pt>
                <c:pt idx="2051">
                  <c:v>All Others</c:v>
                </c:pt>
                <c:pt idx="2052">
                  <c:v>All Others</c:v>
                </c:pt>
                <c:pt idx="2053">
                  <c:v>All Others</c:v>
                </c:pt>
                <c:pt idx="2054">
                  <c:v>All Others</c:v>
                </c:pt>
                <c:pt idx="2055">
                  <c:v>All Others</c:v>
                </c:pt>
                <c:pt idx="2056">
                  <c:v>All Others</c:v>
                </c:pt>
                <c:pt idx="2057">
                  <c:v>All Others</c:v>
                </c:pt>
                <c:pt idx="2058">
                  <c:v>All Others</c:v>
                </c:pt>
                <c:pt idx="2059">
                  <c:v>All Others</c:v>
                </c:pt>
                <c:pt idx="2060">
                  <c:v>All Others</c:v>
                </c:pt>
                <c:pt idx="2061">
                  <c:v>All Others</c:v>
                </c:pt>
                <c:pt idx="2062">
                  <c:v>All Others</c:v>
                </c:pt>
                <c:pt idx="2063">
                  <c:v>All Others</c:v>
                </c:pt>
                <c:pt idx="2064">
                  <c:v>All Others</c:v>
                </c:pt>
                <c:pt idx="2065">
                  <c:v>Private Lab</c:v>
                </c:pt>
                <c:pt idx="2066">
                  <c:v>All Others</c:v>
                </c:pt>
                <c:pt idx="2067">
                  <c:v>All Others</c:v>
                </c:pt>
                <c:pt idx="2068">
                  <c:v>All Others</c:v>
                </c:pt>
                <c:pt idx="2069">
                  <c:v>Le Saint Am</c:v>
                </c:pt>
                <c:pt idx="2070">
                  <c:v>All Others</c:v>
                </c:pt>
                <c:pt idx="2071">
                  <c:v>All Others</c:v>
                </c:pt>
                <c:pt idx="2072">
                  <c:v>All Others</c:v>
                </c:pt>
                <c:pt idx="2073">
                  <c:v>All Others</c:v>
                </c:pt>
                <c:pt idx="2074">
                  <c:v>All Others</c:v>
                </c:pt>
                <c:pt idx="2075">
                  <c:v>All Others</c:v>
                </c:pt>
                <c:pt idx="2076">
                  <c:v>All Others</c:v>
                </c:pt>
                <c:pt idx="2077">
                  <c:v>All Others</c:v>
                </c:pt>
                <c:pt idx="2078">
                  <c:v>All Others</c:v>
                </c:pt>
                <c:pt idx="2079">
                  <c:v>All Others</c:v>
                </c:pt>
                <c:pt idx="2080">
                  <c:v>All Others</c:v>
                </c:pt>
                <c:pt idx="2081">
                  <c:v>All Others</c:v>
                </c:pt>
                <c:pt idx="2082">
                  <c:v>Eurial Autr</c:v>
                </c:pt>
                <c:pt idx="2083">
                  <c:v>All Others</c:v>
                </c:pt>
                <c:pt idx="2084">
                  <c:v>All Others</c:v>
                </c:pt>
                <c:pt idx="2085">
                  <c:v>All Others</c:v>
                </c:pt>
                <c:pt idx="2086">
                  <c:v>All Others</c:v>
                </c:pt>
                <c:pt idx="2087">
                  <c:v>All Others</c:v>
                </c:pt>
                <c:pt idx="2088">
                  <c:v>All Others</c:v>
                </c:pt>
                <c:pt idx="2089">
                  <c:v>All Others</c:v>
                </c:pt>
                <c:pt idx="2090">
                  <c:v>All Others</c:v>
                </c:pt>
                <c:pt idx="2091">
                  <c:v>All Others</c:v>
                </c:pt>
                <c:pt idx="2092">
                  <c:v>Pave D'Affi</c:v>
                </c:pt>
                <c:pt idx="2093">
                  <c:v>All Others</c:v>
                </c:pt>
                <c:pt idx="2094">
                  <c:v>All Others</c:v>
                </c:pt>
                <c:pt idx="2095">
                  <c:v>All Others</c:v>
                </c:pt>
                <c:pt idx="2096">
                  <c:v>All Others</c:v>
                </c:pt>
                <c:pt idx="2097">
                  <c:v>All Others</c:v>
                </c:pt>
                <c:pt idx="2098">
                  <c:v>All Others</c:v>
                </c:pt>
                <c:pt idx="2099">
                  <c:v>All Others</c:v>
                </c:pt>
                <c:pt idx="2100">
                  <c:v>All Others</c:v>
                </c:pt>
                <c:pt idx="2101">
                  <c:v>All Others</c:v>
                </c:pt>
                <c:pt idx="2102">
                  <c:v>All Others</c:v>
                </c:pt>
                <c:pt idx="2103">
                  <c:v>All Others</c:v>
                </c:pt>
                <c:pt idx="2104">
                  <c:v>All Others</c:v>
                </c:pt>
                <c:pt idx="2105">
                  <c:v>All Others</c:v>
                </c:pt>
                <c:pt idx="2106">
                  <c:v>All Others</c:v>
                </c:pt>
                <c:pt idx="2107">
                  <c:v>All Others</c:v>
                </c:pt>
                <c:pt idx="2108">
                  <c:v>All Others</c:v>
                </c:pt>
                <c:pt idx="2109">
                  <c:v>All Others</c:v>
                </c:pt>
                <c:pt idx="2110">
                  <c:v>All Others</c:v>
                </c:pt>
                <c:pt idx="2111">
                  <c:v>All Others</c:v>
                </c:pt>
                <c:pt idx="2112">
                  <c:v>All Others</c:v>
                </c:pt>
                <c:pt idx="2113">
                  <c:v>All Others</c:v>
                </c:pt>
                <c:pt idx="2114">
                  <c:v>All Others</c:v>
                </c:pt>
                <c:pt idx="2115">
                  <c:v>All Others</c:v>
                </c:pt>
                <c:pt idx="2116">
                  <c:v>All Others</c:v>
                </c:pt>
                <c:pt idx="2117">
                  <c:v>All Others</c:v>
                </c:pt>
                <c:pt idx="2118">
                  <c:v>All Others</c:v>
                </c:pt>
                <c:pt idx="2119">
                  <c:v>All Others</c:v>
                </c:pt>
                <c:pt idx="2120">
                  <c:v>Private Lab</c:v>
                </c:pt>
                <c:pt idx="2121">
                  <c:v>All Others</c:v>
                </c:pt>
                <c:pt idx="2122">
                  <c:v>All Others</c:v>
                </c:pt>
                <c:pt idx="2123">
                  <c:v>All Others</c:v>
                </c:pt>
                <c:pt idx="2124">
                  <c:v>All Others</c:v>
                </c:pt>
                <c:pt idx="2125">
                  <c:v>All Others</c:v>
                </c:pt>
                <c:pt idx="2126">
                  <c:v>All Others</c:v>
                </c:pt>
                <c:pt idx="2127">
                  <c:v>All Others</c:v>
                </c:pt>
                <c:pt idx="2128">
                  <c:v>All Others</c:v>
                </c:pt>
                <c:pt idx="2129">
                  <c:v>All Others</c:v>
                </c:pt>
                <c:pt idx="2130">
                  <c:v>All Others</c:v>
                </c:pt>
                <c:pt idx="2131">
                  <c:v>All Others</c:v>
                </c:pt>
                <c:pt idx="2132">
                  <c:v>Lactalis: A</c:v>
                </c:pt>
                <c:pt idx="2133">
                  <c:v>All Others</c:v>
                </c:pt>
                <c:pt idx="2134">
                  <c:v>Limiano</c:v>
                </c:pt>
                <c:pt idx="2135">
                  <c:v>All Others</c:v>
                </c:pt>
                <c:pt idx="2136">
                  <c:v>All Others</c:v>
                </c:pt>
                <c:pt idx="2137">
                  <c:v>All Others</c:v>
                </c:pt>
                <c:pt idx="2138">
                  <c:v>All Others</c:v>
                </c:pt>
                <c:pt idx="2139">
                  <c:v>All Others</c:v>
                </c:pt>
                <c:pt idx="2140">
                  <c:v>All Others</c:v>
                </c:pt>
                <c:pt idx="2141">
                  <c:v>All Others</c:v>
                </c:pt>
                <c:pt idx="2142">
                  <c:v>All Others</c:v>
                </c:pt>
                <c:pt idx="2143">
                  <c:v>All Others</c:v>
                </c:pt>
                <c:pt idx="2144">
                  <c:v>All Others</c:v>
                </c:pt>
                <c:pt idx="2145">
                  <c:v>All Others</c:v>
                </c:pt>
                <c:pt idx="2146">
                  <c:v>President</c:v>
                </c:pt>
                <c:pt idx="2147">
                  <c:v>All Others</c:v>
                </c:pt>
                <c:pt idx="2148">
                  <c:v>All Others</c:v>
                </c:pt>
                <c:pt idx="2149">
                  <c:v>All Others</c:v>
                </c:pt>
                <c:pt idx="2150">
                  <c:v>Raguin</c:v>
                </c:pt>
                <c:pt idx="2151">
                  <c:v>All Others</c:v>
                </c:pt>
                <c:pt idx="2152">
                  <c:v>All Others</c:v>
                </c:pt>
                <c:pt idx="2153">
                  <c:v>All Others</c:v>
                </c:pt>
                <c:pt idx="2154">
                  <c:v>All Others</c:v>
                </c:pt>
                <c:pt idx="2155">
                  <c:v>All Others</c:v>
                </c:pt>
                <c:pt idx="2156">
                  <c:v>All Others</c:v>
                </c:pt>
                <c:pt idx="2157">
                  <c:v>Lactalis: A</c:v>
                </c:pt>
                <c:pt idx="2158">
                  <c:v>All Others</c:v>
                </c:pt>
                <c:pt idx="2159">
                  <c:v>All Others</c:v>
                </c:pt>
                <c:pt idx="2160">
                  <c:v>Private Lab</c:v>
                </c:pt>
                <c:pt idx="2161">
                  <c:v>All Others</c:v>
                </c:pt>
                <c:pt idx="2162">
                  <c:v>All Others</c:v>
                </c:pt>
                <c:pt idx="2163">
                  <c:v>All Others</c:v>
                </c:pt>
                <c:pt idx="2164">
                  <c:v>All Others</c:v>
                </c:pt>
                <c:pt idx="2165">
                  <c:v>All Others</c:v>
                </c:pt>
                <c:pt idx="2166">
                  <c:v>All Others</c:v>
                </c:pt>
                <c:pt idx="2167">
                  <c:v>All Others</c:v>
                </c:pt>
                <c:pt idx="2168">
                  <c:v>Raguin</c:v>
                </c:pt>
                <c:pt idx="2169">
                  <c:v>Etorki</c:v>
                </c:pt>
                <c:pt idx="2170">
                  <c:v>Etoile Du V</c:v>
                </c:pt>
                <c:pt idx="2171">
                  <c:v>All Others</c:v>
                </c:pt>
                <c:pt idx="2172">
                  <c:v>All Others</c:v>
                </c:pt>
                <c:pt idx="2173">
                  <c:v>All Others</c:v>
                </c:pt>
                <c:pt idx="2174">
                  <c:v>All Others</c:v>
                </c:pt>
                <c:pt idx="2175">
                  <c:v>All Others</c:v>
                </c:pt>
                <c:pt idx="2176">
                  <c:v>All Others</c:v>
                </c:pt>
                <c:pt idx="2177">
                  <c:v>All Others</c:v>
                </c:pt>
                <c:pt idx="2178">
                  <c:v>All Others</c:v>
                </c:pt>
                <c:pt idx="2179">
                  <c:v>All Others</c:v>
                </c:pt>
                <c:pt idx="2180">
                  <c:v>All Others</c:v>
                </c:pt>
                <c:pt idx="2181">
                  <c:v>All Others</c:v>
                </c:pt>
                <c:pt idx="2182">
                  <c:v>All Others</c:v>
                </c:pt>
                <c:pt idx="2183">
                  <c:v>All Others</c:v>
                </c:pt>
                <c:pt idx="2184">
                  <c:v>All Others</c:v>
                </c:pt>
                <c:pt idx="2185">
                  <c:v>Raguin</c:v>
                </c:pt>
                <c:pt idx="2186">
                  <c:v>All Others</c:v>
                </c:pt>
                <c:pt idx="2187">
                  <c:v>All Others</c:v>
                </c:pt>
                <c:pt idx="2188">
                  <c:v>All Others</c:v>
                </c:pt>
                <c:pt idx="2189">
                  <c:v>All Others</c:v>
                </c:pt>
                <c:pt idx="2190">
                  <c:v>All Others</c:v>
                </c:pt>
                <c:pt idx="2191">
                  <c:v>All Others</c:v>
                </c:pt>
                <c:pt idx="2192">
                  <c:v>All Others</c:v>
                </c:pt>
                <c:pt idx="2193">
                  <c:v>All Others</c:v>
                </c:pt>
                <c:pt idx="2194">
                  <c:v>All Others</c:v>
                </c:pt>
                <c:pt idx="2195">
                  <c:v>All Others</c:v>
                </c:pt>
                <c:pt idx="2196">
                  <c:v>All Others</c:v>
                </c:pt>
                <c:pt idx="2197">
                  <c:v>All Others</c:v>
                </c:pt>
                <c:pt idx="2198">
                  <c:v>All Others</c:v>
                </c:pt>
                <c:pt idx="2199">
                  <c:v>All Others</c:v>
                </c:pt>
                <c:pt idx="2200">
                  <c:v>Raguin</c:v>
                </c:pt>
                <c:pt idx="2201">
                  <c:v>All Others</c:v>
                </c:pt>
                <c:pt idx="2202">
                  <c:v>All Others</c:v>
                </c:pt>
                <c:pt idx="2203">
                  <c:v>All Others</c:v>
                </c:pt>
                <c:pt idx="2204">
                  <c:v>All Others</c:v>
                </c:pt>
                <c:pt idx="2205">
                  <c:v>All Others</c:v>
                </c:pt>
                <c:pt idx="2206">
                  <c:v>President</c:v>
                </c:pt>
                <c:pt idx="2207">
                  <c:v>All Others</c:v>
                </c:pt>
                <c:pt idx="2208">
                  <c:v>All Others</c:v>
                </c:pt>
                <c:pt idx="2209">
                  <c:v>All Others</c:v>
                </c:pt>
                <c:pt idx="2210">
                  <c:v>All Others</c:v>
                </c:pt>
                <c:pt idx="2211">
                  <c:v>All Others</c:v>
                </c:pt>
                <c:pt idx="2212">
                  <c:v>All Others</c:v>
                </c:pt>
                <c:pt idx="2213">
                  <c:v>All Others</c:v>
                </c:pt>
                <c:pt idx="2214">
                  <c:v>All Others</c:v>
                </c:pt>
                <c:pt idx="2215">
                  <c:v>All Others</c:v>
                </c:pt>
                <c:pt idx="2216">
                  <c:v>All Others</c:v>
                </c:pt>
                <c:pt idx="2217">
                  <c:v>All Others</c:v>
                </c:pt>
                <c:pt idx="2218">
                  <c:v>All Others</c:v>
                </c:pt>
                <c:pt idx="2219">
                  <c:v>Rondele</c:v>
                </c:pt>
                <c:pt idx="2220">
                  <c:v>All Others</c:v>
                </c:pt>
                <c:pt idx="2221">
                  <c:v>Lactalis: A</c:v>
                </c:pt>
                <c:pt idx="2222">
                  <c:v>All Others</c:v>
                </c:pt>
                <c:pt idx="2223">
                  <c:v>All Others</c:v>
                </c:pt>
                <c:pt idx="2224">
                  <c:v>All Others</c:v>
                </c:pt>
                <c:pt idx="2225">
                  <c:v>All Others</c:v>
                </c:pt>
                <c:pt idx="2226">
                  <c:v>All Others</c:v>
                </c:pt>
                <c:pt idx="2227">
                  <c:v>All Others</c:v>
                </c:pt>
                <c:pt idx="2228">
                  <c:v>Limiano</c:v>
                </c:pt>
                <c:pt idx="2229">
                  <c:v>All Others</c:v>
                </c:pt>
                <c:pt idx="2230">
                  <c:v>All Others</c:v>
                </c:pt>
                <c:pt idx="2231">
                  <c:v>All Others</c:v>
                </c:pt>
                <c:pt idx="2232">
                  <c:v>All Others</c:v>
                </c:pt>
                <c:pt idx="2233">
                  <c:v>All Others</c:v>
                </c:pt>
                <c:pt idx="2234">
                  <c:v>All Others</c:v>
                </c:pt>
                <c:pt idx="2235">
                  <c:v>All Others</c:v>
                </c:pt>
                <c:pt idx="2236">
                  <c:v>All Others</c:v>
                </c:pt>
                <c:pt idx="2237">
                  <c:v>All Others</c:v>
                </c:pt>
                <c:pt idx="2238">
                  <c:v>All Others</c:v>
                </c:pt>
                <c:pt idx="2239">
                  <c:v>All Others</c:v>
                </c:pt>
                <c:pt idx="2240">
                  <c:v>All Others</c:v>
                </c:pt>
                <c:pt idx="2241">
                  <c:v>All Others</c:v>
                </c:pt>
                <c:pt idx="2242">
                  <c:v>All Others</c:v>
                </c:pt>
                <c:pt idx="2243">
                  <c:v>All Others</c:v>
                </c:pt>
                <c:pt idx="2244">
                  <c:v>All Others</c:v>
                </c:pt>
                <c:pt idx="2245">
                  <c:v>All Others</c:v>
                </c:pt>
                <c:pt idx="2246">
                  <c:v>All Others</c:v>
                </c:pt>
                <c:pt idx="2247">
                  <c:v>All Others</c:v>
                </c:pt>
                <c:pt idx="2248">
                  <c:v>All Others</c:v>
                </c:pt>
                <c:pt idx="2249">
                  <c:v>All Others</c:v>
                </c:pt>
                <c:pt idx="2250">
                  <c:v>All Others</c:v>
                </c:pt>
                <c:pt idx="2251">
                  <c:v>All Others</c:v>
                </c:pt>
                <c:pt idx="2252">
                  <c:v>All Others</c:v>
                </c:pt>
                <c:pt idx="2253">
                  <c:v>All Others</c:v>
                </c:pt>
                <c:pt idx="2254">
                  <c:v>All Others</c:v>
                </c:pt>
                <c:pt idx="2255">
                  <c:v>All Others</c:v>
                </c:pt>
                <c:pt idx="2256">
                  <c:v>All Others</c:v>
                </c:pt>
                <c:pt idx="2257">
                  <c:v>All Others</c:v>
                </c:pt>
                <c:pt idx="2258">
                  <c:v>Rondele</c:v>
                </c:pt>
                <c:pt idx="2259">
                  <c:v>All Others</c:v>
                </c:pt>
                <c:pt idx="2260">
                  <c:v>All Others</c:v>
                </c:pt>
                <c:pt idx="2261">
                  <c:v>All Others</c:v>
                </c:pt>
                <c:pt idx="2262">
                  <c:v>All Others</c:v>
                </c:pt>
                <c:pt idx="2263">
                  <c:v>All Others</c:v>
                </c:pt>
                <c:pt idx="2264">
                  <c:v>Private Lab</c:v>
                </c:pt>
                <c:pt idx="2265">
                  <c:v>All Others</c:v>
                </c:pt>
                <c:pt idx="2266">
                  <c:v>O'Tapas Ape</c:v>
                </c:pt>
                <c:pt idx="2267">
                  <c:v>All Others</c:v>
                </c:pt>
                <c:pt idx="2268">
                  <c:v>All Others</c:v>
                </c:pt>
                <c:pt idx="2269">
                  <c:v>All Others</c:v>
                </c:pt>
                <c:pt idx="2270">
                  <c:v>All Others</c:v>
                </c:pt>
                <c:pt idx="2271">
                  <c:v>All Others</c:v>
                </c:pt>
                <c:pt idx="2272">
                  <c:v>Raguin</c:v>
                </c:pt>
                <c:pt idx="2273">
                  <c:v>All Others</c:v>
                </c:pt>
                <c:pt idx="2274">
                  <c:v>All Others</c:v>
                </c:pt>
                <c:pt idx="2275">
                  <c:v>All Others</c:v>
                </c:pt>
                <c:pt idx="2276">
                  <c:v>All Others</c:v>
                </c:pt>
                <c:pt idx="2277">
                  <c:v>All Others</c:v>
                </c:pt>
                <c:pt idx="2278">
                  <c:v>All Others</c:v>
                </c:pt>
                <c:pt idx="2279">
                  <c:v>All Others</c:v>
                </c:pt>
                <c:pt idx="2280">
                  <c:v>All Others</c:v>
                </c:pt>
                <c:pt idx="2281">
                  <c:v>All Others</c:v>
                </c:pt>
                <c:pt idx="2282">
                  <c:v>All Others</c:v>
                </c:pt>
                <c:pt idx="2283">
                  <c:v>All Others</c:v>
                </c:pt>
                <c:pt idx="2284">
                  <c:v>Soignon</c:v>
                </c:pt>
                <c:pt idx="2285">
                  <c:v>All Others</c:v>
                </c:pt>
                <c:pt idx="2286">
                  <c:v>All Others</c:v>
                </c:pt>
                <c:pt idx="2287">
                  <c:v>All Others</c:v>
                </c:pt>
                <c:pt idx="2288">
                  <c:v>All Others</c:v>
                </c:pt>
                <c:pt idx="2289">
                  <c:v>All Others</c:v>
                </c:pt>
                <c:pt idx="2290">
                  <c:v>All Others</c:v>
                </c:pt>
                <c:pt idx="2291">
                  <c:v>All Others</c:v>
                </c:pt>
                <c:pt idx="2292">
                  <c:v>All Others</c:v>
                </c:pt>
                <c:pt idx="2293">
                  <c:v>All Others</c:v>
                </c:pt>
                <c:pt idx="2294">
                  <c:v>All Others</c:v>
                </c:pt>
                <c:pt idx="2295">
                  <c:v>All Others</c:v>
                </c:pt>
                <c:pt idx="2296">
                  <c:v>All Others</c:v>
                </c:pt>
                <c:pt idx="2297">
                  <c:v>Lactalis: A</c:v>
                </c:pt>
                <c:pt idx="2298">
                  <c:v>All Others</c:v>
                </c:pt>
                <c:pt idx="2299">
                  <c:v>All Others</c:v>
                </c:pt>
                <c:pt idx="2300">
                  <c:v>Raguin</c:v>
                </c:pt>
                <c:pt idx="2301">
                  <c:v>All Others</c:v>
                </c:pt>
                <c:pt idx="2302">
                  <c:v>All Others</c:v>
                </c:pt>
                <c:pt idx="2303">
                  <c:v>All Others</c:v>
                </c:pt>
                <c:pt idx="2304">
                  <c:v>All Others</c:v>
                </c:pt>
                <c:pt idx="2305">
                  <c:v>All Others</c:v>
                </c:pt>
                <c:pt idx="2306">
                  <c:v>All Others</c:v>
                </c:pt>
                <c:pt idx="2307">
                  <c:v>All Others</c:v>
                </c:pt>
                <c:pt idx="2308">
                  <c:v>All Others</c:v>
                </c:pt>
                <c:pt idx="2309">
                  <c:v>All Others</c:v>
                </c:pt>
                <c:pt idx="2310">
                  <c:v>All Others</c:v>
                </c:pt>
                <c:pt idx="2311">
                  <c:v>All Others</c:v>
                </c:pt>
                <c:pt idx="2312">
                  <c:v>All Others</c:v>
                </c:pt>
                <c:pt idx="2313">
                  <c:v>All Others</c:v>
                </c:pt>
                <c:pt idx="2314">
                  <c:v>Lactalis: A</c:v>
                </c:pt>
                <c:pt idx="2315">
                  <c:v>All Others</c:v>
                </c:pt>
                <c:pt idx="2316">
                  <c:v>Rondele</c:v>
                </c:pt>
                <c:pt idx="2317">
                  <c:v>Raguin</c:v>
                </c:pt>
                <c:pt idx="2318">
                  <c:v>All Others</c:v>
                </c:pt>
                <c:pt idx="2319">
                  <c:v>All Others</c:v>
                </c:pt>
                <c:pt idx="2320">
                  <c:v>All Others</c:v>
                </c:pt>
                <c:pt idx="2321">
                  <c:v>All Others</c:v>
                </c:pt>
                <c:pt idx="2322">
                  <c:v>All Others</c:v>
                </c:pt>
                <c:pt idx="2323">
                  <c:v>All Others</c:v>
                </c:pt>
                <c:pt idx="2324">
                  <c:v>All Others</c:v>
                </c:pt>
                <c:pt idx="2325">
                  <c:v>All Others</c:v>
                </c:pt>
                <c:pt idx="2326">
                  <c:v>All Others</c:v>
                </c:pt>
                <c:pt idx="2327">
                  <c:v>All Others</c:v>
                </c:pt>
                <c:pt idx="2328">
                  <c:v>All Others</c:v>
                </c:pt>
                <c:pt idx="2329">
                  <c:v>All Others</c:v>
                </c:pt>
                <c:pt idx="2330">
                  <c:v>All Others</c:v>
                </c:pt>
                <c:pt idx="2331">
                  <c:v>All Others</c:v>
                </c:pt>
                <c:pt idx="2332">
                  <c:v>All Others</c:v>
                </c:pt>
                <c:pt idx="2333">
                  <c:v>All Others</c:v>
                </c:pt>
                <c:pt idx="2334">
                  <c:v>All Others</c:v>
                </c:pt>
                <c:pt idx="2335">
                  <c:v>Petit Billy</c:v>
                </c:pt>
                <c:pt idx="2336">
                  <c:v>All Others</c:v>
                </c:pt>
                <c:pt idx="2337">
                  <c:v>All Others</c:v>
                </c:pt>
                <c:pt idx="2338">
                  <c:v>All Others</c:v>
                </c:pt>
                <c:pt idx="2339">
                  <c:v>All Others</c:v>
                </c:pt>
                <c:pt idx="2340">
                  <c:v>All Others</c:v>
                </c:pt>
                <c:pt idx="2341">
                  <c:v>All Others</c:v>
                </c:pt>
                <c:pt idx="2342">
                  <c:v>All Others</c:v>
                </c:pt>
                <c:pt idx="2343">
                  <c:v>All Others</c:v>
                </c:pt>
                <c:pt idx="2344">
                  <c:v>All Others</c:v>
                </c:pt>
                <c:pt idx="2345">
                  <c:v>All Others</c:v>
                </c:pt>
                <c:pt idx="2346">
                  <c:v>All Others</c:v>
                </c:pt>
                <c:pt idx="2347">
                  <c:v>All Others</c:v>
                </c:pt>
                <c:pt idx="2348">
                  <c:v>All Others</c:v>
                </c:pt>
                <c:pt idx="2349">
                  <c:v>All Others</c:v>
                </c:pt>
                <c:pt idx="2350">
                  <c:v>All Others</c:v>
                </c:pt>
                <c:pt idx="2351">
                  <c:v>Lactalis: A</c:v>
                </c:pt>
                <c:pt idx="2352">
                  <c:v>All Others</c:v>
                </c:pt>
                <c:pt idx="2353">
                  <c:v>All Others</c:v>
                </c:pt>
                <c:pt idx="2354">
                  <c:v>Private Lab</c:v>
                </c:pt>
                <c:pt idx="2355">
                  <c:v>All Others</c:v>
                </c:pt>
                <c:pt idx="2356">
                  <c:v>Violife</c:v>
                </c:pt>
                <c:pt idx="2357">
                  <c:v>All Others</c:v>
                </c:pt>
                <c:pt idx="2358">
                  <c:v>All Others</c:v>
                </c:pt>
                <c:pt idx="2359">
                  <c:v>All Others</c:v>
                </c:pt>
                <c:pt idx="2360">
                  <c:v>All Others</c:v>
                </c:pt>
                <c:pt idx="2361">
                  <c:v>All Others</c:v>
                </c:pt>
                <c:pt idx="2362">
                  <c:v>All Others</c:v>
                </c:pt>
                <c:pt idx="2363">
                  <c:v>All Others</c:v>
                </c:pt>
                <c:pt idx="2364">
                  <c:v>All Others</c:v>
                </c:pt>
                <c:pt idx="2365">
                  <c:v>All Others</c:v>
                </c:pt>
                <c:pt idx="2366">
                  <c:v>All Others</c:v>
                </c:pt>
                <c:pt idx="2367">
                  <c:v>All Others</c:v>
                </c:pt>
                <c:pt idx="2368">
                  <c:v>Savencia: A</c:v>
                </c:pt>
                <c:pt idx="2369">
                  <c:v>Pave D'Affi</c:v>
                </c:pt>
                <c:pt idx="2370">
                  <c:v>All Others</c:v>
                </c:pt>
                <c:pt idx="2371">
                  <c:v>All Others</c:v>
                </c:pt>
                <c:pt idx="2372">
                  <c:v>All Others</c:v>
                </c:pt>
                <c:pt idx="2373">
                  <c:v>All Others</c:v>
                </c:pt>
                <c:pt idx="2374">
                  <c:v>All Others</c:v>
                </c:pt>
                <c:pt idx="2375">
                  <c:v>All Others</c:v>
                </c:pt>
                <c:pt idx="2376">
                  <c:v>All Others</c:v>
                </c:pt>
                <c:pt idx="2377">
                  <c:v>All Others</c:v>
                </c:pt>
                <c:pt idx="2378">
                  <c:v>All Others</c:v>
                </c:pt>
                <c:pt idx="2379">
                  <c:v>Private Lab</c:v>
                </c:pt>
                <c:pt idx="2380">
                  <c:v>All Others</c:v>
                </c:pt>
                <c:pt idx="2381">
                  <c:v>All Others</c:v>
                </c:pt>
                <c:pt idx="2382">
                  <c:v>All Others</c:v>
                </c:pt>
                <c:pt idx="2383">
                  <c:v>All Others</c:v>
                </c:pt>
                <c:pt idx="2384">
                  <c:v>All Others</c:v>
                </c:pt>
                <c:pt idx="2385">
                  <c:v>All Others</c:v>
                </c:pt>
                <c:pt idx="2386">
                  <c:v>All Others</c:v>
                </c:pt>
                <c:pt idx="2387">
                  <c:v>All Others</c:v>
                </c:pt>
                <c:pt idx="2388">
                  <c:v>All Others</c:v>
                </c:pt>
                <c:pt idx="2389">
                  <c:v>Savencia: A</c:v>
                </c:pt>
                <c:pt idx="2390">
                  <c:v>All Others</c:v>
                </c:pt>
                <c:pt idx="2391">
                  <c:v>All Others</c:v>
                </c:pt>
                <c:pt idx="2392">
                  <c:v>All Others</c:v>
                </c:pt>
                <c:pt idx="2393">
                  <c:v>All Others</c:v>
                </c:pt>
                <c:pt idx="2394">
                  <c:v>All Others</c:v>
                </c:pt>
                <c:pt idx="2395">
                  <c:v>All Others</c:v>
                </c:pt>
                <c:pt idx="2396">
                  <c:v>All Others</c:v>
                </c:pt>
                <c:pt idx="2397">
                  <c:v>All Others</c:v>
                </c:pt>
                <c:pt idx="2398">
                  <c:v>All Others</c:v>
                </c:pt>
                <c:pt idx="2399">
                  <c:v>All Others</c:v>
                </c:pt>
                <c:pt idx="2400">
                  <c:v>All Others</c:v>
                </c:pt>
                <c:pt idx="2401">
                  <c:v>All Others</c:v>
                </c:pt>
                <c:pt idx="2402">
                  <c:v>All Others</c:v>
                </c:pt>
                <c:pt idx="2403">
                  <c:v>All Others</c:v>
                </c:pt>
                <c:pt idx="2404">
                  <c:v>All Others</c:v>
                </c:pt>
                <c:pt idx="2405">
                  <c:v>All Others</c:v>
                </c:pt>
                <c:pt idx="2406">
                  <c:v>All Others</c:v>
                </c:pt>
                <c:pt idx="2407">
                  <c:v>Casa Azzurr</c:v>
                </c:pt>
                <c:pt idx="2408">
                  <c:v>All Others</c:v>
                </c:pt>
                <c:pt idx="2409">
                  <c:v>All Others</c:v>
                </c:pt>
                <c:pt idx="2410">
                  <c:v>Raguin</c:v>
                </c:pt>
                <c:pt idx="2411">
                  <c:v>All Others</c:v>
                </c:pt>
                <c:pt idx="2412">
                  <c:v>All Others</c:v>
                </c:pt>
                <c:pt idx="2413">
                  <c:v>All Others</c:v>
                </c:pt>
                <c:pt idx="2414">
                  <c:v>All Others</c:v>
                </c:pt>
                <c:pt idx="2415">
                  <c:v>All Others</c:v>
                </c:pt>
                <c:pt idx="2416">
                  <c:v>All Others</c:v>
                </c:pt>
                <c:pt idx="2417">
                  <c:v>Etoile Du V</c:v>
                </c:pt>
                <c:pt idx="2418">
                  <c:v>All Others</c:v>
                </c:pt>
                <c:pt idx="2419">
                  <c:v>All Others</c:v>
                </c:pt>
                <c:pt idx="2420">
                  <c:v>Raguin</c:v>
                </c:pt>
                <c:pt idx="2421">
                  <c:v>All Others</c:v>
                </c:pt>
                <c:pt idx="2422">
                  <c:v>All Others</c:v>
                </c:pt>
                <c:pt idx="2423">
                  <c:v>Pochat</c:v>
                </c:pt>
                <c:pt idx="2424">
                  <c:v>Raguin</c:v>
                </c:pt>
                <c:pt idx="2425">
                  <c:v>All Others</c:v>
                </c:pt>
                <c:pt idx="2426">
                  <c:v>All Others</c:v>
                </c:pt>
                <c:pt idx="2427">
                  <c:v>All Others</c:v>
                </c:pt>
                <c:pt idx="2428">
                  <c:v>All Others</c:v>
                </c:pt>
                <c:pt idx="2429">
                  <c:v>Casa Azzurr</c:v>
                </c:pt>
                <c:pt idx="2430">
                  <c:v>All Others</c:v>
                </c:pt>
                <c:pt idx="2431">
                  <c:v>All Others</c:v>
                </c:pt>
                <c:pt idx="2432">
                  <c:v>Pochat</c:v>
                </c:pt>
                <c:pt idx="2433">
                  <c:v>All Others</c:v>
                </c:pt>
                <c:pt idx="2434">
                  <c:v>All Others</c:v>
                </c:pt>
                <c:pt idx="2435">
                  <c:v>All Others</c:v>
                </c:pt>
                <c:pt idx="2436">
                  <c:v>All Others</c:v>
                </c:pt>
                <c:pt idx="2437">
                  <c:v>All Others</c:v>
                </c:pt>
                <c:pt idx="2438">
                  <c:v>All Others</c:v>
                </c:pt>
                <c:pt idx="2439">
                  <c:v>Private Lab</c:v>
                </c:pt>
                <c:pt idx="2440">
                  <c:v>All Others</c:v>
                </c:pt>
                <c:pt idx="2441">
                  <c:v>All Others</c:v>
                </c:pt>
                <c:pt idx="2442">
                  <c:v>All Others</c:v>
                </c:pt>
                <c:pt idx="2443">
                  <c:v>All Others</c:v>
                </c:pt>
                <c:pt idx="2444">
                  <c:v>All Others</c:v>
                </c:pt>
                <c:pt idx="2445">
                  <c:v>All Others</c:v>
                </c:pt>
                <c:pt idx="2446">
                  <c:v>All Others</c:v>
                </c:pt>
                <c:pt idx="2447">
                  <c:v>All Others</c:v>
                </c:pt>
                <c:pt idx="2448">
                  <c:v>All Others</c:v>
                </c:pt>
                <c:pt idx="2449">
                  <c:v>All Others</c:v>
                </c:pt>
                <c:pt idx="2450">
                  <c:v>All Others</c:v>
                </c:pt>
                <c:pt idx="2451">
                  <c:v>All Others</c:v>
                </c:pt>
                <c:pt idx="2452">
                  <c:v>All Others</c:v>
                </c:pt>
                <c:pt idx="2453">
                  <c:v>All Others</c:v>
                </c:pt>
                <c:pt idx="2454">
                  <c:v>All Others</c:v>
                </c:pt>
                <c:pt idx="2455">
                  <c:v>Private Lab</c:v>
                </c:pt>
                <c:pt idx="2456">
                  <c:v>All Others</c:v>
                </c:pt>
                <c:pt idx="2457">
                  <c:v>All Others</c:v>
                </c:pt>
                <c:pt idx="2458">
                  <c:v>All Others</c:v>
                </c:pt>
                <c:pt idx="2459">
                  <c:v>All Others</c:v>
                </c:pt>
                <c:pt idx="2460">
                  <c:v>All Others</c:v>
                </c:pt>
                <c:pt idx="2461">
                  <c:v>Le Saint Am</c:v>
                </c:pt>
                <c:pt idx="2462">
                  <c:v>All Others</c:v>
                </c:pt>
                <c:pt idx="2463">
                  <c:v>All Others</c:v>
                </c:pt>
                <c:pt idx="2464">
                  <c:v>All Others</c:v>
                </c:pt>
                <c:pt idx="2465">
                  <c:v>All Others</c:v>
                </c:pt>
                <c:pt idx="2466">
                  <c:v>All Others</c:v>
                </c:pt>
                <c:pt idx="2467">
                  <c:v>All Others</c:v>
                </c:pt>
                <c:pt idx="2468">
                  <c:v>All Others</c:v>
                </c:pt>
                <c:pt idx="2469">
                  <c:v>All Others</c:v>
                </c:pt>
                <c:pt idx="2470">
                  <c:v>All Others</c:v>
                </c:pt>
                <c:pt idx="2471">
                  <c:v>All Others</c:v>
                </c:pt>
                <c:pt idx="2472">
                  <c:v>Raguin</c:v>
                </c:pt>
                <c:pt idx="2473">
                  <c:v>All Others</c:v>
                </c:pt>
                <c:pt idx="2474">
                  <c:v>All Others</c:v>
                </c:pt>
                <c:pt idx="2475">
                  <c:v>All Others</c:v>
                </c:pt>
                <c:pt idx="2476">
                  <c:v>All Others</c:v>
                </c:pt>
                <c:pt idx="2477">
                  <c:v>All Others</c:v>
                </c:pt>
                <c:pt idx="2478">
                  <c:v>All Others</c:v>
                </c:pt>
                <c:pt idx="2479">
                  <c:v>All Others</c:v>
                </c:pt>
                <c:pt idx="2480">
                  <c:v>All Others</c:v>
                </c:pt>
                <c:pt idx="2481">
                  <c:v>All Others</c:v>
                </c:pt>
                <c:pt idx="2482">
                  <c:v>All Others</c:v>
                </c:pt>
                <c:pt idx="2483">
                  <c:v>All Others</c:v>
                </c:pt>
                <c:pt idx="2484">
                  <c:v>All Others</c:v>
                </c:pt>
                <c:pt idx="2485">
                  <c:v>All Others</c:v>
                </c:pt>
                <c:pt idx="2486">
                  <c:v>All Others</c:v>
                </c:pt>
                <c:pt idx="2487">
                  <c:v>All Others</c:v>
                </c:pt>
                <c:pt idx="2488">
                  <c:v>All Others</c:v>
                </c:pt>
                <c:pt idx="2489">
                  <c:v>All Others</c:v>
                </c:pt>
                <c:pt idx="2490">
                  <c:v>All Others</c:v>
                </c:pt>
                <c:pt idx="2491">
                  <c:v>All Others</c:v>
                </c:pt>
                <c:pt idx="2492">
                  <c:v>All Others</c:v>
                </c:pt>
                <c:pt idx="2493">
                  <c:v>All Others</c:v>
                </c:pt>
                <c:pt idx="2494">
                  <c:v>All Others</c:v>
                </c:pt>
                <c:pt idx="2495">
                  <c:v>All Others</c:v>
                </c:pt>
                <c:pt idx="2496">
                  <c:v>All Others</c:v>
                </c:pt>
                <c:pt idx="2497">
                  <c:v>All Others</c:v>
                </c:pt>
                <c:pt idx="2498">
                  <c:v>All Others</c:v>
                </c:pt>
                <c:pt idx="2499">
                  <c:v>All Others</c:v>
                </c:pt>
                <c:pt idx="2500">
                  <c:v>All Others</c:v>
                </c:pt>
                <c:pt idx="2501">
                  <c:v>All Others</c:v>
                </c:pt>
                <c:pt idx="2502">
                  <c:v>All Others</c:v>
                </c:pt>
                <c:pt idx="2503">
                  <c:v>All Others</c:v>
                </c:pt>
                <c:pt idx="2504">
                  <c:v>All Others</c:v>
                </c:pt>
                <c:pt idx="2505">
                  <c:v>All Others</c:v>
                </c:pt>
                <c:pt idx="2506">
                  <c:v>All Others</c:v>
                </c:pt>
                <c:pt idx="2507">
                  <c:v>Eurial Autr</c:v>
                </c:pt>
                <c:pt idx="2508">
                  <c:v>All Others</c:v>
                </c:pt>
                <c:pt idx="2509">
                  <c:v>All Others</c:v>
                </c:pt>
                <c:pt idx="2510">
                  <c:v>Le Saint Am</c:v>
                </c:pt>
                <c:pt idx="2511">
                  <c:v>All Others</c:v>
                </c:pt>
                <c:pt idx="2512">
                  <c:v>All Others</c:v>
                </c:pt>
                <c:pt idx="2513">
                  <c:v>All Others</c:v>
                </c:pt>
                <c:pt idx="2514">
                  <c:v>All Others</c:v>
                </c:pt>
                <c:pt idx="2515">
                  <c:v>All Others</c:v>
                </c:pt>
                <c:pt idx="2516">
                  <c:v>All Others</c:v>
                </c:pt>
                <c:pt idx="2517">
                  <c:v>All Others</c:v>
                </c:pt>
                <c:pt idx="2518">
                  <c:v>All Others</c:v>
                </c:pt>
                <c:pt idx="2519">
                  <c:v>Private Lab</c:v>
                </c:pt>
                <c:pt idx="2520">
                  <c:v>All Others</c:v>
                </c:pt>
                <c:pt idx="2521">
                  <c:v>All Others</c:v>
                </c:pt>
                <c:pt idx="2522">
                  <c:v>All Others</c:v>
                </c:pt>
                <c:pt idx="2523">
                  <c:v>All Others</c:v>
                </c:pt>
                <c:pt idx="2524">
                  <c:v>Societe</c:v>
                </c:pt>
                <c:pt idx="2525">
                  <c:v>Savencia: A</c:v>
                </c:pt>
                <c:pt idx="2526">
                  <c:v>All Others</c:v>
                </c:pt>
                <c:pt idx="2527">
                  <c:v>All Others</c:v>
                </c:pt>
                <c:pt idx="2528">
                  <c:v>All Others</c:v>
                </c:pt>
                <c:pt idx="2529">
                  <c:v>All Others</c:v>
                </c:pt>
                <c:pt idx="2530">
                  <c:v>All Others</c:v>
                </c:pt>
                <c:pt idx="2531">
                  <c:v>All Others</c:v>
                </c:pt>
                <c:pt idx="2532">
                  <c:v>All Others</c:v>
                </c:pt>
                <c:pt idx="2533">
                  <c:v>All Others</c:v>
                </c:pt>
                <c:pt idx="2534">
                  <c:v>Casa Azzurr</c:v>
                </c:pt>
                <c:pt idx="2535">
                  <c:v>All Others</c:v>
                </c:pt>
                <c:pt idx="2536">
                  <c:v>All Others</c:v>
                </c:pt>
                <c:pt idx="2537">
                  <c:v>All Others</c:v>
                </c:pt>
                <c:pt idx="2538">
                  <c:v>All Others</c:v>
                </c:pt>
                <c:pt idx="2539">
                  <c:v>All Others</c:v>
                </c:pt>
                <c:pt idx="2540">
                  <c:v>All Others</c:v>
                </c:pt>
                <c:pt idx="2541">
                  <c:v>All Others</c:v>
                </c:pt>
                <c:pt idx="2542">
                  <c:v>All Others</c:v>
                </c:pt>
                <c:pt idx="2543">
                  <c:v>All Others</c:v>
                </c:pt>
                <c:pt idx="2544">
                  <c:v>All Others</c:v>
                </c:pt>
                <c:pt idx="2545">
                  <c:v>All Others</c:v>
                </c:pt>
                <c:pt idx="2546">
                  <c:v>All Others</c:v>
                </c:pt>
                <c:pt idx="2547">
                  <c:v>All Others</c:v>
                </c:pt>
                <c:pt idx="2548">
                  <c:v>All Others</c:v>
                </c:pt>
                <c:pt idx="2549">
                  <c:v>All Others</c:v>
                </c:pt>
                <c:pt idx="2550">
                  <c:v>All Others</c:v>
                </c:pt>
                <c:pt idx="2551">
                  <c:v>All Others</c:v>
                </c:pt>
                <c:pt idx="2552">
                  <c:v>All Others</c:v>
                </c:pt>
                <c:pt idx="2553">
                  <c:v>All Others</c:v>
                </c:pt>
                <c:pt idx="2554">
                  <c:v>All Others</c:v>
                </c:pt>
                <c:pt idx="2555">
                  <c:v>All Others</c:v>
                </c:pt>
                <c:pt idx="2556">
                  <c:v>All Others</c:v>
                </c:pt>
                <c:pt idx="2557">
                  <c:v>All Others</c:v>
                </c:pt>
                <c:pt idx="2558">
                  <c:v>All Others</c:v>
                </c:pt>
                <c:pt idx="2559">
                  <c:v>All Others</c:v>
                </c:pt>
                <c:pt idx="2560">
                  <c:v>All Others</c:v>
                </c:pt>
                <c:pt idx="2561">
                  <c:v>All Others</c:v>
                </c:pt>
                <c:pt idx="2562">
                  <c:v>All Others</c:v>
                </c:pt>
                <c:pt idx="2563">
                  <c:v>All Others</c:v>
                </c:pt>
                <c:pt idx="2564">
                  <c:v>All Others</c:v>
                </c:pt>
                <c:pt idx="2565">
                  <c:v>All Others</c:v>
                </c:pt>
                <c:pt idx="2566">
                  <c:v>All Others</c:v>
                </c:pt>
                <c:pt idx="2567">
                  <c:v>All Others</c:v>
                </c:pt>
                <c:pt idx="2568">
                  <c:v>All Others</c:v>
                </c:pt>
                <c:pt idx="2569">
                  <c:v>All Others</c:v>
                </c:pt>
                <c:pt idx="2570">
                  <c:v>All Others</c:v>
                </c:pt>
                <c:pt idx="2571">
                  <c:v>All Others</c:v>
                </c:pt>
                <c:pt idx="2572">
                  <c:v>All Others</c:v>
                </c:pt>
                <c:pt idx="2573">
                  <c:v>All Others</c:v>
                </c:pt>
                <c:pt idx="2574">
                  <c:v>All Others</c:v>
                </c:pt>
                <c:pt idx="2575">
                  <c:v>Entremont</c:v>
                </c:pt>
                <c:pt idx="2576">
                  <c:v>All Others</c:v>
                </c:pt>
                <c:pt idx="2577">
                  <c:v>Entremont</c:v>
                </c:pt>
                <c:pt idx="2578">
                  <c:v>All Others</c:v>
                </c:pt>
                <c:pt idx="2579">
                  <c:v>Private Lab</c:v>
                </c:pt>
                <c:pt idx="2580">
                  <c:v>All Others</c:v>
                </c:pt>
                <c:pt idx="2581">
                  <c:v>All Others</c:v>
                </c:pt>
                <c:pt idx="2582">
                  <c:v>All Others</c:v>
                </c:pt>
                <c:pt idx="2583">
                  <c:v>Private Lab</c:v>
                </c:pt>
                <c:pt idx="2584">
                  <c:v>All Others</c:v>
                </c:pt>
                <c:pt idx="2585">
                  <c:v>All Others</c:v>
                </c:pt>
                <c:pt idx="2586">
                  <c:v>All Others</c:v>
                </c:pt>
                <c:pt idx="2587">
                  <c:v>All Others</c:v>
                </c:pt>
                <c:pt idx="2588">
                  <c:v>All Others</c:v>
                </c:pt>
                <c:pt idx="2589">
                  <c:v>All Others</c:v>
                </c:pt>
                <c:pt idx="2590">
                  <c:v>All Others</c:v>
                </c:pt>
                <c:pt idx="2591">
                  <c:v>All Others</c:v>
                </c:pt>
                <c:pt idx="2592">
                  <c:v>All Others</c:v>
                </c:pt>
                <c:pt idx="2593">
                  <c:v>All Others</c:v>
                </c:pt>
                <c:pt idx="2594">
                  <c:v>All Others</c:v>
                </c:pt>
                <c:pt idx="2595">
                  <c:v>All Others</c:v>
                </c:pt>
                <c:pt idx="2596">
                  <c:v>All Others</c:v>
                </c:pt>
                <c:pt idx="2597">
                  <c:v>All Others</c:v>
                </c:pt>
                <c:pt idx="2598">
                  <c:v>All Others</c:v>
                </c:pt>
                <c:pt idx="2599">
                  <c:v>All Others</c:v>
                </c:pt>
                <c:pt idx="2600">
                  <c:v>All Others</c:v>
                </c:pt>
                <c:pt idx="2601">
                  <c:v>All Others</c:v>
                </c:pt>
                <c:pt idx="2602">
                  <c:v>All Others</c:v>
                </c:pt>
                <c:pt idx="2603">
                  <c:v>Private Lab</c:v>
                </c:pt>
                <c:pt idx="2604">
                  <c:v>All Others</c:v>
                </c:pt>
                <c:pt idx="2605">
                  <c:v>All Others</c:v>
                </c:pt>
                <c:pt idx="2606">
                  <c:v>All Others</c:v>
                </c:pt>
                <c:pt idx="2607">
                  <c:v>All Others</c:v>
                </c:pt>
                <c:pt idx="2608">
                  <c:v>All Others</c:v>
                </c:pt>
                <c:pt idx="2609">
                  <c:v>All Others</c:v>
                </c:pt>
                <c:pt idx="2610">
                  <c:v>All Others</c:v>
                </c:pt>
                <c:pt idx="2611">
                  <c:v>All Others</c:v>
                </c:pt>
                <c:pt idx="2612">
                  <c:v>All Others</c:v>
                </c:pt>
                <c:pt idx="2613">
                  <c:v>All Others</c:v>
                </c:pt>
                <c:pt idx="2614">
                  <c:v>All Others</c:v>
                </c:pt>
                <c:pt idx="2615">
                  <c:v>All Others</c:v>
                </c:pt>
                <c:pt idx="2616">
                  <c:v>All Others</c:v>
                </c:pt>
                <c:pt idx="2617">
                  <c:v>All Others</c:v>
                </c:pt>
                <c:pt idx="2618">
                  <c:v>All Others</c:v>
                </c:pt>
                <c:pt idx="2619">
                  <c:v>All Others</c:v>
                </c:pt>
                <c:pt idx="2620">
                  <c:v>All Others</c:v>
                </c:pt>
                <c:pt idx="2621">
                  <c:v>All Others</c:v>
                </c:pt>
                <c:pt idx="2622">
                  <c:v>All Others</c:v>
                </c:pt>
                <c:pt idx="2623">
                  <c:v>All Others</c:v>
                </c:pt>
                <c:pt idx="2624">
                  <c:v>All Others</c:v>
                </c:pt>
                <c:pt idx="2625">
                  <c:v>All Others</c:v>
                </c:pt>
                <c:pt idx="2626">
                  <c:v>All Others</c:v>
                </c:pt>
                <c:pt idx="2627">
                  <c:v>All Others</c:v>
                </c:pt>
                <c:pt idx="2628">
                  <c:v>All Others</c:v>
                </c:pt>
                <c:pt idx="2629">
                  <c:v>All Others</c:v>
                </c:pt>
                <c:pt idx="2630">
                  <c:v>All Others</c:v>
                </c:pt>
                <c:pt idx="2631">
                  <c:v>Private Lab</c:v>
                </c:pt>
                <c:pt idx="2632">
                  <c:v>All Others</c:v>
                </c:pt>
                <c:pt idx="2633">
                  <c:v>All Others</c:v>
                </c:pt>
                <c:pt idx="2634">
                  <c:v>All Others</c:v>
                </c:pt>
                <c:pt idx="2635">
                  <c:v>All Others</c:v>
                </c:pt>
                <c:pt idx="2636">
                  <c:v>All Others</c:v>
                </c:pt>
                <c:pt idx="2637">
                  <c:v>All Others</c:v>
                </c:pt>
                <c:pt idx="2638">
                  <c:v>All Others</c:v>
                </c:pt>
                <c:pt idx="2639">
                  <c:v>All Others</c:v>
                </c:pt>
                <c:pt idx="2640">
                  <c:v>All Others</c:v>
                </c:pt>
                <c:pt idx="2641">
                  <c:v>All Others</c:v>
                </c:pt>
                <c:pt idx="2642">
                  <c:v>All Others</c:v>
                </c:pt>
                <c:pt idx="2643">
                  <c:v>All Others</c:v>
                </c:pt>
                <c:pt idx="2644">
                  <c:v>All Others</c:v>
                </c:pt>
                <c:pt idx="2645">
                  <c:v>All Others</c:v>
                </c:pt>
                <c:pt idx="2646">
                  <c:v>All Others</c:v>
                </c:pt>
                <c:pt idx="2647">
                  <c:v>All Others</c:v>
                </c:pt>
                <c:pt idx="2648">
                  <c:v>Private Lab</c:v>
                </c:pt>
                <c:pt idx="2649">
                  <c:v>All Others</c:v>
                </c:pt>
                <c:pt idx="2650">
                  <c:v>President</c:v>
                </c:pt>
                <c:pt idx="2651">
                  <c:v>All Others</c:v>
                </c:pt>
                <c:pt idx="2652">
                  <c:v>All Others</c:v>
                </c:pt>
                <c:pt idx="2653">
                  <c:v>All Others</c:v>
                </c:pt>
                <c:pt idx="2654">
                  <c:v>Private Lab</c:v>
                </c:pt>
                <c:pt idx="2655">
                  <c:v>All Others</c:v>
                </c:pt>
                <c:pt idx="2656">
                  <c:v>All Others</c:v>
                </c:pt>
                <c:pt idx="2657">
                  <c:v>All Others</c:v>
                </c:pt>
                <c:pt idx="2658">
                  <c:v>All Others</c:v>
                </c:pt>
                <c:pt idx="2659">
                  <c:v>All Others</c:v>
                </c:pt>
                <c:pt idx="2660">
                  <c:v>All Others</c:v>
                </c:pt>
                <c:pt idx="2661">
                  <c:v>All Others</c:v>
                </c:pt>
                <c:pt idx="2662">
                  <c:v>All Others</c:v>
                </c:pt>
                <c:pt idx="2663">
                  <c:v>All Others</c:v>
                </c:pt>
                <c:pt idx="2664">
                  <c:v>All Others</c:v>
                </c:pt>
                <c:pt idx="2665">
                  <c:v>All Others</c:v>
                </c:pt>
                <c:pt idx="2666">
                  <c:v>All Others</c:v>
                </c:pt>
                <c:pt idx="2667">
                  <c:v>Savencia: A</c:v>
                </c:pt>
                <c:pt idx="2668">
                  <c:v>All Others</c:v>
                </c:pt>
                <c:pt idx="2669">
                  <c:v>All Others</c:v>
                </c:pt>
                <c:pt idx="2670">
                  <c:v>Istara</c:v>
                </c:pt>
                <c:pt idx="2671">
                  <c:v>All Others</c:v>
                </c:pt>
                <c:pt idx="2672">
                  <c:v>All Others</c:v>
                </c:pt>
                <c:pt idx="2673">
                  <c:v>All Others</c:v>
                </c:pt>
                <c:pt idx="2674">
                  <c:v>All Others</c:v>
                </c:pt>
                <c:pt idx="2675">
                  <c:v>All Others</c:v>
                </c:pt>
                <c:pt idx="2676">
                  <c:v>All Others</c:v>
                </c:pt>
                <c:pt idx="2677">
                  <c:v>All Others</c:v>
                </c:pt>
                <c:pt idx="2678">
                  <c:v>All Others</c:v>
                </c:pt>
                <c:pt idx="2679">
                  <c:v>All Others</c:v>
                </c:pt>
                <c:pt idx="2680">
                  <c:v>All Others</c:v>
                </c:pt>
                <c:pt idx="2681">
                  <c:v>Pochat</c:v>
                </c:pt>
                <c:pt idx="2682">
                  <c:v>All Others</c:v>
                </c:pt>
                <c:pt idx="2683">
                  <c:v>Private Lab</c:v>
                </c:pt>
                <c:pt idx="2684">
                  <c:v>All Others</c:v>
                </c:pt>
                <c:pt idx="2685">
                  <c:v>Pochat</c:v>
                </c:pt>
                <c:pt idx="2686">
                  <c:v>All Others</c:v>
                </c:pt>
                <c:pt idx="2687">
                  <c:v>All Others</c:v>
                </c:pt>
                <c:pt idx="2688">
                  <c:v>All Others</c:v>
                </c:pt>
                <c:pt idx="2689">
                  <c:v>All Others</c:v>
                </c:pt>
                <c:pt idx="2690">
                  <c:v>All Others</c:v>
                </c:pt>
                <c:pt idx="2691">
                  <c:v>All Others</c:v>
                </c:pt>
                <c:pt idx="2692">
                  <c:v>All Others</c:v>
                </c:pt>
                <c:pt idx="2693">
                  <c:v>All Others</c:v>
                </c:pt>
                <c:pt idx="2694">
                  <c:v>All Others</c:v>
                </c:pt>
                <c:pt idx="2695">
                  <c:v>All Others</c:v>
                </c:pt>
                <c:pt idx="2696">
                  <c:v>Private Lab</c:v>
                </c:pt>
                <c:pt idx="2697">
                  <c:v>All Others</c:v>
                </c:pt>
                <c:pt idx="2698">
                  <c:v>Entremont</c:v>
                </c:pt>
                <c:pt idx="2699">
                  <c:v>All Others</c:v>
                </c:pt>
                <c:pt idx="2700">
                  <c:v>All Others</c:v>
                </c:pt>
                <c:pt idx="2701">
                  <c:v>All Others</c:v>
                </c:pt>
                <c:pt idx="2702">
                  <c:v>All Others</c:v>
                </c:pt>
                <c:pt idx="2703">
                  <c:v>All Others</c:v>
                </c:pt>
                <c:pt idx="2704">
                  <c:v>All Others</c:v>
                </c:pt>
                <c:pt idx="2705">
                  <c:v>All Others</c:v>
                </c:pt>
                <c:pt idx="2706">
                  <c:v>All Others</c:v>
                </c:pt>
                <c:pt idx="2707">
                  <c:v>All Others</c:v>
                </c:pt>
                <c:pt idx="2708">
                  <c:v>All Others</c:v>
                </c:pt>
                <c:pt idx="2709">
                  <c:v>All Others</c:v>
                </c:pt>
                <c:pt idx="2710">
                  <c:v>All Others</c:v>
                </c:pt>
                <c:pt idx="2711">
                  <c:v>All Others</c:v>
                </c:pt>
                <c:pt idx="2712">
                  <c:v>All Others</c:v>
                </c:pt>
                <c:pt idx="2713">
                  <c:v>All Others</c:v>
                </c:pt>
                <c:pt idx="2714">
                  <c:v>All Others</c:v>
                </c:pt>
                <c:pt idx="2715">
                  <c:v>All Others</c:v>
                </c:pt>
                <c:pt idx="2716">
                  <c:v>All Others</c:v>
                </c:pt>
                <c:pt idx="2717">
                  <c:v>Salakis</c:v>
                </c:pt>
                <c:pt idx="2718">
                  <c:v>Societe</c:v>
                </c:pt>
                <c:pt idx="2719">
                  <c:v>All Others</c:v>
                </c:pt>
                <c:pt idx="2720">
                  <c:v>All Others</c:v>
                </c:pt>
                <c:pt idx="2721">
                  <c:v>All Others</c:v>
                </c:pt>
                <c:pt idx="2722">
                  <c:v>All Others</c:v>
                </c:pt>
                <c:pt idx="2723">
                  <c:v>All Others</c:v>
                </c:pt>
                <c:pt idx="2724">
                  <c:v>Casa Azzurr</c:v>
                </c:pt>
                <c:pt idx="2725">
                  <c:v>All Others</c:v>
                </c:pt>
                <c:pt idx="2726">
                  <c:v>Lactalis: A</c:v>
                </c:pt>
                <c:pt idx="2727">
                  <c:v>All Others</c:v>
                </c:pt>
                <c:pt idx="2728">
                  <c:v>All Others</c:v>
                </c:pt>
                <c:pt idx="2729">
                  <c:v>All Others</c:v>
                </c:pt>
                <c:pt idx="2730">
                  <c:v>All Others</c:v>
                </c:pt>
                <c:pt idx="2731">
                  <c:v>All Others</c:v>
                </c:pt>
                <c:pt idx="2732">
                  <c:v>All Others</c:v>
                </c:pt>
                <c:pt idx="2733">
                  <c:v>All Others</c:v>
                </c:pt>
                <c:pt idx="2734">
                  <c:v>All Others</c:v>
                </c:pt>
                <c:pt idx="2735">
                  <c:v>All Others</c:v>
                </c:pt>
                <c:pt idx="2736">
                  <c:v>All Others</c:v>
                </c:pt>
                <c:pt idx="2737">
                  <c:v>All Others</c:v>
                </c:pt>
                <c:pt idx="2738">
                  <c:v>All Others</c:v>
                </c:pt>
                <c:pt idx="2739">
                  <c:v>All Others</c:v>
                </c:pt>
                <c:pt idx="2740">
                  <c:v>All Others</c:v>
                </c:pt>
                <c:pt idx="2741">
                  <c:v>All Others</c:v>
                </c:pt>
                <c:pt idx="2742">
                  <c:v>All Others</c:v>
                </c:pt>
                <c:pt idx="2743">
                  <c:v>Juraflore</c:v>
                </c:pt>
                <c:pt idx="2744">
                  <c:v>All Others</c:v>
                </c:pt>
                <c:pt idx="2745">
                  <c:v>Limiano</c:v>
                </c:pt>
                <c:pt idx="2746">
                  <c:v>All Others</c:v>
                </c:pt>
                <c:pt idx="2747">
                  <c:v>All Others</c:v>
                </c:pt>
                <c:pt idx="2748">
                  <c:v>All Others</c:v>
                </c:pt>
                <c:pt idx="2749">
                  <c:v>All Others</c:v>
                </c:pt>
                <c:pt idx="2750">
                  <c:v>All Others</c:v>
                </c:pt>
                <c:pt idx="2751">
                  <c:v>All Others</c:v>
                </c:pt>
                <c:pt idx="2752">
                  <c:v>All Others</c:v>
                </c:pt>
                <c:pt idx="2753">
                  <c:v>All Others</c:v>
                </c:pt>
                <c:pt idx="2754">
                  <c:v>All Others</c:v>
                </c:pt>
                <c:pt idx="2755">
                  <c:v>All Others</c:v>
                </c:pt>
                <c:pt idx="2756">
                  <c:v>All Others</c:v>
                </c:pt>
                <c:pt idx="2757">
                  <c:v>Pave D'Affi</c:v>
                </c:pt>
                <c:pt idx="2758">
                  <c:v>All Others</c:v>
                </c:pt>
                <c:pt idx="2759">
                  <c:v>All Others</c:v>
                </c:pt>
                <c:pt idx="2760">
                  <c:v>All Others</c:v>
                </c:pt>
                <c:pt idx="2761">
                  <c:v>Lactalis: A</c:v>
                </c:pt>
                <c:pt idx="2762">
                  <c:v>All Others</c:v>
                </c:pt>
                <c:pt idx="2763">
                  <c:v>All Others</c:v>
                </c:pt>
                <c:pt idx="2764">
                  <c:v>All Others</c:v>
                </c:pt>
                <c:pt idx="2765">
                  <c:v>All Others</c:v>
                </c:pt>
                <c:pt idx="2766">
                  <c:v>All Others</c:v>
                </c:pt>
                <c:pt idx="2767">
                  <c:v>All Others</c:v>
                </c:pt>
                <c:pt idx="2768">
                  <c:v>All Others</c:v>
                </c:pt>
                <c:pt idx="2769">
                  <c:v>All Others</c:v>
                </c:pt>
                <c:pt idx="2770">
                  <c:v>Private Lab</c:v>
                </c:pt>
                <c:pt idx="2771">
                  <c:v>All Others</c:v>
                </c:pt>
                <c:pt idx="2772">
                  <c:v>All Others</c:v>
                </c:pt>
                <c:pt idx="2773">
                  <c:v>All Others</c:v>
                </c:pt>
                <c:pt idx="2774">
                  <c:v>All Others</c:v>
                </c:pt>
                <c:pt idx="2775">
                  <c:v>All Others</c:v>
                </c:pt>
                <c:pt idx="2776">
                  <c:v>All Others</c:v>
                </c:pt>
                <c:pt idx="2777">
                  <c:v>All Others</c:v>
                </c:pt>
                <c:pt idx="2778">
                  <c:v>All Others</c:v>
                </c:pt>
                <c:pt idx="2779">
                  <c:v>All Others</c:v>
                </c:pt>
                <c:pt idx="2780">
                  <c:v>All Others</c:v>
                </c:pt>
                <c:pt idx="2781">
                  <c:v>All Others</c:v>
                </c:pt>
                <c:pt idx="2782">
                  <c:v>All Others</c:v>
                </c:pt>
                <c:pt idx="2783">
                  <c:v>All Others</c:v>
                </c:pt>
                <c:pt idx="2784">
                  <c:v>All Others</c:v>
                </c:pt>
                <c:pt idx="2785">
                  <c:v>All Others</c:v>
                </c:pt>
                <c:pt idx="2786">
                  <c:v>All Others</c:v>
                </c:pt>
                <c:pt idx="2787">
                  <c:v>Lactalis: A</c:v>
                </c:pt>
                <c:pt idx="2788">
                  <c:v>All Others</c:v>
                </c:pt>
                <c:pt idx="2789">
                  <c:v>All Others</c:v>
                </c:pt>
                <c:pt idx="2790">
                  <c:v>All Others</c:v>
                </c:pt>
                <c:pt idx="2791">
                  <c:v>Lactalis: A</c:v>
                </c:pt>
                <c:pt idx="2792">
                  <c:v>All Others</c:v>
                </c:pt>
                <c:pt idx="2793">
                  <c:v>All Others</c:v>
                </c:pt>
                <c:pt idx="2794">
                  <c:v>Private Lab</c:v>
                </c:pt>
                <c:pt idx="2795">
                  <c:v>All Others</c:v>
                </c:pt>
                <c:pt idx="2796">
                  <c:v>All Others</c:v>
                </c:pt>
                <c:pt idx="2797">
                  <c:v>All Others</c:v>
                </c:pt>
                <c:pt idx="2798">
                  <c:v>All Others</c:v>
                </c:pt>
                <c:pt idx="2799">
                  <c:v>All Others</c:v>
                </c:pt>
                <c:pt idx="2800">
                  <c:v>All Others</c:v>
                </c:pt>
                <c:pt idx="2801">
                  <c:v>All Others</c:v>
                </c:pt>
                <c:pt idx="2802">
                  <c:v>All Others</c:v>
                </c:pt>
                <c:pt idx="2803">
                  <c:v>Private Lab</c:v>
                </c:pt>
                <c:pt idx="2804">
                  <c:v>All Others</c:v>
                </c:pt>
                <c:pt idx="2805">
                  <c:v>All Others</c:v>
                </c:pt>
                <c:pt idx="2806">
                  <c:v>All Others</c:v>
                </c:pt>
                <c:pt idx="2807">
                  <c:v>All Others</c:v>
                </c:pt>
                <c:pt idx="2808">
                  <c:v>Fol Epi</c:v>
                </c:pt>
                <c:pt idx="2809">
                  <c:v>All Others</c:v>
                </c:pt>
                <c:pt idx="2810">
                  <c:v>All Others</c:v>
                </c:pt>
                <c:pt idx="2811">
                  <c:v>All Others</c:v>
                </c:pt>
                <c:pt idx="2812">
                  <c:v>All Others</c:v>
                </c:pt>
                <c:pt idx="2813">
                  <c:v>All Others</c:v>
                </c:pt>
                <c:pt idx="2814">
                  <c:v>All Others</c:v>
                </c:pt>
                <c:pt idx="2815">
                  <c:v>All Others</c:v>
                </c:pt>
                <c:pt idx="2816">
                  <c:v>All Others</c:v>
                </c:pt>
                <c:pt idx="2817">
                  <c:v>All Others</c:v>
                </c:pt>
                <c:pt idx="2818">
                  <c:v>All Others</c:v>
                </c:pt>
                <c:pt idx="2819">
                  <c:v>All Others</c:v>
                </c:pt>
                <c:pt idx="2820">
                  <c:v>All Others</c:v>
                </c:pt>
                <c:pt idx="2821">
                  <c:v>All Others</c:v>
                </c:pt>
                <c:pt idx="2822">
                  <c:v>All Others</c:v>
                </c:pt>
                <c:pt idx="2823">
                  <c:v>All Others</c:v>
                </c:pt>
                <c:pt idx="2824">
                  <c:v>All Others</c:v>
                </c:pt>
                <c:pt idx="2825">
                  <c:v>All Others</c:v>
                </c:pt>
                <c:pt idx="2826">
                  <c:v>All Others</c:v>
                </c:pt>
                <c:pt idx="2827">
                  <c:v>All Others</c:v>
                </c:pt>
                <c:pt idx="2828">
                  <c:v>All Others</c:v>
                </c:pt>
                <c:pt idx="2829">
                  <c:v>All Others</c:v>
                </c:pt>
                <c:pt idx="2830">
                  <c:v>All Others</c:v>
                </c:pt>
                <c:pt idx="2831">
                  <c:v>All Others</c:v>
                </c:pt>
                <c:pt idx="2832">
                  <c:v>All Others</c:v>
                </c:pt>
                <c:pt idx="2833">
                  <c:v>All Others</c:v>
                </c:pt>
                <c:pt idx="2834">
                  <c:v>All Others</c:v>
                </c:pt>
                <c:pt idx="2835">
                  <c:v>All Others</c:v>
                </c:pt>
                <c:pt idx="2836">
                  <c:v>All Others</c:v>
                </c:pt>
                <c:pt idx="2837">
                  <c:v>All Others</c:v>
                </c:pt>
                <c:pt idx="2838">
                  <c:v>All Others</c:v>
                </c:pt>
                <c:pt idx="2839">
                  <c:v>All Others</c:v>
                </c:pt>
                <c:pt idx="2840">
                  <c:v>All Others</c:v>
                </c:pt>
                <c:pt idx="2841">
                  <c:v>All Others</c:v>
                </c:pt>
                <c:pt idx="2842">
                  <c:v>All Others</c:v>
                </c:pt>
                <c:pt idx="2843">
                  <c:v>All Others</c:v>
                </c:pt>
                <c:pt idx="2844">
                  <c:v>All Others</c:v>
                </c:pt>
                <c:pt idx="2845">
                  <c:v>All Others</c:v>
                </c:pt>
                <c:pt idx="2846">
                  <c:v>All Others</c:v>
                </c:pt>
                <c:pt idx="2847">
                  <c:v>All Others</c:v>
                </c:pt>
                <c:pt idx="2848">
                  <c:v>All Others</c:v>
                </c:pt>
                <c:pt idx="2849">
                  <c:v>All Others</c:v>
                </c:pt>
                <c:pt idx="2850">
                  <c:v>All Others</c:v>
                </c:pt>
                <c:pt idx="2851">
                  <c:v>Lactalis: A</c:v>
                </c:pt>
                <c:pt idx="2852">
                  <c:v>All Others</c:v>
                </c:pt>
                <c:pt idx="2853">
                  <c:v>All Others</c:v>
                </c:pt>
                <c:pt idx="2854">
                  <c:v>Savencia: A</c:v>
                </c:pt>
                <c:pt idx="2855">
                  <c:v>All Others</c:v>
                </c:pt>
                <c:pt idx="2856">
                  <c:v>All Others</c:v>
                </c:pt>
                <c:pt idx="2857">
                  <c:v>All Others</c:v>
                </c:pt>
                <c:pt idx="2858">
                  <c:v>All Others</c:v>
                </c:pt>
                <c:pt idx="2859">
                  <c:v>All Others</c:v>
                </c:pt>
                <c:pt idx="2860">
                  <c:v>All Others</c:v>
                </c:pt>
                <c:pt idx="2861">
                  <c:v>All Others</c:v>
                </c:pt>
                <c:pt idx="2862">
                  <c:v>All Others</c:v>
                </c:pt>
                <c:pt idx="2863">
                  <c:v>All Others</c:v>
                </c:pt>
                <c:pt idx="2864">
                  <c:v>All Others</c:v>
                </c:pt>
                <c:pt idx="2865">
                  <c:v>All Others</c:v>
                </c:pt>
                <c:pt idx="2866">
                  <c:v>All Others</c:v>
                </c:pt>
                <c:pt idx="2867">
                  <c:v>All Others</c:v>
                </c:pt>
                <c:pt idx="2868">
                  <c:v>All Others</c:v>
                </c:pt>
                <c:pt idx="2869">
                  <c:v>All Others</c:v>
                </c:pt>
                <c:pt idx="2870">
                  <c:v>All Others</c:v>
                </c:pt>
                <c:pt idx="2871">
                  <c:v>All Others</c:v>
                </c:pt>
                <c:pt idx="2872">
                  <c:v>Lactalis: A</c:v>
                </c:pt>
                <c:pt idx="2873">
                  <c:v>All Others</c:v>
                </c:pt>
                <c:pt idx="2874">
                  <c:v>All Others</c:v>
                </c:pt>
                <c:pt idx="2875">
                  <c:v>All Others</c:v>
                </c:pt>
                <c:pt idx="2876">
                  <c:v>All Others</c:v>
                </c:pt>
                <c:pt idx="2877">
                  <c:v>All Others</c:v>
                </c:pt>
                <c:pt idx="2878">
                  <c:v>All Others</c:v>
                </c:pt>
                <c:pt idx="2879">
                  <c:v>All Others</c:v>
                </c:pt>
                <c:pt idx="2880">
                  <c:v>All Others</c:v>
                </c:pt>
                <c:pt idx="2881">
                  <c:v>All Others</c:v>
                </c:pt>
                <c:pt idx="2882">
                  <c:v>All Others</c:v>
                </c:pt>
                <c:pt idx="2883">
                  <c:v>All Others</c:v>
                </c:pt>
                <c:pt idx="2884">
                  <c:v>All Others</c:v>
                </c:pt>
                <c:pt idx="2885">
                  <c:v>All Others</c:v>
                </c:pt>
                <c:pt idx="2886">
                  <c:v>All Others</c:v>
                </c:pt>
                <c:pt idx="2887">
                  <c:v>All Others</c:v>
                </c:pt>
                <c:pt idx="2888">
                  <c:v>All Others</c:v>
                </c:pt>
                <c:pt idx="2889">
                  <c:v>All Others</c:v>
                </c:pt>
                <c:pt idx="2890">
                  <c:v>All Others</c:v>
                </c:pt>
                <c:pt idx="2891">
                  <c:v>All Others</c:v>
                </c:pt>
                <c:pt idx="2892">
                  <c:v>All Others</c:v>
                </c:pt>
                <c:pt idx="2893">
                  <c:v>All Others</c:v>
                </c:pt>
                <c:pt idx="2894">
                  <c:v>All Others</c:v>
                </c:pt>
                <c:pt idx="2895">
                  <c:v>All Others</c:v>
                </c:pt>
                <c:pt idx="2896">
                  <c:v>All Others</c:v>
                </c:pt>
                <c:pt idx="2897">
                  <c:v>All Others</c:v>
                </c:pt>
                <c:pt idx="2898">
                  <c:v>All Others</c:v>
                </c:pt>
                <c:pt idx="2899">
                  <c:v>Savencia: A</c:v>
                </c:pt>
                <c:pt idx="2900">
                  <c:v>All Others</c:v>
                </c:pt>
                <c:pt idx="2901">
                  <c:v>All Others</c:v>
                </c:pt>
                <c:pt idx="2902">
                  <c:v>All Others</c:v>
                </c:pt>
                <c:pt idx="2903">
                  <c:v>All Others</c:v>
                </c:pt>
                <c:pt idx="2904">
                  <c:v>All Others</c:v>
                </c:pt>
                <c:pt idx="2905">
                  <c:v>All Others</c:v>
                </c:pt>
                <c:pt idx="2906">
                  <c:v>All Others</c:v>
                </c:pt>
                <c:pt idx="2907">
                  <c:v>All Others</c:v>
                </c:pt>
                <c:pt idx="2908">
                  <c:v>All Others</c:v>
                </c:pt>
                <c:pt idx="2909">
                  <c:v>All Others</c:v>
                </c:pt>
                <c:pt idx="2910">
                  <c:v>All Others</c:v>
                </c:pt>
                <c:pt idx="2911">
                  <c:v>All Others</c:v>
                </c:pt>
                <c:pt idx="2912">
                  <c:v>All Others</c:v>
                </c:pt>
                <c:pt idx="2913">
                  <c:v>All Others</c:v>
                </c:pt>
                <c:pt idx="2914">
                  <c:v>All Others</c:v>
                </c:pt>
                <c:pt idx="2915">
                  <c:v>All Others</c:v>
                </c:pt>
                <c:pt idx="2916">
                  <c:v>All Others</c:v>
                </c:pt>
                <c:pt idx="2917">
                  <c:v>All Others</c:v>
                </c:pt>
                <c:pt idx="2918">
                  <c:v>All Others</c:v>
                </c:pt>
                <c:pt idx="2919">
                  <c:v>All Others</c:v>
                </c:pt>
                <c:pt idx="2920">
                  <c:v>All Others</c:v>
                </c:pt>
                <c:pt idx="2921">
                  <c:v>Private Lab</c:v>
                </c:pt>
                <c:pt idx="2922">
                  <c:v>All Others</c:v>
                </c:pt>
                <c:pt idx="2923">
                  <c:v>All Others</c:v>
                </c:pt>
                <c:pt idx="2924">
                  <c:v>Private Lab</c:v>
                </c:pt>
                <c:pt idx="2925">
                  <c:v>All Others</c:v>
                </c:pt>
                <c:pt idx="2926">
                  <c:v>All Others</c:v>
                </c:pt>
                <c:pt idx="2927">
                  <c:v>All Others</c:v>
                </c:pt>
                <c:pt idx="2928">
                  <c:v>All Others</c:v>
                </c:pt>
                <c:pt idx="2929">
                  <c:v>All Others</c:v>
                </c:pt>
                <c:pt idx="2930">
                  <c:v>All Others</c:v>
                </c:pt>
                <c:pt idx="2931">
                  <c:v>All Others</c:v>
                </c:pt>
                <c:pt idx="2932">
                  <c:v>All Others</c:v>
                </c:pt>
                <c:pt idx="2933">
                  <c:v>All Others</c:v>
                </c:pt>
                <c:pt idx="2934">
                  <c:v>Private Lab</c:v>
                </c:pt>
                <c:pt idx="2935">
                  <c:v>All Others</c:v>
                </c:pt>
                <c:pt idx="2936">
                  <c:v>All Others</c:v>
                </c:pt>
                <c:pt idx="2937">
                  <c:v>All Others</c:v>
                </c:pt>
                <c:pt idx="2938">
                  <c:v>All Others</c:v>
                </c:pt>
                <c:pt idx="2939">
                  <c:v>All Others</c:v>
                </c:pt>
                <c:pt idx="2940">
                  <c:v>All Others</c:v>
                </c:pt>
                <c:pt idx="2941">
                  <c:v>All Others</c:v>
                </c:pt>
                <c:pt idx="2942">
                  <c:v>All Others</c:v>
                </c:pt>
                <c:pt idx="2943">
                  <c:v>All Others</c:v>
                </c:pt>
                <c:pt idx="2944">
                  <c:v>All Others</c:v>
                </c:pt>
                <c:pt idx="2945">
                  <c:v>All Others</c:v>
                </c:pt>
                <c:pt idx="2946">
                  <c:v>All Others</c:v>
                </c:pt>
                <c:pt idx="2947">
                  <c:v>All Others</c:v>
                </c:pt>
                <c:pt idx="2948">
                  <c:v>All Others</c:v>
                </c:pt>
                <c:pt idx="2949">
                  <c:v>All Others</c:v>
                </c:pt>
                <c:pt idx="2950">
                  <c:v>All Others</c:v>
                </c:pt>
                <c:pt idx="2951">
                  <c:v>All Others</c:v>
                </c:pt>
                <c:pt idx="2952">
                  <c:v>All Others</c:v>
                </c:pt>
                <c:pt idx="2953">
                  <c:v>All Others</c:v>
                </c:pt>
                <c:pt idx="2954">
                  <c:v>All Others</c:v>
                </c:pt>
                <c:pt idx="2955">
                  <c:v>All Others</c:v>
                </c:pt>
                <c:pt idx="2956">
                  <c:v>All Others</c:v>
                </c:pt>
                <c:pt idx="2957">
                  <c:v>All Others</c:v>
                </c:pt>
                <c:pt idx="2958">
                  <c:v>Private Lab</c:v>
                </c:pt>
                <c:pt idx="2959">
                  <c:v>All Others</c:v>
                </c:pt>
                <c:pt idx="2960">
                  <c:v>All Others</c:v>
                </c:pt>
                <c:pt idx="2961">
                  <c:v>Private Lab</c:v>
                </c:pt>
                <c:pt idx="2962">
                  <c:v>All Others</c:v>
                </c:pt>
                <c:pt idx="2963">
                  <c:v>All Others</c:v>
                </c:pt>
                <c:pt idx="2964">
                  <c:v>All Others</c:v>
                </c:pt>
                <c:pt idx="2965">
                  <c:v>All Others</c:v>
                </c:pt>
                <c:pt idx="2966">
                  <c:v>Private Lab</c:v>
                </c:pt>
                <c:pt idx="2967">
                  <c:v>All Others</c:v>
                </c:pt>
                <c:pt idx="2968">
                  <c:v>All Others</c:v>
                </c:pt>
                <c:pt idx="2969">
                  <c:v>All Others</c:v>
                </c:pt>
                <c:pt idx="2970">
                  <c:v>All Others</c:v>
                </c:pt>
                <c:pt idx="2971">
                  <c:v>All Others</c:v>
                </c:pt>
                <c:pt idx="2972">
                  <c:v>All Others</c:v>
                </c:pt>
                <c:pt idx="2973">
                  <c:v>Private Lab</c:v>
                </c:pt>
                <c:pt idx="2974">
                  <c:v>All Others</c:v>
                </c:pt>
                <c:pt idx="2975">
                  <c:v>All Others</c:v>
                </c:pt>
                <c:pt idx="2976">
                  <c:v>All Others</c:v>
                </c:pt>
                <c:pt idx="2977">
                  <c:v>All Others</c:v>
                </c:pt>
                <c:pt idx="2978">
                  <c:v>All Others</c:v>
                </c:pt>
                <c:pt idx="2979">
                  <c:v>All Others</c:v>
                </c:pt>
                <c:pt idx="2980">
                  <c:v>All Others</c:v>
                </c:pt>
                <c:pt idx="2981">
                  <c:v>All Others</c:v>
                </c:pt>
                <c:pt idx="2982">
                  <c:v>All Others</c:v>
                </c:pt>
                <c:pt idx="2983">
                  <c:v>All Others</c:v>
                </c:pt>
                <c:pt idx="2984">
                  <c:v>All Others</c:v>
                </c:pt>
                <c:pt idx="2985">
                  <c:v>All Others</c:v>
                </c:pt>
                <c:pt idx="2986">
                  <c:v>All Others</c:v>
                </c:pt>
                <c:pt idx="2987">
                  <c:v>All Others</c:v>
                </c:pt>
                <c:pt idx="2988">
                  <c:v>All Others</c:v>
                </c:pt>
                <c:pt idx="2989">
                  <c:v>All Others</c:v>
                </c:pt>
                <c:pt idx="2990">
                  <c:v>All Others</c:v>
                </c:pt>
                <c:pt idx="2991">
                  <c:v>All Others</c:v>
                </c:pt>
                <c:pt idx="2992">
                  <c:v>Lactalis: A</c:v>
                </c:pt>
                <c:pt idx="2993">
                  <c:v>All Others</c:v>
                </c:pt>
                <c:pt idx="2994">
                  <c:v>All Others</c:v>
                </c:pt>
                <c:pt idx="2995">
                  <c:v>All Others</c:v>
                </c:pt>
                <c:pt idx="2996">
                  <c:v>All Others</c:v>
                </c:pt>
                <c:pt idx="2997">
                  <c:v>All Others</c:v>
                </c:pt>
                <c:pt idx="2998">
                  <c:v>All Others</c:v>
                </c:pt>
                <c:pt idx="2999">
                  <c:v>All Others</c:v>
                </c:pt>
                <c:pt idx="3000">
                  <c:v>All Others</c:v>
                </c:pt>
                <c:pt idx="3001">
                  <c:v>All Others</c:v>
                </c:pt>
                <c:pt idx="3002">
                  <c:v>Private Lab</c:v>
                </c:pt>
                <c:pt idx="3003">
                  <c:v>Private Lab</c:v>
                </c:pt>
                <c:pt idx="3004">
                  <c:v>All Others</c:v>
                </c:pt>
                <c:pt idx="3005">
                  <c:v>All Others</c:v>
                </c:pt>
                <c:pt idx="3006">
                  <c:v>Private Lab</c:v>
                </c:pt>
                <c:pt idx="3007">
                  <c:v>All Others</c:v>
                </c:pt>
                <c:pt idx="3008">
                  <c:v>All Others</c:v>
                </c:pt>
                <c:pt idx="3009">
                  <c:v>All Others</c:v>
                </c:pt>
                <c:pt idx="3010">
                  <c:v>All Others</c:v>
                </c:pt>
                <c:pt idx="3011">
                  <c:v>All Others</c:v>
                </c:pt>
                <c:pt idx="3012">
                  <c:v>All Others</c:v>
                </c:pt>
                <c:pt idx="3013">
                  <c:v>All Others</c:v>
                </c:pt>
                <c:pt idx="3014">
                  <c:v>All Others</c:v>
                </c:pt>
                <c:pt idx="3015">
                  <c:v>All Others</c:v>
                </c:pt>
                <c:pt idx="3016">
                  <c:v>All Others</c:v>
                </c:pt>
                <c:pt idx="3017">
                  <c:v>Private Lab</c:v>
                </c:pt>
                <c:pt idx="3018">
                  <c:v>All Others</c:v>
                </c:pt>
                <c:pt idx="3019">
                  <c:v>All Others</c:v>
                </c:pt>
                <c:pt idx="3020">
                  <c:v>Milleret: A</c:v>
                </c:pt>
                <c:pt idx="3021">
                  <c:v>All Others</c:v>
                </c:pt>
                <c:pt idx="3022">
                  <c:v>All Others</c:v>
                </c:pt>
                <c:pt idx="3023">
                  <c:v>Nurishh</c:v>
                </c:pt>
                <c:pt idx="3024">
                  <c:v>All Others</c:v>
                </c:pt>
                <c:pt idx="3025">
                  <c:v>All Others</c:v>
                </c:pt>
                <c:pt idx="3026">
                  <c:v>All Others</c:v>
                </c:pt>
                <c:pt idx="3027">
                  <c:v>All Others</c:v>
                </c:pt>
                <c:pt idx="3028">
                  <c:v>All Others</c:v>
                </c:pt>
                <c:pt idx="3029">
                  <c:v>All Others</c:v>
                </c:pt>
                <c:pt idx="3030">
                  <c:v>All Others</c:v>
                </c:pt>
                <c:pt idx="3031">
                  <c:v>All Others</c:v>
                </c:pt>
                <c:pt idx="3032">
                  <c:v>All Others</c:v>
                </c:pt>
                <c:pt idx="3033">
                  <c:v>All Others</c:v>
                </c:pt>
                <c:pt idx="3034">
                  <c:v>All Others</c:v>
                </c:pt>
                <c:pt idx="3035">
                  <c:v>All Others</c:v>
                </c:pt>
                <c:pt idx="3036">
                  <c:v>All Others</c:v>
                </c:pt>
                <c:pt idx="3037">
                  <c:v>All Others</c:v>
                </c:pt>
                <c:pt idx="3038">
                  <c:v>Nurishh</c:v>
                </c:pt>
                <c:pt idx="3039">
                  <c:v>All Others</c:v>
                </c:pt>
                <c:pt idx="3040">
                  <c:v>All Others</c:v>
                </c:pt>
                <c:pt idx="3041">
                  <c:v>All Others</c:v>
                </c:pt>
                <c:pt idx="3042">
                  <c:v>All Others</c:v>
                </c:pt>
                <c:pt idx="3043">
                  <c:v>All Others</c:v>
                </c:pt>
                <c:pt idx="3044">
                  <c:v>All Others</c:v>
                </c:pt>
                <c:pt idx="3045">
                  <c:v>All Others</c:v>
                </c:pt>
                <c:pt idx="3046">
                  <c:v>All Others</c:v>
                </c:pt>
                <c:pt idx="3047">
                  <c:v>All Others</c:v>
                </c:pt>
                <c:pt idx="3048">
                  <c:v>All Others</c:v>
                </c:pt>
                <c:pt idx="3049">
                  <c:v>All Others</c:v>
                </c:pt>
                <c:pt idx="3050">
                  <c:v>All Others</c:v>
                </c:pt>
                <c:pt idx="3051">
                  <c:v>All Others</c:v>
                </c:pt>
                <c:pt idx="3052">
                  <c:v>All Others</c:v>
                </c:pt>
                <c:pt idx="3053">
                  <c:v>All Others</c:v>
                </c:pt>
                <c:pt idx="3054">
                  <c:v>Private Lab</c:v>
                </c:pt>
                <c:pt idx="3055">
                  <c:v>All Others</c:v>
                </c:pt>
                <c:pt idx="3056">
                  <c:v>All Others</c:v>
                </c:pt>
                <c:pt idx="3057">
                  <c:v>All Others</c:v>
                </c:pt>
                <c:pt idx="3058">
                  <c:v>All Others</c:v>
                </c:pt>
                <c:pt idx="3059">
                  <c:v>All Others</c:v>
                </c:pt>
                <c:pt idx="3060">
                  <c:v>All Others</c:v>
                </c:pt>
                <c:pt idx="3061">
                  <c:v>All Others</c:v>
                </c:pt>
                <c:pt idx="3062">
                  <c:v>All Others</c:v>
                </c:pt>
                <c:pt idx="3063">
                  <c:v>All Others</c:v>
                </c:pt>
                <c:pt idx="3064">
                  <c:v>All Others</c:v>
                </c:pt>
                <c:pt idx="3065">
                  <c:v>All Others</c:v>
                </c:pt>
                <c:pt idx="3066">
                  <c:v>All Others</c:v>
                </c:pt>
                <c:pt idx="3067">
                  <c:v>Private Lab</c:v>
                </c:pt>
                <c:pt idx="3068">
                  <c:v>All Others</c:v>
                </c:pt>
                <c:pt idx="3069">
                  <c:v>All Others</c:v>
                </c:pt>
                <c:pt idx="3070">
                  <c:v>All Others</c:v>
                </c:pt>
                <c:pt idx="3071">
                  <c:v>All Others</c:v>
                </c:pt>
                <c:pt idx="3072">
                  <c:v>All Others</c:v>
                </c:pt>
                <c:pt idx="3073">
                  <c:v>All Others</c:v>
                </c:pt>
                <c:pt idx="3074">
                  <c:v>Private Lab</c:v>
                </c:pt>
                <c:pt idx="3075">
                  <c:v>All Others</c:v>
                </c:pt>
                <c:pt idx="3076">
                  <c:v>All Others</c:v>
                </c:pt>
                <c:pt idx="3077">
                  <c:v>All Others</c:v>
                </c:pt>
                <c:pt idx="3078">
                  <c:v>All Others</c:v>
                </c:pt>
                <c:pt idx="3079">
                  <c:v>Private Lab</c:v>
                </c:pt>
                <c:pt idx="3080">
                  <c:v>All Others</c:v>
                </c:pt>
                <c:pt idx="3081">
                  <c:v>All Others</c:v>
                </c:pt>
                <c:pt idx="3082">
                  <c:v>All Others</c:v>
                </c:pt>
                <c:pt idx="3083">
                  <c:v>All Others</c:v>
                </c:pt>
                <c:pt idx="3084">
                  <c:v>All Others</c:v>
                </c:pt>
                <c:pt idx="3085">
                  <c:v>All Others</c:v>
                </c:pt>
                <c:pt idx="3086">
                  <c:v>All Others</c:v>
                </c:pt>
                <c:pt idx="3087">
                  <c:v>All Others</c:v>
                </c:pt>
                <c:pt idx="3088">
                  <c:v>All Others</c:v>
                </c:pt>
                <c:pt idx="3089">
                  <c:v>All Others</c:v>
                </c:pt>
                <c:pt idx="3090">
                  <c:v>All Others</c:v>
                </c:pt>
                <c:pt idx="3091">
                  <c:v>All Others</c:v>
                </c:pt>
                <c:pt idx="3092">
                  <c:v>All Others</c:v>
                </c:pt>
                <c:pt idx="3093">
                  <c:v>All Others</c:v>
                </c:pt>
                <c:pt idx="3094">
                  <c:v>All Others</c:v>
                </c:pt>
                <c:pt idx="3095">
                  <c:v>All Others</c:v>
                </c:pt>
                <c:pt idx="3096">
                  <c:v>All Others</c:v>
                </c:pt>
                <c:pt idx="3097">
                  <c:v>All Others</c:v>
                </c:pt>
                <c:pt idx="3098">
                  <c:v>All Others</c:v>
                </c:pt>
                <c:pt idx="3099">
                  <c:v>All Others</c:v>
                </c:pt>
                <c:pt idx="3100">
                  <c:v>All Others</c:v>
                </c:pt>
                <c:pt idx="3101">
                  <c:v>Lactalis: A</c:v>
                </c:pt>
                <c:pt idx="3102">
                  <c:v>Boursin</c:v>
                </c:pt>
                <c:pt idx="3103">
                  <c:v>All Others</c:v>
                </c:pt>
                <c:pt idx="3104">
                  <c:v>Private Lab</c:v>
                </c:pt>
                <c:pt idx="3105">
                  <c:v>All Others</c:v>
                </c:pt>
                <c:pt idx="3106">
                  <c:v>All Others</c:v>
                </c:pt>
                <c:pt idx="3107">
                  <c:v>All Others</c:v>
                </c:pt>
                <c:pt idx="3108">
                  <c:v>All Others</c:v>
                </c:pt>
                <c:pt idx="3109">
                  <c:v>All Others</c:v>
                </c:pt>
                <c:pt idx="3110">
                  <c:v>All Others</c:v>
                </c:pt>
                <c:pt idx="3111">
                  <c:v>All Others</c:v>
                </c:pt>
                <c:pt idx="3112">
                  <c:v>All Others</c:v>
                </c:pt>
                <c:pt idx="3113">
                  <c:v>All Others</c:v>
                </c:pt>
                <c:pt idx="3114">
                  <c:v>All Others</c:v>
                </c:pt>
                <c:pt idx="3115">
                  <c:v>Bresse Bleu</c:v>
                </c:pt>
                <c:pt idx="3116">
                  <c:v>All Others</c:v>
                </c:pt>
                <c:pt idx="3117">
                  <c:v>All Others</c:v>
                </c:pt>
                <c:pt idx="3118">
                  <c:v>All Others</c:v>
                </c:pt>
                <c:pt idx="3119">
                  <c:v>All Others</c:v>
                </c:pt>
                <c:pt idx="3120">
                  <c:v>All Others</c:v>
                </c:pt>
                <c:pt idx="3121">
                  <c:v>All Others</c:v>
                </c:pt>
                <c:pt idx="3122">
                  <c:v>All Others</c:v>
                </c:pt>
                <c:pt idx="3123">
                  <c:v>All Others</c:v>
                </c:pt>
                <c:pt idx="3124">
                  <c:v>All Others</c:v>
                </c:pt>
                <c:pt idx="3125">
                  <c:v>All Others</c:v>
                </c:pt>
                <c:pt idx="3126">
                  <c:v>All Others</c:v>
                </c:pt>
                <c:pt idx="3127">
                  <c:v>All Others</c:v>
                </c:pt>
                <c:pt idx="3128">
                  <c:v>All Others</c:v>
                </c:pt>
                <c:pt idx="3129">
                  <c:v>All Others</c:v>
                </c:pt>
                <c:pt idx="3130">
                  <c:v>All Others</c:v>
                </c:pt>
                <c:pt idx="3131">
                  <c:v>All Others</c:v>
                </c:pt>
                <c:pt idx="3132">
                  <c:v>All Others</c:v>
                </c:pt>
                <c:pt idx="3133">
                  <c:v>All Others</c:v>
                </c:pt>
                <c:pt idx="3134">
                  <c:v>Private Lab</c:v>
                </c:pt>
                <c:pt idx="3135">
                  <c:v>All Others</c:v>
                </c:pt>
                <c:pt idx="3136">
                  <c:v>Ficello</c:v>
                </c:pt>
                <c:pt idx="3137">
                  <c:v>All Others</c:v>
                </c:pt>
                <c:pt idx="3138">
                  <c:v>Mini Babybe</c:v>
                </c:pt>
                <c:pt idx="3139">
                  <c:v>Private Lab</c:v>
                </c:pt>
                <c:pt idx="3140">
                  <c:v>Savencia: A</c:v>
                </c:pt>
                <c:pt idx="3141">
                  <c:v>All Others</c:v>
                </c:pt>
                <c:pt idx="3142">
                  <c:v>All Others</c:v>
                </c:pt>
                <c:pt idx="3143">
                  <c:v>All Others</c:v>
                </c:pt>
                <c:pt idx="3144">
                  <c:v>All Others</c:v>
                </c:pt>
                <c:pt idx="3145">
                  <c:v>All Others</c:v>
                </c:pt>
                <c:pt idx="3146">
                  <c:v>All Others</c:v>
                </c:pt>
                <c:pt idx="3147">
                  <c:v>All Others</c:v>
                </c:pt>
                <c:pt idx="3148">
                  <c:v>All Others</c:v>
                </c:pt>
                <c:pt idx="3149">
                  <c:v>All Others</c:v>
                </c:pt>
                <c:pt idx="3150">
                  <c:v>All Others</c:v>
                </c:pt>
                <c:pt idx="3151">
                  <c:v>All Others</c:v>
                </c:pt>
                <c:pt idx="3152">
                  <c:v>All Others</c:v>
                </c:pt>
                <c:pt idx="3153">
                  <c:v>All Others</c:v>
                </c:pt>
                <c:pt idx="3154">
                  <c:v>All Others</c:v>
                </c:pt>
                <c:pt idx="3155">
                  <c:v>All Others</c:v>
                </c:pt>
                <c:pt idx="3156">
                  <c:v>Private Lab</c:v>
                </c:pt>
                <c:pt idx="3157">
                  <c:v>All Others</c:v>
                </c:pt>
                <c:pt idx="3158">
                  <c:v>All Others</c:v>
                </c:pt>
                <c:pt idx="3159">
                  <c:v>All Others</c:v>
                </c:pt>
                <c:pt idx="3160">
                  <c:v>Private Lab</c:v>
                </c:pt>
                <c:pt idx="3161">
                  <c:v>Casa Azzurr</c:v>
                </c:pt>
                <c:pt idx="3162">
                  <c:v>All Others</c:v>
                </c:pt>
                <c:pt idx="3163">
                  <c:v>All Others</c:v>
                </c:pt>
                <c:pt idx="3164">
                  <c:v>All Others</c:v>
                </c:pt>
                <c:pt idx="3165">
                  <c:v>Private Lab</c:v>
                </c:pt>
                <c:pt idx="3166">
                  <c:v>All Others</c:v>
                </c:pt>
                <c:pt idx="3167">
                  <c:v>All Others</c:v>
                </c:pt>
                <c:pt idx="3168">
                  <c:v>All Others</c:v>
                </c:pt>
                <c:pt idx="3169">
                  <c:v>All Others</c:v>
                </c:pt>
              </c:strCache>
            </c:strRef>
          </c:cat>
          <c:val>
            <c:numRef>
              <c:f>Sheet1!$B$2:$B$3171</c:f>
              <c:numCache>
                <c:formatCode>General</c:formatCode>
                <c:ptCount val="3170"/>
                <c:pt idx="0">
                  <c:v>1.0</c:v>
                </c:pt>
                <c:pt idx="1">
                  <c:v>0.99</c:v>
                </c:pt>
                <c:pt idx="2">
                  <c:v>1.0</c:v>
                </c:pt>
                <c:pt idx="3">
                  <c:v>1.0</c:v>
                </c:pt>
                <c:pt idx="4">
                  <c:v>0.53</c:v>
                </c:pt>
                <c:pt idx="5">
                  <c:v>1.0</c:v>
                </c:pt>
                <c:pt idx="6">
                  <c:v>1.0</c:v>
                </c:pt>
                <c:pt idx="7">
                  <c:v>1.0</c:v>
                </c:pt>
                <c:pt idx="8">
                  <c:v>0.99</c:v>
                </c:pt>
                <c:pt idx="9">
                  <c:v>1.0</c:v>
                </c:pt>
                <c:pt idx="10">
                  <c:v>1.0</c:v>
                </c:pt>
                <c:pt idx="11">
                  <c:v>1.0</c:v>
                </c:pt>
                <c:pt idx="12">
                  <c:v>1.0</c:v>
                </c:pt>
                <c:pt idx="13">
                  <c:v>1.0</c:v>
                </c:pt>
                <c:pt idx="14">
                  <c:v>1.0</c:v>
                </c:pt>
                <c:pt idx="15">
                  <c:v>1.0</c:v>
                </c:pt>
                <c:pt idx="16">
                  <c:v>1.0</c:v>
                </c:pt>
                <c:pt idx="17">
                  <c:v>1.0</c:v>
                </c:pt>
                <c:pt idx="18">
                  <c:v>1.0</c:v>
                </c:pt>
                <c:pt idx="19">
                  <c:v>1.0</c:v>
                </c:pt>
                <c:pt idx="20">
                  <c:v>1.0</c:v>
                </c:pt>
                <c:pt idx="21">
                  <c:v>1.0</c:v>
                </c:pt>
                <c:pt idx="22">
                  <c:v>1.0</c:v>
                </c:pt>
                <c:pt idx="23">
                  <c:v>1.0</c:v>
                </c:pt>
                <c:pt idx="24">
                  <c:v>1.0</c:v>
                </c:pt>
                <c:pt idx="25">
                  <c:v>1.0</c:v>
                </c:pt>
                <c:pt idx="26">
                  <c:v>1.0</c:v>
                </c:pt>
                <c:pt idx="27">
                  <c:v>1.0</c:v>
                </c:pt>
                <c:pt idx="28">
                  <c:v>1.0</c:v>
                </c:pt>
                <c:pt idx="29">
                  <c:v>1.0</c:v>
                </c:pt>
                <c:pt idx="30">
                  <c:v>1.0</c:v>
                </c:pt>
                <c:pt idx="31">
                  <c:v>1.0</c:v>
                </c:pt>
                <c:pt idx="32">
                  <c:v>1.0</c:v>
                </c:pt>
                <c:pt idx="33">
                  <c:v>1.0</c:v>
                </c:pt>
                <c:pt idx="34">
                  <c:v>1.0</c:v>
                </c:pt>
                <c:pt idx="35">
                  <c:v>1.0</c:v>
                </c:pt>
                <c:pt idx="36">
                  <c:v>1.0</c:v>
                </c:pt>
                <c:pt idx="37">
                  <c:v>1.0</c:v>
                </c:pt>
                <c:pt idx="38">
                  <c:v>1.0</c:v>
                </c:pt>
                <c:pt idx="39">
                  <c:v>1.0</c:v>
                </c:pt>
                <c:pt idx="40">
                  <c:v>0.99</c:v>
                </c:pt>
                <c:pt idx="41">
                  <c:v>1.0</c:v>
                </c:pt>
                <c:pt idx="42">
                  <c:v>1.0</c:v>
                </c:pt>
                <c:pt idx="43">
                  <c:v>1.0</c:v>
                </c:pt>
                <c:pt idx="44">
                  <c:v>1.0</c:v>
                </c:pt>
                <c:pt idx="45">
                  <c:v>1.0</c:v>
                </c:pt>
                <c:pt idx="46">
                  <c:v>0.99</c:v>
                </c:pt>
                <c:pt idx="47">
                  <c:v>1.0</c:v>
                </c:pt>
                <c:pt idx="48">
                  <c:v>1.0</c:v>
                </c:pt>
                <c:pt idx="49">
                  <c:v>1.0</c:v>
                </c:pt>
                <c:pt idx="50">
                  <c:v>1.0</c:v>
                </c:pt>
                <c:pt idx="51">
                  <c:v>1.0</c:v>
                </c:pt>
                <c:pt idx="52">
                  <c:v>1.0</c:v>
                </c:pt>
                <c:pt idx="53">
                  <c:v>0.99</c:v>
                </c:pt>
                <c:pt idx="54">
                  <c:v>1.0</c:v>
                </c:pt>
                <c:pt idx="55">
                  <c:v>1.0</c:v>
                </c:pt>
                <c:pt idx="56">
                  <c:v>1.0</c:v>
                </c:pt>
                <c:pt idx="57">
                  <c:v>1.0</c:v>
                </c:pt>
                <c:pt idx="58">
                  <c:v>1.0</c:v>
                </c:pt>
                <c:pt idx="59">
                  <c:v>1.0</c:v>
                </c:pt>
                <c:pt idx="60">
                  <c:v>1.0</c:v>
                </c:pt>
                <c:pt idx="61">
                  <c:v>1.0</c:v>
                </c:pt>
                <c:pt idx="62">
                  <c:v>1.0</c:v>
                </c:pt>
                <c:pt idx="63">
                  <c:v>1.0</c:v>
                </c:pt>
                <c:pt idx="64">
                  <c:v>1.0</c:v>
                </c:pt>
                <c:pt idx="65">
                  <c:v>1.0</c:v>
                </c:pt>
                <c:pt idx="66">
                  <c:v>1.0</c:v>
                </c:pt>
                <c:pt idx="67">
                  <c:v>1.0</c:v>
                </c:pt>
                <c:pt idx="68">
                  <c:v>1.0</c:v>
                </c:pt>
                <c:pt idx="69">
                  <c:v>1.0</c:v>
                </c:pt>
                <c:pt idx="70">
                  <c:v>1.0</c:v>
                </c:pt>
                <c:pt idx="71">
                  <c:v>1.0</c:v>
                </c:pt>
                <c:pt idx="72">
                  <c:v>1.0</c:v>
                </c:pt>
                <c:pt idx="73">
                  <c:v>1.0</c:v>
                </c:pt>
                <c:pt idx="74">
                  <c:v>1.0</c:v>
                </c:pt>
                <c:pt idx="75">
                  <c:v>1.0</c:v>
                </c:pt>
                <c:pt idx="76">
                  <c:v>0.99</c:v>
                </c:pt>
                <c:pt idx="77">
                  <c:v>1.0</c:v>
                </c:pt>
                <c:pt idx="78">
                  <c:v>1.0</c:v>
                </c:pt>
                <c:pt idx="79">
                  <c:v>0.99</c:v>
                </c:pt>
                <c:pt idx="80">
                  <c:v>1.0</c:v>
                </c:pt>
                <c:pt idx="81">
                  <c:v>1.0</c:v>
                </c:pt>
                <c:pt idx="82">
                  <c:v>1.0</c:v>
                </c:pt>
                <c:pt idx="83">
                  <c:v>1.0</c:v>
                </c:pt>
                <c:pt idx="84">
                  <c:v>1.0</c:v>
                </c:pt>
                <c:pt idx="85">
                  <c:v>1.0</c:v>
                </c:pt>
                <c:pt idx="86">
                  <c:v>1.0</c:v>
                </c:pt>
                <c:pt idx="87">
                  <c:v>1.0</c:v>
                </c:pt>
                <c:pt idx="88">
                  <c:v>1.0</c:v>
                </c:pt>
                <c:pt idx="89">
                  <c:v>1.0</c:v>
                </c:pt>
                <c:pt idx="90">
                  <c:v>1.0</c:v>
                </c:pt>
                <c:pt idx="91">
                  <c:v>1.0</c:v>
                </c:pt>
                <c:pt idx="92">
                  <c:v>0.99</c:v>
                </c:pt>
                <c:pt idx="93">
                  <c:v>0.99</c:v>
                </c:pt>
                <c:pt idx="94">
                  <c:v>1.0</c:v>
                </c:pt>
                <c:pt idx="95">
                  <c:v>0.98</c:v>
                </c:pt>
                <c:pt idx="96">
                  <c:v>1.0</c:v>
                </c:pt>
                <c:pt idx="97">
                  <c:v>1.0</c:v>
                </c:pt>
                <c:pt idx="98">
                  <c:v>0.97</c:v>
                </c:pt>
                <c:pt idx="99">
                  <c:v>1.0</c:v>
                </c:pt>
                <c:pt idx="100">
                  <c:v>1.0</c:v>
                </c:pt>
                <c:pt idx="101">
                  <c:v>1.0</c:v>
                </c:pt>
                <c:pt idx="102">
                  <c:v>0.97</c:v>
                </c:pt>
                <c:pt idx="103">
                  <c:v>1.0</c:v>
                </c:pt>
                <c:pt idx="104">
                  <c:v>1.0</c:v>
                </c:pt>
                <c:pt idx="105">
                  <c:v>1.0</c:v>
                </c:pt>
                <c:pt idx="106">
                  <c:v>0.99</c:v>
                </c:pt>
                <c:pt idx="107">
                  <c:v>1.0</c:v>
                </c:pt>
                <c:pt idx="108">
                  <c:v>1.0</c:v>
                </c:pt>
                <c:pt idx="109">
                  <c:v>0.98</c:v>
                </c:pt>
                <c:pt idx="110">
                  <c:v>1.0</c:v>
                </c:pt>
                <c:pt idx="111">
                  <c:v>1.0</c:v>
                </c:pt>
                <c:pt idx="112">
                  <c:v>0.99</c:v>
                </c:pt>
                <c:pt idx="113">
                  <c:v>0.99</c:v>
                </c:pt>
                <c:pt idx="114">
                  <c:v>0.94</c:v>
                </c:pt>
                <c:pt idx="115">
                  <c:v>1.0</c:v>
                </c:pt>
                <c:pt idx="116">
                  <c:v>1.0</c:v>
                </c:pt>
                <c:pt idx="117">
                  <c:v>0.99</c:v>
                </c:pt>
                <c:pt idx="118">
                  <c:v>0.97</c:v>
                </c:pt>
                <c:pt idx="119">
                  <c:v>1.0</c:v>
                </c:pt>
                <c:pt idx="120">
                  <c:v>1.0</c:v>
                </c:pt>
                <c:pt idx="121">
                  <c:v>1.0</c:v>
                </c:pt>
                <c:pt idx="122">
                  <c:v>1.0</c:v>
                </c:pt>
                <c:pt idx="123">
                  <c:v>1.0</c:v>
                </c:pt>
                <c:pt idx="124">
                  <c:v>1.0</c:v>
                </c:pt>
                <c:pt idx="125">
                  <c:v>1.0</c:v>
                </c:pt>
                <c:pt idx="126">
                  <c:v>1.0</c:v>
                </c:pt>
                <c:pt idx="127">
                  <c:v>1.0</c:v>
                </c:pt>
                <c:pt idx="128">
                  <c:v>0.98</c:v>
                </c:pt>
                <c:pt idx="129">
                  <c:v>1.0</c:v>
                </c:pt>
                <c:pt idx="130">
                  <c:v>1.0</c:v>
                </c:pt>
                <c:pt idx="131">
                  <c:v>0.97</c:v>
                </c:pt>
                <c:pt idx="132">
                  <c:v>1.0</c:v>
                </c:pt>
                <c:pt idx="133">
                  <c:v>1.0</c:v>
                </c:pt>
                <c:pt idx="134">
                  <c:v>0.99</c:v>
                </c:pt>
                <c:pt idx="135">
                  <c:v>1.0</c:v>
                </c:pt>
                <c:pt idx="136">
                  <c:v>0.98</c:v>
                </c:pt>
                <c:pt idx="137">
                  <c:v>1.0</c:v>
                </c:pt>
                <c:pt idx="138">
                  <c:v>0.99</c:v>
                </c:pt>
                <c:pt idx="139">
                  <c:v>1.0</c:v>
                </c:pt>
                <c:pt idx="140">
                  <c:v>0.98</c:v>
                </c:pt>
                <c:pt idx="141">
                  <c:v>1.0</c:v>
                </c:pt>
                <c:pt idx="142">
                  <c:v>0.99</c:v>
                </c:pt>
                <c:pt idx="143">
                  <c:v>0.98</c:v>
                </c:pt>
                <c:pt idx="144">
                  <c:v>1.0</c:v>
                </c:pt>
                <c:pt idx="145">
                  <c:v>0.98</c:v>
                </c:pt>
                <c:pt idx="146">
                  <c:v>1.0</c:v>
                </c:pt>
                <c:pt idx="147">
                  <c:v>1.0</c:v>
                </c:pt>
                <c:pt idx="148">
                  <c:v>1.0</c:v>
                </c:pt>
                <c:pt idx="149">
                  <c:v>0.92</c:v>
                </c:pt>
                <c:pt idx="150">
                  <c:v>0.94</c:v>
                </c:pt>
                <c:pt idx="151">
                  <c:v>1.0</c:v>
                </c:pt>
                <c:pt idx="152">
                  <c:v>1.0</c:v>
                </c:pt>
                <c:pt idx="153">
                  <c:v>1.0</c:v>
                </c:pt>
                <c:pt idx="154">
                  <c:v>0.98</c:v>
                </c:pt>
                <c:pt idx="155">
                  <c:v>1.0</c:v>
                </c:pt>
                <c:pt idx="156">
                  <c:v>1.0</c:v>
                </c:pt>
                <c:pt idx="157">
                  <c:v>1.0</c:v>
                </c:pt>
                <c:pt idx="158">
                  <c:v>1.0</c:v>
                </c:pt>
                <c:pt idx="159">
                  <c:v>0.99</c:v>
                </c:pt>
                <c:pt idx="160">
                  <c:v>0.85</c:v>
                </c:pt>
                <c:pt idx="161">
                  <c:v>1.0</c:v>
                </c:pt>
                <c:pt idx="162">
                  <c:v>1.0</c:v>
                </c:pt>
                <c:pt idx="163">
                  <c:v>1.0</c:v>
                </c:pt>
                <c:pt idx="164">
                  <c:v>0.55</c:v>
                </c:pt>
                <c:pt idx="165">
                  <c:v>1.0</c:v>
                </c:pt>
                <c:pt idx="166">
                  <c:v>1.0</c:v>
                </c:pt>
                <c:pt idx="167">
                  <c:v>1.0</c:v>
                </c:pt>
                <c:pt idx="168">
                  <c:v>0.99</c:v>
                </c:pt>
                <c:pt idx="169">
                  <c:v>1.0</c:v>
                </c:pt>
                <c:pt idx="170">
                  <c:v>1.0</c:v>
                </c:pt>
                <c:pt idx="171">
                  <c:v>1.0</c:v>
                </c:pt>
                <c:pt idx="172">
                  <c:v>1.0</c:v>
                </c:pt>
                <c:pt idx="173">
                  <c:v>1.0</c:v>
                </c:pt>
                <c:pt idx="174">
                  <c:v>0.99</c:v>
                </c:pt>
                <c:pt idx="175">
                  <c:v>1.0</c:v>
                </c:pt>
                <c:pt idx="176">
                  <c:v>1.0</c:v>
                </c:pt>
                <c:pt idx="177">
                  <c:v>1.0</c:v>
                </c:pt>
                <c:pt idx="178">
                  <c:v>1.0</c:v>
                </c:pt>
                <c:pt idx="179">
                  <c:v>0.94</c:v>
                </c:pt>
                <c:pt idx="180">
                  <c:v>1.0</c:v>
                </c:pt>
                <c:pt idx="181">
                  <c:v>1.0</c:v>
                </c:pt>
                <c:pt idx="182">
                  <c:v>0.98</c:v>
                </c:pt>
                <c:pt idx="183">
                  <c:v>1.0</c:v>
                </c:pt>
                <c:pt idx="184">
                  <c:v>0.96</c:v>
                </c:pt>
                <c:pt idx="185">
                  <c:v>0.99</c:v>
                </c:pt>
                <c:pt idx="186">
                  <c:v>1.0</c:v>
                </c:pt>
                <c:pt idx="187">
                  <c:v>0.97</c:v>
                </c:pt>
                <c:pt idx="188">
                  <c:v>1.0</c:v>
                </c:pt>
                <c:pt idx="189">
                  <c:v>1.0</c:v>
                </c:pt>
                <c:pt idx="190">
                  <c:v>1.0</c:v>
                </c:pt>
                <c:pt idx="191">
                  <c:v>0.99</c:v>
                </c:pt>
                <c:pt idx="192">
                  <c:v>1.0</c:v>
                </c:pt>
                <c:pt idx="193">
                  <c:v>1.0</c:v>
                </c:pt>
                <c:pt idx="194">
                  <c:v>0.98</c:v>
                </c:pt>
                <c:pt idx="195">
                  <c:v>1.0</c:v>
                </c:pt>
                <c:pt idx="196">
                  <c:v>0.96</c:v>
                </c:pt>
                <c:pt idx="197">
                  <c:v>1.0</c:v>
                </c:pt>
                <c:pt idx="198">
                  <c:v>1.0</c:v>
                </c:pt>
                <c:pt idx="199">
                  <c:v>1.0</c:v>
                </c:pt>
                <c:pt idx="200">
                  <c:v>1.0</c:v>
                </c:pt>
                <c:pt idx="201">
                  <c:v>1.0</c:v>
                </c:pt>
                <c:pt idx="202">
                  <c:v>1.0</c:v>
                </c:pt>
                <c:pt idx="203">
                  <c:v>1.0</c:v>
                </c:pt>
                <c:pt idx="204">
                  <c:v>0.94</c:v>
                </c:pt>
                <c:pt idx="205">
                  <c:v>0.96</c:v>
                </c:pt>
                <c:pt idx="206">
                  <c:v>1.0</c:v>
                </c:pt>
                <c:pt idx="207">
                  <c:v>0.96</c:v>
                </c:pt>
                <c:pt idx="208">
                  <c:v>1.0</c:v>
                </c:pt>
                <c:pt idx="209">
                  <c:v>0.96</c:v>
                </c:pt>
                <c:pt idx="210">
                  <c:v>1.0</c:v>
                </c:pt>
                <c:pt idx="211">
                  <c:v>0.97</c:v>
                </c:pt>
                <c:pt idx="212">
                  <c:v>0.98</c:v>
                </c:pt>
                <c:pt idx="213">
                  <c:v>0.91</c:v>
                </c:pt>
                <c:pt idx="214">
                  <c:v>0.9</c:v>
                </c:pt>
                <c:pt idx="215">
                  <c:v>0.94</c:v>
                </c:pt>
                <c:pt idx="216">
                  <c:v>1.0</c:v>
                </c:pt>
                <c:pt idx="217">
                  <c:v>0.85</c:v>
                </c:pt>
                <c:pt idx="218">
                  <c:v>0.97</c:v>
                </c:pt>
                <c:pt idx="219">
                  <c:v>1.0</c:v>
                </c:pt>
                <c:pt idx="220">
                  <c:v>1.0</c:v>
                </c:pt>
                <c:pt idx="221">
                  <c:v>1.0</c:v>
                </c:pt>
                <c:pt idx="222">
                  <c:v>0.94</c:v>
                </c:pt>
                <c:pt idx="223">
                  <c:v>0.98</c:v>
                </c:pt>
                <c:pt idx="224">
                  <c:v>1.0</c:v>
                </c:pt>
                <c:pt idx="225">
                  <c:v>1.0</c:v>
                </c:pt>
                <c:pt idx="226">
                  <c:v>0.95</c:v>
                </c:pt>
                <c:pt idx="227">
                  <c:v>1.0</c:v>
                </c:pt>
                <c:pt idx="228">
                  <c:v>0.99</c:v>
                </c:pt>
                <c:pt idx="229">
                  <c:v>1.0</c:v>
                </c:pt>
                <c:pt idx="230">
                  <c:v>0.98</c:v>
                </c:pt>
                <c:pt idx="231">
                  <c:v>1.0</c:v>
                </c:pt>
                <c:pt idx="232">
                  <c:v>1.0</c:v>
                </c:pt>
                <c:pt idx="233">
                  <c:v>0.99</c:v>
                </c:pt>
                <c:pt idx="234">
                  <c:v>0.99</c:v>
                </c:pt>
                <c:pt idx="235">
                  <c:v>0.99</c:v>
                </c:pt>
                <c:pt idx="236">
                  <c:v>1.0</c:v>
                </c:pt>
                <c:pt idx="237">
                  <c:v>0.99</c:v>
                </c:pt>
                <c:pt idx="238">
                  <c:v>1.0</c:v>
                </c:pt>
                <c:pt idx="239">
                  <c:v>1.0</c:v>
                </c:pt>
                <c:pt idx="240">
                  <c:v>1.0</c:v>
                </c:pt>
                <c:pt idx="241">
                  <c:v>1.0</c:v>
                </c:pt>
                <c:pt idx="242">
                  <c:v>0.99</c:v>
                </c:pt>
                <c:pt idx="243">
                  <c:v>0.95</c:v>
                </c:pt>
                <c:pt idx="244">
                  <c:v>1.0</c:v>
                </c:pt>
                <c:pt idx="245">
                  <c:v>0.91</c:v>
                </c:pt>
                <c:pt idx="246">
                  <c:v>1.0</c:v>
                </c:pt>
                <c:pt idx="247">
                  <c:v>0.92</c:v>
                </c:pt>
                <c:pt idx="248">
                  <c:v>0.98</c:v>
                </c:pt>
                <c:pt idx="249">
                  <c:v>1.0</c:v>
                </c:pt>
                <c:pt idx="250">
                  <c:v>0.96</c:v>
                </c:pt>
                <c:pt idx="251">
                  <c:v>0.97</c:v>
                </c:pt>
                <c:pt idx="252">
                  <c:v>1.0</c:v>
                </c:pt>
                <c:pt idx="253">
                  <c:v>1.0</c:v>
                </c:pt>
                <c:pt idx="254">
                  <c:v>1.0</c:v>
                </c:pt>
                <c:pt idx="255">
                  <c:v>0.99</c:v>
                </c:pt>
                <c:pt idx="256">
                  <c:v>0.95</c:v>
                </c:pt>
                <c:pt idx="257">
                  <c:v>0.99</c:v>
                </c:pt>
                <c:pt idx="258">
                  <c:v>1.0</c:v>
                </c:pt>
                <c:pt idx="259">
                  <c:v>0.98</c:v>
                </c:pt>
                <c:pt idx="260">
                  <c:v>0.91</c:v>
                </c:pt>
                <c:pt idx="261">
                  <c:v>0.97</c:v>
                </c:pt>
                <c:pt idx="262">
                  <c:v>0.99</c:v>
                </c:pt>
                <c:pt idx="263">
                  <c:v>1.0</c:v>
                </c:pt>
                <c:pt idx="264">
                  <c:v>0.92</c:v>
                </c:pt>
                <c:pt idx="265">
                  <c:v>0.97</c:v>
                </c:pt>
                <c:pt idx="266">
                  <c:v>0.98</c:v>
                </c:pt>
                <c:pt idx="267">
                  <c:v>0.93</c:v>
                </c:pt>
                <c:pt idx="268">
                  <c:v>0.97</c:v>
                </c:pt>
                <c:pt idx="269">
                  <c:v>0.95</c:v>
                </c:pt>
                <c:pt idx="270">
                  <c:v>1.0</c:v>
                </c:pt>
                <c:pt idx="271">
                  <c:v>1.0</c:v>
                </c:pt>
                <c:pt idx="272">
                  <c:v>0.99</c:v>
                </c:pt>
                <c:pt idx="273">
                  <c:v>0.83</c:v>
                </c:pt>
                <c:pt idx="274">
                  <c:v>1.0</c:v>
                </c:pt>
                <c:pt idx="275">
                  <c:v>0.63</c:v>
                </c:pt>
                <c:pt idx="276">
                  <c:v>1.0</c:v>
                </c:pt>
                <c:pt idx="277">
                  <c:v>1.0</c:v>
                </c:pt>
                <c:pt idx="278">
                  <c:v>0.99</c:v>
                </c:pt>
                <c:pt idx="279">
                  <c:v>0.95</c:v>
                </c:pt>
                <c:pt idx="280">
                  <c:v>1.0</c:v>
                </c:pt>
                <c:pt idx="281">
                  <c:v>0.99</c:v>
                </c:pt>
                <c:pt idx="282">
                  <c:v>1.0</c:v>
                </c:pt>
                <c:pt idx="283">
                  <c:v>1.0</c:v>
                </c:pt>
                <c:pt idx="284">
                  <c:v>1.0</c:v>
                </c:pt>
                <c:pt idx="285">
                  <c:v>0.9</c:v>
                </c:pt>
                <c:pt idx="286">
                  <c:v>1.0</c:v>
                </c:pt>
                <c:pt idx="287">
                  <c:v>0.95</c:v>
                </c:pt>
                <c:pt idx="288">
                  <c:v>0.98</c:v>
                </c:pt>
                <c:pt idx="289">
                  <c:v>1.0</c:v>
                </c:pt>
                <c:pt idx="290">
                  <c:v>1.0</c:v>
                </c:pt>
                <c:pt idx="291">
                  <c:v>0.93</c:v>
                </c:pt>
                <c:pt idx="292">
                  <c:v>0.97</c:v>
                </c:pt>
                <c:pt idx="293">
                  <c:v>0.99</c:v>
                </c:pt>
                <c:pt idx="294">
                  <c:v>0.89</c:v>
                </c:pt>
                <c:pt idx="295">
                  <c:v>0.98</c:v>
                </c:pt>
                <c:pt idx="296">
                  <c:v>0.99</c:v>
                </c:pt>
                <c:pt idx="297">
                  <c:v>0.95</c:v>
                </c:pt>
                <c:pt idx="298">
                  <c:v>0.88</c:v>
                </c:pt>
                <c:pt idx="299">
                  <c:v>0.64</c:v>
                </c:pt>
                <c:pt idx="300">
                  <c:v>1.0</c:v>
                </c:pt>
                <c:pt idx="301">
                  <c:v>1.0</c:v>
                </c:pt>
                <c:pt idx="302">
                  <c:v>1.0</c:v>
                </c:pt>
                <c:pt idx="303">
                  <c:v>1.0</c:v>
                </c:pt>
                <c:pt idx="304">
                  <c:v>0.99</c:v>
                </c:pt>
                <c:pt idx="305">
                  <c:v>1.0</c:v>
                </c:pt>
                <c:pt idx="306">
                  <c:v>0.58</c:v>
                </c:pt>
                <c:pt idx="307">
                  <c:v>0.95</c:v>
                </c:pt>
                <c:pt idx="308">
                  <c:v>0.97</c:v>
                </c:pt>
                <c:pt idx="309">
                  <c:v>0.99</c:v>
                </c:pt>
                <c:pt idx="310">
                  <c:v>0.99</c:v>
                </c:pt>
                <c:pt idx="311">
                  <c:v>0.99</c:v>
                </c:pt>
                <c:pt idx="312">
                  <c:v>1.0</c:v>
                </c:pt>
                <c:pt idx="313">
                  <c:v>0.94</c:v>
                </c:pt>
                <c:pt idx="314">
                  <c:v>0.98</c:v>
                </c:pt>
                <c:pt idx="315">
                  <c:v>0.99</c:v>
                </c:pt>
                <c:pt idx="316">
                  <c:v>1.0</c:v>
                </c:pt>
                <c:pt idx="317">
                  <c:v>0.99</c:v>
                </c:pt>
                <c:pt idx="318">
                  <c:v>0.97</c:v>
                </c:pt>
                <c:pt idx="319">
                  <c:v>1.0</c:v>
                </c:pt>
                <c:pt idx="320">
                  <c:v>0.98</c:v>
                </c:pt>
                <c:pt idx="321">
                  <c:v>1.0</c:v>
                </c:pt>
                <c:pt idx="322">
                  <c:v>0.99</c:v>
                </c:pt>
                <c:pt idx="323">
                  <c:v>0.9</c:v>
                </c:pt>
                <c:pt idx="324">
                  <c:v>1.0</c:v>
                </c:pt>
                <c:pt idx="325">
                  <c:v>0.96</c:v>
                </c:pt>
                <c:pt idx="326">
                  <c:v>0.97</c:v>
                </c:pt>
                <c:pt idx="327">
                  <c:v>1.0</c:v>
                </c:pt>
                <c:pt idx="328">
                  <c:v>0.97</c:v>
                </c:pt>
                <c:pt idx="329">
                  <c:v>1.0</c:v>
                </c:pt>
                <c:pt idx="330">
                  <c:v>1.0</c:v>
                </c:pt>
                <c:pt idx="331">
                  <c:v>0.88</c:v>
                </c:pt>
                <c:pt idx="332">
                  <c:v>0.97</c:v>
                </c:pt>
                <c:pt idx="333">
                  <c:v>0.89</c:v>
                </c:pt>
                <c:pt idx="334">
                  <c:v>0.96</c:v>
                </c:pt>
                <c:pt idx="335">
                  <c:v>0.93</c:v>
                </c:pt>
                <c:pt idx="336">
                  <c:v>1.0</c:v>
                </c:pt>
                <c:pt idx="337">
                  <c:v>1.0</c:v>
                </c:pt>
                <c:pt idx="338">
                  <c:v>0.97</c:v>
                </c:pt>
                <c:pt idx="339">
                  <c:v>0.99</c:v>
                </c:pt>
                <c:pt idx="340">
                  <c:v>0.98</c:v>
                </c:pt>
                <c:pt idx="341">
                  <c:v>1.0</c:v>
                </c:pt>
                <c:pt idx="342">
                  <c:v>0.92</c:v>
                </c:pt>
                <c:pt idx="343">
                  <c:v>1.0</c:v>
                </c:pt>
                <c:pt idx="344">
                  <c:v>0.89</c:v>
                </c:pt>
                <c:pt idx="345">
                  <c:v>0.95</c:v>
                </c:pt>
                <c:pt idx="346">
                  <c:v>0.81</c:v>
                </c:pt>
                <c:pt idx="347">
                  <c:v>0.97</c:v>
                </c:pt>
                <c:pt idx="348">
                  <c:v>0.87</c:v>
                </c:pt>
                <c:pt idx="349">
                  <c:v>1.0</c:v>
                </c:pt>
                <c:pt idx="350">
                  <c:v>0.99</c:v>
                </c:pt>
                <c:pt idx="351">
                  <c:v>0.99</c:v>
                </c:pt>
                <c:pt idx="352">
                  <c:v>0.96</c:v>
                </c:pt>
                <c:pt idx="353">
                  <c:v>0.95</c:v>
                </c:pt>
                <c:pt idx="354">
                  <c:v>0.93</c:v>
                </c:pt>
                <c:pt idx="355">
                  <c:v>0.99</c:v>
                </c:pt>
                <c:pt idx="356">
                  <c:v>0.97</c:v>
                </c:pt>
                <c:pt idx="357">
                  <c:v>0.97</c:v>
                </c:pt>
                <c:pt idx="358">
                  <c:v>0.89</c:v>
                </c:pt>
                <c:pt idx="359">
                  <c:v>0.98</c:v>
                </c:pt>
                <c:pt idx="360">
                  <c:v>0.34</c:v>
                </c:pt>
                <c:pt idx="361">
                  <c:v>0.98</c:v>
                </c:pt>
                <c:pt idx="362">
                  <c:v>1.0</c:v>
                </c:pt>
                <c:pt idx="363">
                  <c:v>0.99</c:v>
                </c:pt>
                <c:pt idx="364">
                  <c:v>0.96</c:v>
                </c:pt>
                <c:pt idx="365">
                  <c:v>1.0</c:v>
                </c:pt>
                <c:pt idx="366">
                  <c:v>1.0</c:v>
                </c:pt>
                <c:pt idx="367">
                  <c:v>0.95</c:v>
                </c:pt>
                <c:pt idx="368">
                  <c:v>0.89</c:v>
                </c:pt>
                <c:pt idx="369">
                  <c:v>0.97</c:v>
                </c:pt>
                <c:pt idx="370">
                  <c:v>0.9</c:v>
                </c:pt>
                <c:pt idx="371">
                  <c:v>0.97</c:v>
                </c:pt>
                <c:pt idx="372">
                  <c:v>1.0</c:v>
                </c:pt>
                <c:pt idx="373">
                  <c:v>1.0</c:v>
                </c:pt>
                <c:pt idx="374">
                  <c:v>0.94</c:v>
                </c:pt>
                <c:pt idx="375">
                  <c:v>0.89</c:v>
                </c:pt>
                <c:pt idx="376">
                  <c:v>1.0</c:v>
                </c:pt>
                <c:pt idx="377">
                  <c:v>0.99</c:v>
                </c:pt>
                <c:pt idx="378">
                  <c:v>0.97</c:v>
                </c:pt>
                <c:pt idx="379">
                  <c:v>1.0</c:v>
                </c:pt>
                <c:pt idx="380">
                  <c:v>1.0</c:v>
                </c:pt>
                <c:pt idx="381">
                  <c:v>1.0</c:v>
                </c:pt>
                <c:pt idx="382">
                  <c:v>0.95</c:v>
                </c:pt>
                <c:pt idx="383">
                  <c:v>1.0</c:v>
                </c:pt>
                <c:pt idx="384">
                  <c:v>0.96</c:v>
                </c:pt>
                <c:pt idx="385">
                  <c:v>0.96</c:v>
                </c:pt>
                <c:pt idx="386">
                  <c:v>0.98</c:v>
                </c:pt>
                <c:pt idx="387">
                  <c:v>0.93</c:v>
                </c:pt>
                <c:pt idx="388">
                  <c:v>1.0</c:v>
                </c:pt>
                <c:pt idx="389">
                  <c:v>1.0</c:v>
                </c:pt>
                <c:pt idx="390">
                  <c:v>1.0</c:v>
                </c:pt>
                <c:pt idx="391">
                  <c:v>0.99</c:v>
                </c:pt>
                <c:pt idx="392">
                  <c:v>0.99</c:v>
                </c:pt>
                <c:pt idx="393">
                  <c:v>0.9</c:v>
                </c:pt>
                <c:pt idx="394">
                  <c:v>1.0</c:v>
                </c:pt>
                <c:pt idx="395">
                  <c:v>0.98</c:v>
                </c:pt>
                <c:pt idx="396">
                  <c:v>0.95</c:v>
                </c:pt>
                <c:pt idx="397">
                  <c:v>0.81</c:v>
                </c:pt>
                <c:pt idx="398">
                  <c:v>0.99</c:v>
                </c:pt>
                <c:pt idx="399">
                  <c:v>0.95</c:v>
                </c:pt>
                <c:pt idx="400">
                  <c:v>0.95</c:v>
                </c:pt>
                <c:pt idx="401">
                  <c:v>0.99</c:v>
                </c:pt>
                <c:pt idx="402">
                  <c:v>1.0</c:v>
                </c:pt>
                <c:pt idx="403">
                  <c:v>0.96</c:v>
                </c:pt>
                <c:pt idx="404">
                  <c:v>0.94</c:v>
                </c:pt>
                <c:pt idx="405">
                  <c:v>0.92</c:v>
                </c:pt>
                <c:pt idx="406">
                  <c:v>1.0</c:v>
                </c:pt>
                <c:pt idx="407">
                  <c:v>1.0</c:v>
                </c:pt>
                <c:pt idx="408">
                  <c:v>0.94</c:v>
                </c:pt>
                <c:pt idx="409">
                  <c:v>0.52</c:v>
                </c:pt>
                <c:pt idx="410">
                  <c:v>0.93</c:v>
                </c:pt>
                <c:pt idx="411">
                  <c:v>1.0</c:v>
                </c:pt>
                <c:pt idx="412">
                  <c:v>1.0</c:v>
                </c:pt>
                <c:pt idx="413">
                  <c:v>0.98</c:v>
                </c:pt>
                <c:pt idx="414">
                  <c:v>1.0</c:v>
                </c:pt>
                <c:pt idx="415">
                  <c:v>0.92</c:v>
                </c:pt>
                <c:pt idx="416">
                  <c:v>1.0</c:v>
                </c:pt>
                <c:pt idx="417">
                  <c:v>0.86</c:v>
                </c:pt>
                <c:pt idx="418">
                  <c:v>1.0</c:v>
                </c:pt>
                <c:pt idx="419">
                  <c:v>1.0</c:v>
                </c:pt>
                <c:pt idx="420">
                  <c:v>0.99</c:v>
                </c:pt>
                <c:pt idx="421">
                  <c:v>0.92</c:v>
                </c:pt>
                <c:pt idx="422">
                  <c:v>0.99</c:v>
                </c:pt>
                <c:pt idx="423">
                  <c:v>0.85</c:v>
                </c:pt>
                <c:pt idx="424">
                  <c:v>0.96</c:v>
                </c:pt>
                <c:pt idx="425">
                  <c:v>0.99</c:v>
                </c:pt>
                <c:pt idx="426">
                  <c:v>0.97</c:v>
                </c:pt>
                <c:pt idx="427">
                  <c:v>1.0</c:v>
                </c:pt>
                <c:pt idx="428">
                  <c:v>0.99</c:v>
                </c:pt>
                <c:pt idx="429">
                  <c:v>0.95</c:v>
                </c:pt>
                <c:pt idx="430">
                  <c:v>0.92</c:v>
                </c:pt>
                <c:pt idx="431">
                  <c:v>0.9</c:v>
                </c:pt>
                <c:pt idx="432">
                  <c:v>1.0</c:v>
                </c:pt>
                <c:pt idx="433">
                  <c:v>0.88</c:v>
                </c:pt>
                <c:pt idx="434">
                  <c:v>1.0</c:v>
                </c:pt>
                <c:pt idx="435">
                  <c:v>0.98</c:v>
                </c:pt>
                <c:pt idx="436">
                  <c:v>1.0</c:v>
                </c:pt>
                <c:pt idx="437">
                  <c:v>1.0</c:v>
                </c:pt>
                <c:pt idx="438">
                  <c:v>0.96</c:v>
                </c:pt>
                <c:pt idx="439">
                  <c:v>1.0</c:v>
                </c:pt>
                <c:pt idx="440">
                  <c:v>0.99</c:v>
                </c:pt>
                <c:pt idx="441">
                  <c:v>1.0</c:v>
                </c:pt>
                <c:pt idx="442">
                  <c:v>0.99</c:v>
                </c:pt>
                <c:pt idx="443">
                  <c:v>0.84</c:v>
                </c:pt>
                <c:pt idx="444">
                  <c:v>1.0</c:v>
                </c:pt>
                <c:pt idx="445">
                  <c:v>0.9</c:v>
                </c:pt>
                <c:pt idx="446">
                  <c:v>0.93</c:v>
                </c:pt>
                <c:pt idx="447">
                  <c:v>0.97</c:v>
                </c:pt>
                <c:pt idx="448">
                  <c:v>0.6</c:v>
                </c:pt>
                <c:pt idx="449">
                  <c:v>0.99</c:v>
                </c:pt>
                <c:pt idx="450">
                  <c:v>0.99</c:v>
                </c:pt>
                <c:pt idx="451">
                  <c:v>0.9</c:v>
                </c:pt>
                <c:pt idx="452">
                  <c:v>0.99</c:v>
                </c:pt>
                <c:pt idx="453">
                  <c:v>0.9</c:v>
                </c:pt>
                <c:pt idx="454">
                  <c:v>0.92</c:v>
                </c:pt>
                <c:pt idx="455">
                  <c:v>0.82</c:v>
                </c:pt>
                <c:pt idx="456">
                  <c:v>1.0</c:v>
                </c:pt>
                <c:pt idx="457">
                  <c:v>0.87</c:v>
                </c:pt>
                <c:pt idx="458">
                  <c:v>0.7</c:v>
                </c:pt>
                <c:pt idx="459">
                  <c:v>0.91</c:v>
                </c:pt>
                <c:pt idx="460">
                  <c:v>0.85</c:v>
                </c:pt>
                <c:pt idx="461">
                  <c:v>0.9</c:v>
                </c:pt>
                <c:pt idx="462">
                  <c:v>0.89</c:v>
                </c:pt>
                <c:pt idx="463">
                  <c:v>1.0</c:v>
                </c:pt>
                <c:pt idx="464">
                  <c:v>0.87</c:v>
                </c:pt>
                <c:pt idx="465">
                  <c:v>0.9</c:v>
                </c:pt>
                <c:pt idx="466">
                  <c:v>0.98</c:v>
                </c:pt>
                <c:pt idx="467">
                  <c:v>0.99</c:v>
                </c:pt>
                <c:pt idx="468">
                  <c:v>0.05</c:v>
                </c:pt>
                <c:pt idx="469">
                  <c:v>0.95</c:v>
                </c:pt>
                <c:pt idx="470">
                  <c:v>0.79</c:v>
                </c:pt>
                <c:pt idx="471">
                  <c:v>0.54</c:v>
                </c:pt>
                <c:pt idx="472">
                  <c:v>0.81</c:v>
                </c:pt>
                <c:pt idx="473">
                  <c:v>1.0</c:v>
                </c:pt>
                <c:pt idx="474">
                  <c:v>0.93</c:v>
                </c:pt>
                <c:pt idx="475">
                  <c:v>0.94</c:v>
                </c:pt>
                <c:pt idx="476">
                  <c:v>0.69</c:v>
                </c:pt>
                <c:pt idx="477">
                  <c:v>0.88</c:v>
                </c:pt>
                <c:pt idx="478">
                  <c:v>0.99</c:v>
                </c:pt>
                <c:pt idx="479">
                  <c:v>0.74</c:v>
                </c:pt>
                <c:pt idx="480">
                  <c:v>0.97</c:v>
                </c:pt>
                <c:pt idx="481">
                  <c:v>0.9</c:v>
                </c:pt>
                <c:pt idx="482">
                  <c:v>0.93</c:v>
                </c:pt>
                <c:pt idx="483">
                  <c:v>1.0</c:v>
                </c:pt>
                <c:pt idx="484">
                  <c:v>0.96</c:v>
                </c:pt>
                <c:pt idx="485">
                  <c:v>1.0</c:v>
                </c:pt>
                <c:pt idx="486">
                  <c:v>0.84</c:v>
                </c:pt>
                <c:pt idx="487">
                  <c:v>0.98</c:v>
                </c:pt>
                <c:pt idx="488">
                  <c:v>0.93</c:v>
                </c:pt>
                <c:pt idx="489">
                  <c:v>0.95</c:v>
                </c:pt>
                <c:pt idx="490">
                  <c:v>1.0</c:v>
                </c:pt>
                <c:pt idx="491">
                  <c:v>0.93</c:v>
                </c:pt>
                <c:pt idx="492">
                  <c:v>0.58</c:v>
                </c:pt>
                <c:pt idx="493">
                  <c:v>0.97</c:v>
                </c:pt>
                <c:pt idx="494">
                  <c:v>1.0</c:v>
                </c:pt>
                <c:pt idx="495">
                  <c:v>0.97</c:v>
                </c:pt>
                <c:pt idx="496">
                  <c:v>0.97</c:v>
                </c:pt>
                <c:pt idx="497">
                  <c:v>0.88</c:v>
                </c:pt>
                <c:pt idx="498">
                  <c:v>0.87</c:v>
                </c:pt>
                <c:pt idx="499">
                  <c:v>0.95</c:v>
                </c:pt>
                <c:pt idx="500">
                  <c:v>1.0</c:v>
                </c:pt>
                <c:pt idx="501">
                  <c:v>0.94</c:v>
                </c:pt>
                <c:pt idx="502">
                  <c:v>0.99</c:v>
                </c:pt>
                <c:pt idx="503">
                  <c:v>0.97</c:v>
                </c:pt>
                <c:pt idx="504">
                  <c:v>0.97</c:v>
                </c:pt>
                <c:pt idx="505">
                  <c:v>0.88</c:v>
                </c:pt>
                <c:pt idx="506">
                  <c:v>0.98</c:v>
                </c:pt>
                <c:pt idx="507">
                  <c:v>0.77</c:v>
                </c:pt>
                <c:pt idx="508">
                  <c:v>0.98</c:v>
                </c:pt>
                <c:pt idx="509">
                  <c:v>0.74</c:v>
                </c:pt>
                <c:pt idx="510">
                  <c:v>0.97</c:v>
                </c:pt>
                <c:pt idx="511">
                  <c:v>0.98</c:v>
                </c:pt>
                <c:pt idx="512">
                  <c:v>0.82</c:v>
                </c:pt>
                <c:pt idx="513">
                  <c:v>0.87</c:v>
                </c:pt>
                <c:pt idx="514">
                  <c:v>0.97</c:v>
                </c:pt>
                <c:pt idx="515">
                  <c:v>0.98</c:v>
                </c:pt>
                <c:pt idx="516">
                  <c:v>0.55</c:v>
                </c:pt>
                <c:pt idx="517">
                  <c:v>0.89</c:v>
                </c:pt>
                <c:pt idx="518">
                  <c:v>0.98</c:v>
                </c:pt>
                <c:pt idx="519">
                  <c:v>1.0</c:v>
                </c:pt>
                <c:pt idx="520">
                  <c:v>1.0</c:v>
                </c:pt>
                <c:pt idx="521">
                  <c:v>0.67</c:v>
                </c:pt>
                <c:pt idx="522">
                  <c:v>0.99</c:v>
                </c:pt>
                <c:pt idx="523">
                  <c:v>0.99</c:v>
                </c:pt>
                <c:pt idx="524">
                  <c:v>0.98</c:v>
                </c:pt>
                <c:pt idx="525">
                  <c:v>0.73</c:v>
                </c:pt>
                <c:pt idx="526">
                  <c:v>0.92</c:v>
                </c:pt>
                <c:pt idx="527">
                  <c:v>0.94</c:v>
                </c:pt>
                <c:pt idx="528">
                  <c:v>0.83</c:v>
                </c:pt>
                <c:pt idx="529">
                  <c:v>0.97</c:v>
                </c:pt>
                <c:pt idx="530">
                  <c:v>0.73</c:v>
                </c:pt>
                <c:pt idx="531">
                  <c:v>0.95</c:v>
                </c:pt>
                <c:pt idx="532">
                  <c:v>0.94</c:v>
                </c:pt>
                <c:pt idx="533">
                  <c:v>0.93</c:v>
                </c:pt>
                <c:pt idx="534">
                  <c:v>0.93</c:v>
                </c:pt>
                <c:pt idx="535">
                  <c:v>0.95</c:v>
                </c:pt>
                <c:pt idx="536">
                  <c:v>0.95</c:v>
                </c:pt>
                <c:pt idx="537">
                  <c:v>0.88</c:v>
                </c:pt>
                <c:pt idx="538">
                  <c:v>0.36</c:v>
                </c:pt>
                <c:pt idx="539">
                  <c:v>1.0</c:v>
                </c:pt>
                <c:pt idx="540">
                  <c:v>0.75</c:v>
                </c:pt>
                <c:pt idx="541">
                  <c:v>0.33</c:v>
                </c:pt>
                <c:pt idx="542">
                  <c:v>0.97</c:v>
                </c:pt>
                <c:pt idx="543">
                  <c:v>0.99</c:v>
                </c:pt>
                <c:pt idx="544">
                  <c:v>0.16</c:v>
                </c:pt>
                <c:pt idx="545">
                  <c:v>0.94</c:v>
                </c:pt>
                <c:pt idx="546">
                  <c:v>0.99</c:v>
                </c:pt>
                <c:pt idx="547">
                  <c:v>0.51</c:v>
                </c:pt>
                <c:pt idx="548">
                  <c:v>0.52</c:v>
                </c:pt>
                <c:pt idx="549">
                  <c:v>0.96</c:v>
                </c:pt>
                <c:pt idx="550">
                  <c:v>0.85</c:v>
                </c:pt>
                <c:pt idx="551">
                  <c:v>0.93</c:v>
                </c:pt>
                <c:pt idx="552">
                  <c:v>0.79</c:v>
                </c:pt>
                <c:pt idx="553">
                  <c:v>0.81</c:v>
                </c:pt>
                <c:pt idx="554">
                  <c:v>0.79</c:v>
                </c:pt>
                <c:pt idx="555">
                  <c:v>0.99</c:v>
                </c:pt>
                <c:pt idx="556">
                  <c:v>0.57</c:v>
                </c:pt>
                <c:pt idx="557">
                  <c:v>0.89</c:v>
                </c:pt>
                <c:pt idx="558">
                  <c:v>0.63</c:v>
                </c:pt>
                <c:pt idx="559">
                  <c:v>0.93</c:v>
                </c:pt>
                <c:pt idx="560">
                  <c:v>0.99</c:v>
                </c:pt>
                <c:pt idx="561">
                  <c:v>0.85</c:v>
                </c:pt>
                <c:pt idx="562">
                  <c:v>0.49</c:v>
                </c:pt>
                <c:pt idx="563">
                  <c:v>0.91</c:v>
                </c:pt>
                <c:pt idx="564">
                  <c:v>0.97</c:v>
                </c:pt>
                <c:pt idx="565">
                  <c:v>0.7</c:v>
                </c:pt>
                <c:pt idx="566">
                  <c:v>0.93</c:v>
                </c:pt>
                <c:pt idx="567">
                  <c:v>0.92</c:v>
                </c:pt>
                <c:pt idx="568">
                  <c:v>0.99</c:v>
                </c:pt>
                <c:pt idx="569">
                  <c:v>0.83</c:v>
                </c:pt>
                <c:pt idx="570">
                  <c:v>1.0</c:v>
                </c:pt>
                <c:pt idx="571">
                  <c:v>0.91</c:v>
                </c:pt>
                <c:pt idx="572">
                  <c:v>1.0</c:v>
                </c:pt>
                <c:pt idx="573">
                  <c:v>0.62</c:v>
                </c:pt>
                <c:pt idx="574">
                  <c:v>0.71</c:v>
                </c:pt>
                <c:pt idx="575">
                  <c:v>1.0</c:v>
                </c:pt>
                <c:pt idx="576">
                  <c:v>0.87</c:v>
                </c:pt>
                <c:pt idx="577">
                  <c:v>0.97</c:v>
                </c:pt>
                <c:pt idx="578">
                  <c:v>0.95</c:v>
                </c:pt>
                <c:pt idx="579">
                  <c:v>0.92</c:v>
                </c:pt>
                <c:pt idx="580">
                  <c:v>0.96</c:v>
                </c:pt>
                <c:pt idx="581">
                  <c:v>0.96</c:v>
                </c:pt>
                <c:pt idx="582">
                  <c:v>0.95</c:v>
                </c:pt>
                <c:pt idx="583">
                  <c:v>0.88</c:v>
                </c:pt>
                <c:pt idx="584">
                  <c:v>1.0</c:v>
                </c:pt>
                <c:pt idx="585">
                  <c:v>0.77</c:v>
                </c:pt>
                <c:pt idx="586">
                  <c:v>0.93</c:v>
                </c:pt>
                <c:pt idx="587">
                  <c:v>0.93</c:v>
                </c:pt>
                <c:pt idx="588">
                  <c:v>0.88</c:v>
                </c:pt>
                <c:pt idx="589">
                  <c:v>0.86</c:v>
                </c:pt>
                <c:pt idx="590">
                  <c:v>0.95</c:v>
                </c:pt>
                <c:pt idx="591">
                  <c:v>0.96</c:v>
                </c:pt>
                <c:pt idx="592">
                  <c:v>0.56</c:v>
                </c:pt>
                <c:pt idx="593">
                  <c:v>0.96</c:v>
                </c:pt>
                <c:pt idx="594">
                  <c:v>0.86</c:v>
                </c:pt>
                <c:pt idx="595">
                  <c:v>0.4</c:v>
                </c:pt>
                <c:pt idx="596">
                  <c:v>0.97</c:v>
                </c:pt>
                <c:pt idx="597">
                  <c:v>0.77</c:v>
                </c:pt>
                <c:pt idx="598">
                  <c:v>0.97</c:v>
                </c:pt>
                <c:pt idx="599">
                  <c:v>0.85</c:v>
                </c:pt>
                <c:pt idx="600">
                  <c:v>0.92</c:v>
                </c:pt>
                <c:pt idx="601">
                  <c:v>0.96</c:v>
                </c:pt>
                <c:pt idx="602">
                  <c:v>0.96</c:v>
                </c:pt>
                <c:pt idx="603">
                  <c:v>0.88</c:v>
                </c:pt>
                <c:pt idx="604">
                  <c:v>0.84</c:v>
                </c:pt>
                <c:pt idx="605">
                  <c:v>0.96</c:v>
                </c:pt>
                <c:pt idx="606">
                  <c:v>0.63</c:v>
                </c:pt>
                <c:pt idx="607">
                  <c:v>0.88</c:v>
                </c:pt>
                <c:pt idx="608">
                  <c:v>0.85</c:v>
                </c:pt>
                <c:pt idx="609">
                  <c:v>0.91</c:v>
                </c:pt>
                <c:pt idx="610">
                  <c:v>0.99</c:v>
                </c:pt>
                <c:pt idx="611">
                  <c:v>0.73</c:v>
                </c:pt>
                <c:pt idx="612">
                  <c:v>0.97</c:v>
                </c:pt>
                <c:pt idx="613">
                  <c:v>0.86</c:v>
                </c:pt>
                <c:pt idx="614">
                  <c:v>0.22</c:v>
                </c:pt>
                <c:pt idx="615">
                  <c:v>0.75</c:v>
                </c:pt>
                <c:pt idx="616">
                  <c:v>0.95</c:v>
                </c:pt>
                <c:pt idx="617">
                  <c:v>0.83</c:v>
                </c:pt>
                <c:pt idx="618">
                  <c:v>0.87</c:v>
                </c:pt>
                <c:pt idx="619">
                  <c:v>0.99</c:v>
                </c:pt>
                <c:pt idx="620">
                  <c:v>0.78</c:v>
                </c:pt>
                <c:pt idx="621">
                  <c:v>0.79</c:v>
                </c:pt>
                <c:pt idx="622">
                  <c:v>0.97</c:v>
                </c:pt>
                <c:pt idx="623">
                  <c:v>0.92</c:v>
                </c:pt>
                <c:pt idx="624">
                  <c:v>1.0</c:v>
                </c:pt>
                <c:pt idx="625">
                  <c:v>0.96</c:v>
                </c:pt>
                <c:pt idx="626">
                  <c:v>0.79</c:v>
                </c:pt>
                <c:pt idx="627">
                  <c:v>0.58</c:v>
                </c:pt>
                <c:pt idx="628">
                  <c:v>0.94</c:v>
                </c:pt>
                <c:pt idx="629">
                  <c:v>0.67</c:v>
                </c:pt>
                <c:pt idx="630">
                  <c:v>0.71</c:v>
                </c:pt>
                <c:pt idx="631">
                  <c:v>0.9</c:v>
                </c:pt>
                <c:pt idx="632">
                  <c:v>0.73</c:v>
                </c:pt>
                <c:pt idx="633">
                  <c:v>0.81</c:v>
                </c:pt>
                <c:pt idx="634">
                  <c:v>0.99</c:v>
                </c:pt>
                <c:pt idx="635">
                  <c:v>0.75</c:v>
                </c:pt>
                <c:pt idx="636">
                  <c:v>0.63</c:v>
                </c:pt>
                <c:pt idx="637">
                  <c:v>0.95</c:v>
                </c:pt>
                <c:pt idx="638">
                  <c:v>0.66</c:v>
                </c:pt>
                <c:pt idx="639">
                  <c:v>0.83</c:v>
                </c:pt>
                <c:pt idx="640">
                  <c:v>0.87</c:v>
                </c:pt>
                <c:pt idx="641">
                  <c:v>0.84</c:v>
                </c:pt>
                <c:pt idx="642">
                  <c:v>0.94</c:v>
                </c:pt>
                <c:pt idx="643">
                  <c:v>0.87</c:v>
                </c:pt>
                <c:pt idx="644">
                  <c:v>0.95</c:v>
                </c:pt>
                <c:pt idx="645">
                  <c:v>0.94</c:v>
                </c:pt>
                <c:pt idx="646">
                  <c:v>0.89</c:v>
                </c:pt>
                <c:pt idx="647">
                  <c:v>0.93</c:v>
                </c:pt>
                <c:pt idx="648">
                  <c:v>0.69</c:v>
                </c:pt>
                <c:pt idx="649">
                  <c:v>0.99</c:v>
                </c:pt>
                <c:pt idx="650">
                  <c:v>0.86</c:v>
                </c:pt>
                <c:pt idx="651">
                  <c:v>0.34</c:v>
                </c:pt>
                <c:pt idx="652">
                  <c:v>0.48</c:v>
                </c:pt>
                <c:pt idx="653">
                  <c:v>0.96</c:v>
                </c:pt>
                <c:pt idx="654">
                  <c:v>0.89</c:v>
                </c:pt>
                <c:pt idx="655">
                  <c:v>0.36</c:v>
                </c:pt>
                <c:pt idx="656">
                  <c:v>0.53</c:v>
                </c:pt>
                <c:pt idx="657">
                  <c:v>0.91</c:v>
                </c:pt>
                <c:pt idx="658">
                  <c:v>0.93</c:v>
                </c:pt>
                <c:pt idx="659">
                  <c:v>0.06</c:v>
                </c:pt>
                <c:pt idx="660">
                  <c:v>0.82</c:v>
                </c:pt>
                <c:pt idx="661">
                  <c:v>0.89</c:v>
                </c:pt>
                <c:pt idx="662">
                  <c:v>0.58</c:v>
                </c:pt>
                <c:pt idx="663">
                  <c:v>0.88</c:v>
                </c:pt>
                <c:pt idx="664">
                  <c:v>0.83</c:v>
                </c:pt>
                <c:pt idx="665">
                  <c:v>0.92</c:v>
                </c:pt>
                <c:pt idx="666">
                  <c:v>0.89</c:v>
                </c:pt>
                <c:pt idx="667">
                  <c:v>0.65</c:v>
                </c:pt>
                <c:pt idx="668">
                  <c:v>0.77</c:v>
                </c:pt>
                <c:pt idx="669">
                  <c:v>0.57</c:v>
                </c:pt>
                <c:pt idx="670">
                  <c:v>0.71</c:v>
                </c:pt>
                <c:pt idx="671">
                  <c:v>0.81</c:v>
                </c:pt>
                <c:pt idx="672">
                  <c:v>0.23</c:v>
                </c:pt>
                <c:pt idx="673">
                  <c:v>0.87</c:v>
                </c:pt>
                <c:pt idx="674">
                  <c:v>0.83</c:v>
                </c:pt>
                <c:pt idx="675">
                  <c:v>0.79</c:v>
                </c:pt>
                <c:pt idx="676">
                  <c:v>0.87</c:v>
                </c:pt>
                <c:pt idx="677">
                  <c:v>0.94</c:v>
                </c:pt>
                <c:pt idx="678">
                  <c:v>0.55</c:v>
                </c:pt>
                <c:pt idx="679">
                  <c:v>0.82</c:v>
                </c:pt>
                <c:pt idx="680">
                  <c:v>0.45</c:v>
                </c:pt>
                <c:pt idx="681">
                  <c:v>0.59</c:v>
                </c:pt>
                <c:pt idx="682">
                  <c:v>0.94</c:v>
                </c:pt>
                <c:pt idx="683">
                  <c:v>0.73</c:v>
                </c:pt>
                <c:pt idx="684">
                  <c:v>0.78</c:v>
                </c:pt>
                <c:pt idx="685">
                  <c:v>0.84</c:v>
                </c:pt>
                <c:pt idx="686">
                  <c:v>0.95</c:v>
                </c:pt>
                <c:pt idx="687">
                  <c:v>0.84</c:v>
                </c:pt>
                <c:pt idx="688">
                  <c:v>0.95</c:v>
                </c:pt>
                <c:pt idx="689">
                  <c:v>0.99</c:v>
                </c:pt>
                <c:pt idx="690">
                  <c:v>0.99</c:v>
                </c:pt>
                <c:pt idx="691">
                  <c:v>0.97</c:v>
                </c:pt>
                <c:pt idx="692">
                  <c:v>0.76</c:v>
                </c:pt>
                <c:pt idx="693">
                  <c:v>0.96</c:v>
                </c:pt>
                <c:pt idx="694">
                  <c:v>0.95</c:v>
                </c:pt>
                <c:pt idx="695">
                  <c:v>0.88</c:v>
                </c:pt>
                <c:pt idx="696">
                  <c:v>0.93</c:v>
                </c:pt>
                <c:pt idx="697">
                  <c:v>0.89</c:v>
                </c:pt>
                <c:pt idx="698">
                  <c:v>0.93</c:v>
                </c:pt>
                <c:pt idx="699">
                  <c:v>0.81</c:v>
                </c:pt>
                <c:pt idx="700">
                  <c:v>0.94</c:v>
                </c:pt>
                <c:pt idx="701">
                  <c:v>0.88</c:v>
                </c:pt>
                <c:pt idx="702">
                  <c:v>0.18</c:v>
                </c:pt>
                <c:pt idx="703">
                  <c:v>0.91</c:v>
                </c:pt>
                <c:pt idx="704">
                  <c:v>0.97</c:v>
                </c:pt>
                <c:pt idx="705">
                  <c:v>0.91</c:v>
                </c:pt>
                <c:pt idx="706">
                  <c:v>0.61</c:v>
                </c:pt>
                <c:pt idx="707">
                  <c:v>0.95</c:v>
                </c:pt>
                <c:pt idx="708">
                  <c:v>0.94</c:v>
                </c:pt>
                <c:pt idx="709">
                  <c:v>0.9</c:v>
                </c:pt>
                <c:pt idx="710">
                  <c:v>0.84</c:v>
                </c:pt>
                <c:pt idx="711">
                  <c:v>0.94</c:v>
                </c:pt>
                <c:pt idx="712">
                  <c:v>0.88</c:v>
                </c:pt>
                <c:pt idx="713">
                  <c:v>0.96</c:v>
                </c:pt>
                <c:pt idx="714">
                  <c:v>0.75</c:v>
                </c:pt>
                <c:pt idx="715">
                  <c:v>0.76</c:v>
                </c:pt>
                <c:pt idx="716">
                  <c:v>0.93</c:v>
                </c:pt>
                <c:pt idx="717">
                  <c:v>0.76</c:v>
                </c:pt>
                <c:pt idx="718">
                  <c:v>0.86</c:v>
                </c:pt>
                <c:pt idx="719">
                  <c:v>0.39</c:v>
                </c:pt>
                <c:pt idx="720">
                  <c:v>0.82</c:v>
                </c:pt>
                <c:pt idx="721">
                  <c:v>0.7</c:v>
                </c:pt>
                <c:pt idx="722">
                  <c:v>0.76</c:v>
                </c:pt>
                <c:pt idx="723">
                  <c:v>0.74</c:v>
                </c:pt>
                <c:pt idx="724">
                  <c:v>0.93</c:v>
                </c:pt>
                <c:pt idx="725">
                  <c:v>0.1</c:v>
                </c:pt>
                <c:pt idx="726">
                  <c:v>0.78</c:v>
                </c:pt>
                <c:pt idx="727">
                  <c:v>0.97</c:v>
                </c:pt>
                <c:pt idx="728">
                  <c:v>0.81</c:v>
                </c:pt>
                <c:pt idx="729">
                  <c:v>0.97</c:v>
                </c:pt>
                <c:pt idx="730">
                  <c:v>0.98</c:v>
                </c:pt>
                <c:pt idx="731">
                  <c:v>0.6</c:v>
                </c:pt>
                <c:pt idx="732">
                  <c:v>0.94</c:v>
                </c:pt>
                <c:pt idx="733">
                  <c:v>0.86</c:v>
                </c:pt>
                <c:pt idx="734">
                  <c:v>0.86</c:v>
                </c:pt>
                <c:pt idx="735">
                  <c:v>0.87</c:v>
                </c:pt>
                <c:pt idx="736">
                  <c:v>0.9</c:v>
                </c:pt>
                <c:pt idx="737">
                  <c:v>0.47</c:v>
                </c:pt>
                <c:pt idx="738">
                  <c:v>0.93</c:v>
                </c:pt>
                <c:pt idx="739">
                  <c:v>0.78</c:v>
                </c:pt>
                <c:pt idx="740">
                  <c:v>0.9</c:v>
                </c:pt>
                <c:pt idx="741">
                  <c:v>0.89</c:v>
                </c:pt>
                <c:pt idx="742">
                  <c:v>0.78</c:v>
                </c:pt>
                <c:pt idx="743">
                  <c:v>0.99</c:v>
                </c:pt>
                <c:pt idx="744">
                  <c:v>0.33</c:v>
                </c:pt>
                <c:pt idx="745">
                  <c:v>0.99</c:v>
                </c:pt>
                <c:pt idx="746">
                  <c:v>0.28</c:v>
                </c:pt>
                <c:pt idx="747">
                  <c:v>0.99</c:v>
                </c:pt>
                <c:pt idx="748">
                  <c:v>0.76</c:v>
                </c:pt>
                <c:pt idx="749">
                  <c:v>0.73</c:v>
                </c:pt>
                <c:pt idx="750">
                  <c:v>0.07</c:v>
                </c:pt>
                <c:pt idx="751">
                  <c:v>0.39</c:v>
                </c:pt>
                <c:pt idx="752">
                  <c:v>0.15</c:v>
                </c:pt>
                <c:pt idx="753">
                  <c:v>0.76</c:v>
                </c:pt>
                <c:pt idx="754">
                  <c:v>0.74</c:v>
                </c:pt>
                <c:pt idx="755">
                  <c:v>0.36</c:v>
                </c:pt>
                <c:pt idx="756">
                  <c:v>0.84</c:v>
                </c:pt>
                <c:pt idx="757">
                  <c:v>0.94</c:v>
                </c:pt>
                <c:pt idx="758">
                  <c:v>0.96</c:v>
                </c:pt>
                <c:pt idx="759">
                  <c:v>0.74</c:v>
                </c:pt>
                <c:pt idx="760">
                  <c:v>0.82</c:v>
                </c:pt>
                <c:pt idx="761">
                  <c:v>0.64</c:v>
                </c:pt>
                <c:pt idx="762">
                  <c:v>0.88</c:v>
                </c:pt>
                <c:pt idx="763">
                  <c:v>0.16</c:v>
                </c:pt>
                <c:pt idx="764">
                  <c:v>0.96</c:v>
                </c:pt>
                <c:pt idx="765">
                  <c:v>0.96</c:v>
                </c:pt>
                <c:pt idx="766">
                  <c:v>0.79</c:v>
                </c:pt>
                <c:pt idx="767">
                  <c:v>0.91</c:v>
                </c:pt>
                <c:pt idx="768">
                  <c:v>0.94</c:v>
                </c:pt>
                <c:pt idx="769">
                  <c:v>0.59</c:v>
                </c:pt>
                <c:pt idx="770">
                  <c:v>0.3</c:v>
                </c:pt>
                <c:pt idx="771">
                  <c:v>0.58</c:v>
                </c:pt>
                <c:pt idx="772">
                  <c:v>0.59</c:v>
                </c:pt>
                <c:pt idx="773">
                  <c:v>1.0</c:v>
                </c:pt>
                <c:pt idx="774">
                  <c:v>0.27</c:v>
                </c:pt>
                <c:pt idx="775">
                  <c:v>0.73</c:v>
                </c:pt>
                <c:pt idx="776">
                  <c:v>0.61</c:v>
                </c:pt>
                <c:pt idx="777">
                  <c:v>0.15</c:v>
                </c:pt>
                <c:pt idx="778">
                  <c:v>0.53</c:v>
                </c:pt>
                <c:pt idx="779">
                  <c:v>0.17</c:v>
                </c:pt>
                <c:pt idx="780">
                  <c:v>0.88</c:v>
                </c:pt>
                <c:pt idx="781">
                  <c:v>0.93</c:v>
                </c:pt>
                <c:pt idx="782">
                  <c:v>0.49</c:v>
                </c:pt>
                <c:pt idx="783">
                  <c:v>0.78</c:v>
                </c:pt>
                <c:pt idx="784">
                  <c:v>0.82</c:v>
                </c:pt>
                <c:pt idx="785">
                  <c:v>0.93</c:v>
                </c:pt>
                <c:pt idx="786">
                  <c:v>0.55</c:v>
                </c:pt>
                <c:pt idx="787">
                  <c:v>0.92</c:v>
                </c:pt>
                <c:pt idx="788">
                  <c:v>0.8</c:v>
                </c:pt>
                <c:pt idx="789">
                  <c:v>0.7</c:v>
                </c:pt>
                <c:pt idx="790">
                  <c:v>0.58</c:v>
                </c:pt>
                <c:pt idx="791">
                  <c:v>0.89</c:v>
                </c:pt>
                <c:pt idx="792">
                  <c:v>0.69</c:v>
                </c:pt>
                <c:pt idx="793">
                  <c:v>0.96</c:v>
                </c:pt>
                <c:pt idx="794">
                  <c:v>0.69</c:v>
                </c:pt>
                <c:pt idx="795">
                  <c:v>0.77</c:v>
                </c:pt>
                <c:pt idx="796">
                  <c:v>0.79</c:v>
                </c:pt>
                <c:pt idx="797">
                  <c:v>0.8</c:v>
                </c:pt>
                <c:pt idx="798">
                  <c:v>0.47</c:v>
                </c:pt>
                <c:pt idx="799">
                  <c:v>0.19</c:v>
                </c:pt>
                <c:pt idx="800">
                  <c:v>0.7</c:v>
                </c:pt>
                <c:pt idx="801">
                  <c:v>0.85</c:v>
                </c:pt>
                <c:pt idx="802">
                  <c:v>0.78</c:v>
                </c:pt>
                <c:pt idx="803">
                  <c:v>0.82</c:v>
                </c:pt>
                <c:pt idx="804">
                  <c:v>0.71</c:v>
                </c:pt>
                <c:pt idx="805">
                  <c:v>0.65</c:v>
                </c:pt>
                <c:pt idx="806">
                  <c:v>0.8</c:v>
                </c:pt>
                <c:pt idx="807">
                  <c:v>0.82</c:v>
                </c:pt>
                <c:pt idx="808">
                  <c:v>0.73</c:v>
                </c:pt>
                <c:pt idx="809">
                  <c:v>0.22</c:v>
                </c:pt>
                <c:pt idx="810">
                  <c:v>0.9</c:v>
                </c:pt>
                <c:pt idx="811">
                  <c:v>0.83</c:v>
                </c:pt>
                <c:pt idx="812">
                  <c:v>0.12</c:v>
                </c:pt>
                <c:pt idx="813">
                  <c:v>0.73</c:v>
                </c:pt>
                <c:pt idx="814">
                  <c:v>0.95</c:v>
                </c:pt>
                <c:pt idx="815">
                  <c:v>0.33</c:v>
                </c:pt>
                <c:pt idx="816">
                  <c:v>0.67</c:v>
                </c:pt>
                <c:pt idx="817">
                  <c:v>0.84</c:v>
                </c:pt>
                <c:pt idx="818">
                  <c:v>0.1</c:v>
                </c:pt>
                <c:pt idx="819">
                  <c:v>0.06</c:v>
                </c:pt>
                <c:pt idx="820">
                  <c:v>0.16</c:v>
                </c:pt>
                <c:pt idx="821">
                  <c:v>0.11</c:v>
                </c:pt>
                <c:pt idx="822">
                  <c:v>0.43</c:v>
                </c:pt>
                <c:pt idx="823">
                  <c:v>0.86</c:v>
                </c:pt>
                <c:pt idx="824">
                  <c:v>0.82</c:v>
                </c:pt>
                <c:pt idx="825">
                  <c:v>0.8</c:v>
                </c:pt>
                <c:pt idx="826">
                  <c:v>0.79</c:v>
                </c:pt>
                <c:pt idx="827">
                  <c:v>0.62</c:v>
                </c:pt>
                <c:pt idx="828">
                  <c:v>0.81</c:v>
                </c:pt>
                <c:pt idx="829">
                  <c:v>0.99</c:v>
                </c:pt>
                <c:pt idx="830">
                  <c:v>0.87</c:v>
                </c:pt>
                <c:pt idx="831">
                  <c:v>0.92</c:v>
                </c:pt>
                <c:pt idx="832">
                  <c:v>0.36</c:v>
                </c:pt>
                <c:pt idx="833">
                  <c:v>0.15</c:v>
                </c:pt>
                <c:pt idx="834">
                  <c:v>0.51</c:v>
                </c:pt>
                <c:pt idx="835">
                  <c:v>0.25</c:v>
                </c:pt>
                <c:pt idx="836">
                  <c:v>0.2</c:v>
                </c:pt>
                <c:pt idx="837">
                  <c:v>0.35</c:v>
                </c:pt>
                <c:pt idx="838">
                  <c:v>0.72</c:v>
                </c:pt>
                <c:pt idx="839">
                  <c:v>0.86</c:v>
                </c:pt>
                <c:pt idx="840">
                  <c:v>0.99</c:v>
                </c:pt>
                <c:pt idx="841">
                  <c:v>0.88</c:v>
                </c:pt>
                <c:pt idx="842">
                  <c:v>0.56</c:v>
                </c:pt>
                <c:pt idx="843">
                  <c:v>0.93</c:v>
                </c:pt>
                <c:pt idx="844">
                  <c:v>0.86</c:v>
                </c:pt>
                <c:pt idx="845">
                  <c:v>0.44</c:v>
                </c:pt>
                <c:pt idx="846">
                  <c:v>0.63</c:v>
                </c:pt>
                <c:pt idx="847">
                  <c:v>0.91</c:v>
                </c:pt>
                <c:pt idx="848">
                  <c:v>0.89</c:v>
                </c:pt>
                <c:pt idx="849">
                  <c:v>0.16</c:v>
                </c:pt>
                <c:pt idx="850">
                  <c:v>0.89</c:v>
                </c:pt>
                <c:pt idx="851">
                  <c:v>0.13</c:v>
                </c:pt>
                <c:pt idx="852">
                  <c:v>0.41</c:v>
                </c:pt>
                <c:pt idx="853">
                  <c:v>0.77</c:v>
                </c:pt>
                <c:pt idx="854">
                  <c:v>0.77</c:v>
                </c:pt>
                <c:pt idx="855">
                  <c:v>0.92</c:v>
                </c:pt>
                <c:pt idx="856">
                  <c:v>0.78</c:v>
                </c:pt>
                <c:pt idx="857">
                  <c:v>0.83</c:v>
                </c:pt>
                <c:pt idx="858">
                  <c:v>0.82</c:v>
                </c:pt>
                <c:pt idx="859">
                  <c:v>0.96</c:v>
                </c:pt>
                <c:pt idx="860">
                  <c:v>0.31</c:v>
                </c:pt>
                <c:pt idx="861">
                  <c:v>0.82</c:v>
                </c:pt>
                <c:pt idx="862">
                  <c:v>0.8</c:v>
                </c:pt>
                <c:pt idx="863">
                  <c:v>0.67</c:v>
                </c:pt>
                <c:pt idx="864">
                  <c:v>0.34</c:v>
                </c:pt>
                <c:pt idx="865">
                  <c:v>0.93</c:v>
                </c:pt>
                <c:pt idx="866">
                  <c:v>0.62</c:v>
                </c:pt>
                <c:pt idx="867">
                  <c:v>0.69</c:v>
                </c:pt>
                <c:pt idx="868">
                  <c:v>0.72</c:v>
                </c:pt>
                <c:pt idx="869">
                  <c:v>0.32</c:v>
                </c:pt>
                <c:pt idx="870">
                  <c:v>0.81</c:v>
                </c:pt>
                <c:pt idx="871">
                  <c:v>0.89</c:v>
                </c:pt>
                <c:pt idx="872">
                  <c:v>0.66</c:v>
                </c:pt>
                <c:pt idx="873">
                  <c:v>0.41</c:v>
                </c:pt>
                <c:pt idx="874">
                  <c:v>0.87</c:v>
                </c:pt>
                <c:pt idx="875">
                  <c:v>0.14</c:v>
                </c:pt>
                <c:pt idx="876">
                  <c:v>0.96</c:v>
                </c:pt>
                <c:pt idx="877">
                  <c:v>0.79</c:v>
                </c:pt>
                <c:pt idx="878">
                  <c:v>0.71</c:v>
                </c:pt>
                <c:pt idx="879">
                  <c:v>0.55</c:v>
                </c:pt>
                <c:pt idx="880">
                  <c:v>0.86</c:v>
                </c:pt>
                <c:pt idx="881">
                  <c:v>0.01</c:v>
                </c:pt>
                <c:pt idx="882">
                  <c:v>0.57</c:v>
                </c:pt>
                <c:pt idx="883">
                  <c:v>0.75</c:v>
                </c:pt>
                <c:pt idx="884">
                  <c:v>0.01</c:v>
                </c:pt>
                <c:pt idx="885">
                  <c:v>0.71</c:v>
                </c:pt>
                <c:pt idx="886">
                  <c:v>0.74</c:v>
                </c:pt>
                <c:pt idx="887">
                  <c:v>0.71</c:v>
                </c:pt>
                <c:pt idx="888">
                  <c:v>0.25</c:v>
                </c:pt>
                <c:pt idx="889">
                  <c:v>0.09</c:v>
                </c:pt>
                <c:pt idx="890">
                  <c:v>0.73</c:v>
                </c:pt>
                <c:pt idx="891">
                  <c:v>0.8</c:v>
                </c:pt>
                <c:pt idx="892">
                  <c:v>0.64</c:v>
                </c:pt>
                <c:pt idx="893">
                  <c:v>0.64</c:v>
                </c:pt>
                <c:pt idx="894">
                  <c:v>0.72</c:v>
                </c:pt>
                <c:pt idx="895">
                  <c:v>0.59</c:v>
                </c:pt>
                <c:pt idx="896">
                  <c:v>0.33</c:v>
                </c:pt>
                <c:pt idx="897">
                  <c:v>0.41</c:v>
                </c:pt>
                <c:pt idx="898">
                  <c:v>0.77</c:v>
                </c:pt>
                <c:pt idx="899">
                  <c:v>0.51</c:v>
                </c:pt>
                <c:pt idx="900">
                  <c:v>0.76</c:v>
                </c:pt>
                <c:pt idx="901">
                  <c:v>0.93</c:v>
                </c:pt>
                <c:pt idx="902">
                  <c:v>0.14</c:v>
                </c:pt>
                <c:pt idx="903">
                  <c:v>0.85</c:v>
                </c:pt>
                <c:pt idx="904">
                  <c:v>0.26</c:v>
                </c:pt>
                <c:pt idx="905">
                  <c:v>0.67</c:v>
                </c:pt>
                <c:pt idx="906">
                  <c:v>0.15</c:v>
                </c:pt>
                <c:pt idx="907">
                  <c:v>0.53</c:v>
                </c:pt>
                <c:pt idx="908">
                  <c:v>0.91</c:v>
                </c:pt>
                <c:pt idx="909">
                  <c:v>0.16</c:v>
                </c:pt>
                <c:pt idx="910">
                  <c:v>0.68</c:v>
                </c:pt>
                <c:pt idx="911">
                  <c:v>0.16</c:v>
                </c:pt>
                <c:pt idx="912">
                  <c:v>0.84</c:v>
                </c:pt>
                <c:pt idx="913">
                  <c:v>0.8</c:v>
                </c:pt>
                <c:pt idx="914">
                  <c:v>0.79</c:v>
                </c:pt>
                <c:pt idx="915">
                  <c:v>0.4</c:v>
                </c:pt>
                <c:pt idx="916">
                  <c:v>0.54</c:v>
                </c:pt>
                <c:pt idx="917">
                  <c:v>0.42</c:v>
                </c:pt>
                <c:pt idx="918">
                  <c:v>0.88</c:v>
                </c:pt>
                <c:pt idx="919">
                  <c:v>0.55</c:v>
                </c:pt>
                <c:pt idx="920">
                  <c:v>0.08</c:v>
                </c:pt>
                <c:pt idx="921">
                  <c:v>0.9</c:v>
                </c:pt>
                <c:pt idx="922">
                  <c:v>0.71</c:v>
                </c:pt>
                <c:pt idx="923">
                  <c:v>0.7</c:v>
                </c:pt>
                <c:pt idx="924">
                  <c:v>0.68</c:v>
                </c:pt>
                <c:pt idx="925">
                  <c:v>0.3</c:v>
                </c:pt>
                <c:pt idx="926">
                  <c:v>0.03</c:v>
                </c:pt>
                <c:pt idx="927">
                  <c:v>0.42</c:v>
                </c:pt>
                <c:pt idx="928">
                  <c:v>0.9</c:v>
                </c:pt>
                <c:pt idx="929">
                  <c:v>0.45</c:v>
                </c:pt>
                <c:pt idx="930">
                  <c:v>0.94</c:v>
                </c:pt>
                <c:pt idx="931">
                  <c:v>0.86</c:v>
                </c:pt>
                <c:pt idx="932">
                  <c:v>0.6</c:v>
                </c:pt>
                <c:pt idx="933">
                  <c:v>0.89</c:v>
                </c:pt>
                <c:pt idx="934">
                  <c:v>0.38</c:v>
                </c:pt>
                <c:pt idx="935">
                  <c:v>0.85</c:v>
                </c:pt>
                <c:pt idx="936">
                  <c:v>0.3</c:v>
                </c:pt>
                <c:pt idx="937">
                  <c:v>0.88</c:v>
                </c:pt>
                <c:pt idx="938">
                  <c:v>0.64</c:v>
                </c:pt>
                <c:pt idx="939">
                  <c:v>0.3</c:v>
                </c:pt>
                <c:pt idx="940">
                  <c:v>0.84</c:v>
                </c:pt>
                <c:pt idx="941">
                  <c:v>0.74</c:v>
                </c:pt>
                <c:pt idx="942">
                  <c:v>0.18</c:v>
                </c:pt>
                <c:pt idx="943">
                  <c:v>0.36</c:v>
                </c:pt>
                <c:pt idx="944">
                  <c:v>0.22</c:v>
                </c:pt>
                <c:pt idx="945">
                  <c:v>0.54</c:v>
                </c:pt>
                <c:pt idx="946">
                  <c:v>0.22</c:v>
                </c:pt>
                <c:pt idx="947">
                  <c:v>0.16</c:v>
                </c:pt>
                <c:pt idx="948">
                  <c:v>0.93</c:v>
                </c:pt>
                <c:pt idx="949">
                  <c:v>0.53</c:v>
                </c:pt>
                <c:pt idx="950">
                  <c:v>0.11</c:v>
                </c:pt>
                <c:pt idx="951">
                  <c:v>0.61</c:v>
                </c:pt>
                <c:pt idx="952">
                  <c:v>0.14</c:v>
                </c:pt>
                <c:pt idx="953">
                  <c:v>0.31</c:v>
                </c:pt>
                <c:pt idx="954">
                  <c:v>0.21</c:v>
                </c:pt>
                <c:pt idx="955">
                  <c:v>0.06</c:v>
                </c:pt>
                <c:pt idx="956">
                  <c:v>0.67</c:v>
                </c:pt>
                <c:pt idx="957">
                  <c:v>0.85</c:v>
                </c:pt>
                <c:pt idx="958">
                  <c:v>0.74</c:v>
                </c:pt>
                <c:pt idx="959">
                  <c:v>0.62</c:v>
                </c:pt>
                <c:pt idx="960">
                  <c:v>0.7</c:v>
                </c:pt>
                <c:pt idx="961">
                  <c:v>0.33</c:v>
                </c:pt>
                <c:pt idx="962">
                  <c:v>0.64</c:v>
                </c:pt>
                <c:pt idx="963">
                  <c:v>0.14</c:v>
                </c:pt>
                <c:pt idx="964">
                  <c:v>0.42</c:v>
                </c:pt>
                <c:pt idx="965">
                  <c:v>0.72</c:v>
                </c:pt>
                <c:pt idx="966">
                  <c:v>0.62</c:v>
                </c:pt>
                <c:pt idx="967">
                  <c:v>0.7</c:v>
                </c:pt>
                <c:pt idx="968">
                  <c:v>0.59</c:v>
                </c:pt>
                <c:pt idx="969">
                  <c:v>0.6</c:v>
                </c:pt>
                <c:pt idx="970">
                  <c:v>0.27</c:v>
                </c:pt>
                <c:pt idx="971">
                  <c:v>0.41</c:v>
                </c:pt>
                <c:pt idx="972">
                  <c:v>0.14</c:v>
                </c:pt>
                <c:pt idx="973">
                  <c:v>0.01</c:v>
                </c:pt>
                <c:pt idx="974">
                  <c:v>0.23</c:v>
                </c:pt>
                <c:pt idx="975">
                  <c:v>0.19</c:v>
                </c:pt>
                <c:pt idx="976">
                  <c:v>0.05</c:v>
                </c:pt>
                <c:pt idx="977">
                  <c:v>0.21</c:v>
                </c:pt>
                <c:pt idx="978">
                  <c:v>0.22</c:v>
                </c:pt>
                <c:pt idx="979">
                  <c:v>0.7</c:v>
                </c:pt>
                <c:pt idx="980">
                  <c:v>0.09</c:v>
                </c:pt>
                <c:pt idx="981">
                  <c:v>0.45</c:v>
                </c:pt>
                <c:pt idx="982">
                  <c:v>0.15</c:v>
                </c:pt>
                <c:pt idx="983">
                  <c:v>0.3</c:v>
                </c:pt>
                <c:pt idx="984">
                  <c:v>0.52</c:v>
                </c:pt>
                <c:pt idx="985">
                  <c:v>0.18</c:v>
                </c:pt>
                <c:pt idx="986">
                  <c:v>0.25</c:v>
                </c:pt>
                <c:pt idx="987">
                  <c:v>0.41</c:v>
                </c:pt>
                <c:pt idx="988">
                  <c:v>0.08</c:v>
                </c:pt>
                <c:pt idx="989">
                  <c:v>0.77</c:v>
                </c:pt>
                <c:pt idx="990">
                  <c:v>0.25</c:v>
                </c:pt>
                <c:pt idx="991">
                  <c:v>0.36</c:v>
                </c:pt>
                <c:pt idx="992">
                  <c:v>0.16</c:v>
                </c:pt>
                <c:pt idx="993">
                  <c:v>0.15</c:v>
                </c:pt>
                <c:pt idx="994">
                  <c:v>0.64</c:v>
                </c:pt>
                <c:pt idx="995">
                  <c:v>0.95</c:v>
                </c:pt>
                <c:pt idx="996">
                  <c:v>0.78</c:v>
                </c:pt>
                <c:pt idx="997">
                  <c:v>0.66</c:v>
                </c:pt>
                <c:pt idx="998">
                  <c:v>0.33</c:v>
                </c:pt>
                <c:pt idx="999">
                  <c:v>0.09</c:v>
                </c:pt>
                <c:pt idx="1000">
                  <c:v>0.15</c:v>
                </c:pt>
                <c:pt idx="1001">
                  <c:v>0.43</c:v>
                </c:pt>
                <c:pt idx="1002">
                  <c:v>0.7</c:v>
                </c:pt>
                <c:pt idx="1003">
                  <c:v>0.54</c:v>
                </c:pt>
                <c:pt idx="1004">
                  <c:v>0.56</c:v>
                </c:pt>
                <c:pt idx="1005">
                  <c:v>0.45</c:v>
                </c:pt>
                <c:pt idx="1006">
                  <c:v>0.86</c:v>
                </c:pt>
                <c:pt idx="1007">
                  <c:v>0.61</c:v>
                </c:pt>
                <c:pt idx="1008">
                  <c:v>0.09</c:v>
                </c:pt>
                <c:pt idx="1009">
                  <c:v>0.59</c:v>
                </c:pt>
                <c:pt idx="1010">
                  <c:v>0.92</c:v>
                </c:pt>
                <c:pt idx="1011">
                  <c:v>0.16</c:v>
                </c:pt>
                <c:pt idx="1012">
                  <c:v>0.15</c:v>
                </c:pt>
                <c:pt idx="1013">
                  <c:v>0.76</c:v>
                </c:pt>
                <c:pt idx="1014">
                  <c:v>0.45</c:v>
                </c:pt>
                <c:pt idx="1015">
                  <c:v>0.72</c:v>
                </c:pt>
                <c:pt idx="1016">
                  <c:v>0.09</c:v>
                </c:pt>
                <c:pt idx="1017">
                  <c:v>0.69</c:v>
                </c:pt>
                <c:pt idx="1018">
                  <c:v>0.21</c:v>
                </c:pt>
                <c:pt idx="1019">
                  <c:v>0.62</c:v>
                </c:pt>
                <c:pt idx="1020">
                  <c:v>0.44</c:v>
                </c:pt>
                <c:pt idx="1021">
                  <c:v>0.77</c:v>
                </c:pt>
                <c:pt idx="1022">
                  <c:v>0.77</c:v>
                </c:pt>
                <c:pt idx="1023">
                  <c:v>0.19</c:v>
                </c:pt>
                <c:pt idx="1024">
                  <c:v>0.25</c:v>
                </c:pt>
                <c:pt idx="1025">
                  <c:v>0.16</c:v>
                </c:pt>
                <c:pt idx="1026">
                  <c:v>0.68</c:v>
                </c:pt>
                <c:pt idx="1027">
                  <c:v>0.06</c:v>
                </c:pt>
                <c:pt idx="1028">
                  <c:v>0.5</c:v>
                </c:pt>
                <c:pt idx="1029">
                  <c:v>0.59</c:v>
                </c:pt>
                <c:pt idx="1030">
                  <c:v>0.81</c:v>
                </c:pt>
                <c:pt idx="1031">
                  <c:v>0.52</c:v>
                </c:pt>
                <c:pt idx="1032">
                  <c:v>0.02</c:v>
                </c:pt>
                <c:pt idx="1033">
                  <c:v>0.6</c:v>
                </c:pt>
                <c:pt idx="1034">
                  <c:v>0.69</c:v>
                </c:pt>
                <c:pt idx="1035">
                  <c:v>0.39</c:v>
                </c:pt>
                <c:pt idx="1036">
                  <c:v>0.09</c:v>
                </c:pt>
                <c:pt idx="1037">
                  <c:v>0.7</c:v>
                </c:pt>
                <c:pt idx="1038">
                  <c:v>0.17</c:v>
                </c:pt>
                <c:pt idx="1039">
                  <c:v>0.53</c:v>
                </c:pt>
                <c:pt idx="1040">
                  <c:v>0.13</c:v>
                </c:pt>
                <c:pt idx="1041">
                  <c:v>0.62</c:v>
                </c:pt>
                <c:pt idx="1042">
                  <c:v>0.16</c:v>
                </c:pt>
                <c:pt idx="1043">
                  <c:v>0.32</c:v>
                </c:pt>
                <c:pt idx="1044">
                  <c:v>0.69</c:v>
                </c:pt>
                <c:pt idx="1045">
                  <c:v>0.28</c:v>
                </c:pt>
                <c:pt idx="1046">
                  <c:v>0.08</c:v>
                </c:pt>
                <c:pt idx="1047">
                  <c:v>0.73</c:v>
                </c:pt>
                <c:pt idx="1048">
                  <c:v>0.26</c:v>
                </c:pt>
                <c:pt idx="1049">
                  <c:v>0.11</c:v>
                </c:pt>
                <c:pt idx="1050">
                  <c:v>0.64</c:v>
                </c:pt>
                <c:pt idx="1051">
                  <c:v>0.41</c:v>
                </c:pt>
                <c:pt idx="1052">
                  <c:v>0.7</c:v>
                </c:pt>
                <c:pt idx="1053">
                  <c:v>0.12</c:v>
                </c:pt>
                <c:pt idx="1054">
                  <c:v>0.77</c:v>
                </c:pt>
                <c:pt idx="1055">
                  <c:v>0.58</c:v>
                </c:pt>
                <c:pt idx="1056">
                  <c:v>0.11</c:v>
                </c:pt>
                <c:pt idx="1057">
                  <c:v>0.76</c:v>
                </c:pt>
                <c:pt idx="1058">
                  <c:v>0.29</c:v>
                </c:pt>
                <c:pt idx="1059">
                  <c:v>0.31</c:v>
                </c:pt>
                <c:pt idx="1060">
                  <c:v>0.55</c:v>
                </c:pt>
                <c:pt idx="1061">
                  <c:v>0.11</c:v>
                </c:pt>
                <c:pt idx="1062">
                  <c:v>0.79</c:v>
                </c:pt>
                <c:pt idx="1063">
                  <c:v>0.13</c:v>
                </c:pt>
                <c:pt idx="1064">
                  <c:v>0.21</c:v>
                </c:pt>
                <c:pt idx="1065">
                  <c:v>0.32</c:v>
                </c:pt>
                <c:pt idx="1066">
                  <c:v>0.67</c:v>
                </c:pt>
                <c:pt idx="1067">
                  <c:v>0.6</c:v>
                </c:pt>
                <c:pt idx="1068">
                  <c:v>0.13</c:v>
                </c:pt>
                <c:pt idx="1069">
                  <c:v>0.17</c:v>
                </c:pt>
                <c:pt idx="1070">
                  <c:v>0.82</c:v>
                </c:pt>
                <c:pt idx="1071">
                  <c:v>0.22</c:v>
                </c:pt>
                <c:pt idx="1072">
                  <c:v>0.8</c:v>
                </c:pt>
                <c:pt idx="1073">
                  <c:v>0.09</c:v>
                </c:pt>
                <c:pt idx="1074">
                  <c:v>0.18</c:v>
                </c:pt>
                <c:pt idx="1075">
                  <c:v>0.36</c:v>
                </c:pt>
                <c:pt idx="1076">
                  <c:v>0.83</c:v>
                </c:pt>
                <c:pt idx="1077">
                  <c:v>0.34</c:v>
                </c:pt>
                <c:pt idx="1078">
                  <c:v>0.01</c:v>
                </c:pt>
                <c:pt idx="1079">
                  <c:v>0.68</c:v>
                </c:pt>
                <c:pt idx="1080">
                  <c:v>0.5</c:v>
                </c:pt>
                <c:pt idx="1081">
                  <c:v>0.47</c:v>
                </c:pt>
                <c:pt idx="1082">
                  <c:v>0.78</c:v>
                </c:pt>
                <c:pt idx="1083">
                  <c:v>0.79</c:v>
                </c:pt>
                <c:pt idx="1084">
                  <c:v>0.4</c:v>
                </c:pt>
                <c:pt idx="1085">
                  <c:v>0.52</c:v>
                </c:pt>
                <c:pt idx="1086">
                  <c:v>0.07</c:v>
                </c:pt>
                <c:pt idx="1087">
                  <c:v>0.9</c:v>
                </c:pt>
                <c:pt idx="1088">
                  <c:v>0.15</c:v>
                </c:pt>
                <c:pt idx="1089">
                  <c:v>0.39</c:v>
                </c:pt>
                <c:pt idx="1090">
                  <c:v>0.76</c:v>
                </c:pt>
                <c:pt idx="1091">
                  <c:v>0.16</c:v>
                </c:pt>
                <c:pt idx="1092">
                  <c:v>0.21</c:v>
                </c:pt>
                <c:pt idx="1093">
                  <c:v>0.72</c:v>
                </c:pt>
                <c:pt idx="1094">
                  <c:v>0.6</c:v>
                </c:pt>
                <c:pt idx="1095">
                  <c:v>0.56</c:v>
                </c:pt>
                <c:pt idx="1096">
                  <c:v>0.12</c:v>
                </c:pt>
                <c:pt idx="1097">
                  <c:v>0.53</c:v>
                </c:pt>
                <c:pt idx="1098">
                  <c:v>0.14</c:v>
                </c:pt>
                <c:pt idx="1099">
                  <c:v>0.66</c:v>
                </c:pt>
                <c:pt idx="1100">
                  <c:v>0.31</c:v>
                </c:pt>
                <c:pt idx="1101">
                  <c:v>0.59</c:v>
                </c:pt>
                <c:pt idx="1102">
                  <c:v>0.73</c:v>
                </c:pt>
                <c:pt idx="1103">
                  <c:v>0.79</c:v>
                </c:pt>
                <c:pt idx="1104">
                  <c:v>0.53</c:v>
                </c:pt>
                <c:pt idx="1105">
                  <c:v>0.05</c:v>
                </c:pt>
                <c:pt idx="1106">
                  <c:v>0.06</c:v>
                </c:pt>
                <c:pt idx="1107">
                  <c:v>0.16</c:v>
                </c:pt>
                <c:pt idx="1108">
                  <c:v>0.45</c:v>
                </c:pt>
                <c:pt idx="1109">
                  <c:v>0.1</c:v>
                </c:pt>
                <c:pt idx="1110">
                  <c:v>0.1</c:v>
                </c:pt>
                <c:pt idx="1111">
                  <c:v>0.63</c:v>
                </c:pt>
                <c:pt idx="1112">
                  <c:v>0.09</c:v>
                </c:pt>
                <c:pt idx="1113">
                  <c:v>0.66</c:v>
                </c:pt>
                <c:pt idx="1114">
                  <c:v>0.39</c:v>
                </c:pt>
                <c:pt idx="1115">
                  <c:v>0.36</c:v>
                </c:pt>
                <c:pt idx="1116">
                  <c:v>0.23</c:v>
                </c:pt>
                <c:pt idx="1117">
                  <c:v>0.01</c:v>
                </c:pt>
                <c:pt idx="1118">
                  <c:v>0.15</c:v>
                </c:pt>
                <c:pt idx="1119">
                  <c:v>0.83</c:v>
                </c:pt>
                <c:pt idx="1120">
                  <c:v>0.08</c:v>
                </c:pt>
                <c:pt idx="1121">
                  <c:v>0.48</c:v>
                </c:pt>
                <c:pt idx="1122">
                  <c:v>0.24</c:v>
                </c:pt>
                <c:pt idx="1123">
                  <c:v>0.92</c:v>
                </c:pt>
                <c:pt idx="1124">
                  <c:v>0.32</c:v>
                </c:pt>
                <c:pt idx="1125">
                  <c:v>0.43</c:v>
                </c:pt>
                <c:pt idx="1126">
                  <c:v>0.16</c:v>
                </c:pt>
                <c:pt idx="1127">
                  <c:v>0.72</c:v>
                </c:pt>
                <c:pt idx="1128">
                  <c:v>0.23</c:v>
                </c:pt>
                <c:pt idx="1129">
                  <c:v>0.2</c:v>
                </c:pt>
                <c:pt idx="1130">
                  <c:v>0.27</c:v>
                </c:pt>
                <c:pt idx="1131">
                  <c:v>0.44</c:v>
                </c:pt>
                <c:pt idx="1132">
                  <c:v>0.06</c:v>
                </c:pt>
                <c:pt idx="1133">
                  <c:v>0.32</c:v>
                </c:pt>
                <c:pt idx="1134">
                  <c:v>0.26</c:v>
                </c:pt>
                <c:pt idx="1135">
                  <c:v>0.53</c:v>
                </c:pt>
                <c:pt idx="1136">
                  <c:v>0.04</c:v>
                </c:pt>
                <c:pt idx="1137">
                  <c:v>0.39</c:v>
                </c:pt>
                <c:pt idx="1138">
                  <c:v>0.65</c:v>
                </c:pt>
                <c:pt idx="1139">
                  <c:v>0.73</c:v>
                </c:pt>
                <c:pt idx="1140">
                  <c:v>0.14</c:v>
                </c:pt>
                <c:pt idx="1141">
                  <c:v>0.09</c:v>
                </c:pt>
                <c:pt idx="1142">
                  <c:v>0.85</c:v>
                </c:pt>
                <c:pt idx="1143">
                  <c:v>0.15</c:v>
                </c:pt>
                <c:pt idx="1144">
                  <c:v>0.22</c:v>
                </c:pt>
                <c:pt idx="1145">
                  <c:v>0.36</c:v>
                </c:pt>
                <c:pt idx="1146">
                  <c:v>0.55</c:v>
                </c:pt>
                <c:pt idx="1147">
                  <c:v>0.4</c:v>
                </c:pt>
                <c:pt idx="1148">
                  <c:v>0.25</c:v>
                </c:pt>
                <c:pt idx="1149">
                  <c:v>0.38</c:v>
                </c:pt>
                <c:pt idx="1150">
                  <c:v>0.14</c:v>
                </c:pt>
                <c:pt idx="1151">
                  <c:v>0.08</c:v>
                </c:pt>
                <c:pt idx="1152">
                  <c:v>0.72</c:v>
                </c:pt>
                <c:pt idx="1153">
                  <c:v>0.07</c:v>
                </c:pt>
                <c:pt idx="1154">
                  <c:v>0.57</c:v>
                </c:pt>
                <c:pt idx="1155">
                  <c:v>0.15</c:v>
                </c:pt>
                <c:pt idx="1156">
                  <c:v>0.16</c:v>
                </c:pt>
                <c:pt idx="1157">
                  <c:v>0.01</c:v>
                </c:pt>
                <c:pt idx="1158">
                  <c:v>0.11</c:v>
                </c:pt>
                <c:pt idx="1159">
                  <c:v>0.16</c:v>
                </c:pt>
                <c:pt idx="1160">
                  <c:v>0.9</c:v>
                </c:pt>
                <c:pt idx="1161">
                  <c:v>0.01</c:v>
                </c:pt>
                <c:pt idx="1162">
                  <c:v>0.14</c:v>
                </c:pt>
                <c:pt idx="1163">
                  <c:v>0.31</c:v>
                </c:pt>
                <c:pt idx="1164">
                  <c:v>0.22</c:v>
                </c:pt>
                <c:pt idx="1165">
                  <c:v>0.92</c:v>
                </c:pt>
                <c:pt idx="1166">
                  <c:v>0.44</c:v>
                </c:pt>
                <c:pt idx="1167">
                  <c:v>0.05</c:v>
                </c:pt>
                <c:pt idx="1168">
                  <c:v>0.09</c:v>
                </c:pt>
                <c:pt idx="1169">
                  <c:v>0.01</c:v>
                </c:pt>
                <c:pt idx="1170">
                  <c:v>0.43</c:v>
                </c:pt>
                <c:pt idx="1171">
                  <c:v>0.45</c:v>
                </c:pt>
                <c:pt idx="1172">
                  <c:v>0.37</c:v>
                </c:pt>
                <c:pt idx="1173">
                  <c:v>0.48</c:v>
                </c:pt>
                <c:pt idx="1174">
                  <c:v>0.29</c:v>
                </c:pt>
                <c:pt idx="1175">
                  <c:v>0.16</c:v>
                </c:pt>
                <c:pt idx="1176">
                  <c:v>0.49</c:v>
                </c:pt>
                <c:pt idx="1177">
                  <c:v>0.8</c:v>
                </c:pt>
                <c:pt idx="1178">
                  <c:v>0.15</c:v>
                </c:pt>
                <c:pt idx="1179">
                  <c:v>0.05</c:v>
                </c:pt>
                <c:pt idx="1180">
                  <c:v>0.03</c:v>
                </c:pt>
                <c:pt idx="1181">
                  <c:v>0.57</c:v>
                </c:pt>
                <c:pt idx="1182">
                  <c:v>0.21</c:v>
                </c:pt>
                <c:pt idx="1183">
                  <c:v>0.24</c:v>
                </c:pt>
                <c:pt idx="1184">
                  <c:v>0.69</c:v>
                </c:pt>
                <c:pt idx="1185">
                  <c:v>0.16</c:v>
                </c:pt>
                <c:pt idx="1186">
                  <c:v>0.35</c:v>
                </c:pt>
                <c:pt idx="1187">
                  <c:v>0.21</c:v>
                </c:pt>
                <c:pt idx="1188">
                  <c:v>0.06</c:v>
                </c:pt>
                <c:pt idx="1189">
                  <c:v>0.12</c:v>
                </c:pt>
                <c:pt idx="1190">
                  <c:v>0.5</c:v>
                </c:pt>
                <c:pt idx="1191">
                  <c:v>0.41</c:v>
                </c:pt>
                <c:pt idx="1192">
                  <c:v>0.05</c:v>
                </c:pt>
                <c:pt idx="1193">
                  <c:v>0.05</c:v>
                </c:pt>
                <c:pt idx="1194">
                  <c:v>0.67</c:v>
                </c:pt>
                <c:pt idx="1195">
                  <c:v>0.09</c:v>
                </c:pt>
                <c:pt idx="1196">
                  <c:v>0.16</c:v>
                </c:pt>
                <c:pt idx="1197">
                  <c:v>0.64</c:v>
                </c:pt>
                <c:pt idx="1198">
                  <c:v>0.09</c:v>
                </c:pt>
                <c:pt idx="1199">
                  <c:v>0.01</c:v>
                </c:pt>
                <c:pt idx="1200">
                  <c:v>0.31</c:v>
                </c:pt>
                <c:pt idx="1201">
                  <c:v>0.47</c:v>
                </c:pt>
                <c:pt idx="1202">
                  <c:v>0.58</c:v>
                </c:pt>
                <c:pt idx="1203">
                  <c:v>0.54</c:v>
                </c:pt>
                <c:pt idx="1204">
                  <c:v>0.01</c:v>
                </c:pt>
                <c:pt idx="1205">
                  <c:v>0.21</c:v>
                </c:pt>
                <c:pt idx="1206">
                  <c:v>0.11</c:v>
                </c:pt>
                <c:pt idx="1207">
                  <c:v>0.62</c:v>
                </c:pt>
                <c:pt idx="1208">
                  <c:v>0.1</c:v>
                </c:pt>
                <c:pt idx="1209">
                  <c:v>0.03</c:v>
                </c:pt>
                <c:pt idx="1210">
                  <c:v>0.03</c:v>
                </c:pt>
                <c:pt idx="1211">
                  <c:v>0.22</c:v>
                </c:pt>
                <c:pt idx="1212">
                  <c:v>0.61</c:v>
                </c:pt>
                <c:pt idx="1213">
                  <c:v>0.05</c:v>
                </c:pt>
                <c:pt idx="1214">
                  <c:v>0.14</c:v>
                </c:pt>
                <c:pt idx="1215">
                  <c:v>0.05</c:v>
                </c:pt>
                <c:pt idx="1216">
                  <c:v>0.43</c:v>
                </c:pt>
                <c:pt idx="1217">
                  <c:v>0.12</c:v>
                </c:pt>
                <c:pt idx="1218">
                  <c:v>0.32</c:v>
                </c:pt>
                <c:pt idx="1219">
                  <c:v>0.16</c:v>
                </c:pt>
                <c:pt idx="1220">
                  <c:v>0.27</c:v>
                </c:pt>
                <c:pt idx="1221">
                  <c:v>0.32</c:v>
                </c:pt>
                <c:pt idx="1222">
                  <c:v>0.1</c:v>
                </c:pt>
                <c:pt idx="1223">
                  <c:v>0.53</c:v>
                </c:pt>
                <c:pt idx="1224">
                  <c:v>0.36</c:v>
                </c:pt>
                <c:pt idx="1225">
                  <c:v>0.68</c:v>
                </c:pt>
                <c:pt idx="1226">
                  <c:v>0.12</c:v>
                </c:pt>
                <c:pt idx="1227">
                  <c:v>0.06</c:v>
                </c:pt>
                <c:pt idx="1228">
                  <c:v>0.05</c:v>
                </c:pt>
                <c:pt idx="1229">
                  <c:v>0.08</c:v>
                </c:pt>
                <c:pt idx="1230">
                  <c:v>0.23</c:v>
                </c:pt>
                <c:pt idx="1231">
                  <c:v>0.09</c:v>
                </c:pt>
                <c:pt idx="1232">
                  <c:v>0.13</c:v>
                </c:pt>
                <c:pt idx="1233">
                  <c:v>0.12</c:v>
                </c:pt>
                <c:pt idx="1234">
                  <c:v>0.59</c:v>
                </c:pt>
                <c:pt idx="1235">
                  <c:v>0.55</c:v>
                </c:pt>
                <c:pt idx="1236">
                  <c:v>0.08</c:v>
                </c:pt>
                <c:pt idx="1237">
                  <c:v>0.14</c:v>
                </c:pt>
                <c:pt idx="1238">
                  <c:v>0.04</c:v>
                </c:pt>
                <c:pt idx="1239">
                  <c:v>0.62</c:v>
                </c:pt>
                <c:pt idx="1240">
                  <c:v>0.08</c:v>
                </c:pt>
                <c:pt idx="1241">
                  <c:v>0.83</c:v>
                </c:pt>
                <c:pt idx="1242">
                  <c:v>0.13</c:v>
                </c:pt>
                <c:pt idx="1243">
                  <c:v>0.49</c:v>
                </c:pt>
                <c:pt idx="1244">
                  <c:v>0.23</c:v>
                </c:pt>
                <c:pt idx="1245">
                  <c:v>0.11</c:v>
                </c:pt>
                <c:pt idx="1246">
                  <c:v>0.06</c:v>
                </c:pt>
                <c:pt idx="1247">
                  <c:v>0.16</c:v>
                </c:pt>
                <c:pt idx="1248">
                  <c:v>0.61</c:v>
                </c:pt>
                <c:pt idx="1249">
                  <c:v>0.22</c:v>
                </c:pt>
                <c:pt idx="1250">
                  <c:v>0.64</c:v>
                </c:pt>
                <c:pt idx="1251">
                  <c:v>0.1</c:v>
                </c:pt>
                <c:pt idx="1252">
                  <c:v>0.16</c:v>
                </c:pt>
                <c:pt idx="1253">
                  <c:v>0.56</c:v>
                </c:pt>
                <c:pt idx="1254">
                  <c:v>0.04</c:v>
                </c:pt>
                <c:pt idx="1255">
                  <c:v>0.11</c:v>
                </c:pt>
                <c:pt idx="1256">
                  <c:v>0.13</c:v>
                </c:pt>
                <c:pt idx="1257">
                  <c:v>0.65</c:v>
                </c:pt>
                <c:pt idx="1258">
                  <c:v>0.18</c:v>
                </c:pt>
                <c:pt idx="1259">
                  <c:v>0.16</c:v>
                </c:pt>
                <c:pt idx="1260">
                  <c:v>0.02</c:v>
                </c:pt>
                <c:pt idx="1261">
                  <c:v>0.12</c:v>
                </c:pt>
                <c:pt idx="1262">
                  <c:v>0.46</c:v>
                </c:pt>
                <c:pt idx="1263">
                  <c:v>0.29</c:v>
                </c:pt>
                <c:pt idx="1264">
                  <c:v>0.47</c:v>
                </c:pt>
                <c:pt idx="1265">
                  <c:v>0.54</c:v>
                </c:pt>
                <c:pt idx="1266">
                  <c:v>0.31</c:v>
                </c:pt>
                <c:pt idx="1267">
                  <c:v>0.02</c:v>
                </c:pt>
                <c:pt idx="1268">
                  <c:v>0.14</c:v>
                </c:pt>
                <c:pt idx="1269">
                  <c:v>0.01</c:v>
                </c:pt>
                <c:pt idx="1270">
                  <c:v>0.46</c:v>
                </c:pt>
                <c:pt idx="1271">
                  <c:v>0.2</c:v>
                </c:pt>
                <c:pt idx="1272">
                  <c:v>0.09</c:v>
                </c:pt>
                <c:pt idx="1273">
                  <c:v>0.54</c:v>
                </c:pt>
                <c:pt idx="1274">
                  <c:v>0.11</c:v>
                </c:pt>
                <c:pt idx="1275">
                  <c:v>0.44</c:v>
                </c:pt>
                <c:pt idx="1276">
                  <c:v>0.29</c:v>
                </c:pt>
                <c:pt idx="1277">
                  <c:v>0.37</c:v>
                </c:pt>
                <c:pt idx="1278">
                  <c:v>0.06</c:v>
                </c:pt>
                <c:pt idx="1279">
                  <c:v>0.41</c:v>
                </c:pt>
                <c:pt idx="1280">
                  <c:v>0.1</c:v>
                </c:pt>
                <c:pt idx="1281">
                  <c:v>0.1</c:v>
                </c:pt>
                <c:pt idx="1282">
                  <c:v>0.13</c:v>
                </c:pt>
                <c:pt idx="1283">
                  <c:v>0.26</c:v>
                </c:pt>
                <c:pt idx="1284">
                  <c:v>0.3</c:v>
                </c:pt>
                <c:pt idx="1285">
                  <c:v>0.16</c:v>
                </c:pt>
                <c:pt idx="1286">
                  <c:v>0.4</c:v>
                </c:pt>
                <c:pt idx="1287">
                  <c:v>0.72</c:v>
                </c:pt>
                <c:pt idx="1288">
                  <c:v>0.74</c:v>
                </c:pt>
                <c:pt idx="1289">
                  <c:v>0.68</c:v>
                </c:pt>
                <c:pt idx="1290">
                  <c:v>0.16</c:v>
                </c:pt>
                <c:pt idx="1291">
                  <c:v>0.07</c:v>
                </c:pt>
                <c:pt idx="1292">
                  <c:v>0.09</c:v>
                </c:pt>
                <c:pt idx="1293">
                  <c:v>0.11</c:v>
                </c:pt>
                <c:pt idx="1294">
                  <c:v>0.3</c:v>
                </c:pt>
                <c:pt idx="1295">
                  <c:v>0.14</c:v>
                </c:pt>
                <c:pt idx="1296">
                  <c:v>0.08</c:v>
                </c:pt>
                <c:pt idx="1297">
                  <c:v>0.72</c:v>
                </c:pt>
                <c:pt idx="1298">
                  <c:v>0.59</c:v>
                </c:pt>
                <c:pt idx="1299">
                  <c:v>0.31</c:v>
                </c:pt>
                <c:pt idx="1300">
                  <c:v>0.46</c:v>
                </c:pt>
                <c:pt idx="1301">
                  <c:v>0.02</c:v>
                </c:pt>
                <c:pt idx="1302">
                  <c:v>0.43</c:v>
                </c:pt>
                <c:pt idx="1303">
                  <c:v>0.04</c:v>
                </c:pt>
                <c:pt idx="1304">
                  <c:v>0.08</c:v>
                </c:pt>
                <c:pt idx="1305">
                  <c:v>0.15</c:v>
                </c:pt>
                <c:pt idx="1306">
                  <c:v>0.1</c:v>
                </c:pt>
                <c:pt idx="1307">
                  <c:v>0.21</c:v>
                </c:pt>
                <c:pt idx="1308">
                  <c:v>0.15</c:v>
                </c:pt>
                <c:pt idx="1309">
                  <c:v>0.6</c:v>
                </c:pt>
                <c:pt idx="1310">
                  <c:v>0.31</c:v>
                </c:pt>
                <c:pt idx="1311">
                  <c:v>0.65</c:v>
                </c:pt>
                <c:pt idx="1312">
                  <c:v>0.31</c:v>
                </c:pt>
                <c:pt idx="1313">
                  <c:v>0.02</c:v>
                </c:pt>
                <c:pt idx="1314">
                  <c:v>0.07</c:v>
                </c:pt>
                <c:pt idx="1315">
                  <c:v>0.94</c:v>
                </c:pt>
                <c:pt idx="1316">
                  <c:v>0.32</c:v>
                </c:pt>
                <c:pt idx="1317">
                  <c:v>0.69</c:v>
                </c:pt>
                <c:pt idx="1318">
                  <c:v>0.08</c:v>
                </c:pt>
                <c:pt idx="1319">
                  <c:v>0.03</c:v>
                </c:pt>
                <c:pt idx="1320">
                  <c:v>0.1</c:v>
                </c:pt>
                <c:pt idx="1321">
                  <c:v>0.16</c:v>
                </c:pt>
                <c:pt idx="1322">
                  <c:v>0.37</c:v>
                </c:pt>
                <c:pt idx="1323">
                  <c:v>0.11</c:v>
                </c:pt>
                <c:pt idx="1324">
                  <c:v>0.05</c:v>
                </c:pt>
                <c:pt idx="1325">
                  <c:v>0.28</c:v>
                </c:pt>
                <c:pt idx="1326">
                  <c:v>0.26</c:v>
                </c:pt>
                <c:pt idx="1327">
                  <c:v>0.14</c:v>
                </c:pt>
                <c:pt idx="1328">
                  <c:v>0.15</c:v>
                </c:pt>
                <c:pt idx="1329">
                  <c:v>0.3</c:v>
                </c:pt>
                <c:pt idx="1330">
                  <c:v>0.5</c:v>
                </c:pt>
                <c:pt idx="1331">
                  <c:v>0.53</c:v>
                </c:pt>
                <c:pt idx="1332">
                  <c:v>0.07</c:v>
                </c:pt>
                <c:pt idx="1333">
                  <c:v>0.08</c:v>
                </c:pt>
                <c:pt idx="1334">
                  <c:v>0.4</c:v>
                </c:pt>
                <c:pt idx="1335">
                  <c:v>0.06</c:v>
                </c:pt>
                <c:pt idx="1336">
                  <c:v>0.17</c:v>
                </c:pt>
                <c:pt idx="1337">
                  <c:v>0.05</c:v>
                </c:pt>
                <c:pt idx="1338">
                  <c:v>0.09</c:v>
                </c:pt>
                <c:pt idx="1339">
                  <c:v>0.11</c:v>
                </c:pt>
                <c:pt idx="1340">
                  <c:v>0.48</c:v>
                </c:pt>
                <c:pt idx="1341">
                  <c:v>0.08</c:v>
                </c:pt>
                <c:pt idx="1342">
                  <c:v>0.08</c:v>
                </c:pt>
                <c:pt idx="1343">
                  <c:v>0.11</c:v>
                </c:pt>
                <c:pt idx="1344">
                  <c:v>0.5</c:v>
                </c:pt>
                <c:pt idx="1345">
                  <c:v>0.05</c:v>
                </c:pt>
                <c:pt idx="1346">
                  <c:v>0.02</c:v>
                </c:pt>
                <c:pt idx="1347">
                  <c:v>0.4</c:v>
                </c:pt>
                <c:pt idx="1348">
                  <c:v>0.14</c:v>
                </c:pt>
                <c:pt idx="1349">
                  <c:v>0.34</c:v>
                </c:pt>
                <c:pt idx="1350">
                  <c:v>0.19</c:v>
                </c:pt>
                <c:pt idx="1351">
                  <c:v>0.27</c:v>
                </c:pt>
                <c:pt idx="1352">
                  <c:v>0.03</c:v>
                </c:pt>
                <c:pt idx="1353">
                  <c:v>0.28</c:v>
                </c:pt>
                <c:pt idx="1354">
                  <c:v>0.07</c:v>
                </c:pt>
                <c:pt idx="1355">
                  <c:v>0.51</c:v>
                </c:pt>
                <c:pt idx="1356">
                  <c:v>0.12</c:v>
                </c:pt>
                <c:pt idx="1357">
                  <c:v>0.09</c:v>
                </c:pt>
                <c:pt idx="1358">
                  <c:v>0.1</c:v>
                </c:pt>
                <c:pt idx="1359">
                  <c:v>0.72</c:v>
                </c:pt>
                <c:pt idx="1360">
                  <c:v>0.29</c:v>
                </c:pt>
                <c:pt idx="1361">
                  <c:v>0.2</c:v>
                </c:pt>
                <c:pt idx="1362">
                  <c:v>0.7</c:v>
                </c:pt>
                <c:pt idx="1363">
                  <c:v>0.21</c:v>
                </c:pt>
                <c:pt idx="1364">
                  <c:v>0.71</c:v>
                </c:pt>
                <c:pt idx="1365">
                  <c:v>0.69</c:v>
                </c:pt>
                <c:pt idx="1366">
                  <c:v>0.69</c:v>
                </c:pt>
                <c:pt idx="1367">
                  <c:v>0.36</c:v>
                </c:pt>
                <c:pt idx="1368">
                  <c:v>0.02</c:v>
                </c:pt>
                <c:pt idx="1369">
                  <c:v>0.58</c:v>
                </c:pt>
                <c:pt idx="1370">
                  <c:v>0.08</c:v>
                </c:pt>
                <c:pt idx="1371">
                  <c:v>0.29</c:v>
                </c:pt>
                <c:pt idx="1372">
                  <c:v>0.07</c:v>
                </c:pt>
                <c:pt idx="1373">
                  <c:v>0.05</c:v>
                </c:pt>
                <c:pt idx="1374">
                  <c:v>0.66</c:v>
                </c:pt>
                <c:pt idx="1375">
                  <c:v>0.1</c:v>
                </c:pt>
                <c:pt idx="1376">
                  <c:v>0.04</c:v>
                </c:pt>
                <c:pt idx="1377">
                  <c:v>0.49</c:v>
                </c:pt>
                <c:pt idx="1378">
                  <c:v>0.4</c:v>
                </c:pt>
                <c:pt idx="1379">
                  <c:v>0.29</c:v>
                </c:pt>
                <c:pt idx="1380">
                  <c:v>0.12</c:v>
                </c:pt>
                <c:pt idx="1381">
                  <c:v>0.06</c:v>
                </c:pt>
                <c:pt idx="1382">
                  <c:v>0.04</c:v>
                </c:pt>
                <c:pt idx="1383">
                  <c:v>0.07</c:v>
                </c:pt>
                <c:pt idx="1384">
                  <c:v>0.15</c:v>
                </c:pt>
                <c:pt idx="1385">
                  <c:v>0.16</c:v>
                </c:pt>
                <c:pt idx="1386">
                  <c:v>0.05</c:v>
                </c:pt>
                <c:pt idx="1387">
                  <c:v>0.34</c:v>
                </c:pt>
                <c:pt idx="1388">
                  <c:v>0.12</c:v>
                </c:pt>
                <c:pt idx="1389">
                  <c:v>0.06</c:v>
                </c:pt>
                <c:pt idx="1390">
                  <c:v>0.1</c:v>
                </c:pt>
                <c:pt idx="1391">
                  <c:v>0.09</c:v>
                </c:pt>
                <c:pt idx="1392">
                  <c:v>0.56</c:v>
                </c:pt>
                <c:pt idx="1393">
                  <c:v>0.1</c:v>
                </c:pt>
                <c:pt idx="1394">
                  <c:v>0.15</c:v>
                </c:pt>
                <c:pt idx="1395">
                  <c:v>0.15</c:v>
                </c:pt>
                <c:pt idx="1396">
                  <c:v>0.05</c:v>
                </c:pt>
                <c:pt idx="1397">
                  <c:v>0.21</c:v>
                </c:pt>
                <c:pt idx="1398">
                  <c:v>0.11</c:v>
                </c:pt>
                <c:pt idx="1399">
                  <c:v>0.2</c:v>
                </c:pt>
                <c:pt idx="1400">
                  <c:v>0.2</c:v>
                </c:pt>
                <c:pt idx="1401">
                  <c:v>0.23</c:v>
                </c:pt>
                <c:pt idx="1402">
                  <c:v>0.07</c:v>
                </c:pt>
                <c:pt idx="1403">
                  <c:v>0.02</c:v>
                </c:pt>
                <c:pt idx="1404">
                  <c:v>0.16</c:v>
                </c:pt>
                <c:pt idx="1405">
                  <c:v>0.11</c:v>
                </c:pt>
                <c:pt idx="1406">
                  <c:v>0.08</c:v>
                </c:pt>
                <c:pt idx="1407">
                  <c:v>0.03</c:v>
                </c:pt>
                <c:pt idx="1408">
                  <c:v>0.23</c:v>
                </c:pt>
                <c:pt idx="1409">
                  <c:v>0.08</c:v>
                </c:pt>
                <c:pt idx="1410">
                  <c:v>0.1</c:v>
                </c:pt>
                <c:pt idx="1411">
                  <c:v>0.68</c:v>
                </c:pt>
                <c:pt idx="1412">
                  <c:v>0.17</c:v>
                </c:pt>
                <c:pt idx="1413">
                  <c:v>0.08</c:v>
                </c:pt>
                <c:pt idx="1414">
                  <c:v>0.21</c:v>
                </c:pt>
                <c:pt idx="1415">
                  <c:v>0.02</c:v>
                </c:pt>
                <c:pt idx="1416">
                  <c:v>0.17</c:v>
                </c:pt>
                <c:pt idx="1417">
                  <c:v>0.03</c:v>
                </c:pt>
                <c:pt idx="1418">
                  <c:v>0.77</c:v>
                </c:pt>
                <c:pt idx="1419">
                  <c:v>0.72</c:v>
                </c:pt>
                <c:pt idx="1420">
                  <c:v>0.13</c:v>
                </c:pt>
                <c:pt idx="1421">
                  <c:v>0.2</c:v>
                </c:pt>
                <c:pt idx="1422">
                  <c:v>0.01</c:v>
                </c:pt>
                <c:pt idx="1423">
                  <c:v>0.1</c:v>
                </c:pt>
                <c:pt idx="1424">
                  <c:v>0.05</c:v>
                </c:pt>
                <c:pt idx="1425">
                  <c:v>0.74</c:v>
                </c:pt>
                <c:pt idx="1426">
                  <c:v>0.12</c:v>
                </c:pt>
                <c:pt idx="1427">
                  <c:v>0.08</c:v>
                </c:pt>
                <c:pt idx="1428">
                  <c:v>0.09</c:v>
                </c:pt>
                <c:pt idx="1429">
                  <c:v>0.03</c:v>
                </c:pt>
                <c:pt idx="1430">
                  <c:v>0.02</c:v>
                </c:pt>
                <c:pt idx="1431">
                  <c:v>0.12</c:v>
                </c:pt>
                <c:pt idx="1432">
                  <c:v>0.09</c:v>
                </c:pt>
                <c:pt idx="1433">
                  <c:v>0.06</c:v>
                </c:pt>
                <c:pt idx="1434">
                  <c:v>0.06</c:v>
                </c:pt>
                <c:pt idx="1435">
                  <c:v>0.17</c:v>
                </c:pt>
                <c:pt idx="1436">
                  <c:v>0.01</c:v>
                </c:pt>
                <c:pt idx="1437">
                  <c:v>0.14</c:v>
                </c:pt>
                <c:pt idx="1438">
                  <c:v>0.11</c:v>
                </c:pt>
                <c:pt idx="1439">
                  <c:v>0.15</c:v>
                </c:pt>
                <c:pt idx="1440">
                  <c:v>0.09</c:v>
                </c:pt>
                <c:pt idx="1441">
                  <c:v>0.06</c:v>
                </c:pt>
                <c:pt idx="1442">
                  <c:v>0.06</c:v>
                </c:pt>
                <c:pt idx="1443">
                  <c:v>0.02</c:v>
                </c:pt>
                <c:pt idx="1444">
                  <c:v>0.02</c:v>
                </c:pt>
                <c:pt idx="1445">
                  <c:v>0.12</c:v>
                </c:pt>
                <c:pt idx="1446">
                  <c:v>0.25</c:v>
                </c:pt>
                <c:pt idx="1447">
                  <c:v>0.12</c:v>
                </c:pt>
                <c:pt idx="1448">
                  <c:v>0.14</c:v>
                </c:pt>
                <c:pt idx="1449">
                  <c:v>0.09</c:v>
                </c:pt>
                <c:pt idx="1450">
                  <c:v>0.09</c:v>
                </c:pt>
                <c:pt idx="1451">
                  <c:v>0.02</c:v>
                </c:pt>
                <c:pt idx="1452">
                  <c:v>0.01</c:v>
                </c:pt>
                <c:pt idx="1453">
                  <c:v>0.09</c:v>
                </c:pt>
                <c:pt idx="1454">
                  <c:v>0.01</c:v>
                </c:pt>
                <c:pt idx="1455">
                  <c:v>0.21</c:v>
                </c:pt>
                <c:pt idx="1456">
                  <c:v>0.11</c:v>
                </c:pt>
                <c:pt idx="1457">
                  <c:v>0.61</c:v>
                </c:pt>
                <c:pt idx="1458">
                  <c:v>0.15</c:v>
                </c:pt>
                <c:pt idx="1459">
                  <c:v>0.1</c:v>
                </c:pt>
                <c:pt idx="1460">
                  <c:v>0.1</c:v>
                </c:pt>
                <c:pt idx="1461">
                  <c:v>0.06</c:v>
                </c:pt>
                <c:pt idx="1462">
                  <c:v>0.07</c:v>
                </c:pt>
                <c:pt idx="1463">
                  <c:v>0.05</c:v>
                </c:pt>
                <c:pt idx="1464">
                  <c:v>0.16</c:v>
                </c:pt>
                <c:pt idx="1465">
                  <c:v>0.06</c:v>
                </c:pt>
                <c:pt idx="1466">
                  <c:v>0.12</c:v>
                </c:pt>
                <c:pt idx="1467">
                  <c:v>0.08</c:v>
                </c:pt>
                <c:pt idx="1468">
                  <c:v>0.06</c:v>
                </c:pt>
                <c:pt idx="1469">
                  <c:v>0.09</c:v>
                </c:pt>
                <c:pt idx="1470">
                  <c:v>0.1</c:v>
                </c:pt>
                <c:pt idx="1471">
                  <c:v>0.23</c:v>
                </c:pt>
                <c:pt idx="1472">
                  <c:v>0.12</c:v>
                </c:pt>
                <c:pt idx="1473">
                  <c:v>0.01</c:v>
                </c:pt>
                <c:pt idx="1474">
                  <c:v>0.14</c:v>
                </c:pt>
                <c:pt idx="1475">
                  <c:v>0.06</c:v>
                </c:pt>
                <c:pt idx="1476">
                  <c:v>0.17</c:v>
                </c:pt>
                <c:pt idx="1477">
                  <c:v>0.05</c:v>
                </c:pt>
                <c:pt idx="1478">
                  <c:v>0.01</c:v>
                </c:pt>
                <c:pt idx="1479">
                  <c:v>0.08</c:v>
                </c:pt>
                <c:pt idx="1480">
                  <c:v>0.14</c:v>
                </c:pt>
                <c:pt idx="1481">
                  <c:v>0.12</c:v>
                </c:pt>
                <c:pt idx="1482">
                  <c:v>0.69</c:v>
                </c:pt>
                <c:pt idx="1483">
                  <c:v>0.07</c:v>
                </c:pt>
                <c:pt idx="1484">
                  <c:v>0.31</c:v>
                </c:pt>
                <c:pt idx="1485">
                  <c:v>0.05</c:v>
                </c:pt>
                <c:pt idx="1486">
                  <c:v>0.41</c:v>
                </c:pt>
                <c:pt idx="1487">
                  <c:v>0.09</c:v>
                </c:pt>
                <c:pt idx="1488">
                  <c:v>0.15</c:v>
                </c:pt>
                <c:pt idx="1489">
                  <c:v>0.08</c:v>
                </c:pt>
                <c:pt idx="1490">
                  <c:v>0.02</c:v>
                </c:pt>
                <c:pt idx="1491">
                  <c:v>0.65</c:v>
                </c:pt>
                <c:pt idx="1492">
                  <c:v>0.63</c:v>
                </c:pt>
                <c:pt idx="1493">
                  <c:v>0.07</c:v>
                </c:pt>
                <c:pt idx="1494">
                  <c:v>0.09</c:v>
                </c:pt>
                <c:pt idx="1495">
                  <c:v>0.05</c:v>
                </c:pt>
                <c:pt idx="1496">
                  <c:v>0.1</c:v>
                </c:pt>
                <c:pt idx="1497">
                  <c:v>0.16</c:v>
                </c:pt>
                <c:pt idx="1498">
                  <c:v>0.68</c:v>
                </c:pt>
                <c:pt idx="1499">
                  <c:v>0.04</c:v>
                </c:pt>
                <c:pt idx="1500">
                  <c:v>0.06</c:v>
                </c:pt>
                <c:pt idx="1501">
                  <c:v>0.05</c:v>
                </c:pt>
                <c:pt idx="1502">
                  <c:v>0.13</c:v>
                </c:pt>
                <c:pt idx="1503">
                  <c:v>0.02</c:v>
                </c:pt>
                <c:pt idx="1504">
                  <c:v>0.11</c:v>
                </c:pt>
                <c:pt idx="1505">
                  <c:v>0.77</c:v>
                </c:pt>
                <c:pt idx="1506">
                  <c:v>0.1</c:v>
                </c:pt>
                <c:pt idx="1507">
                  <c:v>0.39</c:v>
                </c:pt>
                <c:pt idx="1508">
                  <c:v>0.14</c:v>
                </c:pt>
                <c:pt idx="1509">
                  <c:v>0.15</c:v>
                </c:pt>
                <c:pt idx="1510">
                  <c:v>0.76</c:v>
                </c:pt>
                <c:pt idx="1511">
                  <c:v>0.09</c:v>
                </c:pt>
                <c:pt idx="1512">
                  <c:v>0.16</c:v>
                </c:pt>
                <c:pt idx="1513">
                  <c:v>0.06</c:v>
                </c:pt>
                <c:pt idx="1514">
                  <c:v>0.09</c:v>
                </c:pt>
                <c:pt idx="1515">
                  <c:v>0.14</c:v>
                </c:pt>
                <c:pt idx="1516">
                  <c:v>0.07</c:v>
                </c:pt>
                <c:pt idx="1517">
                  <c:v>0.06</c:v>
                </c:pt>
                <c:pt idx="1518">
                  <c:v>0.15</c:v>
                </c:pt>
                <c:pt idx="1519">
                  <c:v>0.07</c:v>
                </c:pt>
                <c:pt idx="1520">
                  <c:v>0.02</c:v>
                </c:pt>
                <c:pt idx="1521">
                  <c:v>0.1</c:v>
                </c:pt>
                <c:pt idx="1522">
                  <c:v>0.07</c:v>
                </c:pt>
                <c:pt idx="1523">
                  <c:v>0.21</c:v>
                </c:pt>
                <c:pt idx="1524">
                  <c:v>0.03</c:v>
                </c:pt>
                <c:pt idx="1525">
                  <c:v>0.61</c:v>
                </c:pt>
                <c:pt idx="1526">
                  <c:v>0.06</c:v>
                </c:pt>
                <c:pt idx="1527">
                  <c:v>0.1</c:v>
                </c:pt>
                <c:pt idx="1528">
                  <c:v>0.05</c:v>
                </c:pt>
                <c:pt idx="1529">
                  <c:v>0.05</c:v>
                </c:pt>
                <c:pt idx="1530">
                  <c:v>0.1</c:v>
                </c:pt>
                <c:pt idx="1531">
                  <c:v>0.01</c:v>
                </c:pt>
                <c:pt idx="1532">
                  <c:v>0.04</c:v>
                </c:pt>
                <c:pt idx="1533">
                  <c:v>0.65</c:v>
                </c:pt>
                <c:pt idx="1534">
                  <c:v>0.11</c:v>
                </c:pt>
                <c:pt idx="1535">
                  <c:v>0.22</c:v>
                </c:pt>
                <c:pt idx="1536">
                  <c:v>0.13</c:v>
                </c:pt>
                <c:pt idx="1537">
                  <c:v>0.22</c:v>
                </c:pt>
                <c:pt idx="1538">
                  <c:v>0.08</c:v>
                </c:pt>
                <c:pt idx="1539">
                  <c:v>0.1</c:v>
                </c:pt>
                <c:pt idx="1540">
                  <c:v>0.14</c:v>
                </c:pt>
                <c:pt idx="1541">
                  <c:v>0.2</c:v>
                </c:pt>
                <c:pt idx="1542">
                  <c:v>0.07</c:v>
                </c:pt>
                <c:pt idx="1543">
                  <c:v>0.02</c:v>
                </c:pt>
                <c:pt idx="1544">
                  <c:v>0.38</c:v>
                </c:pt>
                <c:pt idx="1545">
                  <c:v>0.1</c:v>
                </c:pt>
                <c:pt idx="1546">
                  <c:v>0.07</c:v>
                </c:pt>
                <c:pt idx="1547">
                  <c:v>0.02</c:v>
                </c:pt>
                <c:pt idx="1548">
                  <c:v>0.09</c:v>
                </c:pt>
                <c:pt idx="1549">
                  <c:v>0.04</c:v>
                </c:pt>
                <c:pt idx="1550">
                  <c:v>0.04</c:v>
                </c:pt>
                <c:pt idx="1551">
                  <c:v>0.16</c:v>
                </c:pt>
                <c:pt idx="1552">
                  <c:v>0.17</c:v>
                </c:pt>
                <c:pt idx="1553">
                  <c:v>0.25</c:v>
                </c:pt>
                <c:pt idx="1554">
                  <c:v>0.67</c:v>
                </c:pt>
                <c:pt idx="1555">
                  <c:v>0.15</c:v>
                </c:pt>
                <c:pt idx="1556">
                  <c:v>0.14</c:v>
                </c:pt>
                <c:pt idx="1557">
                  <c:v>0.09</c:v>
                </c:pt>
                <c:pt idx="1558">
                  <c:v>0.11</c:v>
                </c:pt>
                <c:pt idx="1559">
                  <c:v>0.07</c:v>
                </c:pt>
                <c:pt idx="1560">
                  <c:v>0.15</c:v>
                </c:pt>
                <c:pt idx="1561">
                  <c:v>0.03</c:v>
                </c:pt>
                <c:pt idx="1562">
                  <c:v>0.15</c:v>
                </c:pt>
                <c:pt idx="1563">
                  <c:v>0.3</c:v>
                </c:pt>
                <c:pt idx="1564">
                  <c:v>0.1</c:v>
                </c:pt>
                <c:pt idx="1565">
                  <c:v>0.11</c:v>
                </c:pt>
                <c:pt idx="1566">
                  <c:v>0.07</c:v>
                </c:pt>
                <c:pt idx="1567">
                  <c:v>0.13</c:v>
                </c:pt>
                <c:pt idx="1568">
                  <c:v>0.29</c:v>
                </c:pt>
                <c:pt idx="1569">
                  <c:v>0.17</c:v>
                </c:pt>
                <c:pt idx="1570">
                  <c:v>0.32</c:v>
                </c:pt>
                <c:pt idx="1571">
                  <c:v>0.1</c:v>
                </c:pt>
                <c:pt idx="1572">
                  <c:v>0.27</c:v>
                </c:pt>
                <c:pt idx="1573">
                  <c:v>0.1</c:v>
                </c:pt>
                <c:pt idx="1574">
                  <c:v>0.01</c:v>
                </c:pt>
                <c:pt idx="1575">
                  <c:v>0.11</c:v>
                </c:pt>
                <c:pt idx="1576">
                  <c:v>0.1</c:v>
                </c:pt>
                <c:pt idx="1577">
                  <c:v>0.19</c:v>
                </c:pt>
                <c:pt idx="1578">
                  <c:v>0.05</c:v>
                </c:pt>
                <c:pt idx="1579">
                  <c:v>0.08</c:v>
                </c:pt>
                <c:pt idx="1580">
                  <c:v>0.1</c:v>
                </c:pt>
                <c:pt idx="1581">
                  <c:v>0.08</c:v>
                </c:pt>
                <c:pt idx="1582">
                  <c:v>0.27</c:v>
                </c:pt>
                <c:pt idx="1583">
                  <c:v>0.02</c:v>
                </c:pt>
                <c:pt idx="1584">
                  <c:v>0.03</c:v>
                </c:pt>
                <c:pt idx="1585">
                  <c:v>0.2</c:v>
                </c:pt>
                <c:pt idx="1586">
                  <c:v>0.09</c:v>
                </c:pt>
                <c:pt idx="1587">
                  <c:v>0.01</c:v>
                </c:pt>
                <c:pt idx="1588">
                  <c:v>0.1</c:v>
                </c:pt>
                <c:pt idx="1589">
                  <c:v>0.09</c:v>
                </c:pt>
                <c:pt idx="1590">
                  <c:v>0.09</c:v>
                </c:pt>
                <c:pt idx="1591">
                  <c:v>0.1</c:v>
                </c:pt>
                <c:pt idx="1592">
                  <c:v>0.1</c:v>
                </c:pt>
                <c:pt idx="1593">
                  <c:v>0.05</c:v>
                </c:pt>
                <c:pt idx="1594">
                  <c:v>0.14</c:v>
                </c:pt>
                <c:pt idx="1595">
                  <c:v>0.13</c:v>
                </c:pt>
                <c:pt idx="1596">
                  <c:v>0.07</c:v>
                </c:pt>
                <c:pt idx="1597">
                  <c:v>0.11</c:v>
                </c:pt>
                <c:pt idx="1598">
                  <c:v>0.02</c:v>
                </c:pt>
                <c:pt idx="1599">
                  <c:v>0.05</c:v>
                </c:pt>
                <c:pt idx="1600">
                  <c:v>0.09</c:v>
                </c:pt>
                <c:pt idx="1601">
                  <c:v>0.13</c:v>
                </c:pt>
                <c:pt idx="1602">
                  <c:v>0.24</c:v>
                </c:pt>
                <c:pt idx="1603">
                  <c:v>0.08</c:v>
                </c:pt>
                <c:pt idx="1604">
                  <c:v>0.16</c:v>
                </c:pt>
                <c:pt idx="1605">
                  <c:v>0.1</c:v>
                </c:pt>
                <c:pt idx="1606">
                  <c:v>0.01</c:v>
                </c:pt>
                <c:pt idx="1607">
                  <c:v>0.21</c:v>
                </c:pt>
                <c:pt idx="1608">
                  <c:v>0.29</c:v>
                </c:pt>
                <c:pt idx="1609">
                  <c:v>0.09</c:v>
                </c:pt>
                <c:pt idx="1610">
                  <c:v>0.06</c:v>
                </c:pt>
                <c:pt idx="1611">
                  <c:v>0.07</c:v>
                </c:pt>
                <c:pt idx="1612">
                  <c:v>0.25</c:v>
                </c:pt>
                <c:pt idx="1613">
                  <c:v>0.03</c:v>
                </c:pt>
                <c:pt idx="1614">
                  <c:v>0.01</c:v>
                </c:pt>
                <c:pt idx="1615">
                  <c:v>0.14</c:v>
                </c:pt>
                <c:pt idx="1616">
                  <c:v>0.06</c:v>
                </c:pt>
                <c:pt idx="1617">
                  <c:v>0.01</c:v>
                </c:pt>
                <c:pt idx="1618">
                  <c:v>0.01</c:v>
                </c:pt>
                <c:pt idx="1619">
                  <c:v>0.43</c:v>
                </c:pt>
                <c:pt idx="1620">
                  <c:v>0.09</c:v>
                </c:pt>
                <c:pt idx="1621">
                  <c:v>0.04</c:v>
                </c:pt>
                <c:pt idx="1622">
                  <c:v>0.01</c:v>
                </c:pt>
                <c:pt idx="1623">
                  <c:v>0.37</c:v>
                </c:pt>
                <c:pt idx="1624">
                  <c:v>0.08</c:v>
                </c:pt>
                <c:pt idx="1625">
                  <c:v>0.02</c:v>
                </c:pt>
                <c:pt idx="1626">
                  <c:v>0.1</c:v>
                </c:pt>
                <c:pt idx="1627">
                  <c:v>0.08</c:v>
                </c:pt>
                <c:pt idx="1628">
                  <c:v>0.04</c:v>
                </c:pt>
                <c:pt idx="1629">
                  <c:v>0.16</c:v>
                </c:pt>
                <c:pt idx="1630">
                  <c:v>0.17</c:v>
                </c:pt>
                <c:pt idx="1631">
                  <c:v>0.25</c:v>
                </c:pt>
                <c:pt idx="1632">
                  <c:v>0.01</c:v>
                </c:pt>
                <c:pt idx="1633">
                  <c:v>0.08</c:v>
                </c:pt>
                <c:pt idx="1634">
                  <c:v>0.05</c:v>
                </c:pt>
                <c:pt idx="1635">
                  <c:v>0.54</c:v>
                </c:pt>
                <c:pt idx="1636">
                  <c:v>0.18</c:v>
                </c:pt>
                <c:pt idx="1637">
                  <c:v>0.12</c:v>
                </c:pt>
                <c:pt idx="1638">
                  <c:v>0.14</c:v>
                </c:pt>
                <c:pt idx="1639">
                  <c:v>0.14</c:v>
                </c:pt>
                <c:pt idx="1640">
                  <c:v>0.09</c:v>
                </c:pt>
                <c:pt idx="1641">
                  <c:v>0.09</c:v>
                </c:pt>
                <c:pt idx="1642">
                  <c:v>0.05</c:v>
                </c:pt>
                <c:pt idx="1643">
                  <c:v>0.13</c:v>
                </c:pt>
                <c:pt idx="1644">
                  <c:v>0.08</c:v>
                </c:pt>
                <c:pt idx="1645">
                  <c:v>0.14</c:v>
                </c:pt>
                <c:pt idx="1646">
                  <c:v>0.01</c:v>
                </c:pt>
                <c:pt idx="1647">
                  <c:v>0.04</c:v>
                </c:pt>
                <c:pt idx="1648">
                  <c:v>0.04</c:v>
                </c:pt>
                <c:pt idx="1649">
                  <c:v>0.06</c:v>
                </c:pt>
                <c:pt idx="1650">
                  <c:v>0.23</c:v>
                </c:pt>
                <c:pt idx="1651">
                  <c:v>0.29</c:v>
                </c:pt>
                <c:pt idx="1652">
                  <c:v>0.19</c:v>
                </c:pt>
                <c:pt idx="1653">
                  <c:v>0.01</c:v>
                </c:pt>
                <c:pt idx="1654">
                  <c:v>0.08</c:v>
                </c:pt>
                <c:pt idx="1655">
                  <c:v>0.14</c:v>
                </c:pt>
                <c:pt idx="1656">
                  <c:v>0.01</c:v>
                </c:pt>
                <c:pt idx="1657">
                  <c:v>0.02</c:v>
                </c:pt>
                <c:pt idx="1658">
                  <c:v>0.11</c:v>
                </c:pt>
                <c:pt idx="1659">
                  <c:v>0.07</c:v>
                </c:pt>
                <c:pt idx="1660">
                  <c:v>0.01</c:v>
                </c:pt>
                <c:pt idx="1661">
                  <c:v>0.04</c:v>
                </c:pt>
                <c:pt idx="1662">
                  <c:v>0.07</c:v>
                </c:pt>
                <c:pt idx="1663">
                  <c:v>0.07</c:v>
                </c:pt>
                <c:pt idx="1664">
                  <c:v>0.11</c:v>
                </c:pt>
                <c:pt idx="1665">
                  <c:v>0.55</c:v>
                </c:pt>
                <c:pt idx="1666">
                  <c:v>0.05</c:v>
                </c:pt>
                <c:pt idx="1667">
                  <c:v>0.05</c:v>
                </c:pt>
                <c:pt idx="1668">
                  <c:v>0.02</c:v>
                </c:pt>
                <c:pt idx="1669">
                  <c:v>0.19</c:v>
                </c:pt>
                <c:pt idx="1670">
                  <c:v>0.02</c:v>
                </c:pt>
                <c:pt idx="1671">
                  <c:v>0.02</c:v>
                </c:pt>
                <c:pt idx="1672">
                  <c:v>0.02</c:v>
                </c:pt>
                <c:pt idx="1673">
                  <c:v>0.04</c:v>
                </c:pt>
                <c:pt idx="1674">
                  <c:v>0.05</c:v>
                </c:pt>
                <c:pt idx="1675">
                  <c:v>0.01</c:v>
                </c:pt>
                <c:pt idx="1676">
                  <c:v>0.01</c:v>
                </c:pt>
                <c:pt idx="1677">
                  <c:v>0.15</c:v>
                </c:pt>
                <c:pt idx="1678">
                  <c:v>0.02</c:v>
                </c:pt>
                <c:pt idx="1679">
                  <c:v>0.07</c:v>
                </c:pt>
                <c:pt idx="1680">
                  <c:v>0.01</c:v>
                </c:pt>
                <c:pt idx="1681">
                  <c:v>0.09</c:v>
                </c:pt>
                <c:pt idx="1682">
                  <c:v>0.02</c:v>
                </c:pt>
                <c:pt idx="1683">
                  <c:v>0.39</c:v>
                </c:pt>
                <c:pt idx="1684">
                  <c:v>0.17</c:v>
                </c:pt>
                <c:pt idx="1685">
                  <c:v>0.07</c:v>
                </c:pt>
                <c:pt idx="1686">
                  <c:v>0.07</c:v>
                </c:pt>
                <c:pt idx="1687">
                  <c:v>0.07</c:v>
                </c:pt>
                <c:pt idx="1688">
                  <c:v>0.13</c:v>
                </c:pt>
                <c:pt idx="1689">
                  <c:v>0.05</c:v>
                </c:pt>
                <c:pt idx="1690">
                  <c:v>0.03</c:v>
                </c:pt>
                <c:pt idx="1691">
                  <c:v>0.01</c:v>
                </c:pt>
                <c:pt idx="1692">
                  <c:v>0.04</c:v>
                </c:pt>
                <c:pt idx="1693">
                  <c:v>0.03</c:v>
                </c:pt>
                <c:pt idx="1694">
                  <c:v>0.05</c:v>
                </c:pt>
                <c:pt idx="1695">
                  <c:v>0.06</c:v>
                </c:pt>
                <c:pt idx="1696">
                  <c:v>0.17</c:v>
                </c:pt>
                <c:pt idx="1697">
                  <c:v>0.06</c:v>
                </c:pt>
                <c:pt idx="1698">
                  <c:v>0.06</c:v>
                </c:pt>
                <c:pt idx="1699">
                  <c:v>0.07</c:v>
                </c:pt>
                <c:pt idx="1700">
                  <c:v>0.03</c:v>
                </c:pt>
                <c:pt idx="1701">
                  <c:v>0.29</c:v>
                </c:pt>
                <c:pt idx="1702">
                  <c:v>0.03</c:v>
                </c:pt>
                <c:pt idx="1703">
                  <c:v>0.15</c:v>
                </c:pt>
                <c:pt idx="1704">
                  <c:v>0.22</c:v>
                </c:pt>
                <c:pt idx="1705">
                  <c:v>0.02</c:v>
                </c:pt>
                <c:pt idx="1706">
                  <c:v>0.15</c:v>
                </c:pt>
                <c:pt idx="1707">
                  <c:v>0.02</c:v>
                </c:pt>
                <c:pt idx="1708">
                  <c:v>0.27</c:v>
                </c:pt>
                <c:pt idx="1709">
                  <c:v>0.05</c:v>
                </c:pt>
                <c:pt idx="1710">
                  <c:v>0.01</c:v>
                </c:pt>
                <c:pt idx="1711">
                  <c:v>0.1</c:v>
                </c:pt>
                <c:pt idx="1712">
                  <c:v>0.01</c:v>
                </c:pt>
                <c:pt idx="1713">
                  <c:v>0.11</c:v>
                </c:pt>
                <c:pt idx="1714">
                  <c:v>0.07</c:v>
                </c:pt>
                <c:pt idx="1715">
                  <c:v>0.09</c:v>
                </c:pt>
                <c:pt idx="1716">
                  <c:v>0.08</c:v>
                </c:pt>
                <c:pt idx="1717">
                  <c:v>0.04</c:v>
                </c:pt>
                <c:pt idx="1718">
                  <c:v>0.09</c:v>
                </c:pt>
                <c:pt idx="1719">
                  <c:v>0.34</c:v>
                </c:pt>
                <c:pt idx="1720">
                  <c:v>0.18</c:v>
                </c:pt>
                <c:pt idx="1721">
                  <c:v>0.02</c:v>
                </c:pt>
                <c:pt idx="1722">
                  <c:v>0.04</c:v>
                </c:pt>
                <c:pt idx="1723">
                  <c:v>0.09</c:v>
                </c:pt>
                <c:pt idx="1724">
                  <c:v>0.05</c:v>
                </c:pt>
                <c:pt idx="1725">
                  <c:v>0.01</c:v>
                </c:pt>
                <c:pt idx="1726">
                  <c:v>0.05</c:v>
                </c:pt>
                <c:pt idx="1727">
                  <c:v>0.09</c:v>
                </c:pt>
                <c:pt idx="1728">
                  <c:v>0.03</c:v>
                </c:pt>
                <c:pt idx="1729">
                  <c:v>0.01</c:v>
                </c:pt>
                <c:pt idx="1730">
                  <c:v>0.03</c:v>
                </c:pt>
                <c:pt idx="1731">
                  <c:v>0.08</c:v>
                </c:pt>
                <c:pt idx="1732">
                  <c:v>0.06</c:v>
                </c:pt>
                <c:pt idx="1733">
                  <c:v>0.07</c:v>
                </c:pt>
                <c:pt idx="1734">
                  <c:v>0.08</c:v>
                </c:pt>
                <c:pt idx="1735">
                  <c:v>0.06</c:v>
                </c:pt>
                <c:pt idx="1736">
                  <c:v>0.01</c:v>
                </c:pt>
                <c:pt idx="1737">
                  <c:v>0.1</c:v>
                </c:pt>
                <c:pt idx="1738">
                  <c:v>0.06</c:v>
                </c:pt>
                <c:pt idx="1739">
                  <c:v>0.1</c:v>
                </c:pt>
                <c:pt idx="1740">
                  <c:v>0.08</c:v>
                </c:pt>
                <c:pt idx="1741">
                  <c:v>0.13</c:v>
                </c:pt>
                <c:pt idx="1742">
                  <c:v>0.06</c:v>
                </c:pt>
                <c:pt idx="1743">
                  <c:v>0.06</c:v>
                </c:pt>
                <c:pt idx="1744">
                  <c:v>0.04</c:v>
                </c:pt>
                <c:pt idx="1745">
                  <c:v>0.04</c:v>
                </c:pt>
                <c:pt idx="1746">
                  <c:v>0.03</c:v>
                </c:pt>
                <c:pt idx="1747">
                  <c:v>0.06</c:v>
                </c:pt>
                <c:pt idx="1748">
                  <c:v>0.02</c:v>
                </c:pt>
                <c:pt idx="1749">
                  <c:v>0.03</c:v>
                </c:pt>
                <c:pt idx="1750">
                  <c:v>0.13</c:v>
                </c:pt>
                <c:pt idx="1751">
                  <c:v>0.12</c:v>
                </c:pt>
                <c:pt idx="1752">
                  <c:v>0.07</c:v>
                </c:pt>
                <c:pt idx="1753">
                  <c:v>0.01</c:v>
                </c:pt>
                <c:pt idx="1754">
                  <c:v>0.14</c:v>
                </c:pt>
                <c:pt idx="1755">
                  <c:v>0.03</c:v>
                </c:pt>
                <c:pt idx="1756">
                  <c:v>0.12</c:v>
                </c:pt>
                <c:pt idx="1757">
                  <c:v>0.08</c:v>
                </c:pt>
                <c:pt idx="1758">
                  <c:v>0.09</c:v>
                </c:pt>
                <c:pt idx="1759">
                  <c:v>0.62</c:v>
                </c:pt>
                <c:pt idx="1760">
                  <c:v>0.59</c:v>
                </c:pt>
                <c:pt idx="1761">
                  <c:v>0.08</c:v>
                </c:pt>
                <c:pt idx="1762">
                  <c:v>0.01</c:v>
                </c:pt>
                <c:pt idx="1763">
                  <c:v>0.15</c:v>
                </c:pt>
                <c:pt idx="1764">
                  <c:v>0.05</c:v>
                </c:pt>
                <c:pt idx="1765">
                  <c:v>0.1</c:v>
                </c:pt>
                <c:pt idx="1766">
                  <c:v>0.2</c:v>
                </c:pt>
                <c:pt idx="1767">
                  <c:v>0.06</c:v>
                </c:pt>
                <c:pt idx="1768">
                  <c:v>0.09</c:v>
                </c:pt>
                <c:pt idx="1769">
                  <c:v>0.06</c:v>
                </c:pt>
                <c:pt idx="1770">
                  <c:v>0.04</c:v>
                </c:pt>
                <c:pt idx="1771">
                  <c:v>0.02</c:v>
                </c:pt>
                <c:pt idx="1772">
                  <c:v>0.01</c:v>
                </c:pt>
                <c:pt idx="1773">
                  <c:v>0.14</c:v>
                </c:pt>
                <c:pt idx="1774">
                  <c:v>0.02</c:v>
                </c:pt>
                <c:pt idx="1775">
                  <c:v>0.2</c:v>
                </c:pt>
                <c:pt idx="1776">
                  <c:v>0.05</c:v>
                </c:pt>
                <c:pt idx="1777">
                  <c:v>0.08</c:v>
                </c:pt>
                <c:pt idx="1778">
                  <c:v>0.04</c:v>
                </c:pt>
                <c:pt idx="1779">
                  <c:v>0.15</c:v>
                </c:pt>
                <c:pt idx="1780">
                  <c:v>0.02</c:v>
                </c:pt>
                <c:pt idx="1781">
                  <c:v>0.06</c:v>
                </c:pt>
                <c:pt idx="1782">
                  <c:v>0.01</c:v>
                </c:pt>
                <c:pt idx="1783">
                  <c:v>0.01</c:v>
                </c:pt>
                <c:pt idx="1784">
                  <c:v>0.01</c:v>
                </c:pt>
                <c:pt idx="1785">
                  <c:v>0.12</c:v>
                </c:pt>
                <c:pt idx="1786">
                  <c:v>0.08</c:v>
                </c:pt>
                <c:pt idx="1787">
                  <c:v>0.06</c:v>
                </c:pt>
                <c:pt idx="1788">
                  <c:v>0.15</c:v>
                </c:pt>
                <c:pt idx="1789">
                  <c:v>0.04</c:v>
                </c:pt>
                <c:pt idx="1790">
                  <c:v>0.08</c:v>
                </c:pt>
                <c:pt idx="1791">
                  <c:v>0.01</c:v>
                </c:pt>
                <c:pt idx="1792">
                  <c:v>0.66</c:v>
                </c:pt>
                <c:pt idx="1793">
                  <c:v>0.1</c:v>
                </c:pt>
                <c:pt idx="1794">
                  <c:v>0.12</c:v>
                </c:pt>
                <c:pt idx="1795">
                  <c:v>0.04</c:v>
                </c:pt>
                <c:pt idx="1796">
                  <c:v>0.13</c:v>
                </c:pt>
                <c:pt idx="1797">
                  <c:v>0.09</c:v>
                </c:pt>
                <c:pt idx="1798">
                  <c:v>0.02</c:v>
                </c:pt>
                <c:pt idx="1799">
                  <c:v>0.09</c:v>
                </c:pt>
                <c:pt idx="1800">
                  <c:v>0.06</c:v>
                </c:pt>
                <c:pt idx="1801">
                  <c:v>0.13</c:v>
                </c:pt>
                <c:pt idx="1802">
                  <c:v>0.05</c:v>
                </c:pt>
                <c:pt idx="1803">
                  <c:v>0.01</c:v>
                </c:pt>
                <c:pt idx="1804">
                  <c:v>0.15</c:v>
                </c:pt>
                <c:pt idx="1805">
                  <c:v>0.02</c:v>
                </c:pt>
                <c:pt idx="1806">
                  <c:v>0.02</c:v>
                </c:pt>
                <c:pt idx="1807">
                  <c:v>0.12</c:v>
                </c:pt>
                <c:pt idx="1808">
                  <c:v>0.13</c:v>
                </c:pt>
                <c:pt idx="1809">
                  <c:v>0.15</c:v>
                </c:pt>
                <c:pt idx="1810">
                  <c:v>0.23</c:v>
                </c:pt>
                <c:pt idx="1811">
                  <c:v>0.1</c:v>
                </c:pt>
                <c:pt idx="1812">
                  <c:v>0.05</c:v>
                </c:pt>
                <c:pt idx="1813">
                  <c:v>0.06</c:v>
                </c:pt>
                <c:pt idx="1814">
                  <c:v>0.33</c:v>
                </c:pt>
                <c:pt idx="1815">
                  <c:v>0.02</c:v>
                </c:pt>
                <c:pt idx="1816">
                  <c:v>0.07</c:v>
                </c:pt>
                <c:pt idx="1817">
                  <c:v>0.06</c:v>
                </c:pt>
                <c:pt idx="1818">
                  <c:v>0.01</c:v>
                </c:pt>
                <c:pt idx="1819">
                  <c:v>0.03</c:v>
                </c:pt>
                <c:pt idx="1820">
                  <c:v>0.02</c:v>
                </c:pt>
                <c:pt idx="1821">
                  <c:v>0.01</c:v>
                </c:pt>
                <c:pt idx="1822">
                  <c:v>0.05</c:v>
                </c:pt>
                <c:pt idx="1823">
                  <c:v>0.03</c:v>
                </c:pt>
                <c:pt idx="1824">
                  <c:v>0.02</c:v>
                </c:pt>
                <c:pt idx="1825">
                  <c:v>0.09</c:v>
                </c:pt>
                <c:pt idx="1826">
                  <c:v>0.11</c:v>
                </c:pt>
                <c:pt idx="1827">
                  <c:v>0.02</c:v>
                </c:pt>
                <c:pt idx="1828">
                  <c:v>0.07</c:v>
                </c:pt>
                <c:pt idx="1829">
                  <c:v>0.14</c:v>
                </c:pt>
                <c:pt idx="1830">
                  <c:v>0.06</c:v>
                </c:pt>
                <c:pt idx="1831">
                  <c:v>0.01</c:v>
                </c:pt>
                <c:pt idx="1832">
                  <c:v>0.01</c:v>
                </c:pt>
                <c:pt idx="1833">
                  <c:v>0.05</c:v>
                </c:pt>
                <c:pt idx="1834">
                  <c:v>0.02</c:v>
                </c:pt>
                <c:pt idx="1835">
                  <c:v>0.06</c:v>
                </c:pt>
                <c:pt idx="1836">
                  <c:v>0.17</c:v>
                </c:pt>
                <c:pt idx="1837">
                  <c:v>0.03</c:v>
                </c:pt>
                <c:pt idx="1838">
                  <c:v>0.03</c:v>
                </c:pt>
                <c:pt idx="1839">
                  <c:v>0.05</c:v>
                </c:pt>
                <c:pt idx="1840">
                  <c:v>0.14</c:v>
                </c:pt>
                <c:pt idx="1841">
                  <c:v>0.06</c:v>
                </c:pt>
                <c:pt idx="1842">
                  <c:v>0.06</c:v>
                </c:pt>
                <c:pt idx="1843">
                  <c:v>0.08</c:v>
                </c:pt>
                <c:pt idx="1844">
                  <c:v>0.04</c:v>
                </c:pt>
                <c:pt idx="1845">
                  <c:v>0.12</c:v>
                </c:pt>
                <c:pt idx="1846">
                  <c:v>0.07</c:v>
                </c:pt>
                <c:pt idx="1847">
                  <c:v>0.12</c:v>
                </c:pt>
                <c:pt idx="1848">
                  <c:v>0.14</c:v>
                </c:pt>
                <c:pt idx="1849">
                  <c:v>0.24</c:v>
                </c:pt>
                <c:pt idx="1850">
                  <c:v>0.04</c:v>
                </c:pt>
                <c:pt idx="1851">
                  <c:v>0.01</c:v>
                </c:pt>
                <c:pt idx="1852">
                  <c:v>0.42</c:v>
                </c:pt>
                <c:pt idx="1853">
                  <c:v>0.08</c:v>
                </c:pt>
                <c:pt idx="1854">
                  <c:v>0.1</c:v>
                </c:pt>
                <c:pt idx="1855">
                  <c:v>0.01</c:v>
                </c:pt>
                <c:pt idx="1856">
                  <c:v>0.13</c:v>
                </c:pt>
                <c:pt idx="1857">
                  <c:v>0.03</c:v>
                </c:pt>
                <c:pt idx="1858">
                  <c:v>0.1</c:v>
                </c:pt>
                <c:pt idx="1859">
                  <c:v>0.09</c:v>
                </c:pt>
                <c:pt idx="1860">
                  <c:v>0.1</c:v>
                </c:pt>
                <c:pt idx="1861">
                  <c:v>0.02</c:v>
                </c:pt>
                <c:pt idx="1862">
                  <c:v>0.06</c:v>
                </c:pt>
                <c:pt idx="1863">
                  <c:v>0.06</c:v>
                </c:pt>
                <c:pt idx="1864">
                  <c:v>0.14</c:v>
                </c:pt>
                <c:pt idx="1865">
                  <c:v>0.01</c:v>
                </c:pt>
                <c:pt idx="1866">
                  <c:v>0.09</c:v>
                </c:pt>
                <c:pt idx="1867">
                  <c:v>0.02</c:v>
                </c:pt>
                <c:pt idx="1868">
                  <c:v>0.09</c:v>
                </c:pt>
                <c:pt idx="1869">
                  <c:v>0.05</c:v>
                </c:pt>
                <c:pt idx="1870">
                  <c:v>0.09</c:v>
                </c:pt>
                <c:pt idx="1871">
                  <c:v>0.06</c:v>
                </c:pt>
                <c:pt idx="1872">
                  <c:v>0.1</c:v>
                </c:pt>
                <c:pt idx="1873">
                  <c:v>0.01</c:v>
                </c:pt>
                <c:pt idx="1874">
                  <c:v>0.04</c:v>
                </c:pt>
                <c:pt idx="1875">
                  <c:v>0.1</c:v>
                </c:pt>
                <c:pt idx="1876">
                  <c:v>0.08</c:v>
                </c:pt>
                <c:pt idx="1877">
                  <c:v>0.15</c:v>
                </c:pt>
                <c:pt idx="1878">
                  <c:v>0.02</c:v>
                </c:pt>
                <c:pt idx="1879">
                  <c:v>0.08</c:v>
                </c:pt>
                <c:pt idx="1880">
                  <c:v>0.05</c:v>
                </c:pt>
                <c:pt idx="1881">
                  <c:v>0.3</c:v>
                </c:pt>
                <c:pt idx="1882">
                  <c:v>0.01</c:v>
                </c:pt>
                <c:pt idx="1883">
                  <c:v>0.1</c:v>
                </c:pt>
                <c:pt idx="1884">
                  <c:v>0.01</c:v>
                </c:pt>
                <c:pt idx="1885">
                  <c:v>0.37</c:v>
                </c:pt>
                <c:pt idx="1886">
                  <c:v>0.09</c:v>
                </c:pt>
                <c:pt idx="1887">
                  <c:v>0.04</c:v>
                </c:pt>
                <c:pt idx="1888">
                  <c:v>0.02</c:v>
                </c:pt>
                <c:pt idx="1889">
                  <c:v>0.21</c:v>
                </c:pt>
                <c:pt idx="1890">
                  <c:v>0.06</c:v>
                </c:pt>
                <c:pt idx="1891">
                  <c:v>0.04</c:v>
                </c:pt>
                <c:pt idx="1892">
                  <c:v>0.01</c:v>
                </c:pt>
                <c:pt idx="1893">
                  <c:v>0.03</c:v>
                </c:pt>
                <c:pt idx="1894">
                  <c:v>0.1</c:v>
                </c:pt>
                <c:pt idx="1895">
                  <c:v>0.02</c:v>
                </c:pt>
                <c:pt idx="1896">
                  <c:v>0.05</c:v>
                </c:pt>
                <c:pt idx="1897">
                  <c:v>0.04</c:v>
                </c:pt>
                <c:pt idx="1898">
                  <c:v>0.09</c:v>
                </c:pt>
                <c:pt idx="1899">
                  <c:v>0.08</c:v>
                </c:pt>
                <c:pt idx="1900">
                  <c:v>0.03</c:v>
                </c:pt>
                <c:pt idx="1901">
                  <c:v>0.04</c:v>
                </c:pt>
                <c:pt idx="1902">
                  <c:v>0.02</c:v>
                </c:pt>
                <c:pt idx="1903">
                  <c:v>0.1</c:v>
                </c:pt>
                <c:pt idx="1904">
                  <c:v>0.01</c:v>
                </c:pt>
                <c:pt idx="1905">
                  <c:v>0.03</c:v>
                </c:pt>
                <c:pt idx="1906">
                  <c:v>0.06</c:v>
                </c:pt>
                <c:pt idx="1907">
                  <c:v>0.06</c:v>
                </c:pt>
                <c:pt idx="1908">
                  <c:v>0.21</c:v>
                </c:pt>
                <c:pt idx="1909">
                  <c:v>0.09</c:v>
                </c:pt>
                <c:pt idx="1910">
                  <c:v>0.02</c:v>
                </c:pt>
                <c:pt idx="1911">
                  <c:v>0.06</c:v>
                </c:pt>
                <c:pt idx="1912">
                  <c:v>0.09</c:v>
                </c:pt>
                <c:pt idx="1913">
                  <c:v>0.12</c:v>
                </c:pt>
                <c:pt idx="1914">
                  <c:v>0.1</c:v>
                </c:pt>
                <c:pt idx="1915">
                  <c:v>0.06</c:v>
                </c:pt>
                <c:pt idx="1916">
                  <c:v>0.07</c:v>
                </c:pt>
                <c:pt idx="1917">
                  <c:v>0.57</c:v>
                </c:pt>
                <c:pt idx="1918">
                  <c:v>0.08</c:v>
                </c:pt>
                <c:pt idx="1919">
                  <c:v>0.14</c:v>
                </c:pt>
                <c:pt idx="1920">
                  <c:v>0.08</c:v>
                </c:pt>
                <c:pt idx="1921">
                  <c:v>0.01</c:v>
                </c:pt>
                <c:pt idx="1922">
                  <c:v>0.02</c:v>
                </c:pt>
                <c:pt idx="1923">
                  <c:v>0.07</c:v>
                </c:pt>
                <c:pt idx="1924">
                  <c:v>0.08</c:v>
                </c:pt>
                <c:pt idx="1925">
                  <c:v>0.27</c:v>
                </c:pt>
                <c:pt idx="1926">
                  <c:v>0.06</c:v>
                </c:pt>
                <c:pt idx="1927">
                  <c:v>0.04</c:v>
                </c:pt>
                <c:pt idx="1928">
                  <c:v>0.03</c:v>
                </c:pt>
                <c:pt idx="1929">
                  <c:v>0.64</c:v>
                </c:pt>
                <c:pt idx="1930">
                  <c:v>0.02</c:v>
                </c:pt>
                <c:pt idx="1931">
                  <c:v>0.01</c:v>
                </c:pt>
                <c:pt idx="1932">
                  <c:v>0.38</c:v>
                </c:pt>
                <c:pt idx="1933">
                  <c:v>0.01</c:v>
                </c:pt>
                <c:pt idx="1934">
                  <c:v>0.04</c:v>
                </c:pt>
                <c:pt idx="1935">
                  <c:v>0.04</c:v>
                </c:pt>
                <c:pt idx="1936">
                  <c:v>0.03</c:v>
                </c:pt>
                <c:pt idx="1937">
                  <c:v>0.02</c:v>
                </c:pt>
                <c:pt idx="1938">
                  <c:v>0.02</c:v>
                </c:pt>
                <c:pt idx="1939">
                  <c:v>0.11</c:v>
                </c:pt>
                <c:pt idx="1940">
                  <c:v>0.25</c:v>
                </c:pt>
                <c:pt idx="1941">
                  <c:v>0.1</c:v>
                </c:pt>
                <c:pt idx="1942">
                  <c:v>0.12</c:v>
                </c:pt>
                <c:pt idx="1943">
                  <c:v>0.01</c:v>
                </c:pt>
                <c:pt idx="1944">
                  <c:v>0.03</c:v>
                </c:pt>
                <c:pt idx="1945">
                  <c:v>0.02</c:v>
                </c:pt>
                <c:pt idx="1946">
                  <c:v>0.06</c:v>
                </c:pt>
                <c:pt idx="1947">
                  <c:v>0.15</c:v>
                </c:pt>
                <c:pt idx="1948">
                  <c:v>0.01</c:v>
                </c:pt>
                <c:pt idx="1949">
                  <c:v>0.02</c:v>
                </c:pt>
                <c:pt idx="1950">
                  <c:v>0.08</c:v>
                </c:pt>
                <c:pt idx="1951">
                  <c:v>0.05</c:v>
                </c:pt>
                <c:pt idx="1952">
                  <c:v>0.08</c:v>
                </c:pt>
                <c:pt idx="1953">
                  <c:v>0.05</c:v>
                </c:pt>
                <c:pt idx="1954">
                  <c:v>0.06</c:v>
                </c:pt>
                <c:pt idx="1955">
                  <c:v>0.37</c:v>
                </c:pt>
                <c:pt idx="1956">
                  <c:v>0.03</c:v>
                </c:pt>
                <c:pt idx="1957">
                  <c:v>0.1</c:v>
                </c:pt>
                <c:pt idx="1958">
                  <c:v>0.11</c:v>
                </c:pt>
                <c:pt idx="1959">
                  <c:v>0.04</c:v>
                </c:pt>
                <c:pt idx="1960">
                  <c:v>0.08</c:v>
                </c:pt>
                <c:pt idx="1961">
                  <c:v>0.07</c:v>
                </c:pt>
                <c:pt idx="1962">
                  <c:v>0.03</c:v>
                </c:pt>
                <c:pt idx="1963">
                  <c:v>0.02</c:v>
                </c:pt>
                <c:pt idx="1964">
                  <c:v>0.12</c:v>
                </c:pt>
                <c:pt idx="1965">
                  <c:v>0.01</c:v>
                </c:pt>
                <c:pt idx="1966">
                  <c:v>0.02</c:v>
                </c:pt>
                <c:pt idx="1967">
                  <c:v>0.06</c:v>
                </c:pt>
                <c:pt idx="1968">
                  <c:v>0.08</c:v>
                </c:pt>
                <c:pt idx="1969">
                  <c:v>0.04</c:v>
                </c:pt>
                <c:pt idx="1970">
                  <c:v>0.01</c:v>
                </c:pt>
                <c:pt idx="1971">
                  <c:v>0.02</c:v>
                </c:pt>
                <c:pt idx="1972">
                  <c:v>0.01</c:v>
                </c:pt>
                <c:pt idx="1973">
                  <c:v>0.05</c:v>
                </c:pt>
                <c:pt idx="1974">
                  <c:v>0.04</c:v>
                </c:pt>
                <c:pt idx="1975">
                  <c:v>0.02</c:v>
                </c:pt>
                <c:pt idx="1976">
                  <c:v>0.05</c:v>
                </c:pt>
                <c:pt idx="1977">
                  <c:v>0.04</c:v>
                </c:pt>
                <c:pt idx="1978">
                  <c:v>0.07</c:v>
                </c:pt>
                <c:pt idx="1979">
                  <c:v>0.06</c:v>
                </c:pt>
                <c:pt idx="1980">
                  <c:v>0.11</c:v>
                </c:pt>
                <c:pt idx="1981">
                  <c:v>0.05</c:v>
                </c:pt>
                <c:pt idx="1982">
                  <c:v>0.08</c:v>
                </c:pt>
                <c:pt idx="1983">
                  <c:v>0.01</c:v>
                </c:pt>
                <c:pt idx="1984">
                  <c:v>0.05</c:v>
                </c:pt>
                <c:pt idx="1985">
                  <c:v>0.01</c:v>
                </c:pt>
                <c:pt idx="1986">
                  <c:v>0.05</c:v>
                </c:pt>
                <c:pt idx="1987">
                  <c:v>0.06</c:v>
                </c:pt>
                <c:pt idx="1988">
                  <c:v>0.09</c:v>
                </c:pt>
                <c:pt idx="1989">
                  <c:v>0.03</c:v>
                </c:pt>
                <c:pt idx="1990">
                  <c:v>0.08</c:v>
                </c:pt>
                <c:pt idx="1991">
                  <c:v>0.11</c:v>
                </c:pt>
                <c:pt idx="1992">
                  <c:v>0.02</c:v>
                </c:pt>
                <c:pt idx="1993">
                  <c:v>0.2</c:v>
                </c:pt>
                <c:pt idx="1994">
                  <c:v>0.06</c:v>
                </c:pt>
                <c:pt idx="1995">
                  <c:v>0.09</c:v>
                </c:pt>
                <c:pt idx="1996">
                  <c:v>0.22</c:v>
                </c:pt>
                <c:pt idx="1997">
                  <c:v>0.01</c:v>
                </c:pt>
                <c:pt idx="1998">
                  <c:v>0.06</c:v>
                </c:pt>
                <c:pt idx="1999">
                  <c:v>0.09</c:v>
                </c:pt>
                <c:pt idx="2000">
                  <c:v>0.04</c:v>
                </c:pt>
                <c:pt idx="2001">
                  <c:v>0.01</c:v>
                </c:pt>
                <c:pt idx="2002">
                  <c:v>0.05</c:v>
                </c:pt>
                <c:pt idx="2003">
                  <c:v>0.01</c:v>
                </c:pt>
                <c:pt idx="2004">
                  <c:v>0.06</c:v>
                </c:pt>
                <c:pt idx="2005">
                  <c:v>0.01</c:v>
                </c:pt>
                <c:pt idx="2006">
                  <c:v>0.13</c:v>
                </c:pt>
                <c:pt idx="2007">
                  <c:v>0.03</c:v>
                </c:pt>
                <c:pt idx="2008">
                  <c:v>0.03</c:v>
                </c:pt>
                <c:pt idx="2009">
                  <c:v>0.03</c:v>
                </c:pt>
                <c:pt idx="2010">
                  <c:v>0.04</c:v>
                </c:pt>
                <c:pt idx="2011">
                  <c:v>0.02</c:v>
                </c:pt>
                <c:pt idx="2012">
                  <c:v>0.01</c:v>
                </c:pt>
                <c:pt idx="2013">
                  <c:v>0.04</c:v>
                </c:pt>
                <c:pt idx="2014">
                  <c:v>0.04</c:v>
                </c:pt>
                <c:pt idx="2015">
                  <c:v>0.04</c:v>
                </c:pt>
                <c:pt idx="2016">
                  <c:v>0.01</c:v>
                </c:pt>
                <c:pt idx="2017">
                  <c:v>0.02</c:v>
                </c:pt>
                <c:pt idx="2018">
                  <c:v>0.01</c:v>
                </c:pt>
                <c:pt idx="2019">
                  <c:v>0.02</c:v>
                </c:pt>
                <c:pt idx="2020">
                  <c:v>0.02</c:v>
                </c:pt>
                <c:pt idx="2021">
                  <c:v>0.01</c:v>
                </c:pt>
                <c:pt idx="2022">
                  <c:v>0.03</c:v>
                </c:pt>
                <c:pt idx="2023">
                  <c:v>0.1</c:v>
                </c:pt>
                <c:pt idx="2024">
                  <c:v>0.13</c:v>
                </c:pt>
                <c:pt idx="2025">
                  <c:v>0.13</c:v>
                </c:pt>
                <c:pt idx="2026">
                  <c:v>0.02</c:v>
                </c:pt>
                <c:pt idx="2027">
                  <c:v>0.02</c:v>
                </c:pt>
                <c:pt idx="2028">
                  <c:v>0.04</c:v>
                </c:pt>
                <c:pt idx="2029">
                  <c:v>0.03</c:v>
                </c:pt>
                <c:pt idx="2030">
                  <c:v>0.01</c:v>
                </c:pt>
                <c:pt idx="2031">
                  <c:v>0.04</c:v>
                </c:pt>
                <c:pt idx="2032">
                  <c:v>0.02</c:v>
                </c:pt>
                <c:pt idx="2033">
                  <c:v>0.01</c:v>
                </c:pt>
                <c:pt idx="2034">
                  <c:v>0.01</c:v>
                </c:pt>
                <c:pt idx="2035">
                  <c:v>0.02</c:v>
                </c:pt>
                <c:pt idx="2036">
                  <c:v>0.01</c:v>
                </c:pt>
                <c:pt idx="2037">
                  <c:v>0.02</c:v>
                </c:pt>
                <c:pt idx="2038">
                  <c:v>0.02</c:v>
                </c:pt>
                <c:pt idx="2039">
                  <c:v>0.02</c:v>
                </c:pt>
                <c:pt idx="2040">
                  <c:v>0.12</c:v>
                </c:pt>
                <c:pt idx="2041">
                  <c:v>0.01</c:v>
                </c:pt>
                <c:pt idx="2042">
                  <c:v>0.01</c:v>
                </c:pt>
                <c:pt idx="2043">
                  <c:v>0.08</c:v>
                </c:pt>
                <c:pt idx="2044">
                  <c:v>0.03</c:v>
                </c:pt>
                <c:pt idx="2045">
                  <c:v>0.04</c:v>
                </c:pt>
                <c:pt idx="2046">
                  <c:v>0.02</c:v>
                </c:pt>
                <c:pt idx="2047">
                  <c:v>0.01</c:v>
                </c:pt>
                <c:pt idx="2048">
                  <c:v>0.01</c:v>
                </c:pt>
                <c:pt idx="2049">
                  <c:v>0.11</c:v>
                </c:pt>
                <c:pt idx="2050">
                  <c:v>0.19</c:v>
                </c:pt>
                <c:pt idx="2051">
                  <c:v>0.06</c:v>
                </c:pt>
                <c:pt idx="2052">
                  <c:v>0.02</c:v>
                </c:pt>
                <c:pt idx="2053">
                  <c:v>0.01</c:v>
                </c:pt>
                <c:pt idx="2054">
                  <c:v>0.02</c:v>
                </c:pt>
                <c:pt idx="2055">
                  <c:v>0.01</c:v>
                </c:pt>
                <c:pt idx="2056">
                  <c:v>0.02</c:v>
                </c:pt>
                <c:pt idx="2057">
                  <c:v>0.02</c:v>
                </c:pt>
                <c:pt idx="2058">
                  <c:v>0.02</c:v>
                </c:pt>
                <c:pt idx="2059">
                  <c:v>0.09</c:v>
                </c:pt>
                <c:pt idx="2060">
                  <c:v>0.01</c:v>
                </c:pt>
                <c:pt idx="2061">
                  <c:v>0.05</c:v>
                </c:pt>
                <c:pt idx="2062">
                  <c:v>0.21</c:v>
                </c:pt>
                <c:pt idx="2063">
                  <c:v>0.07</c:v>
                </c:pt>
                <c:pt idx="2064">
                  <c:v>0.07</c:v>
                </c:pt>
                <c:pt idx="2065">
                  <c:v>0.08</c:v>
                </c:pt>
                <c:pt idx="2066">
                  <c:v>0.05</c:v>
                </c:pt>
                <c:pt idx="2067">
                  <c:v>0.02</c:v>
                </c:pt>
                <c:pt idx="2068">
                  <c:v>0.04</c:v>
                </c:pt>
                <c:pt idx="2069">
                  <c:v>0.07</c:v>
                </c:pt>
                <c:pt idx="2070">
                  <c:v>0.01</c:v>
                </c:pt>
                <c:pt idx="2071">
                  <c:v>0.02</c:v>
                </c:pt>
                <c:pt idx="2072">
                  <c:v>0.09</c:v>
                </c:pt>
                <c:pt idx="2073">
                  <c:v>0.02</c:v>
                </c:pt>
                <c:pt idx="2074">
                  <c:v>0.06</c:v>
                </c:pt>
                <c:pt idx="2075">
                  <c:v>0.08</c:v>
                </c:pt>
                <c:pt idx="2076">
                  <c:v>0.12</c:v>
                </c:pt>
                <c:pt idx="2077">
                  <c:v>0.02</c:v>
                </c:pt>
                <c:pt idx="2078">
                  <c:v>0.02</c:v>
                </c:pt>
                <c:pt idx="2079">
                  <c:v>0.06</c:v>
                </c:pt>
                <c:pt idx="2080">
                  <c:v>0.03</c:v>
                </c:pt>
                <c:pt idx="2081">
                  <c:v>0.09</c:v>
                </c:pt>
                <c:pt idx="2082">
                  <c:v>0.05</c:v>
                </c:pt>
                <c:pt idx="2083">
                  <c:v>0.03</c:v>
                </c:pt>
                <c:pt idx="2084">
                  <c:v>0.05</c:v>
                </c:pt>
                <c:pt idx="2085">
                  <c:v>0.01</c:v>
                </c:pt>
                <c:pt idx="2086">
                  <c:v>0.08</c:v>
                </c:pt>
                <c:pt idx="2087">
                  <c:v>0.02</c:v>
                </c:pt>
                <c:pt idx="2088">
                  <c:v>0.01</c:v>
                </c:pt>
                <c:pt idx="2089">
                  <c:v>0.04</c:v>
                </c:pt>
                <c:pt idx="2090">
                  <c:v>0.07</c:v>
                </c:pt>
                <c:pt idx="2091">
                  <c:v>0.01</c:v>
                </c:pt>
                <c:pt idx="2092">
                  <c:v>0.1</c:v>
                </c:pt>
                <c:pt idx="2093">
                  <c:v>0.08</c:v>
                </c:pt>
                <c:pt idx="2094">
                  <c:v>0.01</c:v>
                </c:pt>
                <c:pt idx="2095">
                  <c:v>0.07</c:v>
                </c:pt>
                <c:pt idx="2096">
                  <c:v>0.06</c:v>
                </c:pt>
                <c:pt idx="2097">
                  <c:v>0.07</c:v>
                </c:pt>
                <c:pt idx="2098">
                  <c:v>0.04</c:v>
                </c:pt>
                <c:pt idx="2099">
                  <c:v>0.01</c:v>
                </c:pt>
                <c:pt idx="2100">
                  <c:v>0.01</c:v>
                </c:pt>
                <c:pt idx="2101">
                  <c:v>0.1</c:v>
                </c:pt>
                <c:pt idx="2102">
                  <c:v>0.14</c:v>
                </c:pt>
                <c:pt idx="2103">
                  <c:v>0.01</c:v>
                </c:pt>
                <c:pt idx="2104">
                  <c:v>0.07</c:v>
                </c:pt>
                <c:pt idx="2105">
                  <c:v>0.02</c:v>
                </c:pt>
                <c:pt idx="2106">
                  <c:v>0.08</c:v>
                </c:pt>
                <c:pt idx="2107">
                  <c:v>0.06</c:v>
                </c:pt>
                <c:pt idx="2108">
                  <c:v>0.01</c:v>
                </c:pt>
                <c:pt idx="2109">
                  <c:v>0.01</c:v>
                </c:pt>
                <c:pt idx="2110">
                  <c:v>0.06</c:v>
                </c:pt>
                <c:pt idx="2111">
                  <c:v>0.04</c:v>
                </c:pt>
                <c:pt idx="2112">
                  <c:v>0.02</c:v>
                </c:pt>
                <c:pt idx="2113">
                  <c:v>0.01</c:v>
                </c:pt>
                <c:pt idx="2114">
                  <c:v>0.01</c:v>
                </c:pt>
                <c:pt idx="2115">
                  <c:v>0.02</c:v>
                </c:pt>
                <c:pt idx="2116">
                  <c:v>0.04</c:v>
                </c:pt>
                <c:pt idx="2117">
                  <c:v>0.02</c:v>
                </c:pt>
                <c:pt idx="2118">
                  <c:v>0.03</c:v>
                </c:pt>
                <c:pt idx="2119">
                  <c:v>0.01</c:v>
                </c:pt>
                <c:pt idx="2120">
                  <c:v>0.04</c:v>
                </c:pt>
                <c:pt idx="2121">
                  <c:v>0.02</c:v>
                </c:pt>
                <c:pt idx="2122">
                  <c:v>0.06</c:v>
                </c:pt>
                <c:pt idx="2123">
                  <c:v>0.05</c:v>
                </c:pt>
                <c:pt idx="2124">
                  <c:v>0.02</c:v>
                </c:pt>
                <c:pt idx="2125">
                  <c:v>0.14</c:v>
                </c:pt>
                <c:pt idx="2126">
                  <c:v>0.05</c:v>
                </c:pt>
                <c:pt idx="2127">
                  <c:v>0.02</c:v>
                </c:pt>
                <c:pt idx="2128">
                  <c:v>0.06</c:v>
                </c:pt>
                <c:pt idx="2129">
                  <c:v>0.02</c:v>
                </c:pt>
                <c:pt idx="2130">
                  <c:v>0.02</c:v>
                </c:pt>
                <c:pt idx="2131">
                  <c:v>0.02</c:v>
                </c:pt>
                <c:pt idx="2132">
                  <c:v>0.06</c:v>
                </c:pt>
                <c:pt idx="2133">
                  <c:v>0.02</c:v>
                </c:pt>
                <c:pt idx="2134">
                  <c:v>0.02</c:v>
                </c:pt>
                <c:pt idx="2135">
                  <c:v>0.03</c:v>
                </c:pt>
                <c:pt idx="2136">
                  <c:v>0.01</c:v>
                </c:pt>
                <c:pt idx="2137">
                  <c:v>0.01</c:v>
                </c:pt>
                <c:pt idx="2138">
                  <c:v>0.02</c:v>
                </c:pt>
                <c:pt idx="2139">
                  <c:v>0.01</c:v>
                </c:pt>
                <c:pt idx="2140">
                  <c:v>0.01</c:v>
                </c:pt>
                <c:pt idx="2141">
                  <c:v>0.04</c:v>
                </c:pt>
                <c:pt idx="2142">
                  <c:v>0.02</c:v>
                </c:pt>
                <c:pt idx="2143">
                  <c:v>0.02</c:v>
                </c:pt>
                <c:pt idx="2144">
                  <c:v>0.03</c:v>
                </c:pt>
                <c:pt idx="2145">
                  <c:v>0.01</c:v>
                </c:pt>
                <c:pt idx="2146">
                  <c:v>0.09</c:v>
                </c:pt>
                <c:pt idx="2147">
                  <c:v>0.02</c:v>
                </c:pt>
                <c:pt idx="2148">
                  <c:v>0.06</c:v>
                </c:pt>
                <c:pt idx="2149">
                  <c:v>0.13</c:v>
                </c:pt>
                <c:pt idx="2150">
                  <c:v>0.02</c:v>
                </c:pt>
                <c:pt idx="2151">
                  <c:v>0.06</c:v>
                </c:pt>
                <c:pt idx="2152">
                  <c:v>0.01</c:v>
                </c:pt>
                <c:pt idx="2153">
                  <c:v>0.02</c:v>
                </c:pt>
                <c:pt idx="2154">
                  <c:v>0.01</c:v>
                </c:pt>
                <c:pt idx="2155">
                  <c:v>0.13</c:v>
                </c:pt>
                <c:pt idx="2156">
                  <c:v>0.04</c:v>
                </c:pt>
                <c:pt idx="2157">
                  <c:v>0.03</c:v>
                </c:pt>
                <c:pt idx="2158">
                  <c:v>0.01</c:v>
                </c:pt>
                <c:pt idx="2159">
                  <c:v>0.06</c:v>
                </c:pt>
                <c:pt idx="2160">
                  <c:v>0.08</c:v>
                </c:pt>
                <c:pt idx="2161">
                  <c:v>0.08</c:v>
                </c:pt>
                <c:pt idx="2162">
                  <c:v>0.13</c:v>
                </c:pt>
                <c:pt idx="2163">
                  <c:v>0.02</c:v>
                </c:pt>
                <c:pt idx="2164">
                  <c:v>0.01</c:v>
                </c:pt>
                <c:pt idx="2165">
                  <c:v>0.06</c:v>
                </c:pt>
                <c:pt idx="2166">
                  <c:v>0.01</c:v>
                </c:pt>
                <c:pt idx="2167">
                  <c:v>0.02</c:v>
                </c:pt>
                <c:pt idx="2168">
                  <c:v>0.02</c:v>
                </c:pt>
                <c:pt idx="2169">
                  <c:v>0.06</c:v>
                </c:pt>
                <c:pt idx="2170">
                  <c:v>0.06</c:v>
                </c:pt>
                <c:pt idx="2171">
                  <c:v>0.01</c:v>
                </c:pt>
                <c:pt idx="2172">
                  <c:v>0.02</c:v>
                </c:pt>
                <c:pt idx="2173">
                  <c:v>0.1</c:v>
                </c:pt>
                <c:pt idx="2174">
                  <c:v>0.03</c:v>
                </c:pt>
                <c:pt idx="2175">
                  <c:v>0.03</c:v>
                </c:pt>
                <c:pt idx="2176">
                  <c:v>0.02</c:v>
                </c:pt>
                <c:pt idx="2177">
                  <c:v>0.01</c:v>
                </c:pt>
                <c:pt idx="2178">
                  <c:v>0.01</c:v>
                </c:pt>
                <c:pt idx="2179">
                  <c:v>0.01</c:v>
                </c:pt>
                <c:pt idx="2180">
                  <c:v>0.02</c:v>
                </c:pt>
                <c:pt idx="2181">
                  <c:v>0.03</c:v>
                </c:pt>
                <c:pt idx="2182">
                  <c:v>0.11</c:v>
                </c:pt>
                <c:pt idx="2183">
                  <c:v>0.02</c:v>
                </c:pt>
                <c:pt idx="2184">
                  <c:v>0.02</c:v>
                </c:pt>
                <c:pt idx="2185">
                  <c:v>0.02</c:v>
                </c:pt>
                <c:pt idx="2186">
                  <c:v>0.01</c:v>
                </c:pt>
                <c:pt idx="2187">
                  <c:v>0.02</c:v>
                </c:pt>
                <c:pt idx="2188">
                  <c:v>0.04</c:v>
                </c:pt>
                <c:pt idx="2189">
                  <c:v>0.03</c:v>
                </c:pt>
                <c:pt idx="2190">
                  <c:v>0.04</c:v>
                </c:pt>
                <c:pt idx="2191">
                  <c:v>0.01</c:v>
                </c:pt>
                <c:pt idx="2192">
                  <c:v>0.01</c:v>
                </c:pt>
                <c:pt idx="2193">
                  <c:v>0.01</c:v>
                </c:pt>
                <c:pt idx="2194">
                  <c:v>0.01</c:v>
                </c:pt>
                <c:pt idx="2195">
                  <c:v>0.02</c:v>
                </c:pt>
                <c:pt idx="2196">
                  <c:v>0.02</c:v>
                </c:pt>
                <c:pt idx="2197">
                  <c:v>0.06</c:v>
                </c:pt>
                <c:pt idx="2198">
                  <c:v>0.07</c:v>
                </c:pt>
                <c:pt idx="2199">
                  <c:v>0.02</c:v>
                </c:pt>
                <c:pt idx="2200">
                  <c:v>0.02</c:v>
                </c:pt>
                <c:pt idx="2201">
                  <c:v>0.01</c:v>
                </c:pt>
                <c:pt idx="2202">
                  <c:v>0.02</c:v>
                </c:pt>
                <c:pt idx="2203">
                  <c:v>0.02</c:v>
                </c:pt>
                <c:pt idx="2204">
                  <c:v>0.01</c:v>
                </c:pt>
                <c:pt idx="2205">
                  <c:v>0.01</c:v>
                </c:pt>
                <c:pt idx="2206">
                  <c:v>0.29</c:v>
                </c:pt>
                <c:pt idx="2207">
                  <c:v>0.01</c:v>
                </c:pt>
                <c:pt idx="2208">
                  <c:v>0.02</c:v>
                </c:pt>
                <c:pt idx="2209">
                  <c:v>0.01</c:v>
                </c:pt>
                <c:pt idx="2210">
                  <c:v>0.02</c:v>
                </c:pt>
                <c:pt idx="2211">
                  <c:v>0.02</c:v>
                </c:pt>
                <c:pt idx="2212">
                  <c:v>0.06</c:v>
                </c:pt>
                <c:pt idx="2213">
                  <c:v>0.01</c:v>
                </c:pt>
                <c:pt idx="2214">
                  <c:v>0.02</c:v>
                </c:pt>
                <c:pt idx="2215">
                  <c:v>0.01</c:v>
                </c:pt>
                <c:pt idx="2216">
                  <c:v>0.01</c:v>
                </c:pt>
                <c:pt idx="2217">
                  <c:v>0.02</c:v>
                </c:pt>
                <c:pt idx="2218">
                  <c:v>0.03</c:v>
                </c:pt>
                <c:pt idx="2219">
                  <c:v>0.13</c:v>
                </c:pt>
                <c:pt idx="2220">
                  <c:v>0.03</c:v>
                </c:pt>
                <c:pt idx="2221">
                  <c:v>0.03</c:v>
                </c:pt>
                <c:pt idx="2222">
                  <c:v>0.01</c:v>
                </c:pt>
                <c:pt idx="2223">
                  <c:v>0.02</c:v>
                </c:pt>
                <c:pt idx="2224">
                  <c:v>0.01</c:v>
                </c:pt>
                <c:pt idx="2225">
                  <c:v>0.05</c:v>
                </c:pt>
                <c:pt idx="2226">
                  <c:v>0.03</c:v>
                </c:pt>
                <c:pt idx="2227">
                  <c:v>0.02</c:v>
                </c:pt>
                <c:pt idx="2228">
                  <c:v>0.03</c:v>
                </c:pt>
                <c:pt idx="2229">
                  <c:v>0.02</c:v>
                </c:pt>
                <c:pt idx="2230">
                  <c:v>0.02</c:v>
                </c:pt>
                <c:pt idx="2231">
                  <c:v>0.01</c:v>
                </c:pt>
                <c:pt idx="2232">
                  <c:v>0.05</c:v>
                </c:pt>
                <c:pt idx="2233">
                  <c:v>0.01</c:v>
                </c:pt>
                <c:pt idx="2234">
                  <c:v>0.03</c:v>
                </c:pt>
                <c:pt idx="2235">
                  <c:v>0.03</c:v>
                </c:pt>
                <c:pt idx="2236">
                  <c:v>0.01</c:v>
                </c:pt>
                <c:pt idx="2237">
                  <c:v>0.01</c:v>
                </c:pt>
                <c:pt idx="2238">
                  <c:v>0.05</c:v>
                </c:pt>
                <c:pt idx="2239">
                  <c:v>0.01</c:v>
                </c:pt>
                <c:pt idx="2240">
                  <c:v>0.06</c:v>
                </c:pt>
                <c:pt idx="2241">
                  <c:v>0.03</c:v>
                </c:pt>
                <c:pt idx="2242">
                  <c:v>0.03</c:v>
                </c:pt>
                <c:pt idx="2243">
                  <c:v>0.03</c:v>
                </c:pt>
                <c:pt idx="2244">
                  <c:v>0.02</c:v>
                </c:pt>
                <c:pt idx="2245">
                  <c:v>0.02</c:v>
                </c:pt>
                <c:pt idx="2246">
                  <c:v>0.01</c:v>
                </c:pt>
                <c:pt idx="2247">
                  <c:v>0.02</c:v>
                </c:pt>
                <c:pt idx="2248">
                  <c:v>0.13</c:v>
                </c:pt>
                <c:pt idx="2249">
                  <c:v>0.01</c:v>
                </c:pt>
                <c:pt idx="2250">
                  <c:v>0.04</c:v>
                </c:pt>
                <c:pt idx="2251">
                  <c:v>0.01</c:v>
                </c:pt>
                <c:pt idx="2252">
                  <c:v>0.01</c:v>
                </c:pt>
                <c:pt idx="2253">
                  <c:v>0.01</c:v>
                </c:pt>
                <c:pt idx="2254">
                  <c:v>0.06</c:v>
                </c:pt>
                <c:pt idx="2255">
                  <c:v>0.01</c:v>
                </c:pt>
                <c:pt idx="2256">
                  <c:v>0.02</c:v>
                </c:pt>
                <c:pt idx="2257">
                  <c:v>0.02</c:v>
                </c:pt>
                <c:pt idx="2258">
                  <c:v>0.14</c:v>
                </c:pt>
                <c:pt idx="2259">
                  <c:v>0.01</c:v>
                </c:pt>
                <c:pt idx="2260">
                  <c:v>0.03</c:v>
                </c:pt>
                <c:pt idx="2261">
                  <c:v>0.01</c:v>
                </c:pt>
                <c:pt idx="2262">
                  <c:v>0.06</c:v>
                </c:pt>
                <c:pt idx="2263">
                  <c:v>0.09</c:v>
                </c:pt>
                <c:pt idx="2264">
                  <c:v>0.04</c:v>
                </c:pt>
                <c:pt idx="2265">
                  <c:v>0.03</c:v>
                </c:pt>
                <c:pt idx="2266">
                  <c:v>0.08</c:v>
                </c:pt>
                <c:pt idx="2267">
                  <c:v>0.02</c:v>
                </c:pt>
                <c:pt idx="2268">
                  <c:v>0.03</c:v>
                </c:pt>
                <c:pt idx="2269">
                  <c:v>0.04</c:v>
                </c:pt>
                <c:pt idx="2270">
                  <c:v>0.01</c:v>
                </c:pt>
                <c:pt idx="2271">
                  <c:v>0.01</c:v>
                </c:pt>
                <c:pt idx="2272">
                  <c:v>0.02</c:v>
                </c:pt>
                <c:pt idx="2273">
                  <c:v>0.01</c:v>
                </c:pt>
                <c:pt idx="2274">
                  <c:v>0.01</c:v>
                </c:pt>
                <c:pt idx="2275">
                  <c:v>0.08</c:v>
                </c:pt>
                <c:pt idx="2276">
                  <c:v>0.04</c:v>
                </c:pt>
                <c:pt idx="2277">
                  <c:v>0.04</c:v>
                </c:pt>
                <c:pt idx="2278">
                  <c:v>0.02</c:v>
                </c:pt>
                <c:pt idx="2279">
                  <c:v>0.05</c:v>
                </c:pt>
                <c:pt idx="2280">
                  <c:v>0.02</c:v>
                </c:pt>
                <c:pt idx="2281">
                  <c:v>0.01</c:v>
                </c:pt>
                <c:pt idx="2282">
                  <c:v>0.01</c:v>
                </c:pt>
                <c:pt idx="2283">
                  <c:v>0.01</c:v>
                </c:pt>
                <c:pt idx="2284">
                  <c:v>0.02</c:v>
                </c:pt>
                <c:pt idx="2285">
                  <c:v>0.04</c:v>
                </c:pt>
                <c:pt idx="2286">
                  <c:v>0.01</c:v>
                </c:pt>
                <c:pt idx="2287">
                  <c:v>0.02</c:v>
                </c:pt>
                <c:pt idx="2288">
                  <c:v>0.01</c:v>
                </c:pt>
                <c:pt idx="2289">
                  <c:v>0.05</c:v>
                </c:pt>
                <c:pt idx="2290">
                  <c:v>0.07</c:v>
                </c:pt>
                <c:pt idx="2291">
                  <c:v>0.02</c:v>
                </c:pt>
                <c:pt idx="2292">
                  <c:v>0.02</c:v>
                </c:pt>
                <c:pt idx="2293">
                  <c:v>0.02</c:v>
                </c:pt>
                <c:pt idx="2294">
                  <c:v>0.01</c:v>
                </c:pt>
                <c:pt idx="2295">
                  <c:v>0.06</c:v>
                </c:pt>
                <c:pt idx="2296">
                  <c:v>0.02</c:v>
                </c:pt>
                <c:pt idx="2297">
                  <c:v>0.01</c:v>
                </c:pt>
                <c:pt idx="2298">
                  <c:v>0.02</c:v>
                </c:pt>
                <c:pt idx="2299">
                  <c:v>0.04</c:v>
                </c:pt>
                <c:pt idx="2300">
                  <c:v>0.02</c:v>
                </c:pt>
                <c:pt idx="2301">
                  <c:v>0.02</c:v>
                </c:pt>
                <c:pt idx="2302">
                  <c:v>0.13</c:v>
                </c:pt>
                <c:pt idx="2303">
                  <c:v>0.03</c:v>
                </c:pt>
                <c:pt idx="2304">
                  <c:v>0.04</c:v>
                </c:pt>
                <c:pt idx="2305">
                  <c:v>0.03</c:v>
                </c:pt>
                <c:pt idx="2306">
                  <c:v>0.05</c:v>
                </c:pt>
                <c:pt idx="2307">
                  <c:v>0.07</c:v>
                </c:pt>
                <c:pt idx="2308">
                  <c:v>0.04</c:v>
                </c:pt>
                <c:pt idx="2309">
                  <c:v>0.04</c:v>
                </c:pt>
                <c:pt idx="2310">
                  <c:v>0.01</c:v>
                </c:pt>
                <c:pt idx="2311">
                  <c:v>0.03</c:v>
                </c:pt>
                <c:pt idx="2312">
                  <c:v>0.01</c:v>
                </c:pt>
                <c:pt idx="2313">
                  <c:v>0.05</c:v>
                </c:pt>
                <c:pt idx="2314">
                  <c:v>0.06</c:v>
                </c:pt>
                <c:pt idx="2315">
                  <c:v>0.03</c:v>
                </c:pt>
                <c:pt idx="2316">
                  <c:v>0.13</c:v>
                </c:pt>
                <c:pt idx="2317">
                  <c:v>0.02</c:v>
                </c:pt>
                <c:pt idx="2318">
                  <c:v>0.04</c:v>
                </c:pt>
                <c:pt idx="2319">
                  <c:v>0.02</c:v>
                </c:pt>
                <c:pt idx="2320">
                  <c:v>0.03</c:v>
                </c:pt>
                <c:pt idx="2321">
                  <c:v>0.02</c:v>
                </c:pt>
                <c:pt idx="2322">
                  <c:v>0.04</c:v>
                </c:pt>
                <c:pt idx="2323">
                  <c:v>0.02</c:v>
                </c:pt>
                <c:pt idx="2324">
                  <c:v>0.03</c:v>
                </c:pt>
                <c:pt idx="2325">
                  <c:v>0.04</c:v>
                </c:pt>
                <c:pt idx="2326">
                  <c:v>0.03</c:v>
                </c:pt>
                <c:pt idx="2327">
                  <c:v>0.01</c:v>
                </c:pt>
                <c:pt idx="2328">
                  <c:v>0.02</c:v>
                </c:pt>
                <c:pt idx="2329">
                  <c:v>0.01</c:v>
                </c:pt>
                <c:pt idx="2330">
                  <c:v>0.02</c:v>
                </c:pt>
                <c:pt idx="2331">
                  <c:v>0.02</c:v>
                </c:pt>
                <c:pt idx="2332">
                  <c:v>0.06</c:v>
                </c:pt>
                <c:pt idx="2333">
                  <c:v>0.01</c:v>
                </c:pt>
                <c:pt idx="2334">
                  <c:v>0.01</c:v>
                </c:pt>
                <c:pt idx="2335">
                  <c:v>0.19</c:v>
                </c:pt>
                <c:pt idx="2336">
                  <c:v>0.07</c:v>
                </c:pt>
                <c:pt idx="2337">
                  <c:v>0.02</c:v>
                </c:pt>
                <c:pt idx="2338">
                  <c:v>0.03</c:v>
                </c:pt>
                <c:pt idx="2339">
                  <c:v>0.07</c:v>
                </c:pt>
                <c:pt idx="2340">
                  <c:v>0.03</c:v>
                </c:pt>
                <c:pt idx="2341">
                  <c:v>0.03</c:v>
                </c:pt>
                <c:pt idx="2342">
                  <c:v>0.04</c:v>
                </c:pt>
                <c:pt idx="2343">
                  <c:v>0.02</c:v>
                </c:pt>
                <c:pt idx="2344">
                  <c:v>0.04</c:v>
                </c:pt>
                <c:pt idx="2345">
                  <c:v>0.01</c:v>
                </c:pt>
                <c:pt idx="2346">
                  <c:v>0.01</c:v>
                </c:pt>
                <c:pt idx="2347">
                  <c:v>0.07</c:v>
                </c:pt>
                <c:pt idx="2348">
                  <c:v>0.02</c:v>
                </c:pt>
                <c:pt idx="2349">
                  <c:v>0.03</c:v>
                </c:pt>
                <c:pt idx="2350">
                  <c:v>0.01</c:v>
                </c:pt>
                <c:pt idx="2351">
                  <c:v>0.01</c:v>
                </c:pt>
                <c:pt idx="2352">
                  <c:v>0.03</c:v>
                </c:pt>
                <c:pt idx="2353">
                  <c:v>0.01</c:v>
                </c:pt>
                <c:pt idx="2354">
                  <c:v>0.02</c:v>
                </c:pt>
                <c:pt idx="2355">
                  <c:v>0.01</c:v>
                </c:pt>
                <c:pt idx="2356">
                  <c:v>0.17</c:v>
                </c:pt>
                <c:pt idx="2357">
                  <c:v>0.01</c:v>
                </c:pt>
                <c:pt idx="2358">
                  <c:v>0.01</c:v>
                </c:pt>
                <c:pt idx="2359">
                  <c:v>0.03</c:v>
                </c:pt>
                <c:pt idx="2360">
                  <c:v>0.06</c:v>
                </c:pt>
                <c:pt idx="2361">
                  <c:v>0.01</c:v>
                </c:pt>
                <c:pt idx="2362">
                  <c:v>0.01</c:v>
                </c:pt>
                <c:pt idx="2363">
                  <c:v>0.01</c:v>
                </c:pt>
                <c:pt idx="2364">
                  <c:v>0.01</c:v>
                </c:pt>
                <c:pt idx="2365">
                  <c:v>0.03</c:v>
                </c:pt>
                <c:pt idx="2366">
                  <c:v>0.03</c:v>
                </c:pt>
                <c:pt idx="2367">
                  <c:v>0.01</c:v>
                </c:pt>
                <c:pt idx="2368">
                  <c:v>0.07</c:v>
                </c:pt>
                <c:pt idx="2369">
                  <c:v>0.11</c:v>
                </c:pt>
                <c:pt idx="2370">
                  <c:v>0.01</c:v>
                </c:pt>
                <c:pt idx="2371">
                  <c:v>0.01</c:v>
                </c:pt>
                <c:pt idx="2372">
                  <c:v>0.01</c:v>
                </c:pt>
                <c:pt idx="2373">
                  <c:v>0.01</c:v>
                </c:pt>
                <c:pt idx="2374">
                  <c:v>0.01</c:v>
                </c:pt>
                <c:pt idx="2375">
                  <c:v>0.06</c:v>
                </c:pt>
                <c:pt idx="2376">
                  <c:v>0.02</c:v>
                </c:pt>
                <c:pt idx="2377">
                  <c:v>0.02</c:v>
                </c:pt>
                <c:pt idx="2378">
                  <c:v>0.02</c:v>
                </c:pt>
                <c:pt idx="2379">
                  <c:v>0.02</c:v>
                </c:pt>
                <c:pt idx="2380">
                  <c:v>0.01</c:v>
                </c:pt>
                <c:pt idx="2381">
                  <c:v>0.01</c:v>
                </c:pt>
                <c:pt idx="2382">
                  <c:v>0.05</c:v>
                </c:pt>
                <c:pt idx="2383">
                  <c:v>0.01</c:v>
                </c:pt>
                <c:pt idx="2384">
                  <c:v>0.01</c:v>
                </c:pt>
                <c:pt idx="2385">
                  <c:v>0.01</c:v>
                </c:pt>
                <c:pt idx="2386">
                  <c:v>0.01</c:v>
                </c:pt>
                <c:pt idx="2387">
                  <c:v>0.02</c:v>
                </c:pt>
                <c:pt idx="2388">
                  <c:v>0.01</c:v>
                </c:pt>
                <c:pt idx="2389">
                  <c:v>0.07</c:v>
                </c:pt>
                <c:pt idx="2390">
                  <c:v>0.03</c:v>
                </c:pt>
                <c:pt idx="2391">
                  <c:v>0.04</c:v>
                </c:pt>
                <c:pt idx="2392">
                  <c:v>0.03</c:v>
                </c:pt>
                <c:pt idx="2393">
                  <c:v>0.01</c:v>
                </c:pt>
                <c:pt idx="2394">
                  <c:v>0.01</c:v>
                </c:pt>
                <c:pt idx="2395">
                  <c:v>0.02</c:v>
                </c:pt>
                <c:pt idx="2396">
                  <c:v>0.02</c:v>
                </c:pt>
                <c:pt idx="2397">
                  <c:v>0.07</c:v>
                </c:pt>
                <c:pt idx="2398">
                  <c:v>0.01</c:v>
                </c:pt>
                <c:pt idx="2399">
                  <c:v>0.01</c:v>
                </c:pt>
                <c:pt idx="2400">
                  <c:v>0.09</c:v>
                </c:pt>
                <c:pt idx="2401">
                  <c:v>0.03</c:v>
                </c:pt>
                <c:pt idx="2402">
                  <c:v>0.02</c:v>
                </c:pt>
                <c:pt idx="2403">
                  <c:v>0.01</c:v>
                </c:pt>
                <c:pt idx="2404">
                  <c:v>0.03</c:v>
                </c:pt>
                <c:pt idx="2405">
                  <c:v>0.02</c:v>
                </c:pt>
                <c:pt idx="2406">
                  <c:v>0.02</c:v>
                </c:pt>
                <c:pt idx="2407">
                  <c:v>0.05</c:v>
                </c:pt>
                <c:pt idx="2408">
                  <c:v>0.01</c:v>
                </c:pt>
                <c:pt idx="2409">
                  <c:v>0.01</c:v>
                </c:pt>
                <c:pt idx="2410">
                  <c:v>0.02</c:v>
                </c:pt>
                <c:pt idx="2411">
                  <c:v>0.02</c:v>
                </c:pt>
                <c:pt idx="2412">
                  <c:v>0.02</c:v>
                </c:pt>
                <c:pt idx="2413">
                  <c:v>0.04</c:v>
                </c:pt>
                <c:pt idx="2414">
                  <c:v>0.02</c:v>
                </c:pt>
                <c:pt idx="2415">
                  <c:v>0.01</c:v>
                </c:pt>
                <c:pt idx="2416">
                  <c:v>0.02</c:v>
                </c:pt>
                <c:pt idx="2417">
                  <c:v>0.02</c:v>
                </c:pt>
                <c:pt idx="2418">
                  <c:v>0.03</c:v>
                </c:pt>
                <c:pt idx="2419">
                  <c:v>0.01</c:v>
                </c:pt>
                <c:pt idx="2420">
                  <c:v>0.01</c:v>
                </c:pt>
                <c:pt idx="2421">
                  <c:v>0.03</c:v>
                </c:pt>
                <c:pt idx="2422">
                  <c:v>0.01</c:v>
                </c:pt>
                <c:pt idx="2423">
                  <c:v>0.01</c:v>
                </c:pt>
                <c:pt idx="2424">
                  <c:v>0.02</c:v>
                </c:pt>
                <c:pt idx="2425">
                  <c:v>0.04</c:v>
                </c:pt>
                <c:pt idx="2426">
                  <c:v>0.19</c:v>
                </c:pt>
                <c:pt idx="2427">
                  <c:v>0.01</c:v>
                </c:pt>
                <c:pt idx="2428">
                  <c:v>0.03</c:v>
                </c:pt>
                <c:pt idx="2429">
                  <c:v>0.03</c:v>
                </c:pt>
                <c:pt idx="2430">
                  <c:v>0.04</c:v>
                </c:pt>
                <c:pt idx="2431">
                  <c:v>0.01</c:v>
                </c:pt>
                <c:pt idx="2432">
                  <c:v>0.01</c:v>
                </c:pt>
                <c:pt idx="2433">
                  <c:v>0.02</c:v>
                </c:pt>
                <c:pt idx="2434">
                  <c:v>0.04</c:v>
                </c:pt>
                <c:pt idx="2435">
                  <c:v>0.01</c:v>
                </c:pt>
                <c:pt idx="2436">
                  <c:v>0.12</c:v>
                </c:pt>
                <c:pt idx="2437">
                  <c:v>0.09</c:v>
                </c:pt>
                <c:pt idx="2438">
                  <c:v>0.02</c:v>
                </c:pt>
                <c:pt idx="2439">
                  <c:v>0.03</c:v>
                </c:pt>
                <c:pt idx="2440">
                  <c:v>0.01</c:v>
                </c:pt>
                <c:pt idx="2441">
                  <c:v>0.01</c:v>
                </c:pt>
                <c:pt idx="2442">
                  <c:v>0.02</c:v>
                </c:pt>
                <c:pt idx="2443">
                  <c:v>0.02</c:v>
                </c:pt>
                <c:pt idx="2444">
                  <c:v>0.03</c:v>
                </c:pt>
                <c:pt idx="2445">
                  <c:v>0.06</c:v>
                </c:pt>
                <c:pt idx="2446">
                  <c:v>0.01</c:v>
                </c:pt>
                <c:pt idx="2447">
                  <c:v>0.02</c:v>
                </c:pt>
                <c:pt idx="2448">
                  <c:v>0.01</c:v>
                </c:pt>
                <c:pt idx="2449">
                  <c:v>0.03</c:v>
                </c:pt>
                <c:pt idx="2450">
                  <c:v>0.01</c:v>
                </c:pt>
                <c:pt idx="2451">
                  <c:v>0.01</c:v>
                </c:pt>
                <c:pt idx="2452">
                  <c:v>0.09</c:v>
                </c:pt>
                <c:pt idx="2453">
                  <c:v>0.11</c:v>
                </c:pt>
                <c:pt idx="2454">
                  <c:v>0.01</c:v>
                </c:pt>
                <c:pt idx="2455">
                  <c:v>0.01</c:v>
                </c:pt>
                <c:pt idx="2456">
                  <c:v>0.03</c:v>
                </c:pt>
                <c:pt idx="2457">
                  <c:v>0.02</c:v>
                </c:pt>
                <c:pt idx="2458">
                  <c:v>0.06</c:v>
                </c:pt>
                <c:pt idx="2459">
                  <c:v>0.01</c:v>
                </c:pt>
                <c:pt idx="2460">
                  <c:v>0.03</c:v>
                </c:pt>
                <c:pt idx="2461">
                  <c:v>0.08</c:v>
                </c:pt>
                <c:pt idx="2462">
                  <c:v>0.01</c:v>
                </c:pt>
                <c:pt idx="2463">
                  <c:v>0.01</c:v>
                </c:pt>
                <c:pt idx="2464">
                  <c:v>0.01</c:v>
                </c:pt>
                <c:pt idx="2465">
                  <c:v>0.02</c:v>
                </c:pt>
                <c:pt idx="2466">
                  <c:v>0.01</c:v>
                </c:pt>
                <c:pt idx="2467">
                  <c:v>0.01</c:v>
                </c:pt>
                <c:pt idx="2468">
                  <c:v>0.01</c:v>
                </c:pt>
                <c:pt idx="2469">
                  <c:v>0.03</c:v>
                </c:pt>
                <c:pt idx="2470">
                  <c:v>0.03</c:v>
                </c:pt>
                <c:pt idx="2471">
                  <c:v>0.01</c:v>
                </c:pt>
                <c:pt idx="2472">
                  <c:v>0.02</c:v>
                </c:pt>
                <c:pt idx="2473">
                  <c:v>0.01</c:v>
                </c:pt>
                <c:pt idx="2474">
                  <c:v>0.01</c:v>
                </c:pt>
                <c:pt idx="2475">
                  <c:v>0.1</c:v>
                </c:pt>
                <c:pt idx="2476">
                  <c:v>0.05</c:v>
                </c:pt>
                <c:pt idx="2477">
                  <c:v>0.06</c:v>
                </c:pt>
                <c:pt idx="2478">
                  <c:v>0.02</c:v>
                </c:pt>
                <c:pt idx="2479">
                  <c:v>0.01</c:v>
                </c:pt>
                <c:pt idx="2480">
                  <c:v>0.02</c:v>
                </c:pt>
                <c:pt idx="2481">
                  <c:v>0.01</c:v>
                </c:pt>
                <c:pt idx="2482">
                  <c:v>0.02</c:v>
                </c:pt>
                <c:pt idx="2483">
                  <c:v>0.08</c:v>
                </c:pt>
                <c:pt idx="2484">
                  <c:v>0.01</c:v>
                </c:pt>
                <c:pt idx="2485">
                  <c:v>0.01</c:v>
                </c:pt>
                <c:pt idx="2486">
                  <c:v>0.03</c:v>
                </c:pt>
                <c:pt idx="2487">
                  <c:v>0.01</c:v>
                </c:pt>
                <c:pt idx="2488">
                  <c:v>0.08</c:v>
                </c:pt>
                <c:pt idx="2489">
                  <c:v>0.02</c:v>
                </c:pt>
                <c:pt idx="2490">
                  <c:v>0.01</c:v>
                </c:pt>
                <c:pt idx="2491">
                  <c:v>0.01</c:v>
                </c:pt>
                <c:pt idx="2492">
                  <c:v>0.13</c:v>
                </c:pt>
                <c:pt idx="2493">
                  <c:v>0.01</c:v>
                </c:pt>
                <c:pt idx="2494">
                  <c:v>0.02</c:v>
                </c:pt>
                <c:pt idx="2495">
                  <c:v>0.01</c:v>
                </c:pt>
                <c:pt idx="2496">
                  <c:v>0.07</c:v>
                </c:pt>
                <c:pt idx="2497">
                  <c:v>0.02</c:v>
                </c:pt>
                <c:pt idx="2498">
                  <c:v>0.02</c:v>
                </c:pt>
                <c:pt idx="2499">
                  <c:v>0.02</c:v>
                </c:pt>
                <c:pt idx="2500">
                  <c:v>0.04</c:v>
                </c:pt>
                <c:pt idx="2501">
                  <c:v>0.02</c:v>
                </c:pt>
                <c:pt idx="2502">
                  <c:v>0.02</c:v>
                </c:pt>
                <c:pt idx="2503">
                  <c:v>0.01</c:v>
                </c:pt>
                <c:pt idx="2504">
                  <c:v>0.03</c:v>
                </c:pt>
                <c:pt idx="2505">
                  <c:v>0.01</c:v>
                </c:pt>
                <c:pt idx="2506">
                  <c:v>0.01</c:v>
                </c:pt>
                <c:pt idx="2507">
                  <c:v>0.04</c:v>
                </c:pt>
                <c:pt idx="2508">
                  <c:v>0.04</c:v>
                </c:pt>
                <c:pt idx="2509">
                  <c:v>0.01</c:v>
                </c:pt>
                <c:pt idx="2510">
                  <c:v>0.08</c:v>
                </c:pt>
                <c:pt idx="2511">
                  <c:v>0.01</c:v>
                </c:pt>
                <c:pt idx="2512">
                  <c:v>0.01</c:v>
                </c:pt>
                <c:pt idx="2513">
                  <c:v>0.02</c:v>
                </c:pt>
                <c:pt idx="2514">
                  <c:v>0.04</c:v>
                </c:pt>
                <c:pt idx="2515">
                  <c:v>0.01</c:v>
                </c:pt>
                <c:pt idx="2516">
                  <c:v>0.01</c:v>
                </c:pt>
                <c:pt idx="2517">
                  <c:v>0.03</c:v>
                </c:pt>
                <c:pt idx="2518">
                  <c:v>0.02</c:v>
                </c:pt>
                <c:pt idx="2519">
                  <c:v>0.03</c:v>
                </c:pt>
                <c:pt idx="2520">
                  <c:v>0.03</c:v>
                </c:pt>
                <c:pt idx="2521">
                  <c:v>0.02</c:v>
                </c:pt>
                <c:pt idx="2522">
                  <c:v>0.01</c:v>
                </c:pt>
                <c:pt idx="2523">
                  <c:v>0.02</c:v>
                </c:pt>
                <c:pt idx="2524">
                  <c:v>0.05</c:v>
                </c:pt>
                <c:pt idx="2525">
                  <c:v>0.01</c:v>
                </c:pt>
                <c:pt idx="2526">
                  <c:v>0.03</c:v>
                </c:pt>
                <c:pt idx="2527">
                  <c:v>0.03</c:v>
                </c:pt>
                <c:pt idx="2528">
                  <c:v>0.01</c:v>
                </c:pt>
                <c:pt idx="2529">
                  <c:v>0.03</c:v>
                </c:pt>
                <c:pt idx="2530">
                  <c:v>0.02</c:v>
                </c:pt>
                <c:pt idx="2531">
                  <c:v>0.02</c:v>
                </c:pt>
                <c:pt idx="2532">
                  <c:v>0.04</c:v>
                </c:pt>
                <c:pt idx="2533">
                  <c:v>0.01</c:v>
                </c:pt>
                <c:pt idx="2534">
                  <c:v>0.04</c:v>
                </c:pt>
                <c:pt idx="2535">
                  <c:v>0.01</c:v>
                </c:pt>
                <c:pt idx="2536">
                  <c:v>0.07</c:v>
                </c:pt>
                <c:pt idx="2537">
                  <c:v>0.01</c:v>
                </c:pt>
                <c:pt idx="2538">
                  <c:v>0.02</c:v>
                </c:pt>
                <c:pt idx="2539">
                  <c:v>0.14</c:v>
                </c:pt>
                <c:pt idx="2540">
                  <c:v>0.08</c:v>
                </c:pt>
                <c:pt idx="2541">
                  <c:v>0.03</c:v>
                </c:pt>
                <c:pt idx="2542">
                  <c:v>0.02</c:v>
                </c:pt>
                <c:pt idx="2543">
                  <c:v>0.03</c:v>
                </c:pt>
                <c:pt idx="2544">
                  <c:v>0.05</c:v>
                </c:pt>
                <c:pt idx="2545">
                  <c:v>0.02</c:v>
                </c:pt>
                <c:pt idx="2546">
                  <c:v>0.02</c:v>
                </c:pt>
                <c:pt idx="2547">
                  <c:v>0.01</c:v>
                </c:pt>
                <c:pt idx="2548">
                  <c:v>0.01</c:v>
                </c:pt>
                <c:pt idx="2549">
                  <c:v>0.01</c:v>
                </c:pt>
                <c:pt idx="2550">
                  <c:v>0.02</c:v>
                </c:pt>
                <c:pt idx="2551">
                  <c:v>0.01</c:v>
                </c:pt>
                <c:pt idx="2552">
                  <c:v>0.04</c:v>
                </c:pt>
                <c:pt idx="2553">
                  <c:v>0.02</c:v>
                </c:pt>
                <c:pt idx="2554">
                  <c:v>0.12</c:v>
                </c:pt>
                <c:pt idx="2555">
                  <c:v>0.04</c:v>
                </c:pt>
                <c:pt idx="2556">
                  <c:v>0.01</c:v>
                </c:pt>
                <c:pt idx="2557">
                  <c:v>0.01</c:v>
                </c:pt>
                <c:pt idx="2558">
                  <c:v>0.13</c:v>
                </c:pt>
                <c:pt idx="2559">
                  <c:v>0.01</c:v>
                </c:pt>
                <c:pt idx="2560">
                  <c:v>0.01</c:v>
                </c:pt>
                <c:pt idx="2561">
                  <c:v>0.14</c:v>
                </c:pt>
                <c:pt idx="2562">
                  <c:v>0.01</c:v>
                </c:pt>
                <c:pt idx="2563">
                  <c:v>0.01</c:v>
                </c:pt>
                <c:pt idx="2564">
                  <c:v>0.05</c:v>
                </c:pt>
                <c:pt idx="2565">
                  <c:v>0.02</c:v>
                </c:pt>
                <c:pt idx="2566">
                  <c:v>0.02</c:v>
                </c:pt>
                <c:pt idx="2567">
                  <c:v>0.01</c:v>
                </c:pt>
                <c:pt idx="2568">
                  <c:v>0.01</c:v>
                </c:pt>
                <c:pt idx="2569">
                  <c:v>0.01</c:v>
                </c:pt>
                <c:pt idx="2570">
                  <c:v>0.01</c:v>
                </c:pt>
                <c:pt idx="2571">
                  <c:v>0.02</c:v>
                </c:pt>
                <c:pt idx="2572">
                  <c:v>0.01</c:v>
                </c:pt>
                <c:pt idx="2573">
                  <c:v>0.01</c:v>
                </c:pt>
                <c:pt idx="2574">
                  <c:v>0.01</c:v>
                </c:pt>
                <c:pt idx="2575">
                  <c:v>0.02</c:v>
                </c:pt>
                <c:pt idx="2576">
                  <c:v>0.01</c:v>
                </c:pt>
                <c:pt idx="2577">
                  <c:v>0.01</c:v>
                </c:pt>
                <c:pt idx="2578">
                  <c:v>0.03</c:v>
                </c:pt>
                <c:pt idx="2579">
                  <c:v>0.01</c:v>
                </c:pt>
                <c:pt idx="2580">
                  <c:v>0.01</c:v>
                </c:pt>
                <c:pt idx="2581">
                  <c:v>0.04</c:v>
                </c:pt>
                <c:pt idx="2582">
                  <c:v>0.01</c:v>
                </c:pt>
                <c:pt idx="2583">
                  <c:v>0.01</c:v>
                </c:pt>
                <c:pt idx="2584">
                  <c:v>0.03</c:v>
                </c:pt>
                <c:pt idx="2585">
                  <c:v>0.01</c:v>
                </c:pt>
                <c:pt idx="2586">
                  <c:v>0.01</c:v>
                </c:pt>
                <c:pt idx="2587">
                  <c:v>0.03</c:v>
                </c:pt>
                <c:pt idx="2588">
                  <c:v>0.01</c:v>
                </c:pt>
                <c:pt idx="2589">
                  <c:v>0.02</c:v>
                </c:pt>
                <c:pt idx="2590">
                  <c:v>0.02</c:v>
                </c:pt>
                <c:pt idx="2591">
                  <c:v>0.02</c:v>
                </c:pt>
                <c:pt idx="2592">
                  <c:v>0.01</c:v>
                </c:pt>
                <c:pt idx="2593">
                  <c:v>0.02</c:v>
                </c:pt>
                <c:pt idx="2594">
                  <c:v>0.01</c:v>
                </c:pt>
                <c:pt idx="2595">
                  <c:v>0.07</c:v>
                </c:pt>
                <c:pt idx="2596">
                  <c:v>0.01</c:v>
                </c:pt>
                <c:pt idx="2597">
                  <c:v>0.03</c:v>
                </c:pt>
                <c:pt idx="2598">
                  <c:v>0.02</c:v>
                </c:pt>
                <c:pt idx="2599">
                  <c:v>0.01</c:v>
                </c:pt>
                <c:pt idx="2600">
                  <c:v>0.01</c:v>
                </c:pt>
                <c:pt idx="2601">
                  <c:v>0.01</c:v>
                </c:pt>
                <c:pt idx="2602">
                  <c:v>0.01</c:v>
                </c:pt>
                <c:pt idx="2603">
                  <c:v>0.02</c:v>
                </c:pt>
                <c:pt idx="2604">
                  <c:v>0.02</c:v>
                </c:pt>
                <c:pt idx="2605">
                  <c:v>0.04</c:v>
                </c:pt>
                <c:pt idx="2606">
                  <c:v>0.01</c:v>
                </c:pt>
                <c:pt idx="2607">
                  <c:v>0.12</c:v>
                </c:pt>
                <c:pt idx="2608">
                  <c:v>0.01</c:v>
                </c:pt>
                <c:pt idx="2609">
                  <c:v>0.02</c:v>
                </c:pt>
                <c:pt idx="2610">
                  <c:v>0.06</c:v>
                </c:pt>
                <c:pt idx="2611">
                  <c:v>0.01</c:v>
                </c:pt>
                <c:pt idx="2612">
                  <c:v>0.02</c:v>
                </c:pt>
                <c:pt idx="2613">
                  <c:v>0.02</c:v>
                </c:pt>
                <c:pt idx="2614">
                  <c:v>0.01</c:v>
                </c:pt>
                <c:pt idx="2615">
                  <c:v>0.01</c:v>
                </c:pt>
                <c:pt idx="2616">
                  <c:v>0.01</c:v>
                </c:pt>
                <c:pt idx="2617">
                  <c:v>0.01</c:v>
                </c:pt>
                <c:pt idx="2618">
                  <c:v>0.02</c:v>
                </c:pt>
                <c:pt idx="2619">
                  <c:v>0.03</c:v>
                </c:pt>
                <c:pt idx="2620">
                  <c:v>0.01</c:v>
                </c:pt>
                <c:pt idx="2621">
                  <c:v>0.01</c:v>
                </c:pt>
                <c:pt idx="2622">
                  <c:v>0.01</c:v>
                </c:pt>
                <c:pt idx="2623">
                  <c:v>0.02</c:v>
                </c:pt>
                <c:pt idx="2624">
                  <c:v>0.02</c:v>
                </c:pt>
                <c:pt idx="2625">
                  <c:v>0.02</c:v>
                </c:pt>
                <c:pt idx="2626">
                  <c:v>0.04</c:v>
                </c:pt>
                <c:pt idx="2627">
                  <c:v>0.02</c:v>
                </c:pt>
                <c:pt idx="2628">
                  <c:v>0.01</c:v>
                </c:pt>
                <c:pt idx="2629">
                  <c:v>0.02</c:v>
                </c:pt>
                <c:pt idx="2630">
                  <c:v>0.02</c:v>
                </c:pt>
                <c:pt idx="2631">
                  <c:v>0.01</c:v>
                </c:pt>
                <c:pt idx="2632">
                  <c:v>0.01</c:v>
                </c:pt>
                <c:pt idx="2633">
                  <c:v>0.01</c:v>
                </c:pt>
                <c:pt idx="2634">
                  <c:v>0.01</c:v>
                </c:pt>
                <c:pt idx="2635">
                  <c:v>0.04</c:v>
                </c:pt>
                <c:pt idx="2636">
                  <c:v>0.01</c:v>
                </c:pt>
                <c:pt idx="2637">
                  <c:v>0.01</c:v>
                </c:pt>
                <c:pt idx="2638">
                  <c:v>0.03</c:v>
                </c:pt>
                <c:pt idx="2639">
                  <c:v>0.02</c:v>
                </c:pt>
                <c:pt idx="2640">
                  <c:v>0.02</c:v>
                </c:pt>
                <c:pt idx="2641">
                  <c:v>0.01</c:v>
                </c:pt>
                <c:pt idx="2642">
                  <c:v>0.01</c:v>
                </c:pt>
                <c:pt idx="2643">
                  <c:v>0.02</c:v>
                </c:pt>
                <c:pt idx="2644">
                  <c:v>0.03</c:v>
                </c:pt>
                <c:pt idx="2645">
                  <c:v>0.03</c:v>
                </c:pt>
                <c:pt idx="2646">
                  <c:v>0.02</c:v>
                </c:pt>
                <c:pt idx="2647">
                  <c:v>0.02</c:v>
                </c:pt>
                <c:pt idx="2648">
                  <c:v>0.01</c:v>
                </c:pt>
                <c:pt idx="2649">
                  <c:v>0.01</c:v>
                </c:pt>
                <c:pt idx="2650">
                  <c:v>0.06</c:v>
                </c:pt>
                <c:pt idx="2651">
                  <c:v>0.01</c:v>
                </c:pt>
                <c:pt idx="2652">
                  <c:v>0.01</c:v>
                </c:pt>
                <c:pt idx="2653">
                  <c:v>0.03</c:v>
                </c:pt>
                <c:pt idx="2654">
                  <c:v>0.01</c:v>
                </c:pt>
                <c:pt idx="2655">
                  <c:v>0.03</c:v>
                </c:pt>
                <c:pt idx="2656">
                  <c:v>0.01</c:v>
                </c:pt>
                <c:pt idx="2657">
                  <c:v>0.01</c:v>
                </c:pt>
                <c:pt idx="2658">
                  <c:v>0.01</c:v>
                </c:pt>
                <c:pt idx="2659">
                  <c:v>0.01</c:v>
                </c:pt>
                <c:pt idx="2660">
                  <c:v>0.01</c:v>
                </c:pt>
                <c:pt idx="2661">
                  <c:v>0.02</c:v>
                </c:pt>
                <c:pt idx="2662">
                  <c:v>0.01</c:v>
                </c:pt>
                <c:pt idx="2663">
                  <c:v>0.04</c:v>
                </c:pt>
                <c:pt idx="2664">
                  <c:v>0.07</c:v>
                </c:pt>
                <c:pt idx="2665">
                  <c:v>0.01</c:v>
                </c:pt>
                <c:pt idx="2666">
                  <c:v>0.01</c:v>
                </c:pt>
                <c:pt idx="2667">
                  <c:v>0.01</c:v>
                </c:pt>
                <c:pt idx="2668">
                  <c:v>0.01</c:v>
                </c:pt>
                <c:pt idx="2669">
                  <c:v>0.05</c:v>
                </c:pt>
                <c:pt idx="2670">
                  <c:v>0.01</c:v>
                </c:pt>
                <c:pt idx="2671">
                  <c:v>0.01</c:v>
                </c:pt>
                <c:pt idx="2672">
                  <c:v>0.03</c:v>
                </c:pt>
                <c:pt idx="2673">
                  <c:v>0.01</c:v>
                </c:pt>
                <c:pt idx="2674">
                  <c:v>0.01</c:v>
                </c:pt>
                <c:pt idx="2675">
                  <c:v>0.01</c:v>
                </c:pt>
                <c:pt idx="2676">
                  <c:v>0.03</c:v>
                </c:pt>
                <c:pt idx="2677">
                  <c:v>0.01</c:v>
                </c:pt>
                <c:pt idx="2678">
                  <c:v>0.02</c:v>
                </c:pt>
                <c:pt idx="2679">
                  <c:v>0.01</c:v>
                </c:pt>
                <c:pt idx="2680">
                  <c:v>0.01</c:v>
                </c:pt>
                <c:pt idx="2681">
                  <c:v>0.01</c:v>
                </c:pt>
                <c:pt idx="2682">
                  <c:v>0.01</c:v>
                </c:pt>
                <c:pt idx="2683">
                  <c:v>0.02</c:v>
                </c:pt>
                <c:pt idx="2684">
                  <c:v>0.01</c:v>
                </c:pt>
                <c:pt idx="2685">
                  <c:v>0.01</c:v>
                </c:pt>
                <c:pt idx="2686">
                  <c:v>0.01</c:v>
                </c:pt>
                <c:pt idx="2687">
                  <c:v>0.02</c:v>
                </c:pt>
                <c:pt idx="2688">
                  <c:v>0.02</c:v>
                </c:pt>
                <c:pt idx="2689">
                  <c:v>0.01</c:v>
                </c:pt>
                <c:pt idx="2690">
                  <c:v>0.02</c:v>
                </c:pt>
                <c:pt idx="2691">
                  <c:v>0.01</c:v>
                </c:pt>
                <c:pt idx="2692">
                  <c:v>0.01</c:v>
                </c:pt>
                <c:pt idx="2693">
                  <c:v>0.04</c:v>
                </c:pt>
                <c:pt idx="2694">
                  <c:v>0.03</c:v>
                </c:pt>
                <c:pt idx="2695">
                  <c:v>0.02</c:v>
                </c:pt>
                <c:pt idx="2696">
                  <c:v>0.02</c:v>
                </c:pt>
                <c:pt idx="2697">
                  <c:v>0.01</c:v>
                </c:pt>
                <c:pt idx="2698">
                  <c:v>0.1</c:v>
                </c:pt>
                <c:pt idx="2699">
                  <c:v>0.01</c:v>
                </c:pt>
                <c:pt idx="2700">
                  <c:v>0.01</c:v>
                </c:pt>
                <c:pt idx="2701">
                  <c:v>0.04</c:v>
                </c:pt>
                <c:pt idx="2702">
                  <c:v>0.04</c:v>
                </c:pt>
                <c:pt idx="2703">
                  <c:v>0.01</c:v>
                </c:pt>
                <c:pt idx="2704">
                  <c:v>0.01</c:v>
                </c:pt>
                <c:pt idx="2705">
                  <c:v>0.03</c:v>
                </c:pt>
                <c:pt idx="2706">
                  <c:v>0.01</c:v>
                </c:pt>
                <c:pt idx="2707">
                  <c:v>0.02</c:v>
                </c:pt>
                <c:pt idx="2708">
                  <c:v>0.02</c:v>
                </c:pt>
                <c:pt idx="2709">
                  <c:v>0.03</c:v>
                </c:pt>
                <c:pt idx="2710">
                  <c:v>0.05</c:v>
                </c:pt>
                <c:pt idx="2711">
                  <c:v>0.02</c:v>
                </c:pt>
                <c:pt idx="2712">
                  <c:v>0.01</c:v>
                </c:pt>
                <c:pt idx="2713">
                  <c:v>0.01</c:v>
                </c:pt>
                <c:pt idx="2714">
                  <c:v>0.01</c:v>
                </c:pt>
                <c:pt idx="2715">
                  <c:v>0.01</c:v>
                </c:pt>
                <c:pt idx="2716">
                  <c:v>0.03</c:v>
                </c:pt>
                <c:pt idx="2717">
                  <c:v>0.01</c:v>
                </c:pt>
                <c:pt idx="2718">
                  <c:v>0.01</c:v>
                </c:pt>
                <c:pt idx="2719">
                  <c:v>0.01</c:v>
                </c:pt>
                <c:pt idx="2720">
                  <c:v>0.01</c:v>
                </c:pt>
                <c:pt idx="2721">
                  <c:v>0.02</c:v>
                </c:pt>
                <c:pt idx="2722">
                  <c:v>0.03</c:v>
                </c:pt>
                <c:pt idx="2723">
                  <c:v>0.14</c:v>
                </c:pt>
                <c:pt idx="2724">
                  <c:v>0.02</c:v>
                </c:pt>
                <c:pt idx="2725">
                  <c:v>0.01</c:v>
                </c:pt>
                <c:pt idx="2726">
                  <c:v>0.01</c:v>
                </c:pt>
                <c:pt idx="2727">
                  <c:v>0.03</c:v>
                </c:pt>
                <c:pt idx="2728">
                  <c:v>0.03</c:v>
                </c:pt>
                <c:pt idx="2729">
                  <c:v>0.01</c:v>
                </c:pt>
                <c:pt idx="2730">
                  <c:v>0.01</c:v>
                </c:pt>
                <c:pt idx="2731">
                  <c:v>0.01</c:v>
                </c:pt>
                <c:pt idx="2732">
                  <c:v>0.03</c:v>
                </c:pt>
                <c:pt idx="2733">
                  <c:v>0.01</c:v>
                </c:pt>
                <c:pt idx="2734">
                  <c:v>0.01</c:v>
                </c:pt>
                <c:pt idx="2735">
                  <c:v>0.01</c:v>
                </c:pt>
                <c:pt idx="2736">
                  <c:v>0.01</c:v>
                </c:pt>
                <c:pt idx="2737">
                  <c:v>0.01</c:v>
                </c:pt>
                <c:pt idx="2738">
                  <c:v>0.03</c:v>
                </c:pt>
                <c:pt idx="2739">
                  <c:v>0.01</c:v>
                </c:pt>
                <c:pt idx="2740">
                  <c:v>0.01</c:v>
                </c:pt>
                <c:pt idx="2741">
                  <c:v>0.01</c:v>
                </c:pt>
                <c:pt idx="2742">
                  <c:v>0.01</c:v>
                </c:pt>
                <c:pt idx="2743">
                  <c:v>0.02</c:v>
                </c:pt>
                <c:pt idx="2744">
                  <c:v>0.02</c:v>
                </c:pt>
                <c:pt idx="2745">
                  <c:v>0.01</c:v>
                </c:pt>
                <c:pt idx="2746">
                  <c:v>0.02</c:v>
                </c:pt>
                <c:pt idx="2747">
                  <c:v>0.01</c:v>
                </c:pt>
                <c:pt idx="2748">
                  <c:v>0.01</c:v>
                </c:pt>
                <c:pt idx="2749">
                  <c:v>0.01</c:v>
                </c:pt>
                <c:pt idx="2750">
                  <c:v>0.02</c:v>
                </c:pt>
                <c:pt idx="2751">
                  <c:v>0.02</c:v>
                </c:pt>
                <c:pt idx="2752">
                  <c:v>0.01</c:v>
                </c:pt>
                <c:pt idx="2753">
                  <c:v>0.01</c:v>
                </c:pt>
                <c:pt idx="2754">
                  <c:v>0.01</c:v>
                </c:pt>
                <c:pt idx="2755">
                  <c:v>0.02</c:v>
                </c:pt>
                <c:pt idx="2756">
                  <c:v>0.01</c:v>
                </c:pt>
                <c:pt idx="2757">
                  <c:v>0.04</c:v>
                </c:pt>
                <c:pt idx="2758">
                  <c:v>0.01</c:v>
                </c:pt>
                <c:pt idx="2759">
                  <c:v>0.02</c:v>
                </c:pt>
                <c:pt idx="2760">
                  <c:v>0.02</c:v>
                </c:pt>
                <c:pt idx="2761">
                  <c:v>0.04</c:v>
                </c:pt>
                <c:pt idx="2762">
                  <c:v>0.03</c:v>
                </c:pt>
                <c:pt idx="2763">
                  <c:v>0.04</c:v>
                </c:pt>
                <c:pt idx="2764">
                  <c:v>0.01</c:v>
                </c:pt>
                <c:pt idx="2765">
                  <c:v>0.01</c:v>
                </c:pt>
                <c:pt idx="2766">
                  <c:v>0.01</c:v>
                </c:pt>
                <c:pt idx="2767">
                  <c:v>0.01</c:v>
                </c:pt>
                <c:pt idx="2768">
                  <c:v>0.01</c:v>
                </c:pt>
                <c:pt idx="2769">
                  <c:v>0.03</c:v>
                </c:pt>
                <c:pt idx="2770">
                  <c:v>0.01</c:v>
                </c:pt>
                <c:pt idx="2771">
                  <c:v>0.01</c:v>
                </c:pt>
                <c:pt idx="2772">
                  <c:v>0.01</c:v>
                </c:pt>
                <c:pt idx="2773">
                  <c:v>0.02</c:v>
                </c:pt>
                <c:pt idx="2774">
                  <c:v>0.01</c:v>
                </c:pt>
                <c:pt idx="2775">
                  <c:v>0.01</c:v>
                </c:pt>
                <c:pt idx="2776">
                  <c:v>0.02</c:v>
                </c:pt>
                <c:pt idx="2777">
                  <c:v>0.01</c:v>
                </c:pt>
                <c:pt idx="2778">
                  <c:v>0.01</c:v>
                </c:pt>
                <c:pt idx="2779">
                  <c:v>0.02</c:v>
                </c:pt>
                <c:pt idx="2780">
                  <c:v>0.01</c:v>
                </c:pt>
                <c:pt idx="2781">
                  <c:v>0.04</c:v>
                </c:pt>
                <c:pt idx="2782">
                  <c:v>0.06</c:v>
                </c:pt>
                <c:pt idx="2783">
                  <c:v>0.01</c:v>
                </c:pt>
                <c:pt idx="2784">
                  <c:v>0.01</c:v>
                </c:pt>
                <c:pt idx="2785">
                  <c:v>0.01</c:v>
                </c:pt>
                <c:pt idx="2786">
                  <c:v>0.01</c:v>
                </c:pt>
                <c:pt idx="2787">
                  <c:v>0.03</c:v>
                </c:pt>
                <c:pt idx="2788">
                  <c:v>0.01</c:v>
                </c:pt>
                <c:pt idx="2789">
                  <c:v>0.04</c:v>
                </c:pt>
                <c:pt idx="2790">
                  <c:v>0.01</c:v>
                </c:pt>
                <c:pt idx="2791">
                  <c:v>0.02</c:v>
                </c:pt>
                <c:pt idx="2792">
                  <c:v>0.01</c:v>
                </c:pt>
                <c:pt idx="2793">
                  <c:v>0.01</c:v>
                </c:pt>
                <c:pt idx="2794">
                  <c:v>0.01</c:v>
                </c:pt>
                <c:pt idx="2795">
                  <c:v>0.01</c:v>
                </c:pt>
                <c:pt idx="2796">
                  <c:v>0.01</c:v>
                </c:pt>
                <c:pt idx="2797">
                  <c:v>0.01</c:v>
                </c:pt>
                <c:pt idx="2798">
                  <c:v>0.01</c:v>
                </c:pt>
                <c:pt idx="2799">
                  <c:v>0.03</c:v>
                </c:pt>
                <c:pt idx="2800">
                  <c:v>0.01</c:v>
                </c:pt>
                <c:pt idx="2801">
                  <c:v>0.01</c:v>
                </c:pt>
                <c:pt idx="2802">
                  <c:v>0.01</c:v>
                </c:pt>
                <c:pt idx="2803">
                  <c:v>0.01</c:v>
                </c:pt>
                <c:pt idx="2804">
                  <c:v>0.06</c:v>
                </c:pt>
                <c:pt idx="2805">
                  <c:v>0.01</c:v>
                </c:pt>
                <c:pt idx="2806">
                  <c:v>0.02</c:v>
                </c:pt>
                <c:pt idx="2807">
                  <c:v>0.01</c:v>
                </c:pt>
                <c:pt idx="2808">
                  <c:v>0.35</c:v>
                </c:pt>
                <c:pt idx="2809">
                  <c:v>0.02</c:v>
                </c:pt>
                <c:pt idx="2810">
                  <c:v>0.02</c:v>
                </c:pt>
                <c:pt idx="2811">
                  <c:v>0.01</c:v>
                </c:pt>
                <c:pt idx="2812">
                  <c:v>0.01</c:v>
                </c:pt>
                <c:pt idx="2813">
                  <c:v>0.01</c:v>
                </c:pt>
                <c:pt idx="2814">
                  <c:v>0.01</c:v>
                </c:pt>
                <c:pt idx="2815">
                  <c:v>0.01</c:v>
                </c:pt>
                <c:pt idx="2816">
                  <c:v>0.02</c:v>
                </c:pt>
                <c:pt idx="2817">
                  <c:v>0.02</c:v>
                </c:pt>
                <c:pt idx="2818">
                  <c:v>0.01</c:v>
                </c:pt>
                <c:pt idx="2819">
                  <c:v>0.01</c:v>
                </c:pt>
                <c:pt idx="2820">
                  <c:v>0.01</c:v>
                </c:pt>
                <c:pt idx="2821">
                  <c:v>0.01</c:v>
                </c:pt>
                <c:pt idx="2822">
                  <c:v>0.02</c:v>
                </c:pt>
                <c:pt idx="2823">
                  <c:v>0.03</c:v>
                </c:pt>
                <c:pt idx="2824">
                  <c:v>0.01</c:v>
                </c:pt>
                <c:pt idx="2825">
                  <c:v>0.01</c:v>
                </c:pt>
                <c:pt idx="2826">
                  <c:v>0.01</c:v>
                </c:pt>
                <c:pt idx="2827">
                  <c:v>0.02</c:v>
                </c:pt>
                <c:pt idx="2828">
                  <c:v>0.01</c:v>
                </c:pt>
                <c:pt idx="2829">
                  <c:v>0.03</c:v>
                </c:pt>
                <c:pt idx="2830">
                  <c:v>0.02</c:v>
                </c:pt>
                <c:pt idx="2831">
                  <c:v>0.02</c:v>
                </c:pt>
                <c:pt idx="2832">
                  <c:v>0.01</c:v>
                </c:pt>
                <c:pt idx="2833">
                  <c:v>0.01</c:v>
                </c:pt>
                <c:pt idx="2834">
                  <c:v>0.01</c:v>
                </c:pt>
                <c:pt idx="2835">
                  <c:v>0.01</c:v>
                </c:pt>
                <c:pt idx="2836">
                  <c:v>0.03</c:v>
                </c:pt>
                <c:pt idx="2837">
                  <c:v>0.02</c:v>
                </c:pt>
                <c:pt idx="2838">
                  <c:v>0.02</c:v>
                </c:pt>
                <c:pt idx="2839">
                  <c:v>0.01</c:v>
                </c:pt>
                <c:pt idx="2840">
                  <c:v>0.02</c:v>
                </c:pt>
                <c:pt idx="2841">
                  <c:v>0.05</c:v>
                </c:pt>
                <c:pt idx="2842">
                  <c:v>0.01</c:v>
                </c:pt>
                <c:pt idx="2843">
                  <c:v>0.02</c:v>
                </c:pt>
                <c:pt idx="2844">
                  <c:v>0.03</c:v>
                </c:pt>
                <c:pt idx="2845">
                  <c:v>0.01</c:v>
                </c:pt>
                <c:pt idx="2846">
                  <c:v>0.01</c:v>
                </c:pt>
                <c:pt idx="2847">
                  <c:v>0.01</c:v>
                </c:pt>
                <c:pt idx="2848">
                  <c:v>0.01</c:v>
                </c:pt>
                <c:pt idx="2849">
                  <c:v>0.01</c:v>
                </c:pt>
                <c:pt idx="2850">
                  <c:v>0.01</c:v>
                </c:pt>
                <c:pt idx="2851">
                  <c:v>0.01</c:v>
                </c:pt>
                <c:pt idx="2852">
                  <c:v>0.01</c:v>
                </c:pt>
                <c:pt idx="2853">
                  <c:v>0.02</c:v>
                </c:pt>
                <c:pt idx="2854">
                  <c:v>0.01</c:v>
                </c:pt>
                <c:pt idx="2855">
                  <c:v>0.01</c:v>
                </c:pt>
                <c:pt idx="2856">
                  <c:v>0.01</c:v>
                </c:pt>
                <c:pt idx="2857">
                  <c:v>0.01</c:v>
                </c:pt>
                <c:pt idx="2858">
                  <c:v>0.01</c:v>
                </c:pt>
                <c:pt idx="2859">
                  <c:v>0.01</c:v>
                </c:pt>
                <c:pt idx="2860">
                  <c:v>0.02</c:v>
                </c:pt>
                <c:pt idx="2861">
                  <c:v>0.01</c:v>
                </c:pt>
                <c:pt idx="2862">
                  <c:v>0.02</c:v>
                </c:pt>
                <c:pt idx="2863">
                  <c:v>0.01</c:v>
                </c:pt>
                <c:pt idx="2864">
                  <c:v>0.02</c:v>
                </c:pt>
                <c:pt idx="2865">
                  <c:v>0.01</c:v>
                </c:pt>
                <c:pt idx="2866">
                  <c:v>0.01</c:v>
                </c:pt>
                <c:pt idx="2867">
                  <c:v>0.01</c:v>
                </c:pt>
                <c:pt idx="2868">
                  <c:v>0.01</c:v>
                </c:pt>
                <c:pt idx="2869">
                  <c:v>0.01</c:v>
                </c:pt>
                <c:pt idx="2870">
                  <c:v>0.01</c:v>
                </c:pt>
                <c:pt idx="2871">
                  <c:v>0.02</c:v>
                </c:pt>
                <c:pt idx="2872">
                  <c:v>0.02</c:v>
                </c:pt>
                <c:pt idx="2873">
                  <c:v>0.01</c:v>
                </c:pt>
                <c:pt idx="2874">
                  <c:v>0.01</c:v>
                </c:pt>
                <c:pt idx="2875">
                  <c:v>0.01</c:v>
                </c:pt>
                <c:pt idx="2876">
                  <c:v>0.01</c:v>
                </c:pt>
                <c:pt idx="2877">
                  <c:v>0.03</c:v>
                </c:pt>
                <c:pt idx="2878">
                  <c:v>0.01</c:v>
                </c:pt>
                <c:pt idx="2879">
                  <c:v>0.01</c:v>
                </c:pt>
                <c:pt idx="2880">
                  <c:v>0.01</c:v>
                </c:pt>
                <c:pt idx="2881">
                  <c:v>0.01</c:v>
                </c:pt>
                <c:pt idx="2882">
                  <c:v>0.01</c:v>
                </c:pt>
                <c:pt idx="2883">
                  <c:v>0.02</c:v>
                </c:pt>
                <c:pt idx="2884">
                  <c:v>0.01</c:v>
                </c:pt>
                <c:pt idx="2885">
                  <c:v>0.01</c:v>
                </c:pt>
                <c:pt idx="2886">
                  <c:v>0.01</c:v>
                </c:pt>
                <c:pt idx="2887">
                  <c:v>0.02</c:v>
                </c:pt>
                <c:pt idx="2888">
                  <c:v>0.02</c:v>
                </c:pt>
                <c:pt idx="2889">
                  <c:v>0.01</c:v>
                </c:pt>
                <c:pt idx="2890">
                  <c:v>0.02</c:v>
                </c:pt>
                <c:pt idx="2891">
                  <c:v>0.04</c:v>
                </c:pt>
                <c:pt idx="2892">
                  <c:v>0.01</c:v>
                </c:pt>
                <c:pt idx="2893">
                  <c:v>0.03</c:v>
                </c:pt>
                <c:pt idx="2894">
                  <c:v>0.01</c:v>
                </c:pt>
                <c:pt idx="2895">
                  <c:v>0.02</c:v>
                </c:pt>
                <c:pt idx="2896">
                  <c:v>0.01</c:v>
                </c:pt>
                <c:pt idx="2897">
                  <c:v>0.02</c:v>
                </c:pt>
                <c:pt idx="2898">
                  <c:v>0.01</c:v>
                </c:pt>
                <c:pt idx="2899">
                  <c:v>0.01</c:v>
                </c:pt>
                <c:pt idx="2900">
                  <c:v>0.01</c:v>
                </c:pt>
                <c:pt idx="2901">
                  <c:v>0.01</c:v>
                </c:pt>
                <c:pt idx="2902">
                  <c:v>0.01</c:v>
                </c:pt>
                <c:pt idx="2903">
                  <c:v>0.01</c:v>
                </c:pt>
                <c:pt idx="2904">
                  <c:v>0.03</c:v>
                </c:pt>
                <c:pt idx="2905">
                  <c:v>0.01</c:v>
                </c:pt>
                <c:pt idx="2906">
                  <c:v>0.01</c:v>
                </c:pt>
                <c:pt idx="2907">
                  <c:v>0.01</c:v>
                </c:pt>
                <c:pt idx="2908">
                  <c:v>0.01</c:v>
                </c:pt>
                <c:pt idx="2909">
                  <c:v>0.01</c:v>
                </c:pt>
                <c:pt idx="2910">
                  <c:v>0.02</c:v>
                </c:pt>
                <c:pt idx="2911">
                  <c:v>0.01</c:v>
                </c:pt>
                <c:pt idx="2912">
                  <c:v>0.01</c:v>
                </c:pt>
                <c:pt idx="2913">
                  <c:v>0.01</c:v>
                </c:pt>
                <c:pt idx="2914">
                  <c:v>0.01</c:v>
                </c:pt>
                <c:pt idx="2915">
                  <c:v>0.01</c:v>
                </c:pt>
                <c:pt idx="2916">
                  <c:v>0.01</c:v>
                </c:pt>
                <c:pt idx="2917">
                  <c:v>0.01</c:v>
                </c:pt>
                <c:pt idx="2918">
                  <c:v>0.01</c:v>
                </c:pt>
                <c:pt idx="2919">
                  <c:v>0.01</c:v>
                </c:pt>
                <c:pt idx="2920">
                  <c:v>0.01</c:v>
                </c:pt>
                <c:pt idx="2921">
                  <c:v>0.01</c:v>
                </c:pt>
                <c:pt idx="2922">
                  <c:v>0.01</c:v>
                </c:pt>
                <c:pt idx="2923">
                  <c:v>0.01</c:v>
                </c:pt>
                <c:pt idx="2924">
                  <c:v>0.01</c:v>
                </c:pt>
                <c:pt idx="2925">
                  <c:v>0.03</c:v>
                </c:pt>
                <c:pt idx="2926">
                  <c:v>0.01</c:v>
                </c:pt>
                <c:pt idx="2927">
                  <c:v>0.01</c:v>
                </c:pt>
                <c:pt idx="2928">
                  <c:v>0.01</c:v>
                </c:pt>
                <c:pt idx="2929">
                  <c:v>0.01</c:v>
                </c:pt>
                <c:pt idx="2930">
                  <c:v>0.02</c:v>
                </c:pt>
                <c:pt idx="2931">
                  <c:v>0.01</c:v>
                </c:pt>
                <c:pt idx="2932">
                  <c:v>0.01</c:v>
                </c:pt>
                <c:pt idx="2933">
                  <c:v>0.01</c:v>
                </c:pt>
                <c:pt idx="2934">
                  <c:v>0.02</c:v>
                </c:pt>
                <c:pt idx="2935">
                  <c:v>0.01</c:v>
                </c:pt>
                <c:pt idx="2936">
                  <c:v>0.01</c:v>
                </c:pt>
                <c:pt idx="2937">
                  <c:v>0.01</c:v>
                </c:pt>
                <c:pt idx="2938">
                  <c:v>0.01</c:v>
                </c:pt>
                <c:pt idx="2939">
                  <c:v>0.01</c:v>
                </c:pt>
                <c:pt idx="2940">
                  <c:v>0.01</c:v>
                </c:pt>
                <c:pt idx="2941">
                  <c:v>0.01</c:v>
                </c:pt>
                <c:pt idx="2942">
                  <c:v>0.01</c:v>
                </c:pt>
                <c:pt idx="2943">
                  <c:v>0.01</c:v>
                </c:pt>
                <c:pt idx="2944">
                  <c:v>0.01</c:v>
                </c:pt>
                <c:pt idx="2945">
                  <c:v>0.01</c:v>
                </c:pt>
                <c:pt idx="2946">
                  <c:v>0.01</c:v>
                </c:pt>
                <c:pt idx="2947">
                  <c:v>0.01</c:v>
                </c:pt>
                <c:pt idx="2948">
                  <c:v>0.01</c:v>
                </c:pt>
                <c:pt idx="2949">
                  <c:v>0.01</c:v>
                </c:pt>
                <c:pt idx="2950">
                  <c:v>0.01</c:v>
                </c:pt>
                <c:pt idx="2951">
                  <c:v>0.01</c:v>
                </c:pt>
                <c:pt idx="2952">
                  <c:v>0.02</c:v>
                </c:pt>
                <c:pt idx="2953">
                  <c:v>0.01</c:v>
                </c:pt>
                <c:pt idx="2954">
                  <c:v>0.01</c:v>
                </c:pt>
                <c:pt idx="2955">
                  <c:v>0.01</c:v>
                </c:pt>
                <c:pt idx="2956">
                  <c:v>0.01</c:v>
                </c:pt>
                <c:pt idx="2957">
                  <c:v>0.01</c:v>
                </c:pt>
                <c:pt idx="2958">
                  <c:v>0.02</c:v>
                </c:pt>
                <c:pt idx="2959">
                  <c:v>0.05</c:v>
                </c:pt>
                <c:pt idx="2960">
                  <c:v>0.03</c:v>
                </c:pt>
                <c:pt idx="2961">
                  <c:v>0.01</c:v>
                </c:pt>
                <c:pt idx="2962">
                  <c:v>0.01</c:v>
                </c:pt>
                <c:pt idx="2963">
                  <c:v>0.01</c:v>
                </c:pt>
                <c:pt idx="2964">
                  <c:v>0.02</c:v>
                </c:pt>
                <c:pt idx="2965">
                  <c:v>0.01</c:v>
                </c:pt>
                <c:pt idx="2966">
                  <c:v>0.06</c:v>
                </c:pt>
                <c:pt idx="2967">
                  <c:v>0.01</c:v>
                </c:pt>
                <c:pt idx="2968">
                  <c:v>0.04</c:v>
                </c:pt>
                <c:pt idx="2969">
                  <c:v>0.02</c:v>
                </c:pt>
                <c:pt idx="2970">
                  <c:v>0.01</c:v>
                </c:pt>
                <c:pt idx="2971">
                  <c:v>0.02</c:v>
                </c:pt>
                <c:pt idx="2972">
                  <c:v>0.01</c:v>
                </c:pt>
                <c:pt idx="2973">
                  <c:v>0.01</c:v>
                </c:pt>
                <c:pt idx="2974">
                  <c:v>0.03</c:v>
                </c:pt>
                <c:pt idx="2975">
                  <c:v>0.01</c:v>
                </c:pt>
                <c:pt idx="2976">
                  <c:v>0.02</c:v>
                </c:pt>
                <c:pt idx="2977">
                  <c:v>0.01</c:v>
                </c:pt>
                <c:pt idx="2978">
                  <c:v>0.01</c:v>
                </c:pt>
                <c:pt idx="2979">
                  <c:v>0.01</c:v>
                </c:pt>
                <c:pt idx="2980">
                  <c:v>0.02</c:v>
                </c:pt>
                <c:pt idx="2981">
                  <c:v>0.01</c:v>
                </c:pt>
                <c:pt idx="2982">
                  <c:v>0.01</c:v>
                </c:pt>
                <c:pt idx="2983">
                  <c:v>0.01</c:v>
                </c:pt>
                <c:pt idx="2984">
                  <c:v>0.01</c:v>
                </c:pt>
                <c:pt idx="2985">
                  <c:v>0.01</c:v>
                </c:pt>
                <c:pt idx="2986">
                  <c:v>0.01</c:v>
                </c:pt>
                <c:pt idx="2987">
                  <c:v>0.01</c:v>
                </c:pt>
                <c:pt idx="2988">
                  <c:v>0.01</c:v>
                </c:pt>
                <c:pt idx="2989">
                  <c:v>0.02</c:v>
                </c:pt>
                <c:pt idx="2990">
                  <c:v>0.01</c:v>
                </c:pt>
                <c:pt idx="2991">
                  <c:v>0.01</c:v>
                </c:pt>
                <c:pt idx="2992">
                  <c:v>0.01</c:v>
                </c:pt>
                <c:pt idx="2993">
                  <c:v>0.01</c:v>
                </c:pt>
                <c:pt idx="2994">
                  <c:v>0.01</c:v>
                </c:pt>
                <c:pt idx="2995">
                  <c:v>0.01</c:v>
                </c:pt>
                <c:pt idx="2996">
                  <c:v>0.04</c:v>
                </c:pt>
                <c:pt idx="2997">
                  <c:v>0.01</c:v>
                </c:pt>
                <c:pt idx="2998">
                  <c:v>0.01</c:v>
                </c:pt>
                <c:pt idx="2999">
                  <c:v>0.01</c:v>
                </c:pt>
                <c:pt idx="3000">
                  <c:v>0.01</c:v>
                </c:pt>
                <c:pt idx="3001">
                  <c:v>0.01</c:v>
                </c:pt>
                <c:pt idx="3002">
                  <c:v>0.01</c:v>
                </c:pt>
                <c:pt idx="3003">
                  <c:v>0.02</c:v>
                </c:pt>
                <c:pt idx="3004">
                  <c:v>0.01</c:v>
                </c:pt>
                <c:pt idx="3005">
                  <c:v>0.03</c:v>
                </c:pt>
                <c:pt idx="3006">
                  <c:v>0.01</c:v>
                </c:pt>
                <c:pt idx="3007">
                  <c:v>0.01</c:v>
                </c:pt>
                <c:pt idx="3008">
                  <c:v>0.01</c:v>
                </c:pt>
                <c:pt idx="3009">
                  <c:v>0.03</c:v>
                </c:pt>
                <c:pt idx="3010">
                  <c:v>0.01</c:v>
                </c:pt>
                <c:pt idx="3011">
                  <c:v>0.01</c:v>
                </c:pt>
                <c:pt idx="3012">
                  <c:v>0.01</c:v>
                </c:pt>
                <c:pt idx="3013">
                  <c:v>0.01</c:v>
                </c:pt>
                <c:pt idx="3014">
                  <c:v>0.01</c:v>
                </c:pt>
                <c:pt idx="3015">
                  <c:v>0.01</c:v>
                </c:pt>
                <c:pt idx="3016">
                  <c:v>0.01</c:v>
                </c:pt>
                <c:pt idx="3017">
                  <c:v>0.05</c:v>
                </c:pt>
                <c:pt idx="3018">
                  <c:v>0.01</c:v>
                </c:pt>
                <c:pt idx="3019">
                  <c:v>0.01</c:v>
                </c:pt>
                <c:pt idx="3020">
                  <c:v>0.01</c:v>
                </c:pt>
                <c:pt idx="3021">
                  <c:v>0.01</c:v>
                </c:pt>
                <c:pt idx="3022">
                  <c:v>0.01</c:v>
                </c:pt>
                <c:pt idx="3023">
                  <c:v>0.04</c:v>
                </c:pt>
                <c:pt idx="3024">
                  <c:v>0.01</c:v>
                </c:pt>
                <c:pt idx="3025">
                  <c:v>0.01</c:v>
                </c:pt>
                <c:pt idx="3026">
                  <c:v>0.02</c:v>
                </c:pt>
                <c:pt idx="3027">
                  <c:v>0.01</c:v>
                </c:pt>
                <c:pt idx="3028">
                  <c:v>0.02</c:v>
                </c:pt>
                <c:pt idx="3029">
                  <c:v>0.01</c:v>
                </c:pt>
                <c:pt idx="3030">
                  <c:v>0.01</c:v>
                </c:pt>
                <c:pt idx="3031">
                  <c:v>0.01</c:v>
                </c:pt>
                <c:pt idx="3032">
                  <c:v>0.01</c:v>
                </c:pt>
                <c:pt idx="3033">
                  <c:v>0.01</c:v>
                </c:pt>
                <c:pt idx="3034">
                  <c:v>0.01</c:v>
                </c:pt>
                <c:pt idx="3035">
                  <c:v>0.01</c:v>
                </c:pt>
                <c:pt idx="3036">
                  <c:v>0.01</c:v>
                </c:pt>
                <c:pt idx="3037">
                  <c:v>0.01</c:v>
                </c:pt>
                <c:pt idx="3038">
                  <c:v>0.03</c:v>
                </c:pt>
                <c:pt idx="3039">
                  <c:v>0.01</c:v>
                </c:pt>
                <c:pt idx="3040">
                  <c:v>0.01</c:v>
                </c:pt>
                <c:pt idx="3041">
                  <c:v>0.01</c:v>
                </c:pt>
                <c:pt idx="3042">
                  <c:v>0.01</c:v>
                </c:pt>
                <c:pt idx="3043">
                  <c:v>0.01</c:v>
                </c:pt>
                <c:pt idx="3044">
                  <c:v>0.01</c:v>
                </c:pt>
                <c:pt idx="3045">
                  <c:v>0.01</c:v>
                </c:pt>
                <c:pt idx="3046">
                  <c:v>0.01</c:v>
                </c:pt>
                <c:pt idx="3047">
                  <c:v>0.01</c:v>
                </c:pt>
                <c:pt idx="3048">
                  <c:v>0.01</c:v>
                </c:pt>
                <c:pt idx="3049">
                  <c:v>0.01</c:v>
                </c:pt>
                <c:pt idx="3050">
                  <c:v>0.02</c:v>
                </c:pt>
                <c:pt idx="3051">
                  <c:v>0.02</c:v>
                </c:pt>
                <c:pt idx="3052">
                  <c:v>0.01</c:v>
                </c:pt>
                <c:pt idx="3053">
                  <c:v>0.01</c:v>
                </c:pt>
                <c:pt idx="3054">
                  <c:v>0.01</c:v>
                </c:pt>
                <c:pt idx="3055">
                  <c:v>0.01</c:v>
                </c:pt>
                <c:pt idx="3056">
                  <c:v>0.01</c:v>
                </c:pt>
                <c:pt idx="3057">
                  <c:v>0.01</c:v>
                </c:pt>
                <c:pt idx="3058">
                  <c:v>0.01</c:v>
                </c:pt>
                <c:pt idx="3059">
                  <c:v>0.02</c:v>
                </c:pt>
                <c:pt idx="3060">
                  <c:v>0.01</c:v>
                </c:pt>
                <c:pt idx="3061">
                  <c:v>0.01</c:v>
                </c:pt>
                <c:pt idx="3062">
                  <c:v>0.01</c:v>
                </c:pt>
                <c:pt idx="3063">
                  <c:v>0.01</c:v>
                </c:pt>
                <c:pt idx="3064">
                  <c:v>0.01</c:v>
                </c:pt>
                <c:pt idx="3065">
                  <c:v>0.01</c:v>
                </c:pt>
                <c:pt idx="3066">
                  <c:v>0.01</c:v>
                </c:pt>
                <c:pt idx="3067">
                  <c:v>0.04</c:v>
                </c:pt>
                <c:pt idx="3068">
                  <c:v>0.01</c:v>
                </c:pt>
                <c:pt idx="3069">
                  <c:v>0.01</c:v>
                </c:pt>
                <c:pt idx="3070">
                  <c:v>0.01</c:v>
                </c:pt>
                <c:pt idx="3071">
                  <c:v>0.01</c:v>
                </c:pt>
                <c:pt idx="3072">
                  <c:v>0.01</c:v>
                </c:pt>
                <c:pt idx="3073">
                  <c:v>0.01</c:v>
                </c:pt>
                <c:pt idx="3074">
                  <c:v>0.01</c:v>
                </c:pt>
                <c:pt idx="3075">
                  <c:v>0.02</c:v>
                </c:pt>
                <c:pt idx="3076">
                  <c:v>0.01</c:v>
                </c:pt>
                <c:pt idx="3077">
                  <c:v>0.01</c:v>
                </c:pt>
                <c:pt idx="3078">
                  <c:v>0.02</c:v>
                </c:pt>
                <c:pt idx="3079">
                  <c:v>0.01</c:v>
                </c:pt>
                <c:pt idx="3080">
                  <c:v>0.01</c:v>
                </c:pt>
                <c:pt idx="3081">
                  <c:v>0.01</c:v>
                </c:pt>
                <c:pt idx="3082">
                  <c:v>0.01</c:v>
                </c:pt>
                <c:pt idx="3083">
                  <c:v>0.01</c:v>
                </c:pt>
                <c:pt idx="3084">
                  <c:v>0.01</c:v>
                </c:pt>
                <c:pt idx="3085">
                  <c:v>0.01</c:v>
                </c:pt>
                <c:pt idx="3086">
                  <c:v>0.01</c:v>
                </c:pt>
                <c:pt idx="3087">
                  <c:v>0.01</c:v>
                </c:pt>
                <c:pt idx="3088">
                  <c:v>0.01</c:v>
                </c:pt>
                <c:pt idx="3089">
                  <c:v>0.01</c:v>
                </c:pt>
                <c:pt idx="3090">
                  <c:v>0.01</c:v>
                </c:pt>
                <c:pt idx="3091">
                  <c:v>0.01</c:v>
                </c:pt>
                <c:pt idx="3092">
                  <c:v>0.01</c:v>
                </c:pt>
                <c:pt idx="3093">
                  <c:v>0.01</c:v>
                </c:pt>
                <c:pt idx="3094">
                  <c:v>0.01</c:v>
                </c:pt>
                <c:pt idx="3095">
                  <c:v>0.01</c:v>
                </c:pt>
                <c:pt idx="3096">
                  <c:v>0.01</c:v>
                </c:pt>
                <c:pt idx="3097">
                  <c:v>0.01</c:v>
                </c:pt>
                <c:pt idx="3098">
                  <c:v>0.01</c:v>
                </c:pt>
                <c:pt idx="3099">
                  <c:v>0.01</c:v>
                </c:pt>
                <c:pt idx="3100">
                  <c:v>0.01</c:v>
                </c:pt>
                <c:pt idx="3101">
                  <c:v>0.01</c:v>
                </c:pt>
                <c:pt idx="3102">
                  <c:v>0.02</c:v>
                </c:pt>
                <c:pt idx="3103">
                  <c:v>0.01</c:v>
                </c:pt>
                <c:pt idx="3104">
                  <c:v>0.01</c:v>
                </c:pt>
                <c:pt idx="3105">
                  <c:v>0.01</c:v>
                </c:pt>
                <c:pt idx="3106">
                  <c:v>0.01</c:v>
                </c:pt>
                <c:pt idx="3107">
                  <c:v>0.01</c:v>
                </c:pt>
                <c:pt idx="3108">
                  <c:v>0.01</c:v>
                </c:pt>
                <c:pt idx="3109">
                  <c:v>0.01</c:v>
                </c:pt>
                <c:pt idx="3110">
                  <c:v>0.01</c:v>
                </c:pt>
                <c:pt idx="3111">
                  <c:v>0.01</c:v>
                </c:pt>
                <c:pt idx="3112">
                  <c:v>0.01</c:v>
                </c:pt>
                <c:pt idx="3113">
                  <c:v>0.01</c:v>
                </c:pt>
                <c:pt idx="3114">
                  <c:v>0.01</c:v>
                </c:pt>
                <c:pt idx="3115">
                  <c:v>0.01</c:v>
                </c:pt>
                <c:pt idx="3116">
                  <c:v>0.01</c:v>
                </c:pt>
                <c:pt idx="3117">
                  <c:v>0.01</c:v>
                </c:pt>
                <c:pt idx="3118">
                  <c:v>0.01</c:v>
                </c:pt>
                <c:pt idx="3119">
                  <c:v>0.01</c:v>
                </c:pt>
                <c:pt idx="3120">
                  <c:v>0.01</c:v>
                </c:pt>
                <c:pt idx="3121">
                  <c:v>0.01</c:v>
                </c:pt>
                <c:pt idx="3122">
                  <c:v>0.01</c:v>
                </c:pt>
                <c:pt idx="3123">
                  <c:v>0.01</c:v>
                </c:pt>
                <c:pt idx="3124">
                  <c:v>0.04</c:v>
                </c:pt>
                <c:pt idx="3125">
                  <c:v>0.01</c:v>
                </c:pt>
                <c:pt idx="3126">
                  <c:v>0.01</c:v>
                </c:pt>
                <c:pt idx="3127">
                  <c:v>0.01</c:v>
                </c:pt>
                <c:pt idx="3128">
                  <c:v>0.01</c:v>
                </c:pt>
                <c:pt idx="3129">
                  <c:v>0.01</c:v>
                </c:pt>
                <c:pt idx="3130">
                  <c:v>0.01</c:v>
                </c:pt>
                <c:pt idx="3131">
                  <c:v>0.01</c:v>
                </c:pt>
                <c:pt idx="3132">
                  <c:v>0.01</c:v>
                </c:pt>
                <c:pt idx="3133">
                  <c:v>0.01</c:v>
                </c:pt>
                <c:pt idx="3134">
                  <c:v>0.03</c:v>
                </c:pt>
                <c:pt idx="3135">
                  <c:v>0.01</c:v>
                </c:pt>
                <c:pt idx="3136">
                  <c:v>0.01</c:v>
                </c:pt>
                <c:pt idx="3137">
                  <c:v>0.01</c:v>
                </c:pt>
                <c:pt idx="3138">
                  <c:v>0.01</c:v>
                </c:pt>
                <c:pt idx="3139">
                  <c:v>0.01</c:v>
                </c:pt>
                <c:pt idx="3140">
                  <c:v>0.01</c:v>
                </c:pt>
                <c:pt idx="3141">
                  <c:v>0.01</c:v>
                </c:pt>
                <c:pt idx="3142">
                  <c:v>0.01</c:v>
                </c:pt>
                <c:pt idx="3143">
                  <c:v>0.01</c:v>
                </c:pt>
                <c:pt idx="3144">
                  <c:v>0.02</c:v>
                </c:pt>
                <c:pt idx="3145">
                  <c:v>0.01</c:v>
                </c:pt>
                <c:pt idx="3146">
                  <c:v>0.01</c:v>
                </c:pt>
                <c:pt idx="3147">
                  <c:v>0.01</c:v>
                </c:pt>
                <c:pt idx="3148">
                  <c:v>0.01</c:v>
                </c:pt>
                <c:pt idx="3149">
                  <c:v>0.01</c:v>
                </c:pt>
                <c:pt idx="3150">
                  <c:v>0.01</c:v>
                </c:pt>
                <c:pt idx="3151">
                  <c:v>0.01</c:v>
                </c:pt>
                <c:pt idx="3152">
                  <c:v>0.01</c:v>
                </c:pt>
                <c:pt idx="3153">
                  <c:v>0.01</c:v>
                </c:pt>
                <c:pt idx="3154">
                  <c:v>0.01</c:v>
                </c:pt>
                <c:pt idx="3155">
                  <c:v>0.01</c:v>
                </c:pt>
                <c:pt idx="3156">
                  <c:v>0.01</c:v>
                </c:pt>
                <c:pt idx="3157">
                  <c:v>0.01</c:v>
                </c:pt>
                <c:pt idx="3158">
                  <c:v>0.01</c:v>
                </c:pt>
                <c:pt idx="3159">
                  <c:v>0.01</c:v>
                </c:pt>
                <c:pt idx="3160">
                  <c:v>0.01</c:v>
                </c:pt>
                <c:pt idx="3161">
                  <c:v>0.01</c:v>
                </c:pt>
                <c:pt idx="3162">
                  <c:v>0.01</c:v>
                </c:pt>
                <c:pt idx="3163">
                  <c:v>0.01</c:v>
                </c:pt>
                <c:pt idx="3164">
                  <c:v>0.01</c:v>
                </c:pt>
                <c:pt idx="3165">
                  <c:v>0.01</c:v>
                </c:pt>
                <c:pt idx="3166">
                  <c:v>0.02</c:v>
                </c:pt>
                <c:pt idx="3167">
                  <c:v>0.01</c:v>
                </c:pt>
                <c:pt idx="3168">
                  <c:v>0.01</c:v>
                </c:pt>
                <c:pt idx="316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Item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00A097"/>
              </a:solidFill>
            </c:spPr>
            <c:extLst>
              <c:ext xmlns:c16="http://schemas.microsoft.com/office/drawing/2014/chart" uri="{C3380CC4-5D6E-409C-BE32-E72D297353CC}">
                <c16:uniqueId val="{000000EB-2993-41DE-A2CB-63102DE87051}"/>
              </c:ext>
            </c:extLst>
          </c:dPt>
          <c:dPt>
            <c:idx val="117"/>
            <c:invertIfNegative val="1"/>
            <c:bubble3D val="0"/>
            <c:spPr>
              <a:solidFill>
                <a:srgbClr val="00A097"/>
              </a:solidFill>
            </c:spPr>
            <c:extLst>
              <c:ext xmlns:c16="http://schemas.microsoft.com/office/drawing/2014/chart" uri="{C3380CC4-5D6E-409C-BE32-E72D297353CC}">
                <c16:uniqueId val="{000000ED-2993-41DE-A2CB-63102DE87051}"/>
              </c:ext>
            </c:extLst>
          </c:dPt>
          <c:dPt>
            <c:idx val="118"/>
            <c:invertIfNegative val="1"/>
            <c:bubble3D val="0"/>
            <c:spPr>
              <a:solidFill>
                <a:srgbClr val="00A097"/>
              </a:solidFill>
            </c:spPr>
            <c:extLst>
              <c:ext xmlns:c16="http://schemas.microsoft.com/office/drawing/2014/chart" uri="{C3380CC4-5D6E-409C-BE32-E72D297353CC}">
                <c16:uniqueId val="{000000EF-2993-41DE-A2CB-63102DE87051}"/>
              </c:ext>
            </c:extLst>
          </c:dPt>
          <c:dPt>
            <c:idx val="119"/>
            <c:invertIfNegative val="1"/>
            <c:bubble3D val="0"/>
            <c:spPr>
              <a:solidFill>
                <a:srgbClr val="00A097"/>
              </a:solidFill>
            </c:spPr>
            <c:extLst>
              <c:ext xmlns:c16="http://schemas.microsoft.com/office/drawing/2014/chart" uri="{C3380CC4-5D6E-409C-BE32-E72D297353CC}">
                <c16:uniqueId val="{000000F1-2993-41DE-A2CB-63102DE87051}"/>
              </c:ext>
            </c:extLst>
          </c:dPt>
          <c:dPt>
            <c:idx val="120"/>
            <c:invertIfNegative val="1"/>
            <c:bubble3D val="0"/>
            <c:spPr>
              <a:solidFill>
                <a:srgbClr val="00A097"/>
              </a:solidFill>
            </c:spPr>
            <c:extLst>
              <c:ext xmlns:c16="http://schemas.microsoft.com/office/drawing/2014/chart" uri="{C3380CC4-5D6E-409C-BE32-E72D297353CC}">
                <c16:uniqueId val="{000000F3-2993-41DE-A2CB-63102DE87051}"/>
              </c:ext>
            </c:extLst>
          </c:dPt>
          <c:dPt>
            <c:idx val="121"/>
            <c:invertIfNegative val="1"/>
            <c:bubble3D val="0"/>
            <c:spPr>
              <a:solidFill>
                <a:srgbClr val="00A097"/>
              </a:solidFill>
            </c:spPr>
            <c:extLst>
              <c:ext xmlns:c16="http://schemas.microsoft.com/office/drawing/2014/chart" uri="{C3380CC4-5D6E-409C-BE32-E72D297353CC}">
                <c16:uniqueId val="{000000F5-2993-41DE-A2CB-63102DE87051}"/>
              </c:ext>
            </c:extLst>
          </c:dPt>
          <c:dPt>
            <c:idx val="122"/>
            <c:invertIfNegative val="1"/>
            <c:bubble3D val="0"/>
            <c:spPr>
              <a:solidFill>
                <a:srgbClr val="00A097"/>
              </a:solidFill>
            </c:spPr>
            <c:extLst>
              <c:ext xmlns:c16="http://schemas.microsoft.com/office/drawing/2014/chart" uri="{C3380CC4-5D6E-409C-BE32-E72D297353CC}">
                <c16:uniqueId val="{000000F7-2993-41DE-A2CB-63102DE87051}"/>
              </c:ext>
            </c:extLst>
          </c:dPt>
          <c:dPt>
            <c:idx val="123"/>
            <c:invertIfNegative val="1"/>
            <c:bubble3D val="0"/>
            <c:spPr>
              <a:solidFill>
                <a:srgbClr val="00A097"/>
              </a:solidFill>
            </c:spPr>
            <c:extLst>
              <c:ext xmlns:c16="http://schemas.microsoft.com/office/drawing/2014/chart" uri="{C3380CC4-5D6E-409C-BE32-E72D297353CC}">
                <c16:uniqueId val="{000000F9-2993-41DE-A2CB-63102DE87051}"/>
              </c:ext>
            </c:extLst>
          </c:dPt>
          <c:dPt>
            <c:idx val="124"/>
            <c:invertIfNegative val="1"/>
            <c:bubble3D val="0"/>
            <c:spPr>
              <a:solidFill>
                <a:srgbClr val="00A097"/>
              </a:solidFill>
            </c:spPr>
            <c:extLst>
              <c:ext xmlns:c16="http://schemas.microsoft.com/office/drawing/2014/chart" uri="{C3380CC4-5D6E-409C-BE32-E72D297353CC}">
                <c16:uniqueId val="{000000FB-2993-41DE-A2CB-63102DE87051}"/>
              </c:ext>
            </c:extLst>
          </c:dPt>
          <c:dPt>
            <c:idx val="125"/>
            <c:invertIfNegative val="1"/>
            <c:bubble3D val="0"/>
            <c:spPr>
              <a:solidFill>
                <a:srgbClr val="00A097"/>
              </a:solidFill>
            </c:spPr>
            <c:extLst>
              <c:ext xmlns:c16="http://schemas.microsoft.com/office/drawing/2014/chart" uri="{C3380CC4-5D6E-409C-BE32-E72D297353CC}">
                <c16:uniqueId val="{000000FD-2993-41DE-A2CB-63102DE87051}"/>
              </c:ext>
            </c:extLst>
          </c:dPt>
          <c:dPt>
            <c:idx val="126"/>
            <c:invertIfNegative val="1"/>
            <c:bubble3D val="0"/>
            <c:spPr>
              <a:solidFill>
                <a:srgbClr val="00A097"/>
              </a:solidFill>
            </c:spPr>
            <c:extLst>
              <c:ext xmlns:c16="http://schemas.microsoft.com/office/drawing/2014/chart" uri="{C3380CC4-5D6E-409C-BE32-E72D297353CC}">
                <c16:uniqueId val="{000000FF-2993-41DE-A2CB-63102DE87051}"/>
              </c:ext>
            </c:extLst>
          </c:dPt>
          <c:dPt>
            <c:idx val="127"/>
            <c:invertIfNegative val="1"/>
            <c:bubble3D val="0"/>
            <c:spPr>
              <a:solidFill>
                <a:srgbClr val="00A097"/>
              </a:solidFill>
            </c:spPr>
            <c:extLst>
              <c:ext xmlns:c16="http://schemas.microsoft.com/office/drawing/2014/chart" uri="{C3380CC4-5D6E-409C-BE32-E72D297353CC}">
                <c16:uniqueId val="{00000101-2993-41DE-A2CB-63102DE87051}"/>
              </c:ext>
            </c:extLst>
          </c:dPt>
          <c:dPt>
            <c:idx val="128"/>
            <c:invertIfNegative val="1"/>
            <c:bubble3D val="0"/>
            <c:spPr>
              <a:solidFill>
                <a:srgbClr val="00A097"/>
              </a:solidFill>
            </c:spPr>
            <c:extLst>
              <c:ext xmlns:c16="http://schemas.microsoft.com/office/drawing/2014/chart" uri="{C3380CC4-5D6E-409C-BE32-E72D297353CC}">
                <c16:uniqueId val="{00000103-2993-41DE-A2CB-63102DE87051}"/>
              </c:ext>
            </c:extLst>
          </c:dPt>
          <c:dPt>
            <c:idx val="129"/>
            <c:invertIfNegative val="1"/>
            <c:bubble3D val="0"/>
            <c:spPr>
              <a:solidFill>
                <a:srgbClr val="00A097"/>
              </a:solidFill>
            </c:spPr>
            <c:extLst>
              <c:ext xmlns:c16="http://schemas.microsoft.com/office/drawing/2014/chart" uri="{C3380CC4-5D6E-409C-BE32-E72D297353CC}">
                <c16:uniqueId val="{00000105-2993-41DE-A2CB-63102DE87051}"/>
              </c:ext>
            </c:extLst>
          </c:dPt>
          <c:dPt>
            <c:idx val="130"/>
            <c:invertIfNegative val="1"/>
            <c:bubble3D val="0"/>
            <c:spPr>
              <a:solidFill>
                <a:srgbClr val="00A097"/>
              </a:solidFill>
            </c:spPr>
            <c:extLst>
              <c:ext xmlns:c16="http://schemas.microsoft.com/office/drawing/2014/chart" uri="{C3380CC4-5D6E-409C-BE32-E72D297353CC}">
                <c16:uniqueId val="{00000107-2993-41DE-A2CB-63102DE87051}"/>
              </c:ext>
            </c:extLst>
          </c:dPt>
          <c:dPt>
            <c:idx val="131"/>
            <c:invertIfNegative val="1"/>
            <c:bubble3D val="0"/>
            <c:spPr>
              <a:solidFill>
                <a:srgbClr val="00A097"/>
              </a:solidFill>
            </c:spPr>
            <c:extLst>
              <c:ext xmlns:c16="http://schemas.microsoft.com/office/drawing/2014/chart" uri="{C3380CC4-5D6E-409C-BE32-E72D297353CC}">
                <c16:uniqueId val="{00000109-2993-41DE-A2CB-63102DE87051}"/>
              </c:ext>
            </c:extLst>
          </c:dPt>
          <c:dPt>
            <c:idx val="132"/>
            <c:invertIfNegative val="1"/>
            <c:bubble3D val="0"/>
            <c:spPr>
              <a:solidFill>
                <a:srgbClr val="00A097"/>
              </a:solidFill>
            </c:spPr>
            <c:extLst>
              <c:ext xmlns:c16="http://schemas.microsoft.com/office/drawing/2014/chart" uri="{C3380CC4-5D6E-409C-BE32-E72D297353CC}">
                <c16:uniqueId val="{0000010B-2993-41DE-A2CB-63102DE87051}"/>
              </c:ext>
            </c:extLst>
          </c:dPt>
          <c:dPt>
            <c:idx val="133"/>
            <c:invertIfNegative val="1"/>
            <c:bubble3D val="0"/>
            <c:spPr>
              <a:solidFill>
                <a:srgbClr val="00A097"/>
              </a:solidFill>
            </c:spPr>
            <c:extLst>
              <c:ext xmlns:c16="http://schemas.microsoft.com/office/drawing/2014/chart" uri="{C3380CC4-5D6E-409C-BE32-E72D297353CC}">
                <c16:uniqueId val="{0000010D-2993-41DE-A2CB-63102DE87051}"/>
              </c:ext>
            </c:extLst>
          </c:dPt>
          <c:dPt>
            <c:idx val="134"/>
            <c:invertIfNegative val="1"/>
            <c:bubble3D val="0"/>
            <c:spPr>
              <a:solidFill>
                <a:srgbClr val="00A097"/>
              </a:solidFill>
            </c:spPr>
            <c:extLst>
              <c:ext xmlns:c16="http://schemas.microsoft.com/office/drawing/2014/chart" uri="{C3380CC4-5D6E-409C-BE32-E72D297353CC}">
                <c16:uniqueId val="{0000010F-2993-41DE-A2CB-63102DE87051}"/>
              </c:ext>
            </c:extLst>
          </c:dPt>
          <c:dPt>
            <c:idx val="135"/>
            <c:invertIfNegative val="1"/>
            <c:bubble3D val="0"/>
            <c:spPr>
              <a:solidFill>
                <a:srgbClr val="00A097"/>
              </a:solidFill>
            </c:spPr>
            <c:extLst>
              <c:ext xmlns:c16="http://schemas.microsoft.com/office/drawing/2014/chart" uri="{C3380CC4-5D6E-409C-BE32-E72D297353CC}">
                <c16:uniqueId val="{00000111-2993-41DE-A2CB-63102DE87051}"/>
              </c:ext>
            </c:extLst>
          </c:dPt>
          <c:dPt>
            <c:idx val="136"/>
            <c:invertIfNegative val="1"/>
            <c:bubble3D val="0"/>
            <c:spPr>
              <a:solidFill>
                <a:srgbClr val="00A097"/>
              </a:solidFill>
            </c:spPr>
            <c:extLst>
              <c:ext xmlns:c16="http://schemas.microsoft.com/office/drawing/2014/chart" uri="{C3380CC4-5D6E-409C-BE32-E72D297353CC}">
                <c16:uniqueId val="{00000113-2993-41DE-A2CB-63102DE87051}"/>
              </c:ext>
            </c:extLst>
          </c:dPt>
          <c:dPt>
            <c:idx val="137"/>
            <c:invertIfNegative val="1"/>
            <c:bubble3D val="0"/>
            <c:spPr>
              <a:solidFill>
                <a:srgbClr val="00A097"/>
              </a:solidFill>
            </c:spPr>
            <c:extLst>
              <c:ext xmlns:c16="http://schemas.microsoft.com/office/drawing/2014/chart" uri="{C3380CC4-5D6E-409C-BE32-E72D297353CC}">
                <c16:uniqueId val="{00000115-2993-41DE-A2CB-63102DE87051}"/>
              </c:ext>
            </c:extLst>
          </c:dPt>
          <c:dPt>
            <c:idx val="138"/>
            <c:invertIfNegative val="1"/>
            <c:bubble3D val="0"/>
            <c:spPr>
              <a:solidFill>
                <a:srgbClr val="00A097"/>
              </a:solidFill>
            </c:spPr>
            <c:extLst>
              <c:ext xmlns:c16="http://schemas.microsoft.com/office/drawing/2014/chart" uri="{C3380CC4-5D6E-409C-BE32-E72D297353CC}">
                <c16:uniqueId val="{00000117-2993-41DE-A2CB-63102DE87051}"/>
              </c:ext>
            </c:extLst>
          </c:dPt>
          <c:dPt>
            <c:idx val="139"/>
            <c:invertIfNegative val="1"/>
            <c:bubble3D val="0"/>
            <c:spPr>
              <a:solidFill>
                <a:srgbClr val="00A097"/>
              </a:solidFill>
            </c:spPr>
            <c:extLst>
              <c:ext xmlns:c16="http://schemas.microsoft.com/office/drawing/2014/chart" uri="{C3380CC4-5D6E-409C-BE32-E72D297353CC}">
                <c16:uniqueId val="{00000119-2993-41DE-A2CB-63102DE87051}"/>
              </c:ext>
            </c:extLst>
          </c:dPt>
          <c:dPt>
            <c:idx val="140"/>
            <c:invertIfNegative val="1"/>
            <c:bubble3D val="0"/>
            <c:spPr>
              <a:solidFill>
                <a:srgbClr val="00A097"/>
              </a:solidFill>
            </c:spPr>
            <c:extLst>
              <c:ext xmlns:c16="http://schemas.microsoft.com/office/drawing/2014/chart" uri="{C3380CC4-5D6E-409C-BE32-E72D297353CC}">
                <c16:uniqueId val="{0000011B-2993-41DE-A2CB-63102DE87051}"/>
              </c:ext>
            </c:extLst>
          </c:dPt>
          <c:dPt>
            <c:idx val="141"/>
            <c:invertIfNegative val="1"/>
            <c:bubble3D val="0"/>
            <c:spPr>
              <a:solidFill>
                <a:srgbClr val="00A097"/>
              </a:solidFill>
            </c:spPr>
            <c:extLst>
              <c:ext xmlns:c16="http://schemas.microsoft.com/office/drawing/2014/chart" uri="{C3380CC4-5D6E-409C-BE32-E72D297353CC}">
                <c16:uniqueId val="{0000011D-2993-41DE-A2CB-63102DE87051}"/>
              </c:ext>
            </c:extLst>
          </c:dPt>
          <c:dPt>
            <c:idx val="142"/>
            <c:invertIfNegative val="1"/>
            <c:bubble3D val="0"/>
            <c:spPr>
              <a:solidFill>
                <a:srgbClr val="00A097"/>
              </a:solidFill>
            </c:spPr>
            <c:extLst>
              <c:ext xmlns:c16="http://schemas.microsoft.com/office/drawing/2014/chart" uri="{C3380CC4-5D6E-409C-BE32-E72D297353CC}">
                <c16:uniqueId val="{0000011F-2993-41DE-A2CB-63102DE87051}"/>
              </c:ext>
            </c:extLst>
          </c:dPt>
          <c:dPt>
            <c:idx val="143"/>
            <c:invertIfNegative val="1"/>
            <c:bubble3D val="0"/>
            <c:spPr>
              <a:solidFill>
                <a:srgbClr val="00A097"/>
              </a:solidFill>
            </c:spPr>
            <c:extLst>
              <c:ext xmlns:c16="http://schemas.microsoft.com/office/drawing/2014/chart" uri="{C3380CC4-5D6E-409C-BE32-E72D297353CC}">
                <c16:uniqueId val="{00000121-2993-41DE-A2CB-63102DE87051}"/>
              </c:ext>
            </c:extLst>
          </c:dPt>
          <c:dPt>
            <c:idx val="144"/>
            <c:invertIfNegative val="1"/>
            <c:bubble3D val="0"/>
            <c:spPr>
              <a:solidFill>
                <a:srgbClr val="00A097"/>
              </a:solidFill>
            </c:spPr>
            <c:extLst>
              <c:ext xmlns:c16="http://schemas.microsoft.com/office/drawing/2014/chart" uri="{C3380CC4-5D6E-409C-BE32-E72D297353CC}">
                <c16:uniqueId val="{00000123-2993-41DE-A2CB-63102DE87051}"/>
              </c:ext>
            </c:extLst>
          </c:dPt>
          <c:dPt>
            <c:idx val="145"/>
            <c:invertIfNegative val="1"/>
            <c:bubble3D val="0"/>
            <c:spPr>
              <a:solidFill>
                <a:srgbClr val="00A097"/>
              </a:solidFill>
            </c:spPr>
            <c:extLst>
              <c:ext xmlns:c16="http://schemas.microsoft.com/office/drawing/2014/chart" uri="{C3380CC4-5D6E-409C-BE32-E72D297353CC}">
                <c16:uniqueId val="{00000125-2993-41DE-A2CB-63102DE87051}"/>
              </c:ext>
            </c:extLst>
          </c:dPt>
          <c:dPt>
            <c:idx val="146"/>
            <c:invertIfNegative val="1"/>
            <c:bubble3D val="0"/>
            <c:spPr>
              <a:solidFill>
                <a:srgbClr val="00A097"/>
              </a:solidFill>
            </c:spPr>
            <c:extLst>
              <c:ext xmlns:c16="http://schemas.microsoft.com/office/drawing/2014/chart" uri="{C3380CC4-5D6E-409C-BE32-E72D297353CC}">
                <c16:uniqueId val="{00000127-2993-41DE-A2CB-63102DE87051}"/>
              </c:ext>
            </c:extLst>
          </c:dPt>
          <c:dPt>
            <c:idx val="147"/>
            <c:invertIfNegative val="1"/>
            <c:bubble3D val="0"/>
            <c:spPr>
              <a:solidFill>
                <a:srgbClr val="00A097"/>
              </a:solidFill>
            </c:spPr>
            <c:extLst>
              <c:ext xmlns:c16="http://schemas.microsoft.com/office/drawing/2014/chart" uri="{C3380CC4-5D6E-409C-BE32-E72D297353CC}">
                <c16:uniqueId val="{00000129-2993-41DE-A2CB-63102DE87051}"/>
              </c:ext>
            </c:extLst>
          </c:dPt>
          <c:dPt>
            <c:idx val="148"/>
            <c:invertIfNegative val="1"/>
            <c:bubble3D val="0"/>
            <c:spPr>
              <a:solidFill>
                <a:srgbClr val="00A097"/>
              </a:solidFill>
            </c:spPr>
            <c:extLst>
              <c:ext xmlns:c16="http://schemas.microsoft.com/office/drawing/2014/chart" uri="{C3380CC4-5D6E-409C-BE32-E72D297353CC}">
                <c16:uniqueId val="{0000012B-2993-41DE-A2CB-63102DE87051}"/>
              </c:ext>
            </c:extLst>
          </c:dPt>
          <c:dPt>
            <c:idx val="149"/>
            <c:invertIfNegative val="1"/>
            <c:bubble3D val="0"/>
            <c:spPr>
              <a:solidFill>
                <a:srgbClr val="00A097"/>
              </a:solidFill>
            </c:spPr>
            <c:extLst>
              <c:ext xmlns:c16="http://schemas.microsoft.com/office/drawing/2014/chart" uri="{C3380CC4-5D6E-409C-BE32-E72D297353CC}">
                <c16:uniqueId val="{0000012D-2993-41DE-A2CB-63102DE87051}"/>
              </c:ext>
            </c:extLst>
          </c:dPt>
          <c:dPt>
            <c:idx val="150"/>
            <c:invertIfNegative val="1"/>
            <c:bubble3D val="0"/>
            <c:spPr>
              <a:solidFill>
                <a:srgbClr val="00A097"/>
              </a:solidFill>
            </c:spPr>
            <c:extLst>
              <c:ext xmlns:c16="http://schemas.microsoft.com/office/drawing/2014/chart" uri="{C3380CC4-5D6E-409C-BE32-E72D297353CC}">
                <c16:uniqueId val="{0000012F-2993-41DE-A2CB-63102DE87051}"/>
              </c:ext>
            </c:extLst>
          </c:dPt>
          <c:dPt>
            <c:idx val="151"/>
            <c:invertIfNegative val="1"/>
            <c:bubble3D val="0"/>
            <c:spPr>
              <a:solidFill>
                <a:srgbClr val="00A097"/>
              </a:solidFill>
            </c:spPr>
            <c:extLst>
              <c:ext xmlns:c16="http://schemas.microsoft.com/office/drawing/2014/chart" uri="{C3380CC4-5D6E-409C-BE32-E72D297353CC}">
                <c16:uniqueId val="{00000131-2993-41DE-A2CB-63102DE87051}"/>
              </c:ext>
            </c:extLst>
          </c:dPt>
          <c:dPt>
            <c:idx val="152"/>
            <c:invertIfNegative val="1"/>
            <c:bubble3D val="0"/>
            <c:spPr>
              <a:solidFill>
                <a:srgbClr val="00A097"/>
              </a:solidFill>
            </c:spPr>
            <c:extLst>
              <c:ext xmlns:c16="http://schemas.microsoft.com/office/drawing/2014/chart" uri="{C3380CC4-5D6E-409C-BE32-E72D297353CC}">
                <c16:uniqueId val="{00000133-2993-41DE-A2CB-63102DE87051}"/>
              </c:ext>
            </c:extLst>
          </c:dPt>
          <c:dPt>
            <c:idx val="153"/>
            <c:invertIfNegative val="1"/>
            <c:bubble3D val="0"/>
            <c:spPr>
              <a:solidFill>
                <a:srgbClr val="00A097"/>
              </a:solidFill>
            </c:spPr>
            <c:extLst>
              <c:ext xmlns:c16="http://schemas.microsoft.com/office/drawing/2014/chart" uri="{C3380CC4-5D6E-409C-BE32-E72D297353CC}">
                <c16:uniqueId val="{00000135-2993-41DE-A2CB-63102DE87051}"/>
              </c:ext>
            </c:extLst>
          </c:dPt>
          <c:dPt>
            <c:idx val="154"/>
            <c:invertIfNegative val="1"/>
            <c:bubble3D val="0"/>
            <c:spPr>
              <a:solidFill>
                <a:srgbClr val="00A097"/>
              </a:solidFill>
            </c:spPr>
            <c:extLst>
              <c:ext xmlns:c16="http://schemas.microsoft.com/office/drawing/2014/chart" uri="{C3380CC4-5D6E-409C-BE32-E72D297353CC}">
                <c16:uniqueId val="{00000137-2993-41DE-A2CB-63102DE87051}"/>
              </c:ext>
            </c:extLst>
          </c:dPt>
          <c:dPt>
            <c:idx val="155"/>
            <c:invertIfNegative val="1"/>
            <c:bubble3D val="0"/>
            <c:spPr>
              <a:solidFill>
                <a:srgbClr val="00A097"/>
              </a:solidFill>
            </c:spPr>
            <c:extLst>
              <c:ext xmlns:c16="http://schemas.microsoft.com/office/drawing/2014/chart" uri="{C3380CC4-5D6E-409C-BE32-E72D297353CC}">
                <c16:uniqueId val="{00000139-2993-41DE-A2CB-63102DE87051}"/>
              </c:ext>
            </c:extLst>
          </c:dPt>
          <c:dPt>
            <c:idx val="156"/>
            <c:invertIfNegative val="1"/>
            <c:bubble3D val="0"/>
            <c:spPr>
              <a:solidFill>
                <a:srgbClr val="00A097"/>
              </a:solidFill>
            </c:spPr>
            <c:extLst>
              <c:ext xmlns:c16="http://schemas.microsoft.com/office/drawing/2014/chart" uri="{C3380CC4-5D6E-409C-BE32-E72D297353CC}">
                <c16:uniqueId val="{0000013B-2993-41DE-A2CB-63102DE87051}"/>
              </c:ext>
            </c:extLst>
          </c:dPt>
          <c:dPt>
            <c:idx val="157"/>
            <c:invertIfNegative val="1"/>
            <c:bubble3D val="0"/>
            <c:spPr>
              <a:solidFill>
                <a:srgbClr val="00A097"/>
              </a:solidFill>
            </c:spPr>
            <c:extLst>
              <c:ext xmlns:c16="http://schemas.microsoft.com/office/drawing/2014/chart" uri="{C3380CC4-5D6E-409C-BE32-E72D297353CC}">
                <c16:uniqueId val="{0000013D-2993-41DE-A2CB-63102DE87051}"/>
              </c:ext>
            </c:extLst>
          </c:dPt>
          <c:dPt>
            <c:idx val="158"/>
            <c:invertIfNegative val="1"/>
            <c:bubble3D val="0"/>
            <c:spPr>
              <a:solidFill>
                <a:srgbClr val="00A097"/>
              </a:solidFill>
            </c:spPr>
            <c:extLst>
              <c:ext xmlns:c16="http://schemas.microsoft.com/office/drawing/2014/chart" uri="{C3380CC4-5D6E-409C-BE32-E72D297353CC}">
                <c16:uniqueId val="{0000013F-2993-41DE-A2CB-63102DE87051}"/>
              </c:ext>
            </c:extLst>
          </c:dPt>
          <c:dPt>
            <c:idx val="159"/>
            <c:invertIfNegative val="1"/>
            <c:bubble3D val="0"/>
            <c:spPr>
              <a:solidFill>
                <a:srgbClr val="00A097"/>
              </a:solidFill>
            </c:spPr>
            <c:extLst>
              <c:ext xmlns:c16="http://schemas.microsoft.com/office/drawing/2014/chart" uri="{C3380CC4-5D6E-409C-BE32-E72D297353CC}">
                <c16:uniqueId val="{00000141-2993-41DE-A2CB-63102DE87051}"/>
              </c:ext>
            </c:extLst>
          </c:dPt>
          <c:dPt>
            <c:idx val="160"/>
            <c:invertIfNegative val="1"/>
            <c:bubble3D val="0"/>
            <c:spPr>
              <a:solidFill>
                <a:srgbClr val="00A097"/>
              </a:solidFill>
            </c:spPr>
            <c:extLst>
              <c:ext xmlns:c16="http://schemas.microsoft.com/office/drawing/2014/chart" uri="{C3380CC4-5D6E-409C-BE32-E72D297353CC}">
                <c16:uniqueId val="{00000143-2993-41DE-A2CB-63102DE87051}"/>
              </c:ext>
            </c:extLst>
          </c:dPt>
          <c:dPt>
            <c:idx val="161"/>
            <c:invertIfNegative val="1"/>
            <c:bubble3D val="0"/>
            <c:spPr>
              <a:solidFill>
                <a:srgbClr val="00A097"/>
              </a:solidFill>
            </c:spPr>
            <c:extLst>
              <c:ext xmlns:c16="http://schemas.microsoft.com/office/drawing/2014/chart" uri="{C3380CC4-5D6E-409C-BE32-E72D297353CC}">
                <c16:uniqueId val="{00000145-2993-41DE-A2CB-63102DE87051}"/>
              </c:ext>
            </c:extLst>
          </c:dPt>
          <c:dPt>
            <c:idx val="162"/>
            <c:invertIfNegative val="1"/>
            <c:bubble3D val="0"/>
            <c:spPr>
              <a:solidFill>
                <a:srgbClr val="00A097"/>
              </a:solidFill>
            </c:spPr>
            <c:extLst>
              <c:ext xmlns:c16="http://schemas.microsoft.com/office/drawing/2014/chart" uri="{C3380CC4-5D6E-409C-BE32-E72D297353CC}">
                <c16:uniqueId val="{00000147-2993-41DE-A2CB-63102DE87051}"/>
              </c:ext>
            </c:extLst>
          </c:dPt>
          <c:dPt>
            <c:idx val="163"/>
            <c:invertIfNegative val="1"/>
            <c:bubble3D val="0"/>
            <c:spPr>
              <a:solidFill>
                <a:srgbClr val="00A097"/>
              </a:solidFill>
            </c:spPr>
            <c:extLst>
              <c:ext xmlns:c16="http://schemas.microsoft.com/office/drawing/2014/chart" uri="{C3380CC4-5D6E-409C-BE32-E72D297353CC}">
                <c16:uniqueId val="{00000149-2993-41DE-A2CB-63102DE87051}"/>
              </c:ext>
            </c:extLst>
          </c:dPt>
          <c:dPt>
            <c:idx val="164"/>
            <c:invertIfNegative val="1"/>
            <c:bubble3D val="0"/>
            <c:spPr>
              <a:solidFill>
                <a:srgbClr val="00A097"/>
              </a:solidFill>
            </c:spPr>
            <c:extLst>
              <c:ext xmlns:c16="http://schemas.microsoft.com/office/drawing/2014/chart" uri="{C3380CC4-5D6E-409C-BE32-E72D297353CC}">
                <c16:uniqueId val="{0000014B-2993-41DE-A2CB-63102DE87051}"/>
              </c:ext>
            </c:extLst>
          </c:dPt>
          <c:dPt>
            <c:idx val="165"/>
            <c:invertIfNegative val="1"/>
            <c:bubble3D val="0"/>
            <c:spPr>
              <a:solidFill>
                <a:srgbClr val="00A097"/>
              </a:solidFill>
            </c:spPr>
            <c:extLst>
              <c:ext xmlns:c16="http://schemas.microsoft.com/office/drawing/2014/chart" uri="{C3380CC4-5D6E-409C-BE32-E72D297353CC}">
                <c16:uniqueId val="{0000014D-2993-41DE-A2CB-63102DE87051}"/>
              </c:ext>
            </c:extLst>
          </c:dPt>
          <c:dPt>
            <c:idx val="166"/>
            <c:invertIfNegative val="1"/>
            <c:bubble3D val="0"/>
            <c:spPr>
              <a:solidFill>
                <a:srgbClr val="00A097"/>
              </a:solidFill>
            </c:spPr>
            <c:extLst>
              <c:ext xmlns:c16="http://schemas.microsoft.com/office/drawing/2014/chart" uri="{C3380CC4-5D6E-409C-BE32-E72D297353CC}">
                <c16:uniqueId val="{0000014F-2993-41DE-A2CB-63102DE87051}"/>
              </c:ext>
            </c:extLst>
          </c:dPt>
          <c:dPt>
            <c:idx val="167"/>
            <c:invertIfNegative val="1"/>
            <c:bubble3D val="0"/>
            <c:spPr>
              <a:solidFill>
                <a:srgbClr val="00A097"/>
              </a:solidFill>
            </c:spPr>
            <c:extLst>
              <c:ext xmlns:c16="http://schemas.microsoft.com/office/drawing/2014/chart" uri="{C3380CC4-5D6E-409C-BE32-E72D297353CC}">
                <c16:uniqueId val="{00000151-2993-41DE-A2CB-63102DE87051}"/>
              </c:ext>
            </c:extLst>
          </c:dPt>
          <c:dPt>
            <c:idx val="168"/>
            <c:invertIfNegative val="1"/>
            <c:bubble3D val="0"/>
            <c:spPr>
              <a:solidFill>
                <a:srgbClr val="00A097"/>
              </a:solidFill>
            </c:spPr>
            <c:extLst>
              <c:ext xmlns:c16="http://schemas.microsoft.com/office/drawing/2014/chart" uri="{C3380CC4-5D6E-409C-BE32-E72D297353CC}">
                <c16:uniqueId val="{00000153-2993-41DE-A2CB-63102DE87051}"/>
              </c:ext>
            </c:extLst>
          </c:dPt>
          <c:dPt>
            <c:idx val="169"/>
            <c:invertIfNegative val="1"/>
            <c:bubble3D val="0"/>
            <c:spPr>
              <a:solidFill>
                <a:srgbClr val="00A097"/>
              </a:solidFill>
            </c:spPr>
            <c:extLst>
              <c:ext xmlns:c16="http://schemas.microsoft.com/office/drawing/2014/chart" uri="{C3380CC4-5D6E-409C-BE32-E72D297353CC}">
                <c16:uniqueId val="{00000155-2993-41DE-A2CB-63102DE87051}"/>
              </c:ext>
            </c:extLst>
          </c:dPt>
          <c:dPt>
            <c:idx val="170"/>
            <c:invertIfNegative val="1"/>
            <c:bubble3D val="0"/>
            <c:spPr>
              <a:solidFill>
                <a:srgbClr val="00A097"/>
              </a:solidFill>
            </c:spPr>
            <c:extLst>
              <c:ext xmlns:c16="http://schemas.microsoft.com/office/drawing/2014/chart" uri="{C3380CC4-5D6E-409C-BE32-E72D297353CC}">
                <c16:uniqueId val="{00000157-2993-41DE-A2CB-63102DE87051}"/>
              </c:ext>
            </c:extLst>
          </c:dPt>
          <c:dPt>
            <c:idx val="171"/>
            <c:invertIfNegative val="1"/>
            <c:bubble3D val="0"/>
            <c:spPr>
              <a:solidFill>
                <a:srgbClr val="00A097"/>
              </a:solidFill>
            </c:spPr>
            <c:extLst>
              <c:ext xmlns:c16="http://schemas.microsoft.com/office/drawing/2014/chart" uri="{C3380CC4-5D6E-409C-BE32-E72D297353CC}">
                <c16:uniqueId val="{00000159-2993-41DE-A2CB-63102DE87051}"/>
              </c:ext>
            </c:extLst>
          </c:dPt>
          <c:dPt>
            <c:idx val="172"/>
            <c:invertIfNegative val="1"/>
            <c:bubble3D val="0"/>
            <c:spPr>
              <a:solidFill>
                <a:srgbClr val="00A097"/>
              </a:solidFill>
            </c:spPr>
            <c:extLst>
              <c:ext xmlns:c16="http://schemas.microsoft.com/office/drawing/2014/chart" uri="{C3380CC4-5D6E-409C-BE32-E72D297353CC}">
                <c16:uniqueId val="{0000015B-2993-41DE-A2CB-63102DE87051}"/>
              </c:ext>
            </c:extLst>
          </c:dPt>
          <c:dPt>
            <c:idx val="173"/>
            <c:invertIfNegative val="1"/>
            <c:bubble3D val="0"/>
            <c:spPr>
              <a:solidFill>
                <a:srgbClr val="00A097"/>
              </a:solidFill>
            </c:spPr>
            <c:extLst>
              <c:ext xmlns:c16="http://schemas.microsoft.com/office/drawing/2014/chart" uri="{C3380CC4-5D6E-409C-BE32-E72D297353CC}">
                <c16:uniqueId val="{0000015D-2993-41DE-A2CB-63102DE87051}"/>
              </c:ext>
            </c:extLst>
          </c:dPt>
          <c:dPt>
            <c:idx val="174"/>
            <c:invertIfNegative val="1"/>
            <c:bubble3D val="0"/>
            <c:spPr>
              <a:solidFill>
                <a:srgbClr val="00A097"/>
              </a:solidFill>
            </c:spPr>
            <c:extLst>
              <c:ext xmlns:c16="http://schemas.microsoft.com/office/drawing/2014/chart" uri="{C3380CC4-5D6E-409C-BE32-E72D297353CC}">
                <c16:uniqueId val="{0000015F-2993-41DE-A2CB-63102DE87051}"/>
              </c:ext>
            </c:extLst>
          </c:dPt>
          <c:dPt>
            <c:idx val="175"/>
            <c:invertIfNegative val="1"/>
            <c:bubble3D val="0"/>
            <c:spPr>
              <a:solidFill>
                <a:srgbClr val="00A097"/>
              </a:solidFill>
            </c:spPr>
            <c:extLst>
              <c:ext xmlns:c16="http://schemas.microsoft.com/office/drawing/2014/chart" uri="{C3380CC4-5D6E-409C-BE32-E72D297353CC}">
                <c16:uniqueId val="{00000161-2993-41DE-A2CB-63102DE87051}"/>
              </c:ext>
            </c:extLst>
          </c:dPt>
          <c:dPt>
            <c:idx val="176"/>
            <c:invertIfNegative val="1"/>
            <c:bubble3D val="0"/>
            <c:spPr>
              <a:solidFill>
                <a:srgbClr val="00A097"/>
              </a:solidFill>
            </c:spPr>
            <c:extLst>
              <c:ext xmlns:c16="http://schemas.microsoft.com/office/drawing/2014/chart" uri="{C3380CC4-5D6E-409C-BE32-E72D297353CC}">
                <c16:uniqueId val="{00000163-2993-41DE-A2CB-63102DE87051}"/>
              </c:ext>
            </c:extLst>
          </c:dPt>
          <c:dPt>
            <c:idx val="177"/>
            <c:invertIfNegative val="1"/>
            <c:bubble3D val="0"/>
            <c:spPr>
              <a:solidFill>
                <a:srgbClr val="00A097"/>
              </a:solidFill>
            </c:spPr>
            <c:extLst>
              <c:ext xmlns:c16="http://schemas.microsoft.com/office/drawing/2014/chart" uri="{C3380CC4-5D6E-409C-BE32-E72D297353CC}">
                <c16:uniqueId val="{00000165-2993-41DE-A2CB-63102DE87051}"/>
              </c:ext>
            </c:extLst>
          </c:dPt>
          <c:dPt>
            <c:idx val="178"/>
            <c:invertIfNegative val="1"/>
            <c:bubble3D val="0"/>
            <c:spPr>
              <a:solidFill>
                <a:srgbClr val="00A097"/>
              </a:solidFill>
            </c:spPr>
            <c:extLst>
              <c:ext xmlns:c16="http://schemas.microsoft.com/office/drawing/2014/chart" uri="{C3380CC4-5D6E-409C-BE32-E72D297353CC}">
                <c16:uniqueId val="{00000167-2993-41DE-A2CB-63102DE87051}"/>
              </c:ext>
            </c:extLst>
          </c:dPt>
          <c:dPt>
            <c:idx val="179"/>
            <c:invertIfNegative val="1"/>
            <c:bubble3D val="0"/>
            <c:spPr>
              <a:solidFill>
                <a:srgbClr val="00A097"/>
              </a:solidFill>
            </c:spPr>
            <c:extLst>
              <c:ext xmlns:c16="http://schemas.microsoft.com/office/drawing/2014/chart" uri="{C3380CC4-5D6E-409C-BE32-E72D297353CC}">
                <c16:uniqueId val="{00000169-2993-41DE-A2CB-63102DE87051}"/>
              </c:ext>
            </c:extLst>
          </c:dPt>
          <c:dPt>
            <c:idx val="180"/>
            <c:invertIfNegative val="1"/>
            <c:bubble3D val="0"/>
            <c:spPr>
              <a:solidFill>
                <a:srgbClr val="00A097"/>
              </a:solidFill>
            </c:spPr>
            <c:extLst>
              <c:ext xmlns:c16="http://schemas.microsoft.com/office/drawing/2014/chart" uri="{C3380CC4-5D6E-409C-BE32-E72D297353CC}">
                <c16:uniqueId val="{0000016B-2993-41DE-A2CB-63102DE87051}"/>
              </c:ext>
            </c:extLst>
          </c:dPt>
          <c:dPt>
            <c:idx val="181"/>
            <c:invertIfNegative val="1"/>
            <c:bubble3D val="0"/>
            <c:spPr>
              <a:solidFill>
                <a:srgbClr val="00A097"/>
              </a:solidFill>
            </c:spPr>
            <c:extLst>
              <c:ext xmlns:c16="http://schemas.microsoft.com/office/drawing/2014/chart" uri="{C3380CC4-5D6E-409C-BE32-E72D297353CC}">
                <c16:uniqueId val="{0000016D-2993-41DE-A2CB-63102DE87051}"/>
              </c:ext>
            </c:extLst>
          </c:dPt>
          <c:dPt>
            <c:idx val="182"/>
            <c:invertIfNegative val="1"/>
            <c:bubble3D val="0"/>
            <c:spPr>
              <a:solidFill>
                <a:srgbClr val="00A097"/>
              </a:solidFill>
            </c:spPr>
            <c:extLst>
              <c:ext xmlns:c16="http://schemas.microsoft.com/office/drawing/2014/chart" uri="{C3380CC4-5D6E-409C-BE32-E72D297353CC}">
                <c16:uniqueId val="{0000016F-2993-41DE-A2CB-63102DE87051}"/>
              </c:ext>
            </c:extLst>
          </c:dPt>
          <c:dPt>
            <c:idx val="183"/>
            <c:invertIfNegative val="1"/>
            <c:bubble3D val="0"/>
            <c:spPr>
              <a:solidFill>
                <a:srgbClr val="00A097"/>
              </a:solidFill>
            </c:spPr>
            <c:extLst>
              <c:ext xmlns:c16="http://schemas.microsoft.com/office/drawing/2014/chart" uri="{C3380CC4-5D6E-409C-BE32-E72D297353CC}">
                <c16:uniqueId val="{00000171-2993-41DE-A2CB-63102DE87051}"/>
              </c:ext>
            </c:extLst>
          </c:dPt>
          <c:dPt>
            <c:idx val="184"/>
            <c:invertIfNegative val="1"/>
            <c:bubble3D val="0"/>
            <c:spPr>
              <a:solidFill>
                <a:srgbClr val="00A097"/>
              </a:solidFill>
            </c:spPr>
            <c:extLst>
              <c:ext xmlns:c16="http://schemas.microsoft.com/office/drawing/2014/chart" uri="{C3380CC4-5D6E-409C-BE32-E72D297353CC}">
                <c16:uniqueId val="{00000173-2993-41DE-A2CB-63102DE87051}"/>
              </c:ext>
            </c:extLst>
          </c:dPt>
          <c:dPt>
            <c:idx val="185"/>
            <c:invertIfNegative val="1"/>
            <c:bubble3D val="0"/>
            <c:spPr>
              <a:solidFill>
                <a:srgbClr val="00A097"/>
              </a:solidFill>
            </c:spPr>
            <c:extLst>
              <c:ext xmlns:c16="http://schemas.microsoft.com/office/drawing/2014/chart" uri="{C3380CC4-5D6E-409C-BE32-E72D297353CC}">
                <c16:uniqueId val="{00000175-2993-41DE-A2CB-63102DE87051}"/>
              </c:ext>
            </c:extLst>
          </c:dPt>
          <c:dPt>
            <c:idx val="186"/>
            <c:invertIfNegative val="1"/>
            <c:bubble3D val="0"/>
            <c:spPr>
              <a:solidFill>
                <a:srgbClr val="00A097"/>
              </a:solidFill>
            </c:spPr>
            <c:extLst>
              <c:ext xmlns:c16="http://schemas.microsoft.com/office/drawing/2014/chart" uri="{C3380CC4-5D6E-409C-BE32-E72D297353CC}">
                <c16:uniqueId val="{00000177-2993-41DE-A2CB-63102DE87051}"/>
              </c:ext>
            </c:extLst>
          </c:dPt>
          <c:dPt>
            <c:idx val="187"/>
            <c:invertIfNegative val="1"/>
            <c:bubble3D val="0"/>
            <c:spPr>
              <a:solidFill>
                <a:srgbClr val="00A097"/>
              </a:solidFill>
            </c:spPr>
            <c:extLst>
              <c:ext xmlns:c16="http://schemas.microsoft.com/office/drawing/2014/chart" uri="{C3380CC4-5D6E-409C-BE32-E72D297353CC}">
                <c16:uniqueId val="{00000179-2993-41DE-A2CB-63102DE87051}"/>
              </c:ext>
            </c:extLst>
          </c:dPt>
          <c:dPt>
            <c:idx val="188"/>
            <c:invertIfNegative val="1"/>
            <c:bubble3D val="0"/>
            <c:spPr>
              <a:solidFill>
                <a:srgbClr val="00A097"/>
              </a:solidFill>
            </c:spPr>
            <c:extLst>
              <c:ext xmlns:c16="http://schemas.microsoft.com/office/drawing/2014/chart" uri="{C3380CC4-5D6E-409C-BE32-E72D297353CC}">
                <c16:uniqueId val="{0000017B-2993-41DE-A2CB-63102DE87051}"/>
              </c:ext>
            </c:extLst>
          </c:dPt>
          <c:dPt>
            <c:idx val="189"/>
            <c:invertIfNegative val="1"/>
            <c:bubble3D val="0"/>
            <c:spPr>
              <a:solidFill>
                <a:srgbClr val="00A097"/>
              </a:solidFill>
            </c:spPr>
            <c:extLst>
              <c:ext xmlns:c16="http://schemas.microsoft.com/office/drawing/2014/chart" uri="{C3380CC4-5D6E-409C-BE32-E72D297353CC}">
                <c16:uniqueId val="{0000017D-2993-41DE-A2CB-63102DE87051}"/>
              </c:ext>
            </c:extLst>
          </c:dPt>
          <c:dPt>
            <c:idx val="190"/>
            <c:invertIfNegative val="1"/>
            <c:bubble3D val="0"/>
            <c:spPr>
              <a:solidFill>
                <a:srgbClr val="00A097"/>
              </a:solidFill>
            </c:spPr>
            <c:extLst>
              <c:ext xmlns:c16="http://schemas.microsoft.com/office/drawing/2014/chart" uri="{C3380CC4-5D6E-409C-BE32-E72D297353CC}">
                <c16:uniqueId val="{0000017F-2993-41DE-A2CB-63102DE87051}"/>
              </c:ext>
            </c:extLst>
          </c:dPt>
          <c:dPt>
            <c:idx val="191"/>
            <c:invertIfNegative val="1"/>
            <c:bubble3D val="0"/>
            <c:spPr>
              <a:solidFill>
                <a:srgbClr val="00A097"/>
              </a:solidFill>
            </c:spPr>
            <c:extLst>
              <c:ext xmlns:c16="http://schemas.microsoft.com/office/drawing/2014/chart" uri="{C3380CC4-5D6E-409C-BE32-E72D297353CC}">
                <c16:uniqueId val="{00000181-2993-41DE-A2CB-63102DE87051}"/>
              </c:ext>
            </c:extLst>
          </c:dPt>
          <c:dPt>
            <c:idx val="192"/>
            <c:invertIfNegative val="1"/>
            <c:bubble3D val="0"/>
            <c:spPr>
              <a:solidFill>
                <a:srgbClr val="00A097"/>
              </a:solidFill>
            </c:spPr>
            <c:extLst>
              <c:ext xmlns:c16="http://schemas.microsoft.com/office/drawing/2014/chart" uri="{C3380CC4-5D6E-409C-BE32-E72D297353CC}">
                <c16:uniqueId val="{00000183-2993-41DE-A2CB-63102DE87051}"/>
              </c:ext>
            </c:extLst>
          </c:dPt>
          <c:dPt>
            <c:idx val="193"/>
            <c:invertIfNegative val="1"/>
            <c:bubble3D val="0"/>
            <c:spPr>
              <a:solidFill>
                <a:srgbClr val="00A097"/>
              </a:solidFill>
            </c:spPr>
            <c:extLst>
              <c:ext xmlns:c16="http://schemas.microsoft.com/office/drawing/2014/chart" uri="{C3380CC4-5D6E-409C-BE32-E72D297353CC}">
                <c16:uniqueId val="{00000185-2993-41DE-A2CB-63102DE87051}"/>
              </c:ext>
            </c:extLst>
          </c:dPt>
          <c:dPt>
            <c:idx val="194"/>
            <c:invertIfNegative val="1"/>
            <c:bubble3D val="0"/>
            <c:spPr>
              <a:solidFill>
                <a:srgbClr val="00A097"/>
              </a:solidFill>
            </c:spPr>
            <c:extLst>
              <c:ext xmlns:c16="http://schemas.microsoft.com/office/drawing/2014/chart" uri="{C3380CC4-5D6E-409C-BE32-E72D297353CC}">
                <c16:uniqueId val="{00000187-2993-41DE-A2CB-63102DE87051}"/>
              </c:ext>
            </c:extLst>
          </c:dPt>
          <c:dPt>
            <c:idx val="195"/>
            <c:invertIfNegative val="1"/>
            <c:bubble3D val="0"/>
            <c:spPr>
              <a:solidFill>
                <a:srgbClr val="00A097"/>
              </a:solidFill>
            </c:spPr>
            <c:extLst>
              <c:ext xmlns:c16="http://schemas.microsoft.com/office/drawing/2014/chart" uri="{C3380CC4-5D6E-409C-BE32-E72D297353CC}">
                <c16:uniqueId val="{00000189-2993-41DE-A2CB-63102DE87051}"/>
              </c:ext>
            </c:extLst>
          </c:dPt>
          <c:dPt>
            <c:idx val="196"/>
            <c:invertIfNegative val="1"/>
            <c:bubble3D val="0"/>
            <c:spPr>
              <a:solidFill>
                <a:srgbClr val="00A097"/>
              </a:solidFill>
            </c:spPr>
            <c:extLst>
              <c:ext xmlns:c16="http://schemas.microsoft.com/office/drawing/2014/chart" uri="{C3380CC4-5D6E-409C-BE32-E72D297353CC}">
                <c16:uniqueId val="{0000018B-2993-41DE-A2CB-63102DE87051}"/>
              </c:ext>
            </c:extLst>
          </c:dPt>
          <c:dPt>
            <c:idx val="197"/>
            <c:invertIfNegative val="1"/>
            <c:bubble3D val="0"/>
            <c:spPr>
              <a:solidFill>
                <a:srgbClr val="00A097"/>
              </a:solidFill>
            </c:spPr>
            <c:extLst>
              <c:ext xmlns:c16="http://schemas.microsoft.com/office/drawing/2014/chart" uri="{C3380CC4-5D6E-409C-BE32-E72D297353CC}">
                <c16:uniqueId val="{0000018D-2993-41DE-A2CB-63102DE87051}"/>
              </c:ext>
            </c:extLst>
          </c:dPt>
          <c:dPt>
            <c:idx val="198"/>
            <c:invertIfNegative val="1"/>
            <c:bubble3D val="0"/>
            <c:spPr>
              <a:solidFill>
                <a:srgbClr val="00A097"/>
              </a:solidFill>
            </c:spPr>
            <c:extLst>
              <c:ext xmlns:c16="http://schemas.microsoft.com/office/drawing/2014/chart" uri="{C3380CC4-5D6E-409C-BE32-E72D297353CC}">
                <c16:uniqueId val="{0000018F-2993-41DE-A2CB-63102DE87051}"/>
              </c:ext>
            </c:extLst>
          </c:dPt>
          <c:dPt>
            <c:idx val="199"/>
            <c:invertIfNegative val="1"/>
            <c:bubble3D val="0"/>
            <c:spPr>
              <a:solidFill>
                <a:srgbClr val="00A097"/>
              </a:solidFill>
            </c:spPr>
            <c:extLst>
              <c:ext xmlns:c16="http://schemas.microsoft.com/office/drawing/2014/chart" uri="{C3380CC4-5D6E-409C-BE32-E72D297353CC}">
                <c16:uniqueId val="{00000191-2993-41DE-A2CB-63102DE87051}"/>
              </c:ext>
            </c:extLst>
          </c:dPt>
          <c:dPt>
            <c:idx val="200"/>
            <c:invertIfNegative val="1"/>
            <c:bubble3D val="0"/>
            <c:spPr>
              <a:solidFill>
                <a:srgbClr val="00A097"/>
              </a:solidFill>
            </c:spPr>
            <c:extLst>
              <c:ext xmlns:c16="http://schemas.microsoft.com/office/drawing/2014/chart" uri="{C3380CC4-5D6E-409C-BE32-E72D297353CC}">
                <c16:uniqueId val="{00000193-2993-41DE-A2CB-63102DE87051}"/>
              </c:ext>
            </c:extLst>
          </c:dPt>
          <c:dPt>
            <c:idx val="201"/>
            <c:invertIfNegative val="1"/>
            <c:bubble3D val="0"/>
            <c:spPr>
              <a:solidFill>
                <a:srgbClr val="00A097"/>
              </a:solidFill>
            </c:spPr>
            <c:extLst>
              <c:ext xmlns:c16="http://schemas.microsoft.com/office/drawing/2014/chart" uri="{C3380CC4-5D6E-409C-BE32-E72D297353CC}">
                <c16:uniqueId val="{00000195-2993-41DE-A2CB-63102DE87051}"/>
              </c:ext>
            </c:extLst>
          </c:dPt>
          <c:dPt>
            <c:idx val="202"/>
            <c:invertIfNegative val="1"/>
            <c:bubble3D val="0"/>
            <c:spPr>
              <a:solidFill>
                <a:srgbClr val="00A097"/>
              </a:solidFill>
            </c:spPr>
            <c:extLst>
              <c:ext xmlns:c16="http://schemas.microsoft.com/office/drawing/2014/chart" uri="{C3380CC4-5D6E-409C-BE32-E72D297353CC}">
                <c16:uniqueId val="{00000197-2993-41DE-A2CB-63102DE87051}"/>
              </c:ext>
            </c:extLst>
          </c:dPt>
          <c:dPt>
            <c:idx val="203"/>
            <c:invertIfNegative val="1"/>
            <c:bubble3D val="0"/>
            <c:spPr>
              <a:solidFill>
                <a:srgbClr val="00A097"/>
              </a:solidFill>
            </c:spPr>
            <c:extLst>
              <c:ext xmlns:c16="http://schemas.microsoft.com/office/drawing/2014/chart" uri="{C3380CC4-5D6E-409C-BE32-E72D297353CC}">
                <c16:uniqueId val="{00000199-2993-41DE-A2CB-63102DE87051}"/>
              </c:ext>
            </c:extLst>
          </c:dPt>
          <c:dPt>
            <c:idx val="204"/>
            <c:invertIfNegative val="1"/>
            <c:bubble3D val="0"/>
            <c:spPr>
              <a:solidFill>
                <a:srgbClr val="00A097"/>
              </a:solidFill>
            </c:spPr>
            <c:extLst>
              <c:ext xmlns:c16="http://schemas.microsoft.com/office/drawing/2014/chart" uri="{C3380CC4-5D6E-409C-BE32-E72D297353CC}">
                <c16:uniqueId val="{0000019B-2993-41DE-A2CB-63102DE87051}"/>
              </c:ext>
            </c:extLst>
          </c:dPt>
          <c:dPt>
            <c:idx val="205"/>
            <c:invertIfNegative val="1"/>
            <c:bubble3D val="0"/>
            <c:spPr>
              <a:solidFill>
                <a:srgbClr val="00A097"/>
              </a:solidFill>
            </c:spPr>
            <c:extLst>
              <c:ext xmlns:c16="http://schemas.microsoft.com/office/drawing/2014/chart" uri="{C3380CC4-5D6E-409C-BE32-E72D297353CC}">
                <c16:uniqueId val="{0000019D-2993-41DE-A2CB-63102DE87051}"/>
              </c:ext>
            </c:extLst>
          </c:dPt>
          <c:dPt>
            <c:idx val="206"/>
            <c:invertIfNegative val="1"/>
            <c:bubble3D val="0"/>
            <c:spPr>
              <a:solidFill>
                <a:srgbClr val="00A097"/>
              </a:solidFill>
            </c:spPr>
            <c:extLst>
              <c:ext xmlns:c16="http://schemas.microsoft.com/office/drawing/2014/chart" uri="{C3380CC4-5D6E-409C-BE32-E72D297353CC}">
                <c16:uniqueId val="{0000019F-2993-41DE-A2CB-63102DE87051}"/>
              </c:ext>
            </c:extLst>
          </c:dPt>
          <c:dPt>
            <c:idx val="207"/>
            <c:invertIfNegative val="1"/>
            <c:bubble3D val="0"/>
            <c:spPr>
              <a:solidFill>
                <a:srgbClr val="00A097"/>
              </a:solidFill>
            </c:spPr>
            <c:extLst>
              <c:ext xmlns:c16="http://schemas.microsoft.com/office/drawing/2014/chart" uri="{C3380CC4-5D6E-409C-BE32-E72D297353CC}">
                <c16:uniqueId val="{000001A1-2993-41DE-A2CB-63102DE87051}"/>
              </c:ext>
            </c:extLst>
          </c:dPt>
          <c:dPt>
            <c:idx val="208"/>
            <c:invertIfNegative val="1"/>
            <c:bubble3D val="0"/>
            <c:spPr>
              <a:solidFill>
                <a:srgbClr val="00A097"/>
              </a:solidFill>
            </c:spPr>
            <c:extLst>
              <c:ext xmlns:c16="http://schemas.microsoft.com/office/drawing/2014/chart" uri="{C3380CC4-5D6E-409C-BE32-E72D297353CC}">
                <c16:uniqueId val="{000001A3-2993-41DE-A2CB-63102DE87051}"/>
              </c:ext>
            </c:extLst>
          </c:dPt>
          <c:dPt>
            <c:idx val="209"/>
            <c:invertIfNegative val="1"/>
            <c:bubble3D val="0"/>
            <c:spPr>
              <a:solidFill>
                <a:srgbClr val="00A097"/>
              </a:solidFill>
            </c:spPr>
            <c:extLst>
              <c:ext xmlns:c16="http://schemas.microsoft.com/office/drawing/2014/chart" uri="{C3380CC4-5D6E-409C-BE32-E72D297353CC}">
                <c16:uniqueId val="{000001A5-2993-41DE-A2CB-63102DE87051}"/>
              </c:ext>
            </c:extLst>
          </c:dPt>
          <c:dPt>
            <c:idx val="210"/>
            <c:spPr>
              <a:solidFill>
                <a:srgbClr val="00A097"/>
              </a:solidFill>
            </c:spPr>
          </c:dPt>
          <c:dPt>
            <c:idx val="211"/>
            <c:spPr>
              <a:solidFill>
                <a:srgbClr val="00A097"/>
              </a:solidFill>
            </c:spPr>
          </c:dPt>
          <c:dPt>
            <c:idx val="212"/>
            <c:spPr>
              <a:solidFill>
                <a:srgbClr val="00A097"/>
              </a:solidFill>
            </c:spPr>
          </c:dPt>
          <c:dPt>
            <c:idx val="213"/>
            <c:spPr>
              <a:solidFill>
                <a:srgbClr val="00A097"/>
              </a:solidFill>
            </c:spPr>
          </c:dPt>
          <c:dPt>
            <c:idx val="214"/>
            <c:spPr>
              <a:solidFill>
                <a:srgbClr val="00A097"/>
              </a:solidFill>
            </c:spPr>
          </c:dPt>
          <c:dPt>
            <c:idx val="215"/>
            <c:spPr>
              <a:solidFill>
                <a:srgbClr val="00A097"/>
              </a:solidFill>
            </c:spPr>
          </c:dPt>
          <c:dPt>
            <c:idx val="216"/>
            <c:spPr>
              <a:solidFill>
                <a:srgbClr val="00A097"/>
              </a:solidFill>
            </c:spPr>
          </c:dPt>
          <c:dPt>
            <c:idx val="217"/>
            <c:spPr>
              <a:solidFill>
                <a:srgbClr val="00A097"/>
              </a:solidFill>
            </c:spPr>
          </c:dPt>
          <c:dPt>
            <c:idx val="218"/>
            <c:spPr>
              <a:solidFill>
                <a:srgbClr val="00A097"/>
              </a:solidFill>
            </c:spPr>
          </c:dPt>
          <c:dPt>
            <c:idx val="219"/>
            <c:spPr>
              <a:solidFill>
                <a:srgbClr val="00A097"/>
              </a:solidFill>
            </c:spPr>
          </c:dPt>
          <c:dPt>
            <c:idx val="220"/>
            <c:spPr>
              <a:solidFill>
                <a:srgbClr val="00A097"/>
              </a:solidFill>
            </c:spPr>
          </c:dPt>
          <c:dPt>
            <c:idx val="221"/>
            <c:spPr>
              <a:solidFill>
                <a:srgbClr val="00A097"/>
              </a:solidFill>
            </c:spPr>
          </c:dPt>
          <c:dPt>
            <c:idx val="222"/>
            <c:spPr>
              <a:solidFill>
                <a:srgbClr val="00A097"/>
              </a:solidFill>
            </c:spPr>
          </c:dPt>
          <c:dPt>
            <c:idx val="223"/>
            <c:spPr>
              <a:solidFill>
                <a:srgbClr val="00A097"/>
              </a:solidFill>
            </c:spPr>
          </c:dPt>
          <c:dPt>
            <c:idx val="224"/>
            <c:spPr>
              <a:solidFill>
                <a:srgbClr val="00A097"/>
              </a:solidFill>
            </c:spPr>
          </c:dPt>
          <c:dPt>
            <c:idx val="225"/>
            <c:spPr>
              <a:solidFill>
                <a:srgbClr val="00A097"/>
              </a:solidFill>
            </c:spPr>
          </c:dPt>
          <c:dPt>
            <c:idx val="226"/>
            <c:spPr>
              <a:solidFill>
                <a:srgbClr val="00A097"/>
              </a:solidFill>
            </c:spPr>
          </c:dPt>
          <c:dPt>
            <c:idx val="227"/>
            <c:spPr>
              <a:solidFill>
                <a:srgbClr val="00A097"/>
              </a:solidFill>
            </c:spPr>
          </c:dPt>
          <c:dPt>
            <c:idx val="228"/>
            <c:spPr>
              <a:solidFill>
                <a:srgbClr val="00A097"/>
              </a:solidFill>
            </c:spPr>
          </c:dPt>
          <c:dPt>
            <c:idx val="229"/>
            <c:spPr>
              <a:solidFill>
                <a:srgbClr val="00A097"/>
              </a:solidFill>
            </c:spPr>
          </c:dPt>
          <c:dPt>
            <c:idx val="230"/>
            <c:spPr>
              <a:solidFill>
                <a:srgbClr val="00A097"/>
              </a:solidFill>
            </c:spPr>
          </c:dPt>
          <c:dPt>
            <c:idx val="231"/>
            <c:spPr>
              <a:solidFill>
                <a:srgbClr val="00A097"/>
              </a:solidFill>
            </c:spPr>
          </c:dPt>
          <c:dPt>
            <c:idx val="232"/>
            <c:spPr>
              <a:solidFill>
                <a:srgbClr val="00A097"/>
              </a:solidFill>
            </c:spPr>
          </c:dPt>
          <c:dPt>
            <c:idx val="233"/>
            <c:spPr>
              <a:solidFill>
                <a:srgbClr val="00A097"/>
              </a:solidFill>
            </c:spPr>
          </c:dPt>
          <c:dPt>
            <c:idx val="234"/>
            <c:spPr>
              <a:solidFill>
                <a:srgbClr val="00A097"/>
              </a:solidFill>
            </c:spPr>
          </c:dPt>
          <c:dPt>
            <c:idx val="235"/>
            <c:spPr>
              <a:solidFill>
                <a:srgbClr val="00A097"/>
              </a:solidFill>
            </c:spPr>
          </c:dPt>
          <c:dPt>
            <c:idx val="236"/>
            <c:spPr>
              <a:solidFill>
                <a:srgbClr val="00A097"/>
              </a:solidFill>
            </c:spPr>
          </c:dPt>
          <c:dPt>
            <c:idx val="237"/>
            <c:spPr>
              <a:solidFill>
                <a:srgbClr val="00A097"/>
              </a:solidFill>
            </c:spPr>
          </c:dPt>
          <c:dPt>
            <c:idx val="238"/>
            <c:spPr>
              <a:solidFill>
                <a:srgbClr val="00A097"/>
              </a:solidFill>
            </c:spPr>
          </c:dPt>
          <c:dPt>
            <c:idx val="239"/>
            <c:spPr>
              <a:solidFill>
                <a:srgbClr val="00A097"/>
              </a:solidFill>
            </c:spPr>
          </c:dPt>
          <c:dPt>
            <c:idx val="240"/>
            <c:spPr>
              <a:solidFill>
                <a:srgbClr val="00A097"/>
              </a:solidFill>
            </c:spPr>
          </c:dPt>
          <c:dPt>
            <c:idx val="241"/>
            <c:spPr>
              <a:solidFill>
                <a:srgbClr val="00A097"/>
              </a:solidFill>
            </c:spPr>
          </c:dPt>
          <c:dPt>
            <c:idx val="242"/>
            <c:spPr>
              <a:solidFill>
                <a:srgbClr val="00A097"/>
              </a:solidFill>
            </c:spPr>
          </c:dPt>
          <c:dPt>
            <c:idx val="243"/>
            <c:spPr>
              <a:solidFill>
                <a:srgbClr val="00A097"/>
              </a:solidFill>
            </c:spPr>
          </c:dPt>
          <c:dPt>
            <c:idx val="244"/>
            <c:spPr>
              <a:solidFill>
                <a:srgbClr val="00A097"/>
              </a:solidFill>
            </c:spPr>
          </c:dPt>
          <c:dPt>
            <c:idx val="245"/>
            <c:spPr>
              <a:solidFill>
                <a:srgbClr val="00A097"/>
              </a:solidFill>
            </c:spPr>
          </c:dPt>
          <c:dPt>
            <c:idx val="246"/>
            <c:spPr>
              <a:solidFill>
                <a:srgbClr val="00A097"/>
              </a:solidFill>
            </c:spPr>
          </c:dPt>
          <c:dPt>
            <c:idx val="247"/>
            <c:spPr>
              <a:solidFill>
                <a:srgbClr val="00A097"/>
              </a:solidFill>
            </c:spPr>
          </c:dPt>
          <c:dPt>
            <c:idx val="248"/>
            <c:spPr>
              <a:solidFill>
                <a:srgbClr val="00A097"/>
              </a:solidFill>
            </c:spPr>
          </c:dPt>
          <c:dPt>
            <c:idx val="249"/>
            <c:spPr>
              <a:solidFill>
                <a:srgbClr val="00A097"/>
              </a:solidFill>
            </c:spPr>
          </c:dPt>
          <c:dPt>
            <c:idx val="250"/>
            <c:spPr>
              <a:solidFill>
                <a:srgbClr val="00A097"/>
              </a:solidFill>
            </c:spPr>
          </c:dPt>
          <c:dPt>
            <c:idx val="251"/>
            <c:spPr>
              <a:solidFill>
                <a:srgbClr val="00A097"/>
              </a:solidFill>
            </c:spPr>
          </c:dPt>
          <c:dPt>
            <c:idx val="252"/>
            <c:spPr>
              <a:solidFill>
                <a:srgbClr val="00A097"/>
              </a:solidFill>
            </c:spPr>
          </c:dPt>
          <c:dPt>
            <c:idx val="253"/>
            <c:spPr>
              <a:solidFill>
                <a:srgbClr val="00A097"/>
              </a:solidFill>
            </c:spPr>
          </c:dPt>
          <c:dPt>
            <c:idx val="254"/>
            <c:spPr>
              <a:solidFill>
                <a:srgbClr val="00A097"/>
              </a:solidFill>
            </c:spPr>
          </c:dPt>
          <c:dPt>
            <c:idx val="255"/>
            <c:spPr>
              <a:solidFill>
                <a:srgbClr val="00A097"/>
              </a:solidFill>
            </c:spPr>
          </c:dPt>
          <c:dPt>
            <c:idx val="256"/>
            <c:spPr>
              <a:solidFill>
                <a:srgbClr val="00A097"/>
              </a:solidFill>
            </c:spPr>
          </c:dPt>
          <c:dPt>
            <c:idx val="257"/>
            <c:spPr>
              <a:solidFill>
                <a:srgbClr val="00A097"/>
              </a:solidFill>
            </c:spPr>
          </c:dPt>
          <c:dPt>
            <c:idx val="258"/>
            <c:spPr>
              <a:solidFill>
                <a:srgbClr val="00A097"/>
              </a:solidFill>
            </c:spPr>
          </c:dPt>
          <c:dPt>
            <c:idx val="259"/>
            <c:spPr>
              <a:solidFill>
                <a:srgbClr val="00A097"/>
              </a:solidFill>
            </c:spPr>
          </c:dPt>
          <c:dPt>
            <c:idx val="260"/>
            <c:spPr>
              <a:solidFill>
                <a:srgbClr val="00A097"/>
              </a:solidFill>
            </c:spPr>
          </c:dPt>
          <c:dPt>
            <c:idx val="261"/>
            <c:spPr>
              <a:solidFill>
                <a:srgbClr val="00A097"/>
              </a:solidFill>
            </c:spPr>
          </c:dPt>
          <c:dPt>
            <c:idx val="262"/>
            <c:spPr>
              <a:solidFill>
                <a:srgbClr val="00A097"/>
              </a:solidFill>
            </c:spPr>
          </c:dPt>
          <c:dPt>
            <c:idx val="263"/>
            <c:spPr>
              <a:solidFill>
                <a:srgbClr val="00A097"/>
              </a:solidFill>
            </c:spPr>
          </c:dPt>
          <c:dPt>
            <c:idx val="264"/>
            <c:spPr>
              <a:solidFill>
                <a:srgbClr val="00A097"/>
              </a:solidFill>
            </c:spPr>
          </c:dPt>
          <c:dPt>
            <c:idx val="265"/>
            <c:spPr>
              <a:solidFill>
                <a:srgbClr val="00A097"/>
              </a:solidFill>
            </c:spPr>
          </c:dPt>
          <c:dPt>
            <c:idx val="266"/>
            <c:spPr>
              <a:solidFill>
                <a:srgbClr val="00A097"/>
              </a:solidFill>
            </c:spPr>
          </c:dPt>
          <c:dPt>
            <c:idx val="267"/>
            <c:spPr>
              <a:solidFill>
                <a:srgbClr val="00A097"/>
              </a:solidFill>
            </c:spPr>
          </c:dPt>
          <c:dPt>
            <c:idx val="268"/>
            <c:spPr>
              <a:solidFill>
                <a:srgbClr val="00A097"/>
              </a:solidFill>
            </c:spPr>
          </c:dPt>
          <c:dPt>
            <c:idx val="269"/>
            <c:spPr>
              <a:solidFill>
                <a:srgbClr val="00A097"/>
              </a:solidFill>
            </c:spPr>
          </c:dPt>
          <c:dPt>
            <c:idx val="270"/>
            <c:spPr>
              <a:solidFill>
                <a:srgbClr val="00A097"/>
              </a:solidFill>
            </c:spPr>
          </c:dPt>
          <c:dPt>
            <c:idx val="271"/>
            <c:spPr>
              <a:solidFill>
                <a:srgbClr val="00A097"/>
              </a:solidFill>
            </c:spPr>
          </c:dPt>
          <c:dPt>
            <c:idx val="272"/>
            <c:spPr>
              <a:solidFill>
                <a:srgbClr val="00A097"/>
              </a:solidFill>
            </c:spPr>
          </c:dPt>
          <c:dPt>
            <c:idx val="273"/>
            <c:spPr>
              <a:solidFill>
                <a:srgbClr val="00A097"/>
              </a:solidFill>
            </c:spPr>
          </c:dPt>
          <c:dPt>
            <c:idx val="274"/>
            <c:spPr>
              <a:solidFill>
                <a:srgbClr val="00A097"/>
              </a:solidFill>
            </c:spPr>
          </c:dPt>
          <c:dPt>
            <c:idx val="275"/>
            <c:spPr>
              <a:solidFill>
                <a:srgbClr val="00A097"/>
              </a:solidFill>
            </c:spPr>
          </c:dPt>
          <c:dPt>
            <c:idx val="276"/>
            <c:spPr>
              <a:solidFill>
                <a:srgbClr val="00A097"/>
              </a:solidFill>
            </c:spPr>
          </c:dPt>
          <c:dPt>
            <c:idx val="277"/>
            <c:spPr>
              <a:solidFill>
                <a:srgbClr val="00A097"/>
              </a:solidFill>
            </c:spPr>
          </c:dPt>
          <c:dPt>
            <c:idx val="278"/>
            <c:spPr>
              <a:solidFill>
                <a:srgbClr val="00A097"/>
              </a:solidFill>
            </c:spPr>
          </c:dPt>
          <c:dPt>
            <c:idx val="279"/>
            <c:spPr>
              <a:solidFill>
                <a:srgbClr val="00A097"/>
              </a:solidFill>
            </c:spPr>
          </c:dPt>
          <c:dPt>
            <c:idx val="280"/>
            <c:spPr>
              <a:solidFill>
                <a:srgbClr val="00A097"/>
              </a:solidFill>
            </c:spPr>
          </c:dPt>
          <c:dPt>
            <c:idx val="281"/>
            <c:spPr>
              <a:solidFill>
                <a:srgbClr val="00A097"/>
              </a:solidFill>
            </c:spPr>
          </c:dPt>
          <c:dPt>
            <c:idx val="282"/>
            <c:spPr>
              <a:solidFill>
                <a:srgbClr val="00A097"/>
              </a:solidFill>
            </c:spPr>
          </c:dPt>
          <c:dPt>
            <c:idx val="283"/>
            <c:spPr>
              <a:solidFill>
                <a:srgbClr val="00A097"/>
              </a:solidFill>
            </c:spPr>
          </c:dPt>
          <c:dPt>
            <c:idx val="284"/>
            <c:spPr>
              <a:solidFill>
                <a:srgbClr val="00A097"/>
              </a:solidFill>
            </c:spPr>
          </c:dPt>
          <c:dPt>
            <c:idx val="285"/>
            <c:spPr>
              <a:solidFill>
                <a:srgbClr val="00A097"/>
              </a:solidFill>
            </c:spPr>
          </c:dPt>
          <c:dPt>
            <c:idx val="286"/>
            <c:spPr>
              <a:solidFill>
                <a:srgbClr val="00A097"/>
              </a:solidFill>
            </c:spPr>
          </c:dPt>
          <c:dPt>
            <c:idx val="287"/>
            <c:spPr>
              <a:solidFill>
                <a:srgbClr val="00A097"/>
              </a:solidFill>
            </c:spPr>
          </c:dPt>
          <c:dPt>
            <c:idx val="288"/>
            <c:spPr>
              <a:solidFill>
                <a:srgbClr val="00A097"/>
              </a:solidFill>
            </c:spPr>
          </c:dPt>
          <c:dPt>
            <c:idx val="289"/>
            <c:spPr>
              <a:solidFill>
                <a:srgbClr val="00A097"/>
              </a:solidFill>
            </c:spPr>
          </c:dPt>
          <c:dPt>
            <c:idx val="290"/>
            <c:spPr>
              <a:solidFill>
                <a:srgbClr val="00A097"/>
              </a:solidFill>
            </c:spPr>
          </c:dPt>
          <c:dPt>
            <c:idx val="291"/>
            <c:spPr>
              <a:solidFill>
                <a:srgbClr val="00A097"/>
              </a:solidFill>
            </c:spPr>
          </c:dPt>
          <c:dPt>
            <c:idx val="292"/>
            <c:spPr>
              <a:solidFill>
                <a:srgbClr val="00A097"/>
              </a:solidFill>
            </c:spPr>
          </c:dPt>
          <c:dPt>
            <c:idx val="293"/>
            <c:spPr>
              <a:solidFill>
                <a:srgbClr val="00A097"/>
              </a:solidFill>
            </c:spPr>
          </c:dPt>
          <c:dPt>
            <c:idx val="294"/>
            <c:spPr>
              <a:solidFill>
                <a:srgbClr val="00A097"/>
              </a:solidFill>
            </c:spPr>
          </c:dPt>
          <c:dPt>
            <c:idx val="295"/>
            <c:spPr>
              <a:solidFill>
                <a:srgbClr val="00A097"/>
              </a:solidFill>
            </c:spPr>
          </c:dPt>
          <c:dPt>
            <c:idx val="296"/>
            <c:spPr>
              <a:solidFill>
                <a:srgbClr val="00A097"/>
              </a:solidFill>
            </c:spPr>
          </c:dPt>
          <c:dPt>
            <c:idx val="297"/>
            <c:spPr>
              <a:solidFill>
                <a:srgbClr val="00A097"/>
              </a:solidFill>
            </c:spPr>
          </c:dPt>
          <c:dPt>
            <c:idx val="298"/>
            <c:spPr>
              <a:solidFill>
                <a:srgbClr val="00A097"/>
              </a:solidFill>
            </c:spPr>
          </c:dPt>
          <c:dPt>
            <c:idx val="299"/>
            <c:spPr>
              <a:solidFill>
                <a:srgbClr val="00A097"/>
              </a:solidFill>
            </c:spPr>
          </c:dPt>
          <c:dPt>
            <c:idx val="300"/>
            <c:spPr>
              <a:solidFill>
                <a:srgbClr val="00A097"/>
              </a:solidFill>
            </c:spPr>
          </c:dPt>
          <c:dPt>
            <c:idx val="301"/>
            <c:spPr>
              <a:solidFill>
                <a:srgbClr val="00A097"/>
              </a:solidFill>
            </c:spPr>
          </c:dPt>
          <c:dPt>
            <c:idx val="302"/>
            <c:spPr>
              <a:solidFill>
                <a:srgbClr val="00A097"/>
              </a:solidFill>
            </c:spPr>
          </c:dPt>
          <c:dPt>
            <c:idx val="303"/>
            <c:spPr>
              <a:solidFill>
                <a:srgbClr val="00A097"/>
              </a:solidFill>
            </c:spPr>
          </c:dPt>
          <c:dPt>
            <c:idx val="304"/>
            <c:spPr>
              <a:solidFill>
                <a:srgbClr val="00A097"/>
              </a:solidFill>
            </c:spPr>
          </c:dPt>
          <c:dPt>
            <c:idx val="305"/>
            <c:spPr>
              <a:solidFill>
                <a:srgbClr val="00A097"/>
              </a:solidFill>
            </c:spPr>
          </c:dPt>
          <c:dPt>
            <c:idx val="306"/>
            <c:spPr>
              <a:solidFill>
                <a:srgbClr val="00A097"/>
              </a:solidFill>
            </c:spPr>
          </c:dPt>
          <c:dPt>
            <c:idx val="307"/>
            <c:spPr>
              <a:solidFill>
                <a:srgbClr val="00A097"/>
              </a:solidFill>
            </c:spPr>
          </c:dPt>
          <c:dPt>
            <c:idx val="308"/>
            <c:spPr>
              <a:solidFill>
                <a:srgbClr val="00A097"/>
              </a:solidFill>
            </c:spPr>
          </c:dPt>
          <c:dPt>
            <c:idx val="309"/>
            <c:spPr>
              <a:solidFill>
                <a:srgbClr val="00A097"/>
              </a:solidFill>
            </c:spPr>
          </c:dPt>
          <c:dPt>
            <c:idx val="310"/>
            <c:spPr>
              <a:solidFill>
                <a:srgbClr val="00A097"/>
              </a:solidFill>
            </c:spPr>
          </c:dPt>
          <c:dPt>
            <c:idx val="311"/>
            <c:spPr>
              <a:solidFill>
                <a:srgbClr val="00A097"/>
              </a:solidFill>
            </c:spPr>
          </c:dPt>
          <c:dPt>
            <c:idx val="312"/>
            <c:spPr>
              <a:solidFill>
                <a:srgbClr val="00A097"/>
              </a:solidFill>
            </c:spPr>
          </c:dPt>
          <c:dPt>
            <c:idx val="313"/>
            <c:spPr>
              <a:solidFill>
                <a:srgbClr val="00A097"/>
              </a:solidFill>
            </c:spPr>
          </c:dPt>
          <c:dPt>
            <c:idx val="314"/>
            <c:spPr>
              <a:solidFill>
                <a:srgbClr val="00A097"/>
              </a:solidFill>
            </c:spPr>
          </c:dPt>
          <c:dPt>
            <c:idx val="315"/>
            <c:spPr>
              <a:solidFill>
                <a:srgbClr val="00A097"/>
              </a:solidFill>
            </c:spPr>
          </c:dPt>
          <c:dPt>
            <c:idx val="316"/>
            <c:spPr>
              <a:solidFill>
                <a:srgbClr val="00A097"/>
              </a:solidFill>
            </c:spPr>
          </c:dPt>
          <c:dPt>
            <c:idx val="317"/>
            <c:spPr>
              <a:solidFill>
                <a:srgbClr val="00A097"/>
              </a:solidFill>
            </c:spPr>
          </c:dPt>
          <c:dPt>
            <c:idx val="318"/>
            <c:spPr>
              <a:solidFill>
                <a:srgbClr val="00A097"/>
              </a:solidFill>
            </c:spPr>
          </c:dPt>
          <c:dPt>
            <c:idx val="319"/>
            <c:spPr>
              <a:solidFill>
                <a:srgbClr val="00A097"/>
              </a:solidFill>
            </c:spPr>
          </c:dPt>
          <c:dPt>
            <c:idx val="320"/>
            <c:spPr>
              <a:solidFill>
                <a:srgbClr val="00A097"/>
              </a:solidFill>
            </c:spPr>
          </c:dPt>
          <c:dPt>
            <c:idx val="321"/>
            <c:spPr>
              <a:solidFill>
                <a:srgbClr val="00A097"/>
              </a:solidFill>
            </c:spPr>
          </c:dPt>
          <c:dPt>
            <c:idx val="322"/>
            <c:spPr>
              <a:solidFill>
                <a:srgbClr val="00A097"/>
              </a:solidFill>
            </c:spPr>
          </c:dPt>
          <c:dPt>
            <c:idx val="323"/>
            <c:spPr>
              <a:solidFill>
                <a:srgbClr val="00A097"/>
              </a:solidFill>
            </c:spPr>
          </c:dPt>
          <c:dPt>
            <c:idx val="324"/>
            <c:spPr>
              <a:solidFill>
                <a:srgbClr val="00A097"/>
              </a:solidFill>
            </c:spPr>
          </c:dPt>
          <c:dPt>
            <c:idx val="325"/>
            <c:spPr>
              <a:solidFill>
                <a:srgbClr val="00A097"/>
              </a:solidFill>
            </c:spPr>
          </c:dPt>
          <c:dPt>
            <c:idx val="326"/>
            <c:spPr>
              <a:solidFill>
                <a:srgbClr val="00A097"/>
              </a:solidFill>
            </c:spPr>
          </c:dPt>
          <c:dPt>
            <c:idx val="327"/>
            <c:spPr>
              <a:solidFill>
                <a:srgbClr val="00A097"/>
              </a:solidFill>
            </c:spPr>
          </c:dPt>
          <c:dPt>
            <c:idx val="328"/>
            <c:spPr>
              <a:solidFill>
                <a:srgbClr val="00A097"/>
              </a:solidFill>
            </c:spPr>
          </c:dPt>
          <c:dPt>
            <c:idx val="329"/>
            <c:spPr>
              <a:solidFill>
                <a:srgbClr val="00A097"/>
              </a:solidFill>
            </c:spPr>
          </c:dPt>
          <c:dPt>
            <c:idx val="330"/>
            <c:spPr>
              <a:solidFill>
                <a:srgbClr val="00A097"/>
              </a:solidFill>
            </c:spPr>
          </c:dPt>
          <c:dPt>
            <c:idx val="331"/>
            <c:spPr>
              <a:solidFill>
                <a:srgbClr val="00A097"/>
              </a:solidFill>
            </c:spPr>
          </c:dPt>
          <c:dPt>
            <c:idx val="332"/>
            <c:spPr>
              <a:solidFill>
                <a:srgbClr val="00A097"/>
              </a:solidFill>
            </c:spPr>
          </c:dPt>
          <c:dPt>
            <c:idx val="333"/>
            <c:spPr>
              <a:solidFill>
                <a:srgbClr val="00A097"/>
              </a:solidFill>
            </c:spPr>
          </c:dPt>
          <c:dPt>
            <c:idx val="334"/>
            <c:spPr>
              <a:solidFill>
                <a:srgbClr val="00A097"/>
              </a:solidFill>
            </c:spPr>
          </c:dPt>
          <c:dPt>
            <c:idx val="335"/>
            <c:spPr>
              <a:solidFill>
                <a:srgbClr val="00A097"/>
              </a:solidFill>
            </c:spPr>
          </c:dPt>
          <c:dPt>
            <c:idx val="336"/>
            <c:spPr>
              <a:solidFill>
                <a:srgbClr val="00A097"/>
              </a:solidFill>
            </c:spPr>
          </c:dPt>
          <c:dPt>
            <c:idx val="337"/>
            <c:spPr>
              <a:solidFill>
                <a:srgbClr val="00A097"/>
              </a:solidFill>
            </c:spPr>
          </c:dPt>
          <c:dPt>
            <c:idx val="338"/>
            <c:spPr>
              <a:solidFill>
                <a:srgbClr val="00A097"/>
              </a:solidFill>
            </c:spPr>
          </c:dPt>
          <c:dPt>
            <c:idx val="339"/>
            <c:spPr>
              <a:solidFill>
                <a:srgbClr val="00A097"/>
              </a:solidFill>
            </c:spPr>
          </c:dPt>
          <c:dPt>
            <c:idx val="340"/>
            <c:spPr>
              <a:solidFill>
                <a:srgbClr val="00A097"/>
              </a:solidFill>
            </c:spPr>
          </c:dPt>
          <c:dPt>
            <c:idx val="341"/>
            <c:spPr>
              <a:solidFill>
                <a:srgbClr val="00A097"/>
              </a:solidFill>
            </c:spPr>
          </c:dPt>
          <c:dPt>
            <c:idx val="342"/>
            <c:spPr>
              <a:solidFill>
                <a:srgbClr val="00A097"/>
              </a:solidFill>
            </c:spPr>
          </c:dPt>
          <c:dPt>
            <c:idx val="343"/>
            <c:spPr>
              <a:solidFill>
                <a:srgbClr val="00A097"/>
              </a:solidFill>
            </c:spPr>
          </c:dPt>
          <c:dPt>
            <c:idx val="344"/>
            <c:spPr>
              <a:solidFill>
                <a:srgbClr val="00A097"/>
              </a:solidFill>
            </c:spPr>
          </c:dPt>
          <c:dPt>
            <c:idx val="345"/>
            <c:spPr>
              <a:solidFill>
                <a:srgbClr val="00A097"/>
              </a:solidFill>
            </c:spPr>
          </c:dPt>
          <c:dPt>
            <c:idx val="346"/>
            <c:spPr>
              <a:solidFill>
                <a:srgbClr val="00A097"/>
              </a:solidFill>
            </c:spPr>
          </c:dPt>
          <c:dPt>
            <c:idx val="347"/>
            <c:spPr>
              <a:solidFill>
                <a:srgbClr val="00A097"/>
              </a:solidFill>
            </c:spPr>
          </c:dPt>
          <c:dPt>
            <c:idx val="348"/>
            <c:spPr>
              <a:solidFill>
                <a:srgbClr val="00A097"/>
              </a:solidFill>
            </c:spPr>
          </c:dPt>
          <c:dPt>
            <c:idx val="349"/>
            <c:spPr>
              <a:solidFill>
                <a:srgbClr val="00A097"/>
              </a:solidFill>
            </c:spPr>
          </c:dPt>
          <c:dPt>
            <c:idx val="350"/>
            <c:spPr>
              <a:solidFill>
                <a:srgbClr val="00A097"/>
              </a:solidFill>
            </c:spPr>
          </c:dPt>
          <c:dPt>
            <c:idx val="351"/>
            <c:spPr>
              <a:solidFill>
                <a:srgbClr val="00A097"/>
              </a:solidFill>
            </c:spPr>
          </c:dPt>
          <c:dPt>
            <c:idx val="352"/>
            <c:spPr>
              <a:solidFill>
                <a:srgbClr val="00A097"/>
              </a:solidFill>
            </c:spPr>
          </c:dPt>
          <c:dPt>
            <c:idx val="353"/>
            <c:spPr>
              <a:solidFill>
                <a:srgbClr val="00A097"/>
              </a:solidFill>
            </c:spPr>
          </c:dPt>
          <c:dPt>
            <c:idx val="354"/>
            <c:spPr>
              <a:solidFill>
                <a:srgbClr val="00A097"/>
              </a:solidFill>
            </c:spPr>
          </c:dPt>
          <c:dPt>
            <c:idx val="355"/>
            <c:spPr>
              <a:solidFill>
                <a:srgbClr val="00A097"/>
              </a:solidFill>
            </c:spPr>
          </c:dPt>
          <c:dPt>
            <c:idx val="356"/>
            <c:spPr>
              <a:solidFill>
                <a:srgbClr val="00A097"/>
              </a:solidFill>
            </c:spPr>
          </c:dPt>
          <c:dPt>
            <c:idx val="357"/>
            <c:spPr>
              <a:solidFill>
                <a:srgbClr val="00A097"/>
              </a:solidFill>
            </c:spPr>
          </c:dPt>
          <c:dPt>
            <c:idx val="358"/>
            <c:spPr>
              <a:solidFill>
                <a:srgbClr val="00A097"/>
              </a:solidFill>
            </c:spPr>
          </c:dPt>
          <c:dPt>
            <c:idx val="359"/>
            <c:spPr>
              <a:solidFill>
                <a:srgbClr val="00A097"/>
              </a:solidFill>
            </c:spPr>
          </c:dPt>
          <c:dPt>
            <c:idx val="360"/>
            <c:spPr>
              <a:solidFill>
                <a:srgbClr val="00A097"/>
              </a:solidFill>
            </c:spPr>
          </c:dPt>
          <c:dPt>
            <c:idx val="361"/>
            <c:spPr>
              <a:solidFill>
                <a:srgbClr val="00A097"/>
              </a:solidFill>
            </c:spPr>
          </c:dPt>
          <c:dPt>
            <c:idx val="362"/>
            <c:spPr>
              <a:solidFill>
                <a:srgbClr val="00A097"/>
              </a:solidFill>
            </c:spPr>
          </c:dPt>
          <c:dPt>
            <c:idx val="363"/>
            <c:spPr>
              <a:solidFill>
                <a:srgbClr val="00A097"/>
              </a:solidFill>
            </c:spPr>
          </c:dPt>
          <c:dPt>
            <c:idx val="364"/>
            <c:spPr>
              <a:solidFill>
                <a:srgbClr val="00A097"/>
              </a:solidFill>
            </c:spPr>
          </c:dPt>
          <c:dPt>
            <c:idx val="365"/>
            <c:spPr>
              <a:solidFill>
                <a:srgbClr val="00A097"/>
              </a:solidFill>
            </c:spPr>
          </c:dPt>
          <c:dPt>
            <c:idx val="366"/>
            <c:spPr>
              <a:solidFill>
                <a:srgbClr val="00A097"/>
              </a:solidFill>
            </c:spPr>
          </c:dPt>
          <c:dPt>
            <c:idx val="367"/>
            <c:spPr>
              <a:solidFill>
                <a:srgbClr val="7ECAC4"/>
              </a:solidFill>
            </c:spPr>
          </c:dPt>
          <c:dPt>
            <c:idx val="368"/>
            <c:spPr>
              <a:solidFill>
                <a:srgbClr val="7ECAC4"/>
              </a:solidFill>
            </c:spPr>
          </c:dPt>
          <c:dPt>
            <c:idx val="369"/>
            <c:spPr>
              <a:solidFill>
                <a:srgbClr val="7ECAC4"/>
              </a:solidFill>
            </c:spPr>
          </c:dPt>
          <c:dPt>
            <c:idx val="370"/>
            <c:spPr>
              <a:solidFill>
                <a:srgbClr val="7ECAC4"/>
              </a:solidFill>
            </c:spPr>
          </c:dPt>
          <c:dPt>
            <c:idx val="371"/>
            <c:spPr>
              <a:solidFill>
                <a:srgbClr val="7ECAC4"/>
              </a:solidFill>
            </c:spPr>
          </c:dPt>
          <c:dPt>
            <c:idx val="372"/>
            <c:spPr>
              <a:solidFill>
                <a:srgbClr val="7ECAC4"/>
              </a:solidFill>
            </c:spPr>
          </c:dPt>
          <c:dPt>
            <c:idx val="373"/>
            <c:spPr>
              <a:solidFill>
                <a:srgbClr val="7ECAC4"/>
              </a:solidFill>
            </c:spPr>
          </c:dPt>
          <c:dPt>
            <c:idx val="374"/>
            <c:spPr>
              <a:solidFill>
                <a:srgbClr val="7ECAC4"/>
              </a:solidFill>
            </c:spPr>
          </c:dPt>
          <c:dPt>
            <c:idx val="375"/>
            <c:spPr>
              <a:solidFill>
                <a:srgbClr val="7ECAC4"/>
              </a:solidFill>
            </c:spPr>
          </c:dPt>
          <c:dPt>
            <c:idx val="376"/>
            <c:spPr>
              <a:solidFill>
                <a:srgbClr val="7ECAC4"/>
              </a:solidFill>
            </c:spPr>
          </c:dPt>
          <c:dPt>
            <c:idx val="377"/>
            <c:spPr>
              <a:solidFill>
                <a:srgbClr val="7ECAC4"/>
              </a:solidFill>
            </c:spPr>
          </c:dPt>
          <c:dPt>
            <c:idx val="378"/>
            <c:spPr>
              <a:solidFill>
                <a:srgbClr val="7ECAC4"/>
              </a:solidFill>
            </c:spPr>
          </c:dPt>
          <c:dPt>
            <c:idx val="379"/>
            <c:spPr>
              <a:solidFill>
                <a:srgbClr val="7ECAC4"/>
              </a:solidFill>
            </c:spPr>
          </c:dPt>
          <c:dPt>
            <c:idx val="380"/>
            <c:spPr>
              <a:solidFill>
                <a:srgbClr val="7ECAC4"/>
              </a:solidFill>
            </c:spPr>
          </c:dPt>
          <c:dPt>
            <c:idx val="381"/>
            <c:spPr>
              <a:solidFill>
                <a:srgbClr val="7ECAC4"/>
              </a:solidFill>
            </c:spPr>
          </c:dPt>
          <c:dPt>
            <c:idx val="382"/>
            <c:spPr>
              <a:solidFill>
                <a:srgbClr val="7ECAC4"/>
              </a:solidFill>
            </c:spPr>
          </c:dPt>
          <c:dPt>
            <c:idx val="383"/>
            <c:spPr>
              <a:solidFill>
                <a:srgbClr val="7ECAC4"/>
              </a:solidFill>
            </c:spPr>
          </c:dPt>
          <c:dPt>
            <c:idx val="384"/>
            <c:spPr>
              <a:solidFill>
                <a:srgbClr val="7ECAC4"/>
              </a:solidFill>
            </c:spPr>
          </c:dPt>
          <c:dPt>
            <c:idx val="385"/>
            <c:spPr>
              <a:solidFill>
                <a:srgbClr val="7ECAC4"/>
              </a:solidFill>
            </c:spPr>
          </c:dPt>
          <c:dPt>
            <c:idx val="386"/>
            <c:spPr>
              <a:solidFill>
                <a:srgbClr val="7ECAC4"/>
              </a:solidFill>
            </c:spPr>
          </c:dPt>
          <c:dPt>
            <c:idx val="387"/>
            <c:spPr>
              <a:solidFill>
                <a:srgbClr val="7ECAC4"/>
              </a:solidFill>
            </c:spPr>
          </c:dPt>
          <c:dPt>
            <c:idx val="388"/>
            <c:spPr>
              <a:solidFill>
                <a:srgbClr val="7ECAC4"/>
              </a:solidFill>
            </c:spPr>
          </c:dPt>
          <c:dPt>
            <c:idx val="389"/>
            <c:spPr>
              <a:solidFill>
                <a:srgbClr val="7ECAC4"/>
              </a:solidFill>
            </c:spPr>
          </c:dPt>
          <c:dPt>
            <c:idx val="390"/>
            <c:spPr>
              <a:solidFill>
                <a:srgbClr val="7ECAC4"/>
              </a:solidFill>
            </c:spPr>
          </c:dPt>
          <c:dPt>
            <c:idx val="391"/>
            <c:spPr>
              <a:solidFill>
                <a:srgbClr val="7ECAC4"/>
              </a:solidFill>
            </c:spPr>
          </c:dPt>
          <c:dPt>
            <c:idx val="392"/>
            <c:spPr>
              <a:solidFill>
                <a:srgbClr val="7ECAC4"/>
              </a:solidFill>
            </c:spPr>
          </c:dPt>
          <c:dPt>
            <c:idx val="393"/>
            <c:spPr>
              <a:solidFill>
                <a:srgbClr val="7ECAC4"/>
              </a:solidFill>
            </c:spPr>
          </c:dPt>
          <c:dPt>
            <c:idx val="394"/>
            <c:spPr>
              <a:solidFill>
                <a:srgbClr val="7ECAC4"/>
              </a:solidFill>
            </c:spPr>
          </c:dPt>
          <c:dPt>
            <c:idx val="395"/>
            <c:spPr>
              <a:solidFill>
                <a:srgbClr val="7ECAC4"/>
              </a:solidFill>
            </c:spPr>
          </c:dPt>
          <c:dPt>
            <c:idx val="396"/>
            <c:spPr>
              <a:solidFill>
                <a:srgbClr val="7ECAC4"/>
              </a:solidFill>
            </c:spPr>
          </c:dPt>
          <c:dPt>
            <c:idx val="397"/>
            <c:spPr>
              <a:solidFill>
                <a:srgbClr val="7ECAC4"/>
              </a:solidFill>
            </c:spPr>
          </c:dPt>
          <c:dPt>
            <c:idx val="398"/>
            <c:spPr>
              <a:solidFill>
                <a:srgbClr val="7ECAC4"/>
              </a:solidFill>
            </c:spPr>
          </c:dPt>
          <c:dPt>
            <c:idx val="399"/>
            <c:spPr>
              <a:solidFill>
                <a:srgbClr val="7ECAC4"/>
              </a:solidFill>
            </c:spPr>
          </c:dPt>
          <c:dPt>
            <c:idx val="400"/>
            <c:spPr>
              <a:solidFill>
                <a:srgbClr val="7ECAC4"/>
              </a:solidFill>
            </c:spPr>
          </c:dPt>
          <c:dPt>
            <c:idx val="401"/>
            <c:spPr>
              <a:solidFill>
                <a:srgbClr val="7ECAC4"/>
              </a:solidFill>
            </c:spPr>
          </c:dPt>
          <c:dPt>
            <c:idx val="402"/>
            <c:spPr>
              <a:solidFill>
                <a:srgbClr val="7ECAC4"/>
              </a:solidFill>
            </c:spPr>
          </c:dPt>
          <c:dPt>
            <c:idx val="403"/>
            <c:spPr>
              <a:solidFill>
                <a:srgbClr val="7ECAC4"/>
              </a:solidFill>
            </c:spPr>
          </c:dPt>
          <c:dPt>
            <c:idx val="404"/>
            <c:spPr>
              <a:solidFill>
                <a:srgbClr val="7ECAC4"/>
              </a:solidFill>
            </c:spPr>
          </c:dPt>
          <c:dPt>
            <c:idx val="405"/>
            <c:spPr>
              <a:solidFill>
                <a:srgbClr val="7ECAC4"/>
              </a:solidFill>
            </c:spPr>
          </c:dPt>
          <c:dPt>
            <c:idx val="406"/>
            <c:spPr>
              <a:solidFill>
                <a:srgbClr val="7ECAC4"/>
              </a:solidFill>
            </c:spPr>
          </c:dPt>
          <c:dPt>
            <c:idx val="407"/>
            <c:spPr>
              <a:solidFill>
                <a:srgbClr val="7ECAC4"/>
              </a:solidFill>
            </c:spPr>
          </c:dPt>
          <c:dPt>
            <c:idx val="408"/>
            <c:spPr>
              <a:solidFill>
                <a:srgbClr val="7ECAC4"/>
              </a:solidFill>
            </c:spPr>
          </c:dPt>
          <c:dPt>
            <c:idx val="409"/>
            <c:spPr>
              <a:solidFill>
                <a:srgbClr val="7ECAC4"/>
              </a:solidFill>
            </c:spPr>
          </c:dPt>
          <c:dPt>
            <c:idx val="410"/>
            <c:spPr>
              <a:solidFill>
                <a:srgbClr val="7ECAC4"/>
              </a:solidFill>
            </c:spPr>
          </c:dPt>
          <c:dPt>
            <c:idx val="411"/>
            <c:spPr>
              <a:solidFill>
                <a:srgbClr val="7ECAC4"/>
              </a:solidFill>
            </c:spPr>
          </c:dPt>
          <c:dPt>
            <c:idx val="412"/>
            <c:spPr>
              <a:solidFill>
                <a:srgbClr val="7ECAC4"/>
              </a:solidFill>
            </c:spPr>
          </c:dPt>
          <c:dPt>
            <c:idx val="413"/>
            <c:spPr>
              <a:solidFill>
                <a:srgbClr val="7ECAC4"/>
              </a:solidFill>
            </c:spPr>
          </c:dPt>
          <c:dPt>
            <c:idx val="414"/>
            <c:spPr>
              <a:solidFill>
                <a:srgbClr val="7ECAC4"/>
              </a:solidFill>
            </c:spPr>
          </c:dPt>
          <c:dPt>
            <c:idx val="415"/>
            <c:spPr>
              <a:solidFill>
                <a:srgbClr val="7ECAC4"/>
              </a:solidFill>
            </c:spPr>
          </c:dPt>
          <c:dPt>
            <c:idx val="416"/>
            <c:spPr>
              <a:solidFill>
                <a:srgbClr val="7ECAC4"/>
              </a:solidFill>
            </c:spPr>
          </c:dPt>
          <c:dPt>
            <c:idx val="417"/>
            <c:spPr>
              <a:solidFill>
                <a:srgbClr val="7ECAC4"/>
              </a:solidFill>
            </c:spPr>
          </c:dPt>
          <c:dPt>
            <c:idx val="418"/>
            <c:spPr>
              <a:solidFill>
                <a:srgbClr val="7ECAC4"/>
              </a:solidFill>
            </c:spPr>
          </c:dPt>
          <c:dPt>
            <c:idx val="419"/>
            <c:spPr>
              <a:solidFill>
                <a:srgbClr val="7ECAC4"/>
              </a:solidFill>
            </c:spPr>
          </c:dPt>
          <c:dPt>
            <c:idx val="420"/>
            <c:spPr>
              <a:solidFill>
                <a:srgbClr val="7ECAC4"/>
              </a:solidFill>
            </c:spPr>
          </c:dPt>
          <c:dPt>
            <c:idx val="421"/>
            <c:spPr>
              <a:solidFill>
                <a:srgbClr val="7ECAC4"/>
              </a:solidFill>
            </c:spPr>
          </c:dPt>
          <c:dPt>
            <c:idx val="422"/>
            <c:spPr>
              <a:solidFill>
                <a:srgbClr val="7ECAC4"/>
              </a:solidFill>
            </c:spPr>
          </c:dPt>
          <c:dPt>
            <c:idx val="423"/>
            <c:spPr>
              <a:solidFill>
                <a:srgbClr val="7ECAC4"/>
              </a:solidFill>
            </c:spPr>
          </c:dPt>
          <c:dPt>
            <c:idx val="424"/>
            <c:spPr>
              <a:solidFill>
                <a:srgbClr val="7ECAC4"/>
              </a:solidFill>
            </c:spPr>
          </c:dPt>
          <c:dPt>
            <c:idx val="425"/>
            <c:spPr>
              <a:solidFill>
                <a:srgbClr val="7ECAC4"/>
              </a:solidFill>
            </c:spPr>
          </c:dPt>
          <c:dPt>
            <c:idx val="426"/>
            <c:spPr>
              <a:solidFill>
                <a:srgbClr val="7ECAC4"/>
              </a:solidFill>
            </c:spPr>
          </c:dPt>
          <c:dPt>
            <c:idx val="427"/>
            <c:spPr>
              <a:solidFill>
                <a:srgbClr val="7ECAC4"/>
              </a:solidFill>
            </c:spPr>
          </c:dPt>
          <c:dPt>
            <c:idx val="428"/>
            <c:spPr>
              <a:solidFill>
                <a:srgbClr val="7ECAC4"/>
              </a:solidFill>
            </c:spPr>
          </c:dPt>
          <c:dPt>
            <c:idx val="429"/>
            <c:spPr>
              <a:solidFill>
                <a:srgbClr val="7ECAC4"/>
              </a:solidFill>
            </c:spPr>
          </c:dPt>
          <c:dPt>
            <c:idx val="430"/>
            <c:spPr>
              <a:solidFill>
                <a:srgbClr val="7ECAC4"/>
              </a:solidFill>
            </c:spPr>
          </c:dPt>
          <c:dPt>
            <c:idx val="431"/>
            <c:spPr>
              <a:solidFill>
                <a:srgbClr val="7ECAC4"/>
              </a:solidFill>
            </c:spPr>
          </c:dPt>
          <c:dPt>
            <c:idx val="432"/>
            <c:spPr>
              <a:solidFill>
                <a:srgbClr val="7ECAC4"/>
              </a:solidFill>
            </c:spPr>
          </c:dPt>
          <c:dPt>
            <c:idx val="433"/>
            <c:spPr>
              <a:solidFill>
                <a:srgbClr val="7ECAC4"/>
              </a:solidFill>
            </c:spPr>
          </c:dPt>
          <c:dPt>
            <c:idx val="434"/>
            <c:spPr>
              <a:solidFill>
                <a:srgbClr val="7ECAC4"/>
              </a:solidFill>
            </c:spPr>
          </c:dPt>
          <c:dPt>
            <c:idx val="435"/>
            <c:spPr>
              <a:solidFill>
                <a:srgbClr val="7ECAC4"/>
              </a:solidFill>
            </c:spPr>
          </c:dPt>
          <c:dPt>
            <c:idx val="436"/>
            <c:spPr>
              <a:solidFill>
                <a:srgbClr val="7ECAC4"/>
              </a:solidFill>
            </c:spPr>
          </c:dPt>
          <c:dPt>
            <c:idx val="437"/>
            <c:spPr>
              <a:solidFill>
                <a:srgbClr val="7ECAC4"/>
              </a:solidFill>
            </c:spPr>
          </c:dPt>
          <c:dPt>
            <c:idx val="438"/>
            <c:spPr>
              <a:solidFill>
                <a:srgbClr val="7ECAC4"/>
              </a:solidFill>
            </c:spPr>
          </c:dPt>
          <c:dPt>
            <c:idx val="439"/>
            <c:spPr>
              <a:solidFill>
                <a:srgbClr val="7ECAC4"/>
              </a:solidFill>
            </c:spPr>
          </c:dPt>
          <c:dPt>
            <c:idx val="440"/>
            <c:spPr>
              <a:solidFill>
                <a:srgbClr val="7ECAC4"/>
              </a:solidFill>
            </c:spPr>
          </c:dPt>
          <c:dPt>
            <c:idx val="441"/>
            <c:spPr>
              <a:solidFill>
                <a:srgbClr val="7ECAC4"/>
              </a:solidFill>
            </c:spPr>
          </c:dPt>
          <c:dPt>
            <c:idx val="442"/>
            <c:spPr>
              <a:solidFill>
                <a:srgbClr val="7ECAC4"/>
              </a:solidFill>
            </c:spPr>
          </c:dPt>
          <c:dPt>
            <c:idx val="443"/>
            <c:spPr>
              <a:solidFill>
                <a:srgbClr val="7ECAC4"/>
              </a:solidFill>
            </c:spPr>
          </c:dPt>
          <c:dPt>
            <c:idx val="444"/>
            <c:spPr>
              <a:solidFill>
                <a:srgbClr val="7ECAC4"/>
              </a:solidFill>
            </c:spPr>
          </c:dPt>
          <c:dPt>
            <c:idx val="445"/>
            <c:spPr>
              <a:solidFill>
                <a:srgbClr val="7ECAC4"/>
              </a:solidFill>
            </c:spPr>
          </c:dPt>
          <c:dPt>
            <c:idx val="446"/>
            <c:spPr>
              <a:solidFill>
                <a:srgbClr val="7ECAC4"/>
              </a:solidFill>
            </c:spPr>
          </c:dPt>
          <c:dPt>
            <c:idx val="447"/>
            <c:spPr>
              <a:solidFill>
                <a:srgbClr val="7ECAC4"/>
              </a:solidFill>
            </c:spPr>
          </c:dPt>
          <c:dPt>
            <c:idx val="448"/>
            <c:spPr>
              <a:solidFill>
                <a:srgbClr val="7ECAC4"/>
              </a:solidFill>
            </c:spPr>
          </c:dPt>
          <c:dPt>
            <c:idx val="449"/>
            <c:spPr>
              <a:solidFill>
                <a:srgbClr val="7ECAC4"/>
              </a:solidFill>
            </c:spPr>
          </c:dPt>
          <c:dPt>
            <c:idx val="450"/>
            <c:spPr>
              <a:solidFill>
                <a:srgbClr val="7ECAC4"/>
              </a:solidFill>
            </c:spPr>
          </c:dPt>
          <c:dPt>
            <c:idx val="451"/>
            <c:spPr>
              <a:solidFill>
                <a:srgbClr val="7ECAC4"/>
              </a:solidFill>
            </c:spPr>
          </c:dPt>
          <c:dPt>
            <c:idx val="452"/>
            <c:spPr>
              <a:solidFill>
                <a:srgbClr val="7ECAC4"/>
              </a:solidFill>
            </c:spPr>
          </c:dPt>
          <c:dPt>
            <c:idx val="453"/>
            <c:spPr>
              <a:solidFill>
                <a:srgbClr val="7ECAC4"/>
              </a:solidFill>
            </c:spPr>
          </c:dPt>
          <c:dPt>
            <c:idx val="454"/>
            <c:spPr>
              <a:solidFill>
                <a:srgbClr val="7ECAC4"/>
              </a:solidFill>
            </c:spPr>
          </c:dPt>
          <c:dPt>
            <c:idx val="455"/>
            <c:spPr>
              <a:solidFill>
                <a:srgbClr val="7ECAC4"/>
              </a:solidFill>
            </c:spPr>
          </c:dPt>
          <c:dPt>
            <c:idx val="456"/>
            <c:spPr>
              <a:solidFill>
                <a:srgbClr val="7ECAC4"/>
              </a:solidFill>
            </c:spPr>
          </c:dPt>
          <c:dPt>
            <c:idx val="457"/>
            <c:spPr>
              <a:solidFill>
                <a:srgbClr val="7ECAC4"/>
              </a:solidFill>
            </c:spPr>
          </c:dPt>
          <c:dPt>
            <c:idx val="458"/>
            <c:spPr>
              <a:solidFill>
                <a:srgbClr val="7ECAC4"/>
              </a:solidFill>
            </c:spPr>
          </c:dPt>
          <c:dPt>
            <c:idx val="459"/>
            <c:spPr>
              <a:solidFill>
                <a:srgbClr val="7ECAC4"/>
              </a:solidFill>
            </c:spPr>
          </c:dPt>
          <c:dPt>
            <c:idx val="460"/>
            <c:spPr>
              <a:solidFill>
                <a:srgbClr val="7ECAC4"/>
              </a:solidFill>
            </c:spPr>
          </c:dPt>
          <c:dPt>
            <c:idx val="461"/>
            <c:spPr>
              <a:solidFill>
                <a:srgbClr val="7ECAC4"/>
              </a:solidFill>
            </c:spPr>
          </c:dPt>
          <c:dPt>
            <c:idx val="462"/>
            <c:spPr>
              <a:solidFill>
                <a:srgbClr val="7ECAC4"/>
              </a:solidFill>
            </c:spPr>
          </c:dPt>
          <c:dPt>
            <c:idx val="463"/>
            <c:spPr>
              <a:solidFill>
                <a:srgbClr val="7ECAC4"/>
              </a:solidFill>
            </c:spPr>
          </c:dPt>
          <c:dPt>
            <c:idx val="464"/>
            <c:spPr>
              <a:solidFill>
                <a:srgbClr val="7ECAC4"/>
              </a:solidFill>
            </c:spPr>
          </c:dPt>
          <c:dPt>
            <c:idx val="465"/>
            <c:spPr>
              <a:solidFill>
                <a:srgbClr val="7ECAC4"/>
              </a:solidFill>
            </c:spPr>
          </c:dPt>
          <c:dPt>
            <c:idx val="466"/>
            <c:spPr>
              <a:solidFill>
                <a:srgbClr val="7ECAC4"/>
              </a:solidFill>
            </c:spPr>
          </c:dPt>
          <c:dPt>
            <c:idx val="467"/>
            <c:spPr>
              <a:solidFill>
                <a:srgbClr val="7ECAC4"/>
              </a:solidFill>
            </c:spPr>
          </c:dPt>
          <c:dPt>
            <c:idx val="468"/>
            <c:spPr>
              <a:solidFill>
                <a:srgbClr val="7ECAC4"/>
              </a:solidFill>
            </c:spPr>
          </c:dPt>
          <c:dPt>
            <c:idx val="469"/>
            <c:spPr>
              <a:solidFill>
                <a:srgbClr val="7ECAC4"/>
              </a:solidFill>
            </c:spPr>
          </c:dPt>
          <c:dPt>
            <c:idx val="470"/>
            <c:spPr>
              <a:solidFill>
                <a:srgbClr val="7ECAC4"/>
              </a:solidFill>
            </c:spPr>
          </c:dPt>
          <c:dPt>
            <c:idx val="471"/>
            <c:spPr>
              <a:solidFill>
                <a:srgbClr val="7ECAC4"/>
              </a:solidFill>
            </c:spPr>
          </c:dPt>
          <c:dPt>
            <c:idx val="472"/>
            <c:spPr>
              <a:solidFill>
                <a:srgbClr val="7ECAC4"/>
              </a:solidFill>
            </c:spPr>
          </c:dPt>
          <c:dPt>
            <c:idx val="473"/>
            <c:spPr>
              <a:solidFill>
                <a:srgbClr val="7ECAC4"/>
              </a:solidFill>
            </c:spPr>
          </c:dPt>
          <c:dPt>
            <c:idx val="474"/>
            <c:spPr>
              <a:solidFill>
                <a:srgbClr val="7ECAC4"/>
              </a:solidFill>
            </c:spPr>
          </c:dPt>
          <c:dPt>
            <c:idx val="475"/>
            <c:spPr>
              <a:solidFill>
                <a:srgbClr val="7ECAC4"/>
              </a:solidFill>
            </c:spPr>
          </c:dPt>
          <c:dPt>
            <c:idx val="476"/>
            <c:spPr>
              <a:solidFill>
                <a:srgbClr val="7ECAC4"/>
              </a:solidFill>
            </c:spPr>
          </c:dPt>
          <c:dPt>
            <c:idx val="477"/>
            <c:spPr>
              <a:solidFill>
                <a:srgbClr val="7ECAC4"/>
              </a:solidFill>
            </c:spPr>
          </c:dPt>
          <c:dPt>
            <c:idx val="478"/>
            <c:spPr>
              <a:solidFill>
                <a:srgbClr val="7ECAC4"/>
              </a:solidFill>
            </c:spPr>
          </c:dPt>
          <c:dPt>
            <c:idx val="479"/>
            <c:spPr>
              <a:solidFill>
                <a:srgbClr val="7ECAC4"/>
              </a:solidFill>
            </c:spPr>
          </c:dPt>
          <c:dPt>
            <c:idx val="480"/>
            <c:spPr>
              <a:solidFill>
                <a:srgbClr val="7ECAC4"/>
              </a:solidFill>
            </c:spPr>
          </c:dPt>
          <c:dPt>
            <c:idx val="481"/>
            <c:spPr>
              <a:solidFill>
                <a:srgbClr val="7ECAC4"/>
              </a:solidFill>
            </c:spPr>
          </c:dPt>
          <c:dPt>
            <c:idx val="482"/>
            <c:spPr>
              <a:solidFill>
                <a:srgbClr val="7ECAC4"/>
              </a:solidFill>
            </c:spPr>
          </c:dPt>
          <c:dPt>
            <c:idx val="483"/>
            <c:spPr>
              <a:solidFill>
                <a:srgbClr val="7ECAC4"/>
              </a:solidFill>
            </c:spPr>
          </c:dPt>
          <c:dPt>
            <c:idx val="484"/>
            <c:spPr>
              <a:solidFill>
                <a:srgbClr val="7ECAC4"/>
              </a:solidFill>
            </c:spPr>
          </c:dPt>
          <c:dPt>
            <c:idx val="485"/>
            <c:spPr>
              <a:solidFill>
                <a:srgbClr val="7ECAC4"/>
              </a:solidFill>
            </c:spPr>
          </c:dPt>
          <c:dPt>
            <c:idx val="486"/>
            <c:spPr>
              <a:solidFill>
                <a:srgbClr val="7ECAC4"/>
              </a:solidFill>
            </c:spPr>
          </c:dPt>
          <c:dPt>
            <c:idx val="487"/>
            <c:spPr>
              <a:solidFill>
                <a:srgbClr val="7ECAC4"/>
              </a:solidFill>
            </c:spPr>
          </c:dPt>
          <c:dPt>
            <c:idx val="488"/>
            <c:spPr>
              <a:solidFill>
                <a:srgbClr val="7ECAC4"/>
              </a:solidFill>
            </c:spPr>
          </c:dPt>
          <c:dPt>
            <c:idx val="489"/>
            <c:spPr>
              <a:solidFill>
                <a:srgbClr val="7ECAC4"/>
              </a:solidFill>
            </c:spPr>
          </c:dPt>
          <c:dPt>
            <c:idx val="490"/>
            <c:spPr>
              <a:solidFill>
                <a:srgbClr val="7ECAC4"/>
              </a:solidFill>
            </c:spPr>
          </c:dPt>
          <c:dPt>
            <c:idx val="491"/>
            <c:spPr>
              <a:solidFill>
                <a:srgbClr val="7ECAC4"/>
              </a:solidFill>
            </c:spPr>
          </c:dPt>
          <c:dPt>
            <c:idx val="492"/>
            <c:spPr>
              <a:solidFill>
                <a:srgbClr val="7ECAC4"/>
              </a:solidFill>
            </c:spPr>
          </c:dPt>
          <c:dPt>
            <c:idx val="493"/>
            <c:spPr>
              <a:solidFill>
                <a:srgbClr val="7ECAC4"/>
              </a:solidFill>
            </c:spPr>
          </c:dPt>
          <c:dPt>
            <c:idx val="494"/>
            <c:spPr>
              <a:solidFill>
                <a:srgbClr val="7ECAC4"/>
              </a:solidFill>
            </c:spPr>
          </c:dPt>
          <c:dPt>
            <c:idx val="495"/>
            <c:spPr>
              <a:solidFill>
                <a:srgbClr val="7ECAC4"/>
              </a:solidFill>
            </c:spPr>
          </c:dPt>
          <c:dPt>
            <c:idx val="496"/>
            <c:spPr>
              <a:solidFill>
                <a:srgbClr val="7ECAC4"/>
              </a:solidFill>
            </c:spPr>
          </c:dPt>
          <c:dPt>
            <c:idx val="497"/>
            <c:spPr>
              <a:solidFill>
                <a:srgbClr val="7ECAC4"/>
              </a:solidFill>
            </c:spPr>
          </c:dPt>
          <c:dPt>
            <c:idx val="498"/>
            <c:spPr>
              <a:solidFill>
                <a:srgbClr val="7ECAC4"/>
              </a:solidFill>
            </c:spPr>
          </c:dPt>
          <c:dPt>
            <c:idx val="499"/>
            <c:spPr>
              <a:solidFill>
                <a:srgbClr val="7ECAC4"/>
              </a:solidFill>
            </c:spPr>
          </c:dPt>
          <c:dPt>
            <c:idx val="500"/>
            <c:spPr>
              <a:solidFill>
                <a:srgbClr val="7ECAC4"/>
              </a:solidFill>
            </c:spPr>
          </c:dPt>
          <c:dPt>
            <c:idx val="501"/>
            <c:spPr>
              <a:solidFill>
                <a:srgbClr val="7ECAC4"/>
              </a:solidFill>
            </c:spPr>
          </c:dPt>
          <c:dPt>
            <c:idx val="502"/>
            <c:spPr>
              <a:solidFill>
                <a:srgbClr val="7ECAC4"/>
              </a:solidFill>
            </c:spPr>
          </c:dPt>
          <c:dPt>
            <c:idx val="503"/>
            <c:spPr>
              <a:solidFill>
                <a:srgbClr val="7ECAC4"/>
              </a:solidFill>
            </c:spPr>
          </c:dPt>
          <c:dPt>
            <c:idx val="504"/>
            <c:spPr>
              <a:solidFill>
                <a:srgbClr val="7ECAC4"/>
              </a:solidFill>
            </c:spPr>
          </c:dPt>
          <c:dPt>
            <c:idx val="505"/>
            <c:spPr>
              <a:solidFill>
                <a:srgbClr val="7ECAC4"/>
              </a:solidFill>
            </c:spPr>
          </c:dPt>
          <c:dPt>
            <c:idx val="506"/>
            <c:spPr>
              <a:solidFill>
                <a:srgbClr val="7ECAC4"/>
              </a:solidFill>
            </c:spPr>
          </c:dPt>
          <c:dPt>
            <c:idx val="507"/>
            <c:spPr>
              <a:solidFill>
                <a:srgbClr val="7ECAC4"/>
              </a:solidFill>
            </c:spPr>
          </c:dPt>
          <c:dPt>
            <c:idx val="508"/>
            <c:spPr>
              <a:solidFill>
                <a:srgbClr val="7ECAC4"/>
              </a:solidFill>
            </c:spPr>
          </c:dPt>
          <c:dPt>
            <c:idx val="509"/>
            <c:spPr>
              <a:solidFill>
                <a:srgbClr val="7ECAC4"/>
              </a:solidFill>
            </c:spPr>
          </c:dPt>
          <c:dPt>
            <c:idx val="510"/>
            <c:spPr>
              <a:solidFill>
                <a:srgbClr val="7ECAC4"/>
              </a:solidFill>
            </c:spPr>
          </c:dPt>
          <c:dPt>
            <c:idx val="511"/>
            <c:spPr>
              <a:solidFill>
                <a:srgbClr val="7ECAC4"/>
              </a:solidFill>
            </c:spPr>
          </c:dPt>
          <c:dPt>
            <c:idx val="512"/>
            <c:spPr>
              <a:solidFill>
                <a:srgbClr val="7ECAC4"/>
              </a:solidFill>
            </c:spPr>
          </c:dPt>
          <c:dPt>
            <c:idx val="513"/>
            <c:spPr>
              <a:solidFill>
                <a:srgbClr val="7ECAC4"/>
              </a:solidFill>
            </c:spPr>
          </c:dPt>
          <c:dPt>
            <c:idx val="514"/>
            <c:spPr>
              <a:solidFill>
                <a:srgbClr val="7ECAC4"/>
              </a:solidFill>
            </c:spPr>
          </c:dPt>
          <c:dPt>
            <c:idx val="515"/>
            <c:spPr>
              <a:solidFill>
                <a:srgbClr val="7ECAC4"/>
              </a:solidFill>
            </c:spPr>
          </c:dPt>
          <c:dPt>
            <c:idx val="516"/>
            <c:spPr>
              <a:solidFill>
                <a:srgbClr val="7ECAC4"/>
              </a:solidFill>
            </c:spPr>
          </c:dPt>
          <c:dPt>
            <c:idx val="517"/>
            <c:spPr>
              <a:solidFill>
                <a:srgbClr val="7ECAC4"/>
              </a:solidFill>
            </c:spPr>
          </c:dPt>
          <c:dPt>
            <c:idx val="518"/>
            <c:spPr>
              <a:solidFill>
                <a:srgbClr val="7ECAC4"/>
              </a:solidFill>
            </c:spPr>
          </c:dPt>
          <c:dPt>
            <c:idx val="519"/>
            <c:spPr>
              <a:solidFill>
                <a:srgbClr val="7ECAC4"/>
              </a:solidFill>
            </c:spPr>
          </c:dPt>
          <c:dPt>
            <c:idx val="520"/>
            <c:spPr>
              <a:solidFill>
                <a:srgbClr val="7ECAC4"/>
              </a:solidFill>
            </c:spPr>
          </c:dPt>
          <c:dPt>
            <c:idx val="521"/>
            <c:spPr>
              <a:solidFill>
                <a:srgbClr val="7ECAC4"/>
              </a:solidFill>
            </c:spPr>
          </c:dPt>
          <c:dPt>
            <c:idx val="522"/>
            <c:spPr>
              <a:solidFill>
                <a:srgbClr val="7ECAC4"/>
              </a:solidFill>
            </c:spPr>
          </c:dPt>
          <c:dPt>
            <c:idx val="523"/>
            <c:spPr>
              <a:solidFill>
                <a:srgbClr val="7ECAC4"/>
              </a:solidFill>
            </c:spPr>
          </c:dPt>
          <c:dPt>
            <c:idx val="524"/>
            <c:spPr>
              <a:solidFill>
                <a:srgbClr val="7ECAC4"/>
              </a:solidFill>
            </c:spPr>
          </c:dPt>
          <c:dPt>
            <c:idx val="525"/>
            <c:spPr>
              <a:solidFill>
                <a:srgbClr val="7ECAC4"/>
              </a:solidFill>
            </c:spPr>
          </c:dPt>
          <c:dPt>
            <c:idx val="526"/>
            <c:spPr>
              <a:solidFill>
                <a:srgbClr val="7ECAC4"/>
              </a:solidFill>
            </c:spPr>
          </c:dPt>
          <c:dPt>
            <c:idx val="527"/>
            <c:spPr>
              <a:solidFill>
                <a:srgbClr val="7ECAC4"/>
              </a:solidFill>
            </c:spPr>
          </c:dPt>
          <c:dPt>
            <c:idx val="528"/>
            <c:spPr>
              <a:solidFill>
                <a:srgbClr val="7ECAC4"/>
              </a:solidFill>
            </c:spPr>
          </c:dPt>
          <c:dPt>
            <c:idx val="529"/>
            <c:spPr>
              <a:solidFill>
                <a:srgbClr val="7ECAC4"/>
              </a:solidFill>
            </c:spPr>
          </c:dPt>
          <c:dPt>
            <c:idx val="530"/>
            <c:spPr>
              <a:solidFill>
                <a:srgbClr val="7ECAC4"/>
              </a:solidFill>
            </c:spPr>
          </c:dPt>
          <c:dPt>
            <c:idx val="531"/>
            <c:spPr>
              <a:solidFill>
                <a:srgbClr val="7ECAC4"/>
              </a:solidFill>
            </c:spPr>
          </c:dPt>
          <c:dPt>
            <c:idx val="532"/>
            <c:spPr>
              <a:solidFill>
                <a:srgbClr val="7ECAC4"/>
              </a:solidFill>
            </c:spPr>
          </c:dPt>
          <c:dPt>
            <c:idx val="533"/>
            <c:spPr>
              <a:solidFill>
                <a:srgbClr val="7ECAC4"/>
              </a:solidFill>
            </c:spPr>
          </c:dPt>
          <c:dPt>
            <c:idx val="534"/>
            <c:spPr>
              <a:solidFill>
                <a:srgbClr val="7ECAC4"/>
              </a:solidFill>
            </c:spPr>
          </c:dPt>
          <c:dPt>
            <c:idx val="535"/>
            <c:spPr>
              <a:solidFill>
                <a:srgbClr val="7ECAC4"/>
              </a:solidFill>
            </c:spPr>
          </c:dPt>
          <c:dPt>
            <c:idx val="536"/>
            <c:spPr>
              <a:solidFill>
                <a:srgbClr val="7ECAC4"/>
              </a:solidFill>
            </c:spPr>
          </c:dPt>
          <c:dPt>
            <c:idx val="537"/>
            <c:spPr>
              <a:solidFill>
                <a:srgbClr val="7ECAC4"/>
              </a:solidFill>
            </c:spPr>
          </c:dPt>
          <c:dPt>
            <c:idx val="538"/>
            <c:spPr>
              <a:solidFill>
                <a:srgbClr val="7ECAC4"/>
              </a:solidFill>
            </c:spPr>
          </c:dPt>
          <c:dPt>
            <c:idx val="539"/>
            <c:spPr>
              <a:solidFill>
                <a:srgbClr val="7ECAC4"/>
              </a:solidFill>
            </c:spPr>
          </c:dPt>
          <c:dPt>
            <c:idx val="540"/>
            <c:spPr>
              <a:solidFill>
                <a:srgbClr val="7ECAC4"/>
              </a:solidFill>
            </c:spPr>
          </c:dPt>
          <c:dPt>
            <c:idx val="541"/>
            <c:spPr>
              <a:solidFill>
                <a:srgbClr val="7ECAC4"/>
              </a:solidFill>
            </c:spPr>
          </c:dPt>
          <c:dPt>
            <c:idx val="542"/>
            <c:spPr>
              <a:solidFill>
                <a:srgbClr val="7ECAC4"/>
              </a:solidFill>
            </c:spPr>
          </c:dPt>
          <c:dPt>
            <c:idx val="543"/>
            <c:spPr>
              <a:solidFill>
                <a:srgbClr val="7ECAC4"/>
              </a:solidFill>
            </c:spPr>
          </c:dPt>
          <c:dPt>
            <c:idx val="544"/>
            <c:spPr>
              <a:solidFill>
                <a:srgbClr val="7ECAC4"/>
              </a:solidFill>
            </c:spPr>
          </c:dPt>
          <c:dPt>
            <c:idx val="545"/>
            <c:spPr>
              <a:solidFill>
                <a:srgbClr val="7ECAC4"/>
              </a:solidFill>
            </c:spPr>
          </c:dPt>
          <c:dPt>
            <c:idx val="546"/>
            <c:spPr>
              <a:solidFill>
                <a:srgbClr val="7ECAC4"/>
              </a:solidFill>
            </c:spPr>
          </c:dPt>
          <c:dPt>
            <c:idx val="547"/>
            <c:spPr>
              <a:solidFill>
                <a:srgbClr val="7ECAC4"/>
              </a:solidFill>
            </c:spPr>
          </c:dPt>
          <c:dPt>
            <c:idx val="548"/>
            <c:spPr>
              <a:solidFill>
                <a:srgbClr val="7ECAC4"/>
              </a:solidFill>
            </c:spPr>
          </c:dPt>
          <c:dPt>
            <c:idx val="549"/>
            <c:spPr>
              <a:solidFill>
                <a:srgbClr val="7ECAC4"/>
              </a:solidFill>
            </c:spPr>
          </c:dPt>
          <c:dPt>
            <c:idx val="550"/>
            <c:spPr>
              <a:solidFill>
                <a:srgbClr val="7ECAC4"/>
              </a:solidFill>
            </c:spPr>
          </c:dPt>
          <c:dPt>
            <c:idx val="551"/>
            <c:spPr>
              <a:solidFill>
                <a:srgbClr val="7ECAC4"/>
              </a:solidFill>
            </c:spPr>
          </c:dPt>
          <c:dPt>
            <c:idx val="552"/>
            <c:spPr>
              <a:solidFill>
                <a:srgbClr val="7ECAC4"/>
              </a:solidFill>
            </c:spPr>
          </c:dPt>
          <c:dPt>
            <c:idx val="553"/>
            <c:spPr>
              <a:solidFill>
                <a:srgbClr val="7ECAC4"/>
              </a:solidFill>
            </c:spPr>
          </c:dPt>
          <c:dPt>
            <c:idx val="554"/>
            <c:spPr>
              <a:solidFill>
                <a:srgbClr val="7ECAC4"/>
              </a:solidFill>
            </c:spPr>
          </c:dPt>
          <c:dPt>
            <c:idx val="555"/>
            <c:spPr>
              <a:solidFill>
                <a:srgbClr val="7ECAC4"/>
              </a:solidFill>
            </c:spPr>
          </c:dPt>
          <c:dPt>
            <c:idx val="556"/>
            <c:spPr>
              <a:solidFill>
                <a:srgbClr val="7ECAC4"/>
              </a:solidFill>
            </c:spPr>
          </c:dPt>
          <c:dPt>
            <c:idx val="557"/>
            <c:spPr>
              <a:solidFill>
                <a:srgbClr val="7ECAC4"/>
              </a:solidFill>
            </c:spPr>
          </c:dPt>
          <c:dPt>
            <c:idx val="558"/>
            <c:spPr>
              <a:solidFill>
                <a:srgbClr val="7ECAC4"/>
              </a:solidFill>
            </c:spPr>
          </c:dPt>
          <c:dPt>
            <c:idx val="559"/>
            <c:spPr>
              <a:solidFill>
                <a:srgbClr val="7ECAC4"/>
              </a:solidFill>
            </c:spPr>
          </c:dPt>
          <c:dPt>
            <c:idx val="560"/>
            <c:spPr>
              <a:solidFill>
                <a:srgbClr val="7ECAC4"/>
              </a:solidFill>
            </c:spPr>
          </c:dPt>
          <c:dPt>
            <c:idx val="561"/>
            <c:spPr>
              <a:solidFill>
                <a:srgbClr val="7ECAC4"/>
              </a:solidFill>
            </c:spPr>
          </c:dPt>
          <c:dPt>
            <c:idx val="562"/>
            <c:spPr>
              <a:solidFill>
                <a:srgbClr val="7ECAC4"/>
              </a:solidFill>
            </c:spPr>
          </c:dPt>
          <c:dPt>
            <c:idx val="563"/>
            <c:spPr>
              <a:solidFill>
                <a:srgbClr val="7ECAC4"/>
              </a:solidFill>
            </c:spPr>
          </c:dPt>
          <c:dPt>
            <c:idx val="564"/>
            <c:spPr>
              <a:solidFill>
                <a:srgbClr val="7ECAC4"/>
              </a:solidFill>
            </c:spPr>
          </c:dPt>
          <c:dPt>
            <c:idx val="565"/>
            <c:spPr>
              <a:solidFill>
                <a:srgbClr val="7ECAC4"/>
              </a:solidFill>
            </c:spPr>
          </c:dPt>
          <c:dPt>
            <c:idx val="566"/>
            <c:spPr>
              <a:solidFill>
                <a:srgbClr val="7ECAC4"/>
              </a:solidFill>
            </c:spPr>
          </c:dPt>
          <c:dPt>
            <c:idx val="567"/>
            <c:spPr>
              <a:solidFill>
                <a:srgbClr val="7ECAC4"/>
              </a:solidFill>
            </c:spPr>
          </c:dPt>
          <c:dPt>
            <c:idx val="568"/>
            <c:spPr>
              <a:solidFill>
                <a:srgbClr val="7ECAC4"/>
              </a:solidFill>
            </c:spPr>
          </c:dPt>
          <c:dPt>
            <c:idx val="569"/>
            <c:spPr>
              <a:solidFill>
                <a:srgbClr val="7ECAC4"/>
              </a:solidFill>
            </c:spPr>
          </c:dPt>
          <c:dPt>
            <c:idx val="570"/>
            <c:spPr>
              <a:solidFill>
                <a:srgbClr val="7ECAC4"/>
              </a:solidFill>
            </c:spPr>
          </c:dPt>
          <c:dPt>
            <c:idx val="571"/>
            <c:spPr>
              <a:solidFill>
                <a:srgbClr val="7ECAC4"/>
              </a:solidFill>
            </c:spPr>
          </c:dPt>
          <c:dPt>
            <c:idx val="572"/>
            <c:spPr>
              <a:solidFill>
                <a:srgbClr val="7ECAC4"/>
              </a:solidFill>
            </c:spPr>
          </c:dPt>
          <c:dPt>
            <c:idx val="573"/>
            <c:spPr>
              <a:solidFill>
                <a:srgbClr val="7ECAC4"/>
              </a:solidFill>
            </c:spPr>
          </c:dPt>
          <c:dPt>
            <c:idx val="574"/>
            <c:spPr>
              <a:solidFill>
                <a:srgbClr val="7ECAC4"/>
              </a:solidFill>
            </c:spPr>
          </c:dPt>
          <c:dPt>
            <c:idx val="575"/>
            <c:spPr>
              <a:solidFill>
                <a:srgbClr val="7ECAC4"/>
              </a:solidFill>
            </c:spPr>
          </c:dPt>
          <c:dPt>
            <c:idx val="576"/>
            <c:spPr>
              <a:solidFill>
                <a:srgbClr val="7ECAC4"/>
              </a:solidFill>
            </c:spPr>
          </c:dPt>
          <c:dPt>
            <c:idx val="577"/>
            <c:spPr>
              <a:solidFill>
                <a:srgbClr val="7ECAC4"/>
              </a:solidFill>
            </c:spPr>
          </c:dPt>
          <c:dPt>
            <c:idx val="578"/>
            <c:spPr>
              <a:solidFill>
                <a:srgbClr val="7ECAC4"/>
              </a:solidFill>
            </c:spPr>
          </c:dPt>
          <c:dPt>
            <c:idx val="579"/>
            <c:spPr>
              <a:solidFill>
                <a:srgbClr val="7ECAC4"/>
              </a:solidFill>
            </c:spPr>
          </c:dPt>
          <c:dPt>
            <c:idx val="580"/>
            <c:spPr>
              <a:solidFill>
                <a:srgbClr val="7ECAC4"/>
              </a:solidFill>
            </c:spPr>
          </c:dPt>
          <c:dPt>
            <c:idx val="581"/>
            <c:spPr>
              <a:solidFill>
                <a:srgbClr val="7ECAC4"/>
              </a:solidFill>
            </c:spPr>
          </c:dPt>
          <c:dPt>
            <c:idx val="582"/>
            <c:spPr>
              <a:solidFill>
                <a:srgbClr val="7ECAC4"/>
              </a:solidFill>
            </c:spPr>
          </c:dPt>
          <c:dPt>
            <c:idx val="583"/>
            <c:spPr>
              <a:solidFill>
                <a:srgbClr val="7ECAC4"/>
              </a:solidFill>
            </c:spPr>
          </c:dPt>
          <c:dPt>
            <c:idx val="584"/>
            <c:spPr>
              <a:solidFill>
                <a:srgbClr val="7ECAC4"/>
              </a:solidFill>
            </c:spPr>
          </c:dPt>
          <c:dPt>
            <c:idx val="585"/>
            <c:spPr>
              <a:solidFill>
                <a:srgbClr val="7ECAC4"/>
              </a:solidFill>
            </c:spPr>
          </c:dPt>
          <c:dPt>
            <c:idx val="586"/>
            <c:spPr>
              <a:solidFill>
                <a:srgbClr val="7ECAC4"/>
              </a:solidFill>
            </c:spPr>
          </c:dPt>
          <c:dPt>
            <c:idx val="587"/>
            <c:spPr>
              <a:solidFill>
                <a:srgbClr val="7ECAC4"/>
              </a:solidFill>
            </c:spPr>
          </c:dPt>
          <c:dPt>
            <c:idx val="588"/>
            <c:spPr>
              <a:solidFill>
                <a:srgbClr val="7ECAC4"/>
              </a:solidFill>
            </c:spPr>
          </c:dPt>
          <c:dPt>
            <c:idx val="589"/>
            <c:spPr>
              <a:solidFill>
                <a:srgbClr val="7ECAC4"/>
              </a:solidFill>
            </c:spPr>
          </c:dPt>
          <c:dPt>
            <c:idx val="590"/>
            <c:spPr>
              <a:solidFill>
                <a:srgbClr val="7ECAC4"/>
              </a:solidFill>
            </c:spPr>
          </c:dPt>
          <c:dPt>
            <c:idx val="591"/>
            <c:spPr>
              <a:solidFill>
                <a:srgbClr val="7ECAC4"/>
              </a:solidFill>
            </c:spPr>
          </c:dPt>
          <c:dPt>
            <c:idx val="592"/>
            <c:spPr>
              <a:solidFill>
                <a:srgbClr val="7ECAC4"/>
              </a:solidFill>
            </c:spPr>
          </c:dPt>
          <c:dPt>
            <c:idx val="593"/>
            <c:spPr>
              <a:solidFill>
                <a:srgbClr val="7ECAC4"/>
              </a:solidFill>
            </c:spPr>
          </c:dPt>
          <c:dPt>
            <c:idx val="594"/>
            <c:spPr>
              <a:solidFill>
                <a:srgbClr val="7ECAC4"/>
              </a:solidFill>
            </c:spPr>
          </c:dPt>
          <c:dPt>
            <c:idx val="595"/>
            <c:spPr>
              <a:solidFill>
                <a:srgbClr val="7ECAC4"/>
              </a:solidFill>
            </c:spPr>
          </c:dPt>
          <c:dPt>
            <c:idx val="596"/>
            <c:spPr>
              <a:solidFill>
                <a:srgbClr val="7ECAC4"/>
              </a:solidFill>
            </c:spPr>
          </c:dPt>
          <c:dPt>
            <c:idx val="597"/>
            <c:spPr>
              <a:solidFill>
                <a:srgbClr val="7ECAC4"/>
              </a:solidFill>
            </c:spPr>
          </c:dPt>
          <c:dPt>
            <c:idx val="598"/>
            <c:spPr>
              <a:solidFill>
                <a:srgbClr val="7ECAC4"/>
              </a:solidFill>
            </c:spPr>
          </c:dPt>
          <c:dPt>
            <c:idx val="599"/>
            <c:spPr>
              <a:solidFill>
                <a:srgbClr val="7ECAC4"/>
              </a:solidFill>
            </c:spPr>
          </c:dPt>
          <c:dPt>
            <c:idx val="600"/>
            <c:spPr>
              <a:solidFill>
                <a:srgbClr val="7ECAC4"/>
              </a:solidFill>
            </c:spPr>
          </c:dPt>
          <c:dPt>
            <c:idx val="601"/>
            <c:spPr>
              <a:solidFill>
                <a:srgbClr val="7ECAC4"/>
              </a:solidFill>
            </c:spPr>
          </c:dPt>
          <c:dPt>
            <c:idx val="602"/>
            <c:spPr>
              <a:solidFill>
                <a:srgbClr val="7ECAC4"/>
              </a:solidFill>
            </c:spPr>
          </c:dPt>
          <c:dPt>
            <c:idx val="603"/>
            <c:spPr>
              <a:solidFill>
                <a:srgbClr val="7ECAC4"/>
              </a:solidFill>
            </c:spPr>
          </c:dPt>
          <c:dPt>
            <c:idx val="604"/>
            <c:spPr>
              <a:solidFill>
                <a:srgbClr val="7ECAC4"/>
              </a:solidFill>
            </c:spPr>
          </c:dPt>
          <c:dPt>
            <c:idx val="605"/>
            <c:spPr>
              <a:solidFill>
                <a:srgbClr val="7ECAC4"/>
              </a:solidFill>
            </c:spPr>
          </c:dPt>
          <c:dPt>
            <c:idx val="606"/>
            <c:spPr>
              <a:solidFill>
                <a:srgbClr val="7ECAC4"/>
              </a:solidFill>
            </c:spPr>
          </c:dPt>
          <c:dPt>
            <c:idx val="607"/>
            <c:spPr>
              <a:solidFill>
                <a:srgbClr val="7ECAC4"/>
              </a:solidFill>
            </c:spPr>
          </c:dPt>
          <c:dPt>
            <c:idx val="608"/>
            <c:spPr>
              <a:solidFill>
                <a:srgbClr val="7ECAC4"/>
              </a:solidFill>
            </c:spPr>
          </c:dPt>
          <c:dPt>
            <c:idx val="609"/>
            <c:spPr>
              <a:solidFill>
                <a:srgbClr val="7ECAC4"/>
              </a:solidFill>
            </c:spPr>
          </c:dPt>
          <c:dPt>
            <c:idx val="610"/>
            <c:spPr>
              <a:solidFill>
                <a:srgbClr val="7ECAC4"/>
              </a:solidFill>
            </c:spPr>
          </c:dPt>
          <c:dPt>
            <c:idx val="611"/>
            <c:spPr>
              <a:solidFill>
                <a:srgbClr val="7ECAC4"/>
              </a:solidFill>
            </c:spPr>
          </c:dPt>
          <c:dPt>
            <c:idx val="612"/>
            <c:spPr>
              <a:solidFill>
                <a:srgbClr val="7ECAC4"/>
              </a:solidFill>
            </c:spPr>
          </c:dPt>
          <c:dPt>
            <c:idx val="613"/>
            <c:spPr>
              <a:solidFill>
                <a:srgbClr val="7ECAC4"/>
              </a:solidFill>
            </c:spPr>
          </c:dPt>
          <c:dPt>
            <c:idx val="614"/>
            <c:spPr>
              <a:solidFill>
                <a:srgbClr val="7ECAC4"/>
              </a:solidFill>
            </c:spPr>
          </c:dPt>
          <c:dPt>
            <c:idx val="615"/>
            <c:spPr>
              <a:solidFill>
                <a:srgbClr val="7ECAC4"/>
              </a:solidFill>
            </c:spPr>
          </c:dPt>
          <c:dPt>
            <c:idx val="616"/>
            <c:spPr>
              <a:solidFill>
                <a:srgbClr val="7ECAC4"/>
              </a:solidFill>
            </c:spPr>
          </c:dPt>
          <c:dPt>
            <c:idx val="617"/>
            <c:spPr>
              <a:solidFill>
                <a:srgbClr val="7ECAC4"/>
              </a:solidFill>
            </c:spPr>
          </c:dPt>
          <c:dPt>
            <c:idx val="618"/>
            <c:spPr>
              <a:solidFill>
                <a:srgbClr val="7ECAC4"/>
              </a:solidFill>
            </c:spPr>
          </c:dPt>
          <c:dPt>
            <c:idx val="619"/>
            <c:spPr>
              <a:solidFill>
                <a:srgbClr val="7ECAC4"/>
              </a:solidFill>
            </c:spPr>
          </c:dPt>
          <c:dPt>
            <c:idx val="620"/>
            <c:spPr>
              <a:solidFill>
                <a:srgbClr val="7ECAC4"/>
              </a:solidFill>
            </c:spPr>
          </c:dPt>
          <c:dPt>
            <c:idx val="621"/>
            <c:spPr>
              <a:solidFill>
                <a:srgbClr val="7ECAC4"/>
              </a:solidFill>
            </c:spPr>
          </c:dPt>
          <c:dPt>
            <c:idx val="622"/>
            <c:spPr>
              <a:solidFill>
                <a:srgbClr val="7ECAC4"/>
              </a:solidFill>
            </c:spPr>
          </c:dPt>
          <c:dPt>
            <c:idx val="623"/>
            <c:spPr>
              <a:solidFill>
                <a:srgbClr val="7ECAC4"/>
              </a:solidFill>
            </c:spPr>
          </c:dPt>
          <c:dPt>
            <c:idx val="624"/>
            <c:spPr>
              <a:solidFill>
                <a:srgbClr val="7ECAC4"/>
              </a:solidFill>
            </c:spPr>
          </c:dPt>
          <c:dPt>
            <c:idx val="625"/>
            <c:spPr>
              <a:solidFill>
                <a:srgbClr val="7ECAC4"/>
              </a:solidFill>
            </c:spPr>
          </c:dPt>
          <c:dPt>
            <c:idx val="626"/>
            <c:spPr>
              <a:solidFill>
                <a:srgbClr val="7ECAC4"/>
              </a:solidFill>
            </c:spPr>
          </c:dPt>
          <c:dPt>
            <c:idx val="627"/>
            <c:spPr>
              <a:solidFill>
                <a:srgbClr val="7ECAC4"/>
              </a:solidFill>
            </c:spPr>
          </c:dPt>
          <c:dPt>
            <c:idx val="628"/>
            <c:spPr>
              <a:solidFill>
                <a:srgbClr val="7ECAC4"/>
              </a:solidFill>
            </c:spPr>
          </c:dPt>
          <c:dPt>
            <c:idx val="629"/>
            <c:spPr>
              <a:solidFill>
                <a:srgbClr val="7ECAC4"/>
              </a:solidFill>
            </c:spPr>
          </c:dPt>
          <c:dPt>
            <c:idx val="630"/>
            <c:spPr>
              <a:solidFill>
                <a:srgbClr val="7ECAC4"/>
              </a:solidFill>
            </c:spPr>
          </c:dPt>
          <c:dPt>
            <c:idx val="631"/>
            <c:spPr>
              <a:solidFill>
                <a:srgbClr val="7ECAC4"/>
              </a:solidFill>
            </c:spPr>
          </c:dPt>
          <c:dPt>
            <c:idx val="632"/>
            <c:spPr>
              <a:solidFill>
                <a:srgbClr val="7ECAC4"/>
              </a:solidFill>
            </c:spPr>
          </c:dPt>
          <c:dPt>
            <c:idx val="633"/>
            <c:spPr>
              <a:solidFill>
                <a:srgbClr val="7ECAC4"/>
              </a:solidFill>
            </c:spPr>
          </c:dPt>
          <c:dPt>
            <c:idx val="634"/>
            <c:spPr>
              <a:solidFill>
                <a:srgbClr val="7ECAC4"/>
              </a:solidFill>
            </c:spPr>
          </c:dPt>
          <c:dPt>
            <c:idx val="635"/>
            <c:spPr>
              <a:solidFill>
                <a:srgbClr val="7ECAC4"/>
              </a:solidFill>
            </c:spPr>
          </c:dPt>
          <c:dPt>
            <c:idx val="636"/>
            <c:spPr>
              <a:solidFill>
                <a:srgbClr val="7ECAC4"/>
              </a:solidFill>
            </c:spPr>
          </c:dPt>
          <c:dPt>
            <c:idx val="637"/>
            <c:spPr>
              <a:solidFill>
                <a:srgbClr val="7ECAC4"/>
              </a:solidFill>
            </c:spPr>
          </c:dPt>
          <c:dPt>
            <c:idx val="638"/>
            <c:spPr>
              <a:solidFill>
                <a:srgbClr val="7ECAC4"/>
              </a:solidFill>
            </c:spPr>
          </c:dPt>
          <c:dPt>
            <c:idx val="639"/>
            <c:spPr>
              <a:solidFill>
                <a:srgbClr val="7ECAC4"/>
              </a:solidFill>
            </c:spPr>
          </c:dPt>
          <c:dPt>
            <c:idx val="640"/>
            <c:spPr>
              <a:solidFill>
                <a:srgbClr val="7ECAC4"/>
              </a:solidFill>
            </c:spPr>
          </c:dPt>
          <c:dPt>
            <c:idx val="641"/>
            <c:spPr>
              <a:solidFill>
                <a:srgbClr val="7ECAC4"/>
              </a:solidFill>
            </c:spPr>
          </c:dPt>
          <c:dPt>
            <c:idx val="642"/>
            <c:spPr>
              <a:solidFill>
                <a:srgbClr val="7ECAC4"/>
              </a:solidFill>
            </c:spPr>
          </c:dPt>
          <c:dPt>
            <c:idx val="643"/>
            <c:spPr>
              <a:solidFill>
                <a:srgbClr val="7ECAC4"/>
              </a:solidFill>
            </c:spPr>
          </c:dPt>
          <c:dPt>
            <c:idx val="644"/>
            <c:spPr>
              <a:solidFill>
                <a:srgbClr val="7ECAC4"/>
              </a:solidFill>
            </c:spPr>
          </c:dPt>
          <c:dPt>
            <c:idx val="645"/>
            <c:spPr>
              <a:solidFill>
                <a:srgbClr val="7ECAC4"/>
              </a:solidFill>
            </c:spPr>
          </c:dPt>
          <c:dPt>
            <c:idx val="646"/>
            <c:spPr>
              <a:solidFill>
                <a:srgbClr val="7ECAC4"/>
              </a:solidFill>
            </c:spPr>
          </c:dPt>
          <c:dPt>
            <c:idx val="647"/>
            <c:spPr>
              <a:solidFill>
                <a:srgbClr val="7ECAC4"/>
              </a:solidFill>
            </c:spPr>
          </c:dPt>
          <c:dPt>
            <c:idx val="648"/>
            <c:spPr>
              <a:solidFill>
                <a:srgbClr val="7ECAC4"/>
              </a:solidFill>
            </c:spPr>
          </c:dPt>
          <c:dPt>
            <c:idx val="649"/>
            <c:spPr>
              <a:solidFill>
                <a:srgbClr val="7ECAC4"/>
              </a:solidFill>
            </c:spPr>
          </c:dPt>
          <c:dPt>
            <c:idx val="650"/>
            <c:spPr>
              <a:solidFill>
                <a:srgbClr val="7ECAC4"/>
              </a:solidFill>
            </c:spPr>
          </c:dPt>
          <c:dPt>
            <c:idx val="651"/>
            <c:spPr>
              <a:solidFill>
                <a:srgbClr val="7ECAC4"/>
              </a:solidFill>
            </c:spPr>
          </c:dPt>
          <c:dPt>
            <c:idx val="652"/>
            <c:spPr>
              <a:solidFill>
                <a:srgbClr val="7ECAC4"/>
              </a:solidFill>
            </c:spPr>
          </c:dPt>
          <c:dPt>
            <c:idx val="653"/>
            <c:spPr>
              <a:solidFill>
                <a:srgbClr val="7ECAC4"/>
              </a:solidFill>
            </c:spPr>
          </c:dPt>
          <c:dPt>
            <c:idx val="654"/>
            <c:spPr>
              <a:solidFill>
                <a:srgbClr val="7ECAC4"/>
              </a:solidFill>
            </c:spPr>
          </c:dPt>
          <c:dPt>
            <c:idx val="655"/>
            <c:spPr>
              <a:solidFill>
                <a:srgbClr val="7ECAC4"/>
              </a:solidFill>
            </c:spPr>
          </c:dPt>
          <c:dPt>
            <c:idx val="656"/>
            <c:spPr>
              <a:solidFill>
                <a:srgbClr val="7ECAC4"/>
              </a:solidFill>
            </c:spPr>
          </c:dPt>
          <c:dPt>
            <c:idx val="657"/>
            <c:spPr>
              <a:solidFill>
                <a:srgbClr val="7ECAC4"/>
              </a:solidFill>
            </c:spPr>
          </c:dPt>
          <c:dPt>
            <c:idx val="658"/>
            <c:spPr>
              <a:solidFill>
                <a:srgbClr val="7ECAC4"/>
              </a:solidFill>
            </c:spPr>
          </c:dPt>
          <c:dPt>
            <c:idx val="659"/>
            <c:spPr>
              <a:solidFill>
                <a:srgbClr val="7ECAC4"/>
              </a:solidFill>
            </c:spPr>
          </c:dPt>
          <c:dPt>
            <c:idx val="660"/>
            <c:spPr>
              <a:solidFill>
                <a:srgbClr val="7ECAC4"/>
              </a:solidFill>
            </c:spPr>
          </c:dPt>
          <c:dPt>
            <c:idx val="661"/>
            <c:spPr>
              <a:solidFill>
                <a:srgbClr val="7ECAC4"/>
              </a:solidFill>
            </c:spPr>
          </c:dPt>
          <c:dPt>
            <c:idx val="662"/>
            <c:spPr>
              <a:solidFill>
                <a:srgbClr val="7ECAC4"/>
              </a:solidFill>
            </c:spPr>
          </c:dPt>
          <c:dPt>
            <c:idx val="663"/>
            <c:spPr>
              <a:solidFill>
                <a:srgbClr val="7ECAC4"/>
              </a:solidFill>
            </c:spPr>
          </c:dPt>
          <c:dPt>
            <c:idx val="664"/>
            <c:spPr>
              <a:solidFill>
                <a:srgbClr val="7ECAC4"/>
              </a:solidFill>
            </c:spPr>
          </c:dPt>
          <c:dPt>
            <c:idx val="665"/>
            <c:spPr>
              <a:solidFill>
                <a:srgbClr val="7ECAC4"/>
              </a:solidFill>
            </c:spPr>
          </c:dPt>
          <c:dPt>
            <c:idx val="666"/>
            <c:spPr>
              <a:solidFill>
                <a:srgbClr val="7ECAC4"/>
              </a:solidFill>
            </c:spPr>
          </c:dPt>
          <c:dPt>
            <c:idx val="667"/>
            <c:spPr>
              <a:solidFill>
                <a:srgbClr val="7ECAC4"/>
              </a:solidFill>
            </c:spPr>
          </c:dPt>
          <c:dPt>
            <c:idx val="668"/>
            <c:spPr>
              <a:solidFill>
                <a:srgbClr val="7ECAC4"/>
              </a:solidFill>
            </c:spPr>
          </c:dPt>
          <c:dPt>
            <c:idx val="669"/>
            <c:spPr>
              <a:solidFill>
                <a:srgbClr val="7ECAC4"/>
              </a:solidFill>
            </c:spPr>
          </c:dPt>
          <c:dPt>
            <c:idx val="670"/>
            <c:spPr>
              <a:solidFill>
                <a:srgbClr val="7ECAC4"/>
              </a:solidFill>
            </c:spPr>
          </c:dPt>
          <c:dPt>
            <c:idx val="671"/>
            <c:spPr>
              <a:solidFill>
                <a:srgbClr val="7ECAC4"/>
              </a:solidFill>
            </c:spPr>
          </c:dPt>
          <c:dPt>
            <c:idx val="672"/>
            <c:spPr>
              <a:solidFill>
                <a:srgbClr val="7ECAC4"/>
              </a:solidFill>
            </c:spPr>
          </c:dPt>
          <c:dPt>
            <c:idx val="673"/>
            <c:spPr>
              <a:solidFill>
                <a:srgbClr val="7ECAC4"/>
              </a:solidFill>
            </c:spPr>
          </c:dPt>
          <c:dPt>
            <c:idx val="674"/>
            <c:spPr>
              <a:solidFill>
                <a:srgbClr val="7ECAC4"/>
              </a:solidFill>
            </c:spPr>
          </c:dPt>
          <c:dPt>
            <c:idx val="675"/>
            <c:spPr>
              <a:solidFill>
                <a:srgbClr val="7ECAC4"/>
              </a:solidFill>
            </c:spPr>
          </c:dPt>
          <c:dPt>
            <c:idx val="676"/>
            <c:spPr>
              <a:solidFill>
                <a:srgbClr val="7ECAC4"/>
              </a:solidFill>
            </c:spPr>
          </c:dPt>
          <c:dPt>
            <c:idx val="677"/>
            <c:spPr>
              <a:solidFill>
                <a:srgbClr val="7ECAC4"/>
              </a:solidFill>
            </c:spPr>
          </c:dPt>
          <c:dPt>
            <c:idx val="678"/>
            <c:spPr>
              <a:solidFill>
                <a:srgbClr val="7ECAC4"/>
              </a:solidFill>
            </c:spPr>
          </c:dPt>
          <c:dPt>
            <c:idx val="679"/>
            <c:spPr>
              <a:solidFill>
                <a:srgbClr val="7ECAC4"/>
              </a:solidFill>
            </c:spPr>
          </c:dPt>
          <c:dPt>
            <c:idx val="680"/>
            <c:spPr>
              <a:solidFill>
                <a:srgbClr val="7ECAC4"/>
              </a:solidFill>
            </c:spPr>
          </c:dPt>
          <c:dPt>
            <c:idx val="681"/>
            <c:spPr>
              <a:solidFill>
                <a:srgbClr val="7ECAC4"/>
              </a:solidFill>
            </c:spPr>
          </c:dPt>
          <c:dPt>
            <c:idx val="682"/>
            <c:spPr>
              <a:solidFill>
                <a:srgbClr val="7ECAC4"/>
              </a:solidFill>
            </c:spPr>
          </c:dPt>
          <c:dPt>
            <c:idx val="683"/>
            <c:spPr>
              <a:solidFill>
                <a:srgbClr val="7ECAC4"/>
              </a:solidFill>
            </c:spPr>
          </c:dPt>
          <c:dPt>
            <c:idx val="684"/>
            <c:spPr>
              <a:solidFill>
                <a:srgbClr val="7ECAC4"/>
              </a:solidFill>
            </c:spPr>
          </c:dPt>
          <c:dPt>
            <c:idx val="685"/>
            <c:spPr>
              <a:solidFill>
                <a:srgbClr val="7ECAC4"/>
              </a:solidFill>
            </c:spPr>
          </c:dPt>
          <c:dPt>
            <c:idx val="686"/>
            <c:spPr>
              <a:solidFill>
                <a:srgbClr val="7ECAC4"/>
              </a:solidFill>
            </c:spPr>
          </c:dPt>
          <c:dPt>
            <c:idx val="687"/>
            <c:spPr>
              <a:solidFill>
                <a:srgbClr val="7ECAC4"/>
              </a:solidFill>
            </c:spPr>
          </c:dPt>
          <c:dPt>
            <c:idx val="688"/>
            <c:spPr>
              <a:solidFill>
                <a:srgbClr val="7ECAC4"/>
              </a:solidFill>
            </c:spPr>
          </c:dPt>
          <c:dPt>
            <c:idx val="689"/>
            <c:spPr>
              <a:solidFill>
                <a:srgbClr val="7ECAC4"/>
              </a:solidFill>
            </c:spPr>
          </c:dPt>
          <c:dPt>
            <c:idx val="690"/>
            <c:spPr>
              <a:solidFill>
                <a:srgbClr val="7ECAC4"/>
              </a:solidFill>
            </c:spPr>
          </c:dPt>
          <c:dPt>
            <c:idx val="691"/>
            <c:spPr>
              <a:solidFill>
                <a:srgbClr val="7ECAC4"/>
              </a:solidFill>
            </c:spPr>
          </c:dPt>
          <c:dPt>
            <c:idx val="692"/>
            <c:spPr>
              <a:solidFill>
                <a:srgbClr val="7ECAC4"/>
              </a:solidFill>
            </c:spPr>
          </c:dPt>
          <c:dPt>
            <c:idx val="693"/>
            <c:spPr>
              <a:solidFill>
                <a:srgbClr val="7ECAC4"/>
              </a:solidFill>
            </c:spPr>
          </c:dPt>
          <c:dPt>
            <c:idx val="694"/>
            <c:spPr>
              <a:solidFill>
                <a:srgbClr val="7ECAC4"/>
              </a:solidFill>
            </c:spPr>
          </c:dPt>
          <c:dPt>
            <c:idx val="695"/>
            <c:spPr>
              <a:solidFill>
                <a:srgbClr val="7ECAC4"/>
              </a:solidFill>
            </c:spPr>
          </c:dPt>
          <c:dPt>
            <c:idx val="696"/>
            <c:spPr>
              <a:solidFill>
                <a:srgbClr val="7ECAC4"/>
              </a:solidFill>
            </c:spPr>
          </c:dPt>
          <c:dPt>
            <c:idx val="697"/>
            <c:spPr>
              <a:solidFill>
                <a:srgbClr val="7ECAC4"/>
              </a:solidFill>
            </c:spPr>
          </c:dPt>
          <c:dPt>
            <c:idx val="698"/>
            <c:spPr>
              <a:solidFill>
                <a:srgbClr val="7ECAC4"/>
              </a:solidFill>
            </c:spPr>
          </c:dPt>
          <c:dPt>
            <c:idx val="699"/>
            <c:spPr>
              <a:solidFill>
                <a:srgbClr val="7ECAC4"/>
              </a:solidFill>
            </c:spPr>
          </c:dPt>
          <c:dPt>
            <c:idx val="700"/>
            <c:spPr>
              <a:solidFill>
                <a:srgbClr val="7ECAC4"/>
              </a:solidFill>
            </c:spPr>
          </c:dPt>
          <c:dPt>
            <c:idx val="701"/>
            <c:spPr>
              <a:solidFill>
                <a:srgbClr val="7ECAC4"/>
              </a:solidFill>
            </c:spPr>
          </c:dPt>
          <c:dPt>
            <c:idx val="702"/>
            <c:spPr>
              <a:solidFill>
                <a:srgbClr val="7ECAC4"/>
              </a:solidFill>
            </c:spPr>
          </c:dPt>
          <c:dPt>
            <c:idx val="703"/>
            <c:spPr>
              <a:solidFill>
                <a:srgbClr val="7ECAC4"/>
              </a:solidFill>
            </c:spPr>
          </c:dPt>
          <c:dPt>
            <c:idx val="704"/>
            <c:spPr>
              <a:solidFill>
                <a:srgbClr val="7ECAC4"/>
              </a:solidFill>
            </c:spPr>
          </c:dPt>
          <c:dPt>
            <c:idx val="705"/>
            <c:spPr>
              <a:solidFill>
                <a:srgbClr val="7ECAC4"/>
              </a:solidFill>
            </c:spPr>
          </c:dPt>
          <c:dPt>
            <c:idx val="706"/>
            <c:spPr>
              <a:solidFill>
                <a:srgbClr val="7ECAC4"/>
              </a:solidFill>
            </c:spPr>
          </c:dPt>
          <c:dPt>
            <c:idx val="707"/>
            <c:spPr>
              <a:solidFill>
                <a:srgbClr val="7ECAC4"/>
              </a:solidFill>
            </c:spPr>
          </c:dPt>
          <c:dPt>
            <c:idx val="708"/>
            <c:spPr>
              <a:solidFill>
                <a:srgbClr val="7ECAC4"/>
              </a:solidFill>
            </c:spPr>
          </c:dPt>
          <c:dPt>
            <c:idx val="709"/>
            <c:spPr>
              <a:solidFill>
                <a:srgbClr val="7ECAC4"/>
              </a:solidFill>
            </c:spPr>
          </c:dPt>
          <c:dPt>
            <c:idx val="710"/>
            <c:spPr>
              <a:solidFill>
                <a:srgbClr val="7ECAC4"/>
              </a:solidFill>
            </c:spPr>
          </c:dPt>
          <c:dPt>
            <c:idx val="711"/>
            <c:spPr>
              <a:solidFill>
                <a:srgbClr val="7ECAC4"/>
              </a:solidFill>
            </c:spPr>
          </c:dPt>
          <c:dPt>
            <c:idx val="712"/>
            <c:spPr>
              <a:solidFill>
                <a:srgbClr val="7ECAC4"/>
              </a:solidFill>
            </c:spPr>
          </c:dPt>
          <c:dPt>
            <c:idx val="713"/>
            <c:spPr>
              <a:solidFill>
                <a:srgbClr val="7ECAC4"/>
              </a:solidFill>
            </c:spPr>
          </c:dPt>
          <c:dPt>
            <c:idx val="714"/>
            <c:spPr>
              <a:solidFill>
                <a:srgbClr val="7ECAC4"/>
              </a:solidFill>
            </c:spPr>
          </c:dPt>
          <c:dPt>
            <c:idx val="715"/>
            <c:spPr>
              <a:solidFill>
                <a:srgbClr val="7ECAC4"/>
              </a:solidFill>
            </c:spPr>
          </c:dPt>
          <c:dPt>
            <c:idx val="716"/>
            <c:spPr>
              <a:solidFill>
                <a:srgbClr val="7ECAC4"/>
              </a:solidFill>
            </c:spPr>
          </c:dPt>
          <c:dPt>
            <c:idx val="717"/>
            <c:spPr>
              <a:solidFill>
                <a:srgbClr val="7ECAC4"/>
              </a:solidFill>
            </c:spPr>
          </c:dPt>
          <c:dPt>
            <c:idx val="718"/>
            <c:spPr>
              <a:solidFill>
                <a:srgbClr val="7ECAC4"/>
              </a:solidFill>
            </c:spPr>
          </c:dPt>
          <c:dPt>
            <c:idx val="719"/>
            <c:spPr>
              <a:solidFill>
                <a:srgbClr val="7ECAC4"/>
              </a:solidFill>
            </c:spPr>
          </c:dPt>
          <c:dPt>
            <c:idx val="720"/>
            <c:spPr>
              <a:solidFill>
                <a:srgbClr val="7ECAC4"/>
              </a:solidFill>
            </c:spPr>
          </c:dPt>
          <c:dPt>
            <c:idx val="721"/>
            <c:spPr>
              <a:solidFill>
                <a:srgbClr val="7ECAC4"/>
              </a:solidFill>
            </c:spPr>
          </c:dPt>
          <c:dPt>
            <c:idx val="722"/>
            <c:spPr>
              <a:solidFill>
                <a:srgbClr val="7ECAC4"/>
              </a:solidFill>
            </c:spPr>
          </c:dPt>
          <c:dPt>
            <c:idx val="723"/>
            <c:spPr>
              <a:solidFill>
                <a:srgbClr val="7ECAC4"/>
              </a:solidFill>
            </c:spPr>
          </c:dPt>
          <c:dPt>
            <c:idx val="724"/>
            <c:spPr>
              <a:solidFill>
                <a:srgbClr val="7ECAC4"/>
              </a:solidFill>
            </c:spPr>
          </c:dPt>
          <c:dPt>
            <c:idx val="725"/>
            <c:spPr>
              <a:solidFill>
                <a:srgbClr val="7ECAC4"/>
              </a:solidFill>
            </c:spPr>
          </c:dPt>
          <c:dPt>
            <c:idx val="726"/>
            <c:spPr>
              <a:solidFill>
                <a:srgbClr val="7ECAC4"/>
              </a:solidFill>
            </c:spPr>
          </c:dPt>
          <c:dPt>
            <c:idx val="727"/>
            <c:spPr>
              <a:solidFill>
                <a:srgbClr val="7ECAC4"/>
              </a:solidFill>
            </c:spPr>
          </c:dPt>
          <c:dPt>
            <c:idx val="728"/>
            <c:spPr>
              <a:solidFill>
                <a:srgbClr val="7ECAC4"/>
              </a:solidFill>
            </c:spPr>
          </c:dPt>
          <c:dPt>
            <c:idx val="729"/>
            <c:spPr>
              <a:solidFill>
                <a:srgbClr val="7ECAC4"/>
              </a:solidFill>
            </c:spPr>
          </c:dPt>
          <c:dPt>
            <c:idx val="730"/>
            <c:spPr>
              <a:solidFill>
                <a:srgbClr val="7ECAC4"/>
              </a:solidFill>
            </c:spPr>
          </c:dPt>
          <c:dPt>
            <c:idx val="731"/>
            <c:spPr>
              <a:solidFill>
                <a:srgbClr val="7ECAC4"/>
              </a:solidFill>
            </c:spPr>
          </c:dPt>
          <c:dPt>
            <c:idx val="732"/>
            <c:spPr>
              <a:solidFill>
                <a:srgbClr val="7ECAC4"/>
              </a:solidFill>
            </c:spPr>
          </c:dPt>
          <c:dPt>
            <c:idx val="733"/>
            <c:spPr>
              <a:solidFill>
                <a:srgbClr val="7ECAC4"/>
              </a:solidFill>
            </c:spPr>
          </c:dPt>
          <c:dPt>
            <c:idx val="734"/>
            <c:spPr>
              <a:solidFill>
                <a:srgbClr val="7ECAC4"/>
              </a:solidFill>
            </c:spPr>
          </c:dPt>
          <c:dPt>
            <c:idx val="735"/>
            <c:spPr>
              <a:solidFill>
                <a:srgbClr val="7ECAC4"/>
              </a:solidFill>
            </c:spPr>
          </c:dPt>
          <c:dPt>
            <c:idx val="736"/>
            <c:spPr>
              <a:solidFill>
                <a:srgbClr val="7ECAC4"/>
              </a:solidFill>
            </c:spPr>
          </c:dPt>
          <c:dPt>
            <c:idx val="737"/>
            <c:spPr>
              <a:solidFill>
                <a:srgbClr val="7ECAC4"/>
              </a:solidFill>
            </c:spPr>
          </c:dPt>
          <c:dPt>
            <c:idx val="738"/>
            <c:spPr>
              <a:solidFill>
                <a:srgbClr val="7ECAC4"/>
              </a:solidFill>
            </c:spPr>
          </c:dPt>
          <c:dPt>
            <c:idx val="739"/>
            <c:spPr>
              <a:solidFill>
                <a:srgbClr val="7ECAC4"/>
              </a:solidFill>
            </c:spPr>
          </c:dPt>
          <c:dPt>
            <c:idx val="740"/>
            <c:spPr>
              <a:solidFill>
                <a:srgbClr val="7ECAC4"/>
              </a:solidFill>
            </c:spPr>
          </c:dPt>
          <c:dPt>
            <c:idx val="741"/>
            <c:spPr>
              <a:solidFill>
                <a:srgbClr val="7ECAC4"/>
              </a:solidFill>
            </c:spPr>
          </c:dPt>
          <c:dPt>
            <c:idx val="742"/>
            <c:spPr>
              <a:solidFill>
                <a:srgbClr val="7ECAC4"/>
              </a:solidFill>
            </c:spPr>
          </c:dPt>
          <c:dPt>
            <c:idx val="743"/>
            <c:spPr>
              <a:solidFill>
                <a:srgbClr val="7ECAC4"/>
              </a:solidFill>
            </c:spPr>
          </c:dPt>
          <c:dPt>
            <c:idx val="744"/>
            <c:spPr>
              <a:solidFill>
                <a:srgbClr val="7ECAC4"/>
              </a:solidFill>
            </c:spPr>
          </c:dPt>
          <c:dPt>
            <c:idx val="745"/>
            <c:spPr>
              <a:solidFill>
                <a:srgbClr val="7ECAC4"/>
              </a:solidFill>
            </c:spPr>
          </c:dPt>
          <c:dPt>
            <c:idx val="746"/>
            <c:spPr>
              <a:solidFill>
                <a:srgbClr val="7ECAC4"/>
              </a:solidFill>
            </c:spPr>
          </c:dPt>
          <c:dPt>
            <c:idx val="747"/>
            <c:spPr>
              <a:solidFill>
                <a:srgbClr val="7ECAC4"/>
              </a:solidFill>
            </c:spPr>
          </c:dPt>
          <c:dPt>
            <c:idx val="748"/>
            <c:spPr>
              <a:solidFill>
                <a:srgbClr val="7ECAC4"/>
              </a:solidFill>
            </c:spPr>
          </c:dPt>
          <c:dPt>
            <c:idx val="749"/>
            <c:spPr>
              <a:solidFill>
                <a:srgbClr val="7ECAC4"/>
              </a:solidFill>
            </c:spPr>
          </c:dPt>
          <c:dPt>
            <c:idx val="750"/>
            <c:spPr>
              <a:solidFill>
                <a:srgbClr val="7ECAC4"/>
              </a:solidFill>
            </c:spPr>
          </c:dPt>
          <c:dPt>
            <c:idx val="751"/>
            <c:spPr>
              <a:solidFill>
                <a:srgbClr val="7ECAC4"/>
              </a:solidFill>
            </c:spPr>
          </c:dPt>
          <c:dPt>
            <c:idx val="752"/>
            <c:spPr>
              <a:solidFill>
                <a:srgbClr val="7ECAC4"/>
              </a:solidFill>
            </c:spPr>
          </c:dPt>
          <c:dPt>
            <c:idx val="753"/>
            <c:spPr>
              <a:solidFill>
                <a:srgbClr val="7ECAC4"/>
              </a:solidFill>
            </c:spPr>
          </c:dPt>
          <c:dPt>
            <c:idx val="754"/>
            <c:spPr>
              <a:solidFill>
                <a:srgbClr val="7ECAC4"/>
              </a:solidFill>
            </c:spPr>
          </c:dPt>
          <c:dPt>
            <c:idx val="755"/>
            <c:spPr>
              <a:solidFill>
                <a:srgbClr val="7ECAC4"/>
              </a:solidFill>
            </c:spPr>
          </c:dPt>
          <c:dPt>
            <c:idx val="756"/>
            <c:spPr>
              <a:solidFill>
                <a:srgbClr val="7ECAC4"/>
              </a:solidFill>
            </c:spPr>
          </c:dPt>
          <c:dPt>
            <c:idx val="757"/>
            <c:spPr>
              <a:solidFill>
                <a:srgbClr val="7ECAC4"/>
              </a:solidFill>
            </c:spPr>
          </c:dPt>
          <c:dPt>
            <c:idx val="758"/>
            <c:spPr>
              <a:solidFill>
                <a:srgbClr val="7ECAC4"/>
              </a:solidFill>
            </c:spPr>
          </c:dPt>
          <c:dPt>
            <c:idx val="759"/>
            <c:spPr>
              <a:solidFill>
                <a:srgbClr val="7ECAC4"/>
              </a:solidFill>
            </c:spPr>
          </c:dPt>
          <c:dPt>
            <c:idx val="760"/>
            <c:spPr>
              <a:solidFill>
                <a:srgbClr val="7ECAC4"/>
              </a:solidFill>
            </c:spPr>
          </c:dPt>
          <c:dPt>
            <c:idx val="761"/>
            <c:spPr>
              <a:solidFill>
                <a:srgbClr val="7ECAC4"/>
              </a:solidFill>
            </c:spPr>
          </c:dPt>
          <c:dPt>
            <c:idx val="762"/>
            <c:spPr>
              <a:solidFill>
                <a:srgbClr val="7ECAC4"/>
              </a:solidFill>
            </c:spPr>
          </c:dPt>
          <c:dPt>
            <c:idx val="763"/>
            <c:spPr>
              <a:solidFill>
                <a:srgbClr val="7ECAC4"/>
              </a:solidFill>
            </c:spPr>
          </c:dPt>
          <c:dPt>
            <c:idx val="764"/>
            <c:spPr>
              <a:solidFill>
                <a:srgbClr val="7ECAC4"/>
              </a:solidFill>
            </c:spPr>
          </c:dPt>
          <c:dPt>
            <c:idx val="765"/>
            <c:spPr>
              <a:solidFill>
                <a:srgbClr val="7ECAC4"/>
              </a:solidFill>
            </c:spPr>
          </c:dPt>
          <c:dPt>
            <c:idx val="766"/>
            <c:spPr>
              <a:solidFill>
                <a:srgbClr val="7ECAC4"/>
              </a:solidFill>
            </c:spPr>
          </c:dPt>
          <c:dPt>
            <c:idx val="767"/>
            <c:spPr>
              <a:solidFill>
                <a:srgbClr val="7ECAC4"/>
              </a:solidFill>
            </c:spPr>
          </c:dPt>
          <c:dPt>
            <c:idx val="768"/>
            <c:spPr>
              <a:solidFill>
                <a:srgbClr val="7ECAC4"/>
              </a:solidFill>
            </c:spPr>
          </c:dPt>
          <c:dPt>
            <c:idx val="769"/>
            <c:spPr>
              <a:solidFill>
                <a:srgbClr val="7ECAC4"/>
              </a:solidFill>
            </c:spPr>
          </c:dPt>
          <c:dPt>
            <c:idx val="770"/>
            <c:spPr>
              <a:solidFill>
                <a:srgbClr val="7ECAC4"/>
              </a:solidFill>
            </c:spPr>
          </c:dPt>
          <c:dPt>
            <c:idx val="771"/>
            <c:spPr>
              <a:solidFill>
                <a:srgbClr val="7ECAC4"/>
              </a:solidFill>
            </c:spPr>
          </c:dPt>
          <c:dPt>
            <c:idx val="772"/>
            <c:spPr>
              <a:solidFill>
                <a:srgbClr val="7ECAC4"/>
              </a:solidFill>
            </c:spPr>
          </c:dPt>
          <c:dPt>
            <c:idx val="773"/>
            <c:spPr>
              <a:solidFill>
                <a:srgbClr val="7ECAC4"/>
              </a:solidFill>
            </c:spPr>
          </c:dPt>
          <c:dPt>
            <c:idx val="774"/>
            <c:spPr>
              <a:solidFill>
                <a:srgbClr val="7ECAC4"/>
              </a:solidFill>
            </c:spPr>
          </c:dPt>
          <c:dPt>
            <c:idx val="775"/>
            <c:spPr>
              <a:solidFill>
                <a:srgbClr val="7ECAC4"/>
              </a:solidFill>
            </c:spPr>
          </c:dPt>
          <c:dPt>
            <c:idx val="776"/>
            <c:spPr>
              <a:solidFill>
                <a:srgbClr val="7ECAC4"/>
              </a:solidFill>
            </c:spPr>
          </c:dPt>
          <c:dPt>
            <c:idx val="777"/>
            <c:spPr>
              <a:solidFill>
                <a:srgbClr val="7ECAC4"/>
              </a:solidFill>
            </c:spPr>
          </c:dPt>
          <c:dPt>
            <c:idx val="778"/>
            <c:spPr>
              <a:solidFill>
                <a:srgbClr val="7ECAC4"/>
              </a:solidFill>
            </c:spPr>
          </c:dPt>
          <c:dPt>
            <c:idx val="779"/>
            <c:spPr>
              <a:solidFill>
                <a:srgbClr val="7ECAC4"/>
              </a:solidFill>
            </c:spPr>
          </c:dPt>
          <c:dPt>
            <c:idx val="780"/>
            <c:spPr>
              <a:solidFill>
                <a:srgbClr val="7ECAC4"/>
              </a:solidFill>
            </c:spPr>
          </c:dPt>
          <c:dPt>
            <c:idx val="781"/>
            <c:spPr>
              <a:solidFill>
                <a:srgbClr val="7ECAC4"/>
              </a:solidFill>
            </c:spPr>
          </c:dPt>
          <c:dPt>
            <c:idx val="782"/>
            <c:spPr>
              <a:solidFill>
                <a:srgbClr val="7ECAC4"/>
              </a:solidFill>
            </c:spPr>
          </c:dPt>
          <c:dPt>
            <c:idx val="783"/>
            <c:spPr>
              <a:solidFill>
                <a:srgbClr val="7ECAC4"/>
              </a:solidFill>
            </c:spPr>
          </c:dPt>
          <c:dPt>
            <c:idx val="784"/>
            <c:spPr>
              <a:solidFill>
                <a:srgbClr val="7ECAC4"/>
              </a:solidFill>
            </c:spPr>
          </c:dPt>
          <c:dPt>
            <c:idx val="785"/>
            <c:spPr>
              <a:solidFill>
                <a:srgbClr val="7ECAC4"/>
              </a:solidFill>
            </c:spPr>
          </c:dPt>
          <c:dPt>
            <c:idx val="786"/>
            <c:spPr>
              <a:solidFill>
                <a:srgbClr val="7ECAC4"/>
              </a:solidFill>
            </c:spPr>
          </c:dPt>
          <c:dPt>
            <c:idx val="787"/>
            <c:spPr>
              <a:solidFill>
                <a:srgbClr val="7ECAC4"/>
              </a:solidFill>
            </c:spPr>
          </c:dPt>
          <c:dPt>
            <c:idx val="788"/>
            <c:spPr>
              <a:solidFill>
                <a:srgbClr val="7ECAC4"/>
              </a:solidFill>
            </c:spPr>
          </c:dPt>
          <c:dPt>
            <c:idx val="789"/>
            <c:spPr>
              <a:solidFill>
                <a:srgbClr val="7ECAC4"/>
              </a:solidFill>
            </c:spPr>
          </c:dPt>
          <c:dPt>
            <c:idx val="790"/>
            <c:spPr>
              <a:solidFill>
                <a:srgbClr val="7ECAC4"/>
              </a:solidFill>
            </c:spPr>
          </c:dPt>
          <c:dPt>
            <c:idx val="791"/>
            <c:spPr>
              <a:solidFill>
                <a:srgbClr val="7ECAC4"/>
              </a:solidFill>
            </c:spPr>
          </c:dPt>
          <c:dPt>
            <c:idx val="792"/>
            <c:spPr>
              <a:solidFill>
                <a:srgbClr val="7ECAC4"/>
              </a:solidFill>
            </c:spPr>
          </c:dPt>
          <c:dPt>
            <c:idx val="793"/>
            <c:spPr>
              <a:solidFill>
                <a:srgbClr val="7ECAC4"/>
              </a:solidFill>
            </c:spPr>
          </c:dPt>
          <c:dPt>
            <c:idx val="794"/>
            <c:spPr>
              <a:solidFill>
                <a:srgbClr val="7ECAC4"/>
              </a:solidFill>
            </c:spPr>
          </c:dPt>
          <c:dPt>
            <c:idx val="795"/>
            <c:spPr>
              <a:solidFill>
                <a:srgbClr val="7ECAC4"/>
              </a:solidFill>
            </c:spPr>
          </c:dPt>
          <c:dPt>
            <c:idx val="796"/>
            <c:spPr>
              <a:solidFill>
                <a:srgbClr val="7ECAC4"/>
              </a:solidFill>
            </c:spPr>
          </c:dPt>
          <c:dPt>
            <c:idx val="797"/>
            <c:spPr>
              <a:solidFill>
                <a:srgbClr val="7ECAC4"/>
              </a:solidFill>
            </c:spPr>
          </c:dPt>
          <c:dPt>
            <c:idx val="798"/>
            <c:spPr>
              <a:solidFill>
                <a:srgbClr val="7ECAC4"/>
              </a:solidFill>
            </c:spPr>
          </c:dPt>
          <c:dPt>
            <c:idx val="799"/>
            <c:spPr>
              <a:solidFill>
                <a:srgbClr val="7ECAC4"/>
              </a:solidFill>
            </c:spPr>
          </c:dPt>
          <c:dPt>
            <c:idx val="800"/>
            <c:spPr>
              <a:solidFill>
                <a:srgbClr val="7ECAC4"/>
              </a:solidFill>
            </c:spPr>
          </c:dPt>
          <c:dPt>
            <c:idx val="801"/>
            <c:spPr>
              <a:solidFill>
                <a:srgbClr val="7ECAC4"/>
              </a:solidFill>
            </c:spPr>
          </c:dPt>
          <c:dPt>
            <c:idx val="802"/>
            <c:spPr>
              <a:solidFill>
                <a:srgbClr val="7ECAC4"/>
              </a:solidFill>
            </c:spPr>
          </c:dPt>
          <c:dPt>
            <c:idx val="803"/>
            <c:spPr>
              <a:solidFill>
                <a:srgbClr val="7ECAC4"/>
              </a:solidFill>
            </c:spPr>
          </c:dPt>
          <c:dPt>
            <c:idx val="804"/>
            <c:spPr>
              <a:solidFill>
                <a:srgbClr val="7ECAC4"/>
              </a:solidFill>
            </c:spPr>
          </c:dPt>
          <c:dPt>
            <c:idx val="805"/>
            <c:spPr>
              <a:solidFill>
                <a:srgbClr val="7ECAC4"/>
              </a:solidFill>
            </c:spPr>
          </c:dPt>
          <c:dPt>
            <c:idx val="806"/>
            <c:spPr>
              <a:solidFill>
                <a:srgbClr val="7ECAC4"/>
              </a:solidFill>
            </c:spPr>
          </c:dPt>
          <c:dPt>
            <c:idx val="807"/>
            <c:spPr>
              <a:solidFill>
                <a:srgbClr val="7ECAC4"/>
              </a:solidFill>
            </c:spPr>
          </c:dPt>
          <c:dPt>
            <c:idx val="808"/>
            <c:spPr>
              <a:solidFill>
                <a:srgbClr val="7ECAC4"/>
              </a:solidFill>
            </c:spPr>
          </c:dPt>
          <c:dPt>
            <c:idx val="809"/>
            <c:spPr>
              <a:solidFill>
                <a:srgbClr val="7ECAC4"/>
              </a:solidFill>
            </c:spPr>
          </c:dPt>
          <c:dPt>
            <c:idx val="810"/>
            <c:spPr>
              <a:solidFill>
                <a:srgbClr val="7ECAC4"/>
              </a:solidFill>
            </c:spPr>
          </c:dPt>
          <c:dPt>
            <c:idx val="811"/>
            <c:spPr>
              <a:solidFill>
                <a:srgbClr val="7ECAC4"/>
              </a:solidFill>
            </c:spPr>
          </c:dPt>
          <c:dPt>
            <c:idx val="812"/>
            <c:spPr>
              <a:solidFill>
                <a:srgbClr val="7ECAC4"/>
              </a:solidFill>
            </c:spPr>
          </c:dPt>
          <c:dPt>
            <c:idx val="813"/>
            <c:spPr>
              <a:solidFill>
                <a:srgbClr val="7ECAC4"/>
              </a:solidFill>
            </c:spPr>
          </c:dPt>
          <c:dPt>
            <c:idx val="814"/>
            <c:spPr>
              <a:solidFill>
                <a:srgbClr val="7ECAC4"/>
              </a:solidFill>
            </c:spPr>
          </c:dPt>
          <c:dPt>
            <c:idx val="815"/>
            <c:spPr>
              <a:solidFill>
                <a:srgbClr val="7ECAC4"/>
              </a:solidFill>
            </c:spPr>
          </c:dPt>
          <c:dPt>
            <c:idx val="816"/>
            <c:spPr>
              <a:solidFill>
                <a:srgbClr val="7ECAC4"/>
              </a:solidFill>
            </c:spPr>
          </c:dPt>
          <c:dPt>
            <c:idx val="817"/>
            <c:spPr>
              <a:solidFill>
                <a:srgbClr val="7ECAC4"/>
              </a:solidFill>
            </c:spPr>
          </c:dPt>
          <c:dPt>
            <c:idx val="818"/>
            <c:spPr>
              <a:solidFill>
                <a:srgbClr val="7ECAC4"/>
              </a:solidFill>
            </c:spPr>
          </c:dPt>
          <c:dPt>
            <c:idx val="819"/>
            <c:spPr>
              <a:solidFill>
                <a:srgbClr val="7ECAC4"/>
              </a:solidFill>
            </c:spPr>
          </c:dPt>
          <c:dPt>
            <c:idx val="820"/>
            <c:spPr>
              <a:solidFill>
                <a:srgbClr val="7ECAC4"/>
              </a:solidFill>
            </c:spPr>
          </c:dPt>
          <c:dPt>
            <c:idx val="821"/>
            <c:spPr>
              <a:solidFill>
                <a:srgbClr val="7ECAC4"/>
              </a:solidFill>
            </c:spPr>
          </c:dPt>
          <c:dPt>
            <c:idx val="822"/>
            <c:spPr>
              <a:solidFill>
                <a:srgbClr val="7ECAC4"/>
              </a:solidFill>
            </c:spPr>
          </c:dPt>
          <c:dPt>
            <c:idx val="823"/>
            <c:spPr>
              <a:solidFill>
                <a:srgbClr val="7ECAC4"/>
              </a:solidFill>
            </c:spPr>
          </c:dPt>
          <c:dPt>
            <c:idx val="824"/>
            <c:spPr>
              <a:solidFill>
                <a:srgbClr val="7ECAC4"/>
              </a:solidFill>
            </c:spPr>
          </c:dPt>
          <c:dPt>
            <c:idx val="825"/>
            <c:spPr>
              <a:solidFill>
                <a:srgbClr val="7ECAC4"/>
              </a:solidFill>
            </c:spPr>
          </c:dPt>
          <c:dPt>
            <c:idx val="826"/>
            <c:spPr>
              <a:solidFill>
                <a:srgbClr val="7ECAC4"/>
              </a:solidFill>
            </c:spPr>
          </c:dPt>
          <c:dPt>
            <c:idx val="827"/>
            <c:spPr>
              <a:solidFill>
                <a:srgbClr val="7ECAC4"/>
              </a:solidFill>
            </c:spPr>
          </c:dPt>
          <c:dPt>
            <c:idx val="828"/>
            <c:spPr>
              <a:solidFill>
                <a:srgbClr val="7ECAC4"/>
              </a:solidFill>
            </c:spPr>
          </c:dPt>
          <c:dPt>
            <c:idx val="829"/>
            <c:spPr>
              <a:solidFill>
                <a:srgbClr val="7ECAC4"/>
              </a:solidFill>
            </c:spPr>
          </c:dPt>
          <c:dPt>
            <c:idx val="830"/>
            <c:spPr>
              <a:solidFill>
                <a:srgbClr val="7ECAC4"/>
              </a:solidFill>
            </c:spPr>
          </c:dPt>
          <c:dPt>
            <c:idx val="831"/>
            <c:spPr>
              <a:solidFill>
                <a:srgbClr val="7ECAC4"/>
              </a:solidFill>
            </c:spPr>
          </c:dPt>
          <c:dPt>
            <c:idx val="832"/>
            <c:spPr>
              <a:solidFill>
                <a:srgbClr val="7ECAC4"/>
              </a:solidFill>
            </c:spPr>
          </c:dPt>
          <c:dPt>
            <c:idx val="833"/>
            <c:spPr>
              <a:solidFill>
                <a:srgbClr val="7ECAC4"/>
              </a:solidFill>
            </c:spPr>
          </c:dPt>
          <c:dPt>
            <c:idx val="834"/>
            <c:spPr>
              <a:solidFill>
                <a:srgbClr val="7ECAC4"/>
              </a:solidFill>
            </c:spPr>
          </c:dPt>
          <c:dPt>
            <c:idx val="835"/>
            <c:spPr>
              <a:solidFill>
                <a:srgbClr val="7ECAC4"/>
              </a:solidFill>
            </c:spPr>
          </c:dPt>
          <c:dPt>
            <c:idx val="836"/>
            <c:spPr>
              <a:solidFill>
                <a:srgbClr val="7ECAC4"/>
              </a:solidFill>
            </c:spPr>
          </c:dPt>
          <c:dPt>
            <c:idx val="837"/>
            <c:spPr>
              <a:solidFill>
                <a:srgbClr val="7ECAC4"/>
              </a:solidFill>
            </c:spPr>
          </c:dPt>
          <c:dPt>
            <c:idx val="838"/>
            <c:spPr>
              <a:solidFill>
                <a:srgbClr val="AEABAB"/>
              </a:solidFill>
            </c:spPr>
          </c:dPt>
          <c:dPt>
            <c:idx val="839"/>
            <c:spPr>
              <a:solidFill>
                <a:srgbClr val="AEABAB"/>
              </a:solidFill>
            </c:spPr>
          </c:dPt>
          <c:dPt>
            <c:idx val="840"/>
            <c:spPr>
              <a:solidFill>
                <a:srgbClr val="AEABAB"/>
              </a:solidFill>
            </c:spPr>
          </c:dPt>
          <c:dPt>
            <c:idx val="841"/>
            <c:spPr>
              <a:solidFill>
                <a:srgbClr val="AEABAB"/>
              </a:solidFill>
            </c:spPr>
          </c:dPt>
          <c:dPt>
            <c:idx val="842"/>
            <c:spPr>
              <a:solidFill>
                <a:srgbClr val="AEABAB"/>
              </a:solidFill>
            </c:spPr>
          </c:dPt>
          <c:dPt>
            <c:idx val="843"/>
            <c:spPr>
              <a:solidFill>
                <a:srgbClr val="AEABAB"/>
              </a:solidFill>
            </c:spPr>
          </c:dPt>
          <c:dPt>
            <c:idx val="844"/>
            <c:spPr>
              <a:solidFill>
                <a:srgbClr val="AEABAB"/>
              </a:solidFill>
            </c:spPr>
          </c:dPt>
          <c:dPt>
            <c:idx val="845"/>
            <c:spPr>
              <a:solidFill>
                <a:srgbClr val="AEABAB"/>
              </a:solidFill>
            </c:spPr>
          </c:dPt>
          <c:dPt>
            <c:idx val="846"/>
            <c:spPr>
              <a:solidFill>
                <a:srgbClr val="AEABAB"/>
              </a:solidFill>
            </c:spPr>
          </c:dPt>
          <c:dPt>
            <c:idx val="847"/>
            <c:spPr>
              <a:solidFill>
                <a:srgbClr val="AEABAB"/>
              </a:solidFill>
            </c:spPr>
          </c:dPt>
          <c:dPt>
            <c:idx val="848"/>
            <c:spPr>
              <a:solidFill>
                <a:srgbClr val="AEABAB"/>
              </a:solidFill>
            </c:spPr>
          </c:dPt>
          <c:dPt>
            <c:idx val="849"/>
            <c:spPr>
              <a:solidFill>
                <a:srgbClr val="AEABAB"/>
              </a:solidFill>
            </c:spPr>
          </c:dPt>
          <c:dPt>
            <c:idx val="850"/>
            <c:spPr>
              <a:solidFill>
                <a:srgbClr val="AEABAB"/>
              </a:solidFill>
            </c:spPr>
          </c:dPt>
          <c:dPt>
            <c:idx val="851"/>
            <c:spPr>
              <a:solidFill>
                <a:srgbClr val="AEABAB"/>
              </a:solidFill>
            </c:spPr>
          </c:dPt>
          <c:dPt>
            <c:idx val="852"/>
            <c:spPr>
              <a:solidFill>
                <a:srgbClr val="AEABAB"/>
              </a:solidFill>
            </c:spPr>
          </c:dPt>
          <c:dPt>
            <c:idx val="853"/>
            <c:spPr>
              <a:solidFill>
                <a:srgbClr val="AEABAB"/>
              </a:solidFill>
            </c:spPr>
          </c:dPt>
          <c:dPt>
            <c:idx val="854"/>
            <c:spPr>
              <a:solidFill>
                <a:srgbClr val="AEABAB"/>
              </a:solidFill>
            </c:spPr>
          </c:dPt>
          <c:dPt>
            <c:idx val="855"/>
            <c:spPr>
              <a:solidFill>
                <a:srgbClr val="AEABAB"/>
              </a:solidFill>
            </c:spPr>
          </c:dPt>
          <c:dPt>
            <c:idx val="856"/>
            <c:spPr>
              <a:solidFill>
                <a:srgbClr val="AEABAB"/>
              </a:solidFill>
            </c:spPr>
          </c:dPt>
          <c:dPt>
            <c:idx val="857"/>
            <c:spPr>
              <a:solidFill>
                <a:srgbClr val="AEABAB"/>
              </a:solidFill>
            </c:spPr>
          </c:dPt>
          <c:dPt>
            <c:idx val="858"/>
            <c:spPr>
              <a:solidFill>
                <a:srgbClr val="AEABAB"/>
              </a:solidFill>
            </c:spPr>
          </c:dPt>
          <c:dPt>
            <c:idx val="859"/>
            <c:spPr>
              <a:solidFill>
                <a:srgbClr val="AEABAB"/>
              </a:solidFill>
            </c:spPr>
          </c:dPt>
          <c:dPt>
            <c:idx val="860"/>
            <c:spPr>
              <a:solidFill>
                <a:srgbClr val="AEABAB"/>
              </a:solidFill>
            </c:spPr>
          </c:dPt>
          <c:dPt>
            <c:idx val="861"/>
            <c:spPr>
              <a:solidFill>
                <a:srgbClr val="AEABAB"/>
              </a:solidFill>
            </c:spPr>
          </c:dPt>
          <c:dPt>
            <c:idx val="862"/>
            <c:spPr>
              <a:solidFill>
                <a:srgbClr val="AEABAB"/>
              </a:solidFill>
            </c:spPr>
          </c:dPt>
          <c:dPt>
            <c:idx val="863"/>
            <c:spPr>
              <a:solidFill>
                <a:srgbClr val="AEABAB"/>
              </a:solidFill>
            </c:spPr>
          </c:dPt>
          <c:dPt>
            <c:idx val="864"/>
            <c:spPr>
              <a:solidFill>
                <a:srgbClr val="AEABAB"/>
              </a:solidFill>
            </c:spPr>
          </c:dPt>
          <c:dPt>
            <c:idx val="865"/>
            <c:spPr>
              <a:solidFill>
                <a:srgbClr val="AEABAB"/>
              </a:solidFill>
            </c:spPr>
          </c:dPt>
          <c:dPt>
            <c:idx val="866"/>
            <c:spPr>
              <a:solidFill>
                <a:srgbClr val="AEABAB"/>
              </a:solidFill>
            </c:spPr>
          </c:dPt>
          <c:dPt>
            <c:idx val="867"/>
            <c:spPr>
              <a:solidFill>
                <a:srgbClr val="AEABAB"/>
              </a:solidFill>
            </c:spPr>
          </c:dPt>
          <c:dPt>
            <c:idx val="868"/>
            <c:spPr>
              <a:solidFill>
                <a:srgbClr val="AEABAB"/>
              </a:solidFill>
            </c:spPr>
          </c:dPt>
          <c:dPt>
            <c:idx val="869"/>
            <c:spPr>
              <a:solidFill>
                <a:srgbClr val="AEABAB"/>
              </a:solidFill>
            </c:spPr>
          </c:dPt>
          <c:dPt>
            <c:idx val="870"/>
            <c:spPr>
              <a:solidFill>
                <a:srgbClr val="AEABAB"/>
              </a:solidFill>
            </c:spPr>
          </c:dPt>
          <c:dPt>
            <c:idx val="871"/>
            <c:spPr>
              <a:solidFill>
                <a:srgbClr val="AEABAB"/>
              </a:solidFill>
            </c:spPr>
          </c:dPt>
          <c:dPt>
            <c:idx val="872"/>
            <c:spPr>
              <a:solidFill>
                <a:srgbClr val="AEABAB"/>
              </a:solidFill>
            </c:spPr>
          </c:dPt>
          <c:dPt>
            <c:idx val="873"/>
            <c:spPr>
              <a:solidFill>
                <a:srgbClr val="AEABAB"/>
              </a:solidFill>
            </c:spPr>
          </c:dPt>
          <c:dPt>
            <c:idx val="874"/>
            <c:spPr>
              <a:solidFill>
                <a:srgbClr val="AEABAB"/>
              </a:solidFill>
            </c:spPr>
          </c:dPt>
          <c:dPt>
            <c:idx val="875"/>
            <c:spPr>
              <a:solidFill>
                <a:srgbClr val="AEABAB"/>
              </a:solidFill>
            </c:spPr>
          </c:dPt>
          <c:dPt>
            <c:idx val="876"/>
            <c:spPr>
              <a:solidFill>
                <a:srgbClr val="AEABAB"/>
              </a:solidFill>
            </c:spPr>
          </c:dPt>
          <c:dPt>
            <c:idx val="877"/>
            <c:spPr>
              <a:solidFill>
                <a:srgbClr val="AEABAB"/>
              </a:solidFill>
            </c:spPr>
          </c:dPt>
          <c:dPt>
            <c:idx val="878"/>
            <c:spPr>
              <a:solidFill>
                <a:srgbClr val="AEABAB"/>
              </a:solidFill>
            </c:spPr>
          </c:dPt>
          <c:dPt>
            <c:idx val="879"/>
            <c:spPr>
              <a:solidFill>
                <a:srgbClr val="AEABAB"/>
              </a:solidFill>
            </c:spPr>
          </c:dPt>
          <c:dPt>
            <c:idx val="880"/>
            <c:spPr>
              <a:solidFill>
                <a:srgbClr val="AEABAB"/>
              </a:solidFill>
            </c:spPr>
          </c:dPt>
          <c:dPt>
            <c:idx val="881"/>
            <c:spPr>
              <a:solidFill>
                <a:srgbClr val="AEABAB"/>
              </a:solidFill>
            </c:spPr>
          </c:dPt>
          <c:dPt>
            <c:idx val="882"/>
            <c:spPr>
              <a:solidFill>
                <a:srgbClr val="AEABAB"/>
              </a:solidFill>
            </c:spPr>
          </c:dPt>
          <c:dPt>
            <c:idx val="883"/>
            <c:spPr>
              <a:solidFill>
                <a:srgbClr val="AEABAB"/>
              </a:solidFill>
            </c:spPr>
          </c:dPt>
          <c:dPt>
            <c:idx val="884"/>
            <c:spPr>
              <a:solidFill>
                <a:srgbClr val="AEABAB"/>
              </a:solidFill>
            </c:spPr>
          </c:dPt>
          <c:dPt>
            <c:idx val="885"/>
            <c:spPr>
              <a:solidFill>
                <a:srgbClr val="AEABAB"/>
              </a:solidFill>
            </c:spPr>
          </c:dPt>
          <c:dPt>
            <c:idx val="886"/>
            <c:spPr>
              <a:solidFill>
                <a:srgbClr val="AEABAB"/>
              </a:solidFill>
            </c:spPr>
          </c:dPt>
          <c:dPt>
            <c:idx val="887"/>
            <c:spPr>
              <a:solidFill>
                <a:srgbClr val="AEABAB"/>
              </a:solidFill>
            </c:spPr>
          </c:dPt>
          <c:dPt>
            <c:idx val="888"/>
            <c:spPr>
              <a:solidFill>
                <a:srgbClr val="AEABAB"/>
              </a:solidFill>
            </c:spPr>
          </c:dPt>
          <c:dPt>
            <c:idx val="889"/>
            <c:spPr>
              <a:solidFill>
                <a:srgbClr val="AEABAB"/>
              </a:solidFill>
            </c:spPr>
          </c:dPt>
          <c:dPt>
            <c:idx val="890"/>
            <c:spPr>
              <a:solidFill>
                <a:srgbClr val="AEABAB"/>
              </a:solidFill>
            </c:spPr>
          </c:dPt>
          <c:dPt>
            <c:idx val="891"/>
            <c:spPr>
              <a:solidFill>
                <a:srgbClr val="AEABAB"/>
              </a:solidFill>
            </c:spPr>
          </c:dPt>
          <c:dPt>
            <c:idx val="892"/>
            <c:spPr>
              <a:solidFill>
                <a:srgbClr val="AEABAB"/>
              </a:solidFill>
            </c:spPr>
          </c:dPt>
          <c:dPt>
            <c:idx val="893"/>
            <c:spPr>
              <a:solidFill>
                <a:srgbClr val="AEABAB"/>
              </a:solidFill>
            </c:spPr>
          </c:dPt>
          <c:dPt>
            <c:idx val="894"/>
            <c:spPr>
              <a:solidFill>
                <a:srgbClr val="AEABAB"/>
              </a:solidFill>
            </c:spPr>
          </c:dPt>
          <c:dPt>
            <c:idx val="895"/>
            <c:spPr>
              <a:solidFill>
                <a:srgbClr val="AEABAB"/>
              </a:solidFill>
            </c:spPr>
          </c:dPt>
          <c:dPt>
            <c:idx val="896"/>
            <c:spPr>
              <a:solidFill>
                <a:srgbClr val="AEABAB"/>
              </a:solidFill>
            </c:spPr>
          </c:dPt>
          <c:dPt>
            <c:idx val="897"/>
            <c:spPr>
              <a:solidFill>
                <a:srgbClr val="AEABAB"/>
              </a:solidFill>
            </c:spPr>
          </c:dPt>
          <c:dPt>
            <c:idx val="898"/>
            <c:spPr>
              <a:solidFill>
                <a:srgbClr val="AEABAB"/>
              </a:solidFill>
            </c:spPr>
          </c:dPt>
          <c:dPt>
            <c:idx val="899"/>
            <c:spPr>
              <a:solidFill>
                <a:srgbClr val="AEABAB"/>
              </a:solidFill>
            </c:spPr>
          </c:dPt>
          <c:dPt>
            <c:idx val="900"/>
            <c:spPr>
              <a:solidFill>
                <a:srgbClr val="AEABAB"/>
              </a:solidFill>
            </c:spPr>
          </c:dPt>
          <c:dPt>
            <c:idx val="901"/>
            <c:spPr>
              <a:solidFill>
                <a:srgbClr val="AEABAB"/>
              </a:solidFill>
            </c:spPr>
          </c:dPt>
          <c:dPt>
            <c:idx val="902"/>
            <c:spPr>
              <a:solidFill>
                <a:srgbClr val="AEABAB"/>
              </a:solidFill>
            </c:spPr>
          </c:dPt>
          <c:dPt>
            <c:idx val="903"/>
            <c:spPr>
              <a:solidFill>
                <a:srgbClr val="AEABAB"/>
              </a:solidFill>
            </c:spPr>
          </c:dPt>
          <c:dPt>
            <c:idx val="904"/>
            <c:spPr>
              <a:solidFill>
                <a:srgbClr val="AEABAB"/>
              </a:solidFill>
            </c:spPr>
          </c:dPt>
          <c:dPt>
            <c:idx val="905"/>
            <c:spPr>
              <a:solidFill>
                <a:srgbClr val="AEABAB"/>
              </a:solidFill>
            </c:spPr>
          </c:dPt>
          <c:dPt>
            <c:idx val="906"/>
            <c:spPr>
              <a:solidFill>
                <a:srgbClr val="AEABAB"/>
              </a:solidFill>
            </c:spPr>
          </c:dPt>
          <c:dPt>
            <c:idx val="907"/>
            <c:spPr>
              <a:solidFill>
                <a:srgbClr val="AEABAB"/>
              </a:solidFill>
            </c:spPr>
          </c:dPt>
          <c:dPt>
            <c:idx val="908"/>
            <c:spPr>
              <a:solidFill>
                <a:srgbClr val="AEABAB"/>
              </a:solidFill>
            </c:spPr>
          </c:dPt>
          <c:dPt>
            <c:idx val="909"/>
            <c:spPr>
              <a:solidFill>
                <a:srgbClr val="AEABAB"/>
              </a:solidFill>
            </c:spPr>
          </c:dPt>
          <c:dPt>
            <c:idx val="910"/>
            <c:spPr>
              <a:solidFill>
                <a:srgbClr val="AEABAB"/>
              </a:solidFill>
            </c:spPr>
          </c:dPt>
          <c:dPt>
            <c:idx val="911"/>
            <c:spPr>
              <a:solidFill>
                <a:srgbClr val="AEABAB"/>
              </a:solidFill>
            </c:spPr>
          </c:dPt>
          <c:dPt>
            <c:idx val="912"/>
            <c:spPr>
              <a:solidFill>
                <a:srgbClr val="AEABAB"/>
              </a:solidFill>
            </c:spPr>
          </c:dPt>
          <c:dPt>
            <c:idx val="913"/>
            <c:spPr>
              <a:solidFill>
                <a:srgbClr val="AEABAB"/>
              </a:solidFill>
            </c:spPr>
          </c:dPt>
          <c:dPt>
            <c:idx val="914"/>
            <c:spPr>
              <a:solidFill>
                <a:srgbClr val="AEABAB"/>
              </a:solidFill>
            </c:spPr>
          </c:dPt>
          <c:dPt>
            <c:idx val="915"/>
            <c:spPr>
              <a:solidFill>
                <a:srgbClr val="AEABAB"/>
              </a:solidFill>
            </c:spPr>
          </c:dPt>
          <c:dPt>
            <c:idx val="916"/>
            <c:spPr>
              <a:solidFill>
                <a:srgbClr val="AEABAB"/>
              </a:solidFill>
            </c:spPr>
          </c:dPt>
          <c:dPt>
            <c:idx val="917"/>
            <c:spPr>
              <a:solidFill>
                <a:srgbClr val="AEABAB"/>
              </a:solidFill>
            </c:spPr>
          </c:dPt>
          <c:dPt>
            <c:idx val="918"/>
            <c:spPr>
              <a:solidFill>
                <a:srgbClr val="AEABAB"/>
              </a:solidFill>
            </c:spPr>
          </c:dPt>
          <c:dPt>
            <c:idx val="919"/>
            <c:spPr>
              <a:solidFill>
                <a:srgbClr val="AEABAB"/>
              </a:solidFill>
            </c:spPr>
          </c:dPt>
          <c:dPt>
            <c:idx val="920"/>
            <c:spPr>
              <a:solidFill>
                <a:srgbClr val="AEABAB"/>
              </a:solidFill>
            </c:spPr>
          </c:dPt>
          <c:dPt>
            <c:idx val="921"/>
            <c:spPr>
              <a:solidFill>
                <a:srgbClr val="AEABAB"/>
              </a:solidFill>
            </c:spPr>
          </c:dPt>
          <c:dPt>
            <c:idx val="922"/>
            <c:spPr>
              <a:solidFill>
                <a:srgbClr val="AEABAB"/>
              </a:solidFill>
            </c:spPr>
          </c:dPt>
          <c:dPt>
            <c:idx val="923"/>
            <c:spPr>
              <a:solidFill>
                <a:srgbClr val="AEABAB"/>
              </a:solidFill>
            </c:spPr>
          </c:dPt>
          <c:dPt>
            <c:idx val="924"/>
            <c:spPr>
              <a:solidFill>
                <a:srgbClr val="AEABAB"/>
              </a:solidFill>
            </c:spPr>
          </c:dPt>
          <c:dPt>
            <c:idx val="925"/>
            <c:spPr>
              <a:solidFill>
                <a:srgbClr val="AEABAB"/>
              </a:solidFill>
            </c:spPr>
          </c:dPt>
          <c:dPt>
            <c:idx val="926"/>
            <c:spPr>
              <a:solidFill>
                <a:srgbClr val="AEABAB"/>
              </a:solidFill>
            </c:spPr>
          </c:dPt>
          <c:dPt>
            <c:idx val="927"/>
            <c:spPr>
              <a:solidFill>
                <a:srgbClr val="AEABAB"/>
              </a:solidFill>
            </c:spPr>
          </c:dPt>
          <c:dPt>
            <c:idx val="928"/>
            <c:spPr>
              <a:solidFill>
                <a:srgbClr val="AEABAB"/>
              </a:solidFill>
            </c:spPr>
          </c:dPt>
          <c:dPt>
            <c:idx val="929"/>
            <c:spPr>
              <a:solidFill>
                <a:srgbClr val="AEABAB"/>
              </a:solidFill>
            </c:spPr>
          </c:dPt>
          <c:dPt>
            <c:idx val="930"/>
            <c:spPr>
              <a:solidFill>
                <a:srgbClr val="AEABAB"/>
              </a:solidFill>
            </c:spPr>
          </c:dPt>
          <c:dPt>
            <c:idx val="931"/>
            <c:spPr>
              <a:solidFill>
                <a:srgbClr val="AEABAB"/>
              </a:solidFill>
            </c:spPr>
          </c:dPt>
          <c:dPt>
            <c:idx val="932"/>
            <c:spPr>
              <a:solidFill>
                <a:srgbClr val="AEABAB"/>
              </a:solidFill>
            </c:spPr>
          </c:dPt>
          <c:dPt>
            <c:idx val="933"/>
            <c:spPr>
              <a:solidFill>
                <a:srgbClr val="AEABAB"/>
              </a:solidFill>
            </c:spPr>
          </c:dPt>
          <c:dPt>
            <c:idx val="934"/>
            <c:spPr>
              <a:solidFill>
                <a:srgbClr val="AEABAB"/>
              </a:solidFill>
            </c:spPr>
          </c:dPt>
          <c:dPt>
            <c:idx val="935"/>
            <c:spPr>
              <a:solidFill>
                <a:srgbClr val="AEABAB"/>
              </a:solidFill>
            </c:spPr>
          </c:dPt>
          <c:dPt>
            <c:idx val="936"/>
            <c:spPr>
              <a:solidFill>
                <a:srgbClr val="AEABAB"/>
              </a:solidFill>
            </c:spPr>
          </c:dPt>
          <c:dPt>
            <c:idx val="937"/>
            <c:spPr>
              <a:solidFill>
                <a:srgbClr val="AEABAB"/>
              </a:solidFill>
            </c:spPr>
          </c:dPt>
          <c:dPt>
            <c:idx val="938"/>
            <c:spPr>
              <a:solidFill>
                <a:srgbClr val="AEABAB"/>
              </a:solidFill>
            </c:spPr>
          </c:dPt>
          <c:dPt>
            <c:idx val="939"/>
            <c:spPr>
              <a:solidFill>
                <a:srgbClr val="AEABAB"/>
              </a:solidFill>
            </c:spPr>
          </c:dPt>
          <c:dPt>
            <c:idx val="940"/>
            <c:spPr>
              <a:solidFill>
                <a:srgbClr val="AEABAB"/>
              </a:solidFill>
            </c:spPr>
          </c:dPt>
          <c:dPt>
            <c:idx val="941"/>
            <c:spPr>
              <a:solidFill>
                <a:srgbClr val="AEABAB"/>
              </a:solidFill>
            </c:spPr>
          </c:dPt>
          <c:dPt>
            <c:idx val="942"/>
            <c:spPr>
              <a:solidFill>
                <a:srgbClr val="AEABAB"/>
              </a:solidFill>
            </c:spPr>
          </c:dPt>
          <c:dPt>
            <c:idx val="943"/>
            <c:spPr>
              <a:solidFill>
                <a:srgbClr val="AEABAB"/>
              </a:solidFill>
            </c:spPr>
          </c:dPt>
          <c:dPt>
            <c:idx val="944"/>
            <c:spPr>
              <a:solidFill>
                <a:srgbClr val="AEABAB"/>
              </a:solidFill>
            </c:spPr>
          </c:dPt>
          <c:dPt>
            <c:idx val="945"/>
            <c:spPr>
              <a:solidFill>
                <a:srgbClr val="AEABAB"/>
              </a:solidFill>
            </c:spPr>
          </c:dPt>
          <c:dPt>
            <c:idx val="946"/>
            <c:spPr>
              <a:solidFill>
                <a:srgbClr val="AEABAB"/>
              </a:solidFill>
            </c:spPr>
          </c:dPt>
          <c:dPt>
            <c:idx val="947"/>
            <c:spPr>
              <a:solidFill>
                <a:srgbClr val="AEABAB"/>
              </a:solidFill>
            </c:spPr>
          </c:dPt>
          <c:dPt>
            <c:idx val="948"/>
            <c:spPr>
              <a:solidFill>
                <a:srgbClr val="AEABAB"/>
              </a:solidFill>
            </c:spPr>
          </c:dPt>
          <c:dPt>
            <c:idx val="949"/>
            <c:spPr>
              <a:solidFill>
                <a:srgbClr val="AEABAB"/>
              </a:solidFill>
            </c:spPr>
          </c:dPt>
          <c:dPt>
            <c:idx val="950"/>
            <c:spPr>
              <a:solidFill>
                <a:srgbClr val="AEABAB"/>
              </a:solidFill>
            </c:spPr>
          </c:dPt>
          <c:dPt>
            <c:idx val="951"/>
            <c:spPr>
              <a:solidFill>
                <a:srgbClr val="AEABAB"/>
              </a:solidFill>
            </c:spPr>
          </c:dPt>
          <c:dPt>
            <c:idx val="952"/>
            <c:spPr>
              <a:solidFill>
                <a:srgbClr val="AEABAB"/>
              </a:solidFill>
            </c:spPr>
          </c:dPt>
          <c:dPt>
            <c:idx val="953"/>
            <c:spPr>
              <a:solidFill>
                <a:srgbClr val="AEABAB"/>
              </a:solidFill>
            </c:spPr>
          </c:dPt>
          <c:dPt>
            <c:idx val="954"/>
            <c:spPr>
              <a:solidFill>
                <a:srgbClr val="AEABAB"/>
              </a:solidFill>
            </c:spPr>
          </c:dPt>
          <c:dPt>
            <c:idx val="955"/>
            <c:spPr>
              <a:solidFill>
                <a:srgbClr val="AEABAB"/>
              </a:solidFill>
            </c:spPr>
          </c:dPt>
          <c:dPt>
            <c:idx val="956"/>
            <c:spPr>
              <a:solidFill>
                <a:srgbClr val="AEABAB"/>
              </a:solidFill>
            </c:spPr>
          </c:dPt>
          <c:dPt>
            <c:idx val="957"/>
            <c:spPr>
              <a:solidFill>
                <a:srgbClr val="AEABAB"/>
              </a:solidFill>
            </c:spPr>
          </c:dPt>
          <c:dPt>
            <c:idx val="958"/>
            <c:spPr>
              <a:solidFill>
                <a:srgbClr val="AEABAB"/>
              </a:solidFill>
            </c:spPr>
          </c:dPt>
          <c:dPt>
            <c:idx val="959"/>
            <c:spPr>
              <a:solidFill>
                <a:srgbClr val="AEABAB"/>
              </a:solidFill>
            </c:spPr>
          </c:dPt>
          <c:dPt>
            <c:idx val="960"/>
            <c:spPr>
              <a:solidFill>
                <a:srgbClr val="AEABAB"/>
              </a:solidFill>
            </c:spPr>
          </c:dPt>
          <c:dPt>
            <c:idx val="961"/>
            <c:spPr>
              <a:solidFill>
                <a:srgbClr val="AEABAB"/>
              </a:solidFill>
            </c:spPr>
          </c:dPt>
          <c:dPt>
            <c:idx val="962"/>
            <c:spPr>
              <a:solidFill>
                <a:srgbClr val="AEABAB"/>
              </a:solidFill>
            </c:spPr>
          </c:dPt>
          <c:dPt>
            <c:idx val="963"/>
            <c:spPr>
              <a:solidFill>
                <a:srgbClr val="AEABAB"/>
              </a:solidFill>
            </c:spPr>
          </c:dPt>
          <c:dPt>
            <c:idx val="964"/>
            <c:spPr>
              <a:solidFill>
                <a:srgbClr val="AEABAB"/>
              </a:solidFill>
            </c:spPr>
          </c:dPt>
          <c:dPt>
            <c:idx val="965"/>
            <c:spPr>
              <a:solidFill>
                <a:srgbClr val="AEABAB"/>
              </a:solidFill>
            </c:spPr>
          </c:dPt>
          <c:dPt>
            <c:idx val="966"/>
            <c:spPr>
              <a:solidFill>
                <a:srgbClr val="AEABAB"/>
              </a:solidFill>
            </c:spPr>
          </c:dPt>
          <c:dPt>
            <c:idx val="967"/>
            <c:spPr>
              <a:solidFill>
                <a:srgbClr val="AEABAB"/>
              </a:solidFill>
            </c:spPr>
          </c:dPt>
          <c:dPt>
            <c:idx val="968"/>
            <c:spPr>
              <a:solidFill>
                <a:srgbClr val="AEABAB"/>
              </a:solidFill>
            </c:spPr>
          </c:dPt>
          <c:dPt>
            <c:idx val="969"/>
            <c:spPr>
              <a:solidFill>
                <a:srgbClr val="AEABAB"/>
              </a:solidFill>
            </c:spPr>
          </c:dPt>
          <c:dPt>
            <c:idx val="970"/>
            <c:spPr>
              <a:solidFill>
                <a:srgbClr val="AEABAB"/>
              </a:solidFill>
            </c:spPr>
          </c:dPt>
          <c:dPt>
            <c:idx val="971"/>
            <c:spPr>
              <a:solidFill>
                <a:srgbClr val="AEABAB"/>
              </a:solidFill>
            </c:spPr>
          </c:dPt>
          <c:dPt>
            <c:idx val="972"/>
            <c:spPr>
              <a:solidFill>
                <a:srgbClr val="AEABAB"/>
              </a:solidFill>
            </c:spPr>
          </c:dPt>
          <c:dPt>
            <c:idx val="973"/>
            <c:spPr>
              <a:solidFill>
                <a:srgbClr val="AEABAB"/>
              </a:solidFill>
            </c:spPr>
          </c:dPt>
          <c:dPt>
            <c:idx val="974"/>
            <c:spPr>
              <a:solidFill>
                <a:srgbClr val="AEABAB"/>
              </a:solidFill>
            </c:spPr>
          </c:dPt>
          <c:dPt>
            <c:idx val="975"/>
            <c:spPr>
              <a:solidFill>
                <a:srgbClr val="AEABAB"/>
              </a:solidFill>
            </c:spPr>
          </c:dPt>
          <c:dPt>
            <c:idx val="976"/>
            <c:spPr>
              <a:solidFill>
                <a:srgbClr val="AEABAB"/>
              </a:solidFill>
            </c:spPr>
          </c:dPt>
          <c:dPt>
            <c:idx val="977"/>
            <c:spPr>
              <a:solidFill>
                <a:srgbClr val="AEABAB"/>
              </a:solidFill>
            </c:spPr>
          </c:dPt>
          <c:dPt>
            <c:idx val="978"/>
            <c:spPr>
              <a:solidFill>
                <a:srgbClr val="AEABAB"/>
              </a:solidFill>
            </c:spPr>
          </c:dPt>
          <c:dPt>
            <c:idx val="979"/>
            <c:spPr>
              <a:solidFill>
                <a:srgbClr val="AEABAB"/>
              </a:solidFill>
            </c:spPr>
          </c:dPt>
          <c:dPt>
            <c:idx val="980"/>
            <c:spPr>
              <a:solidFill>
                <a:srgbClr val="AEABAB"/>
              </a:solidFill>
            </c:spPr>
          </c:dPt>
          <c:dPt>
            <c:idx val="981"/>
            <c:spPr>
              <a:solidFill>
                <a:srgbClr val="AEABAB"/>
              </a:solidFill>
            </c:spPr>
          </c:dPt>
          <c:dPt>
            <c:idx val="982"/>
            <c:spPr>
              <a:solidFill>
                <a:srgbClr val="AEABAB"/>
              </a:solidFill>
            </c:spPr>
          </c:dPt>
          <c:dPt>
            <c:idx val="983"/>
            <c:spPr>
              <a:solidFill>
                <a:srgbClr val="AEABAB"/>
              </a:solidFill>
            </c:spPr>
          </c:dPt>
          <c:dPt>
            <c:idx val="984"/>
            <c:spPr>
              <a:solidFill>
                <a:srgbClr val="AEABAB"/>
              </a:solidFill>
            </c:spPr>
          </c:dPt>
          <c:dPt>
            <c:idx val="985"/>
            <c:spPr>
              <a:solidFill>
                <a:srgbClr val="AEABAB"/>
              </a:solidFill>
            </c:spPr>
          </c:dPt>
          <c:dPt>
            <c:idx val="986"/>
            <c:spPr>
              <a:solidFill>
                <a:srgbClr val="AEABAB"/>
              </a:solidFill>
            </c:spPr>
          </c:dPt>
          <c:dPt>
            <c:idx val="987"/>
            <c:spPr>
              <a:solidFill>
                <a:srgbClr val="AEABAB"/>
              </a:solidFill>
            </c:spPr>
          </c:dPt>
          <c:dPt>
            <c:idx val="988"/>
            <c:spPr>
              <a:solidFill>
                <a:srgbClr val="AEABAB"/>
              </a:solidFill>
            </c:spPr>
          </c:dPt>
          <c:dPt>
            <c:idx val="989"/>
            <c:spPr>
              <a:solidFill>
                <a:srgbClr val="AEABAB"/>
              </a:solidFill>
            </c:spPr>
          </c:dPt>
          <c:dPt>
            <c:idx val="990"/>
            <c:spPr>
              <a:solidFill>
                <a:srgbClr val="AEABAB"/>
              </a:solidFill>
            </c:spPr>
          </c:dPt>
          <c:dPt>
            <c:idx val="991"/>
            <c:spPr>
              <a:solidFill>
                <a:srgbClr val="AEABAB"/>
              </a:solidFill>
            </c:spPr>
          </c:dPt>
          <c:dPt>
            <c:idx val="992"/>
            <c:spPr>
              <a:solidFill>
                <a:srgbClr val="AEABAB"/>
              </a:solidFill>
            </c:spPr>
          </c:dPt>
          <c:dPt>
            <c:idx val="993"/>
            <c:spPr>
              <a:solidFill>
                <a:srgbClr val="AEABAB"/>
              </a:solidFill>
            </c:spPr>
          </c:dPt>
          <c:dPt>
            <c:idx val="994"/>
            <c:spPr>
              <a:solidFill>
                <a:srgbClr val="AEABAB"/>
              </a:solidFill>
            </c:spPr>
          </c:dPt>
          <c:dPt>
            <c:idx val="995"/>
            <c:spPr>
              <a:solidFill>
                <a:srgbClr val="AEABAB"/>
              </a:solidFill>
            </c:spPr>
          </c:dPt>
          <c:dPt>
            <c:idx val="996"/>
            <c:spPr>
              <a:solidFill>
                <a:srgbClr val="AEABAB"/>
              </a:solidFill>
            </c:spPr>
          </c:dPt>
          <c:dPt>
            <c:idx val="997"/>
            <c:spPr>
              <a:solidFill>
                <a:srgbClr val="AEABAB"/>
              </a:solidFill>
            </c:spPr>
          </c:dPt>
          <c:dPt>
            <c:idx val="998"/>
            <c:spPr>
              <a:solidFill>
                <a:srgbClr val="AEABAB"/>
              </a:solidFill>
            </c:spPr>
          </c:dPt>
          <c:dPt>
            <c:idx val="999"/>
            <c:spPr>
              <a:solidFill>
                <a:srgbClr val="AEABAB"/>
              </a:solidFill>
            </c:spPr>
          </c:dPt>
          <c:dPt>
            <c:idx val="1000"/>
            <c:spPr>
              <a:solidFill>
                <a:srgbClr val="AEABAB"/>
              </a:solidFill>
            </c:spPr>
          </c:dPt>
          <c:dPt>
            <c:idx val="1001"/>
            <c:spPr>
              <a:solidFill>
                <a:srgbClr val="AEABAB"/>
              </a:solidFill>
            </c:spPr>
          </c:dPt>
          <c:dPt>
            <c:idx val="1002"/>
            <c:spPr>
              <a:solidFill>
                <a:srgbClr val="AEABAB"/>
              </a:solidFill>
            </c:spPr>
          </c:dPt>
          <c:dPt>
            <c:idx val="1003"/>
            <c:spPr>
              <a:solidFill>
                <a:srgbClr val="AEABAB"/>
              </a:solidFill>
            </c:spPr>
          </c:dPt>
          <c:dPt>
            <c:idx val="1004"/>
            <c:spPr>
              <a:solidFill>
                <a:srgbClr val="AEABAB"/>
              </a:solidFill>
            </c:spPr>
          </c:dPt>
          <c:dPt>
            <c:idx val="1005"/>
            <c:spPr>
              <a:solidFill>
                <a:srgbClr val="AEABAB"/>
              </a:solidFill>
            </c:spPr>
          </c:dPt>
          <c:dPt>
            <c:idx val="1006"/>
            <c:spPr>
              <a:solidFill>
                <a:srgbClr val="AEABAB"/>
              </a:solidFill>
            </c:spPr>
          </c:dPt>
          <c:dPt>
            <c:idx val="1007"/>
            <c:spPr>
              <a:solidFill>
                <a:srgbClr val="AEABAB"/>
              </a:solidFill>
            </c:spPr>
          </c:dPt>
          <c:dPt>
            <c:idx val="1008"/>
            <c:spPr>
              <a:solidFill>
                <a:srgbClr val="AEABAB"/>
              </a:solidFill>
            </c:spPr>
          </c:dPt>
          <c:dPt>
            <c:idx val="1009"/>
            <c:spPr>
              <a:solidFill>
                <a:srgbClr val="AEABAB"/>
              </a:solidFill>
            </c:spPr>
          </c:dPt>
          <c:dPt>
            <c:idx val="1010"/>
            <c:spPr>
              <a:solidFill>
                <a:srgbClr val="AEABAB"/>
              </a:solidFill>
            </c:spPr>
          </c:dPt>
          <c:dPt>
            <c:idx val="1011"/>
            <c:spPr>
              <a:solidFill>
                <a:srgbClr val="AEABAB"/>
              </a:solidFill>
            </c:spPr>
          </c:dPt>
          <c:dPt>
            <c:idx val="1012"/>
            <c:spPr>
              <a:solidFill>
                <a:srgbClr val="AEABAB"/>
              </a:solidFill>
            </c:spPr>
          </c:dPt>
          <c:dPt>
            <c:idx val="1013"/>
            <c:spPr>
              <a:solidFill>
                <a:srgbClr val="AEABAB"/>
              </a:solidFill>
            </c:spPr>
          </c:dPt>
          <c:dPt>
            <c:idx val="1014"/>
            <c:spPr>
              <a:solidFill>
                <a:srgbClr val="AEABAB"/>
              </a:solidFill>
            </c:spPr>
          </c:dPt>
          <c:dPt>
            <c:idx val="1015"/>
            <c:spPr>
              <a:solidFill>
                <a:srgbClr val="AEABAB"/>
              </a:solidFill>
            </c:spPr>
          </c:dPt>
          <c:dPt>
            <c:idx val="1016"/>
            <c:spPr>
              <a:solidFill>
                <a:srgbClr val="AEABAB"/>
              </a:solidFill>
            </c:spPr>
          </c:dPt>
          <c:dPt>
            <c:idx val="1017"/>
            <c:spPr>
              <a:solidFill>
                <a:srgbClr val="AEABAB"/>
              </a:solidFill>
            </c:spPr>
          </c:dPt>
          <c:dPt>
            <c:idx val="1018"/>
            <c:spPr>
              <a:solidFill>
                <a:srgbClr val="AEABAB"/>
              </a:solidFill>
            </c:spPr>
          </c:dPt>
          <c:dPt>
            <c:idx val="1019"/>
            <c:spPr>
              <a:solidFill>
                <a:srgbClr val="AEABAB"/>
              </a:solidFill>
            </c:spPr>
          </c:dPt>
          <c:dPt>
            <c:idx val="1020"/>
            <c:spPr>
              <a:solidFill>
                <a:srgbClr val="AEABAB"/>
              </a:solidFill>
            </c:spPr>
          </c:dPt>
          <c:dPt>
            <c:idx val="1021"/>
            <c:spPr>
              <a:solidFill>
                <a:srgbClr val="AEABAB"/>
              </a:solidFill>
            </c:spPr>
          </c:dPt>
          <c:dPt>
            <c:idx val="1022"/>
            <c:spPr>
              <a:solidFill>
                <a:srgbClr val="AEABAB"/>
              </a:solidFill>
            </c:spPr>
          </c:dPt>
          <c:dPt>
            <c:idx val="1023"/>
            <c:spPr>
              <a:solidFill>
                <a:srgbClr val="AEABAB"/>
              </a:solidFill>
            </c:spPr>
          </c:dPt>
          <c:dPt>
            <c:idx val="1024"/>
            <c:spPr>
              <a:solidFill>
                <a:srgbClr val="AEABAB"/>
              </a:solidFill>
            </c:spPr>
          </c:dPt>
          <c:dPt>
            <c:idx val="1025"/>
            <c:spPr>
              <a:solidFill>
                <a:srgbClr val="AEABAB"/>
              </a:solidFill>
            </c:spPr>
          </c:dPt>
          <c:dPt>
            <c:idx val="1026"/>
            <c:spPr>
              <a:solidFill>
                <a:srgbClr val="AEABAB"/>
              </a:solidFill>
            </c:spPr>
          </c:dPt>
          <c:dPt>
            <c:idx val="1027"/>
            <c:spPr>
              <a:solidFill>
                <a:srgbClr val="AEABAB"/>
              </a:solidFill>
            </c:spPr>
          </c:dPt>
          <c:dPt>
            <c:idx val="1028"/>
            <c:spPr>
              <a:solidFill>
                <a:srgbClr val="AEABAB"/>
              </a:solidFill>
            </c:spPr>
          </c:dPt>
          <c:dPt>
            <c:idx val="1029"/>
            <c:spPr>
              <a:solidFill>
                <a:srgbClr val="AEABAB"/>
              </a:solidFill>
            </c:spPr>
          </c:dPt>
          <c:dPt>
            <c:idx val="1030"/>
            <c:spPr>
              <a:solidFill>
                <a:srgbClr val="AEABAB"/>
              </a:solidFill>
            </c:spPr>
          </c:dPt>
          <c:dPt>
            <c:idx val="1031"/>
            <c:spPr>
              <a:solidFill>
                <a:srgbClr val="AEABAB"/>
              </a:solidFill>
            </c:spPr>
          </c:dPt>
          <c:dPt>
            <c:idx val="1032"/>
            <c:spPr>
              <a:solidFill>
                <a:srgbClr val="AEABAB"/>
              </a:solidFill>
            </c:spPr>
          </c:dPt>
          <c:dPt>
            <c:idx val="1033"/>
            <c:spPr>
              <a:solidFill>
                <a:srgbClr val="AEABAB"/>
              </a:solidFill>
            </c:spPr>
          </c:dPt>
          <c:dPt>
            <c:idx val="1034"/>
            <c:spPr>
              <a:solidFill>
                <a:srgbClr val="AEABAB"/>
              </a:solidFill>
            </c:spPr>
          </c:dPt>
          <c:dPt>
            <c:idx val="1035"/>
            <c:spPr>
              <a:solidFill>
                <a:srgbClr val="AEABAB"/>
              </a:solidFill>
            </c:spPr>
          </c:dPt>
          <c:dPt>
            <c:idx val="1036"/>
            <c:spPr>
              <a:solidFill>
                <a:srgbClr val="AEABAB"/>
              </a:solidFill>
            </c:spPr>
          </c:dPt>
          <c:dPt>
            <c:idx val="1037"/>
            <c:spPr>
              <a:solidFill>
                <a:srgbClr val="AEABAB"/>
              </a:solidFill>
            </c:spPr>
          </c:dPt>
          <c:dPt>
            <c:idx val="1038"/>
            <c:spPr>
              <a:solidFill>
                <a:srgbClr val="AEABAB"/>
              </a:solidFill>
            </c:spPr>
          </c:dPt>
          <c:dPt>
            <c:idx val="1039"/>
            <c:spPr>
              <a:solidFill>
                <a:srgbClr val="AEABAB"/>
              </a:solidFill>
            </c:spPr>
          </c:dPt>
          <c:dPt>
            <c:idx val="1040"/>
            <c:spPr>
              <a:solidFill>
                <a:srgbClr val="AEABAB"/>
              </a:solidFill>
            </c:spPr>
          </c:dPt>
          <c:dPt>
            <c:idx val="1041"/>
            <c:spPr>
              <a:solidFill>
                <a:srgbClr val="AEABAB"/>
              </a:solidFill>
            </c:spPr>
          </c:dPt>
          <c:dPt>
            <c:idx val="1042"/>
            <c:spPr>
              <a:solidFill>
                <a:srgbClr val="AEABAB"/>
              </a:solidFill>
            </c:spPr>
          </c:dPt>
          <c:dPt>
            <c:idx val="1043"/>
            <c:spPr>
              <a:solidFill>
                <a:srgbClr val="AEABAB"/>
              </a:solidFill>
            </c:spPr>
          </c:dPt>
          <c:dPt>
            <c:idx val="1044"/>
            <c:spPr>
              <a:solidFill>
                <a:srgbClr val="AEABAB"/>
              </a:solidFill>
            </c:spPr>
          </c:dPt>
          <c:dPt>
            <c:idx val="1045"/>
            <c:spPr>
              <a:solidFill>
                <a:srgbClr val="AEABAB"/>
              </a:solidFill>
            </c:spPr>
          </c:dPt>
          <c:dPt>
            <c:idx val="1046"/>
            <c:spPr>
              <a:solidFill>
                <a:srgbClr val="AEABAB"/>
              </a:solidFill>
            </c:spPr>
          </c:dPt>
          <c:dPt>
            <c:idx val="1047"/>
            <c:spPr>
              <a:solidFill>
                <a:srgbClr val="AEABAB"/>
              </a:solidFill>
            </c:spPr>
          </c:dPt>
          <c:dPt>
            <c:idx val="1048"/>
            <c:spPr>
              <a:solidFill>
                <a:srgbClr val="AEABAB"/>
              </a:solidFill>
            </c:spPr>
          </c:dPt>
          <c:dPt>
            <c:idx val="1049"/>
            <c:spPr>
              <a:solidFill>
                <a:srgbClr val="AEABAB"/>
              </a:solidFill>
            </c:spPr>
          </c:dPt>
          <c:dPt>
            <c:idx val="1050"/>
            <c:spPr>
              <a:solidFill>
                <a:srgbClr val="AEABAB"/>
              </a:solidFill>
            </c:spPr>
          </c:dPt>
          <c:dPt>
            <c:idx val="1051"/>
            <c:spPr>
              <a:solidFill>
                <a:srgbClr val="AEABAB"/>
              </a:solidFill>
            </c:spPr>
          </c:dPt>
          <c:dPt>
            <c:idx val="1052"/>
            <c:spPr>
              <a:solidFill>
                <a:srgbClr val="AEABAB"/>
              </a:solidFill>
            </c:spPr>
          </c:dPt>
          <c:dPt>
            <c:idx val="1053"/>
            <c:spPr>
              <a:solidFill>
                <a:srgbClr val="AEABAB"/>
              </a:solidFill>
            </c:spPr>
          </c:dPt>
          <c:dPt>
            <c:idx val="1054"/>
            <c:spPr>
              <a:solidFill>
                <a:srgbClr val="AEABAB"/>
              </a:solidFill>
            </c:spPr>
          </c:dPt>
          <c:dPt>
            <c:idx val="1055"/>
            <c:spPr>
              <a:solidFill>
                <a:srgbClr val="AEABAB"/>
              </a:solidFill>
            </c:spPr>
          </c:dPt>
          <c:dPt>
            <c:idx val="1056"/>
            <c:spPr>
              <a:solidFill>
                <a:srgbClr val="AEABAB"/>
              </a:solidFill>
            </c:spPr>
          </c:dPt>
          <c:dPt>
            <c:idx val="1057"/>
            <c:spPr>
              <a:solidFill>
                <a:srgbClr val="AEABAB"/>
              </a:solidFill>
            </c:spPr>
          </c:dPt>
          <c:dPt>
            <c:idx val="1058"/>
            <c:spPr>
              <a:solidFill>
                <a:srgbClr val="AEABAB"/>
              </a:solidFill>
            </c:spPr>
          </c:dPt>
          <c:dPt>
            <c:idx val="1059"/>
            <c:spPr>
              <a:solidFill>
                <a:srgbClr val="AEABAB"/>
              </a:solidFill>
            </c:spPr>
          </c:dPt>
          <c:dPt>
            <c:idx val="1060"/>
            <c:spPr>
              <a:solidFill>
                <a:srgbClr val="AEABAB"/>
              </a:solidFill>
            </c:spPr>
          </c:dPt>
          <c:dPt>
            <c:idx val="1061"/>
            <c:spPr>
              <a:solidFill>
                <a:srgbClr val="AEABAB"/>
              </a:solidFill>
            </c:spPr>
          </c:dPt>
          <c:dPt>
            <c:idx val="1062"/>
            <c:spPr>
              <a:solidFill>
                <a:srgbClr val="AEABAB"/>
              </a:solidFill>
            </c:spPr>
          </c:dPt>
          <c:dPt>
            <c:idx val="1063"/>
            <c:spPr>
              <a:solidFill>
                <a:srgbClr val="AEABAB"/>
              </a:solidFill>
            </c:spPr>
          </c:dPt>
          <c:dPt>
            <c:idx val="1064"/>
            <c:spPr>
              <a:solidFill>
                <a:srgbClr val="AEABAB"/>
              </a:solidFill>
            </c:spPr>
          </c:dPt>
          <c:dPt>
            <c:idx val="1065"/>
            <c:spPr>
              <a:solidFill>
                <a:srgbClr val="AEABAB"/>
              </a:solidFill>
            </c:spPr>
          </c:dPt>
          <c:dPt>
            <c:idx val="1066"/>
            <c:spPr>
              <a:solidFill>
                <a:srgbClr val="AEABAB"/>
              </a:solidFill>
            </c:spPr>
          </c:dPt>
          <c:dPt>
            <c:idx val="1067"/>
            <c:spPr>
              <a:solidFill>
                <a:srgbClr val="AEABAB"/>
              </a:solidFill>
            </c:spPr>
          </c:dPt>
          <c:dPt>
            <c:idx val="1068"/>
            <c:spPr>
              <a:solidFill>
                <a:srgbClr val="AEABAB"/>
              </a:solidFill>
            </c:spPr>
          </c:dPt>
          <c:dPt>
            <c:idx val="1069"/>
            <c:spPr>
              <a:solidFill>
                <a:srgbClr val="AEABAB"/>
              </a:solidFill>
            </c:spPr>
          </c:dPt>
          <c:dPt>
            <c:idx val="1070"/>
            <c:spPr>
              <a:solidFill>
                <a:srgbClr val="AEABAB"/>
              </a:solidFill>
            </c:spPr>
          </c:dPt>
          <c:dPt>
            <c:idx val="1071"/>
            <c:spPr>
              <a:solidFill>
                <a:srgbClr val="AEABAB"/>
              </a:solidFill>
            </c:spPr>
          </c:dPt>
          <c:dPt>
            <c:idx val="1072"/>
            <c:spPr>
              <a:solidFill>
                <a:srgbClr val="AEABAB"/>
              </a:solidFill>
            </c:spPr>
          </c:dPt>
          <c:dPt>
            <c:idx val="1073"/>
            <c:spPr>
              <a:solidFill>
                <a:srgbClr val="AEABAB"/>
              </a:solidFill>
            </c:spPr>
          </c:dPt>
          <c:dPt>
            <c:idx val="1074"/>
            <c:spPr>
              <a:solidFill>
                <a:srgbClr val="AEABAB"/>
              </a:solidFill>
            </c:spPr>
          </c:dPt>
          <c:dPt>
            <c:idx val="1075"/>
            <c:spPr>
              <a:solidFill>
                <a:srgbClr val="AEABAB"/>
              </a:solidFill>
            </c:spPr>
          </c:dPt>
          <c:dPt>
            <c:idx val="1076"/>
            <c:spPr>
              <a:solidFill>
                <a:srgbClr val="AEABAB"/>
              </a:solidFill>
            </c:spPr>
          </c:dPt>
          <c:dPt>
            <c:idx val="1077"/>
            <c:spPr>
              <a:solidFill>
                <a:srgbClr val="AEABAB"/>
              </a:solidFill>
            </c:spPr>
          </c:dPt>
          <c:dPt>
            <c:idx val="1078"/>
            <c:spPr>
              <a:solidFill>
                <a:srgbClr val="AEABAB"/>
              </a:solidFill>
            </c:spPr>
          </c:dPt>
          <c:dPt>
            <c:idx val="1079"/>
            <c:spPr>
              <a:solidFill>
                <a:srgbClr val="AEABAB"/>
              </a:solidFill>
            </c:spPr>
          </c:dPt>
          <c:dPt>
            <c:idx val="1080"/>
            <c:spPr>
              <a:solidFill>
                <a:srgbClr val="AEABAB"/>
              </a:solidFill>
            </c:spPr>
          </c:dPt>
          <c:dPt>
            <c:idx val="1081"/>
            <c:spPr>
              <a:solidFill>
                <a:srgbClr val="AEABAB"/>
              </a:solidFill>
            </c:spPr>
          </c:dPt>
          <c:dPt>
            <c:idx val="1082"/>
            <c:spPr>
              <a:solidFill>
                <a:srgbClr val="AEABAB"/>
              </a:solidFill>
            </c:spPr>
          </c:dPt>
          <c:dPt>
            <c:idx val="1083"/>
            <c:spPr>
              <a:solidFill>
                <a:srgbClr val="AEABAB"/>
              </a:solidFill>
            </c:spPr>
          </c:dPt>
          <c:dPt>
            <c:idx val="1084"/>
            <c:spPr>
              <a:solidFill>
                <a:srgbClr val="AEABAB"/>
              </a:solidFill>
            </c:spPr>
          </c:dPt>
          <c:dPt>
            <c:idx val="1085"/>
            <c:spPr>
              <a:solidFill>
                <a:srgbClr val="AEABAB"/>
              </a:solidFill>
            </c:spPr>
          </c:dPt>
          <c:dPt>
            <c:idx val="1086"/>
            <c:spPr>
              <a:solidFill>
                <a:srgbClr val="AEABAB"/>
              </a:solidFill>
            </c:spPr>
          </c:dPt>
          <c:dPt>
            <c:idx val="1087"/>
            <c:spPr>
              <a:solidFill>
                <a:srgbClr val="AEABAB"/>
              </a:solidFill>
            </c:spPr>
          </c:dPt>
          <c:dPt>
            <c:idx val="1088"/>
            <c:spPr>
              <a:solidFill>
                <a:srgbClr val="AEABAB"/>
              </a:solidFill>
            </c:spPr>
          </c:dPt>
          <c:dPt>
            <c:idx val="1089"/>
            <c:spPr>
              <a:solidFill>
                <a:srgbClr val="AEABAB"/>
              </a:solidFill>
            </c:spPr>
          </c:dPt>
          <c:dPt>
            <c:idx val="1090"/>
            <c:spPr>
              <a:solidFill>
                <a:srgbClr val="AEABAB"/>
              </a:solidFill>
            </c:spPr>
          </c:dPt>
          <c:dPt>
            <c:idx val="1091"/>
            <c:spPr>
              <a:solidFill>
                <a:srgbClr val="AEABAB"/>
              </a:solidFill>
            </c:spPr>
          </c:dPt>
          <c:dPt>
            <c:idx val="1092"/>
            <c:spPr>
              <a:solidFill>
                <a:srgbClr val="AEABAB"/>
              </a:solidFill>
            </c:spPr>
          </c:dPt>
          <c:dPt>
            <c:idx val="1093"/>
            <c:spPr>
              <a:solidFill>
                <a:srgbClr val="AEABAB"/>
              </a:solidFill>
            </c:spPr>
          </c:dPt>
          <c:dPt>
            <c:idx val="1094"/>
            <c:spPr>
              <a:solidFill>
                <a:srgbClr val="AEABAB"/>
              </a:solidFill>
            </c:spPr>
          </c:dPt>
          <c:dPt>
            <c:idx val="1095"/>
            <c:spPr>
              <a:solidFill>
                <a:srgbClr val="AEABAB"/>
              </a:solidFill>
            </c:spPr>
          </c:dPt>
          <c:dPt>
            <c:idx val="1096"/>
            <c:spPr>
              <a:solidFill>
                <a:srgbClr val="AEABAB"/>
              </a:solidFill>
            </c:spPr>
          </c:dPt>
          <c:dPt>
            <c:idx val="1097"/>
            <c:spPr>
              <a:solidFill>
                <a:srgbClr val="AEABAB"/>
              </a:solidFill>
            </c:spPr>
          </c:dPt>
          <c:dPt>
            <c:idx val="1098"/>
            <c:spPr>
              <a:solidFill>
                <a:srgbClr val="AEABAB"/>
              </a:solidFill>
            </c:spPr>
          </c:dPt>
          <c:dPt>
            <c:idx val="1099"/>
            <c:spPr>
              <a:solidFill>
                <a:srgbClr val="AEABAB"/>
              </a:solidFill>
            </c:spPr>
          </c:dPt>
          <c:dPt>
            <c:idx val="1100"/>
            <c:spPr>
              <a:solidFill>
                <a:srgbClr val="AEABAB"/>
              </a:solidFill>
            </c:spPr>
          </c:dPt>
          <c:dPt>
            <c:idx val="1101"/>
            <c:spPr>
              <a:solidFill>
                <a:srgbClr val="AEABAB"/>
              </a:solidFill>
            </c:spPr>
          </c:dPt>
          <c:dPt>
            <c:idx val="1102"/>
            <c:spPr>
              <a:solidFill>
                <a:srgbClr val="AEABAB"/>
              </a:solidFill>
            </c:spPr>
          </c:dPt>
          <c:dPt>
            <c:idx val="1103"/>
            <c:spPr>
              <a:solidFill>
                <a:srgbClr val="AEABAB"/>
              </a:solidFill>
            </c:spPr>
          </c:dPt>
          <c:dPt>
            <c:idx val="1104"/>
            <c:spPr>
              <a:solidFill>
                <a:srgbClr val="AEABAB"/>
              </a:solidFill>
            </c:spPr>
          </c:dPt>
          <c:dPt>
            <c:idx val="1105"/>
            <c:spPr>
              <a:solidFill>
                <a:srgbClr val="AEABAB"/>
              </a:solidFill>
            </c:spPr>
          </c:dPt>
          <c:dPt>
            <c:idx val="1106"/>
            <c:spPr>
              <a:solidFill>
                <a:srgbClr val="AEABAB"/>
              </a:solidFill>
            </c:spPr>
          </c:dPt>
          <c:dPt>
            <c:idx val="1107"/>
            <c:spPr>
              <a:solidFill>
                <a:srgbClr val="AEABAB"/>
              </a:solidFill>
            </c:spPr>
          </c:dPt>
          <c:dPt>
            <c:idx val="1108"/>
            <c:spPr>
              <a:solidFill>
                <a:srgbClr val="AEABAB"/>
              </a:solidFill>
            </c:spPr>
          </c:dPt>
          <c:dPt>
            <c:idx val="1109"/>
            <c:spPr>
              <a:solidFill>
                <a:srgbClr val="AEABAB"/>
              </a:solidFill>
            </c:spPr>
          </c:dPt>
          <c:dPt>
            <c:idx val="1110"/>
            <c:spPr>
              <a:solidFill>
                <a:srgbClr val="AEABAB"/>
              </a:solidFill>
            </c:spPr>
          </c:dPt>
          <c:dPt>
            <c:idx val="1111"/>
            <c:spPr>
              <a:solidFill>
                <a:srgbClr val="AEABAB"/>
              </a:solidFill>
            </c:spPr>
          </c:dPt>
          <c:dPt>
            <c:idx val="1112"/>
            <c:spPr>
              <a:solidFill>
                <a:srgbClr val="AEABAB"/>
              </a:solidFill>
            </c:spPr>
          </c:dPt>
          <c:dPt>
            <c:idx val="1113"/>
            <c:spPr>
              <a:solidFill>
                <a:srgbClr val="AEABAB"/>
              </a:solidFill>
            </c:spPr>
          </c:dPt>
          <c:dPt>
            <c:idx val="1114"/>
            <c:spPr>
              <a:solidFill>
                <a:srgbClr val="AEABAB"/>
              </a:solidFill>
            </c:spPr>
          </c:dPt>
          <c:dPt>
            <c:idx val="1115"/>
            <c:spPr>
              <a:solidFill>
                <a:srgbClr val="AEABAB"/>
              </a:solidFill>
            </c:spPr>
          </c:dPt>
          <c:dPt>
            <c:idx val="1116"/>
            <c:spPr>
              <a:solidFill>
                <a:srgbClr val="AEABAB"/>
              </a:solidFill>
            </c:spPr>
          </c:dPt>
          <c:dPt>
            <c:idx val="1117"/>
            <c:spPr>
              <a:solidFill>
                <a:srgbClr val="AEABAB"/>
              </a:solidFill>
            </c:spPr>
          </c:dPt>
          <c:dPt>
            <c:idx val="1118"/>
            <c:spPr>
              <a:solidFill>
                <a:srgbClr val="AEABAB"/>
              </a:solidFill>
            </c:spPr>
          </c:dPt>
          <c:dPt>
            <c:idx val="1119"/>
            <c:spPr>
              <a:solidFill>
                <a:srgbClr val="AEABAB"/>
              </a:solidFill>
            </c:spPr>
          </c:dPt>
          <c:dPt>
            <c:idx val="1120"/>
            <c:spPr>
              <a:solidFill>
                <a:srgbClr val="AEABAB"/>
              </a:solidFill>
            </c:spPr>
          </c:dPt>
          <c:dPt>
            <c:idx val="1121"/>
            <c:spPr>
              <a:solidFill>
                <a:srgbClr val="AEABAB"/>
              </a:solidFill>
            </c:spPr>
          </c:dPt>
          <c:dPt>
            <c:idx val="1122"/>
            <c:spPr>
              <a:solidFill>
                <a:srgbClr val="AEABAB"/>
              </a:solidFill>
            </c:spPr>
          </c:dPt>
          <c:dPt>
            <c:idx val="1123"/>
            <c:spPr>
              <a:solidFill>
                <a:srgbClr val="AEABAB"/>
              </a:solidFill>
            </c:spPr>
          </c:dPt>
          <c:dPt>
            <c:idx val="1124"/>
            <c:spPr>
              <a:solidFill>
                <a:srgbClr val="AEABAB"/>
              </a:solidFill>
            </c:spPr>
          </c:dPt>
          <c:dPt>
            <c:idx val="1125"/>
            <c:spPr>
              <a:solidFill>
                <a:srgbClr val="AEABAB"/>
              </a:solidFill>
            </c:spPr>
          </c:dPt>
          <c:dPt>
            <c:idx val="1126"/>
            <c:spPr>
              <a:solidFill>
                <a:srgbClr val="AEABAB"/>
              </a:solidFill>
            </c:spPr>
          </c:dPt>
          <c:dPt>
            <c:idx val="1127"/>
            <c:spPr>
              <a:solidFill>
                <a:srgbClr val="AEABAB"/>
              </a:solidFill>
            </c:spPr>
          </c:dPt>
          <c:dPt>
            <c:idx val="1128"/>
            <c:spPr>
              <a:solidFill>
                <a:srgbClr val="AEABAB"/>
              </a:solidFill>
            </c:spPr>
          </c:dPt>
          <c:dPt>
            <c:idx val="1129"/>
            <c:spPr>
              <a:solidFill>
                <a:srgbClr val="AEABAB"/>
              </a:solidFill>
            </c:spPr>
          </c:dPt>
          <c:dPt>
            <c:idx val="1130"/>
            <c:spPr>
              <a:solidFill>
                <a:srgbClr val="AEABAB"/>
              </a:solidFill>
            </c:spPr>
          </c:dPt>
          <c:dPt>
            <c:idx val="1131"/>
            <c:spPr>
              <a:solidFill>
                <a:srgbClr val="AEABAB"/>
              </a:solidFill>
            </c:spPr>
          </c:dPt>
          <c:dPt>
            <c:idx val="1132"/>
            <c:spPr>
              <a:solidFill>
                <a:srgbClr val="AEABAB"/>
              </a:solidFill>
            </c:spPr>
          </c:dPt>
          <c:dPt>
            <c:idx val="1133"/>
            <c:spPr>
              <a:solidFill>
                <a:srgbClr val="AEABAB"/>
              </a:solidFill>
            </c:spPr>
          </c:dPt>
          <c:dPt>
            <c:idx val="1134"/>
            <c:spPr>
              <a:solidFill>
                <a:srgbClr val="AEABAB"/>
              </a:solidFill>
            </c:spPr>
          </c:dPt>
          <c:dPt>
            <c:idx val="1135"/>
            <c:spPr>
              <a:solidFill>
                <a:srgbClr val="AEABAB"/>
              </a:solidFill>
            </c:spPr>
          </c:dPt>
          <c:dPt>
            <c:idx val="1136"/>
            <c:spPr>
              <a:solidFill>
                <a:srgbClr val="AEABAB"/>
              </a:solidFill>
            </c:spPr>
          </c:dPt>
          <c:dPt>
            <c:idx val="1137"/>
            <c:spPr>
              <a:solidFill>
                <a:srgbClr val="AEABAB"/>
              </a:solidFill>
            </c:spPr>
          </c:dPt>
          <c:dPt>
            <c:idx val="1138"/>
            <c:spPr>
              <a:solidFill>
                <a:srgbClr val="AEABAB"/>
              </a:solidFill>
            </c:spPr>
          </c:dPt>
          <c:dPt>
            <c:idx val="1139"/>
            <c:spPr>
              <a:solidFill>
                <a:srgbClr val="AEABAB"/>
              </a:solidFill>
            </c:spPr>
          </c:dPt>
          <c:dPt>
            <c:idx val="1140"/>
            <c:spPr>
              <a:solidFill>
                <a:srgbClr val="AEABAB"/>
              </a:solidFill>
            </c:spPr>
          </c:dPt>
          <c:dPt>
            <c:idx val="1141"/>
            <c:spPr>
              <a:solidFill>
                <a:srgbClr val="AEABAB"/>
              </a:solidFill>
            </c:spPr>
          </c:dPt>
          <c:dPt>
            <c:idx val="1142"/>
            <c:spPr>
              <a:solidFill>
                <a:srgbClr val="AEABAB"/>
              </a:solidFill>
            </c:spPr>
          </c:dPt>
          <c:dPt>
            <c:idx val="1143"/>
            <c:spPr>
              <a:solidFill>
                <a:srgbClr val="AEABAB"/>
              </a:solidFill>
            </c:spPr>
          </c:dPt>
          <c:dPt>
            <c:idx val="1144"/>
            <c:spPr>
              <a:solidFill>
                <a:srgbClr val="AEABAB"/>
              </a:solidFill>
            </c:spPr>
          </c:dPt>
          <c:dPt>
            <c:idx val="1145"/>
            <c:spPr>
              <a:solidFill>
                <a:srgbClr val="AEABAB"/>
              </a:solidFill>
            </c:spPr>
          </c:dPt>
          <c:dPt>
            <c:idx val="1146"/>
            <c:spPr>
              <a:solidFill>
                <a:srgbClr val="AEABAB"/>
              </a:solidFill>
            </c:spPr>
          </c:dPt>
          <c:dPt>
            <c:idx val="1147"/>
            <c:spPr>
              <a:solidFill>
                <a:srgbClr val="AEABAB"/>
              </a:solidFill>
            </c:spPr>
          </c:dPt>
          <c:dPt>
            <c:idx val="1148"/>
            <c:spPr>
              <a:solidFill>
                <a:srgbClr val="AEABAB"/>
              </a:solidFill>
            </c:spPr>
          </c:dPt>
          <c:dPt>
            <c:idx val="1149"/>
            <c:spPr>
              <a:solidFill>
                <a:srgbClr val="AEABAB"/>
              </a:solidFill>
            </c:spPr>
          </c:dPt>
          <c:dPt>
            <c:idx val="1150"/>
            <c:spPr>
              <a:solidFill>
                <a:srgbClr val="AEABAB"/>
              </a:solidFill>
            </c:spPr>
          </c:dPt>
          <c:dPt>
            <c:idx val="1151"/>
            <c:spPr>
              <a:solidFill>
                <a:srgbClr val="AEABAB"/>
              </a:solidFill>
            </c:spPr>
          </c:dPt>
          <c:dPt>
            <c:idx val="1152"/>
            <c:spPr>
              <a:solidFill>
                <a:srgbClr val="AEABAB"/>
              </a:solidFill>
            </c:spPr>
          </c:dPt>
          <c:dPt>
            <c:idx val="1153"/>
            <c:spPr>
              <a:solidFill>
                <a:srgbClr val="AEABAB"/>
              </a:solidFill>
            </c:spPr>
          </c:dPt>
          <c:dPt>
            <c:idx val="1154"/>
            <c:spPr>
              <a:solidFill>
                <a:srgbClr val="AEABAB"/>
              </a:solidFill>
            </c:spPr>
          </c:dPt>
          <c:dPt>
            <c:idx val="1155"/>
            <c:spPr>
              <a:solidFill>
                <a:srgbClr val="AEABAB"/>
              </a:solidFill>
            </c:spPr>
          </c:dPt>
          <c:dPt>
            <c:idx val="1156"/>
            <c:spPr>
              <a:solidFill>
                <a:srgbClr val="AEABAB"/>
              </a:solidFill>
            </c:spPr>
          </c:dPt>
          <c:dPt>
            <c:idx val="1157"/>
            <c:spPr>
              <a:solidFill>
                <a:srgbClr val="AEABAB"/>
              </a:solidFill>
            </c:spPr>
          </c:dPt>
          <c:dPt>
            <c:idx val="1158"/>
            <c:spPr>
              <a:solidFill>
                <a:srgbClr val="AEABAB"/>
              </a:solidFill>
            </c:spPr>
          </c:dPt>
          <c:dPt>
            <c:idx val="1159"/>
            <c:spPr>
              <a:solidFill>
                <a:srgbClr val="AEABAB"/>
              </a:solidFill>
            </c:spPr>
          </c:dPt>
          <c:dPt>
            <c:idx val="1160"/>
            <c:spPr>
              <a:solidFill>
                <a:srgbClr val="AEABAB"/>
              </a:solidFill>
            </c:spPr>
          </c:dPt>
          <c:dPt>
            <c:idx val="1161"/>
            <c:spPr>
              <a:solidFill>
                <a:srgbClr val="AEABAB"/>
              </a:solidFill>
            </c:spPr>
          </c:dPt>
          <c:dPt>
            <c:idx val="1162"/>
            <c:spPr>
              <a:solidFill>
                <a:srgbClr val="AEABAB"/>
              </a:solidFill>
            </c:spPr>
          </c:dPt>
          <c:dPt>
            <c:idx val="1163"/>
            <c:spPr>
              <a:solidFill>
                <a:srgbClr val="AEABAB"/>
              </a:solidFill>
            </c:spPr>
          </c:dPt>
          <c:dPt>
            <c:idx val="1164"/>
            <c:spPr>
              <a:solidFill>
                <a:srgbClr val="AEABAB"/>
              </a:solidFill>
            </c:spPr>
          </c:dPt>
          <c:dPt>
            <c:idx val="1165"/>
            <c:spPr>
              <a:solidFill>
                <a:srgbClr val="AEABAB"/>
              </a:solidFill>
            </c:spPr>
          </c:dPt>
          <c:dPt>
            <c:idx val="1166"/>
            <c:spPr>
              <a:solidFill>
                <a:srgbClr val="AEABAB"/>
              </a:solidFill>
            </c:spPr>
          </c:dPt>
          <c:dPt>
            <c:idx val="1167"/>
            <c:spPr>
              <a:solidFill>
                <a:srgbClr val="AEABAB"/>
              </a:solidFill>
            </c:spPr>
          </c:dPt>
          <c:dPt>
            <c:idx val="1168"/>
            <c:spPr>
              <a:solidFill>
                <a:srgbClr val="AEABAB"/>
              </a:solidFill>
            </c:spPr>
          </c:dPt>
          <c:dPt>
            <c:idx val="1169"/>
            <c:spPr>
              <a:solidFill>
                <a:srgbClr val="AEABAB"/>
              </a:solidFill>
            </c:spPr>
          </c:dPt>
          <c:dPt>
            <c:idx val="1170"/>
            <c:spPr>
              <a:solidFill>
                <a:srgbClr val="AEABAB"/>
              </a:solidFill>
            </c:spPr>
          </c:dPt>
          <c:dPt>
            <c:idx val="1171"/>
            <c:spPr>
              <a:solidFill>
                <a:srgbClr val="AEABAB"/>
              </a:solidFill>
            </c:spPr>
          </c:dPt>
          <c:dPt>
            <c:idx val="1172"/>
            <c:spPr>
              <a:solidFill>
                <a:srgbClr val="AEABAB"/>
              </a:solidFill>
            </c:spPr>
          </c:dPt>
          <c:dPt>
            <c:idx val="1173"/>
            <c:spPr>
              <a:solidFill>
                <a:srgbClr val="AEABAB"/>
              </a:solidFill>
            </c:spPr>
          </c:dPt>
          <c:dPt>
            <c:idx val="1174"/>
            <c:spPr>
              <a:solidFill>
                <a:srgbClr val="AEABAB"/>
              </a:solidFill>
            </c:spPr>
          </c:dPt>
          <c:dPt>
            <c:idx val="1175"/>
            <c:spPr>
              <a:solidFill>
                <a:srgbClr val="AEABAB"/>
              </a:solidFill>
            </c:spPr>
          </c:dPt>
          <c:dPt>
            <c:idx val="1176"/>
            <c:spPr>
              <a:solidFill>
                <a:srgbClr val="AEABAB"/>
              </a:solidFill>
            </c:spPr>
          </c:dPt>
          <c:dPt>
            <c:idx val="1177"/>
            <c:spPr>
              <a:solidFill>
                <a:srgbClr val="AEABAB"/>
              </a:solidFill>
            </c:spPr>
          </c:dPt>
          <c:dPt>
            <c:idx val="1178"/>
            <c:spPr>
              <a:solidFill>
                <a:srgbClr val="AEABAB"/>
              </a:solidFill>
            </c:spPr>
          </c:dPt>
          <c:dPt>
            <c:idx val="1179"/>
            <c:spPr>
              <a:solidFill>
                <a:srgbClr val="AEABAB"/>
              </a:solidFill>
            </c:spPr>
          </c:dPt>
          <c:dPt>
            <c:idx val="1180"/>
            <c:spPr>
              <a:solidFill>
                <a:srgbClr val="AEABAB"/>
              </a:solidFill>
            </c:spPr>
          </c:dPt>
          <c:dPt>
            <c:idx val="1181"/>
            <c:spPr>
              <a:solidFill>
                <a:srgbClr val="AEABAB"/>
              </a:solidFill>
            </c:spPr>
          </c:dPt>
          <c:dPt>
            <c:idx val="1182"/>
            <c:spPr>
              <a:solidFill>
                <a:srgbClr val="AEABAB"/>
              </a:solidFill>
            </c:spPr>
          </c:dPt>
          <c:dPt>
            <c:idx val="1183"/>
            <c:spPr>
              <a:solidFill>
                <a:srgbClr val="AEABAB"/>
              </a:solidFill>
            </c:spPr>
          </c:dPt>
          <c:dPt>
            <c:idx val="1184"/>
            <c:spPr>
              <a:solidFill>
                <a:srgbClr val="AEABAB"/>
              </a:solidFill>
            </c:spPr>
          </c:dPt>
          <c:dPt>
            <c:idx val="1185"/>
            <c:spPr>
              <a:solidFill>
                <a:srgbClr val="AEABAB"/>
              </a:solidFill>
            </c:spPr>
          </c:dPt>
          <c:dPt>
            <c:idx val="1186"/>
            <c:spPr>
              <a:solidFill>
                <a:srgbClr val="AEABAB"/>
              </a:solidFill>
            </c:spPr>
          </c:dPt>
          <c:dPt>
            <c:idx val="1187"/>
            <c:spPr>
              <a:solidFill>
                <a:srgbClr val="AEABAB"/>
              </a:solidFill>
            </c:spPr>
          </c:dPt>
          <c:dPt>
            <c:idx val="1188"/>
            <c:spPr>
              <a:solidFill>
                <a:srgbClr val="AEABAB"/>
              </a:solidFill>
            </c:spPr>
          </c:dPt>
          <c:dPt>
            <c:idx val="1189"/>
            <c:spPr>
              <a:solidFill>
                <a:srgbClr val="AEABAB"/>
              </a:solidFill>
            </c:spPr>
          </c:dPt>
          <c:dPt>
            <c:idx val="1190"/>
            <c:spPr>
              <a:solidFill>
                <a:srgbClr val="AEABAB"/>
              </a:solidFill>
            </c:spPr>
          </c:dPt>
          <c:dPt>
            <c:idx val="1191"/>
            <c:spPr>
              <a:solidFill>
                <a:srgbClr val="AEABAB"/>
              </a:solidFill>
            </c:spPr>
          </c:dPt>
          <c:dPt>
            <c:idx val="1192"/>
            <c:spPr>
              <a:solidFill>
                <a:srgbClr val="AEABAB"/>
              </a:solidFill>
            </c:spPr>
          </c:dPt>
          <c:dPt>
            <c:idx val="1193"/>
            <c:spPr>
              <a:solidFill>
                <a:srgbClr val="AEABAB"/>
              </a:solidFill>
            </c:spPr>
          </c:dPt>
          <c:dPt>
            <c:idx val="1194"/>
            <c:spPr>
              <a:solidFill>
                <a:srgbClr val="AEABAB"/>
              </a:solidFill>
            </c:spPr>
          </c:dPt>
          <c:dPt>
            <c:idx val="1195"/>
            <c:spPr>
              <a:solidFill>
                <a:srgbClr val="AEABAB"/>
              </a:solidFill>
            </c:spPr>
          </c:dPt>
          <c:dPt>
            <c:idx val="1196"/>
            <c:spPr>
              <a:solidFill>
                <a:srgbClr val="AEABAB"/>
              </a:solidFill>
            </c:spPr>
          </c:dPt>
          <c:dPt>
            <c:idx val="1197"/>
            <c:spPr>
              <a:solidFill>
                <a:srgbClr val="AEABAB"/>
              </a:solidFill>
            </c:spPr>
          </c:dPt>
          <c:dPt>
            <c:idx val="1198"/>
            <c:spPr>
              <a:solidFill>
                <a:srgbClr val="AEABAB"/>
              </a:solidFill>
            </c:spPr>
          </c:dPt>
          <c:dPt>
            <c:idx val="1199"/>
            <c:spPr>
              <a:solidFill>
                <a:srgbClr val="AEABAB"/>
              </a:solidFill>
            </c:spPr>
          </c:dPt>
          <c:dPt>
            <c:idx val="1200"/>
            <c:spPr>
              <a:solidFill>
                <a:srgbClr val="AEABAB"/>
              </a:solidFill>
            </c:spPr>
          </c:dPt>
          <c:dPt>
            <c:idx val="1201"/>
            <c:spPr>
              <a:solidFill>
                <a:srgbClr val="AEABAB"/>
              </a:solidFill>
            </c:spPr>
          </c:dPt>
          <c:dPt>
            <c:idx val="1202"/>
            <c:spPr>
              <a:solidFill>
                <a:srgbClr val="AEABAB"/>
              </a:solidFill>
            </c:spPr>
          </c:dPt>
          <c:dPt>
            <c:idx val="1203"/>
            <c:spPr>
              <a:solidFill>
                <a:srgbClr val="AEABAB"/>
              </a:solidFill>
            </c:spPr>
          </c:dPt>
          <c:dPt>
            <c:idx val="1204"/>
            <c:spPr>
              <a:solidFill>
                <a:srgbClr val="AEABAB"/>
              </a:solidFill>
            </c:spPr>
          </c:dPt>
          <c:dPt>
            <c:idx val="1205"/>
            <c:spPr>
              <a:solidFill>
                <a:srgbClr val="AEABAB"/>
              </a:solidFill>
            </c:spPr>
          </c:dPt>
          <c:dPt>
            <c:idx val="1206"/>
            <c:spPr>
              <a:solidFill>
                <a:srgbClr val="AEABAB"/>
              </a:solidFill>
            </c:spPr>
          </c:dPt>
          <c:dPt>
            <c:idx val="1207"/>
            <c:spPr>
              <a:solidFill>
                <a:srgbClr val="AEABAB"/>
              </a:solidFill>
            </c:spPr>
          </c:dPt>
          <c:dPt>
            <c:idx val="1208"/>
            <c:spPr>
              <a:solidFill>
                <a:srgbClr val="AEABAB"/>
              </a:solidFill>
            </c:spPr>
          </c:dPt>
          <c:dPt>
            <c:idx val="1209"/>
            <c:spPr>
              <a:solidFill>
                <a:srgbClr val="AEABAB"/>
              </a:solidFill>
            </c:spPr>
          </c:dPt>
          <c:dPt>
            <c:idx val="1210"/>
            <c:spPr>
              <a:solidFill>
                <a:srgbClr val="AEABAB"/>
              </a:solidFill>
            </c:spPr>
          </c:dPt>
          <c:dPt>
            <c:idx val="1211"/>
            <c:spPr>
              <a:solidFill>
                <a:srgbClr val="AEABAB"/>
              </a:solidFill>
            </c:spPr>
          </c:dPt>
          <c:dPt>
            <c:idx val="1212"/>
            <c:spPr>
              <a:solidFill>
                <a:srgbClr val="AEABAB"/>
              </a:solidFill>
            </c:spPr>
          </c:dPt>
          <c:dPt>
            <c:idx val="1213"/>
            <c:spPr>
              <a:solidFill>
                <a:srgbClr val="AEABAB"/>
              </a:solidFill>
            </c:spPr>
          </c:dPt>
          <c:dPt>
            <c:idx val="1214"/>
            <c:spPr>
              <a:solidFill>
                <a:srgbClr val="AEABAB"/>
              </a:solidFill>
            </c:spPr>
          </c:dPt>
          <c:dPt>
            <c:idx val="1215"/>
            <c:spPr>
              <a:solidFill>
                <a:srgbClr val="AEABAB"/>
              </a:solidFill>
            </c:spPr>
          </c:dPt>
          <c:dPt>
            <c:idx val="1216"/>
            <c:spPr>
              <a:solidFill>
                <a:srgbClr val="AEABAB"/>
              </a:solidFill>
            </c:spPr>
          </c:dPt>
          <c:dPt>
            <c:idx val="1217"/>
            <c:spPr>
              <a:solidFill>
                <a:srgbClr val="AEABAB"/>
              </a:solidFill>
            </c:spPr>
          </c:dPt>
          <c:dPt>
            <c:idx val="1218"/>
            <c:spPr>
              <a:solidFill>
                <a:srgbClr val="AEABAB"/>
              </a:solidFill>
            </c:spPr>
          </c:dPt>
          <c:dPt>
            <c:idx val="1219"/>
            <c:spPr>
              <a:solidFill>
                <a:srgbClr val="AEABAB"/>
              </a:solidFill>
            </c:spPr>
          </c:dPt>
          <c:dPt>
            <c:idx val="1220"/>
            <c:spPr>
              <a:solidFill>
                <a:srgbClr val="AEABAB"/>
              </a:solidFill>
            </c:spPr>
          </c:dPt>
          <c:dPt>
            <c:idx val="1221"/>
            <c:spPr>
              <a:solidFill>
                <a:srgbClr val="AEABAB"/>
              </a:solidFill>
            </c:spPr>
          </c:dPt>
          <c:dPt>
            <c:idx val="1222"/>
            <c:spPr>
              <a:solidFill>
                <a:srgbClr val="AEABAB"/>
              </a:solidFill>
            </c:spPr>
          </c:dPt>
          <c:dPt>
            <c:idx val="1223"/>
            <c:spPr>
              <a:solidFill>
                <a:srgbClr val="AEABAB"/>
              </a:solidFill>
            </c:spPr>
          </c:dPt>
          <c:dPt>
            <c:idx val="1224"/>
            <c:spPr>
              <a:solidFill>
                <a:srgbClr val="AEABAB"/>
              </a:solidFill>
            </c:spPr>
          </c:dPt>
          <c:dPt>
            <c:idx val="1225"/>
            <c:spPr>
              <a:solidFill>
                <a:srgbClr val="AEABAB"/>
              </a:solidFill>
            </c:spPr>
          </c:dPt>
          <c:dPt>
            <c:idx val="1226"/>
            <c:spPr>
              <a:solidFill>
                <a:srgbClr val="AEABAB"/>
              </a:solidFill>
            </c:spPr>
          </c:dPt>
          <c:dPt>
            <c:idx val="1227"/>
            <c:spPr>
              <a:solidFill>
                <a:srgbClr val="AEABAB"/>
              </a:solidFill>
            </c:spPr>
          </c:dPt>
          <c:dPt>
            <c:idx val="1228"/>
            <c:spPr>
              <a:solidFill>
                <a:srgbClr val="AEABAB"/>
              </a:solidFill>
            </c:spPr>
          </c:dPt>
          <c:dPt>
            <c:idx val="1229"/>
            <c:spPr>
              <a:solidFill>
                <a:srgbClr val="AEABAB"/>
              </a:solidFill>
            </c:spPr>
          </c:dPt>
          <c:dPt>
            <c:idx val="1230"/>
            <c:spPr>
              <a:solidFill>
                <a:srgbClr val="AEABAB"/>
              </a:solidFill>
            </c:spPr>
          </c:dPt>
          <c:dPt>
            <c:idx val="1231"/>
            <c:spPr>
              <a:solidFill>
                <a:srgbClr val="AEABAB"/>
              </a:solidFill>
            </c:spPr>
          </c:dPt>
          <c:dPt>
            <c:idx val="1232"/>
            <c:spPr>
              <a:solidFill>
                <a:srgbClr val="AEABAB"/>
              </a:solidFill>
            </c:spPr>
          </c:dPt>
          <c:dPt>
            <c:idx val="1233"/>
            <c:spPr>
              <a:solidFill>
                <a:srgbClr val="AEABAB"/>
              </a:solidFill>
            </c:spPr>
          </c:dPt>
          <c:dPt>
            <c:idx val="1234"/>
            <c:spPr>
              <a:solidFill>
                <a:srgbClr val="AEABAB"/>
              </a:solidFill>
            </c:spPr>
          </c:dPt>
          <c:dPt>
            <c:idx val="1235"/>
            <c:spPr>
              <a:solidFill>
                <a:srgbClr val="AEABAB"/>
              </a:solidFill>
            </c:spPr>
          </c:dPt>
          <c:dPt>
            <c:idx val="1236"/>
            <c:spPr>
              <a:solidFill>
                <a:srgbClr val="AEABAB"/>
              </a:solidFill>
            </c:spPr>
          </c:dPt>
          <c:dPt>
            <c:idx val="1237"/>
            <c:spPr>
              <a:solidFill>
                <a:srgbClr val="AEABAB"/>
              </a:solidFill>
            </c:spPr>
          </c:dPt>
          <c:dPt>
            <c:idx val="1238"/>
            <c:spPr>
              <a:solidFill>
                <a:srgbClr val="AEABAB"/>
              </a:solidFill>
            </c:spPr>
          </c:dPt>
          <c:dPt>
            <c:idx val="1239"/>
            <c:spPr>
              <a:solidFill>
                <a:srgbClr val="AEABAB"/>
              </a:solidFill>
            </c:spPr>
          </c:dPt>
          <c:dPt>
            <c:idx val="1240"/>
            <c:spPr>
              <a:solidFill>
                <a:srgbClr val="AEABAB"/>
              </a:solidFill>
            </c:spPr>
          </c:dPt>
          <c:dPt>
            <c:idx val="1241"/>
            <c:spPr>
              <a:solidFill>
                <a:srgbClr val="AEABAB"/>
              </a:solidFill>
            </c:spPr>
          </c:dPt>
          <c:dPt>
            <c:idx val="1242"/>
            <c:spPr>
              <a:solidFill>
                <a:srgbClr val="AEABAB"/>
              </a:solidFill>
            </c:spPr>
          </c:dPt>
          <c:dPt>
            <c:idx val="1243"/>
            <c:spPr>
              <a:solidFill>
                <a:srgbClr val="AEABAB"/>
              </a:solidFill>
            </c:spPr>
          </c:dPt>
          <c:dPt>
            <c:idx val="1244"/>
            <c:spPr>
              <a:solidFill>
                <a:srgbClr val="AEABAB"/>
              </a:solidFill>
            </c:spPr>
          </c:dPt>
          <c:dPt>
            <c:idx val="1245"/>
            <c:spPr>
              <a:solidFill>
                <a:srgbClr val="AEABAB"/>
              </a:solidFill>
            </c:spPr>
          </c:dPt>
          <c:dPt>
            <c:idx val="1246"/>
            <c:spPr>
              <a:solidFill>
                <a:srgbClr val="AEABAB"/>
              </a:solidFill>
            </c:spPr>
          </c:dPt>
          <c:dPt>
            <c:idx val="1247"/>
            <c:spPr>
              <a:solidFill>
                <a:srgbClr val="AEABAB"/>
              </a:solidFill>
            </c:spPr>
          </c:dPt>
          <c:dPt>
            <c:idx val="1248"/>
            <c:spPr>
              <a:solidFill>
                <a:srgbClr val="AEABAB"/>
              </a:solidFill>
            </c:spPr>
          </c:dPt>
          <c:dPt>
            <c:idx val="1249"/>
            <c:spPr>
              <a:solidFill>
                <a:srgbClr val="AEABAB"/>
              </a:solidFill>
            </c:spPr>
          </c:dPt>
          <c:dPt>
            <c:idx val="1250"/>
            <c:spPr>
              <a:solidFill>
                <a:srgbClr val="AEABAB"/>
              </a:solidFill>
            </c:spPr>
          </c:dPt>
          <c:dPt>
            <c:idx val="1251"/>
            <c:spPr>
              <a:solidFill>
                <a:srgbClr val="AEABAB"/>
              </a:solidFill>
            </c:spPr>
          </c:dPt>
          <c:dPt>
            <c:idx val="1252"/>
            <c:spPr>
              <a:solidFill>
                <a:srgbClr val="AEABAB"/>
              </a:solidFill>
            </c:spPr>
          </c:dPt>
          <c:dPt>
            <c:idx val="1253"/>
            <c:spPr>
              <a:solidFill>
                <a:srgbClr val="AEABAB"/>
              </a:solidFill>
            </c:spPr>
          </c:dPt>
          <c:dPt>
            <c:idx val="1254"/>
            <c:spPr>
              <a:solidFill>
                <a:srgbClr val="AEABAB"/>
              </a:solidFill>
            </c:spPr>
          </c:dPt>
          <c:dPt>
            <c:idx val="1255"/>
            <c:spPr>
              <a:solidFill>
                <a:srgbClr val="AEABAB"/>
              </a:solidFill>
            </c:spPr>
          </c:dPt>
          <c:dPt>
            <c:idx val="1256"/>
            <c:spPr>
              <a:solidFill>
                <a:srgbClr val="AEABAB"/>
              </a:solidFill>
            </c:spPr>
          </c:dPt>
          <c:dPt>
            <c:idx val="1257"/>
            <c:spPr>
              <a:solidFill>
                <a:srgbClr val="AEABAB"/>
              </a:solidFill>
            </c:spPr>
          </c:dPt>
          <c:dPt>
            <c:idx val="1258"/>
            <c:spPr>
              <a:solidFill>
                <a:srgbClr val="AEABAB"/>
              </a:solidFill>
            </c:spPr>
          </c:dPt>
          <c:dPt>
            <c:idx val="1259"/>
            <c:spPr>
              <a:solidFill>
                <a:srgbClr val="AEABAB"/>
              </a:solidFill>
            </c:spPr>
          </c:dPt>
          <c:dPt>
            <c:idx val="1260"/>
            <c:spPr>
              <a:solidFill>
                <a:srgbClr val="AEABAB"/>
              </a:solidFill>
            </c:spPr>
          </c:dPt>
          <c:dPt>
            <c:idx val="1261"/>
            <c:spPr>
              <a:solidFill>
                <a:srgbClr val="AEABAB"/>
              </a:solidFill>
            </c:spPr>
          </c:dPt>
          <c:dPt>
            <c:idx val="1262"/>
            <c:spPr>
              <a:solidFill>
                <a:srgbClr val="AEABAB"/>
              </a:solidFill>
            </c:spPr>
          </c:dPt>
          <c:dPt>
            <c:idx val="1263"/>
            <c:spPr>
              <a:solidFill>
                <a:srgbClr val="AEABAB"/>
              </a:solidFill>
            </c:spPr>
          </c:dPt>
          <c:dPt>
            <c:idx val="1264"/>
            <c:spPr>
              <a:solidFill>
                <a:srgbClr val="AEABAB"/>
              </a:solidFill>
            </c:spPr>
          </c:dPt>
          <c:dPt>
            <c:idx val="1265"/>
            <c:spPr>
              <a:solidFill>
                <a:srgbClr val="AEABAB"/>
              </a:solidFill>
            </c:spPr>
          </c:dPt>
          <c:dPt>
            <c:idx val="1266"/>
            <c:spPr>
              <a:solidFill>
                <a:srgbClr val="AEABAB"/>
              </a:solidFill>
            </c:spPr>
          </c:dPt>
          <c:dPt>
            <c:idx val="1267"/>
            <c:spPr>
              <a:solidFill>
                <a:srgbClr val="AEABAB"/>
              </a:solidFill>
            </c:spPr>
          </c:dPt>
          <c:dPt>
            <c:idx val="1268"/>
            <c:spPr>
              <a:solidFill>
                <a:srgbClr val="AEABAB"/>
              </a:solidFill>
            </c:spPr>
          </c:dPt>
          <c:dPt>
            <c:idx val="1269"/>
            <c:spPr>
              <a:solidFill>
                <a:srgbClr val="AEABAB"/>
              </a:solidFill>
            </c:spPr>
          </c:dPt>
          <c:dPt>
            <c:idx val="1270"/>
            <c:spPr>
              <a:solidFill>
                <a:srgbClr val="AEABAB"/>
              </a:solidFill>
            </c:spPr>
          </c:dPt>
          <c:dPt>
            <c:idx val="1271"/>
            <c:spPr>
              <a:solidFill>
                <a:srgbClr val="AEABAB"/>
              </a:solidFill>
            </c:spPr>
          </c:dPt>
          <c:dPt>
            <c:idx val="1272"/>
            <c:spPr>
              <a:solidFill>
                <a:srgbClr val="AEABAB"/>
              </a:solidFill>
            </c:spPr>
          </c:dPt>
          <c:dPt>
            <c:idx val="1273"/>
            <c:spPr>
              <a:solidFill>
                <a:srgbClr val="AEABAB"/>
              </a:solidFill>
            </c:spPr>
          </c:dPt>
          <c:dPt>
            <c:idx val="1274"/>
            <c:spPr>
              <a:solidFill>
                <a:srgbClr val="AEABAB"/>
              </a:solidFill>
            </c:spPr>
          </c:dPt>
          <c:dPt>
            <c:idx val="1275"/>
            <c:spPr>
              <a:solidFill>
                <a:srgbClr val="AEABAB"/>
              </a:solidFill>
            </c:spPr>
          </c:dPt>
          <c:dPt>
            <c:idx val="1276"/>
            <c:spPr>
              <a:solidFill>
                <a:srgbClr val="AEABAB"/>
              </a:solidFill>
            </c:spPr>
          </c:dPt>
          <c:dPt>
            <c:idx val="1277"/>
            <c:spPr>
              <a:solidFill>
                <a:srgbClr val="AEABAB"/>
              </a:solidFill>
            </c:spPr>
          </c:dPt>
          <c:dPt>
            <c:idx val="1278"/>
            <c:spPr>
              <a:solidFill>
                <a:srgbClr val="AEABAB"/>
              </a:solidFill>
            </c:spPr>
          </c:dPt>
          <c:dPt>
            <c:idx val="1279"/>
            <c:spPr>
              <a:solidFill>
                <a:srgbClr val="AEABAB"/>
              </a:solidFill>
            </c:spPr>
          </c:dPt>
          <c:dPt>
            <c:idx val="1280"/>
            <c:spPr>
              <a:solidFill>
                <a:srgbClr val="AEABAB"/>
              </a:solidFill>
            </c:spPr>
          </c:dPt>
          <c:dPt>
            <c:idx val="1281"/>
            <c:spPr>
              <a:solidFill>
                <a:srgbClr val="AEABAB"/>
              </a:solidFill>
            </c:spPr>
          </c:dPt>
          <c:dPt>
            <c:idx val="1282"/>
            <c:spPr>
              <a:solidFill>
                <a:srgbClr val="AEABAB"/>
              </a:solidFill>
            </c:spPr>
          </c:dPt>
          <c:dPt>
            <c:idx val="1283"/>
            <c:spPr>
              <a:solidFill>
                <a:srgbClr val="AEABAB"/>
              </a:solidFill>
            </c:spPr>
          </c:dPt>
          <c:dPt>
            <c:idx val="1284"/>
            <c:spPr>
              <a:solidFill>
                <a:srgbClr val="AEABAB"/>
              </a:solidFill>
            </c:spPr>
          </c:dPt>
          <c:dPt>
            <c:idx val="1285"/>
            <c:spPr>
              <a:solidFill>
                <a:srgbClr val="AEABAB"/>
              </a:solidFill>
            </c:spPr>
          </c:dPt>
          <c:dPt>
            <c:idx val="1286"/>
            <c:spPr>
              <a:solidFill>
                <a:srgbClr val="AEABAB"/>
              </a:solidFill>
            </c:spPr>
          </c:dPt>
          <c:dPt>
            <c:idx val="1287"/>
            <c:spPr>
              <a:solidFill>
                <a:srgbClr val="AEABAB"/>
              </a:solidFill>
            </c:spPr>
          </c:dPt>
          <c:dPt>
            <c:idx val="1288"/>
            <c:spPr>
              <a:solidFill>
                <a:srgbClr val="AEABAB"/>
              </a:solidFill>
            </c:spPr>
          </c:dPt>
          <c:dPt>
            <c:idx val="1289"/>
            <c:spPr>
              <a:solidFill>
                <a:srgbClr val="AEABAB"/>
              </a:solidFill>
            </c:spPr>
          </c:dPt>
          <c:dPt>
            <c:idx val="1290"/>
            <c:spPr>
              <a:solidFill>
                <a:srgbClr val="AEABAB"/>
              </a:solidFill>
            </c:spPr>
          </c:dPt>
          <c:dPt>
            <c:idx val="1291"/>
            <c:spPr>
              <a:solidFill>
                <a:srgbClr val="AEABAB"/>
              </a:solidFill>
            </c:spPr>
          </c:dPt>
          <c:dPt>
            <c:idx val="1292"/>
            <c:spPr>
              <a:solidFill>
                <a:srgbClr val="AEABAB"/>
              </a:solidFill>
            </c:spPr>
          </c:dPt>
          <c:dPt>
            <c:idx val="1293"/>
            <c:spPr>
              <a:solidFill>
                <a:srgbClr val="AEABAB"/>
              </a:solidFill>
            </c:spPr>
          </c:dPt>
          <c:dPt>
            <c:idx val="1294"/>
            <c:spPr>
              <a:solidFill>
                <a:srgbClr val="AEABAB"/>
              </a:solidFill>
            </c:spPr>
          </c:dPt>
          <c:dPt>
            <c:idx val="1295"/>
            <c:spPr>
              <a:solidFill>
                <a:srgbClr val="AEABAB"/>
              </a:solidFill>
            </c:spPr>
          </c:dPt>
          <c:dPt>
            <c:idx val="1296"/>
            <c:spPr>
              <a:solidFill>
                <a:srgbClr val="AEABAB"/>
              </a:solidFill>
            </c:spPr>
          </c:dPt>
          <c:dPt>
            <c:idx val="1297"/>
            <c:spPr>
              <a:solidFill>
                <a:srgbClr val="AEABAB"/>
              </a:solidFill>
            </c:spPr>
          </c:dPt>
          <c:dPt>
            <c:idx val="1298"/>
            <c:spPr>
              <a:solidFill>
                <a:srgbClr val="AEABAB"/>
              </a:solidFill>
            </c:spPr>
          </c:dPt>
          <c:dPt>
            <c:idx val="1299"/>
            <c:spPr>
              <a:solidFill>
                <a:srgbClr val="AEABAB"/>
              </a:solidFill>
            </c:spPr>
          </c:dPt>
          <c:dPt>
            <c:idx val="1300"/>
            <c:spPr>
              <a:solidFill>
                <a:srgbClr val="AEABAB"/>
              </a:solidFill>
            </c:spPr>
          </c:dPt>
          <c:dPt>
            <c:idx val="1301"/>
            <c:spPr>
              <a:solidFill>
                <a:srgbClr val="AEABAB"/>
              </a:solidFill>
            </c:spPr>
          </c:dPt>
          <c:dPt>
            <c:idx val="1302"/>
            <c:spPr>
              <a:solidFill>
                <a:srgbClr val="AEABAB"/>
              </a:solidFill>
            </c:spPr>
          </c:dPt>
          <c:dPt>
            <c:idx val="1303"/>
            <c:spPr>
              <a:solidFill>
                <a:srgbClr val="AEABAB"/>
              </a:solidFill>
            </c:spPr>
          </c:dPt>
          <c:dPt>
            <c:idx val="1304"/>
            <c:spPr>
              <a:solidFill>
                <a:srgbClr val="AEABAB"/>
              </a:solidFill>
            </c:spPr>
          </c:dPt>
          <c:dPt>
            <c:idx val="1305"/>
            <c:spPr>
              <a:solidFill>
                <a:srgbClr val="AEABAB"/>
              </a:solidFill>
            </c:spPr>
          </c:dPt>
          <c:dPt>
            <c:idx val="1306"/>
            <c:spPr>
              <a:solidFill>
                <a:srgbClr val="AEABAB"/>
              </a:solidFill>
            </c:spPr>
          </c:dPt>
          <c:dPt>
            <c:idx val="1307"/>
            <c:spPr>
              <a:solidFill>
                <a:srgbClr val="AEABAB"/>
              </a:solidFill>
            </c:spPr>
          </c:dPt>
          <c:dPt>
            <c:idx val="1308"/>
            <c:spPr>
              <a:solidFill>
                <a:srgbClr val="AEABAB"/>
              </a:solidFill>
            </c:spPr>
          </c:dPt>
          <c:dPt>
            <c:idx val="1309"/>
            <c:spPr>
              <a:solidFill>
                <a:srgbClr val="AEABAB"/>
              </a:solidFill>
            </c:spPr>
          </c:dPt>
          <c:dPt>
            <c:idx val="1310"/>
            <c:spPr>
              <a:solidFill>
                <a:srgbClr val="AEABAB"/>
              </a:solidFill>
            </c:spPr>
          </c:dPt>
          <c:dPt>
            <c:idx val="1311"/>
            <c:spPr>
              <a:solidFill>
                <a:srgbClr val="AEABAB"/>
              </a:solidFill>
            </c:spPr>
          </c:dPt>
          <c:dPt>
            <c:idx val="1312"/>
            <c:spPr>
              <a:solidFill>
                <a:srgbClr val="AEABAB"/>
              </a:solidFill>
            </c:spPr>
          </c:dPt>
          <c:dPt>
            <c:idx val="1313"/>
            <c:spPr>
              <a:solidFill>
                <a:srgbClr val="AEABAB"/>
              </a:solidFill>
            </c:spPr>
          </c:dPt>
          <c:dPt>
            <c:idx val="1314"/>
            <c:spPr>
              <a:solidFill>
                <a:srgbClr val="AEABAB"/>
              </a:solidFill>
            </c:spPr>
          </c:dPt>
          <c:dPt>
            <c:idx val="1315"/>
            <c:spPr>
              <a:solidFill>
                <a:srgbClr val="AEABAB"/>
              </a:solidFill>
            </c:spPr>
          </c:dPt>
          <c:dPt>
            <c:idx val="1316"/>
            <c:spPr>
              <a:solidFill>
                <a:srgbClr val="AEABAB"/>
              </a:solidFill>
            </c:spPr>
          </c:dPt>
          <c:dPt>
            <c:idx val="1317"/>
            <c:spPr>
              <a:solidFill>
                <a:srgbClr val="AEABAB"/>
              </a:solidFill>
            </c:spPr>
          </c:dPt>
          <c:dPt>
            <c:idx val="1318"/>
            <c:spPr>
              <a:solidFill>
                <a:srgbClr val="AEABAB"/>
              </a:solidFill>
            </c:spPr>
          </c:dPt>
          <c:dPt>
            <c:idx val="1319"/>
            <c:spPr>
              <a:solidFill>
                <a:srgbClr val="AEABAB"/>
              </a:solidFill>
            </c:spPr>
          </c:dPt>
          <c:dPt>
            <c:idx val="1320"/>
            <c:spPr>
              <a:solidFill>
                <a:srgbClr val="AEABAB"/>
              </a:solidFill>
            </c:spPr>
          </c:dPt>
          <c:dPt>
            <c:idx val="1321"/>
            <c:spPr>
              <a:solidFill>
                <a:srgbClr val="AEABAB"/>
              </a:solidFill>
            </c:spPr>
          </c:dPt>
          <c:dPt>
            <c:idx val="1322"/>
            <c:spPr>
              <a:solidFill>
                <a:srgbClr val="AEABAB"/>
              </a:solidFill>
            </c:spPr>
          </c:dPt>
          <c:dPt>
            <c:idx val="1323"/>
            <c:spPr>
              <a:solidFill>
                <a:srgbClr val="AEABAB"/>
              </a:solidFill>
            </c:spPr>
          </c:dPt>
          <c:dPt>
            <c:idx val="1324"/>
            <c:spPr>
              <a:solidFill>
                <a:srgbClr val="AEABAB"/>
              </a:solidFill>
            </c:spPr>
          </c:dPt>
          <c:dPt>
            <c:idx val="1325"/>
            <c:spPr>
              <a:solidFill>
                <a:srgbClr val="AEABAB"/>
              </a:solidFill>
            </c:spPr>
          </c:dPt>
          <c:dPt>
            <c:idx val="1326"/>
            <c:spPr>
              <a:solidFill>
                <a:srgbClr val="AEABAB"/>
              </a:solidFill>
            </c:spPr>
          </c:dPt>
          <c:dPt>
            <c:idx val="1327"/>
            <c:spPr>
              <a:solidFill>
                <a:srgbClr val="AEABAB"/>
              </a:solidFill>
            </c:spPr>
          </c:dPt>
          <c:dPt>
            <c:idx val="1328"/>
            <c:spPr>
              <a:solidFill>
                <a:srgbClr val="AEABAB"/>
              </a:solidFill>
            </c:spPr>
          </c:dPt>
          <c:dPt>
            <c:idx val="1329"/>
            <c:spPr>
              <a:solidFill>
                <a:srgbClr val="AEABAB"/>
              </a:solidFill>
            </c:spPr>
          </c:dPt>
          <c:dPt>
            <c:idx val="1330"/>
            <c:spPr>
              <a:solidFill>
                <a:srgbClr val="AEABAB"/>
              </a:solidFill>
            </c:spPr>
          </c:dPt>
          <c:dPt>
            <c:idx val="1331"/>
            <c:spPr>
              <a:solidFill>
                <a:srgbClr val="AEABAB"/>
              </a:solidFill>
            </c:spPr>
          </c:dPt>
          <c:dPt>
            <c:idx val="1332"/>
            <c:spPr>
              <a:solidFill>
                <a:srgbClr val="AEABAB"/>
              </a:solidFill>
            </c:spPr>
          </c:dPt>
          <c:dPt>
            <c:idx val="1333"/>
            <c:spPr>
              <a:solidFill>
                <a:srgbClr val="AEABAB"/>
              </a:solidFill>
            </c:spPr>
          </c:dPt>
          <c:dPt>
            <c:idx val="1334"/>
            <c:spPr>
              <a:solidFill>
                <a:srgbClr val="AEABAB"/>
              </a:solidFill>
            </c:spPr>
          </c:dPt>
          <c:dPt>
            <c:idx val="1335"/>
            <c:spPr>
              <a:solidFill>
                <a:srgbClr val="AEABAB"/>
              </a:solidFill>
            </c:spPr>
          </c:dPt>
          <c:dPt>
            <c:idx val="1336"/>
            <c:spPr>
              <a:solidFill>
                <a:srgbClr val="AEABAB"/>
              </a:solidFill>
            </c:spPr>
          </c:dPt>
          <c:dPt>
            <c:idx val="1337"/>
            <c:spPr>
              <a:solidFill>
                <a:srgbClr val="AEABAB"/>
              </a:solidFill>
            </c:spPr>
          </c:dPt>
          <c:dPt>
            <c:idx val="1338"/>
            <c:spPr>
              <a:solidFill>
                <a:srgbClr val="AEABAB"/>
              </a:solidFill>
            </c:spPr>
          </c:dPt>
          <c:dPt>
            <c:idx val="1339"/>
            <c:spPr>
              <a:solidFill>
                <a:srgbClr val="AEABAB"/>
              </a:solidFill>
            </c:spPr>
          </c:dPt>
          <c:dPt>
            <c:idx val="1340"/>
            <c:spPr>
              <a:solidFill>
                <a:srgbClr val="AEABAB"/>
              </a:solidFill>
            </c:spPr>
          </c:dPt>
          <c:dPt>
            <c:idx val="1341"/>
            <c:spPr>
              <a:solidFill>
                <a:srgbClr val="AEABAB"/>
              </a:solidFill>
            </c:spPr>
          </c:dPt>
          <c:dPt>
            <c:idx val="1342"/>
            <c:spPr>
              <a:solidFill>
                <a:srgbClr val="AEABAB"/>
              </a:solidFill>
            </c:spPr>
          </c:dPt>
          <c:dPt>
            <c:idx val="1343"/>
            <c:spPr>
              <a:solidFill>
                <a:srgbClr val="AEABAB"/>
              </a:solidFill>
            </c:spPr>
          </c:dPt>
          <c:dPt>
            <c:idx val="1344"/>
            <c:spPr>
              <a:solidFill>
                <a:srgbClr val="AEABAB"/>
              </a:solidFill>
            </c:spPr>
          </c:dPt>
          <c:dPt>
            <c:idx val="1345"/>
            <c:spPr>
              <a:solidFill>
                <a:srgbClr val="AEABAB"/>
              </a:solidFill>
            </c:spPr>
          </c:dPt>
          <c:dPt>
            <c:idx val="1346"/>
            <c:spPr>
              <a:solidFill>
                <a:srgbClr val="AEABAB"/>
              </a:solidFill>
            </c:spPr>
          </c:dPt>
          <c:dPt>
            <c:idx val="1347"/>
            <c:spPr>
              <a:solidFill>
                <a:srgbClr val="AEABAB"/>
              </a:solidFill>
            </c:spPr>
          </c:dPt>
          <c:dPt>
            <c:idx val="1348"/>
            <c:spPr>
              <a:solidFill>
                <a:srgbClr val="AEABAB"/>
              </a:solidFill>
            </c:spPr>
          </c:dPt>
          <c:dPt>
            <c:idx val="1349"/>
            <c:spPr>
              <a:solidFill>
                <a:srgbClr val="AEABAB"/>
              </a:solidFill>
            </c:spPr>
          </c:dPt>
          <c:dPt>
            <c:idx val="1350"/>
            <c:spPr>
              <a:solidFill>
                <a:srgbClr val="AEABAB"/>
              </a:solidFill>
            </c:spPr>
          </c:dPt>
          <c:dPt>
            <c:idx val="1351"/>
            <c:spPr>
              <a:solidFill>
                <a:srgbClr val="AEABAB"/>
              </a:solidFill>
            </c:spPr>
          </c:dPt>
          <c:dPt>
            <c:idx val="1352"/>
            <c:spPr>
              <a:solidFill>
                <a:srgbClr val="AEABAB"/>
              </a:solidFill>
            </c:spPr>
          </c:dPt>
          <c:dPt>
            <c:idx val="1353"/>
            <c:spPr>
              <a:solidFill>
                <a:srgbClr val="AEABAB"/>
              </a:solidFill>
            </c:spPr>
          </c:dPt>
          <c:dPt>
            <c:idx val="1354"/>
            <c:spPr>
              <a:solidFill>
                <a:srgbClr val="AEABAB"/>
              </a:solidFill>
            </c:spPr>
          </c:dPt>
          <c:dPt>
            <c:idx val="1355"/>
            <c:spPr>
              <a:solidFill>
                <a:srgbClr val="AEABAB"/>
              </a:solidFill>
            </c:spPr>
          </c:dPt>
          <c:dPt>
            <c:idx val="1356"/>
            <c:spPr>
              <a:solidFill>
                <a:srgbClr val="AEABAB"/>
              </a:solidFill>
            </c:spPr>
          </c:dPt>
          <c:dPt>
            <c:idx val="1357"/>
            <c:spPr>
              <a:solidFill>
                <a:srgbClr val="AEABAB"/>
              </a:solidFill>
            </c:spPr>
          </c:dPt>
          <c:dPt>
            <c:idx val="1358"/>
            <c:spPr>
              <a:solidFill>
                <a:srgbClr val="AEABAB"/>
              </a:solidFill>
            </c:spPr>
          </c:dPt>
          <c:dPt>
            <c:idx val="1359"/>
            <c:spPr>
              <a:solidFill>
                <a:srgbClr val="AEABAB"/>
              </a:solidFill>
            </c:spPr>
          </c:dPt>
          <c:dPt>
            <c:idx val="1360"/>
            <c:spPr>
              <a:solidFill>
                <a:srgbClr val="AEABAB"/>
              </a:solidFill>
            </c:spPr>
          </c:dPt>
          <c:dPt>
            <c:idx val="1361"/>
            <c:spPr>
              <a:solidFill>
                <a:srgbClr val="AEABAB"/>
              </a:solidFill>
            </c:spPr>
          </c:dPt>
          <c:dPt>
            <c:idx val="1362"/>
            <c:spPr>
              <a:solidFill>
                <a:srgbClr val="AEABAB"/>
              </a:solidFill>
            </c:spPr>
          </c:dPt>
          <c:dPt>
            <c:idx val="1363"/>
            <c:spPr>
              <a:solidFill>
                <a:srgbClr val="AEABAB"/>
              </a:solidFill>
            </c:spPr>
          </c:dPt>
          <c:dPt>
            <c:idx val="1364"/>
            <c:spPr>
              <a:solidFill>
                <a:srgbClr val="AEABAB"/>
              </a:solidFill>
            </c:spPr>
          </c:dPt>
          <c:dPt>
            <c:idx val="1365"/>
            <c:spPr>
              <a:solidFill>
                <a:srgbClr val="AEABAB"/>
              </a:solidFill>
            </c:spPr>
          </c:dPt>
          <c:dPt>
            <c:idx val="1366"/>
            <c:spPr>
              <a:solidFill>
                <a:srgbClr val="AEABAB"/>
              </a:solidFill>
            </c:spPr>
          </c:dPt>
          <c:dPt>
            <c:idx val="1367"/>
            <c:spPr>
              <a:solidFill>
                <a:srgbClr val="AEABAB"/>
              </a:solidFill>
            </c:spPr>
          </c:dPt>
          <c:dPt>
            <c:idx val="1368"/>
            <c:spPr>
              <a:solidFill>
                <a:srgbClr val="AEABAB"/>
              </a:solidFill>
            </c:spPr>
          </c:dPt>
          <c:dPt>
            <c:idx val="1369"/>
            <c:spPr>
              <a:solidFill>
                <a:srgbClr val="AEABAB"/>
              </a:solidFill>
            </c:spPr>
          </c:dPt>
          <c:dPt>
            <c:idx val="1370"/>
            <c:spPr>
              <a:solidFill>
                <a:srgbClr val="AEABAB"/>
              </a:solidFill>
            </c:spPr>
          </c:dPt>
          <c:dPt>
            <c:idx val="1371"/>
            <c:spPr>
              <a:solidFill>
                <a:srgbClr val="AEABAB"/>
              </a:solidFill>
            </c:spPr>
          </c:dPt>
          <c:dPt>
            <c:idx val="1372"/>
            <c:spPr>
              <a:solidFill>
                <a:srgbClr val="AEABAB"/>
              </a:solidFill>
            </c:spPr>
          </c:dPt>
          <c:dPt>
            <c:idx val="1373"/>
            <c:spPr>
              <a:solidFill>
                <a:srgbClr val="AEABAB"/>
              </a:solidFill>
            </c:spPr>
          </c:dPt>
          <c:dPt>
            <c:idx val="1374"/>
            <c:spPr>
              <a:solidFill>
                <a:srgbClr val="AEABAB"/>
              </a:solidFill>
            </c:spPr>
          </c:dPt>
          <c:dPt>
            <c:idx val="1375"/>
            <c:spPr>
              <a:solidFill>
                <a:srgbClr val="AEABAB"/>
              </a:solidFill>
            </c:spPr>
          </c:dPt>
          <c:dPt>
            <c:idx val="1376"/>
            <c:spPr>
              <a:solidFill>
                <a:srgbClr val="AEABAB"/>
              </a:solidFill>
            </c:spPr>
          </c:dPt>
          <c:dPt>
            <c:idx val="1377"/>
            <c:spPr>
              <a:solidFill>
                <a:srgbClr val="AEABAB"/>
              </a:solidFill>
            </c:spPr>
          </c:dPt>
          <c:dPt>
            <c:idx val="1378"/>
            <c:spPr>
              <a:solidFill>
                <a:srgbClr val="AEABAB"/>
              </a:solidFill>
            </c:spPr>
          </c:dPt>
          <c:dPt>
            <c:idx val="1379"/>
            <c:spPr>
              <a:solidFill>
                <a:srgbClr val="AEABAB"/>
              </a:solidFill>
            </c:spPr>
          </c:dPt>
          <c:dPt>
            <c:idx val="1380"/>
            <c:spPr>
              <a:solidFill>
                <a:srgbClr val="AEABAB"/>
              </a:solidFill>
            </c:spPr>
          </c:dPt>
          <c:dPt>
            <c:idx val="1381"/>
            <c:spPr>
              <a:solidFill>
                <a:srgbClr val="AEABAB"/>
              </a:solidFill>
            </c:spPr>
          </c:dPt>
          <c:dPt>
            <c:idx val="1382"/>
            <c:spPr>
              <a:solidFill>
                <a:srgbClr val="AEABAB"/>
              </a:solidFill>
            </c:spPr>
          </c:dPt>
          <c:dPt>
            <c:idx val="1383"/>
            <c:spPr>
              <a:solidFill>
                <a:srgbClr val="AEABAB"/>
              </a:solidFill>
            </c:spPr>
          </c:dPt>
          <c:dPt>
            <c:idx val="1384"/>
            <c:spPr>
              <a:solidFill>
                <a:srgbClr val="AEABAB"/>
              </a:solidFill>
            </c:spPr>
          </c:dPt>
          <c:dPt>
            <c:idx val="1385"/>
            <c:spPr>
              <a:solidFill>
                <a:srgbClr val="AEABAB"/>
              </a:solidFill>
            </c:spPr>
          </c:dPt>
          <c:dPt>
            <c:idx val="1386"/>
            <c:spPr>
              <a:solidFill>
                <a:srgbClr val="AEABAB"/>
              </a:solidFill>
            </c:spPr>
          </c:dPt>
          <c:dPt>
            <c:idx val="1387"/>
            <c:spPr>
              <a:solidFill>
                <a:srgbClr val="AEABAB"/>
              </a:solidFill>
            </c:spPr>
          </c:dPt>
          <c:dPt>
            <c:idx val="1388"/>
            <c:spPr>
              <a:solidFill>
                <a:srgbClr val="AEABAB"/>
              </a:solidFill>
            </c:spPr>
          </c:dPt>
          <c:dPt>
            <c:idx val="1389"/>
            <c:spPr>
              <a:solidFill>
                <a:srgbClr val="AEABAB"/>
              </a:solidFill>
            </c:spPr>
          </c:dPt>
          <c:dPt>
            <c:idx val="1390"/>
            <c:spPr>
              <a:solidFill>
                <a:srgbClr val="AEABAB"/>
              </a:solidFill>
            </c:spPr>
          </c:dPt>
          <c:dPt>
            <c:idx val="1391"/>
            <c:spPr>
              <a:solidFill>
                <a:srgbClr val="AEABAB"/>
              </a:solidFill>
            </c:spPr>
          </c:dPt>
          <c:dPt>
            <c:idx val="1392"/>
            <c:spPr>
              <a:solidFill>
                <a:srgbClr val="AEABAB"/>
              </a:solidFill>
            </c:spPr>
          </c:dPt>
          <c:dPt>
            <c:idx val="1393"/>
            <c:spPr>
              <a:solidFill>
                <a:srgbClr val="AEABAB"/>
              </a:solidFill>
            </c:spPr>
          </c:dPt>
          <c:dPt>
            <c:idx val="1394"/>
            <c:spPr>
              <a:solidFill>
                <a:srgbClr val="AEABAB"/>
              </a:solidFill>
            </c:spPr>
          </c:dPt>
          <c:dPt>
            <c:idx val="1395"/>
            <c:spPr>
              <a:solidFill>
                <a:srgbClr val="AEABAB"/>
              </a:solidFill>
            </c:spPr>
          </c:dPt>
          <c:dPt>
            <c:idx val="1396"/>
            <c:spPr>
              <a:solidFill>
                <a:srgbClr val="AEABAB"/>
              </a:solidFill>
            </c:spPr>
          </c:dPt>
          <c:dPt>
            <c:idx val="1397"/>
            <c:spPr>
              <a:solidFill>
                <a:srgbClr val="AEABAB"/>
              </a:solidFill>
            </c:spPr>
          </c:dPt>
          <c:dPt>
            <c:idx val="1398"/>
            <c:spPr>
              <a:solidFill>
                <a:srgbClr val="AEABAB"/>
              </a:solidFill>
            </c:spPr>
          </c:dPt>
          <c:dPt>
            <c:idx val="1399"/>
            <c:spPr>
              <a:solidFill>
                <a:srgbClr val="AEABAB"/>
              </a:solidFill>
            </c:spPr>
          </c:dPt>
          <c:dPt>
            <c:idx val="1400"/>
            <c:spPr>
              <a:solidFill>
                <a:srgbClr val="AEABAB"/>
              </a:solidFill>
            </c:spPr>
          </c:dPt>
          <c:dPt>
            <c:idx val="1401"/>
            <c:spPr>
              <a:solidFill>
                <a:srgbClr val="AEABAB"/>
              </a:solidFill>
            </c:spPr>
          </c:dPt>
          <c:dPt>
            <c:idx val="1402"/>
            <c:spPr>
              <a:solidFill>
                <a:srgbClr val="AEABAB"/>
              </a:solidFill>
            </c:spPr>
          </c:dPt>
          <c:dPt>
            <c:idx val="1403"/>
            <c:spPr>
              <a:solidFill>
                <a:srgbClr val="AEABAB"/>
              </a:solidFill>
            </c:spPr>
          </c:dPt>
          <c:dPt>
            <c:idx val="1404"/>
            <c:spPr>
              <a:solidFill>
                <a:srgbClr val="AEABAB"/>
              </a:solidFill>
            </c:spPr>
          </c:dPt>
          <c:dPt>
            <c:idx val="1405"/>
            <c:spPr>
              <a:solidFill>
                <a:srgbClr val="AEABAB"/>
              </a:solidFill>
            </c:spPr>
          </c:dPt>
          <c:dPt>
            <c:idx val="1406"/>
            <c:spPr>
              <a:solidFill>
                <a:srgbClr val="AEABAB"/>
              </a:solidFill>
            </c:spPr>
          </c:dPt>
          <c:dPt>
            <c:idx val="1407"/>
            <c:spPr>
              <a:solidFill>
                <a:srgbClr val="AEABAB"/>
              </a:solidFill>
            </c:spPr>
          </c:dPt>
          <c:dPt>
            <c:idx val="1408"/>
            <c:spPr>
              <a:solidFill>
                <a:srgbClr val="AEABAB"/>
              </a:solidFill>
            </c:spPr>
          </c:dPt>
          <c:dPt>
            <c:idx val="1409"/>
            <c:spPr>
              <a:solidFill>
                <a:srgbClr val="AEABAB"/>
              </a:solidFill>
            </c:spPr>
          </c:dPt>
          <c:dPt>
            <c:idx val="1410"/>
            <c:spPr>
              <a:solidFill>
                <a:srgbClr val="AEABAB"/>
              </a:solidFill>
            </c:spPr>
          </c:dPt>
          <c:dPt>
            <c:idx val="1411"/>
            <c:spPr>
              <a:solidFill>
                <a:srgbClr val="AEABAB"/>
              </a:solidFill>
            </c:spPr>
          </c:dPt>
          <c:dPt>
            <c:idx val="1412"/>
            <c:spPr>
              <a:solidFill>
                <a:srgbClr val="AEABAB"/>
              </a:solidFill>
            </c:spPr>
          </c:dPt>
          <c:dPt>
            <c:idx val="1413"/>
            <c:spPr>
              <a:solidFill>
                <a:srgbClr val="AEABAB"/>
              </a:solidFill>
            </c:spPr>
          </c:dPt>
          <c:dPt>
            <c:idx val="1414"/>
            <c:spPr>
              <a:solidFill>
                <a:srgbClr val="AEABAB"/>
              </a:solidFill>
            </c:spPr>
          </c:dPt>
          <c:dPt>
            <c:idx val="1415"/>
            <c:spPr>
              <a:solidFill>
                <a:srgbClr val="AEABAB"/>
              </a:solidFill>
            </c:spPr>
          </c:dPt>
          <c:dPt>
            <c:idx val="1416"/>
            <c:spPr>
              <a:solidFill>
                <a:srgbClr val="AEABAB"/>
              </a:solidFill>
            </c:spPr>
          </c:dPt>
          <c:dPt>
            <c:idx val="1417"/>
            <c:spPr>
              <a:solidFill>
                <a:srgbClr val="AEABAB"/>
              </a:solidFill>
            </c:spPr>
          </c:dPt>
          <c:dPt>
            <c:idx val="1418"/>
            <c:spPr>
              <a:solidFill>
                <a:srgbClr val="AEABAB"/>
              </a:solidFill>
            </c:spPr>
          </c:dPt>
          <c:dPt>
            <c:idx val="1419"/>
            <c:spPr>
              <a:solidFill>
                <a:srgbClr val="AEABAB"/>
              </a:solidFill>
            </c:spPr>
          </c:dPt>
          <c:dPt>
            <c:idx val="1420"/>
            <c:spPr>
              <a:solidFill>
                <a:srgbClr val="AEABAB"/>
              </a:solidFill>
            </c:spPr>
          </c:dPt>
          <c:dPt>
            <c:idx val="1421"/>
            <c:spPr>
              <a:solidFill>
                <a:srgbClr val="AEABAB"/>
              </a:solidFill>
            </c:spPr>
          </c:dPt>
          <c:dPt>
            <c:idx val="1422"/>
            <c:spPr>
              <a:solidFill>
                <a:srgbClr val="AEABAB"/>
              </a:solidFill>
            </c:spPr>
          </c:dPt>
          <c:dPt>
            <c:idx val="1423"/>
            <c:spPr>
              <a:solidFill>
                <a:srgbClr val="AEABAB"/>
              </a:solidFill>
            </c:spPr>
          </c:dPt>
          <c:dPt>
            <c:idx val="1424"/>
            <c:spPr>
              <a:solidFill>
                <a:srgbClr val="AEABAB"/>
              </a:solidFill>
            </c:spPr>
          </c:dPt>
          <c:dPt>
            <c:idx val="1425"/>
            <c:spPr>
              <a:solidFill>
                <a:srgbClr val="AEABAB"/>
              </a:solidFill>
            </c:spPr>
          </c:dPt>
          <c:dPt>
            <c:idx val="1426"/>
            <c:spPr>
              <a:solidFill>
                <a:srgbClr val="AEABAB"/>
              </a:solidFill>
            </c:spPr>
          </c:dPt>
          <c:dPt>
            <c:idx val="1427"/>
            <c:spPr>
              <a:solidFill>
                <a:srgbClr val="AEABAB"/>
              </a:solidFill>
            </c:spPr>
          </c:dPt>
          <c:dPt>
            <c:idx val="1428"/>
            <c:spPr>
              <a:solidFill>
                <a:srgbClr val="AEABAB"/>
              </a:solidFill>
            </c:spPr>
          </c:dPt>
          <c:dPt>
            <c:idx val="1429"/>
            <c:spPr>
              <a:solidFill>
                <a:srgbClr val="AEABAB"/>
              </a:solidFill>
            </c:spPr>
          </c:dPt>
          <c:dPt>
            <c:idx val="1430"/>
            <c:spPr>
              <a:solidFill>
                <a:srgbClr val="AEABAB"/>
              </a:solidFill>
            </c:spPr>
          </c:dPt>
          <c:dPt>
            <c:idx val="1431"/>
            <c:spPr>
              <a:solidFill>
                <a:srgbClr val="AEABAB"/>
              </a:solidFill>
            </c:spPr>
          </c:dPt>
          <c:dPt>
            <c:idx val="1432"/>
            <c:spPr>
              <a:solidFill>
                <a:srgbClr val="AEABAB"/>
              </a:solidFill>
            </c:spPr>
          </c:dPt>
          <c:dPt>
            <c:idx val="1433"/>
            <c:spPr>
              <a:solidFill>
                <a:srgbClr val="AEABAB"/>
              </a:solidFill>
            </c:spPr>
          </c:dPt>
          <c:dPt>
            <c:idx val="1434"/>
            <c:spPr>
              <a:solidFill>
                <a:srgbClr val="AEABAB"/>
              </a:solidFill>
            </c:spPr>
          </c:dPt>
          <c:dPt>
            <c:idx val="1435"/>
            <c:spPr>
              <a:solidFill>
                <a:srgbClr val="AEABAB"/>
              </a:solidFill>
            </c:spPr>
          </c:dPt>
          <c:dPt>
            <c:idx val="1436"/>
            <c:spPr>
              <a:solidFill>
                <a:srgbClr val="AEABAB"/>
              </a:solidFill>
            </c:spPr>
          </c:dPt>
          <c:dPt>
            <c:idx val="1437"/>
            <c:spPr>
              <a:solidFill>
                <a:srgbClr val="AEABAB"/>
              </a:solidFill>
            </c:spPr>
          </c:dPt>
          <c:dPt>
            <c:idx val="1438"/>
            <c:spPr>
              <a:solidFill>
                <a:srgbClr val="AEABAB"/>
              </a:solidFill>
            </c:spPr>
          </c:dPt>
          <c:dPt>
            <c:idx val="1439"/>
            <c:spPr>
              <a:solidFill>
                <a:srgbClr val="AEABAB"/>
              </a:solidFill>
            </c:spPr>
          </c:dPt>
          <c:dPt>
            <c:idx val="1440"/>
            <c:spPr>
              <a:solidFill>
                <a:srgbClr val="AEABAB"/>
              </a:solidFill>
            </c:spPr>
          </c:dPt>
          <c:dPt>
            <c:idx val="1441"/>
            <c:spPr>
              <a:solidFill>
                <a:srgbClr val="AEABAB"/>
              </a:solidFill>
            </c:spPr>
          </c:dPt>
          <c:dPt>
            <c:idx val="1442"/>
            <c:spPr>
              <a:solidFill>
                <a:srgbClr val="AEABAB"/>
              </a:solidFill>
            </c:spPr>
          </c:dPt>
          <c:dPt>
            <c:idx val="1443"/>
            <c:spPr>
              <a:solidFill>
                <a:srgbClr val="AEABAB"/>
              </a:solidFill>
            </c:spPr>
          </c:dPt>
          <c:dPt>
            <c:idx val="1444"/>
            <c:spPr>
              <a:solidFill>
                <a:srgbClr val="AEABAB"/>
              </a:solidFill>
            </c:spPr>
          </c:dPt>
          <c:dPt>
            <c:idx val="1445"/>
            <c:spPr>
              <a:solidFill>
                <a:srgbClr val="AEABAB"/>
              </a:solidFill>
            </c:spPr>
          </c:dPt>
          <c:dPt>
            <c:idx val="1446"/>
            <c:spPr>
              <a:solidFill>
                <a:srgbClr val="AEABAB"/>
              </a:solidFill>
            </c:spPr>
          </c:dPt>
          <c:dPt>
            <c:idx val="1447"/>
            <c:spPr>
              <a:solidFill>
                <a:srgbClr val="AEABAB"/>
              </a:solidFill>
            </c:spPr>
          </c:dPt>
          <c:dPt>
            <c:idx val="1448"/>
            <c:spPr>
              <a:solidFill>
                <a:srgbClr val="AEABAB"/>
              </a:solidFill>
            </c:spPr>
          </c:dPt>
          <c:dPt>
            <c:idx val="1449"/>
            <c:spPr>
              <a:solidFill>
                <a:srgbClr val="AEABAB"/>
              </a:solidFill>
            </c:spPr>
          </c:dPt>
          <c:dPt>
            <c:idx val="1450"/>
            <c:spPr>
              <a:solidFill>
                <a:srgbClr val="AEABAB"/>
              </a:solidFill>
            </c:spPr>
          </c:dPt>
          <c:dPt>
            <c:idx val="1451"/>
            <c:spPr>
              <a:solidFill>
                <a:srgbClr val="AEABAB"/>
              </a:solidFill>
            </c:spPr>
          </c:dPt>
          <c:dPt>
            <c:idx val="1452"/>
            <c:spPr>
              <a:solidFill>
                <a:srgbClr val="AEABAB"/>
              </a:solidFill>
            </c:spPr>
          </c:dPt>
          <c:dPt>
            <c:idx val="1453"/>
            <c:spPr>
              <a:solidFill>
                <a:srgbClr val="AEABAB"/>
              </a:solidFill>
            </c:spPr>
          </c:dPt>
          <c:dPt>
            <c:idx val="1454"/>
            <c:spPr>
              <a:solidFill>
                <a:srgbClr val="AEABAB"/>
              </a:solidFill>
            </c:spPr>
          </c:dPt>
          <c:dPt>
            <c:idx val="1455"/>
            <c:spPr>
              <a:solidFill>
                <a:srgbClr val="AEABAB"/>
              </a:solidFill>
            </c:spPr>
          </c:dPt>
          <c:dPt>
            <c:idx val="1456"/>
            <c:spPr>
              <a:solidFill>
                <a:srgbClr val="AEABAB"/>
              </a:solidFill>
            </c:spPr>
          </c:dPt>
          <c:dPt>
            <c:idx val="1457"/>
            <c:spPr>
              <a:solidFill>
                <a:srgbClr val="AEABAB"/>
              </a:solidFill>
            </c:spPr>
          </c:dPt>
          <c:dPt>
            <c:idx val="1458"/>
            <c:spPr>
              <a:solidFill>
                <a:srgbClr val="AEABAB"/>
              </a:solidFill>
            </c:spPr>
          </c:dPt>
          <c:dPt>
            <c:idx val="1459"/>
            <c:spPr>
              <a:solidFill>
                <a:srgbClr val="AEABAB"/>
              </a:solidFill>
            </c:spPr>
          </c:dPt>
          <c:dPt>
            <c:idx val="1460"/>
            <c:spPr>
              <a:solidFill>
                <a:srgbClr val="AEABAB"/>
              </a:solidFill>
            </c:spPr>
          </c:dPt>
          <c:dPt>
            <c:idx val="1461"/>
            <c:spPr>
              <a:solidFill>
                <a:srgbClr val="AEABAB"/>
              </a:solidFill>
            </c:spPr>
          </c:dPt>
          <c:dPt>
            <c:idx val="1462"/>
            <c:spPr>
              <a:solidFill>
                <a:srgbClr val="AEABAB"/>
              </a:solidFill>
            </c:spPr>
          </c:dPt>
          <c:dPt>
            <c:idx val="1463"/>
            <c:spPr>
              <a:solidFill>
                <a:srgbClr val="AEABAB"/>
              </a:solidFill>
            </c:spPr>
          </c:dPt>
          <c:dPt>
            <c:idx val="1464"/>
            <c:spPr>
              <a:solidFill>
                <a:srgbClr val="AEABAB"/>
              </a:solidFill>
            </c:spPr>
          </c:dPt>
          <c:dPt>
            <c:idx val="1465"/>
            <c:spPr>
              <a:solidFill>
                <a:srgbClr val="AEABAB"/>
              </a:solidFill>
            </c:spPr>
          </c:dPt>
          <c:dPt>
            <c:idx val="1466"/>
            <c:spPr>
              <a:solidFill>
                <a:srgbClr val="AEABAB"/>
              </a:solidFill>
            </c:spPr>
          </c:dPt>
          <c:dPt>
            <c:idx val="1467"/>
            <c:spPr>
              <a:solidFill>
                <a:srgbClr val="AEABAB"/>
              </a:solidFill>
            </c:spPr>
          </c:dPt>
          <c:dPt>
            <c:idx val="1468"/>
            <c:spPr>
              <a:solidFill>
                <a:srgbClr val="AEABAB"/>
              </a:solidFill>
            </c:spPr>
          </c:dPt>
          <c:dPt>
            <c:idx val="1469"/>
            <c:spPr>
              <a:solidFill>
                <a:srgbClr val="AEABAB"/>
              </a:solidFill>
            </c:spPr>
          </c:dPt>
          <c:dPt>
            <c:idx val="1470"/>
            <c:spPr>
              <a:solidFill>
                <a:srgbClr val="AEABAB"/>
              </a:solidFill>
            </c:spPr>
          </c:dPt>
          <c:dPt>
            <c:idx val="1471"/>
            <c:spPr>
              <a:solidFill>
                <a:srgbClr val="AEABAB"/>
              </a:solidFill>
            </c:spPr>
          </c:dPt>
          <c:dPt>
            <c:idx val="1472"/>
            <c:spPr>
              <a:solidFill>
                <a:srgbClr val="AEABAB"/>
              </a:solidFill>
            </c:spPr>
          </c:dPt>
          <c:dPt>
            <c:idx val="1473"/>
            <c:spPr>
              <a:solidFill>
                <a:srgbClr val="AEABAB"/>
              </a:solidFill>
            </c:spPr>
          </c:dPt>
          <c:dPt>
            <c:idx val="1474"/>
            <c:spPr>
              <a:solidFill>
                <a:srgbClr val="AEABAB"/>
              </a:solidFill>
            </c:spPr>
          </c:dPt>
          <c:dPt>
            <c:idx val="1475"/>
            <c:spPr>
              <a:solidFill>
                <a:srgbClr val="AEABAB"/>
              </a:solidFill>
            </c:spPr>
          </c:dPt>
          <c:dPt>
            <c:idx val="1476"/>
            <c:spPr>
              <a:solidFill>
                <a:srgbClr val="AEABAB"/>
              </a:solidFill>
            </c:spPr>
          </c:dPt>
          <c:dPt>
            <c:idx val="1477"/>
            <c:spPr>
              <a:solidFill>
                <a:srgbClr val="AEABAB"/>
              </a:solidFill>
            </c:spPr>
          </c:dPt>
          <c:dPt>
            <c:idx val="1478"/>
            <c:spPr>
              <a:solidFill>
                <a:srgbClr val="AEABAB"/>
              </a:solidFill>
            </c:spPr>
          </c:dPt>
          <c:dPt>
            <c:idx val="1479"/>
            <c:spPr>
              <a:solidFill>
                <a:srgbClr val="AEABAB"/>
              </a:solidFill>
            </c:spPr>
          </c:dPt>
          <c:dPt>
            <c:idx val="1480"/>
            <c:spPr>
              <a:solidFill>
                <a:srgbClr val="AEABAB"/>
              </a:solidFill>
            </c:spPr>
          </c:dPt>
          <c:dPt>
            <c:idx val="1481"/>
            <c:spPr>
              <a:solidFill>
                <a:srgbClr val="AEABAB"/>
              </a:solidFill>
            </c:spPr>
          </c:dPt>
          <c:dPt>
            <c:idx val="1482"/>
            <c:spPr>
              <a:solidFill>
                <a:srgbClr val="AEABAB"/>
              </a:solidFill>
            </c:spPr>
          </c:dPt>
          <c:dPt>
            <c:idx val="1483"/>
            <c:spPr>
              <a:solidFill>
                <a:srgbClr val="AEABAB"/>
              </a:solidFill>
            </c:spPr>
          </c:dPt>
          <c:dPt>
            <c:idx val="1484"/>
            <c:spPr>
              <a:solidFill>
                <a:srgbClr val="AEABAB"/>
              </a:solidFill>
            </c:spPr>
          </c:dPt>
          <c:dPt>
            <c:idx val="1485"/>
            <c:spPr>
              <a:solidFill>
                <a:srgbClr val="AEABAB"/>
              </a:solidFill>
            </c:spPr>
          </c:dPt>
          <c:dPt>
            <c:idx val="1486"/>
            <c:spPr>
              <a:solidFill>
                <a:srgbClr val="AEABAB"/>
              </a:solidFill>
            </c:spPr>
          </c:dPt>
          <c:dPt>
            <c:idx val="1487"/>
            <c:spPr>
              <a:solidFill>
                <a:srgbClr val="AEABAB"/>
              </a:solidFill>
            </c:spPr>
          </c:dPt>
          <c:dPt>
            <c:idx val="1488"/>
            <c:spPr>
              <a:solidFill>
                <a:srgbClr val="AEABAB"/>
              </a:solidFill>
            </c:spPr>
          </c:dPt>
          <c:dPt>
            <c:idx val="1489"/>
            <c:spPr>
              <a:solidFill>
                <a:srgbClr val="AEABAB"/>
              </a:solidFill>
            </c:spPr>
          </c:dPt>
          <c:dPt>
            <c:idx val="1490"/>
            <c:spPr>
              <a:solidFill>
                <a:srgbClr val="AEABAB"/>
              </a:solidFill>
            </c:spPr>
          </c:dPt>
          <c:dPt>
            <c:idx val="1491"/>
            <c:spPr>
              <a:solidFill>
                <a:srgbClr val="AEABAB"/>
              </a:solidFill>
            </c:spPr>
          </c:dPt>
          <c:dPt>
            <c:idx val="1492"/>
            <c:spPr>
              <a:solidFill>
                <a:srgbClr val="AEABAB"/>
              </a:solidFill>
            </c:spPr>
          </c:dPt>
          <c:dPt>
            <c:idx val="1493"/>
            <c:spPr>
              <a:solidFill>
                <a:srgbClr val="AEABAB"/>
              </a:solidFill>
            </c:spPr>
          </c:dPt>
          <c:dPt>
            <c:idx val="1494"/>
            <c:spPr>
              <a:solidFill>
                <a:srgbClr val="AEABAB"/>
              </a:solidFill>
            </c:spPr>
          </c:dPt>
          <c:dPt>
            <c:idx val="1495"/>
            <c:spPr>
              <a:solidFill>
                <a:srgbClr val="AEABAB"/>
              </a:solidFill>
            </c:spPr>
          </c:dPt>
          <c:dPt>
            <c:idx val="1496"/>
            <c:spPr>
              <a:solidFill>
                <a:srgbClr val="AEABAB"/>
              </a:solidFill>
            </c:spPr>
          </c:dPt>
          <c:dPt>
            <c:idx val="1497"/>
            <c:spPr>
              <a:solidFill>
                <a:srgbClr val="AEABAB"/>
              </a:solidFill>
            </c:spPr>
          </c:dPt>
          <c:dPt>
            <c:idx val="1498"/>
            <c:spPr>
              <a:solidFill>
                <a:srgbClr val="AEABAB"/>
              </a:solidFill>
            </c:spPr>
          </c:dPt>
          <c:dPt>
            <c:idx val="1499"/>
            <c:spPr>
              <a:solidFill>
                <a:srgbClr val="AEABAB"/>
              </a:solidFill>
            </c:spPr>
          </c:dPt>
          <c:dPt>
            <c:idx val="1500"/>
            <c:spPr>
              <a:solidFill>
                <a:srgbClr val="AEABAB"/>
              </a:solidFill>
            </c:spPr>
          </c:dPt>
          <c:dPt>
            <c:idx val="1501"/>
            <c:spPr>
              <a:solidFill>
                <a:srgbClr val="AEABAB"/>
              </a:solidFill>
            </c:spPr>
          </c:dPt>
          <c:dPt>
            <c:idx val="1502"/>
            <c:spPr>
              <a:solidFill>
                <a:srgbClr val="AEABAB"/>
              </a:solidFill>
            </c:spPr>
          </c:dPt>
          <c:dPt>
            <c:idx val="1503"/>
            <c:spPr>
              <a:solidFill>
                <a:srgbClr val="AEABAB"/>
              </a:solidFill>
            </c:spPr>
          </c:dPt>
          <c:dPt>
            <c:idx val="1504"/>
            <c:spPr>
              <a:solidFill>
                <a:srgbClr val="AEABAB"/>
              </a:solidFill>
            </c:spPr>
          </c:dPt>
          <c:dPt>
            <c:idx val="1505"/>
            <c:spPr>
              <a:solidFill>
                <a:srgbClr val="AEABAB"/>
              </a:solidFill>
            </c:spPr>
          </c:dPt>
          <c:dPt>
            <c:idx val="1506"/>
            <c:spPr>
              <a:solidFill>
                <a:srgbClr val="AEABAB"/>
              </a:solidFill>
            </c:spPr>
          </c:dPt>
          <c:dPt>
            <c:idx val="1507"/>
            <c:spPr>
              <a:solidFill>
                <a:srgbClr val="AEABAB"/>
              </a:solidFill>
            </c:spPr>
          </c:dPt>
          <c:dPt>
            <c:idx val="1508"/>
            <c:spPr>
              <a:solidFill>
                <a:srgbClr val="AEABAB"/>
              </a:solidFill>
            </c:spPr>
          </c:dPt>
          <c:dPt>
            <c:idx val="1509"/>
            <c:spPr>
              <a:solidFill>
                <a:srgbClr val="AEABAB"/>
              </a:solidFill>
            </c:spPr>
          </c:dPt>
          <c:dPt>
            <c:idx val="1510"/>
            <c:spPr>
              <a:solidFill>
                <a:srgbClr val="AEABAB"/>
              </a:solidFill>
            </c:spPr>
          </c:dPt>
          <c:dPt>
            <c:idx val="1511"/>
            <c:spPr>
              <a:solidFill>
                <a:srgbClr val="AEABAB"/>
              </a:solidFill>
            </c:spPr>
          </c:dPt>
          <c:dPt>
            <c:idx val="1512"/>
            <c:spPr>
              <a:solidFill>
                <a:srgbClr val="AEABAB"/>
              </a:solidFill>
            </c:spPr>
          </c:dPt>
          <c:dPt>
            <c:idx val="1513"/>
            <c:spPr>
              <a:solidFill>
                <a:srgbClr val="AEABAB"/>
              </a:solidFill>
            </c:spPr>
          </c:dPt>
          <c:dPt>
            <c:idx val="1514"/>
            <c:spPr>
              <a:solidFill>
                <a:srgbClr val="AEABAB"/>
              </a:solidFill>
            </c:spPr>
          </c:dPt>
          <c:dPt>
            <c:idx val="1515"/>
            <c:spPr>
              <a:solidFill>
                <a:srgbClr val="AEABAB"/>
              </a:solidFill>
            </c:spPr>
          </c:dPt>
          <c:dPt>
            <c:idx val="1516"/>
            <c:spPr>
              <a:solidFill>
                <a:srgbClr val="AEABAB"/>
              </a:solidFill>
            </c:spPr>
          </c:dPt>
          <c:dPt>
            <c:idx val="1517"/>
            <c:spPr>
              <a:solidFill>
                <a:srgbClr val="AEABAB"/>
              </a:solidFill>
            </c:spPr>
          </c:dPt>
          <c:dPt>
            <c:idx val="1518"/>
            <c:spPr>
              <a:solidFill>
                <a:srgbClr val="AEABAB"/>
              </a:solidFill>
            </c:spPr>
          </c:dPt>
          <c:dPt>
            <c:idx val="1519"/>
            <c:spPr>
              <a:solidFill>
                <a:srgbClr val="AEABAB"/>
              </a:solidFill>
            </c:spPr>
          </c:dPt>
          <c:dPt>
            <c:idx val="1520"/>
            <c:spPr>
              <a:solidFill>
                <a:srgbClr val="AEABAB"/>
              </a:solidFill>
            </c:spPr>
          </c:dPt>
          <c:dPt>
            <c:idx val="1521"/>
            <c:spPr>
              <a:solidFill>
                <a:srgbClr val="AEABAB"/>
              </a:solidFill>
            </c:spPr>
          </c:dPt>
          <c:dPt>
            <c:idx val="1522"/>
            <c:spPr>
              <a:solidFill>
                <a:srgbClr val="AEABAB"/>
              </a:solidFill>
            </c:spPr>
          </c:dPt>
          <c:dPt>
            <c:idx val="1523"/>
            <c:spPr>
              <a:solidFill>
                <a:srgbClr val="AEABAB"/>
              </a:solidFill>
            </c:spPr>
          </c:dPt>
          <c:dPt>
            <c:idx val="1524"/>
            <c:spPr>
              <a:solidFill>
                <a:srgbClr val="AEABAB"/>
              </a:solidFill>
            </c:spPr>
          </c:dPt>
          <c:dPt>
            <c:idx val="1525"/>
            <c:spPr>
              <a:solidFill>
                <a:srgbClr val="AEABAB"/>
              </a:solidFill>
            </c:spPr>
          </c:dPt>
          <c:dPt>
            <c:idx val="1526"/>
            <c:spPr>
              <a:solidFill>
                <a:srgbClr val="AEABAB"/>
              </a:solidFill>
            </c:spPr>
          </c:dPt>
          <c:dPt>
            <c:idx val="1527"/>
            <c:spPr>
              <a:solidFill>
                <a:srgbClr val="AEABAB"/>
              </a:solidFill>
            </c:spPr>
          </c:dPt>
          <c:dPt>
            <c:idx val="1528"/>
            <c:spPr>
              <a:solidFill>
                <a:srgbClr val="AEABAB"/>
              </a:solidFill>
            </c:spPr>
          </c:dPt>
          <c:dPt>
            <c:idx val="1529"/>
            <c:spPr>
              <a:solidFill>
                <a:srgbClr val="AEABAB"/>
              </a:solidFill>
            </c:spPr>
          </c:dPt>
          <c:dPt>
            <c:idx val="1530"/>
            <c:spPr>
              <a:solidFill>
                <a:srgbClr val="AEABAB"/>
              </a:solidFill>
            </c:spPr>
          </c:dPt>
          <c:dPt>
            <c:idx val="1531"/>
            <c:spPr>
              <a:solidFill>
                <a:srgbClr val="AEABAB"/>
              </a:solidFill>
            </c:spPr>
          </c:dPt>
          <c:dPt>
            <c:idx val="1532"/>
            <c:spPr>
              <a:solidFill>
                <a:srgbClr val="AEABAB"/>
              </a:solidFill>
            </c:spPr>
          </c:dPt>
          <c:dPt>
            <c:idx val="1533"/>
            <c:spPr>
              <a:solidFill>
                <a:srgbClr val="AEABAB"/>
              </a:solidFill>
            </c:spPr>
          </c:dPt>
          <c:dPt>
            <c:idx val="1534"/>
            <c:spPr>
              <a:solidFill>
                <a:srgbClr val="AEABAB"/>
              </a:solidFill>
            </c:spPr>
          </c:dPt>
          <c:dPt>
            <c:idx val="1535"/>
            <c:spPr>
              <a:solidFill>
                <a:srgbClr val="AEABAB"/>
              </a:solidFill>
            </c:spPr>
          </c:dPt>
          <c:dPt>
            <c:idx val="1536"/>
            <c:spPr>
              <a:solidFill>
                <a:srgbClr val="AEABAB"/>
              </a:solidFill>
            </c:spPr>
          </c:dPt>
          <c:dPt>
            <c:idx val="1537"/>
            <c:spPr>
              <a:solidFill>
                <a:srgbClr val="AEABAB"/>
              </a:solidFill>
            </c:spPr>
          </c:dPt>
          <c:dPt>
            <c:idx val="1538"/>
            <c:spPr>
              <a:solidFill>
                <a:srgbClr val="AEABAB"/>
              </a:solidFill>
            </c:spPr>
          </c:dPt>
          <c:dPt>
            <c:idx val="1539"/>
            <c:spPr>
              <a:solidFill>
                <a:srgbClr val="AEABAB"/>
              </a:solidFill>
            </c:spPr>
          </c:dPt>
          <c:dPt>
            <c:idx val="1540"/>
            <c:spPr>
              <a:solidFill>
                <a:srgbClr val="AEABAB"/>
              </a:solidFill>
            </c:spPr>
          </c:dPt>
          <c:dPt>
            <c:idx val="1541"/>
            <c:spPr>
              <a:solidFill>
                <a:srgbClr val="AEABAB"/>
              </a:solidFill>
            </c:spPr>
          </c:dPt>
          <c:dPt>
            <c:idx val="1542"/>
            <c:spPr>
              <a:solidFill>
                <a:srgbClr val="AEABAB"/>
              </a:solidFill>
            </c:spPr>
          </c:dPt>
          <c:dPt>
            <c:idx val="1543"/>
            <c:spPr>
              <a:solidFill>
                <a:srgbClr val="AEABAB"/>
              </a:solidFill>
            </c:spPr>
          </c:dPt>
          <c:dPt>
            <c:idx val="1544"/>
            <c:spPr>
              <a:solidFill>
                <a:srgbClr val="AEABAB"/>
              </a:solidFill>
            </c:spPr>
          </c:dPt>
          <c:dPt>
            <c:idx val="1545"/>
            <c:spPr>
              <a:solidFill>
                <a:srgbClr val="AEABAB"/>
              </a:solidFill>
            </c:spPr>
          </c:dPt>
          <c:dPt>
            <c:idx val="1546"/>
            <c:spPr>
              <a:solidFill>
                <a:srgbClr val="AEABAB"/>
              </a:solidFill>
            </c:spPr>
          </c:dPt>
          <c:dPt>
            <c:idx val="1547"/>
            <c:spPr>
              <a:solidFill>
                <a:srgbClr val="AEABAB"/>
              </a:solidFill>
            </c:spPr>
          </c:dPt>
          <c:dPt>
            <c:idx val="1548"/>
            <c:spPr>
              <a:solidFill>
                <a:srgbClr val="AEABAB"/>
              </a:solidFill>
            </c:spPr>
          </c:dPt>
          <c:dPt>
            <c:idx val="1549"/>
            <c:spPr>
              <a:solidFill>
                <a:srgbClr val="AEABAB"/>
              </a:solidFill>
            </c:spPr>
          </c:dPt>
          <c:dPt>
            <c:idx val="1550"/>
            <c:spPr>
              <a:solidFill>
                <a:srgbClr val="AEABAB"/>
              </a:solidFill>
            </c:spPr>
          </c:dPt>
          <c:dPt>
            <c:idx val="1551"/>
            <c:spPr>
              <a:solidFill>
                <a:srgbClr val="AEABAB"/>
              </a:solidFill>
            </c:spPr>
          </c:dPt>
          <c:dPt>
            <c:idx val="1552"/>
            <c:spPr>
              <a:solidFill>
                <a:srgbClr val="AEABAB"/>
              </a:solidFill>
            </c:spPr>
          </c:dPt>
          <c:dPt>
            <c:idx val="1553"/>
            <c:spPr>
              <a:solidFill>
                <a:srgbClr val="AEABAB"/>
              </a:solidFill>
            </c:spPr>
          </c:dPt>
          <c:dPt>
            <c:idx val="1554"/>
            <c:spPr>
              <a:solidFill>
                <a:srgbClr val="AEABAB"/>
              </a:solidFill>
            </c:spPr>
          </c:dPt>
          <c:dPt>
            <c:idx val="1555"/>
            <c:spPr>
              <a:solidFill>
                <a:srgbClr val="AEABAB"/>
              </a:solidFill>
            </c:spPr>
          </c:dPt>
          <c:dPt>
            <c:idx val="1556"/>
            <c:spPr>
              <a:solidFill>
                <a:srgbClr val="AEABAB"/>
              </a:solidFill>
            </c:spPr>
          </c:dPt>
          <c:dPt>
            <c:idx val="1557"/>
            <c:spPr>
              <a:solidFill>
                <a:srgbClr val="AEABAB"/>
              </a:solidFill>
            </c:spPr>
          </c:dPt>
          <c:dPt>
            <c:idx val="1558"/>
            <c:spPr>
              <a:solidFill>
                <a:srgbClr val="AEABAB"/>
              </a:solidFill>
            </c:spPr>
          </c:dPt>
          <c:dPt>
            <c:idx val="1559"/>
            <c:spPr>
              <a:solidFill>
                <a:srgbClr val="AEABAB"/>
              </a:solidFill>
            </c:spPr>
          </c:dPt>
          <c:dPt>
            <c:idx val="1560"/>
            <c:spPr>
              <a:solidFill>
                <a:srgbClr val="AEABAB"/>
              </a:solidFill>
            </c:spPr>
          </c:dPt>
          <c:dPt>
            <c:idx val="1561"/>
            <c:spPr>
              <a:solidFill>
                <a:srgbClr val="AEABAB"/>
              </a:solidFill>
            </c:spPr>
          </c:dPt>
          <c:dPt>
            <c:idx val="1562"/>
            <c:spPr>
              <a:solidFill>
                <a:srgbClr val="AEABAB"/>
              </a:solidFill>
            </c:spPr>
          </c:dPt>
          <c:dPt>
            <c:idx val="1563"/>
            <c:spPr>
              <a:solidFill>
                <a:srgbClr val="AEABAB"/>
              </a:solidFill>
            </c:spPr>
          </c:dPt>
          <c:dPt>
            <c:idx val="1564"/>
            <c:spPr>
              <a:solidFill>
                <a:srgbClr val="AEABAB"/>
              </a:solidFill>
            </c:spPr>
          </c:dPt>
          <c:dPt>
            <c:idx val="1565"/>
            <c:spPr>
              <a:solidFill>
                <a:srgbClr val="AEABAB"/>
              </a:solidFill>
            </c:spPr>
          </c:dPt>
          <c:dPt>
            <c:idx val="1566"/>
            <c:spPr>
              <a:solidFill>
                <a:srgbClr val="AEABAB"/>
              </a:solidFill>
            </c:spPr>
          </c:dPt>
          <c:dPt>
            <c:idx val="1567"/>
            <c:spPr>
              <a:solidFill>
                <a:srgbClr val="AEABAB"/>
              </a:solidFill>
            </c:spPr>
          </c:dPt>
          <c:dPt>
            <c:idx val="1568"/>
            <c:spPr>
              <a:solidFill>
                <a:srgbClr val="AEABAB"/>
              </a:solidFill>
            </c:spPr>
          </c:dPt>
          <c:dPt>
            <c:idx val="1569"/>
            <c:spPr>
              <a:solidFill>
                <a:srgbClr val="AEABAB"/>
              </a:solidFill>
            </c:spPr>
          </c:dPt>
          <c:dPt>
            <c:idx val="1570"/>
            <c:spPr>
              <a:solidFill>
                <a:srgbClr val="AEABAB"/>
              </a:solidFill>
            </c:spPr>
          </c:dPt>
          <c:dPt>
            <c:idx val="1571"/>
            <c:spPr>
              <a:solidFill>
                <a:srgbClr val="AEABAB"/>
              </a:solidFill>
            </c:spPr>
          </c:dPt>
          <c:dPt>
            <c:idx val="1572"/>
            <c:spPr>
              <a:solidFill>
                <a:srgbClr val="AEABAB"/>
              </a:solidFill>
            </c:spPr>
          </c:dPt>
          <c:dPt>
            <c:idx val="1573"/>
            <c:spPr>
              <a:solidFill>
                <a:srgbClr val="AEABAB"/>
              </a:solidFill>
            </c:spPr>
          </c:dPt>
          <c:dPt>
            <c:idx val="1574"/>
            <c:spPr>
              <a:solidFill>
                <a:srgbClr val="AEABAB"/>
              </a:solidFill>
            </c:spPr>
          </c:dPt>
          <c:dPt>
            <c:idx val="1575"/>
            <c:spPr>
              <a:solidFill>
                <a:srgbClr val="AEABAB"/>
              </a:solidFill>
            </c:spPr>
          </c:dPt>
          <c:dPt>
            <c:idx val="1576"/>
            <c:spPr>
              <a:solidFill>
                <a:srgbClr val="AEABAB"/>
              </a:solidFill>
            </c:spPr>
          </c:dPt>
          <c:dPt>
            <c:idx val="1577"/>
            <c:spPr>
              <a:solidFill>
                <a:srgbClr val="AEABAB"/>
              </a:solidFill>
            </c:spPr>
          </c:dPt>
          <c:dPt>
            <c:idx val="1578"/>
            <c:spPr>
              <a:solidFill>
                <a:srgbClr val="AEABAB"/>
              </a:solidFill>
            </c:spPr>
          </c:dPt>
          <c:dPt>
            <c:idx val="1579"/>
            <c:spPr>
              <a:solidFill>
                <a:srgbClr val="AEABAB"/>
              </a:solidFill>
            </c:spPr>
          </c:dPt>
          <c:dPt>
            <c:idx val="1580"/>
            <c:spPr>
              <a:solidFill>
                <a:srgbClr val="AEABAB"/>
              </a:solidFill>
            </c:spPr>
          </c:dPt>
          <c:dPt>
            <c:idx val="1581"/>
            <c:spPr>
              <a:solidFill>
                <a:srgbClr val="AEABAB"/>
              </a:solidFill>
            </c:spPr>
          </c:dPt>
          <c:dPt>
            <c:idx val="1582"/>
            <c:spPr>
              <a:solidFill>
                <a:srgbClr val="AEABAB"/>
              </a:solidFill>
            </c:spPr>
          </c:dPt>
          <c:dPt>
            <c:idx val="1583"/>
            <c:spPr>
              <a:solidFill>
                <a:srgbClr val="AEABAB"/>
              </a:solidFill>
            </c:spPr>
          </c:dPt>
          <c:dPt>
            <c:idx val="1584"/>
            <c:spPr>
              <a:solidFill>
                <a:srgbClr val="AEABAB"/>
              </a:solidFill>
            </c:spPr>
          </c:dPt>
          <c:dPt>
            <c:idx val="1585"/>
            <c:spPr>
              <a:solidFill>
                <a:srgbClr val="AEABAB"/>
              </a:solidFill>
            </c:spPr>
          </c:dPt>
          <c:dPt>
            <c:idx val="1586"/>
            <c:spPr>
              <a:solidFill>
                <a:srgbClr val="AEABAB"/>
              </a:solidFill>
            </c:spPr>
          </c:dPt>
          <c:dPt>
            <c:idx val="1587"/>
            <c:spPr>
              <a:solidFill>
                <a:srgbClr val="AEABAB"/>
              </a:solidFill>
            </c:spPr>
          </c:dPt>
          <c:dPt>
            <c:idx val="1588"/>
            <c:spPr>
              <a:solidFill>
                <a:srgbClr val="AEABAB"/>
              </a:solidFill>
            </c:spPr>
          </c:dPt>
          <c:dPt>
            <c:idx val="1589"/>
            <c:spPr>
              <a:solidFill>
                <a:srgbClr val="AEABAB"/>
              </a:solidFill>
            </c:spPr>
          </c:dPt>
          <c:dPt>
            <c:idx val="1590"/>
            <c:spPr>
              <a:solidFill>
                <a:srgbClr val="AEABAB"/>
              </a:solidFill>
            </c:spPr>
          </c:dPt>
          <c:dPt>
            <c:idx val="1591"/>
            <c:spPr>
              <a:solidFill>
                <a:srgbClr val="AEABAB"/>
              </a:solidFill>
            </c:spPr>
          </c:dPt>
          <c:dPt>
            <c:idx val="1592"/>
            <c:spPr>
              <a:solidFill>
                <a:srgbClr val="AEABAB"/>
              </a:solidFill>
            </c:spPr>
          </c:dPt>
          <c:dPt>
            <c:idx val="1593"/>
            <c:spPr>
              <a:solidFill>
                <a:srgbClr val="AEABAB"/>
              </a:solidFill>
            </c:spPr>
          </c:dPt>
          <c:dPt>
            <c:idx val="1594"/>
            <c:spPr>
              <a:solidFill>
                <a:srgbClr val="AEABAB"/>
              </a:solidFill>
            </c:spPr>
          </c:dPt>
          <c:dPt>
            <c:idx val="1595"/>
            <c:spPr>
              <a:solidFill>
                <a:srgbClr val="AEABAB"/>
              </a:solidFill>
            </c:spPr>
          </c:dPt>
          <c:dPt>
            <c:idx val="1596"/>
            <c:spPr>
              <a:solidFill>
                <a:srgbClr val="AEABAB"/>
              </a:solidFill>
            </c:spPr>
          </c:dPt>
          <c:dPt>
            <c:idx val="1597"/>
            <c:spPr>
              <a:solidFill>
                <a:srgbClr val="AEABAB"/>
              </a:solidFill>
            </c:spPr>
          </c:dPt>
          <c:dPt>
            <c:idx val="1598"/>
            <c:spPr>
              <a:solidFill>
                <a:srgbClr val="AEABAB"/>
              </a:solidFill>
            </c:spPr>
          </c:dPt>
          <c:dPt>
            <c:idx val="1599"/>
            <c:spPr>
              <a:solidFill>
                <a:srgbClr val="AEABAB"/>
              </a:solidFill>
            </c:spPr>
          </c:dPt>
          <c:dPt>
            <c:idx val="1600"/>
            <c:spPr>
              <a:solidFill>
                <a:srgbClr val="AEABAB"/>
              </a:solidFill>
            </c:spPr>
          </c:dPt>
          <c:dPt>
            <c:idx val="1601"/>
            <c:spPr>
              <a:solidFill>
                <a:srgbClr val="AEABAB"/>
              </a:solidFill>
            </c:spPr>
          </c:dPt>
          <c:dPt>
            <c:idx val="1602"/>
            <c:spPr>
              <a:solidFill>
                <a:srgbClr val="AEABAB"/>
              </a:solidFill>
            </c:spPr>
          </c:dPt>
          <c:dPt>
            <c:idx val="1603"/>
            <c:spPr>
              <a:solidFill>
                <a:srgbClr val="AEABAB"/>
              </a:solidFill>
            </c:spPr>
          </c:dPt>
          <c:dPt>
            <c:idx val="1604"/>
            <c:spPr>
              <a:solidFill>
                <a:srgbClr val="AEABAB"/>
              </a:solidFill>
            </c:spPr>
          </c:dPt>
          <c:dPt>
            <c:idx val="1605"/>
            <c:spPr>
              <a:solidFill>
                <a:srgbClr val="AEABAB"/>
              </a:solidFill>
            </c:spPr>
          </c:dPt>
          <c:dPt>
            <c:idx val="1606"/>
            <c:spPr>
              <a:solidFill>
                <a:srgbClr val="AEABAB"/>
              </a:solidFill>
            </c:spPr>
          </c:dPt>
          <c:dPt>
            <c:idx val="1607"/>
            <c:spPr>
              <a:solidFill>
                <a:srgbClr val="AEABAB"/>
              </a:solidFill>
            </c:spPr>
          </c:dPt>
          <c:dPt>
            <c:idx val="1608"/>
            <c:spPr>
              <a:solidFill>
                <a:srgbClr val="AEABAB"/>
              </a:solidFill>
            </c:spPr>
          </c:dPt>
          <c:dPt>
            <c:idx val="1609"/>
            <c:spPr>
              <a:solidFill>
                <a:srgbClr val="AEABAB"/>
              </a:solidFill>
            </c:spPr>
          </c:dPt>
          <c:dPt>
            <c:idx val="1610"/>
            <c:spPr>
              <a:solidFill>
                <a:srgbClr val="AEABAB"/>
              </a:solidFill>
            </c:spPr>
          </c:dPt>
          <c:dPt>
            <c:idx val="1611"/>
            <c:spPr>
              <a:solidFill>
                <a:srgbClr val="AEABAB"/>
              </a:solidFill>
            </c:spPr>
          </c:dPt>
          <c:dPt>
            <c:idx val="1612"/>
            <c:spPr>
              <a:solidFill>
                <a:srgbClr val="AEABAB"/>
              </a:solidFill>
            </c:spPr>
          </c:dPt>
          <c:dPt>
            <c:idx val="1613"/>
            <c:spPr>
              <a:solidFill>
                <a:srgbClr val="AEABAB"/>
              </a:solidFill>
            </c:spPr>
          </c:dPt>
          <c:dPt>
            <c:idx val="1614"/>
            <c:spPr>
              <a:solidFill>
                <a:srgbClr val="AEABAB"/>
              </a:solidFill>
            </c:spPr>
          </c:dPt>
          <c:dPt>
            <c:idx val="1615"/>
            <c:spPr>
              <a:solidFill>
                <a:srgbClr val="AEABAB"/>
              </a:solidFill>
            </c:spPr>
          </c:dPt>
          <c:dPt>
            <c:idx val="1616"/>
            <c:spPr>
              <a:solidFill>
                <a:srgbClr val="AEABAB"/>
              </a:solidFill>
            </c:spPr>
          </c:dPt>
          <c:dPt>
            <c:idx val="1617"/>
            <c:spPr>
              <a:solidFill>
                <a:srgbClr val="AEABAB"/>
              </a:solidFill>
            </c:spPr>
          </c:dPt>
          <c:dPt>
            <c:idx val="1618"/>
            <c:spPr>
              <a:solidFill>
                <a:srgbClr val="AEABAB"/>
              </a:solidFill>
            </c:spPr>
          </c:dPt>
          <c:dPt>
            <c:idx val="1619"/>
            <c:spPr>
              <a:solidFill>
                <a:srgbClr val="AEABAB"/>
              </a:solidFill>
            </c:spPr>
          </c:dPt>
          <c:dPt>
            <c:idx val="1620"/>
            <c:spPr>
              <a:solidFill>
                <a:srgbClr val="AEABAB"/>
              </a:solidFill>
            </c:spPr>
          </c:dPt>
          <c:dPt>
            <c:idx val="1621"/>
            <c:spPr>
              <a:solidFill>
                <a:srgbClr val="AEABAB"/>
              </a:solidFill>
            </c:spPr>
          </c:dPt>
          <c:dPt>
            <c:idx val="1622"/>
            <c:spPr>
              <a:solidFill>
                <a:srgbClr val="AEABAB"/>
              </a:solidFill>
            </c:spPr>
          </c:dPt>
          <c:dPt>
            <c:idx val="1623"/>
            <c:spPr>
              <a:solidFill>
                <a:srgbClr val="AEABAB"/>
              </a:solidFill>
            </c:spPr>
          </c:dPt>
          <c:dPt>
            <c:idx val="1624"/>
            <c:spPr>
              <a:solidFill>
                <a:srgbClr val="AEABAB"/>
              </a:solidFill>
            </c:spPr>
          </c:dPt>
          <c:dPt>
            <c:idx val="1625"/>
            <c:spPr>
              <a:solidFill>
                <a:srgbClr val="AEABAB"/>
              </a:solidFill>
            </c:spPr>
          </c:dPt>
          <c:dPt>
            <c:idx val="1626"/>
            <c:spPr>
              <a:solidFill>
                <a:srgbClr val="AEABAB"/>
              </a:solidFill>
            </c:spPr>
          </c:dPt>
          <c:dPt>
            <c:idx val="1627"/>
            <c:spPr>
              <a:solidFill>
                <a:srgbClr val="AEABAB"/>
              </a:solidFill>
            </c:spPr>
          </c:dPt>
          <c:dPt>
            <c:idx val="1628"/>
            <c:spPr>
              <a:solidFill>
                <a:srgbClr val="AEABAB"/>
              </a:solidFill>
            </c:spPr>
          </c:dPt>
          <c:dPt>
            <c:idx val="1629"/>
            <c:spPr>
              <a:solidFill>
                <a:srgbClr val="AEABAB"/>
              </a:solidFill>
            </c:spPr>
          </c:dPt>
          <c:dPt>
            <c:idx val="1630"/>
            <c:spPr>
              <a:solidFill>
                <a:srgbClr val="AEABAB"/>
              </a:solidFill>
            </c:spPr>
          </c:dPt>
          <c:dPt>
            <c:idx val="1631"/>
            <c:spPr>
              <a:solidFill>
                <a:srgbClr val="AEABAB"/>
              </a:solidFill>
            </c:spPr>
          </c:dPt>
          <c:dPt>
            <c:idx val="1632"/>
            <c:spPr>
              <a:solidFill>
                <a:srgbClr val="AEABAB"/>
              </a:solidFill>
            </c:spPr>
          </c:dPt>
          <c:dPt>
            <c:idx val="1633"/>
            <c:spPr>
              <a:solidFill>
                <a:srgbClr val="AEABAB"/>
              </a:solidFill>
            </c:spPr>
          </c:dPt>
          <c:dPt>
            <c:idx val="1634"/>
            <c:spPr>
              <a:solidFill>
                <a:srgbClr val="AEABAB"/>
              </a:solidFill>
            </c:spPr>
          </c:dPt>
          <c:dPt>
            <c:idx val="1635"/>
            <c:spPr>
              <a:solidFill>
                <a:srgbClr val="AEABAB"/>
              </a:solidFill>
            </c:spPr>
          </c:dPt>
          <c:dPt>
            <c:idx val="1636"/>
            <c:spPr>
              <a:solidFill>
                <a:srgbClr val="AEABAB"/>
              </a:solidFill>
            </c:spPr>
          </c:dPt>
          <c:dPt>
            <c:idx val="1637"/>
            <c:spPr>
              <a:solidFill>
                <a:srgbClr val="AEABAB"/>
              </a:solidFill>
            </c:spPr>
          </c:dPt>
          <c:dPt>
            <c:idx val="1638"/>
            <c:spPr>
              <a:solidFill>
                <a:srgbClr val="AEABAB"/>
              </a:solidFill>
            </c:spPr>
          </c:dPt>
          <c:dPt>
            <c:idx val="1639"/>
            <c:spPr>
              <a:solidFill>
                <a:srgbClr val="AEABAB"/>
              </a:solidFill>
            </c:spPr>
          </c:dPt>
          <c:dPt>
            <c:idx val="1640"/>
            <c:spPr>
              <a:solidFill>
                <a:srgbClr val="AEABAB"/>
              </a:solidFill>
            </c:spPr>
          </c:dPt>
          <c:dPt>
            <c:idx val="1641"/>
            <c:spPr>
              <a:solidFill>
                <a:srgbClr val="AEABAB"/>
              </a:solidFill>
            </c:spPr>
          </c:dPt>
          <c:dPt>
            <c:idx val="1642"/>
            <c:spPr>
              <a:solidFill>
                <a:srgbClr val="AEABAB"/>
              </a:solidFill>
            </c:spPr>
          </c:dPt>
          <c:dPt>
            <c:idx val="1643"/>
            <c:spPr>
              <a:solidFill>
                <a:srgbClr val="AEABAB"/>
              </a:solidFill>
            </c:spPr>
          </c:dPt>
          <c:dPt>
            <c:idx val="1644"/>
            <c:spPr>
              <a:solidFill>
                <a:srgbClr val="AEABAB"/>
              </a:solidFill>
            </c:spPr>
          </c:dPt>
          <c:dPt>
            <c:idx val="1645"/>
            <c:spPr>
              <a:solidFill>
                <a:srgbClr val="AEABAB"/>
              </a:solidFill>
            </c:spPr>
          </c:dPt>
          <c:dPt>
            <c:idx val="1646"/>
            <c:spPr>
              <a:solidFill>
                <a:srgbClr val="AEABAB"/>
              </a:solidFill>
            </c:spPr>
          </c:dPt>
          <c:dPt>
            <c:idx val="1647"/>
            <c:spPr>
              <a:solidFill>
                <a:srgbClr val="AEABAB"/>
              </a:solidFill>
            </c:spPr>
          </c:dPt>
          <c:dPt>
            <c:idx val="1648"/>
            <c:spPr>
              <a:solidFill>
                <a:srgbClr val="AEABAB"/>
              </a:solidFill>
            </c:spPr>
          </c:dPt>
          <c:dPt>
            <c:idx val="1649"/>
            <c:spPr>
              <a:solidFill>
                <a:srgbClr val="AEABAB"/>
              </a:solidFill>
            </c:spPr>
          </c:dPt>
          <c:dPt>
            <c:idx val="1650"/>
            <c:spPr>
              <a:solidFill>
                <a:srgbClr val="AEABAB"/>
              </a:solidFill>
            </c:spPr>
          </c:dPt>
          <c:dPt>
            <c:idx val="1651"/>
            <c:spPr>
              <a:solidFill>
                <a:srgbClr val="AEABAB"/>
              </a:solidFill>
            </c:spPr>
          </c:dPt>
          <c:dPt>
            <c:idx val="1652"/>
            <c:spPr>
              <a:solidFill>
                <a:srgbClr val="AEABAB"/>
              </a:solidFill>
            </c:spPr>
          </c:dPt>
          <c:dPt>
            <c:idx val="1653"/>
            <c:spPr>
              <a:solidFill>
                <a:srgbClr val="AEABAB"/>
              </a:solidFill>
            </c:spPr>
          </c:dPt>
          <c:dPt>
            <c:idx val="1654"/>
            <c:spPr>
              <a:solidFill>
                <a:srgbClr val="AEABAB"/>
              </a:solidFill>
            </c:spPr>
          </c:dPt>
          <c:dPt>
            <c:idx val="1655"/>
            <c:spPr>
              <a:solidFill>
                <a:srgbClr val="AEABAB"/>
              </a:solidFill>
            </c:spPr>
          </c:dPt>
          <c:dPt>
            <c:idx val="1656"/>
            <c:spPr>
              <a:solidFill>
                <a:srgbClr val="AEABAB"/>
              </a:solidFill>
            </c:spPr>
          </c:dPt>
          <c:dPt>
            <c:idx val="1657"/>
            <c:spPr>
              <a:solidFill>
                <a:srgbClr val="AEABAB"/>
              </a:solidFill>
            </c:spPr>
          </c:dPt>
          <c:dPt>
            <c:idx val="1658"/>
            <c:spPr>
              <a:solidFill>
                <a:srgbClr val="AEABAB"/>
              </a:solidFill>
            </c:spPr>
          </c:dPt>
          <c:dPt>
            <c:idx val="1659"/>
            <c:spPr>
              <a:solidFill>
                <a:srgbClr val="AEABAB"/>
              </a:solidFill>
            </c:spPr>
          </c:dPt>
          <c:dPt>
            <c:idx val="1660"/>
            <c:spPr>
              <a:solidFill>
                <a:srgbClr val="AEABAB"/>
              </a:solidFill>
            </c:spPr>
          </c:dPt>
          <c:dPt>
            <c:idx val="1661"/>
            <c:spPr>
              <a:solidFill>
                <a:srgbClr val="AEABAB"/>
              </a:solidFill>
            </c:spPr>
          </c:dPt>
          <c:dPt>
            <c:idx val="1662"/>
            <c:spPr>
              <a:solidFill>
                <a:srgbClr val="AEABAB"/>
              </a:solidFill>
            </c:spPr>
          </c:dPt>
          <c:dPt>
            <c:idx val="1663"/>
            <c:spPr>
              <a:solidFill>
                <a:srgbClr val="AEABAB"/>
              </a:solidFill>
            </c:spPr>
          </c:dPt>
          <c:dPt>
            <c:idx val="1664"/>
            <c:spPr>
              <a:solidFill>
                <a:srgbClr val="AEABAB"/>
              </a:solidFill>
            </c:spPr>
          </c:dPt>
          <c:dPt>
            <c:idx val="1665"/>
            <c:spPr>
              <a:solidFill>
                <a:srgbClr val="AEABAB"/>
              </a:solidFill>
            </c:spPr>
          </c:dPt>
          <c:dPt>
            <c:idx val="1666"/>
            <c:spPr>
              <a:solidFill>
                <a:srgbClr val="AEABAB"/>
              </a:solidFill>
            </c:spPr>
          </c:dPt>
          <c:dPt>
            <c:idx val="1667"/>
            <c:spPr>
              <a:solidFill>
                <a:srgbClr val="AEABAB"/>
              </a:solidFill>
            </c:spPr>
          </c:dPt>
          <c:dPt>
            <c:idx val="1668"/>
            <c:spPr>
              <a:solidFill>
                <a:srgbClr val="AEABAB"/>
              </a:solidFill>
            </c:spPr>
          </c:dPt>
          <c:dPt>
            <c:idx val="1669"/>
            <c:spPr>
              <a:solidFill>
                <a:srgbClr val="AEABAB"/>
              </a:solidFill>
            </c:spPr>
          </c:dPt>
          <c:dPt>
            <c:idx val="1670"/>
            <c:spPr>
              <a:solidFill>
                <a:srgbClr val="AEABAB"/>
              </a:solidFill>
            </c:spPr>
          </c:dPt>
          <c:dPt>
            <c:idx val="1671"/>
            <c:spPr>
              <a:solidFill>
                <a:srgbClr val="AEABAB"/>
              </a:solidFill>
            </c:spPr>
          </c:dPt>
          <c:dPt>
            <c:idx val="1672"/>
            <c:spPr>
              <a:solidFill>
                <a:srgbClr val="AEABAB"/>
              </a:solidFill>
            </c:spPr>
          </c:dPt>
          <c:dPt>
            <c:idx val="1673"/>
            <c:spPr>
              <a:solidFill>
                <a:srgbClr val="AEABAB"/>
              </a:solidFill>
            </c:spPr>
          </c:dPt>
          <c:dPt>
            <c:idx val="1674"/>
            <c:spPr>
              <a:solidFill>
                <a:srgbClr val="AEABAB"/>
              </a:solidFill>
            </c:spPr>
          </c:dPt>
          <c:dPt>
            <c:idx val="1675"/>
            <c:spPr>
              <a:solidFill>
                <a:srgbClr val="AEABAB"/>
              </a:solidFill>
            </c:spPr>
          </c:dPt>
          <c:dPt>
            <c:idx val="1676"/>
            <c:spPr>
              <a:solidFill>
                <a:srgbClr val="AEABAB"/>
              </a:solidFill>
            </c:spPr>
          </c:dPt>
          <c:dPt>
            <c:idx val="1677"/>
            <c:spPr>
              <a:solidFill>
                <a:srgbClr val="AEABAB"/>
              </a:solidFill>
            </c:spPr>
          </c:dPt>
          <c:dPt>
            <c:idx val="1678"/>
            <c:spPr>
              <a:solidFill>
                <a:srgbClr val="AEABAB"/>
              </a:solidFill>
            </c:spPr>
          </c:dPt>
          <c:dPt>
            <c:idx val="1679"/>
            <c:spPr>
              <a:solidFill>
                <a:srgbClr val="AEABAB"/>
              </a:solidFill>
            </c:spPr>
          </c:dPt>
          <c:dPt>
            <c:idx val="1680"/>
            <c:spPr>
              <a:solidFill>
                <a:srgbClr val="AEABAB"/>
              </a:solidFill>
            </c:spPr>
          </c:dPt>
          <c:dPt>
            <c:idx val="1681"/>
            <c:spPr>
              <a:solidFill>
                <a:srgbClr val="AEABAB"/>
              </a:solidFill>
            </c:spPr>
          </c:dPt>
          <c:dPt>
            <c:idx val="1682"/>
            <c:spPr>
              <a:solidFill>
                <a:srgbClr val="AEABAB"/>
              </a:solidFill>
            </c:spPr>
          </c:dPt>
          <c:dPt>
            <c:idx val="1683"/>
            <c:spPr>
              <a:solidFill>
                <a:srgbClr val="AEABAB"/>
              </a:solidFill>
            </c:spPr>
          </c:dPt>
          <c:dPt>
            <c:idx val="1684"/>
            <c:spPr>
              <a:solidFill>
                <a:srgbClr val="AEABAB"/>
              </a:solidFill>
            </c:spPr>
          </c:dPt>
          <c:dPt>
            <c:idx val="1685"/>
            <c:spPr>
              <a:solidFill>
                <a:srgbClr val="AEABAB"/>
              </a:solidFill>
            </c:spPr>
          </c:dPt>
          <c:dPt>
            <c:idx val="1686"/>
            <c:spPr>
              <a:solidFill>
                <a:srgbClr val="AEABAB"/>
              </a:solidFill>
            </c:spPr>
          </c:dPt>
          <c:dPt>
            <c:idx val="1687"/>
            <c:spPr>
              <a:solidFill>
                <a:srgbClr val="AEABAB"/>
              </a:solidFill>
            </c:spPr>
          </c:dPt>
          <c:dPt>
            <c:idx val="1688"/>
            <c:spPr>
              <a:solidFill>
                <a:srgbClr val="AEABAB"/>
              </a:solidFill>
            </c:spPr>
          </c:dPt>
          <c:dPt>
            <c:idx val="1689"/>
            <c:spPr>
              <a:solidFill>
                <a:srgbClr val="AEABAB"/>
              </a:solidFill>
            </c:spPr>
          </c:dPt>
          <c:dPt>
            <c:idx val="1690"/>
            <c:spPr>
              <a:solidFill>
                <a:srgbClr val="AEABAB"/>
              </a:solidFill>
            </c:spPr>
          </c:dPt>
          <c:dPt>
            <c:idx val="1691"/>
            <c:spPr>
              <a:solidFill>
                <a:srgbClr val="AEABAB"/>
              </a:solidFill>
            </c:spPr>
          </c:dPt>
          <c:dPt>
            <c:idx val="1692"/>
            <c:spPr>
              <a:solidFill>
                <a:srgbClr val="AEABAB"/>
              </a:solidFill>
            </c:spPr>
          </c:dPt>
          <c:dPt>
            <c:idx val="1693"/>
            <c:spPr>
              <a:solidFill>
                <a:srgbClr val="AEABAB"/>
              </a:solidFill>
            </c:spPr>
          </c:dPt>
          <c:dPt>
            <c:idx val="1694"/>
            <c:spPr>
              <a:solidFill>
                <a:srgbClr val="AEABAB"/>
              </a:solidFill>
            </c:spPr>
          </c:dPt>
          <c:dPt>
            <c:idx val="1695"/>
            <c:spPr>
              <a:solidFill>
                <a:srgbClr val="AEABAB"/>
              </a:solidFill>
            </c:spPr>
          </c:dPt>
          <c:dPt>
            <c:idx val="1696"/>
            <c:spPr>
              <a:solidFill>
                <a:srgbClr val="AEABAB"/>
              </a:solidFill>
            </c:spPr>
          </c:dPt>
          <c:dPt>
            <c:idx val="1697"/>
            <c:spPr>
              <a:solidFill>
                <a:srgbClr val="AEABAB"/>
              </a:solidFill>
            </c:spPr>
          </c:dPt>
          <c:dPt>
            <c:idx val="1698"/>
            <c:spPr>
              <a:solidFill>
                <a:srgbClr val="AEABAB"/>
              </a:solidFill>
            </c:spPr>
          </c:dPt>
          <c:dPt>
            <c:idx val="1699"/>
            <c:spPr>
              <a:solidFill>
                <a:srgbClr val="AEABAB"/>
              </a:solidFill>
            </c:spPr>
          </c:dPt>
          <c:dPt>
            <c:idx val="1700"/>
            <c:spPr>
              <a:solidFill>
                <a:srgbClr val="AEABAB"/>
              </a:solidFill>
            </c:spPr>
          </c:dPt>
          <c:dPt>
            <c:idx val="1701"/>
            <c:spPr>
              <a:solidFill>
                <a:srgbClr val="AEABAB"/>
              </a:solidFill>
            </c:spPr>
          </c:dPt>
          <c:dPt>
            <c:idx val="1702"/>
            <c:spPr>
              <a:solidFill>
                <a:srgbClr val="AEABAB"/>
              </a:solidFill>
            </c:spPr>
          </c:dPt>
          <c:dPt>
            <c:idx val="1703"/>
            <c:spPr>
              <a:solidFill>
                <a:srgbClr val="AEABAB"/>
              </a:solidFill>
            </c:spPr>
          </c:dPt>
          <c:dPt>
            <c:idx val="1704"/>
            <c:spPr>
              <a:solidFill>
                <a:srgbClr val="AEABAB"/>
              </a:solidFill>
            </c:spPr>
          </c:dPt>
          <c:dPt>
            <c:idx val="1705"/>
            <c:spPr>
              <a:solidFill>
                <a:srgbClr val="AEABAB"/>
              </a:solidFill>
            </c:spPr>
          </c:dPt>
          <c:dPt>
            <c:idx val="1706"/>
            <c:spPr>
              <a:solidFill>
                <a:srgbClr val="AEABAB"/>
              </a:solidFill>
            </c:spPr>
          </c:dPt>
          <c:dPt>
            <c:idx val="1707"/>
            <c:spPr>
              <a:solidFill>
                <a:srgbClr val="AEABAB"/>
              </a:solidFill>
            </c:spPr>
          </c:dPt>
          <c:dPt>
            <c:idx val="1708"/>
            <c:spPr>
              <a:solidFill>
                <a:srgbClr val="AEABAB"/>
              </a:solidFill>
            </c:spPr>
          </c:dPt>
          <c:dPt>
            <c:idx val="1709"/>
            <c:spPr>
              <a:solidFill>
                <a:srgbClr val="AEABAB"/>
              </a:solidFill>
            </c:spPr>
          </c:dPt>
          <c:dPt>
            <c:idx val="1710"/>
            <c:spPr>
              <a:solidFill>
                <a:srgbClr val="AEABAB"/>
              </a:solidFill>
            </c:spPr>
          </c:dPt>
          <c:dPt>
            <c:idx val="1711"/>
            <c:spPr>
              <a:solidFill>
                <a:srgbClr val="AEABAB"/>
              </a:solidFill>
            </c:spPr>
          </c:dPt>
          <c:dPt>
            <c:idx val="1712"/>
            <c:spPr>
              <a:solidFill>
                <a:srgbClr val="AEABAB"/>
              </a:solidFill>
            </c:spPr>
          </c:dPt>
          <c:dPt>
            <c:idx val="1713"/>
            <c:spPr>
              <a:solidFill>
                <a:srgbClr val="AEABAB"/>
              </a:solidFill>
            </c:spPr>
          </c:dPt>
          <c:dPt>
            <c:idx val="1714"/>
            <c:spPr>
              <a:solidFill>
                <a:srgbClr val="AEABAB"/>
              </a:solidFill>
            </c:spPr>
          </c:dPt>
          <c:dPt>
            <c:idx val="1715"/>
            <c:spPr>
              <a:solidFill>
                <a:srgbClr val="AEABAB"/>
              </a:solidFill>
            </c:spPr>
          </c:dPt>
          <c:dPt>
            <c:idx val="1716"/>
            <c:spPr>
              <a:solidFill>
                <a:srgbClr val="AEABAB"/>
              </a:solidFill>
            </c:spPr>
          </c:dPt>
          <c:dPt>
            <c:idx val="1717"/>
            <c:spPr>
              <a:solidFill>
                <a:srgbClr val="AEABAB"/>
              </a:solidFill>
            </c:spPr>
          </c:dPt>
          <c:dPt>
            <c:idx val="1718"/>
            <c:spPr>
              <a:solidFill>
                <a:srgbClr val="AEABAB"/>
              </a:solidFill>
            </c:spPr>
          </c:dPt>
          <c:dPt>
            <c:idx val="1719"/>
            <c:spPr>
              <a:solidFill>
                <a:srgbClr val="AEABAB"/>
              </a:solidFill>
            </c:spPr>
          </c:dPt>
          <c:dPt>
            <c:idx val="1720"/>
            <c:spPr>
              <a:solidFill>
                <a:srgbClr val="AEABAB"/>
              </a:solidFill>
            </c:spPr>
          </c:dPt>
          <c:dPt>
            <c:idx val="1721"/>
            <c:spPr>
              <a:solidFill>
                <a:srgbClr val="AEABAB"/>
              </a:solidFill>
            </c:spPr>
          </c:dPt>
          <c:dPt>
            <c:idx val="1722"/>
            <c:spPr>
              <a:solidFill>
                <a:srgbClr val="AEABAB"/>
              </a:solidFill>
            </c:spPr>
          </c:dPt>
          <c:dPt>
            <c:idx val="1723"/>
            <c:spPr>
              <a:solidFill>
                <a:srgbClr val="AEABAB"/>
              </a:solidFill>
            </c:spPr>
          </c:dPt>
          <c:dPt>
            <c:idx val="1724"/>
            <c:spPr>
              <a:solidFill>
                <a:srgbClr val="AEABAB"/>
              </a:solidFill>
            </c:spPr>
          </c:dPt>
          <c:dPt>
            <c:idx val="1725"/>
            <c:spPr>
              <a:solidFill>
                <a:srgbClr val="AEABAB"/>
              </a:solidFill>
            </c:spPr>
          </c:dPt>
          <c:dPt>
            <c:idx val="1726"/>
            <c:spPr>
              <a:solidFill>
                <a:srgbClr val="AEABAB"/>
              </a:solidFill>
            </c:spPr>
          </c:dPt>
          <c:dPt>
            <c:idx val="1727"/>
            <c:spPr>
              <a:solidFill>
                <a:srgbClr val="AEABAB"/>
              </a:solidFill>
            </c:spPr>
          </c:dPt>
          <c:dPt>
            <c:idx val="1728"/>
            <c:spPr>
              <a:solidFill>
                <a:srgbClr val="AEABAB"/>
              </a:solidFill>
            </c:spPr>
          </c:dPt>
          <c:dPt>
            <c:idx val="1729"/>
            <c:spPr>
              <a:solidFill>
                <a:srgbClr val="AEABAB"/>
              </a:solidFill>
            </c:spPr>
          </c:dPt>
          <c:dPt>
            <c:idx val="1730"/>
            <c:spPr>
              <a:solidFill>
                <a:srgbClr val="AEABAB"/>
              </a:solidFill>
            </c:spPr>
          </c:dPt>
          <c:dPt>
            <c:idx val="1731"/>
            <c:spPr>
              <a:solidFill>
                <a:srgbClr val="AEABAB"/>
              </a:solidFill>
            </c:spPr>
          </c:dPt>
          <c:dPt>
            <c:idx val="1732"/>
            <c:spPr>
              <a:solidFill>
                <a:srgbClr val="AEABAB"/>
              </a:solidFill>
            </c:spPr>
          </c:dPt>
          <c:dPt>
            <c:idx val="1733"/>
            <c:spPr>
              <a:solidFill>
                <a:srgbClr val="AEABAB"/>
              </a:solidFill>
            </c:spPr>
          </c:dPt>
          <c:dPt>
            <c:idx val="1734"/>
            <c:spPr>
              <a:solidFill>
                <a:srgbClr val="AEABAB"/>
              </a:solidFill>
            </c:spPr>
          </c:dPt>
          <c:dPt>
            <c:idx val="1735"/>
            <c:spPr>
              <a:solidFill>
                <a:srgbClr val="AEABAB"/>
              </a:solidFill>
            </c:spPr>
          </c:dPt>
          <c:dPt>
            <c:idx val="1736"/>
            <c:spPr>
              <a:solidFill>
                <a:srgbClr val="AEABAB"/>
              </a:solidFill>
            </c:spPr>
          </c:dPt>
          <c:dPt>
            <c:idx val="1737"/>
            <c:spPr>
              <a:solidFill>
                <a:srgbClr val="AEABAB"/>
              </a:solidFill>
            </c:spPr>
          </c:dPt>
          <c:dPt>
            <c:idx val="1738"/>
            <c:spPr>
              <a:solidFill>
                <a:srgbClr val="AEABAB"/>
              </a:solidFill>
            </c:spPr>
          </c:dPt>
          <c:dPt>
            <c:idx val="1739"/>
            <c:spPr>
              <a:solidFill>
                <a:srgbClr val="AEABAB"/>
              </a:solidFill>
            </c:spPr>
          </c:dPt>
          <c:dPt>
            <c:idx val="1740"/>
            <c:spPr>
              <a:solidFill>
                <a:srgbClr val="AEABAB"/>
              </a:solidFill>
            </c:spPr>
          </c:dPt>
          <c:dPt>
            <c:idx val="1741"/>
            <c:spPr>
              <a:solidFill>
                <a:srgbClr val="AEABAB"/>
              </a:solidFill>
            </c:spPr>
          </c:dPt>
          <c:dPt>
            <c:idx val="1742"/>
            <c:spPr>
              <a:solidFill>
                <a:srgbClr val="AEABAB"/>
              </a:solidFill>
            </c:spPr>
          </c:dPt>
          <c:dPt>
            <c:idx val="1743"/>
            <c:spPr>
              <a:solidFill>
                <a:srgbClr val="AEABAB"/>
              </a:solidFill>
            </c:spPr>
          </c:dPt>
          <c:dPt>
            <c:idx val="1744"/>
            <c:spPr>
              <a:solidFill>
                <a:srgbClr val="AEABAB"/>
              </a:solidFill>
            </c:spPr>
          </c:dPt>
          <c:dPt>
            <c:idx val="1745"/>
            <c:spPr>
              <a:solidFill>
                <a:srgbClr val="AEABAB"/>
              </a:solidFill>
            </c:spPr>
          </c:dPt>
          <c:dPt>
            <c:idx val="1746"/>
            <c:spPr>
              <a:solidFill>
                <a:srgbClr val="AEABAB"/>
              </a:solidFill>
            </c:spPr>
          </c:dPt>
          <c:dPt>
            <c:idx val="1747"/>
            <c:spPr>
              <a:solidFill>
                <a:srgbClr val="AEABAB"/>
              </a:solidFill>
            </c:spPr>
          </c:dPt>
          <c:dPt>
            <c:idx val="1748"/>
            <c:spPr>
              <a:solidFill>
                <a:srgbClr val="AEABAB"/>
              </a:solidFill>
            </c:spPr>
          </c:dPt>
          <c:dPt>
            <c:idx val="1749"/>
            <c:spPr>
              <a:solidFill>
                <a:srgbClr val="AEABAB"/>
              </a:solidFill>
            </c:spPr>
          </c:dPt>
          <c:dPt>
            <c:idx val="1750"/>
            <c:spPr>
              <a:solidFill>
                <a:srgbClr val="AEABAB"/>
              </a:solidFill>
            </c:spPr>
          </c:dPt>
          <c:dPt>
            <c:idx val="1751"/>
            <c:spPr>
              <a:solidFill>
                <a:srgbClr val="AEABAB"/>
              </a:solidFill>
            </c:spPr>
          </c:dPt>
          <c:dPt>
            <c:idx val="1752"/>
            <c:spPr>
              <a:solidFill>
                <a:srgbClr val="AEABAB"/>
              </a:solidFill>
            </c:spPr>
          </c:dPt>
          <c:dPt>
            <c:idx val="1753"/>
            <c:spPr>
              <a:solidFill>
                <a:srgbClr val="AEABAB"/>
              </a:solidFill>
            </c:spPr>
          </c:dPt>
          <c:dPt>
            <c:idx val="1754"/>
            <c:spPr>
              <a:solidFill>
                <a:srgbClr val="AEABAB"/>
              </a:solidFill>
            </c:spPr>
          </c:dPt>
          <c:dPt>
            <c:idx val="1755"/>
            <c:spPr>
              <a:solidFill>
                <a:srgbClr val="AEABAB"/>
              </a:solidFill>
            </c:spPr>
          </c:dPt>
          <c:dPt>
            <c:idx val="1756"/>
            <c:spPr>
              <a:solidFill>
                <a:srgbClr val="AEABAB"/>
              </a:solidFill>
            </c:spPr>
          </c:dPt>
          <c:dPt>
            <c:idx val="1757"/>
            <c:spPr>
              <a:solidFill>
                <a:srgbClr val="AEABAB"/>
              </a:solidFill>
            </c:spPr>
          </c:dPt>
          <c:dPt>
            <c:idx val="1758"/>
            <c:spPr>
              <a:solidFill>
                <a:srgbClr val="AEABAB"/>
              </a:solidFill>
            </c:spPr>
          </c:dPt>
          <c:dPt>
            <c:idx val="1759"/>
            <c:spPr>
              <a:solidFill>
                <a:srgbClr val="AEABAB"/>
              </a:solidFill>
            </c:spPr>
          </c:dPt>
          <c:dPt>
            <c:idx val="1760"/>
            <c:spPr>
              <a:solidFill>
                <a:srgbClr val="AEABAB"/>
              </a:solidFill>
            </c:spPr>
          </c:dPt>
          <c:dPt>
            <c:idx val="1761"/>
            <c:spPr>
              <a:solidFill>
                <a:srgbClr val="AEABAB"/>
              </a:solidFill>
            </c:spPr>
          </c:dPt>
          <c:dPt>
            <c:idx val="1762"/>
            <c:spPr>
              <a:solidFill>
                <a:srgbClr val="AEABAB"/>
              </a:solidFill>
            </c:spPr>
          </c:dPt>
          <c:dPt>
            <c:idx val="1763"/>
            <c:spPr>
              <a:solidFill>
                <a:srgbClr val="AEABAB"/>
              </a:solidFill>
            </c:spPr>
          </c:dPt>
          <c:dPt>
            <c:idx val="1764"/>
            <c:spPr>
              <a:solidFill>
                <a:srgbClr val="AEABAB"/>
              </a:solidFill>
            </c:spPr>
          </c:dPt>
          <c:dPt>
            <c:idx val="1765"/>
            <c:spPr>
              <a:solidFill>
                <a:srgbClr val="AEABAB"/>
              </a:solidFill>
            </c:spPr>
          </c:dPt>
          <c:dPt>
            <c:idx val="1766"/>
            <c:spPr>
              <a:solidFill>
                <a:srgbClr val="AEABAB"/>
              </a:solidFill>
            </c:spPr>
          </c:dPt>
          <c:dPt>
            <c:idx val="1767"/>
            <c:spPr>
              <a:solidFill>
                <a:srgbClr val="AEABAB"/>
              </a:solidFill>
            </c:spPr>
          </c:dPt>
          <c:dPt>
            <c:idx val="1768"/>
            <c:spPr>
              <a:solidFill>
                <a:srgbClr val="AEABAB"/>
              </a:solidFill>
            </c:spPr>
          </c:dPt>
          <c:dPt>
            <c:idx val="1769"/>
            <c:spPr>
              <a:solidFill>
                <a:srgbClr val="AEABAB"/>
              </a:solidFill>
            </c:spPr>
          </c:dPt>
          <c:dPt>
            <c:idx val="1770"/>
            <c:spPr>
              <a:solidFill>
                <a:srgbClr val="AEABAB"/>
              </a:solidFill>
            </c:spPr>
          </c:dPt>
          <c:dPt>
            <c:idx val="1771"/>
            <c:spPr>
              <a:solidFill>
                <a:srgbClr val="AEABAB"/>
              </a:solidFill>
            </c:spPr>
          </c:dPt>
          <c:dPt>
            <c:idx val="1772"/>
            <c:spPr>
              <a:solidFill>
                <a:srgbClr val="AEABAB"/>
              </a:solidFill>
            </c:spPr>
          </c:dPt>
          <c:dPt>
            <c:idx val="1773"/>
            <c:spPr>
              <a:solidFill>
                <a:srgbClr val="AEABAB"/>
              </a:solidFill>
            </c:spPr>
          </c:dPt>
          <c:dPt>
            <c:idx val="1774"/>
            <c:spPr>
              <a:solidFill>
                <a:srgbClr val="AEABAB"/>
              </a:solidFill>
            </c:spPr>
          </c:dPt>
          <c:dPt>
            <c:idx val="1775"/>
            <c:spPr>
              <a:solidFill>
                <a:srgbClr val="AEABAB"/>
              </a:solidFill>
            </c:spPr>
          </c:dPt>
          <c:dPt>
            <c:idx val="1776"/>
            <c:spPr>
              <a:solidFill>
                <a:srgbClr val="AEABAB"/>
              </a:solidFill>
            </c:spPr>
          </c:dPt>
          <c:dPt>
            <c:idx val="1777"/>
            <c:spPr>
              <a:solidFill>
                <a:srgbClr val="AEABAB"/>
              </a:solidFill>
            </c:spPr>
          </c:dPt>
          <c:dPt>
            <c:idx val="1778"/>
            <c:spPr>
              <a:solidFill>
                <a:srgbClr val="AEABAB"/>
              </a:solidFill>
            </c:spPr>
          </c:dPt>
          <c:dPt>
            <c:idx val="1779"/>
            <c:spPr>
              <a:solidFill>
                <a:srgbClr val="AEABAB"/>
              </a:solidFill>
            </c:spPr>
          </c:dPt>
          <c:dPt>
            <c:idx val="1780"/>
            <c:spPr>
              <a:solidFill>
                <a:srgbClr val="AEABAB"/>
              </a:solidFill>
            </c:spPr>
          </c:dPt>
          <c:dPt>
            <c:idx val="1781"/>
            <c:spPr>
              <a:solidFill>
                <a:srgbClr val="AEABAB"/>
              </a:solidFill>
            </c:spPr>
          </c:dPt>
          <c:dPt>
            <c:idx val="1782"/>
            <c:spPr>
              <a:solidFill>
                <a:srgbClr val="AEABAB"/>
              </a:solidFill>
            </c:spPr>
          </c:dPt>
          <c:dPt>
            <c:idx val="1783"/>
            <c:spPr>
              <a:solidFill>
                <a:srgbClr val="AEABAB"/>
              </a:solidFill>
            </c:spPr>
          </c:dPt>
          <c:dPt>
            <c:idx val="1784"/>
            <c:spPr>
              <a:solidFill>
                <a:srgbClr val="AEABAB"/>
              </a:solidFill>
            </c:spPr>
          </c:dPt>
          <c:dPt>
            <c:idx val="1785"/>
            <c:spPr>
              <a:solidFill>
                <a:srgbClr val="AEABAB"/>
              </a:solidFill>
            </c:spPr>
          </c:dPt>
          <c:dPt>
            <c:idx val="1786"/>
            <c:spPr>
              <a:solidFill>
                <a:srgbClr val="AEABAB"/>
              </a:solidFill>
            </c:spPr>
          </c:dPt>
          <c:dPt>
            <c:idx val="1787"/>
            <c:spPr>
              <a:solidFill>
                <a:srgbClr val="AEABAB"/>
              </a:solidFill>
            </c:spPr>
          </c:dPt>
          <c:dPt>
            <c:idx val="1788"/>
            <c:spPr>
              <a:solidFill>
                <a:srgbClr val="AEABAB"/>
              </a:solidFill>
            </c:spPr>
          </c:dPt>
          <c:dPt>
            <c:idx val="1789"/>
            <c:spPr>
              <a:solidFill>
                <a:srgbClr val="AEABAB"/>
              </a:solidFill>
            </c:spPr>
          </c:dPt>
          <c:dPt>
            <c:idx val="1790"/>
            <c:spPr>
              <a:solidFill>
                <a:srgbClr val="AEABAB"/>
              </a:solidFill>
            </c:spPr>
          </c:dPt>
          <c:dPt>
            <c:idx val="1791"/>
            <c:spPr>
              <a:solidFill>
                <a:srgbClr val="AEABAB"/>
              </a:solidFill>
            </c:spPr>
          </c:dPt>
          <c:dPt>
            <c:idx val="1792"/>
            <c:spPr>
              <a:solidFill>
                <a:srgbClr val="AEABAB"/>
              </a:solidFill>
            </c:spPr>
          </c:dPt>
          <c:dPt>
            <c:idx val="1793"/>
            <c:spPr>
              <a:solidFill>
                <a:srgbClr val="AEABAB"/>
              </a:solidFill>
            </c:spPr>
          </c:dPt>
          <c:dPt>
            <c:idx val="1794"/>
            <c:spPr>
              <a:solidFill>
                <a:srgbClr val="AEABAB"/>
              </a:solidFill>
            </c:spPr>
          </c:dPt>
          <c:dPt>
            <c:idx val="1795"/>
            <c:spPr>
              <a:solidFill>
                <a:srgbClr val="AEABAB"/>
              </a:solidFill>
            </c:spPr>
          </c:dPt>
          <c:dPt>
            <c:idx val="1796"/>
            <c:spPr>
              <a:solidFill>
                <a:srgbClr val="AEABAB"/>
              </a:solidFill>
            </c:spPr>
          </c:dPt>
          <c:dPt>
            <c:idx val="1797"/>
            <c:spPr>
              <a:solidFill>
                <a:srgbClr val="AEABAB"/>
              </a:solidFill>
            </c:spPr>
          </c:dPt>
          <c:dPt>
            <c:idx val="1798"/>
            <c:spPr>
              <a:solidFill>
                <a:srgbClr val="AEABAB"/>
              </a:solidFill>
            </c:spPr>
          </c:dPt>
          <c:dPt>
            <c:idx val="1799"/>
            <c:spPr>
              <a:solidFill>
                <a:srgbClr val="AEABAB"/>
              </a:solidFill>
            </c:spPr>
          </c:dPt>
          <c:dPt>
            <c:idx val="1800"/>
            <c:spPr>
              <a:solidFill>
                <a:srgbClr val="AEABAB"/>
              </a:solidFill>
            </c:spPr>
          </c:dPt>
          <c:dPt>
            <c:idx val="1801"/>
            <c:spPr>
              <a:solidFill>
                <a:srgbClr val="AEABAB"/>
              </a:solidFill>
            </c:spPr>
          </c:dPt>
          <c:dPt>
            <c:idx val="1802"/>
            <c:spPr>
              <a:solidFill>
                <a:srgbClr val="AEABAB"/>
              </a:solidFill>
            </c:spPr>
          </c:dPt>
          <c:dPt>
            <c:idx val="1803"/>
            <c:spPr>
              <a:solidFill>
                <a:srgbClr val="AEABAB"/>
              </a:solidFill>
            </c:spPr>
          </c:dPt>
          <c:dPt>
            <c:idx val="1804"/>
            <c:spPr>
              <a:solidFill>
                <a:srgbClr val="AEABAB"/>
              </a:solidFill>
            </c:spPr>
          </c:dPt>
          <c:dPt>
            <c:idx val="1805"/>
            <c:spPr>
              <a:solidFill>
                <a:srgbClr val="AEABAB"/>
              </a:solidFill>
            </c:spPr>
          </c:dPt>
          <c:dPt>
            <c:idx val="1806"/>
            <c:spPr>
              <a:solidFill>
                <a:srgbClr val="AEABAB"/>
              </a:solidFill>
            </c:spPr>
          </c:dPt>
          <c:dPt>
            <c:idx val="1807"/>
            <c:spPr>
              <a:solidFill>
                <a:srgbClr val="AEABAB"/>
              </a:solidFill>
            </c:spPr>
          </c:dPt>
          <c:dPt>
            <c:idx val="1808"/>
            <c:spPr>
              <a:solidFill>
                <a:srgbClr val="AEABAB"/>
              </a:solidFill>
            </c:spPr>
          </c:dPt>
          <c:dPt>
            <c:idx val="1809"/>
            <c:spPr>
              <a:solidFill>
                <a:srgbClr val="AEABAB"/>
              </a:solidFill>
            </c:spPr>
          </c:dPt>
          <c:dPt>
            <c:idx val="1810"/>
            <c:spPr>
              <a:solidFill>
                <a:srgbClr val="AEABAB"/>
              </a:solidFill>
            </c:spPr>
          </c:dPt>
          <c:dPt>
            <c:idx val="1811"/>
            <c:spPr>
              <a:solidFill>
                <a:srgbClr val="AEABAB"/>
              </a:solidFill>
            </c:spPr>
          </c:dPt>
          <c:dPt>
            <c:idx val="1812"/>
            <c:spPr>
              <a:solidFill>
                <a:srgbClr val="AEABAB"/>
              </a:solidFill>
            </c:spPr>
          </c:dPt>
          <c:dPt>
            <c:idx val="1813"/>
            <c:spPr>
              <a:solidFill>
                <a:srgbClr val="AEABAB"/>
              </a:solidFill>
            </c:spPr>
          </c:dPt>
          <c:dPt>
            <c:idx val="1814"/>
            <c:spPr>
              <a:solidFill>
                <a:srgbClr val="AEABAB"/>
              </a:solidFill>
            </c:spPr>
          </c:dPt>
          <c:dPt>
            <c:idx val="1815"/>
            <c:spPr>
              <a:solidFill>
                <a:srgbClr val="AEABAB"/>
              </a:solidFill>
            </c:spPr>
          </c:dPt>
          <c:dPt>
            <c:idx val="1816"/>
            <c:spPr>
              <a:solidFill>
                <a:srgbClr val="AEABAB"/>
              </a:solidFill>
            </c:spPr>
          </c:dPt>
          <c:dPt>
            <c:idx val="1817"/>
            <c:spPr>
              <a:solidFill>
                <a:srgbClr val="AEABAB"/>
              </a:solidFill>
            </c:spPr>
          </c:dPt>
          <c:dPt>
            <c:idx val="1818"/>
            <c:spPr>
              <a:solidFill>
                <a:srgbClr val="AEABAB"/>
              </a:solidFill>
            </c:spPr>
          </c:dPt>
          <c:dPt>
            <c:idx val="1819"/>
            <c:spPr>
              <a:solidFill>
                <a:srgbClr val="AEABAB"/>
              </a:solidFill>
            </c:spPr>
          </c:dPt>
          <c:dPt>
            <c:idx val="1820"/>
            <c:spPr>
              <a:solidFill>
                <a:srgbClr val="AEABAB"/>
              </a:solidFill>
            </c:spPr>
          </c:dPt>
          <c:dPt>
            <c:idx val="1821"/>
            <c:spPr>
              <a:solidFill>
                <a:srgbClr val="AEABAB"/>
              </a:solidFill>
            </c:spPr>
          </c:dPt>
          <c:dPt>
            <c:idx val="1822"/>
            <c:spPr>
              <a:solidFill>
                <a:srgbClr val="AEABAB"/>
              </a:solidFill>
            </c:spPr>
          </c:dPt>
          <c:dPt>
            <c:idx val="1823"/>
            <c:spPr>
              <a:solidFill>
                <a:srgbClr val="AEABAB"/>
              </a:solidFill>
            </c:spPr>
          </c:dPt>
          <c:dPt>
            <c:idx val="1824"/>
            <c:spPr>
              <a:solidFill>
                <a:srgbClr val="AEABAB"/>
              </a:solidFill>
            </c:spPr>
          </c:dPt>
          <c:dPt>
            <c:idx val="1825"/>
            <c:spPr>
              <a:solidFill>
                <a:srgbClr val="AEABAB"/>
              </a:solidFill>
            </c:spPr>
          </c:dPt>
          <c:dPt>
            <c:idx val="1826"/>
            <c:spPr>
              <a:solidFill>
                <a:srgbClr val="AEABAB"/>
              </a:solidFill>
            </c:spPr>
          </c:dPt>
          <c:dPt>
            <c:idx val="1827"/>
            <c:spPr>
              <a:solidFill>
                <a:srgbClr val="AEABAB"/>
              </a:solidFill>
            </c:spPr>
          </c:dPt>
          <c:dPt>
            <c:idx val="1828"/>
            <c:spPr>
              <a:solidFill>
                <a:srgbClr val="AEABAB"/>
              </a:solidFill>
            </c:spPr>
          </c:dPt>
          <c:dPt>
            <c:idx val="1829"/>
            <c:spPr>
              <a:solidFill>
                <a:srgbClr val="AEABAB"/>
              </a:solidFill>
            </c:spPr>
          </c:dPt>
          <c:dPt>
            <c:idx val="1830"/>
            <c:spPr>
              <a:solidFill>
                <a:srgbClr val="AEABAB"/>
              </a:solidFill>
            </c:spPr>
          </c:dPt>
          <c:dPt>
            <c:idx val="1831"/>
            <c:spPr>
              <a:solidFill>
                <a:srgbClr val="AEABAB"/>
              </a:solidFill>
            </c:spPr>
          </c:dPt>
          <c:dPt>
            <c:idx val="1832"/>
            <c:spPr>
              <a:solidFill>
                <a:srgbClr val="AEABAB"/>
              </a:solidFill>
            </c:spPr>
          </c:dPt>
          <c:dPt>
            <c:idx val="1833"/>
            <c:spPr>
              <a:solidFill>
                <a:srgbClr val="AEABAB"/>
              </a:solidFill>
            </c:spPr>
          </c:dPt>
          <c:dPt>
            <c:idx val="1834"/>
            <c:spPr>
              <a:solidFill>
                <a:srgbClr val="AEABAB"/>
              </a:solidFill>
            </c:spPr>
          </c:dPt>
          <c:dPt>
            <c:idx val="1835"/>
            <c:spPr>
              <a:solidFill>
                <a:srgbClr val="AEABAB"/>
              </a:solidFill>
            </c:spPr>
          </c:dPt>
          <c:dPt>
            <c:idx val="1836"/>
            <c:spPr>
              <a:solidFill>
                <a:srgbClr val="AEABAB"/>
              </a:solidFill>
            </c:spPr>
          </c:dPt>
          <c:dPt>
            <c:idx val="1837"/>
            <c:spPr>
              <a:solidFill>
                <a:srgbClr val="AEABAB"/>
              </a:solidFill>
            </c:spPr>
          </c:dPt>
          <c:dPt>
            <c:idx val="1838"/>
            <c:spPr>
              <a:solidFill>
                <a:srgbClr val="AEABAB"/>
              </a:solidFill>
            </c:spPr>
          </c:dPt>
          <c:dPt>
            <c:idx val="1839"/>
            <c:spPr>
              <a:solidFill>
                <a:srgbClr val="AEABAB"/>
              </a:solidFill>
            </c:spPr>
          </c:dPt>
          <c:dPt>
            <c:idx val="1840"/>
            <c:spPr>
              <a:solidFill>
                <a:srgbClr val="AEABAB"/>
              </a:solidFill>
            </c:spPr>
          </c:dPt>
          <c:dPt>
            <c:idx val="1841"/>
            <c:spPr>
              <a:solidFill>
                <a:srgbClr val="AEABAB"/>
              </a:solidFill>
            </c:spPr>
          </c:dPt>
          <c:dPt>
            <c:idx val="1842"/>
            <c:spPr>
              <a:solidFill>
                <a:srgbClr val="AEABAB"/>
              </a:solidFill>
            </c:spPr>
          </c:dPt>
          <c:dPt>
            <c:idx val="1843"/>
            <c:spPr>
              <a:solidFill>
                <a:srgbClr val="AEABAB"/>
              </a:solidFill>
            </c:spPr>
          </c:dPt>
          <c:dPt>
            <c:idx val="1844"/>
            <c:spPr>
              <a:solidFill>
                <a:srgbClr val="AEABAB"/>
              </a:solidFill>
            </c:spPr>
          </c:dPt>
          <c:dPt>
            <c:idx val="1845"/>
            <c:spPr>
              <a:solidFill>
                <a:srgbClr val="AEABAB"/>
              </a:solidFill>
            </c:spPr>
          </c:dPt>
          <c:dPt>
            <c:idx val="1846"/>
            <c:spPr>
              <a:solidFill>
                <a:srgbClr val="AEABAB"/>
              </a:solidFill>
            </c:spPr>
          </c:dPt>
          <c:dPt>
            <c:idx val="1847"/>
            <c:spPr>
              <a:solidFill>
                <a:srgbClr val="AEABAB"/>
              </a:solidFill>
            </c:spPr>
          </c:dPt>
          <c:dPt>
            <c:idx val="1848"/>
            <c:spPr>
              <a:solidFill>
                <a:srgbClr val="AEABAB"/>
              </a:solidFill>
            </c:spPr>
          </c:dPt>
          <c:dPt>
            <c:idx val="1849"/>
            <c:spPr>
              <a:solidFill>
                <a:srgbClr val="AEABAB"/>
              </a:solidFill>
            </c:spPr>
          </c:dPt>
          <c:dPt>
            <c:idx val="1850"/>
            <c:spPr>
              <a:solidFill>
                <a:srgbClr val="AEABAB"/>
              </a:solidFill>
            </c:spPr>
          </c:dPt>
          <c:dPt>
            <c:idx val="1851"/>
            <c:spPr>
              <a:solidFill>
                <a:srgbClr val="AEABAB"/>
              </a:solidFill>
            </c:spPr>
          </c:dPt>
          <c:dPt>
            <c:idx val="1852"/>
            <c:spPr>
              <a:solidFill>
                <a:srgbClr val="AEABAB"/>
              </a:solidFill>
            </c:spPr>
          </c:dPt>
          <c:dPt>
            <c:idx val="1853"/>
            <c:spPr>
              <a:solidFill>
                <a:srgbClr val="AEABAB"/>
              </a:solidFill>
            </c:spPr>
          </c:dPt>
          <c:dPt>
            <c:idx val="1854"/>
            <c:spPr>
              <a:solidFill>
                <a:srgbClr val="AEABAB"/>
              </a:solidFill>
            </c:spPr>
          </c:dPt>
          <c:dPt>
            <c:idx val="1855"/>
            <c:spPr>
              <a:solidFill>
                <a:srgbClr val="AEABAB"/>
              </a:solidFill>
            </c:spPr>
          </c:dPt>
          <c:dPt>
            <c:idx val="1856"/>
            <c:spPr>
              <a:solidFill>
                <a:srgbClr val="AEABAB"/>
              </a:solidFill>
            </c:spPr>
          </c:dPt>
          <c:dPt>
            <c:idx val="1857"/>
            <c:spPr>
              <a:solidFill>
                <a:srgbClr val="AEABAB"/>
              </a:solidFill>
            </c:spPr>
          </c:dPt>
          <c:dPt>
            <c:idx val="1858"/>
            <c:spPr>
              <a:solidFill>
                <a:srgbClr val="AEABAB"/>
              </a:solidFill>
            </c:spPr>
          </c:dPt>
          <c:dPt>
            <c:idx val="1859"/>
            <c:spPr>
              <a:solidFill>
                <a:srgbClr val="AEABAB"/>
              </a:solidFill>
            </c:spPr>
          </c:dPt>
          <c:dPt>
            <c:idx val="1860"/>
            <c:spPr>
              <a:solidFill>
                <a:srgbClr val="AEABAB"/>
              </a:solidFill>
            </c:spPr>
          </c:dPt>
          <c:dPt>
            <c:idx val="1861"/>
            <c:spPr>
              <a:solidFill>
                <a:srgbClr val="AEABAB"/>
              </a:solidFill>
            </c:spPr>
          </c:dPt>
          <c:dPt>
            <c:idx val="1862"/>
            <c:spPr>
              <a:solidFill>
                <a:srgbClr val="AEABAB"/>
              </a:solidFill>
            </c:spPr>
          </c:dPt>
          <c:dPt>
            <c:idx val="1863"/>
            <c:spPr>
              <a:solidFill>
                <a:srgbClr val="AEABAB"/>
              </a:solidFill>
            </c:spPr>
          </c:dPt>
          <c:dPt>
            <c:idx val="1864"/>
            <c:spPr>
              <a:solidFill>
                <a:srgbClr val="AEABAB"/>
              </a:solidFill>
            </c:spPr>
          </c:dPt>
          <c:dPt>
            <c:idx val="1865"/>
            <c:spPr>
              <a:solidFill>
                <a:srgbClr val="AEABAB"/>
              </a:solidFill>
            </c:spPr>
          </c:dPt>
          <c:dPt>
            <c:idx val="1866"/>
            <c:spPr>
              <a:solidFill>
                <a:srgbClr val="AEABAB"/>
              </a:solidFill>
            </c:spPr>
          </c:dPt>
          <c:dPt>
            <c:idx val="1867"/>
            <c:spPr>
              <a:solidFill>
                <a:srgbClr val="AEABAB"/>
              </a:solidFill>
            </c:spPr>
          </c:dPt>
          <c:dPt>
            <c:idx val="1868"/>
            <c:spPr>
              <a:solidFill>
                <a:srgbClr val="AEABAB"/>
              </a:solidFill>
            </c:spPr>
          </c:dPt>
          <c:dPt>
            <c:idx val="1869"/>
            <c:spPr>
              <a:solidFill>
                <a:srgbClr val="AEABAB"/>
              </a:solidFill>
            </c:spPr>
          </c:dPt>
          <c:dPt>
            <c:idx val="1870"/>
            <c:spPr>
              <a:solidFill>
                <a:srgbClr val="AEABAB"/>
              </a:solidFill>
            </c:spPr>
          </c:dPt>
          <c:dPt>
            <c:idx val="1871"/>
            <c:spPr>
              <a:solidFill>
                <a:srgbClr val="AEABAB"/>
              </a:solidFill>
            </c:spPr>
          </c:dPt>
          <c:dPt>
            <c:idx val="1872"/>
            <c:spPr>
              <a:solidFill>
                <a:srgbClr val="AEABAB"/>
              </a:solidFill>
            </c:spPr>
          </c:dPt>
          <c:dPt>
            <c:idx val="1873"/>
            <c:spPr>
              <a:solidFill>
                <a:srgbClr val="AEABAB"/>
              </a:solidFill>
            </c:spPr>
          </c:dPt>
          <c:dPt>
            <c:idx val="1874"/>
            <c:spPr>
              <a:solidFill>
                <a:srgbClr val="AEABAB"/>
              </a:solidFill>
            </c:spPr>
          </c:dPt>
          <c:dPt>
            <c:idx val="1875"/>
            <c:spPr>
              <a:solidFill>
                <a:srgbClr val="AEABAB"/>
              </a:solidFill>
            </c:spPr>
          </c:dPt>
          <c:dPt>
            <c:idx val="1876"/>
            <c:spPr>
              <a:solidFill>
                <a:srgbClr val="AEABAB"/>
              </a:solidFill>
            </c:spPr>
          </c:dPt>
          <c:dPt>
            <c:idx val="1877"/>
            <c:spPr>
              <a:solidFill>
                <a:srgbClr val="AEABAB"/>
              </a:solidFill>
            </c:spPr>
          </c:dPt>
          <c:dPt>
            <c:idx val="1878"/>
            <c:spPr>
              <a:solidFill>
                <a:srgbClr val="AEABAB"/>
              </a:solidFill>
            </c:spPr>
          </c:dPt>
          <c:dPt>
            <c:idx val="1879"/>
            <c:spPr>
              <a:solidFill>
                <a:srgbClr val="AEABAB"/>
              </a:solidFill>
            </c:spPr>
          </c:dPt>
          <c:dPt>
            <c:idx val="1880"/>
            <c:spPr>
              <a:solidFill>
                <a:srgbClr val="AEABAB"/>
              </a:solidFill>
            </c:spPr>
          </c:dPt>
          <c:dPt>
            <c:idx val="1881"/>
            <c:spPr>
              <a:solidFill>
                <a:srgbClr val="AEABAB"/>
              </a:solidFill>
            </c:spPr>
          </c:dPt>
          <c:dPt>
            <c:idx val="1882"/>
            <c:spPr>
              <a:solidFill>
                <a:srgbClr val="AEABAB"/>
              </a:solidFill>
            </c:spPr>
          </c:dPt>
          <c:dPt>
            <c:idx val="1883"/>
            <c:spPr>
              <a:solidFill>
                <a:srgbClr val="AEABAB"/>
              </a:solidFill>
            </c:spPr>
          </c:dPt>
          <c:dPt>
            <c:idx val="1884"/>
            <c:spPr>
              <a:solidFill>
                <a:srgbClr val="AEABAB"/>
              </a:solidFill>
            </c:spPr>
          </c:dPt>
          <c:dPt>
            <c:idx val="1885"/>
            <c:spPr>
              <a:solidFill>
                <a:srgbClr val="AEABAB"/>
              </a:solidFill>
            </c:spPr>
          </c:dPt>
          <c:dPt>
            <c:idx val="1886"/>
            <c:spPr>
              <a:solidFill>
                <a:srgbClr val="AEABAB"/>
              </a:solidFill>
            </c:spPr>
          </c:dPt>
          <c:dPt>
            <c:idx val="1887"/>
            <c:spPr>
              <a:solidFill>
                <a:srgbClr val="AEABAB"/>
              </a:solidFill>
            </c:spPr>
          </c:dPt>
          <c:dPt>
            <c:idx val="1888"/>
            <c:spPr>
              <a:solidFill>
                <a:srgbClr val="AEABAB"/>
              </a:solidFill>
            </c:spPr>
          </c:dPt>
          <c:dPt>
            <c:idx val="1889"/>
            <c:spPr>
              <a:solidFill>
                <a:srgbClr val="AEABAB"/>
              </a:solidFill>
            </c:spPr>
          </c:dPt>
          <c:dPt>
            <c:idx val="1890"/>
            <c:spPr>
              <a:solidFill>
                <a:srgbClr val="AEABAB"/>
              </a:solidFill>
            </c:spPr>
          </c:dPt>
          <c:dPt>
            <c:idx val="1891"/>
            <c:spPr>
              <a:solidFill>
                <a:srgbClr val="AEABAB"/>
              </a:solidFill>
            </c:spPr>
          </c:dPt>
          <c:dPt>
            <c:idx val="1892"/>
            <c:spPr>
              <a:solidFill>
                <a:srgbClr val="AEABAB"/>
              </a:solidFill>
            </c:spPr>
          </c:dPt>
          <c:dPt>
            <c:idx val="1893"/>
            <c:spPr>
              <a:solidFill>
                <a:srgbClr val="AEABAB"/>
              </a:solidFill>
            </c:spPr>
          </c:dPt>
          <c:dPt>
            <c:idx val="1894"/>
            <c:spPr>
              <a:solidFill>
                <a:srgbClr val="AEABAB"/>
              </a:solidFill>
            </c:spPr>
          </c:dPt>
          <c:dPt>
            <c:idx val="1895"/>
            <c:spPr>
              <a:solidFill>
                <a:srgbClr val="AEABAB"/>
              </a:solidFill>
            </c:spPr>
          </c:dPt>
          <c:dPt>
            <c:idx val="1896"/>
            <c:spPr>
              <a:solidFill>
                <a:srgbClr val="AEABAB"/>
              </a:solidFill>
            </c:spPr>
          </c:dPt>
          <c:dPt>
            <c:idx val="1897"/>
            <c:spPr>
              <a:solidFill>
                <a:srgbClr val="AEABAB"/>
              </a:solidFill>
            </c:spPr>
          </c:dPt>
          <c:dPt>
            <c:idx val="1898"/>
            <c:spPr>
              <a:solidFill>
                <a:srgbClr val="AEABAB"/>
              </a:solidFill>
            </c:spPr>
          </c:dPt>
          <c:dPt>
            <c:idx val="1899"/>
            <c:spPr>
              <a:solidFill>
                <a:srgbClr val="AEABAB"/>
              </a:solidFill>
            </c:spPr>
          </c:dPt>
          <c:dPt>
            <c:idx val="1900"/>
            <c:spPr>
              <a:solidFill>
                <a:srgbClr val="AEABAB"/>
              </a:solidFill>
            </c:spPr>
          </c:dPt>
          <c:dPt>
            <c:idx val="1901"/>
            <c:spPr>
              <a:solidFill>
                <a:srgbClr val="AEABAB"/>
              </a:solidFill>
            </c:spPr>
          </c:dPt>
          <c:dPt>
            <c:idx val="1902"/>
            <c:spPr>
              <a:solidFill>
                <a:srgbClr val="AEABAB"/>
              </a:solidFill>
            </c:spPr>
          </c:dPt>
          <c:dPt>
            <c:idx val="1903"/>
            <c:spPr>
              <a:solidFill>
                <a:srgbClr val="AEABAB"/>
              </a:solidFill>
            </c:spPr>
          </c:dPt>
          <c:dPt>
            <c:idx val="1904"/>
            <c:spPr>
              <a:solidFill>
                <a:srgbClr val="AEABAB"/>
              </a:solidFill>
            </c:spPr>
          </c:dPt>
          <c:dPt>
            <c:idx val="1905"/>
            <c:spPr>
              <a:solidFill>
                <a:srgbClr val="AEABAB"/>
              </a:solidFill>
            </c:spPr>
          </c:dPt>
          <c:dPt>
            <c:idx val="1906"/>
            <c:spPr>
              <a:solidFill>
                <a:srgbClr val="AEABAB"/>
              </a:solidFill>
            </c:spPr>
          </c:dPt>
          <c:dPt>
            <c:idx val="1907"/>
            <c:spPr>
              <a:solidFill>
                <a:srgbClr val="AEABAB"/>
              </a:solidFill>
            </c:spPr>
          </c:dPt>
          <c:dPt>
            <c:idx val="1908"/>
            <c:spPr>
              <a:solidFill>
                <a:srgbClr val="AEABAB"/>
              </a:solidFill>
            </c:spPr>
          </c:dPt>
          <c:dPt>
            <c:idx val="1909"/>
            <c:spPr>
              <a:solidFill>
                <a:srgbClr val="AEABAB"/>
              </a:solidFill>
            </c:spPr>
          </c:dPt>
          <c:dPt>
            <c:idx val="1910"/>
            <c:spPr>
              <a:solidFill>
                <a:srgbClr val="AEABAB"/>
              </a:solidFill>
            </c:spPr>
          </c:dPt>
          <c:dPt>
            <c:idx val="1911"/>
            <c:spPr>
              <a:solidFill>
                <a:srgbClr val="AEABAB"/>
              </a:solidFill>
            </c:spPr>
          </c:dPt>
          <c:dPt>
            <c:idx val="1912"/>
            <c:spPr>
              <a:solidFill>
                <a:srgbClr val="AEABAB"/>
              </a:solidFill>
            </c:spPr>
          </c:dPt>
          <c:dPt>
            <c:idx val="1913"/>
            <c:spPr>
              <a:solidFill>
                <a:srgbClr val="AEABAB"/>
              </a:solidFill>
            </c:spPr>
          </c:dPt>
          <c:dPt>
            <c:idx val="1914"/>
            <c:spPr>
              <a:solidFill>
                <a:srgbClr val="AEABAB"/>
              </a:solidFill>
            </c:spPr>
          </c:dPt>
          <c:dPt>
            <c:idx val="1915"/>
            <c:spPr>
              <a:solidFill>
                <a:srgbClr val="AEABAB"/>
              </a:solidFill>
            </c:spPr>
          </c:dPt>
          <c:dPt>
            <c:idx val="1916"/>
            <c:spPr>
              <a:solidFill>
                <a:srgbClr val="AEABAB"/>
              </a:solidFill>
            </c:spPr>
          </c:dPt>
          <c:dPt>
            <c:idx val="1917"/>
            <c:spPr>
              <a:solidFill>
                <a:srgbClr val="AEABAB"/>
              </a:solidFill>
            </c:spPr>
          </c:dPt>
          <c:dPt>
            <c:idx val="1918"/>
            <c:spPr>
              <a:solidFill>
                <a:srgbClr val="AEABAB"/>
              </a:solidFill>
            </c:spPr>
          </c:dPt>
          <c:dPt>
            <c:idx val="1919"/>
            <c:spPr>
              <a:solidFill>
                <a:srgbClr val="AEABAB"/>
              </a:solidFill>
            </c:spPr>
          </c:dPt>
          <c:dPt>
            <c:idx val="1920"/>
            <c:spPr>
              <a:solidFill>
                <a:srgbClr val="AEABAB"/>
              </a:solidFill>
            </c:spPr>
          </c:dPt>
          <c:dPt>
            <c:idx val="1921"/>
            <c:spPr>
              <a:solidFill>
                <a:srgbClr val="AEABAB"/>
              </a:solidFill>
            </c:spPr>
          </c:dPt>
          <c:dPt>
            <c:idx val="1922"/>
            <c:spPr>
              <a:solidFill>
                <a:srgbClr val="AEABAB"/>
              </a:solidFill>
            </c:spPr>
          </c:dPt>
          <c:dPt>
            <c:idx val="1923"/>
            <c:spPr>
              <a:solidFill>
                <a:srgbClr val="AEABAB"/>
              </a:solidFill>
            </c:spPr>
          </c:dPt>
          <c:dPt>
            <c:idx val="1924"/>
            <c:spPr>
              <a:solidFill>
                <a:srgbClr val="AEABAB"/>
              </a:solidFill>
            </c:spPr>
          </c:dPt>
          <c:dPt>
            <c:idx val="1925"/>
            <c:spPr>
              <a:solidFill>
                <a:srgbClr val="AEABAB"/>
              </a:solidFill>
            </c:spPr>
          </c:dPt>
          <c:dPt>
            <c:idx val="1926"/>
            <c:spPr>
              <a:solidFill>
                <a:srgbClr val="AEABAB"/>
              </a:solidFill>
            </c:spPr>
          </c:dPt>
          <c:dPt>
            <c:idx val="1927"/>
            <c:spPr>
              <a:solidFill>
                <a:srgbClr val="AEABAB"/>
              </a:solidFill>
            </c:spPr>
          </c:dPt>
          <c:dPt>
            <c:idx val="1928"/>
            <c:spPr>
              <a:solidFill>
                <a:srgbClr val="AEABAB"/>
              </a:solidFill>
            </c:spPr>
          </c:dPt>
          <c:dPt>
            <c:idx val="1929"/>
            <c:spPr>
              <a:solidFill>
                <a:srgbClr val="AEABAB"/>
              </a:solidFill>
            </c:spPr>
          </c:dPt>
          <c:dPt>
            <c:idx val="1930"/>
            <c:spPr>
              <a:solidFill>
                <a:srgbClr val="AEABAB"/>
              </a:solidFill>
            </c:spPr>
          </c:dPt>
          <c:dPt>
            <c:idx val="1931"/>
            <c:spPr>
              <a:solidFill>
                <a:srgbClr val="AEABAB"/>
              </a:solidFill>
            </c:spPr>
          </c:dPt>
          <c:dPt>
            <c:idx val="1932"/>
            <c:spPr>
              <a:solidFill>
                <a:srgbClr val="AEABAB"/>
              </a:solidFill>
            </c:spPr>
          </c:dPt>
          <c:dPt>
            <c:idx val="1933"/>
            <c:spPr>
              <a:solidFill>
                <a:srgbClr val="AEABAB"/>
              </a:solidFill>
            </c:spPr>
          </c:dPt>
          <c:dPt>
            <c:idx val="1934"/>
            <c:spPr>
              <a:solidFill>
                <a:srgbClr val="AEABAB"/>
              </a:solidFill>
            </c:spPr>
          </c:dPt>
          <c:dPt>
            <c:idx val="1935"/>
            <c:spPr>
              <a:solidFill>
                <a:srgbClr val="AEABAB"/>
              </a:solidFill>
            </c:spPr>
          </c:dPt>
          <c:dPt>
            <c:idx val="1936"/>
            <c:spPr>
              <a:solidFill>
                <a:srgbClr val="AEABAB"/>
              </a:solidFill>
            </c:spPr>
          </c:dPt>
          <c:dPt>
            <c:idx val="1937"/>
            <c:spPr>
              <a:solidFill>
                <a:srgbClr val="AEABAB"/>
              </a:solidFill>
            </c:spPr>
          </c:dPt>
          <c:dPt>
            <c:idx val="1938"/>
            <c:spPr>
              <a:solidFill>
                <a:srgbClr val="AEABAB"/>
              </a:solidFill>
            </c:spPr>
          </c:dPt>
          <c:dPt>
            <c:idx val="1939"/>
            <c:spPr>
              <a:solidFill>
                <a:srgbClr val="AEABAB"/>
              </a:solidFill>
            </c:spPr>
          </c:dPt>
          <c:dPt>
            <c:idx val="1940"/>
            <c:spPr>
              <a:solidFill>
                <a:srgbClr val="AEABAB"/>
              </a:solidFill>
            </c:spPr>
          </c:dPt>
          <c:dPt>
            <c:idx val="1941"/>
            <c:spPr>
              <a:solidFill>
                <a:srgbClr val="AEABAB"/>
              </a:solidFill>
            </c:spPr>
          </c:dPt>
          <c:dPt>
            <c:idx val="1942"/>
            <c:spPr>
              <a:solidFill>
                <a:srgbClr val="AEABAB"/>
              </a:solidFill>
            </c:spPr>
          </c:dPt>
          <c:dPt>
            <c:idx val="1943"/>
            <c:spPr>
              <a:solidFill>
                <a:srgbClr val="AEABAB"/>
              </a:solidFill>
            </c:spPr>
          </c:dPt>
          <c:dPt>
            <c:idx val="1944"/>
            <c:spPr>
              <a:solidFill>
                <a:srgbClr val="AEABAB"/>
              </a:solidFill>
            </c:spPr>
          </c:dPt>
          <c:dPt>
            <c:idx val="1945"/>
            <c:spPr>
              <a:solidFill>
                <a:srgbClr val="AEABAB"/>
              </a:solidFill>
            </c:spPr>
          </c:dPt>
          <c:dPt>
            <c:idx val="1946"/>
            <c:spPr>
              <a:solidFill>
                <a:srgbClr val="AEABAB"/>
              </a:solidFill>
            </c:spPr>
          </c:dPt>
          <c:dPt>
            <c:idx val="1947"/>
            <c:spPr>
              <a:solidFill>
                <a:srgbClr val="AEABAB"/>
              </a:solidFill>
            </c:spPr>
          </c:dPt>
          <c:dPt>
            <c:idx val="1948"/>
            <c:spPr>
              <a:solidFill>
                <a:srgbClr val="AEABAB"/>
              </a:solidFill>
            </c:spPr>
          </c:dPt>
          <c:dPt>
            <c:idx val="1949"/>
            <c:spPr>
              <a:solidFill>
                <a:srgbClr val="AEABAB"/>
              </a:solidFill>
            </c:spPr>
          </c:dPt>
          <c:dPt>
            <c:idx val="1950"/>
            <c:spPr>
              <a:solidFill>
                <a:srgbClr val="AEABAB"/>
              </a:solidFill>
            </c:spPr>
          </c:dPt>
          <c:dPt>
            <c:idx val="1951"/>
            <c:spPr>
              <a:solidFill>
                <a:srgbClr val="AEABAB"/>
              </a:solidFill>
            </c:spPr>
          </c:dPt>
          <c:dPt>
            <c:idx val="1952"/>
            <c:spPr>
              <a:solidFill>
                <a:srgbClr val="AEABAB"/>
              </a:solidFill>
            </c:spPr>
          </c:dPt>
          <c:dPt>
            <c:idx val="1953"/>
            <c:spPr>
              <a:solidFill>
                <a:srgbClr val="AEABAB"/>
              </a:solidFill>
            </c:spPr>
          </c:dPt>
          <c:dPt>
            <c:idx val="1954"/>
            <c:spPr>
              <a:solidFill>
                <a:srgbClr val="AEABAB"/>
              </a:solidFill>
            </c:spPr>
          </c:dPt>
          <c:dPt>
            <c:idx val="1955"/>
            <c:spPr>
              <a:solidFill>
                <a:srgbClr val="AEABAB"/>
              </a:solidFill>
            </c:spPr>
          </c:dPt>
          <c:dPt>
            <c:idx val="1956"/>
            <c:spPr>
              <a:solidFill>
                <a:srgbClr val="AEABAB"/>
              </a:solidFill>
            </c:spPr>
          </c:dPt>
          <c:dPt>
            <c:idx val="1957"/>
            <c:spPr>
              <a:solidFill>
                <a:srgbClr val="AEABAB"/>
              </a:solidFill>
            </c:spPr>
          </c:dPt>
          <c:dPt>
            <c:idx val="1958"/>
            <c:spPr>
              <a:solidFill>
                <a:srgbClr val="AEABAB"/>
              </a:solidFill>
            </c:spPr>
          </c:dPt>
          <c:dPt>
            <c:idx val="1959"/>
            <c:spPr>
              <a:solidFill>
                <a:srgbClr val="AEABAB"/>
              </a:solidFill>
            </c:spPr>
          </c:dPt>
          <c:dPt>
            <c:idx val="1960"/>
            <c:spPr>
              <a:solidFill>
                <a:srgbClr val="AEABAB"/>
              </a:solidFill>
            </c:spPr>
          </c:dPt>
          <c:dPt>
            <c:idx val="1961"/>
            <c:spPr>
              <a:solidFill>
                <a:srgbClr val="AEABAB"/>
              </a:solidFill>
            </c:spPr>
          </c:dPt>
          <c:dPt>
            <c:idx val="1962"/>
            <c:spPr>
              <a:solidFill>
                <a:srgbClr val="AEABAB"/>
              </a:solidFill>
            </c:spPr>
          </c:dPt>
          <c:dPt>
            <c:idx val="1963"/>
            <c:spPr>
              <a:solidFill>
                <a:srgbClr val="AEABAB"/>
              </a:solidFill>
            </c:spPr>
          </c:dPt>
          <c:dPt>
            <c:idx val="1964"/>
            <c:spPr>
              <a:solidFill>
                <a:srgbClr val="AEABAB"/>
              </a:solidFill>
            </c:spPr>
          </c:dPt>
          <c:dPt>
            <c:idx val="1965"/>
            <c:spPr>
              <a:solidFill>
                <a:srgbClr val="AEABAB"/>
              </a:solidFill>
            </c:spPr>
          </c:dPt>
          <c:dPt>
            <c:idx val="1966"/>
            <c:spPr>
              <a:solidFill>
                <a:srgbClr val="AEABAB"/>
              </a:solidFill>
            </c:spPr>
          </c:dPt>
          <c:dPt>
            <c:idx val="1967"/>
            <c:spPr>
              <a:solidFill>
                <a:srgbClr val="AEABAB"/>
              </a:solidFill>
            </c:spPr>
          </c:dPt>
          <c:dPt>
            <c:idx val="1968"/>
            <c:spPr>
              <a:solidFill>
                <a:srgbClr val="AEABAB"/>
              </a:solidFill>
            </c:spPr>
          </c:dPt>
          <c:dPt>
            <c:idx val="1969"/>
            <c:spPr>
              <a:solidFill>
                <a:srgbClr val="AEABAB"/>
              </a:solidFill>
            </c:spPr>
          </c:dPt>
          <c:dPt>
            <c:idx val="1970"/>
            <c:spPr>
              <a:solidFill>
                <a:srgbClr val="AEABAB"/>
              </a:solidFill>
            </c:spPr>
          </c:dPt>
          <c:dPt>
            <c:idx val="1971"/>
            <c:spPr>
              <a:solidFill>
                <a:srgbClr val="AEABAB"/>
              </a:solidFill>
            </c:spPr>
          </c:dPt>
          <c:dPt>
            <c:idx val="1972"/>
            <c:spPr>
              <a:solidFill>
                <a:srgbClr val="AEABAB"/>
              </a:solidFill>
            </c:spPr>
          </c:dPt>
          <c:dPt>
            <c:idx val="1973"/>
            <c:spPr>
              <a:solidFill>
                <a:srgbClr val="AEABAB"/>
              </a:solidFill>
            </c:spPr>
          </c:dPt>
          <c:dPt>
            <c:idx val="1974"/>
            <c:spPr>
              <a:solidFill>
                <a:srgbClr val="AEABAB"/>
              </a:solidFill>
            </c:spPr>
          </c:dPt>
          <c:dPt>
            <c:idx val="1975"/>
            <c:spPr>
              <a:solidFill>
                <a:srgbClr val="AEABAB"/>
              </a:solidFill>
            </c:spPr>
          </c:dPt>
          <c:dPt>
            <c:idx val="1976"/>
            <c:spPr>
              <a:solidFill>
                <a:srgbClr val="AEABAB"/>
              </a:solidFill>
            </c:spPr>
          </c:dPt>
          <c:dPt>
            <c:idx val="1977"/>
            <c:spPr>
              <a:solidFill>
                <a:srgbClr val="AEABAB"/>
              </a:solidFill>
            </c:spPr>
          </c:dPt>
          <c:dPt>
            <c:idx val="1978"/>
            <c:spPr>
              <a:solidFill>
                <a:srgbClr val="AEABAB"/>
              </a:solidFill>
            </c:spPr>
          </c:dPt>
          <c:dPt>
            <c:idx val="1979"/>
            <c:spPr>
              <a:solidFill>
                <a:srgbClr val="AEABAB"/>
              </a:solidFill>
            </c:spPr>
          </c:dPt>
          <c:dPt>
            <c:idx val="1980"/>
            <c:spPr>
              <a:solidFill>
                <a:srgbClr val="AEABAB"/>
              </a:solidFill>
            </c:spPr>
          </c:dPt>
          <c:dPt>
            <c:idx val="1981"/>
            <c:spPr>
              <a:solidFill>
                <a:srgbClr val="AEABAB"/>
              </a:solidFill>
            </c:spPr>
          </c:dPt>
          <c:dPt>
            <c:idx val="1982"/>
            <c:spPr>
              <a:solidFill>
                <a:srgbClr val="AEABAB"/>
              </a:solidFill>
            </c:spPr>
          </c:dPt>
          <c:dPt>
            <c:idx val="1983"/>
            <c:spPr>
              <a:solidFill>
                <a:srgbClr val="AEABAB"/>
              </a:solidFill>
            </c:spPr>
          </c:dPt>
          <c:dPt>
            <c:idx val="1984"/>
            <c:spPr>
              <a:solidFill>
                <a:srgbClr val="AEABAB"/>
              </a:solidFill>
            </c:spPr>
          </c:dPt>
          <c:dPt>
            <c:idx val="1985"/>
            <c:spPr>
              <a:solidFill>
                <a:srgbClr val="AEABAB"/>
              </a:solidFill>
            </c:spPr>
          </c:dPt>
          <c:dPt>
            <c:idx val="1986"/>
            <c:spPr>
              <a:solidFill>
                <a:srgbClr val="AEABAB"/>
              </a:solidFill>
            </c:spPr>
          </c:dPt>
          <c:dPt>
            <c:idx val="1987"/>
            <c:spPr>
              <a:solidFill>
                <a:srgbClr val="AEABAB"/>
              </a:solidFill>
            </c:spPr>
          </c:dPt>
          <c:dPt>
            <c:idx val="1988"/>
            <c:spPr>
              <a:solidFill>
                <a:srgbClr val="AEABAB"/>
              </a:solidFill>
            </c:spPr>
          </c:dPt>
          <c:dPt>
            <c:idx val="1989"/>
            <c:spPr>
              <a:solidFill>
                <a:srgbClr val="AEABAB"/>
              </a:solidFill>
            </c:spPr>
          </c:dPt>
          <c:dPt>
            <c:idx val="1990"/>
            <c:spPr>
              <a:solidFill>
                <a:srgbClr val="AEABAB"/>
              </a:solidFill>
            </c:spPr>
          </c:dPt>
          <c:dPt>
            <c:idx val="1991"/>
            <c:spPr>
              <a:solidFill>
                <a:srgbClr val="AEABAB"/>
              </a:solidFill>
            </c:spPr>
          </c:dPt>
          <c:dPt>
            <c:idx val="1992"/>
            <c:spPr>
              <a:solidFill>
                <a:srgbClr val="AEABAB"/>
              </a:solidFill>
            </c:spPr>
          </c:dPt>
          <c:dPt>
            <c:idx val="1993"/>
            <c:spPr>
              <a:solidFill>
                <a:srgbClr val="AEABAB"/>
              </a:solidFill>
            </c:spPr>
          </c:dPt>
          <c:dPt>
            <c:idx val="1994"/>
            <c:spPr>
              <a:solidFill>
                <a:srgbClr val="AEABAB"/>
              </a:solidFill>
            </c:spPr>
          </c:dPt>
          <c:dPt>
            <c:idx val="1995"/>
            <c:spPr>
              <a:solidFill>
                <a:srgbClr val="AEABAB"/>
              </a:solidFill>
            </c:spPr>
          </c:dPt>
          <c:dPt>
            <c:idx val="1996"/>
            <c:spPr>
              <a:solidFill>
                <a:srgbClr val="AEABAB"/>
              </a:solidFill>
            </c:spPr>
          </c:dPt>
          <c:dPt>
            <c:idx val="1997"/>
            <c:spPr>
              <a:solidFill>
                <a:srgbClr val="AEABAB"/>
              </a:solidFill>
            </c:spPr>
          </c:dPt>
          <c:dPt>
            <c:idx val="1998"/>
            <c:spPr>
              <a:solidFill>
                <a:srgbClr val="AEABAB"/>
              </a:solidFill>
            </c:spPr>
          </c:dPt>
          <c:dPt>
            <c:idx val="1999"/>
            <c:spPr>
              <a:solidFill>
                <a:srgbClr val="AEABAB"/>
              </a:solidFill>
            </c:spPr>
          </c:dPt>
          <c:dPt>
            <c:idx val="2000"/>
            <c:spPr>
              <a:solidFill>
                <a:srgbClr val="AEABAB"/>
              </a:solidFill>
            </c:spPr>
          </c:dPt>
          <c:dPt>
            <c:idx val="2001"/>
            <c:spPr>
              <a:solidFill>
                <a:srgbClr val="AEABAB"/>
              </a:solidFill>
            </c:spPr>
          </c:dPt>
          <c:dPt>
            <c:idx val="2002"/>
            <c:spPr>
              <a:solidFill>
                <a:srgbClr val="AEABAB"/>
              </a:solidFill>
            </c:spPr>
          </c:dPt>
          <c:dPt>
            <c:idx val="2003"/>
            <c:spPr>
              <a:solidFill>
                <a:srgbClr val="AEABAB"/>
              </a:solidFill>
            </c:spPr>
          </c:dPt>
          <c:dPt>
            <c:idx val="2004"/>
            <c:spPr>
              <a:solidFill>
                <a:srgbClr val="AEABAB"/>
              </a:solidFill>
            </c:spPr>
          </c:dPt>
          <c:dPt>
            <c:idx val="2005"/>
            <c:spPr>
              <a:solidFill>
                <a:srgbClr val="AEABAB"/>
              </a:solidFill>
            </c:spPr>
          </c:dPt>
          <c:dPt>
            <c:idx val="2006"/>
            <c:spPr>
              <a:solidFill>
                <a:srgbClr val="AEABAB"/>
              </a:solidFill>
            </c:spPr>
          </c:dPt>
          <c:dPt>
            <c:idx val="2007"/>
            <c:spPr>
              <a:solidFill>
                <a:srgbClr val="AEABAB"/>
              </a:solidFill>
            </c:spPr>
          </c:dPt>
          <c:dPt>
            <c:idx val="2008"/>
            <c:spPr>
              <a:solidFill>
                <a:srgbClr val="AEABAB"/>
              </a:solidFill>
            </c:spPr>
          </c:dPt>
          <c:dPt>
            <c:idx val="2009"/>
            <c:spPr>
              <a:solidFill>
                <a:srgbClr val="AEABAB"/>
              </a:solidFill>
            </c:spPr>
          </c:dPt>
          <c:dPt>
            <c:idx val="2010"/>
            <c:spPr>
              <a:solidFill>
                <a:srgbClr val="AEABAB"/>
              </a:solidFill>
            </c:spPr>
          </c:dPt>
          <c:dPt>
            <c:idx val="2011"/>
            <c:spPr>
              <a:solidFill>
                <a:srgbClr val="AEABAB"/>
              </a:solidFill>
            </c:spPr>
          </c:dPt>
          <c:dPt>
            <c:idx val="2012"/>
            <c:spPr>
              <a:solidFill>
                <a:srgbClr val="AEABAB"/>
              </a:solidFill>
            </c:spPr>
          </c:dPt>
          <c:dPt>
            <c:idx val="2013"/>
            <c:spPr>
              <a:solidFill>
                <a:srgbClr val="AEABAB"/>
              </a:solidFill>
            </c:spPr>
          </c:dPt>
          <c:dPt>
            <c:idx val="2014"/>
            <c:spPr>
              <a:solidFill>
                <a:srgbClr val="AEABAB"/>
              </a:solidFill>
            </c:spPr>
          </c:dPt>
          <c:dPt>
            <c:idx val="2015"/>
            <c:spPr>
              <a:solidFill>
                <a:srgbClr val="AEABAB"/>
              </a:solidFill>
            </c:spPr>
          </c:dPt>
          <c:dPt>
            <c:idx val="2016"/>
            <c:spPr>
              <a:solidFill>
                <a:srgbClr val="AEABAB"/>
              </a:solidFill>
            </c:spPr>
          </c:dPt>
          <c:dPt>
            <c:idx val="2017"/>
            <c:spPr>
              <a:solidFill>
                <a:srgbClr val="AEABAB"/>
              </a:solidFill>
            </c:spPr>
          </c:dPt>
          <c:dPt>
            <c:idx val="2018"/>
            <c:spPr>
              <a:solidFill>
                <a:srgbClr val="AEABAB"/>
              </a:solidFill>
            </c:spPr>
          </c:dPt>
          <c:dPt>
            <c:idx val="2019"/>
            <c:spPr>
              <a:solidFill>
                <a:srgbClr val="AEABAB"/>
              </a:solidFill>
            </c:spPr>
          </c:dPt>
          <c:dPt>
            <c:idx val="2020"/>
            <c:spPr>
              <a:solidFill>
                <a:srgbClr val="AEABAB"/>
              </a:solidFill>
            </c:spPr>
          </c:dPt>
          <c:dPt>
            <c:idx val="2021"/>
            <c:spPr>
              <a:solidFill>
                <a:srgbClr val="AEABAB"/>
              </a:solidFill>
            </c:spPr>
          </c:dPt>
          <c:dPt>
            <c:idx val="2022"/>
            <c:spPr>
              <a:solidFill>
                <a:srgbClr val="AEABAB"/>
              </a:solidFill>
            </c:spPr>
          </c:dPt>
          <c:dPt>
            <c:idx val="2023"/>
            <c:spPr>
              <a:solidFill>
                <a:srgbClr val="AEABAB"/>
              </a:solidFill>
            </c:spPr>
          </c:dPt>
          <c:dPt>
            <c:idx val="2024"/>
            <c:spPr>
              <a:solidFill>
                <a:srgbClr val="AEABAB"/>
              </a:solidFill>
            </c:spPr>
          </c:dPt>
          <c:dPt>
            <c:idx val="2025"/>
            <c:spPr>
              <a:solidFill>
                <a:srgbClr val="AEABAB"/>
              </a:solidFill>
            </c:spPr>
          </c:dPt>
          <c:dPt>
            <c:idx val="2026"/>
            <c:spPr>
              <a:solidFill>
                <a:srgbClr val="AEABAB"/>
              </a:solidFill>
            </c:spPr>
          </c:dPt>
          <c:dPt>
            <c:idx val="2027"/>
            <c:spPr>
              <a:solidFill>
                <a:srgbClr val="AEABAB"/>
              </a:solidFill>
            </c:spPr>
          </c:dPt>
          <c:dPt>
            <c:idx val="2028"/>
            <c:spPr>
              <a:solidFill>
                <a:srgbClr val="AEABAB"/>
              </a:solidFill>
            </c:spPr>
          </c:dPt>
          <c:dPt>
            <c:idx val="2029"/>
            <c:spPr>
              <a:solidFill>
                <a:srgbClr val="AEABAB"/>
              </a:solidFill>
            </c:spPr>
          </c:dPt>
          <c:dPt>
            <c:idx val="2030"/>
            <c:spPr>
              <a:solidFill>
                <a:srgbClr val="AEABAB"/>
              </a:solidFill>
            </c:spPr>
          </c:dPt>
          <c:dPt>
            <c:idx val="2031"/>
            <c:spPr>
              <a:solidFill>
                <a:srgbClr val="AEABAB"/>
              </a:solidFill>
            </c:spPr>
          </c:dPt>
          <c:dPt>
            <c:idx val="2032"/>
            <c:spPr>
              <a:solidFill>
                <a:srgbClr val="AEABAB"/>
              </a:solidFill>
            </c:spPr>
          </c:dPt>
          <c:dPt>
            <c:idx val="2033"/>
            <c:spPr>
              <a:solidFill>
                <a:srgbClr val="AEABAB"/>
              </a:solidFill>
            </c:spPr>
          </c:dPt>
          <c:dPt>
            <c:idx val="2034"/>
            <c:spPr>
              <a:solidFill>
                <a:srgbClr val="AEABAB"/>
              </a:solidFill>
            </c:spPr>
          </c:dPt>
          <c:dPt>
            <c:idx val="2035"/>
            <c:spPr>
              <a:solidFill>
                <a:srgbClr val="AEABAB"/>
              </a:solidFill>
            </c:spPr>
          </c:dPt>
          <c:dPt>
            <c:idx val="2036"/>
            <c:spPr>
              <a:solidFill>
                <a:srgbClr val="AEABAB"/>
              </a:solidFill>
            </c:spPr>
          </c:dPt>
          <c:dPt>
            <c:idx val="2037"/>
            <c:spPr>
              <a:solidFill>
                <a:srgbClr val="AEABAB"/>
              </a:solidFill>
            </c:spPr>
          </c:dPt>
          <c:dPt>
            <c:idx val="2038"/>
            <c:spPr>
              <a:solidFill>
                <a:srgbClr val="AEABAB"/>
              </a:solidFill>
            </c:spPr>
          </c:dPt>
          <c:dPt>
            <c:idx val="2039"/>
            <c:spPr>
              <a:solidFill>
                <a:srgbClr val="AEABAB"/>
              </a:solidFill>
            </c:spPr>
          </c:dPt>
          <c:dPt>
            <c:idx val="2040"/>
            <c:spPr>
              <a:solidFill>
                <a:srgbClr val="AEABAB"/>
              </a:solidFill>
            </c:spPr>
          </c:dPt>
          <c:dPt>
            <c:idx val="2041"/>
            <c:spPr>
              <a:solidFill>
                <a:srgbClr val="AEABAB"/>
              </a:solidFill>
            </c:spPr>
          </c:dPt>
          <c:dPt>
            <c:idx val="2042"/>
            <c:spPr>
              <a:solidFill>
                <a:srgbClr val="AEABAB"/>
              </a:solidFill>
            </c:spPr>
          </c:dPt>
          <c:dPt>
            <c:idx val="2043"/>
            <c:spPr>
              <a:solidFill>
                <a:srgbClr val="AEABAB"/>
              </a:solidFill>
            </c:spPr>
          </c:dPt>
          <c:dPt>
            <c:idx val="2044"/>
            <c:spPr>
              <a:solidFill>
                <a:srgbClr val="AEABAB"/>
              </a:solidFill>
            </c:spPr>
          </c:dPt>
          <c:dPt>
            <c:idx val="2045"/>
            <c:spPr>
              <a:solidFill>
                <a:srgbClr val="AEABAB"/>
              </a:solidFill>
            </c:spPr>
          </c:dPt>
          <c:dPt>
            <c:idx val="2046"/>
            <c:spPr>
              <a:solidFill>
                <a:srgbClr val="AEABAB"/>
              </a:solidFill>
            </c:spPr>
          </c:dPt>
          <c:dPt>
            <c:idx val="2047"/>
            <c:spPr>
              <a:solidFill>
                <a:srgbClr val="AEABAB"/>
              </a:solidFill>
            </c:spPr>
          </c:dPt>
          <c:dPt>
            <c:idx val="2048"/>
            <c:spPr>
              <a:solidFill>
                <a:srgbClr val="AEABAB"/>
              </a:solidFill>
            </c:spPr>
          </c:dPt>
          <c:dPt>
            <c:idx val="2049"/>
            <c:spPr>
              <a:solidFill>
                <a:srgbClr val="AEABAB"/>
              </a:solidFill>
            </c:spPr>
          </c:dPt>
          <c:dPt>
            <c:idx val="2050"/>
            <c:spPr>
              <a:solidFill>
                <a:srgbClr val="AEABAB"/>
              </a:solidFill>
            </c:spPr>
          </c:dPt>
          <c:dPt>
            <c:idx val="2051"/>
            <c:spPr>
              <a:solidFill>
                <a:srgbClr val="AEABAB"/>
              </a:solidFill>
            </c:spPr>
          </c:dPt>
          <c:dPt>
            <c:idx val="2052"/>
            <c:spPr>
              <a:solidFill>
                <a:srgbClr val="AEABAB"/>
              </a:solidFill>
            </c:spPr>
          </c:dPt>
          <c:dPt>
            <c:idx val="2053"/>
            <c:spPr>
              <a:solidFill>
                <a:srgbClr val="AEABAB"/>
              </a:solidFill>
            </c:spPr>
          </c:dPt>
          <c:dPt>
            <c:idx val="2054"/>
            <c:spPr>
              <a:solidFill>
                <a:srgbClr val="AEABAB"/>
              </a:solidFill>
            </c:spPr>
          </c:dPt>
          <c:dPt>
            <c:idx val="2055"/>
            <c:spPr>
              <a:solidFill>
                <a:srgbClr val="AEABAB"/>
              </a:solidFill>
            </c:spPr>
          </c:dPt>
          <c:dPt>
            <c:idx val="2056"/>
            <c:spPr>
              <a:solidFill>
                <a:srgbClr val="AEABAB"/>
              </a:solidFill>
            </c:spPr>
          </c:dPt>
          <c:dPt>
            <c:idx val="2057"/>
            <c:spPr>
              <a:solidFill>
                <a:srgbClr val="AEABAB"/>
              </a:solidFill>
            </c:spPr>
          </c:dPt>
          <c:dPt>
            <c:idx val="2058"/>
            <c:spPr>
              <a:solidFill>
                <a:srgbClr val="AEABAB"/>
              </a:solidFill>
            </c:spPr>
          </c:dPt>
          <c:dPt>
            <c:idx val="2059"/>
            <c:spPr>
              <a:solidFill>
                <a:srgbClr val="AEABAB"/>
              </a:solidFill>
            </c:spPr>
          </c:dPt>
          <c:dPt>
            <c:idx val="2060"/>
            <c:spPr>
              <a:solidFill>
                <a:srgbClr val="AEABAB"/>
              </a:solidFill>
            </c:spPr>
          </c:dPt>
          <c:dPt>
            <c:idx val="2061"/>
            <c:spPr>
              <a:solidFill>
                <a:srgbClr val="AEABAB"/>
              </a:solidFill>
            </c:spPr>
          </c:dPt>
          <c:dPt>
            <c:idx val="2062"/>
            <c:spPr>
              <a:solidFill>
                <a:srgbClr val="AEABAB"/>
              </a:solidFill>
            </c:spPr>
          </c:dPt>
          <c:dPt>
            <c:idx val="2063"/>
            <c:spPr>
              <a:solidFill>
                <a:srgbClr val="AEABAB"/>
              </a:solidFill>
            </c:spPr>
          </c:dPt>
          <c:dPt>
            <c:idx val="2064"/>
            <c:spPr>
              <a:solidFill>
                <a:srgbClr val="AEABAB"/>
              </a:solidFill>
            </c:spPr>
          </c:dPt>
          <c:dPt>
            <c:idx val="2065"/>
            <c:spPr>
              <a:solidFill>
                <a:srgbClr val="AEABAB"/>
              </a:solidFill>
            </c:spPr>
          </c:dPt>
          <c:dPt>
            <c:idx val="2066"/>
            <c:spPr>
              <a:solidFill>
                <a:srgbClr val="AEABAB"/>
              </a:solidFill>
            </c:spPr>
          </c:dPt>
          <c:dPt>
            <c:idx val="2067"/>
            <c:spPr>
              <a:solidFill>
                <a:srgbClr val="AEABAB"/>
              </a:solidFill>
            </c:spPr>
          </c:dPt>
          <c:dPt>
            <c:idx val="2068"/>
            <c:spPr>
              <a:solidFill>
                <a:srgbClr val="AEABAB"/>
              </a:solidFill>
            </c:spPr>
          </c:dPt>
          <c:dPt>
            <c:idx val="2069"/>
            <c:spPr>
              <a:solidFill>
                <a:srgbClr val="AEABAB"/>
              </a:solidFill>
            </c:spPr>
          </c:dPt>
          <c:dPt>
            <c:idx val="2070"/>
            <c:spPr>
              <a:solidFill>
                <a:srgbClr val="AEABAB"/>
              </a:solidFill>
            </c:spPr>
          </c:dPt>
          <c:dPt>
            <c:idx val="2071"/>
            <c:spPr>
              <a:solidFill>
                <a:srgbClr val="AEABAB"/>
              </a:solidFill>
            </c:spPr>
          </c:dPt>
          <c:dPt>
            <c:idx val="2072"/>
            <c:spPr>
              <a:solidFill>
                <a:srgbClr val="AEABAB"/>
              </a:solidFill>
            </c:spPr>
          </c:dPt>
          <c:dPt>
            <c:idx val="2073"/>
            <c:spPr>
              <a:solidFill>
                <a:srgbClr val="AEABAB"/>
              </a:solidFill>
            </c:spPr>
          </c:dPt>
          <c:dPt>
            <c:idx val="2074"/>
            <c:spPr>
              <a:solidFill>
                <a:srgbClr val="AEABAB"/>
              </a:solidFill>
            </c:spPr>
          </c:dPt>
          <c:dPt>
            <c:idx val="2075"/>
            <c:spPr>
              <a:solidFill>
                <a:srgbClr val="AEABAB"/>
              </a:solidFill>
            </c:spPr>
          </c:dPt>
          <c:dPt>
            <c:idx val="2076"/>
            <c:spPr>
              <a:solidFill>
                <a:srgbClr val="AEABAB"/>
              </a:solidFill>
            </c:spPr>
          </c:dPt>
          <c:dPt>
            <c:idx val="2077"/>
            <c:spPr>
              <a:solidFill>
                <a:srgbClr val="AEABAB"/>
              </a:solidFill>
            </c:spPr>
          </c:dPt>
          <c:dPt>
            <c:idx val="2078"/>
            <c:spPr>
              <a:solidFill>
                <a:srgbClr val="AEABAB"/>
              </a:solidFill>
            </c:spPr>
          </c:dPt>
          <c:dPt>
            <c:idx val="2079"/>
            <c:spPr>
              <a:solidFill>
                <a:srgbClr val="AEABAB"/>
              </a:solidFill>
            </c:spPr>
          </c:dPt>
          <c:dPt>
            <c:idx val="2080"/>
            <c:spPr>
              <a:solidFill>
                <a:srgbClr val="AEABAB"/>
              </a:solidFill>
            </c:spPr>
          </c:dPt>
          <c:dPt>
            <c:idx val="2081"/>
            <c:spPr>
              <a:solidFill>
                <a:srgbClr val="AEABAB"/>
              </a:solidFill>
            </c:spPr>
          </c:dPt>
          <c:dPt>
            <c:idx val="2082"/>
            <c:spPr>
              <a:solidFill>
                <a:srgbClr val="AEABAB"/>
              </a:solidFill>
            </c:spPr>
          </c:dPt>
          <c:dPt>
            <c:idx val="2083"/>
            <c:spPr>
              <a:solidFill>
                <a:srgbClr val="AEABAB"/>
              </a:solidFill>
            </c:spPr>
          </c:dPt>
          <c:dPt>
            <c:idx val="2084"/>
            <c:spPr>
              <a:solidFill>
                <a:srgbClr val="AEABAB"/>
              </a:solidFill>
            </c:spPr>
          </c:dPt>
          <c:dPt>
            <c:idx val="2085"/>
            <c:spPr>
              <a:solidFill>
                <a:srgbClr val="AEABAB"/>
              </a:solidFill>
            </c:spPr>
          </c:dPt>
          <c:dPt>
            <c:idx val="2086"/>
            <c:spPr>
              <a:solidFill>
                <a:srgbClr val="AEABAB"/>
              </a:solidFill>
            </c:spPr>
          </c:dPt>
          <c:dPt>
            <c:idx val="2087"/>
            <c:spPr>
              <a:solidFill>
                <a:srgbClr val="AEABAB"/>
              </a:solidFill>
            </c:spPr>
          </c:dPt>
          <c:dPt>
            <c:idx val="2088"/>
            <c:spPr>
              <a:solidFill>
                <a:srgbClr val="AEABAB"/>
              </a:solidFill>
            </c:spPr>
          </c:dPt>
          <c:dPt>
            <c:idx val="2089"/>
            <c:spPr>
              <a:solidFill>
                <a:srgbClr val="AEABAB"/>
              </a:solidFill>
            </c:spPr>
          </c:dPt>
          <c:dPt>
            <c:idx val="2090"/>
            <c:spPr>
              <a:solidFill>
                <a:srgbClr val="AEABAB"/>
              </a:solidFill>
            </c:spPr>
          </c:dPt>
          <c:dPt>
            <c:idx val="2091"/>
            <c:spPr>
              <a:solidFill>
                <a:srgbClr val="AEABAB"/>
              </a:solidFill>
            </c:spPr>
          </c:dPt>
          <c:dPt>
            <c:idx val="2092"/>
            <c:spPr>
              <a:solidFill>
                <a:srgbClr val="AEABAB"/>
              </a:solidFill>
            </c:spPr>
          </c:dPt>
          <c:dPt>
            <c:idx val="2093"/>
            <c:spPr>
              <a:solidFill>
                <a:srgbClr val="AEABAB"/>
              </a:solidFill>
            </c:spPr>
          </c:dPt>
          <c:dPt>
            <c:idx val="2094"/>
            <c:spPr>
              <a:solidFill>
                <a:srgbClr val="AEABAB"/>
              </a:solidFill>
            </c:spPr>
          </c:dPt>
          <c:dPt>
            <c:idx val="2095"/>
            <c:spPr>
              <a:solidFill>
                <a:srgbClr val="AEABAB"/>
              </a:solidFill>
            </c:spPr>
          </c:dPt>
          <c:dPt>
            <c:idx val="2096"/>
            <c:spPr>
              <a:solidFill>
                <a:srgbClr val="AEABAB"/>
              </a:solidFill>
            </c:spPr>
          </c:dPt>
          <c:dPt>
            <c:idx val="2097"/>
            <c:spPr>
              <a:solidFill>
                <a:srgbClr val="AEABAB"/>
              </a:solidFill>
            </c:spPr>
          </c:dPt>
          <c:dPt>
            <c:idx val="2098"/>
            <c:spPr>
              <a:solidFill>
                <a:srgbClr val="AEABAB"/>
              </a:solidFill>
            </c:spPr>
          </c:dPt>
          <c:dPt>
            <c:idx val="2099"/>
            <c:spPr>
              <a:solidFill>
                <a:srgbClr val="AEABAB"/>
              </a:solidFill>
            </c:spPr>
          </c:dPt>
          <c:dPt>
            <c:idx val="2100"/>
            <c:spPr>
              <a:solidFill>
                <a:srgbClr val="AEABAB"/>
              </a:solidFill>
            </c:spPr>
          </c:dPt>
          <c:dPt>
            <c:idx val="2101"/>
            <c:spPr>
              <a:solidFill>
                <a:srgbClr val="AEABAB"/>
              </a:solidFill>
            </c:spPr>
          </c:dPt>
          <c:dPt>
            <c:idx val="2102"/>
            <c:spPr>
              <a:solidFill>
                <a:srgbClr val="AEABAB"/>
              </a:solidFill>
            </c:spPr>
          </c:dPt>
          <c:dPt>
            <c:idx val="2103"/>
            <c:spPr>
              <a:solidFill>
                <a:srgbClr val="AEABAB"/>
              </a:solidFill>
            </c:spPr>
          </c:dPt>
          <c:dPt>
            <c:idx val="2104"/>
            <c:spPr>
              <a:solidFill>
                <a:srgbClr val="AEABAB"/>
              </a:solidFill>
            </c:spPr>
          </c:dPt>
          <c:dPt>
            <c:idx val="2105"/>
            <c:spPr>
              <a:solidFill>
                <a:srgbClr val="AEABAB"/>
              </a:solidFill>
            </c:spPr>
          </c:dPt>
          <c:dPt>
            <c:idx val="2106"/>
            <c:spPr>
              <a:solidFill>
                <a:srgbClr val="AEABAB"/>
              </a:solidFill>
            </c:spPr>
          </c:dPt>
          <c:dPt>
            <c:idx val="2107"/>
            <c:spPr>
              <a:solidFill>
                <a:srgbClr val="AEABAB"/>
              </a:solidFill>
            </c:spPr>
          </c:dPt>
          <c:dPt>
            <c:idx val="2108"/>
            <c:spPr>
              <a:solidFill>
                <a:srgbClr val="AEABAB"/>
              </a:solidFill>
            </c:spPr>
          </c:dPt>
          <c:dPt>
            <c:idx val="2109"/>
            <c:spPr>
              <a:solidFill>
                <a:srgbClr val="AEABAB"/>
              </a:solidFill>
            </c:spPr>
          </c:dPt>
          <c:dPt>
            <c:idx val="2110"/>
            <c:spPr>
              <a:solidFill>
                <a:srgbClr val="AEABAB"/>
              </a:solidFill>
            </c:spPr>
          </c:dPt>
          <c:dPt>
            <c:idx val="2111"/>
            <c:spPr>
              <a:solidFill>
                <a:srgbClr val="AEABAB"/>
              </a:solidFill>
            </c:spPr>
          </c:dPt>
          <c:dPt>
            <c:idx val="2112"/>
            <c:spPr>
              <a:solidFill>
                <a:srgbClr val="AEABAB"/>
              </a:solidFill>
            </c:spPr>
          </c:dPt>
          <c:dPt>
            <c:idx val="2113"/>
            <c:spPr>
              <a:solidFill>
                <a:srgbClr val="AEABAB"/>
              </a:solidFill>
            </c:spPr>
          </c:dPt>
          <c:dPt>
            <c:idx val="2114"/>
            <c:spPr>
              <a:solidFill>
                <a:srgbClr val="AEABAB"/>
              </a:solidFill>
            </c:spPr>
          </c:dPt>
          <c:dPt>
            <c:idx val="2115"/>
            <c:spPr>
              <a:solidFill>
                <a:srgbClr val="AEABAB"/>
              </a:solidFill>
            </c:spPr>
          </c:dPt>
          <c:dPt>
            <c:idx val="2116"/>
            <c:spPr>
              <a:solidFill>
                <a:srgbClr val="AEABAB"/>
              </a:solidFill>
            </c:spPr>
          </c:dPt>
          <c:dPt>
            <c:idx val="2117"/>
            <c:spPr>
              <a:solidFill>
                <a:srgbClr val="AEABAB"/>
              </a:solidFill>
            </c:spPr>
          </c:dPt>
          <c:dPt>
            <c:idx val="2118"/>
            <c:spPr>
              <a:solidFill>
                <a:srgbClr val="AEABAB"/>
              </a:solidFill>
            </c:spPr>
          </c:dPt>
          <c:dPt>
            <c:idx val="2119"/>
            <c:spPr>
              <a:solidFill>
                <a:srgbClr val="AEABAB"/>
              </a:solidFill>
            </c:spPr>
          </c:dPt>
          <c:dPt>
            <c:idx val="2120"/>
            <c:spPr>
              <a:solidFill>
                <a:srgbClr val="AEABAB"/>
              </a:solidFill>
            </c:spPr>
          </c:dPt>
          <c:dPt>
            <c:idx val="2121"/>
            <c:spPr>
              <a:solidFill>
                <a:srgbClr val="AEABAB"/>
              </a:solidFill>
            </c:spPr>
          </c:dPt>
          <c:dPt>
            <c:idx val="2122"/>
            <c:spPr>
              <a:solidFill>
                <a:srgbClr val="AEABAB"/>
              </a:solidFill>
            </c:spPr>
          </c:dPt>
          <c:dPt>
            <c:idx val="2123"/>
            <c:spPr>
              <a:solidFill>
                <a:srgbClr val="AEABAB"/>
              </a:solidFill>
            </c:spPr>
          </c:dPt>
          <c:dPt>
            <c:idx val="2124"/>
            <c:spPr>
              <a:solidFill>
                <a:srgbClr val="AEABAB"/>
              </a:solidFill>
            </c:spPr>
          </c:dPt>
          <c:dPt>
            <c:idx val="2125"/>
            <c:spPr>
              <a:solidFill>
                <a:srgbClr val="AEABAB"/>
              </a:solidFill>
            </c:spPr>
          </c:dPt>
          <c:dPt>
            <c:idx val="2126"/>
            <c:spPr>
              <a:solidFill>
                <a:srgbClr val="AEABAB"/>
              </a:solidFill>
            </c:spPr>
          </c:dPt>
          <c:dPt>
            <c:idx val="2127"/>
            <c:spPr>
              <a:solidFill>
                <a:srgbClr val="AEABAB"/>
              </a:solidFill>
            </c:spPr>
          </c:dPt>
          <c:dPt>
            <c:idx val="2128"/>
            <c:spPr>
              <a:solidFill>
                <a:srgbClr val="AEABAB"/>
              </a:solidFill>
            </c:spPr>
          </c:dPt>
          <c:dPt>
            <c:idx val="2129"/>
            <c:spPr>
              <a:solidFill>
                <a:srgbClr val="AEABAB"/>
              </a:solidFill>
            </c:spPr>
          </c:dPt>
          <c:dPt>
            <c:idx val="2130"/>
            <c:spPr>
              <a:solidFill>
                <a:srgbClr val="AEABAB"/>
              </a:solidFill>
            </c:spPr>
          </c:dPt>
          <c:dPt>
            <c:idx val="2131"/>
            <c:spPr>
              <a:solidFill>
                <a:srgbClr val="AEABAB"/>
              </a:solidFill>
            </c:spPr>
          </c:dPt>
          <c:dPt>
            <c:idx val="2132"/>
            <c:spPr>
              <a:solidFill>
                <a:srgbClr val="AEABAB"/>
              </a:solidFill>
            </c:spPr>
          </c:dPt>
          <c:dPt>
            <c:idx val="2133"/>
            <c:spPr>
              <a:solidFill>
                <a:srgbClr val="AEABAB"/>
              </a:solidFill>
            </c:spPr>
          </c:dPt>
          <c:dPt>
            <c:idx val="2134"/>
            <c:spPr>
              <a:solidFill>
                <a:srgbClr val="AEABAB"/>
              </a:solidFill>
            </c:spPr>
          </c:dPt>
          <c:dPt>
            <c:idx val="2135"/>
            <c:spPr>
              <a:solidFill>
                <a:srgbClr val="AEABAB"/>
              </a:solidFill>
            </c:spPr>
          </c:dPt>
          <c:dPt>
            <c:idx val="2136"/>
            <c:spPr>
              <a:solidFill>
                <a:srgbClr val="AEABAB"/>
              </a:solidFill>
            </c:spPr>
          </c:dPt>
          <c:dPt>
            <c:idx val="2137"/>
            <c:spPr>
              <a:solidFill>
                <a:srgbClr val="AEABAB"/>
              </a:solidFill>
            </c:spPr>
          </c:dPt>
          <c:dPt>
            <c:idx val="2138"/>
            <c:spPr>
              <a:solidFill>
                <a:srgbClr val="AEABAB"/>
              </a:solidFill>
            </c:spPr>
          </c:dPt>
          <c:dPt>
            <c:idx val="2139"/>
            <c:spPr>
              <a:solidFill>
                <a:srgbClr val="AEABAB"/>
              </a:solidFill>
            </c:spPr>
          </c:dPt>
          <c:dPt>
            <c:idx val="2140"/>
            <c:spPr>
              <a:solidFill>
                <a:srgbClr val="AEABAB"/>
              </a:solidFill>
            </c:spPr>
          </c:dPt>
          <c:dPt>
            <c:idx val="2141"/>
            <c:spPr>
              <a:solidFill>
                <a:srgbClr val="AEABAB"/>
              </a:solidFill>
            </c:spPr>
          </c:dPt>
          <c:dPt>
            <c:idx val="2142"/>
            <c:spPr>
              <a:solidFill>
                <a:srgbClr val="AEABAB"/>
              </a:solidFill>
            </c:spPr>
          </c:dPt>
          <c:dPt>
            <c:idx val="2143"/>
            <c:spPr>
              <a:solidFill>
                <a:srgbClr val="AEABAB"/>
              </a:solidFill>
            </c:spPr>
          </c:dPt>
          <c:dPt>
            <c:idx val="2144"/>
            <c:spPr>
              <a:solidFill>
                <a:srgbClr val="AEABAB"/>
              </a:solidFill>
            </c:spPr>
          </c:dPt>
          <c:dPt>
            <c:idx val="2145"/>
            <c:spPr>
              <a:solidFill>
                <a:srgbClr val="AEABAB"/>
              </a:solidFill>
            </c:spPr>
          </c:dPt>
          <c:dPt>
            <c:idx val="2146"/>
            <c:spPr>
              <a:solidFill>
                <a:srgbClr val="AEABAB"/>
              </a:solidFill>
            </c:spPr>
          </c:dPt>
          <c:dPt>
            <c:idx val="2147"/>
            <c:spPr>
              <a:solidFill>
                <a:srgbClr val="AEABAB"/>
              </a:solidFill>
            </c:spPr>
          </c:dPt>
          <c:dPt>
            <c:idx val="2148"/>
            <c:spPr>
              <a:solidFill>
                <a:srgbClr val="AEABAB"/>
              </a:solidFill>
            </c:spPr>
          </c:dPt>
          <c:dPt>
            <c:idx val="2149"/>
            <c:spPr>
              <a:solidFill>
                <a:srgbClr val="AEABAB"/>
              </a:solidFill>
            </c:spPr>
          </c:dPt>
          <c:dPt>
            <c:idx val="2150"/>
            <c:spPr>
              <a:solidFill>
                <a:srgbClr val="AEABAB"/>
              </a:solidFill>
            </c:spPr>
          </c:dPt>
          <c:dPt>
            <c:idx val="2151"/>
            <c:spPr>
              <a:solidFill>
                <a:srgbClr val="AEABAB"/>
              </a:solidFill>
            </c:spPr>
          </c:dPt>
          <c:dPt>
            <c:idx val="2152"/>
            <c:spPr>
              <a:solidFill>
                <a:srgbClr val="AEABAB"/>
              </a:solidFill>
            </c:spPr>
          </c:dPt>
          <c:dPt>
            <c:idx val="2153"/>
            <c:spPr>
              <a:solidFill>
                <a:srgbClr val="AEABAB"/>
              </a:solidFill>
            </c:spPr>
          </c:dPt>
          <c:dPt>
            <c:idx val="2154"/>
            <c:spPr>
              <a:solidFill>
                <a:srgbClr val="AEABAB"/>
              </a:solidFill>
            </c:spPr>
          </c:dPt>
          <c:dPt>
            <c:idx val="2155"/>
            <c:spPr>
              <a:solidFill>
                <a:srgbClr val="AEABAB"/>
              </a:solidFill>
            </c:spPr>
          </c:dPt>
          <c:dPt>
            <c:idx val="2156"/>
            <c:spPr>
              <a:solidFill>
                <a:srgbClr val="AEABAB"/>
              </a:solidFill>
            </c:spPr>
          </c:dPt>
          <c:dPt>
            <c:idx val="2157"/>
            <c:spPr>
              <a:solidFill>
                <a:srgbClr val="AEABAB"/>
              </a:solidFill>
            </c:spPr>
          </c:dPt>
          <c:dPt>
            <c:idx val="2158"/>
            <c:spPr>
              <a:solidFill>
                <a:srgbClr val="AEABAB"/>
              </a:solidFill>
            </c:spPr>
          </c:dPt>
          <c:dPt>
            <c:idx val="2159"/>
            <c:spPr>
              <a:solidFill>
                <a:srgbClr val="AEABAB"/>
              </a:solidFill>
            </c:spPr>
          </c:dPt>
          <c:dPt>
            <c:idx val="2160"/>
            <c:spPr>
              <a:solidFill>
                <a:srgbClr val="AEABAB"/>
              </a:solidFill>
            </c:spPr>
          </c:dPt>
          <c:dPt>
            <c:idx val="2161"/>
            <c:spPr>
              <a:solidFill>
                <a:srgbClr val="AEABAB"/>
              </a:solidFill>
            </c:spPr>
          </c:dPt>
          <c:dPt>
            <c:idx val="2162"/>
            <c:spPr>
              <a:solidFill>
                <a:srgbClr val="AEABAB"/>
              </a:solidFill>
            </c:spPr>
          </c:dPt>
          <c:dPt>
            <c:idx val="2163"/>
            <c:spPr>
              <a:solidFill>
                <a:srgbClr val="AEABAB"/>
              </a:solidFill>
            </c:spPr>
          </c:dPt>
          <c:dPt>
            <c:idx val="2164"/>
            <c:spPr>
              <a:solidFill>
                <a:srgbClr val="AEABAB"/>
              </a:solidFill>
            </c:spPr>
          </c:dPt>
          <c:dPt>
            <c:idx val="2165"/>
            <c:spPr>
              <a:solidFill>
                <a:srgbClr val="AEABAB"/>
              </a:solidFill>
            </c:spPr>
          </c:dPt>
          <c:dPt>
            <c:idx val="2166"/>
            <c:spPr>
              <a:solidFill>
                <a:srgbClr val="AEABAB"/>
              </a:solidFill>
            </c:spPr>
          </c:dPt>
          <c:dPt>
            <c:idx val="2167"/>
            <c:spPr>
              <a:solidFill>
                <a:srgbClr val="AEABAB"/>
              </a:solidFill>
            </c:spPr>
          </c:dPt>
          <c:dPt>
            <c:idx val="2168"/>
            <c:spPr>
              <a:solidFill>
                <a:srgbClr val="AEABAB"/>
              </a:solidFill>
            </c:spPr>
          </c:dPt>
          <c:dPt>
            <c:idx val="2169"/>
            <c:spPr>
              <a:solidFill>
                <a:srgbClr val="AEABAB"/>
              </a:solidFill>
            </c:spPr>
          </c:dPt>
          <c:dPt>
            <c:idx val="2170"/>
            <c:spPr>
              <a:solidFill>
                <a:srgbClr val="AEABAB"/>
              </a:solidFill>
            </c:spPr>
          </c:dPt>
          <c:dPt>
            <c:idx val="2171"/>
            <c:spPr>
              <a:solidFill>
                <a:srgbClr val="AEABAB"/>
              </a:solidFill>
            </c:spPr>
          </c:dPt>
          <c:dPt>
            <c:idx val="2172"/>
            <c:spPr>
              <a:solidFill>
                <a:srgbClr val="AEABAB"/>
              </a:solidFill>
            </c:spPr>
          </c:dPt>
          <c:dPt>
            <c:idx val="2173"/>
            <c:spPr>
              <a:solidFill>
                <a:srgbClr val="AEABAB"/>
              </a:solidFill>
            </c:spPr>
          </c:dPt>
          <c:dPt>
            <c:idx val="2174"/>
            <c:spPr>
              <a:solidFill>
                <a:srgbClr val="AEABAB"/>
              </a:solidFill>
            </c:spPr>
          </c:dPt>
          <c:dPt>
            <c:idx val="2175"/>
            <c:spPr>
              <a:solidFill>
                <a:srgbClr val="AEABAB"/>
              </a:solidFill>
            </c:spPr>
          </c:dPt>
          <c:dPt>
            <c:idx val="2176"/>
            <c:spPr>
              <a:solidFill>
                <a:srgbClr val="AEABAB"/>
              </a:solidFill>
            </c:spPr>
          </c:dPt>
          <c:dPt>
            <c:idx val="2177"/>
            <c:spPr>
              <a:solidFill>
                <a:srgbClr val="AEABAB"/>
              </a:solidFill>
            </c:spPr>
          </c:dPt>
          <c:dPt>
            <c:idx val="2178"/>
            <c:spPr>
              <a:solidFill>
                <a:srgbClr val="AEABAB"/>
              </a:solidFill>
            </c:spPr>
          </c:dPt>
          <c:dPt>
            <c:idx val="2179"/>
            <c:spPr>
              <a:solidFill>
                <a:srgbClr val="AEABAB"/>
              </a:solidFill>
            </c:spPr>
          </c:dPt>
          <c:dPt>
            <c:idx val="2180"/>
            <c:spPr>
              <a:solidFill>
                <a:srgbClr val="AEABAB"/>
              </a:solidFill>
            </c:spPr>
          </c:dPt>
          <c:dPt>
            <c:idx val="2181"/>
            <c:spPr>
              <a:solidFill>
                <a:srgbClr val="AEABAB"/>
              </a:solidFill>
            </c:spPr>
          </c:dPt>
          <c:dPt>
            <c:idx val="2182"/>
            <c:spPr>
              <a:solidFill>
                <a:srgbClr val="AEABAB"/>
              </a:solidFill>
            </c:spPr>
          </c:dPt>
          <c:dPt>
            <c:idx val="2183"/>
            <c:spPr>
              <a:solidFill>
                <a:srgbClr val="AEABAB"/>
              </a:solidFill>
            </c:spPr>
          </c:dPt>
          <c:dPt>
            <c:idx val="2184"/>
            <c:spPr>
              <a:solidFill>
                <a:srgbClr val="AEABAB"/>
              </a:solidFill>
            </c:spPr>
          </c:dPt>
          <c:dPt>
            <c:idx val="2185"/>
            <c:spPr>
              <a:solidFill>
                <a:srgbClr val="AEABAB"/>
              </a:solidFill>
            </c:spPr>
          </c:dPt>
          <c:dPt>
            <c:idx val="2186"/>
            <c:spPr>
              <a:solidFill>
                <a:srgbClr val="AEABAB"/>
              </a:solidFill>
            </c:spPr>
          </c:dPt>
          <c:dPt>
            <c:idx val="2187"/>
            <c:spPr>
              <a:solidFill>
                <a:srgbClr val="AEABAB"/>
              </a:solidFill>
            </c:spPr>
          </c:dPt>
          <c:dPt>
            <c:idx val="2188"/>
            <c:spPr>
              <a:solidFill>
                <a:srgbClr val="AEABAB"/>
              </a:solidFill>
            </c:spPr>
          </c:dPt>
          <c:dPt>
            <c:idx val="2189"/>
            <c:spPr>
              <a:solidFill>
                <a:srgbClr val="AEABAB"/>
              </a:solidFill>
            </c:spPr>
          </c:dPt>
          <c:dPt>
            <c:idx val="2190"/>
            <c:spPr>
              <a:solidFill>
                <a:srgbClr val="AEABAB"/>
              </a:solidFill>
            </c:spPr>
          </c:dPt>
          <c:dPt>
            <c:idx val="2191"/>
            <c:spPr>
              <a:solidFill>
                <a:srgbClr val="AEABAB"/>
              </a:solidFill>
            </c:spPr>
          </c:dPt>
          <c:dPt>
            <c:idx val="2192"/>
            <c:spPr>
              <a:solidFill>
                <a:srgbClr val="AEABAB"/>
              </a:solidFill>
            </c:spPr>
          </c:dPt>
          <c:dPt>
            <c:idx val="2193"/>
            <c:spPr>
              <a:solidFill>
                <a:srgbClr val="AEABAB"/>
              </a:solidFill>
            </c:spPr>
          </c:dPt>
          <c:dPt>
            <c:idx val="2194"/>
            <c:spPr>
              <a:solidFill>
                <a:srgbClr val="AEABAB"/>
              </a:solidFill>
            </c:spPr>
          </c:dPt>
          <c:dPt>
            <c:idx val="2195"/>
            <c:spPr>
              <a:solidFill>
                <a:srgbClr val="AEABAB"/>
              </a:solidFill>
            </c:spPr>
          </c:dPt>
          <c:dPt>
            <c:idx val="2196"/>
            <c:spPr>
              <a:solidFill>
                <a:srgbClr val="AEABAB"/>
              </a:solidFill>
            </c:spPr>
          </c:dPt>
          <c:dPt>
            <c:idx val="2197"/>
            <c:spPr>
              <a:solidFill>
                <a:srgbClr val="AEABAB"/>
              </a:solidFill>
            </c:spPr>
          </c:dPt>
          <c:dPt>
            <c:idx val="2198"/>
            <c:spPr>
              <a:solidFill>
                <a:srgbClr val="AEABAB"/>
              </a:solidFill>
            </c:spPr>
          </c:dPt>
          <c:dPt>
            <c:idx val="2199"/>
            <c:spPr>
              <a:solidFill>
                <a:srgbClr val="AEABAB"/>
              </a:solidFill>
            </c:spPr>
          </c:dPt>
          <c:dPt>
            <c:idx val="2200"/>
            <c:spPr>
              <a:solidFill>
                <a:srgbClr val="AEABAB"/>
              </a:solidFill>
            </c:spPr>
          </c:dPt>
          <c:dPt>
            <c:idx val="2201"/>
            <c:spPr>
              <a:solidFill>
                <a:srgbClr val="AEABAB"/>
              </a:solidFill>
            </c:spPr>
          </c:dPt>
          <c:dPt>
            <c:idx val="2202"/>
            <c:spPr>
              <a:solidFill>
                <a:srgbClr val="AEABAB"/>
              </a:solidFill>
            </c:spPr>
          </c:dPt>
          <c:dPt>
            <c:idx val="2203"/>
            <c:spPr>
              <a:solidFill>
                <a:srgbClr val="AEABAB"/>
              </a:solidFill>
            </c:spPr>
          </c:dPt>
          <c:dPt>
            <c:idx val="2204"/>
            <c:spPr>
              <a:solidFill>
                <a:srgbClr val="AEABAB"/>
              </a:solidFill>
            </c:spPr>
          </c:dPt>
          <c:dPt>
            <c:idx val="2205"/>
            <c:spPr>
              <a:solidFill>
                <a:srgbClr val="AEABAB"/>
              </a:solidFill>
            </c:spPr>
          </c:dPt>
          <c:dPt>
            <c:idx val="2206"/>
            <c:spPr>
              <a:solidFill>
                <a:srgbClr val="AEABAB"/>
              </a:solidFill>
            </c:spPr>
          </c:dPt>
          <c:dPt>
            <c:idx val="2207"/>
            <c:spPr>
              <a:solidFill>
                <a:srgbClr val="AEABAB"/>
              </a:solidFill>
            </c:spPr>
          </c:dPt>
          <c:dPt>
            <c:idx val="2208"/>
            <c:spPr>
              <a:solidFill>
                <a:srgbClr val="AEABAB"/>
              </a:solidFill>
            </c:spPr>
          </c:dPt>
          <c:dPt>
            <c:idx val="2209"/>
            <c:spPr>
              <a:solidFill>
                <a:srgbClr val="AEABAB"/>
              </a:solidFill>
            </c:spPr>
          </c:dPt>
          <c:dPt>
            <c:idx val="2210"/>
            <c:spPr>
              <a:solidFill>
                <a:srgbClr val="AEABAB"/>
              </a:solidFill>
            </c:spPr>
          </c:dPt>
          <c:dPt>
            <c:idx val="2211"/>
            <c:spPr>
              <a:solidFill>
                <a:srgbClr val="AEABAB"/>
              </a:solidFill>
            </c:spPr>
          </c:dPt>
          <c:dPt>
            <c:idx val="2212"/>
            <c:spPr>
              <a:solidFill>
                <a:srgbClr val="AEABAB"/>
              </a:solidFill>
            </c:spPr>
          </c:dPt>
          <c:dPt>
            <c:idx val="2213"/>
            <c:spPr>
              <a:solidFill>
                <a:srgbClr val="AEABAB"/>
              </a:solidFill>
            </c:spPr>
          </c:dPt>
          <c:dPt>
            <c:idx val="2214"/>
            <c:spPr>
              <a:solidFill>
                <a:srgbClr val="AEABAB"/>
              </a:solidFill>
            </c:spPr>
          </c:dPt>
          <c:dPt>
            <c:idx val="2215"/>
            <c:spPr>
              <a:solidFill>
                <a:srgbClr val="AEABAB"/>
              </a:solidFill>
            </c:spPr>
          </c:dPt>
          <c:dPt>
            <c:idx val="2216"/>
            <c:spPr>
              <a:solidFill>
                <a:srgbClr val="AEABAB"/>
              </a:solidFill>
            </c:spPr>
          </c:dPt>
          <c:dPt>
            <c:idx val="2217"/>
            <c:spPr>
              <a:solidFill>
                <a:srgbClr val="AEABAB"/>
              </a:solidFill>
            </c:spPr>
          </c:dPt>
          <c:dPt>
            <c:idx val="2218"/>
            <c:spPr>
              <a:solidFill>
                <a:srgbClr val="AEABAB"/>
              </a:solidFill>
            </c:spPr>
          </c:dPt>
          <c:dPt>
            <c:idx val="2219"/>
            <c:spPr>
              <a:solidFill>
                <a:srgbClr val="AEABAB"/>
              </a:solidFill>
            </c:spPr>
          </c:dPt>
          <c:dPt>
            <c:idx val="2220"/>
            <c:spPr>
              <a:solidFill>
                <a:srgbClr val="AEABAB"/>
              </a:solidFill>
            </c:spPr>
          </c:dPt>
          <c:dPt>
            <c:idx val="2221"/>
            <c:spPr>
              <a:solidFill>
                <a:srgbClr val="AEABAB"/>
              </a:solidFill>
            </c:spPr>
          </c:dPt>
          <c:dPt>
            <c:idx val="2222"/>
            <c:spPr>
              <a:solidFill>
                <a:srgbClr val="AEABAB"/>
              </a:solidFill>
            </c:spPr>
          </c:dPt>
          <c:dPt>
            <c:idx val="2223"/>
            <c:spPr>
              <a:solidFill>
                <a:srgbClr val="AEABAB"/>
              </a:solidFill>
            </c:spPr>
          </c:dPt>
          <c:dPt>
            <c:idx val="2224"/>
            <c:spPr>
              <a:solidFill>
                <a:srgbClr val="AEABAB"/>
              </a:solidFill>
            </c:spPr>
          </c:dPt>
          <c:dPt>
            <c:idx val="2225"/>
            <c:spPr>
              <a:solidFill>
                <a:srgbClr val="AEABAB"/>
              </a:solidFill>
            </c:spPr>
          </c:dPt>
          <c:dPt>
            <c:idx val="2226"/>
            <c:spPr>
              <a:solidFill>
                <a:srgbClr val="AEABAB"/>
              </a:solidFill>
            </c:spPr>
          </c:dPt>
          <c:dPt>
            <c:idx val="2227"/>
            <c:spPr>
              <a:solidFill>
                <a:srgbClr val="AEABAB"/>
              </a:solidFill>
            </c:spPr>
          </c:dPt>
          <c:dPt>
            <c:idx val="2228"/>
            <c:spPr>
              <a:solidFill>
                <a:srgbClr val="AEABAB"/>
              </a:solidFill>
            </c:spPr>
          </c:dPt>
          <c:dPt>
            <c:idx val="2229"/>
            <c:spPr>
              <a:solidFill>
                <a:srgbClr val="AEABAB"/>
              </a:solidFill>
            </c:spPr>
          </c:dPt>
          <c:dPt>
            <c:idx val="2230"/>
            <c:spPr>
              <a:solidFill>
                <a:srgbClr val="AEABAB"/>
              </a:solidFill>
            </c:spPr>
          </c:dPt>
          <c:dPt>
            <c:idx val="2231"/>
            <c:spPr>
              <a:solidFill>
                <a:srgbClr val="AEABAB"/>
              </a:solidFill>
            </c:spPr>
          </c:dPt>
          <c:dPt>
            <c:idx val="2232"/>
            <c:spPr>
              <a:solidFill>
                <a:srgbClr val="AEABAB"/>
              </a:solidFill>
            </c:spPr>
          </c:dPt>
          <c:dPt>
            <c:idx val="2233"/>
            <c:spPr>
              <a:solidFill>
                <a:srgbClr val="AEABAB"/>
              </a:solidFill>
            </c:spPr>
          </c:dPt>
          <c:dPt>
            <c:idx val="2234"/>
            <c:spPr>
              <a:solidFill>
                <a:srgbClr val="AEABAB"/>
              </a:solidFill>
            </c:spPr>
          </c:dPt>
          <c:dPt>
            <c:idx val="2235"/>
            <c:spPr>
              <a:solidFill>
                <a:srgbClr val="AEABAB"/>
              </a:solidFill>
            </c:spPr>
          </c:dPt>
          <c:dPt>
            <c:idx val="2236"/>
            <c:spPr>
              <a:solidFill>
                <a:srgbClr val="AEABAB"/>
              </a:solidFill>
            </c:spPr>
          </c:dPt>
          <c:dPt>
            <c:idx val="2237"/>
            <c:spPr>
              <a:solidFill>
                <a:srgbClr val="AEABAB"/>
              </a:solidFill>
            </c:spPr>
          </c:dPt>
          <c:dPt>
            <c:idx val="2238"/>
            <c:spPr>
              <a:solidFill>
                <a:srgbClr val="AEABAB"/>
              </a:solidFill>
            </c:spPr>
          </c:dPt>
          <c:dPt>
            <c:idx val="2239"/>
            <c:spPr>
              <a:solidFill>
                <a:srgbClr val="AEABAB"/>
              </a:solidFill>
            </c:spPr>
          </c:dPt>
          <c:dPt>
            <c:idx val="2240"/>
            <c:spPr>
              <a:solidFill>
                <a:srgbClr val="AEABAB"/>
              </a:solidFill>
            </c:spPr>
          </c:dPt>
          <c:dPt>
            <c:idx val="2241"/>
            <c:spPr>
              <a:solidFill>
                <a:srgbClr val="AEABAB"/>
              </a:solidFill>
            </c:spPr>
          </c:dPt>
          <c:dPt>
            <c:idx val="2242"/>
            <c:spPr>
              <a:solidFill>
                <a:srgbClr val="AEABAB"/>
              </a:solidFill>
            </c:spPr>
          </c:dPt>
          <c:dPt>
            <c:idx val="2243"/>
            <c:spPr>
              <a:solidFill>
                <a:srgbClr val="AEABAB"/>
              </a:solidFill>
            </c:spPr>
          </c:dPt>
          <c:dPt>
            <c:idx val="2244"/>
            <c:spPr>
              <a:solidFill>
                <a:srgbClr val="AEABAB"/>
              </a:solidFill>
            </c:spPr>
          </c:dPt>
          <c:dPt>
            <c:idx val="2245"/>
            <c:spPr>
              <a:solidFill>
                <a:srgbClr val="AEABAB"/>
              </a:solidFill>
            </c:spPr>
          </c:dPt>
          <c:dPt>
            <c:idx val="2246"/>
            <c:spPr>
              <a:solidFill>
                <a:srgbClr val="AEABAB"/>
              </a:solidFill>
            </c:spPr>
          </c:dPt>
          <c:dPt>
            <c:idx val="2247"/>
            <c:spPr>
              <a:solidFill>
                <a:srgbClr val="AEABAB"/>
              </a:solidFill>
            </c:spPr>
          </c:dPt>
          <c:dPt>
            <c:idx val="2248"/>
            <c:spPr>
              <a:solidFill>
                <a:srgbClr val="AEABAB"/>
              </a:solidFill>
            </c:spPr>
          </c:dPt>
          <c:dPt>
            <c:idx val="2249"/>
            <c:spPr>
              <a:solidFill>
                <a:srgbClr val="AEABAB"/>
              </a:solidFill>
            </c:spPr>
          </c:dPt>
          <c:dPt>
            <c:idx val="2250"/>
            <c:spPr>
              <a:solidFill>
                <a:srgbClr val="AEABAB"/>
              </a:solidFill>
            </c:spPr>
          </c:dPt>
          <c:dPt>
            <c:idx val="2251"/>
            <c:spPr>
              <a:solidFill>
                <a:srgbClr val="AEABAB"/>
              </a:solidFill>
            </c:spPr>
          </c:dPt>
          <c:dPt>
            <c:idx val="2252"/>
            <c:spPr>
              <a:solidFill>
                <a:srgbClr val="AEABAB"/>
              </a:solidFill>
            </c:spPr>
          </c:dPt>
          <c:dPt>
            <c:idx val="2253"/>
            <c:spPr>
              <a:solidFill>
                <a:srgbClr val="AEABAB"/>
              </a:solidFill>
            </c:spPr>
          </c:dPt>
          <c:dPt>
            <c:idx val="2254"/>
            <c:spPr>
              <a:solidFill>
                <a:srgbClr val="AEABAB"/>
              </a:solidFill>
            </c:spPr>
          </c:dPt>
          <c:dPt>
            <c:idx val="2255"/>
            <c:spPr>
              <a:solidFill>
                <a:srgbClr val="AEABAB"/>
              </a:solidFill>
            </c:spPr>
          </c:dPt>
          <c:dPt>
            <c:idx val="2256"/>
            <c:spPr>
              <a:solidFill>
                <a:srgbClr val="AEABAB"/>
              </a:solidFill>
            </c:spPr>
          </c:dPt>
          <c:dPt>
            <c:idx val="2257"/>
            <c:spPr>
              <a:solidFill>
                <a:srgbClr val="AEABAB"/>
              </a:solidFill>
            </c:spPr>
          </c:dPt>
          <c:dPt>
            <c:idx val="2258"/>
            <c:spPr>
              <a:solidFill>
                <a:srgbClr val="AEABAB"/>
              </a:solidFill>
            </c:spPr>
          </c:dPt>
          <c:dPt>
            <c:idx val="2259"/>
            <c:spPr>
              <a:solidFill>
                <a:srgbClr val="AEABAB"/>
              </a:solidFill>
            </c:spPr>
          </c:dPt>
          <c:dPt>
            <c:idx val="2260"/>
            <c:spPr>
              <a:solidFill>
                <a:srgbClr val="AEABAB"/>
              </a:solidFill>
            </c:spPr>
          </c:dPt>
          <c:dPt>
            <c:idx val="2261"/>
            <c:spPr>
              <a:solidFill>
                <a:srgbClr val="AEABAB"/>
              </a:solidFill>
            </c:spPr>
          </c:dPt>
          <c:dPt>
            <c:idx val="2262"/>
            <c:spPr>
              <a:solidFill>
                <a:srgbClr val="AEABAB"/>
              </a:solidFill>
            </c:spPr>
          </c:dPt>
          <c:dPt>
            <c:idx val="2263"/>
            <c:spPr>
              <a:solidFill>
                <a:srgbClr val="AEABAB"/>
              </a:solidFill>
            </c:spPr>
          </c:dPt>
          <c:dPt>
            <c:idx val="2264"/>
            <c:spPr>
              <a:solidFill>
                <a:srgbClr val="AEABAB"/>
              </a:solidFill>
            </c:spPr>
          </c:dPt>
          <c:dPt>
            <c:idx val="2265"/>
            <c:spPr>
              <a:solidFill>
                <a:srgbClr val="AEABAB"/>
              </a:solidFill>
            </c:spPr>
          </c:dPt>
          <c:dPt>
            <c:idx val="2266"/>
            <c:spPr>
              <a:solidFill>
                <a:srgbClr val="AEABAB"/>
              </a:solidFill>
            </c:spPr>
          </c:dPt>
          <c:dPt>
            <c:idx val="2267"/>
            <c:spPr>
              <a:solidFill>
                <a:srgbClr val="AEABAB"/>
              </a:solidFill>
            </c:spPr>
          </c:dPt>
          <c:dPt>
            <c:idx val="2268"/>
            <c:spPr>
              <a:solidFill>
                <a:srgbClr val="AEABAB"/>
              </a:solidFill>
            </c:spPr>
          </c:dPt>
          <c:dPt>
            <c:idx val="2269"/>
            <c:spPr>
              <a:solidFill>
                <a:srgbClr val="AEABAB"/>
              </a:solidFill>
            </c:spPr>
          </c:dPt>
          <c:dPt>
            <c:idx val="2270"/>
            <c:spPr>
              <a:solidFill>
                <a:srgbClr val="AEABAB"/>
              </a:solidFill>
            </c:spPr>
          </c:dPt>
          <c:dPt>
            <c:idx val="2271"/>
            <c:spPr>
              <a:solidFill>
                <a:srgbClr val="AEABAB"/>
              </a:solidFill>
            </c:spPr>
          </c:dPt>
          <c:dPt>
            <c:idx val="2272"/>
            <c:spPr>
              <a:solidFill>
                <a:srgbClr val="AEABAB"/>
              </a:solidFill>
            </c:spPr>
          </c:dPt>
          <c:dPt>
            <c:idx val="2273"/>
            <c:spPr>
              <a:solidFill>
                <a:srgbClr val="AEABAB"/>
              </a:solidFill>
            </c:spPr>
          </c:dPt>
          <c:dPt>
            <c:idx val="2274"/>
            <c:spPr>
              <a:solidFill>
                <a:srgbClr val="AEABAB"/>
              </a:solidFill>
            </c:spPr>
          </c:dPt>
          <c:dPt>
            <c:idx val="2275"/>
            <c:spPr>
              <a:solidFill>
                <a:srgbClr val="AEABAB"/>
              </a:solidFill>
            </c:spPr>
          </c:dPt>
          <c:dPt>
            <c:idx val="2276"/>
            <c:spPr>
              <a:solidFill>
                <a:srgbClr val="AEABAB"/>
              </a:solidFill>
            </c:spPr>
          </c:dPt>
          <c:dPt>
            <c:idx val="2277"/>
            <c:spPr>
              <a:solidFill>
                <a:srgbClr val="AEABAB"/>
              </a:solidFill>
            </c:spPr>
          </c:dPt>
          <c:dPt>
            <c:idx val="2278"/>
            <c:spPr>
              <a:solidFill>
                <a:srgbClr val="AEABAB"/>
              </a:solidFill>
            </c:spPr>
          </c:dPt>
          <c:dPt>
            <c:idx val="2279"/>
            <c:spPr>
              <a:solidFill>
                <a:srgbClr val="AEABAB"/>
              </a:solidFill>
            </c:spPr>
          </c:dPt>
          <c:dPt>
            <c:idx val="2280"/>
            <c:spPr>
              <a:solidFill>
                <a:srgbClr val="AEABAB"/>
              </a:solidFill>
            </c:spPr>
          </c:dPt>
          <c:dPt>
            <c:idx val="2281"/>
            <c:spPr>
              <a:solidFill>
                <a:srgbClr val="AEABAB"/>
              </a:solidFill>
            </c:spPr>
          </c:dPt>
          <c:dPt>
            <c:idx val="2282"/>
            <c:spPr>
              <a:solidFill>
                <a:srgbClr val="AEABAB"/>
              </a:solidFill>
            </c:spPr>
          </c:dPt>
          <c:dPt>
            <c:idx val="2283"/>
            <c:spPr>
              <a:solidFill>
                <a:srgbClr val="AEABAB"/>
              </a:solidFill>
            </c:spPr>
          </c:dPt>
          <c:dPt>
            <c:idx val="2284"/>
            <c:spPr>
              <a:solidFill>
                <a:srgbClr val="AEABAB"/>
              </a:solidFill>
            </c:spPr>
          </c:dPt>
          <c:dPt>
            <c:idx val="2285"/>
            <c:spPr>
              <a:solidFill>
                <a:srgbClr val="AEABAB"/>
              </a:solidFill>
            </c:spPr>
          </c:dPt>
          <c:dPt>
            <c:idx val="2286"/>
            <c:spPr>
              <a:solidFill>
                <a:srgbClr val="AEABAB"/>
              </a:solidFill>
            </c:spPr>
          </c:dPt>
          <c:dPt>
            <c:idx val="2287"/>
            <c:spPr>
              <a:solidFill>
                <a:srgbClr val="AEABAB"/>
              </a:solidFill>
            </c:spPr>
          </c:dPt>
          <c:dPt>
            <c:idx val="2288"/>
            <c:spPr>
              <a:solidFill>
                <a:srgbClr val="AEABAB"/>
              </a:solidFill>
            </c:spPr>
          </c:dPt>
          <c:dPt>
            <c:idx val="2289"/>
            <c:spPr>
              <a:solidFill>
                <a:srgbClr val="AEABAB"/>
              </a:solidFill>
            </c:spPr>
          </c:dPt>
          <c:dPt>
            <c:idx val="2290"/>
            <c:spPr>
              <a:solidFill>
                <a:srgbClr val="AEABAB"/>
              </a:solidFill>
            </c:spPr>
          </c:dPt>
          <c:dPt>
            <c:idx val="2291"/>
            <c:spPr>
              <a:solidFill>
                <a:srgbClr val="AEABAB"/>
              </a:solidFill>
            </c:spPr>
          </c:dPt>
          <c:dPt>
            <c:idx val="2292"/>
            <c:spPr>
              <a:solidFill>
                <a:srgbClr val="AEABAB"/>
              </a:solidFill>
            </c:spPr>
          </c:dPt>
          <c:dPt>
            <c:idx val="2293"/>
            <c:spPr>
              <a:solidFill>
                <a:srgbClr val="AEABAB"/>
              </a:solidFill>
            </c:spPr>
          </c:dPt>
          <c:dPt>
            <c:idx val="2294"/>
            <c:spPr>
              <a:solidFill>
                <a:srgbClr val="AEABAB"/>
              </a:solidFill>
            </c:spPr>
          </c:dPt>
          <c:dPt>
            <c:idx val="2295"/>
            <c:spPr>
              <a:solidFill>
                <a:srgbClr val="AEABAB"/>
              </a:solidFill>
            </c:spPr>
          </c:dPt>
          <c:dPt>
            <c:idx val="2296"/>
            <c:spPr>
              <a:solidFill>
                <a:srgbClr val="AEABAB"/>
              </a:solidFill>
            </c:spPr>
          </c:dPt>
          <c:dPt>
            <c:idx val="2297"/>
            <c:spPr>
              <a:solidFill>
                <a:srgbClr val="AEABAB"/>
              </a:solidFill>
            </c:spPr>
          </c:dPt>
          <c:dPt>
            <c:idx val="2298"/>
            <c:spPr>
              <a:solidFill>
                <a:srgbClr val="AEABAB"/>
              </a:solidFill>
            </c:spPr>
          </c:dPt>
          <c:dPt>
            <c:idx val="2299"/>
            <c:spPr>
              <a:solidFill>
                <a:srgbClr val="AEABAB"/>
              </a:solidFill>
            </c:spPr>
          </c:dPt>
          <c:dPt>
            <c:idx val="2300"/>
            <c:spPr>
              <a:solidFill>
                <a:srgbClr val="AEABAB"/>
              </a:solidFill>
            </c:spPr>
          </c:dPt>
          <c:dPt>
            <c:idx val="2301"/>
            <c:spPr>
              <a:solidFill>
                <a:srgbClr val="AEABAB"/>
              </a:solidFill>
            </c:spPr>
          </c:dPt>
          <c:dPt>
            <c:idx val="2302"/>
            <c:spPr>
              <a:solidFill>
                <a:srgbClr val="AEABAB"/>
              </a:solidFill>
            </c:spPr>
          </c:dPt>
          <c:dPt>
            <c:idx val="2303"/>
            <c:spPr>
              <a:solidFill>
                <a:srgbClr val="AEABAB"/>
              </a:solidFill>
            </c:spPr>
          </c:dPt>
          <c:dPt>
            <c:idx val="2304"/>
            <c:spPr>
              <a:solidFill>
                <a:srgbClr val="AEABAB"/>
              </a:solidFill>
            </c:spPr>
          </c:dPt>
          <c:dPt>
            <c:idx val="2305"/>
            <c:spPr>
              <a:solidFill>
                <a:srgbClr val="AEABAB"/>
              </a:solidFill>
            </c:spPr>
          </c:dPt>
          <c:dPt>
            <c:idx val="2306"/>
            <c:spPr>
              <a:solidFill>
                <a:srgbClr val="AEABAB"/>
              </a:solidFill>
            </c:spPr>
          </c:dPt>
          <c:dPt>
            <c:idx val="2307"/>
            <c:spPr>
              <a:solidFill>
                <a:srgbClr val="AEABAB"/>
              </a:solidFill>
            </c:spPr>
          </c:dPt>
          <c:dPt>
            <c:idx val="2308"/>
            <c:spPr>
              <a:solidFill>
                <a:srgbClr val="AEABAB"/>
              </a:solidFill>
            </c:spPr>
          </c:dPt>
          <c:dPt>
            <c:idx val="2309"/>
            <c:spPr>
              <a:solidFill>
                <a:srgbClr val="AEABAB"/>
              </a:solidFill>
            </c:spPr>
          </c:dPt>
          <c:dPt>
            <c:idx val="2310"/>
            <c:spPr>
              <a:solidFill>
                <a:srgbClr val="AEABAB"/>
              </a:solidFill>
            </c:spPr>
          </c:dPt>
          <c:dPt>
            <c:idx val="2311"/>
            <c:spPr>
              <a:solidFill>
                <a:srgbClr val="AEABAB"/>
              </a:solidFill>
            </c:spPr>
          </c:dPt>
          <c:dPt>
            <c:idx val="2312"/>
            <c:spPr>
              <a:solidFill>
                <a:srgbClr val="AEABAB"/>
              </a:solidFill>
            </c:spPr>
          </c:dPt>
          <c:dPt>
            <c:idx val="2313"/>
            <c:spPr>
              <a:solidFill>
                <a:srgbClr val="AEABAB"/>
              </a:solidFill>
            </c:spPr>
          </c:dPt>
          <c:dPt>
            <c:idx val="2314"/>
            <c:spPr>
              <a:solidFill>
                <a:srgbClr val="AEABAB"/>
              </a:solidFill>
            </c:spPr>
          </c:dPt>
          <c:dPt>
            <c:idx val="2315"/>
            <c:spPr>
              <a:solidFill>
                <a:srgbClr val="AEABAB"/>
              </a:solidFill>
            </c:spPr>
          </c:dPt>
          <c:dPt>
            <c:idx val="2316"/>
            <c:spPr>
              <a:solidFill>
                <a:srgbClr val="AEABAB"/>
              </a:solidFill>
            </c:spPr>
          </c:dPt>
          <c:dPt>
            <c:idx val="2317"/>
            <c:spPr>
              <a:solidFill>
                <a:srgbClr val="AEABAB"/>
              </a:solidFill>
            </c:spPr>
          </c:dPt>
          <c:dPt>
            <c:idx val="2318"/>
            <c:spPr>
              <a:solidFill>
                <a:srgbClr val="AEABAB"/>
              </a:solidFill>
            </c:spPr>
          </c:dPt>
          <c:dPt>
            <c:idx val="2319"/>
            <c:spPr>
              <a:solidFill>
                <a:srgbClr val="AEABAB"/>
              </a:solidFill>
            </c:spPr>
          </c:dPt>
          <c:dPt>
            <c:idx val="2320"/>
            <c:spPr>
              <a:solidFill>
                <a:srgbClr val="AEABAB"/>
              </a:solidFill>
            </c:spPr>
          </c:dPt>
          <c:dPt>
            <c:idx val="2321"/>
            <c:spPr>
              <a:solidFill>
                <a:srgbClr val="AEABAB"/>
              </a:solidFill>
            </c:spPr>
          </c:dPt>
          <c:dPt>
            <c:idx val="2322"/>
            <c:spPr>
              <a:solidFill>
                <a:srgbClr val="AEABAB"/>
              </a:solidFill>
            </c:spPr>
          </c:dPt>
          <c:dPt>
            <c:idx val="2323"/>
            <c:spPr>
              <a:solidFill>
                <a:srgbClr val="AEABAB"/>
              </a:solidFill>
            </c:spPr>
          </c:dPt>
          <c:dPt>
            <c:idx val="2324"/>
            <c:spPr>
              <a:solidFill>
                <a:srgbClr val="AEABAB"/>
              </a:solidFill>
            </c:spPr>
          </c:dPt>
          <c:dPt>
            <c:idx val="2325"/>
            <c:spPr>
              <a:solidFill>
                <a:srgbClr val="AEABAB"/>
              </a:solidFill>
            </c:spPr>
          </c:dPt>
          <c:dPt>
            <c:idx val="2326"/>
            <c:spPr>
              <a:solidFill>
                <a:srgbClr val="AEABAB"/>
              </a:solidFill>
            </c:spPr>
          </c:dPt>
          <c:dPt>
            <c:idx val="2327"/>
            <c:spPr>
              <a:solidFill>
                <a:srgbClr val="AEABAB"/>
              </a:solidFill>
            </c:spPr>
          </c:dPt>
          <c:dPt>
            <c:idx val="2328"/>
            <c:spPr>
              <a:solidFill>
                <a:srgbClr val="AEABAB"/>
              </a:solidFill>
            </c:spPr>
          </c:dPt>
          <c:dPt>
            <c:idx val="2329"/>
            <c:spPr>
              <a:solidFill>
                <a:srgbClr val="AEABAB"/>
              </a:solidFill>
            </c:spPr>
          </c:dPt>
          <c:dPt>
            <c:idx val="2330"/>
            <c:spPr>
              <a:solidFill>
                <a:srgbClr val="AEABAB"/>
              </a:solidFill>
            </c:spPr>
          </c:dPt>
          <c:dPt>
            <c:idx val="2331"/>
            <c:spPr>
              <a:solidFill>
                <a:srgbClr val="AEABAB"/>
              </a:solidFill>
            </c:spPr>
          </c:dPt>
          <c:dPt>
            <c:idx val="2332"/>
            <c:spPr>
              <a:solidFill>
                <a:srgbClr val="AEABAB"/>
              </a:solidFill>
            </c:spPr>
          </c:dPt>
          <c:dPt>
            <c:idx val="2333"/>
            <c:spPr>
              <a:solidFill>
                <a:srgbClr val="AEABAB"/>
              </a:solidFill>
            </c:spPr>
          </c:dPt>
          <c:dPt>
            <c:idx val="2334"/>
            <c:spPr>
              <a:solidFill>
                <a:srgbClr val="AEABAB"/>
              </a:solidFill>
            </c:spPr>
          </c:dPt>
          <c:dPt>
            <c:idx val="2335"/>
            <c:spPr>
              <a:solidFill>
                <a:srgbClr val="AEABAB"/>
              </a:solidFill>
            </c:spPr>
          </c:dPt>
          <c:dPt>
            <c:idx val="2336"/>
            <c:spPr>
              <a:solidFill>
                <a:srgbClr val="AEABAB"/>
              </a:solidFill>
            </c:spPr>
          </c:dPt>
          <c:dPt>
            <c:idx val="2337"/>
            <c:spPr>
              <a:solidFill>
                <a:srgbClr val="AEABAB"/>
              </a:solidFill>
            </c:spPr>
          </c:dPt>
          <c:dPt>
            <c:idx val="2338"/>
            <c:spPr>
              <a:solidFill>
                <a:srgbClr val="AEABAB"/>
              </a:solidFill>
            </c:spPr>
          </c:dPt>
          <c:dPt>
            <c:idx val="2339"/>
            <c:spPr>
              <a:solidFill>
                <a:srgbClr val="AEABAB"/>
              </a:solidFill>
            </c:spPr>
          </c:dPt>
          <c:dPt>
            <c:idx val="2340"/>
            <c:spPr>
              <a:solidFill>
                <a:srgbClr val="AEABAB"/>
              </a:solidFill>
            </c:spPr>
          </c:dPt>
          <c:dPt>
            <c:idx val="2341"/>
            <c:spPr>
              <a:solidFill>
                <a:srgbClr val="AEABAB"/>
              </a:solidFill>
            </c:spPr>
          </c:dPt>
          <c:dPt>
            <c:idx val="2342"/>
            <c:spPr>
              <a:solidFill>
                <a:srgbClr val="AEABAB"/>
              </a:solidFill>
            </c:spPr>
          </c:dPt>
          <c:dPt>
            <c:idx val="2343"/>
            <c:spPr>
              <a:solidFill>
                <a:srgbClr val="AEABAB"/>
              </a:solidFill>
            </c:spPr>
          </c:dPt>
          <c:dPt>
            <c:idx val="2344"/>
            <c:spPr>
              <a:solidFill>
                <a:srgbClr val="AEABAB"/>
              </a:solidFill>
            </c:spPr>
          </c:dPt>
          <c:dPt>
            <c:idx val="2345"/>
            <c:spPr>
              <a:solidFill>
                <a:srgbClr val="AEABAB"/>
              </a:solidFill>
            </c:spPr>
          </c:dPt>
          <c:dPt>
            <c:idx val="2346"/>
            <c:spPr>
              <a:solidFill>
                <a:srgbClr val="AEABAB"/>
              </a:solidFill>
            </c:spPr>
          </c:dPt>
          <c:dPt>
            <c:idx val="2347"/>
            <c:spPr>
              <a:solidFill>
                <a:srgbClr val="AEABAB"/>
              </a:solidFill>
            </c:spPr>
          </c:dPt>
          <c:dPt>
            <c:idx val="2348"/>
            <c:spPr>
              <a:solidFill>
                <a:srgbClr val="AEABAB"/>
              </a:solidFill>
            </c:spPr>
          </c:dPt>
          <c:dPt>
            <c:idx val="2349"/>
            <c:spPr>
              <a:solidFill>
                <a:srgbClr val="AEABAB"/>
              </a:solidFill>
            </c:spPr>
          </c:dPt>
          <c:dPt>
            <c:idx val="2350"/>
            <c:spPr>
              <a:solidFill>
                <a:srgbClr val="AEABAB"/>
              </a:solidFill>
            </c:spPr>
          </c:dPt>
          <c:dPt>
            <c:idx val="2351"/>
            <c:spPr>
              <a:solidFill>
                <a:srgbClr val="AEABAB"/>
              </a:solidFill>
            </c:spPr>
          </c:dPt>
          <c:dPt>
            <c:idx val="2352"/>
            <c:spPr>
              <a:solidFill>
                <a:srgbClr val="AEABAB"/>
              </a:solidFill>
            </c:spPr>
          </c:dPt>
          <c:dPt>
            <c:idx val="2353"/>
            <c:spPr>
              <a:solidFill>
                <a:srgbClr val="AEABAB"/>
              </a:solidFill>
            </c:spPr>
          </c:dPt>
          <c:dPt>
            <c:idx val="2354"/>
            <c:spPr>
              <a:solidFill>
                <a:srgbClr val="AEABAB"/>
              </a:solidFill>
            </c:spPr>
          </c:dPt>
          <c:dPt>
            <c:idx val="2355"/>
            <c:spPr>
              <a:solidFill>
                <a:srgbClr val="AEABAB"/>
              </a:solidFill>
            </c:spPr>
          </c:dPt>
          <c:dPt>
            <c:idx val="2356"/>
            <c:spPr>
              <a:solidFill>
                <a:srgbClr val="AEABAB"/>
              </a:solidFill>
            </c:spPr>
          </c:dPt>
          <c:dPt>
            <c:idx val="2357"/>
            <c:spPr>
              <a:solidFill>
                <a:srgbClr val="AEABAB"/>
              </a:solidFill>
            </c:spPr>
          </c:dPt>
          <c:dPt>
            <c:idx val="2358"/>
            <c:spPr>
              <a:solidFill>
                <a:srgbClr val="AEABAB"/>
              </a:solidFill>
            </c:spPr>
          </c:dPt>
          <c:dPt>
            <c:idx val="2359"/>
            <c:spPr>
              <a:solidFill>
                <a:srgbClr val="AEABAB"/>
              </a:solidFill>
            </c:spPr>
          </c:dPt>
          <c:dPt>
            <c:idx val="2360"/>
            <c:spPr>
              <a:solidFill>
                <a:srgbClr val="AEABAB"/>
              </a:solidFill>
            </c:spPr>
          </c:dPt>
          <c:dPt>
            <c:idx val="2361"/>
            <c:spPr>
              <a:solidFill>
                <a:srgbClr val="AEABAB"/>
              </a:solidFill>
            </c:spPr>
          </c:dPt>
          <c:dPt>
            <c:idx val="2362"/>
            <c:spPr>
              <a:solidFill>
                <a:srgbClr val="AEABAB"/>
              </a:solidFill>
            </c:spPr>
          </c:dPt>
          <c:dPt>
            <c:idx val="2363"/>
            <c:spPr>
              <a:solidFill>
                <a:srgbClr val="AEABAB"/>
              </a:solidFill>
            </c:spPr>
          </c:dPt>
          <c:dPt>
            <c:idx val="2364"/>
            <c:spPr>
              <a:solidFill>
                <a:srgbClr val="AEABAB"/>
              </a:solidFill>
            </c:spPr>
          </c:dPt>
          <c:dPt>
            <c:idx val="2365"/>
            <c:spPr>
              <a:solidFill>
                <a:srgbClr val="AEABAB"/>
              </a:solidFill>
            </c:spPr>
          </c:dPt>
          <c:dPt>
            <c:idx val="2366"/>
            <c:spPr>
              <a:solidFill>
                <a:srgbClr val="AEABAB"/>
              </a:solidFill>
            </c:spPr>
          </c:dPt>
          <c:dPt>
            <c:idx val="2367"/>
            <c:spPr>
              <a:solidFill>
                <a:srgbClr val="AEABAB"/>
              </a:solidFill>
            </c:spPr>
          </c:dPt>
          <c:dPt>
            <c:idx val="2368"/>
            <c:spPr>
              <a:solidFill>
                <a:srgbClr val="AEABAB"/>
              </a:solidFill>
            </c:spPr>
          </c:dPt>
          <c:dPt>
            <c:idx val="2369"/>
            <c:spPr>
              <a:solidFill>
                <a:srgbClr val="AEABAB"/>
              </a:solidFill>
            </c:spPr>
          </c:dPt>
          <c:dPt>
            <c:idx val="2370"/>
            <c:spPr>
              <a:solidFill>
                <a:srgbClr val="AEABAB"/>
              </a:solidFill>
            </c:spPr>
          </c:dPt>
          <c:dPt>
            <c:idx val="2371"/>
            <c:spPr>
              <a:solidFill>
                <a:srgbClr val="AEABAB"/>
              </a:solidFill>
            </c:spPr>
          </c:dPt>
          <c:dPt>
            <c:idx val="2372"/>
            <c:spPr>
              <a:solidFill>
                <a:srgbClr val="AEABAB"/>
              </a:solidFill>
            </c:spPr>
          </c:dPt>
          <c:dPt>
            <c:idx val="2373"/>
            <c:spPr>
              <a:solidFill>
                <a:srgbClr val="AEABAB"/>
              </a:solidFill>
            </c:spPr>
          </c:dPt>
          <c:dPt>
            <c:idx val="2374"/>
            <c:spPr>
              <a:solidFill>
                <a:srgbClr val="AEABAB"/>
              </a:solidFill>
            </c:spPr>
          </c:dPt>
          <c:dPt>
            <c:idx val="2375"/>
            <c:spPr>
              <a:solidFill>
                <a:srgbClr val="AEABAB"/>
              </a:solidFill>
            </c:spPr>
          </c:dPt>
          <c:dPt>
            <c:idx val="2376"/>
            <c:spPr>
              <a:solidFill>
                <a:srgbClr val="AEABAB"/>
              </a:solidFill>
            </c:spPr>
          </c:dPt>
          <c:dPt>
            <c:idx val="2377"/>
            <c:spPr>
              <a:solidFill>
                <a:srgbClr val="AEABAB"/>
              </a:solidFill>
            </c:spPr>
          </c:dPt>
          <c:dPt>
            <c:idx val="2378"/>
            <c:spPr>
              <a:solidFill>
                <a:srgbClr val="AEABAB"/>
              </a:solidFill>
            </c:spPr>
          </c:dPt>
          <c:dPt>
            <c:idx val="2379"/>
            <c:spPr>
              <a:solidFill>
                <a:srgbClr val="AEABAB"/>
              </a:solidFill>
            </c:spPr>
          </c:dPt>
          <c:dPt>
            <c:idx val="2380"/>
            <c:spPr>
              <a:solidFill>
                <a:srgbClr val="AEABAB"/>
              </a:solidFill>
            </c:spPr>
          </c:dPt>
          <c:dPt>
            <c:idx val="2381"/>
            <c:spPr>
              <a:solidFill>
                <a:srgbClr val="AEABAB"/>
              </a:solidFill>
            </c:spPr>
          </c:dPt>
          <c:dPt>
            <c:idx val="2382"/>
            <c:spPr>
              <a:solidFill>
                <a:srgbClr val="AEABAB"/>
              </a:solidFill>
            </c:spPr>
          </c:dPt>
          <c:dPt>
            <c:idx val="2383"/>
            <c:spPr>
              <a:solidFill>
                <a:srgbClr val="AEABAB"/>
              </a:solidFill>
            </c:spPr>
          </c:dPt>
          <c:dPt>
            <c:idx val="2384"/>
            <c:spPr>
              <a:solidFill>
                <a:srgbClr val="AEABAB"/>
              </a:solidFill>
            </c:spPr>
          </c:dPt>
          <c:dPt>
            <c:idx val="2385"/>
            <c:spPr>
              <a:solidFill>
                <a:srgbClr val="AEABAB"/>
              </a:solidFill>
            </c:spPr>
          </c:dPt>
          <c:dPt>
            <c:idx val="2386"/>
            <c:spPr>
              <a:solidFill>
                <a:srgbClr val="AEABAB"/>
              </a:solidFill>
            </c:spPr>
          </c:dPt>
          <c:dPt>
            <c:idx val="2387"/>
            <c:spPr>
              <a:solidFill>
                <a:srgbClr val="AEABAB"/>
              </a:solidFill>
            </c:spPr>
          </c:dPt>
          <c:dPt>
            <c:idx val="2388"/>
            <c:spPr>
              <a:solidFill>
                <a:srgbClr val="AEABAB"/>
              </a:solidFill>
            </c:spPr>
          </c:dPt>
          <c:dPt>
            <c:idx val="2389"/>
            <c:spPr>
              <a:solidFill>
                <a:srgbClr val="AEABAB"/>
              </a:solidFill>
            </c:spPr>
          </c:dPt>
          <c:dPt>
            <c:idx val="2390"/>
            <c:spPr>
              <a:solidFill>
                <a:srgbClr val="AEABAB"/>
              </a:solidFill>
            </c:spPr>
          </c:dPt>
          <c:dPt>
            <c:idx val="2391"/>
            <c:spPr>
              <a:solidFill>
                <a:srgbClr val="AEABAB"/>
              </a:solidFill>
            </c:spPr>
          </c:dPt>
          <c:dPt>
            <c:idx val="2392"/>
            <c:spPr>
              <a:solidFill>
                <a:srgbClr val="AEABAB"/>
              </a:solidFill>
            </c:spPr>
          </c:dPt>
          <c:dPt>
            <c:idx val="2393"/>
            <c:spPr>
              <a:solidFill>
                <a:srgbClr val="AEABAB"/>
              </a:solidFill>
            </c:spPr>
          </c:dPt>
          <c:dPt>
            <c:idx val="2394"/>
            <c:spPr>
              <a:solidFill>
                <a:srgbClr val="AEABAB"/>
              </a:solidFill>
            </c:spPr>
          </c:dPt>
          <c:dPt>
            <c:idx val="2395"/>
            <c:spPr>
              <a:solidFill>
                <a:srgbClr val="AEABAB"/>
              </a:solidFill>
            </c:spPr>
          </c:dPt>
          <c:dPt>
            <c:idx val="2396"/>
            <c:spPr>
              <a:solidFill>
                <a:srgbClr val="AEABAB"/>
              </a:solidFill>
            </c:spPr>
          </c:dPt>
          <c:dPt>
            <c:idx val="2397"/>
            <c:spPr>
              <a:solidFill>
                <a:srgbClr val="AEABAB"/>
              </a:solidFill>
            </c:spPr>
          </c:dPt>
          <c:dPt>
            <c:idx val="2398"/>
            <c:spPr>
              <a:solidFill>
                <a:srgbClr val="AEABAB"/>
              </a:solidFill>
            </c:spPr>
          </c:dPt>
          <c:dPt>
            <c:idx val="2399"/>
            <c:spPr>
              <a:solidFill>
                <a:srgbClr val="AEABAB"/>
              </a:solidFill>
            </c:spPr>
          </c:dPt>
          <c:dPt>
            <c:idx val="2400"/>
            <c:spPr>
              <a:solidFill>
                <a:srgbClr val="AEABAB"/>
              </a:solidFill>
            </c:spPr>
          </c:dPt>
          <c:dPt>
            <c:idx val="2401"/>
            <c:spPr>
              <a:solidFill>
                <a:srgbClr val="AEABAB"/>
              </a:solidFill>
            </c:spPr>
          </c:dPt>
          <c:dPt>
            <c:idx val="2402"/>
            <c:spPr>
              <a:solidFill>
                <a:srgbClr val="AEABAB"/>
              </a:solidFill>
            </c:spPr>
          </c:dPt>
          <c:dPt>
            <c:idx val="2403"/>
            <c:spPr>
              <a:solidFill>
                <a:srgbClr val="AEABAB"/>
              </a:solidFill>
            </c:spPr>
          </c:dPt>
          <c:dPt>
            <c:idx val="2404"/>
            <c:spPr>
              <a:solidFill>
                <a:srgbClr val="AEABAB"/>
              </a:solidFill>
            </c:spPr>
          </c:dPt>
          <c:dPt>
            <c:idx val="2405"/>
            <c:spPr>
              <a:solidFill>
                <a:srgbClr val="AEABAB"/>
              </a:solidFill>
            </c:spPr>
          </c:dPt>
          <c:dPt>
            <c:idx val="2406"/>
            <c:spPr>
              <a:solidFill>
                <a:srgbClr val="AEABAB"/>
              </a:solidFill>
            </c:spPr>
          </c:dPt>
          <c:dPt>
            <c:idx val="2407"/>
            <c:spPr>
              <a:solidFill>
                <a:srgbClr val="AEABAB"/>
              </a:solidFill>
            </c:spPr>
          </c:dPt>
          <c:dPt>
            <c:idx val="2408"/>
            <c:spPr>
              <a:solidFill>
                <a:srgbClr val="AEABAB"/>
              </a:solidFill>
            </c:spPr>
          </c:dPt>
          <c:dPt>
            <c:idx val="2409"/>
            <c:spPr>
              <a:solidFill>
                <a:srgbClr val="AEABAB"/>
              </a:solidFill>
            </c:spPr>
          </c:dPt>
          <c:dPt>
            <c:idx val="2410"/>
            <c:spPr>
              <a:solidFill>
                <a:srgbClr val="AEABAB"/>
              </a:solidFill>
            </c:spPr>
          </c:dPt>
          <c:dPt>
            <c:idx val="2411"/>
            <c:spPr>
              <a:solidFill>
                <a:srgbClr val="AEABAB"/>
              </a:solidFill>
            </c:spPr>
          </c:dPt>
          <c:dPt>
            <c:idx val="2412"/>
            <c:spPr>
              <a:solidFill>
                <a:srgbClr val="AEABAB"/>
              </a:solidFill>
            </c:spPr>
          </c:dPt>
          <c:dPt>
            <c:idx val="2413"/>
            <c:spPr>
              <a:solidFill>
                <a:srgbClr val="AEABAB"/>
              </a:solidFill>
            </c:spPr>
          </c:dPt>
          <c:dPt>
            <c:idx val="2414"/>
            <c:spPr>
              <a:solidFill>
                <a:srgbClr val="AEABAB"/>
              </a:solidFill>
            </c:spPr>
          </c:dPt>
          <c:dPt>
            <c:idx val="2415"/>
            <c:spPr>
              <a:solidFill>
                <a:srgbClr val="AEABAB"/>
              </a:solidFill>
            </c:spPr>
          </c:dPt>
          <c:dPt>
            <c:idx val="2416"/>
            <c:spPr>
              <a:solidFill>
                <a:srgbClr val="AEABAB"/>
              </a:solidFill>
            </c:spPr>
          </c:dPt>
          <c:dPt>
            <c:idx val="2417"/>
            <c:spPr>
              <a:solidFill>
                <a:srgbClr val="AEABAB"/>
              </a:solidFill>
            </c:spPr>
          </c:dPt>
          <c:dPt>
            <c:idx val="2418"/>
            <c:spPr>
              <a:solidFill>
                <a:srgbClr val="AEABAB"/>
              </a:solidFill>
            </c:spPr>
          </c:dPt>
          <c:dPt>
            <c:idx val="2419"/>
            <c:spPr>
              <a:solidFill>
                <a:srgbClr val="AEABAB"/>
              </a:solidFill>
            </c:spPr>
          </c:dPt>
          <c:dPt>
            <c:idx val="2420"/>
            <c:spPr>
              <a:solidFill>
                <a:srgbClr val="AEABAB"/>
              </a:solidFill>
            </c:spPr>
          </c:dPt>
          <c:dPt>
            <c:idx val="2421"/>
            <c:spPr>
              <a:solidFill>
                <a:srgbClr val="AEABAB"/>
              </a:solidFill>
            </c:spPr>
          </c:dPt>
          <c:dPt>
            <c:idx val="2422"/>
            <c:spPr>
              <a:solidFill>
                <a:srgbClr val="AEABAB"/>
              </a:solidFill>
            </c:spPr>
          </c:dPt>
          <c:dPt>
            <c:idx val="2423"/>
            <c:spPr>
              <a:solidFill>
                <a:srgbClr val="AEABAB"/>
              </a:solidFill>
            </c:spPr>
          </c:dPt>
          <c:dPt>
            <c:idx val="2424"/>
            <c:spPr>
              <a:solidFill>
                <a:srgbClr val="AEABAB"/>
              </a:solidFill>
            </c:spPr>
          </c:dPt>
          <c:dPt>
            <c:idx val="2425"/>
            <c:spPr>
              <a:solidFill>
                <a:srgbClr val="AEABAB"/>
              </a:solidFill>
            </c:spPr>
          </c:dPt>
          <c:dPt>
            <c:idx val="2426"/>
            <c:spPr>
              <a:solidFill>
                <a:srgbClr val="AEABAB"/>
              </a:solidFill>
            </c:spPr>
          </c:dPt>
          <c:dPt>
            <c:idx val="2427"/>
            <c:spPr>
              <a:solidFill>
                <a:srgbClr val="AEABAB"/>
              </a:solidFill>
            </c:spPr>
          </c:dPt>
          <c:dPt>
            <c:idx val="2428"/>
            <c:spPr>
              <a:solidFill>
                <a:srgbClr val="AEABAB"/>
              </a:solidFill>
            </c:spPr>
          </c:dPt>
          <c:dPt>
            <c:idx val="2429"/>
            <c:spPr>
              <a:solidFill>
                <a:srgbClr val="AEABAB"/>
              </a:solidFill>
            </c:spPr>
          </c:dPt>
          <c:dPt>
            <c:idx val="2430"/>
            <c:spPr>
              <a:solidFill>
                <a:srgbClr val="AEABAB"/>
              </a:solidFill>
            </c:spPr>
          </c:dPt>
          <c:dPt>
            <c:idx val="2431"/>
            <c:spPr>
              <a:solidFill>
                <a:srgbClr val="AEABAB"/>
              </a:solidFill>
            </c:spPr>
          </c:dPt>
          <c:dPt>
            <c:idx val="2432"/>
            <c:spPr>
              <a:solidFill>
                <a:srgbClr val="AEABAB"/>
              </a:solidFill>
            </c:spPr>
          </c:dPt>
          <c:dPt>
            <c:idx val="2433"/>
            <c:spPr>
              <a:solidFill>
                <a:srgbClr val="AEABAB"/>
              </a:solidFill>
            </c:spPr>
          </c:dPt>
          <c:dPt>
            <c:idx val="2434"/>
            <c:spPr>
              <a:solidFill>
                <a:srgbClr val="AEABAB"/>
              </a:solidFill>
            </c:spPr>
          </c:dPt>
          <c:dPt>
            <c:idx val="2435"/>
            <c:spPr>
              <a:solidFill>
                <a:srgbClr val="AEABAB"/>
              </a:solidFill>
            </c:spPr>
          </c:dPt>
          <c:dPt>
            <c:idx val="2436"/>
            <c:spPr>
              <a:solidFill>
                <a:srgbClr val="AEABAB"/>
              </a:solidFill>
            </c:spPr>
          </c:dPt>
          <c:dPt>
            <c:idx val="2437"/>
            <c:spPr>
              <a:solidFill>
                <a:srgbClr val="AEABAB"/>
              </a:solidFill>
            </c:spPr>
          </c:dPt>
          <c:dPt>
            <c:idx val="2438"/>
            <c:spPr>
              <a:solidFill>
                <a:srgbClr val="AEABAB"/>
              </a:solidFill>
            </c:spPr>
          </c:dPt>
          <c:dPt>
            <c:idx val="2439"/>
            <c:spPr>
              <a:solidFill>
                <a:srgbClr val="AEABAB"/>
              </a:solidFill>
            </c:spPr>
          </c:dPt>
          <c:dPt>
            <c:idx val="2440"/>
            <c:spPr>
              <a:solidFill>
                <a:srgbClr val="AEABAB"/>
              </a:solidFill>
            </c:spPr>
          </c:dPt>
          <c:dPt>
            <c:idx val="2441"/>
            <c:spPr>
              <a:solidFill>
                <a:srgbClr val="AEABAB"/>
              </a:solidFill>
            </c:spPr>
          </c:dPt>
          <c:dPt>
            <c:idx val="2442"/>
            <c:spPr>
              <a:solidFill>
                <a:srgbClr val="AEABAB"/>
              </a:solidFill>
            </c:spPr>
          </c:dPt>
          <c:dPt>
            <c:idx val="2443"/>
            <c:spPr>
              <a:solidFill>
                <a:srgbClr val="AEABAB"/>
              </a:solidFill>
            </c:spPr>
          </c:dPt>
          <c:dPt>
            <c:idx val="2444"/>
            <c:spPr>
              <a:solidFill>
                <a:srgbClr val="AEABAB"/>
              </a:solidFill>
            </c:spPr>
          </c:dPt>
          <c:dPt>
            <c:idx val="2445"/>
            <c:spPr>
              <a:solidFill>
                <a:srgbClr val="AEABAB"/>
              </a:solidFill>
            </c:spPr>
          </c:dPt>
          <c:dPt>
            <c:idx val="2446"/>
            <c:spPr>
              <a:solidFill>
                <a:srgbClr val="AEABAB"/>
              </a:solidFill>
            </c:spPr>
          </c:dPt>
          <c:dPt>
            <c:idx val="2447"/>
            <c:spPr>
              <a:solidFill>
                <a:srgbClr val="AEABAB"/>
              </a:solidFill>
            </c:spPr>
          </c:dPt>
          <c:dPt>
            <c:idx val="2448"/>
            <c:spPr>
              <a:solidFill>
                <a:srgbClr val="AEABAB"/>
              </a:solidFill>
            </c:spPr>
          </c:dPt>
          <c:dPt>
            <c:idx val="2449"/>
            <c:spPr>
              <a:solidFill>
                <a:srgbClr val="AEABAB"/>
              </a:solidFill>
            </c:spPr>
          </c:dPt>
          <c:dPt>
            <c:idx val="2450"/>
            <c:spPr>
              <a:solidFill>
                <a:srgbClr val="AEABAB"/>
              </a:solidFill>
            </c:spPr>
          </c:dPt>
          <c:dPt>
            <c:idx val="2451"/>
            <c:spPr>
              <a:solidFill>
                <a:srgbClr val="AEABAB"/>
              </a:solidFill>
            </c:spPr>
          </c:dPt>
          <c:dPt>
            <c:idx val="2452"/>
            <c:spPr>
              <a:solidFill>
                <a:srgbClr val="AEABAB"/>
              </a:solidFill>
            </c:spPr>
          </c:dPt>
          <c:dPt>
            <c:idx val="2453"/>
            <c:spPr>
              <a:solidFill>
                <a:srgbClr val="AEABAB"/>
              </a:solidFill>
            </c:spPr>
          </c:dPt>
          <c:dPt>
            <c:idx val="2454"/>
            <c:spPr>
              <a:solidFill>
                <a:srgbClr val="AEABAB"/>
              </a:solidFill>
            </c:spPr>
          </c:dPt>
          <c:dPt>
            <c:idx val="2455"/>
            <c:spPr>
              <a:solidFill>
                <a:srgbClr val="AEABAB"/>
              </a:solidFill>
            </c:spPr>
          </c:dPt>
          <c:dPt>
            <c:idx val="2456"/>
            <c:spPr>
              <a:solidFill>
                <a:srgbClr val="AEABAB"/>
              </a:solidFill>
            </c:spPr>
          </c:dPt>
          <c:dPt>
            <c:idx val="2457"/>
            <c:spPr>
              <a:solidFill>
                <a:srgbClr val="AEABAB"/>
              </a:solidFill>
            </c:spPr>
          </c:dPt>
          <c:dPt>
            <c:idx val="2458"/>
            <c:spPr>
              <a:solidFill>
                <a:srgbClr val="AEABAB"/>
              </a:solidFill>
            </c:spPr>
          </c:dPt>
          <c:dPt>
            <c:idx val="2459"/>
            <c:spPr>
              <a:solidFill>
                <a:srgbClr val="AEABAB"/>
              </a:solidFill>
            </c:spPr>
          </c:dPt>
          <c:dPt>
            <c:idx val="2460"/>
            <c:spPr>
              <a:solidFill>
                <a:srgbClr val="AEABAB"/>
              </a:solidFill>
            </c:spPr>
          </c:dPt>
          <c:dPt>
            <c:idx val="2461"/>
            <c:spPr>
              <a:solidFill>
                <a:srgbClr val="AEABAB"/>
              </a:solidFill>
            </c:spPr>
          </c:dPt>
          <c:dPt>
            <c:idx val="2462"/>
            <c:spPr>
              <a:solidFill>
                <a:srgbClr val="AEABAB"/>
              </a:solidFill>
            </c:spPr>
          </c:dPt>
          <c:dPt>
            <c:idx val="2463"/>
            <c:spPr>
              <a:solidFill>
                <a:srgbClr val="AEABAB"/>
              </a:solidFill>
            </c:spPr>
          </c:dPt>
          <c:dPt>
            <c:idx val="2464"/>
            <c:spPr>
              <a:solidFill>
                <a:srgbClr val="AEABAB"/>
              </a:solidFill>
            </c:spPr>
          </c:dPt>
          <c:dPt>
            <c:idx val="2465"/>
            <c:spPr>
              <a:solidFill>
                <a:srgbClr val="AEABAB"/>
              </a:solidFill>
            </c:spPr>
          </c:dPt>
          <c:dPt>
            <c:idx val="2466"/>
            <c:spPr>
              <a:solidFill>
                <a:srgbClr val="AEABAB"/>
              </a:solidFill>
            </c:spPr>
          </c:dPt>
          <c:dPt>
            <c:idx val="2467"/>
            <c:spPr>
              <a:solidFill>
                <a:srgbClr val="AEABAB"/>
              </a:solidFill>
            </c:spPr>
          </c:dPt>
          <c:dPt>
            <c:idx val="2468"/>
            <c:spPr>
              <a:solidFill>
                <a:srgbClr val="AEABAB"/>
              </a:solidFill>
            </c:spPr>
          </c:dPt>
          <c:dPt>
            <c:idx val="2469"/>
            <c:spPr>
              <a:solidFill>
                <a:srgbClr val="AEABAB"/>
              </a:solidFill>
            </c:spPr>
          </c:dPt>
          <c:dPt>
            <c:idx val="2470"/>
            <c:spPr>
              <a:solidFill>
                <a:srgbClr val="AEABAB"/>
              </a:solidFill>
            </c:spPr>
          </c:dPt>
          <c:dPt>
            <c:idx val="2471"/>
            <c:spPr>
              <a:solidFill>
                <a:srgbClr val="AEABAB"/>
              </a:solidFill>
            </c:spPr>
          </c:dPt>
          <c:dPt>
            <c:idx val="2472"/>
            <c:spPr>
              <a:solidFill>
                <a:srgbClr val="AEABAB"/>
              </a:solidFill>
            </c:spPr>
          </c:dPt>
          <c:dPt>
            <c:idx val="2473"/>
            <c:spPr>
              <a:solidFill>
                <a:srgbClr val="AEABAB"/>
              </a:solidFill>
            </c:spPr>
          </c:dPt>
          <c:dPt>
            <c:idx val="2474"/>
            <c:spPr>
              <a:solidFill>
                <a:srgbClr val="AEABAB"/>
              </a:solidFill>
            </c:spPr>
          </c:dPt>
          <c:dPt>
            <c:idx val="2475"/>
            <c:spPr>
              <a:solidFill>
                <a:srgbClr val="AEABAB"/>
              </a:solidFill>
            </c:spPr>
          </c:dPt>
          <c:dPt>
            <c:idx val="2476"/>
            <c:spPr>
              <a:solidFill>
                <a:srgbClr val="AEABAB"/>
              </a:solidFill>
            </c:spPr>
          </c:dPt>
          <c:dPt>
            <c:idx val="2477"/>
            <c:spPr>
              <a:solidFill>
                <a:srgbClr val="AEABAB"/>
              </a:solidFill>
            </c:spPr>
          </c:dPt>
          <c:dPt>
            <c:idx val="2478"/>
            <c:spPr>
              <a:solidFill>
                <a:srgbClr val="AEABAB"/>
              </a:solidFill>
            </c:spPr>
          </c:dPt>
          <c:dPt>
            <c:idx val="2479"/>
            <c:spPr>
              <a:solidFill>
                <a:srgbClr val="AEABAB"/>
              </a:solidFill>
            </c:spPr>
          </c:dPt>
          <c:dPt>
            <c:idx val="2480"/>
            <c:spPr>
              <a:solidFill>
                <a:srgbClr val="AEABAB"/>
              </a:solidFill>
            </c:spPr>
          </c:dPt>
          <c:dPt>
            <c:idx val="2481"/>
            <c:spPr>
              <a:solidFill>
                <a:srgbClr val="AEABAB"/>
              </a:solidFill>
            </c:spPr>
          </c:dPt>
          <c:dPt>
            <c:idx val="2482"/>
            <c:spPr>
              <a:solidFill>
                <a:srgbClr val="AEABAB"/>
              </a:solidFill>
            </c:spPr>
          </c:dPt>
          <c:dPt>
            <c:idx val="2483"/>
            <c:spPr>
              <a:solidFill>
                <a:srgbClr val="AEABAB"/>
              </a:solidFill>
            </c:spPr>
          </c:dPt>
          <c:dPt>
            <c:idx val="2484"/>
            <c:spPr>
              <a:solidFill>
                <a:srgbClr val="AEABAB"/>
              </a:solidFill>
            </c:spPr>
          </c:dPt>
          <c:dPt>
            <c:idx val="2485"/>
            <c:spPr>
              <a:solidFill>
                <a:srgbClr val="AEABAB"/>
              </a:solidFill>
            </c:spPr>
          </c:dPt>
          <c:dPt>
            <c:idx val="2486"/>
            <c:spPr>
              <a:solidFill>
                <a:srgbClr val="AEABAB"/>
              </a:solidFill>
            </c:spPr>
          </c:dPt>
          <c:dPt>
            <c:idx val="2487"/>
            <c:spPr>
              <a:solidFill>
                <a:srgbClr val="AEABAB"/>
              </a:solidFill>
            </c:spPr>
          </c:dPt>
          <c:dPt>
            <c:idx val="2488"/>
            <c:spPr>
              <a:solidFill>
                <a:srgbClr val="AEABAB"/>
              </a:solidFill>
            </c:spPr>
          </c:dPt>
          <c:dPt>
            <c:idx val="2489"/>
            <c:spPr>
              <a:solidFill>
                <a:srgbClr val="AEABAB"/>
              </a:solidFill>
            </c:spPr>
          </c:dPt>
          <c:dPt>
            <c:idx val="2490"/>
            <c:spPr>
              <a:solidFill>
                <a:srgbClr val="AEABAB"/>
              </a:solidFill>
            </c:spPr>
          </c:dPt>
          <c:dPt>
            <c:idx val="2491"/>
            <c:spPr>
              <a:solidFill>
                <a:srgbClr val="AEABAB"/>
              </a:solidFill>
            </c:spPr>
          </c:dPt>
          <c:dPt>
            <c:idx val="2492"/>
            <c:spPr>
              <a:solidFill>
                <a:srgbClr val="AEABAB"/>
              </a:solidFill>
            </c:spPr>
          </c:dPt>
          <c:dPt>
            <c:idx val="2493"/>
            <c:spPr>
              <a:solidFill>
                <a:srgbClr val="AEABAB"/>
              </a:solidFill>
            </c:spPr>
          </c:dPt>
          <c:dPt>
            <c:idx val="2494"/>
            <c:spPr>
              <a:solidFill>
                <a:srgbClr val="AEABAB"/>
              </a:solidFill>
            </c:spPr>
          </c:dPt>
          <c:dPt>
            <c:idx val="2495"/>
            <c:spPr>
              <a:solidFill>
                <a:srgbClr val="AEABAB"/>
              </a:solidFill>
            </c:spPr>
          </c:dPt>
          <c:dPt>
            <c:idx val="2496"/>
            <c:spPr>
              <a:solidFill>
                <a:srgbClr val="AEABAB"/>
              </a:solidFill>
            </c:spPr>
          </c:dPt>
          <c:dPt>
            <c:idx val="2497"/>
            <c:spPr>
              <a:solidFill>
                <a:srgbClr val="AEABAB"/>
              </a:solidFill>
            </c:spPr>
          </c:dPt>
          <c:dPt>
            <c:idx val="2498"/>
            <c:spPr>
              <a:solidFill>
                <a:srgbClr val="AEABAB"/>
              </a:solidFill>
            </c:spPr>
          </c:dPt>
          <c:dPt>
            <c:idx val="2499"/>
            <c:spPr>
              <a:solidFill>
                <a:srgbClr val="AEABAB"/>
              </a:solidFill>
            </c:spPr>
          </c:dPt>
          <c:dPt>
            <c:idx val="2500"/>
            <c:spPr>
              <a:solidFill>
                <a:srgbClr val="AEABAB"/>
              </a:solidFill>
            </c:spPr>
          </c:dPt>
          <c:dPt>
            <c:idx val="2501"/>
            <c:spPr>
              <a:solidFill>
                <a:srgbClr val="AEABAB"/>
              </a:solidFill>
            </c:spPr>
          </c:dPt>
          <c:dPt>
            <c:idx val="2502"/>
            <c:spPr>
              <a:solidFill>
                <a:srgbClr val="AEABAB"/>
              </a:solidFill>
            </c:spPr>
          </c:dPt>
          <c:dPt>
            <c:idx val="2503"/>
            <c:spPr>
              <a:solidFill>
                <a:srgbClr val="AEABAB"/>
              </a:solidFill>
            </c:spPr>
          </c:dPt>
          <c:dPt>
            <c:idx val="2504"/>
            <c:spPr>
              <a:solidFill>
                <a:srgbClr val="AEABAB"/>
              </a:solidFill>
            </c:spPr>
          </c:dPt>
          <c:dPt>
            <c:idx val="2505"/>
            <c:spPr>
              <a:solidFill>
                <a:srgbClr val="AEABAB"/>
              </a:solidFill>
            </c:spPr>
          </c:dPt>
          <c:dPt>
            <c:idx val="2506"/>
            <c:spPr>
              <a:solidFill>
                <a:srgbClr val="AEABAB"/>
              </a:solidFill>
            </c:spPr>
          </c:dPt>
          <c:dPt>
            <c:idx val="2507"/>
            <c:spPr>
              <a:solidFill>
                <a:srgbClr val="AEABAB"/>
              </a:solidFill>
            </c:spPr>
          </c:dPt>
          <c:dPt>
            <c:idx val="2508"/>
            <c:spPr>
              <a:solidFill>
                <a:srgbClr val="AEABAB"/>
              </a:solidFill>
            </c:spPr>
          </c:dPt>
          <c:dPt>
            <c:idx val="2509"/>
            <c:spPr>
              <a:solidFill>
                <a:srgbClr val="AEABAB"/>
              </a:solidFill>
            </c:spPr>
          </c:dPt>
          <c:dPt>
            <c:idx val="2510"/>
            <c:spPr>
              <a:solidFill>
                <a:srgbClr val="AEABAB"/>
              </a:solidFill>
            </c:spPr>
          </c:dPt>
          <c:dPt>
            <c:idx val="2511"/>
            <c:spPr>
              <a:solidFill>
                <a:srgbClr val="AEABAB"/>
              </a:solidFill>
            </c:spPr>
          </c:dPt>
          <c:dPt>
            <c:idx val="2512"/>
            <c:spPr>
              <a:solidFill>
                <a:srgbClr val="AEABAB"/>
              </a:solidFill>
            </c:spPr>
          </c:dPt>
          <c:dPt>
            <c:idx val="2513"/>
            <c:spPr>
              <a:solidFill>
                <a:srgbClr val="AEABAB"/>
              </a:solidFill>
            </c:spPr>
          </c:dPt>
          <c:dPt>
            <c:idx val="2514"/>
            <c:spPr>
              <a:solidFill>
                <a:srgbClr val="AEABAB"/>
              </a:solidFill>
            </c:spPr>
          </c:dPt>
          <c:dPt>
            <c:idx val="2515"/>
            <c:spPr>
              <a:solidFill>
                <a:srgbClr val="AEABAB"/>
              </a:solidFill>
            </c:spPr>
          </c:dPt>
          <c:dPt>
            <c:idx val="2516"/>
            <c:spPr>
              <a:solidFill>
                <a:srgbClr val="AEABAB"/>
              </a:solidFill>
            </c:spPr>
          </c:dPt>
          <c:dPt>
            <c:idx val="2517"/>
            <c:spPr>
              <a:solidFill>
                <a:srgbClr val="AEABAB"/>
              </a:solidFill>
            </c:spPr>
          </c:dPt>
          <c:dPt>
            <c:idx val="2518"/>
            <c:spPr>
              <a:solidFill>
                <a:srgbClr val="AEABAB"/>
              </a:solidFill>
            </c:spPr>
          </c:dPt>
          <c:dPt>
            <c:idx val="2519"/>
            <c:spPr>
              <a:solidFill>
                <a:srgbClr val="AEABAB"/>
              </a:solidFill>
            </c:spPr>
          </c:dPt>
          <c:dPt>
            <c:idx val="2520"/>
            <c:spPr>
              <a:solidFill>
                <a:srgbClr val="AEABAB"/>
              </a:solidFill>
            </c:spPr>
          </c:dPt>
          <c:dPt>
            <c:idx val="2521"/>
            <c:spPr>
              <a:solidFill>
                <a:srgbClr val="AEABAB"/>
              </a:solidFill>
            </c:spPr>
          </c:dPt>
          <c:dPt>
            <c:idx val="2522"/>
            <c:spPr>
              <a:solidFill>
                <a:srgbClr val="AEABAB"/>
              </a:solidFill>
            </c:spPr>
          </c:dPt>
          <c:dPt>
            <c:idx val="2523"/>
            <c:spPr>
              <a:solidFill>
                <a:srgbClr val="AEABAB"/>
              </a:solidFill>
            </c:spPr>
          </c:dPt>
          <c:dPt>
            <c:idx val="2524"/>
            <c:spPr>
              <a:solidFill>
                <a:srgbClr val="AEABAB"/>
              </a:solidFill>
            </c:spPr>
          </c:dPt>
          <c:dPt>
            <c:idx val="2525"/>
            <c:spPr>
              <a:solidFill>
                <a:srgbClr val="AEABAB"/>
              </a:solidFill>
            </c:spPr>
          </c:dPt>
          <c:dPt>
            <c:idx val="2526"/>
            <c:spPr>
              <a:solidFill>
                <a:srgbClr val="AEABAB"/>
              </a:solidFill>
            </c:spPr>
          </c:dPt>
          <c:dPt>
            <c:idx val="2527"/>
            <c:spPr>
              <a:solidFill>
                <a:srgbClr val="AEABAB"/>
              </a:solidFill>
            </c:spPr>
          </c:dPt>
          <c:dPt>
            <c:idx val="2528"/>
            <c:spPr>
              <a:solidFill>
                <a:srgbClr val="AEABAB"/>
              </a:solidFill>
            </c:spPr>
          </c:dPt>
          <c:dPt>
            <c:idx val="2529"/>
            <c:spPr>
              <a:solidFill>
                <a:srgbClr val="AEABAB"/>
              </a:solidFill>
            </c:spPr>
          </c:dPt>
          <c:dPt>
            <c:idx val="2530"/>
            <c:spPr>
              <a:solidFill>
                <a:srgbClr val="AEABAB"/>
              </a:solidFill>
            </c:spPr>
          </c:dPt>
          <c:dPt>
            <c:idx val="2531"/>
            <c:spPr>
              <a:solidFill>
                <a:srgbClr val="AEABAB"/>
              </a:solidFill>
            </c:spPr>
          </c:dPt>
          <c:dPt>
            <c:idx val="2532"/>
            <c:spPr>
              <a:solidFill>
                <a:srgbClr val="AEABAB"/>
              </a:solidFill>
            </c:spPr>
          </c:dPt>
          <c:dPt>
            <c:idx val="2533"/>
            <c:spPr>
              <a:solidFill>
                <a:srgbClr val="AEABAB"/>
              </a:solidFill>
            </c:spPr>
          </c:dPt>
          <c:dPt>
            <c:idx val="2534"/>
            <c:spPr>
              <a:solidFill>
                <a:srgbClr val="AEABAB"/>
              </a:solidFill>
            </c:spPr>
          </c:dPt>
          <c:dPt>
            <c:idx val="2535"/>
            <c:spPr>
              <a:solidFill>
                <a:srgbClr val="AEABAB"/>
              </a:solidFill>
            </c:spPr>
          </c:dPt>
          <c:dPt>
            <c:idx val="2536"/>
            <c:spPr>
              <a:solidFill>
                <a:srgbClr val="AEABAB"/>
              </a:solidFill>
            </c:spPr>
          </c:dPt>
          <c:dPt>
            <c:idx val="2537"/>
            <c:spPr>
              <a:solidFill>
                <a:srgbClr val="AEABAB"/>
              </a:solidFill>
            </c:spPr>
          </c:dPt>
          <c:dPt>
            <c:idx val="2538"/>
            <c:spPr>
              <a:solidFill>
                <a:srgbClr val="AEABAB"/>
              </a:solidFill>
            </c:spPr>
          </c:dPt>
          <c:dPt>
            <c:idx val="2539"/>
            <c:spPr>
              <a:solidFill>
                <a:srgbClr val="AEABAB"/>
              </a:solidFill>
            </c:spPr>
          </c:dPt>
          <c:dPt>
            <c:idx val="2540"/>
            <c:spPr>
              <a:solidFill>
                <a:srgbClr val="AEABAB"/>
              </a:solidFill>
            </c:spPr>
          </c:dPt>
          <c:dPt>
            <c:idx val="2541"/>
            <c:spPr>
              <a:solidFill>
                <a:srgbClr val="AEABAB"/>
              </a:solidFill>
            </c:spPr>
          </c:dPt>
          <c:dPt>
            <c:idx val="2542"/>
            <c:spPr>
              <a:solidFill>
                <a:srgbClr val="AEABAB"/>
              </a:solidFill>
            </c:spPr>
          </c:dPt>
          <c:dPt>
            <c:idx val="2543"/>
            <c:spPr>
              <a:solidFill>
                <a:srgbClr val="AEABAB"/>
              </a:solidFill>
            </c:spPr>
          </c:dPt>
          <c:dPt>
            <c:idx val="2544"/>
            <c:spPr>
              <a:solidFill>
                <a:srgbClr val="AEABAB"/>
              </a:solidFill>
            </c:spPr>
          </c:dPt>
          <c:dPt>
            <c:idx val="2545"/>
            <c:spPr>
              <a:solidFill>
                <a:srgbClr val="AEABAB"/>
              </a:solidFill>
            </c:spPr>
          </c:dPt>
          <c:dPt>
            <c:idx val="2546"/>
            <c:spPr>
              <a:solidFill>
                <a:srgbClr val="AEABAB"/>
              </a:solidFill>
            </c:spPr>
          </c:dPt>
          <c:dPt>
            <c:idx val="2547"/>
            <c:spPr>
              <a:solidFill>
                <a:srgbClr val="AEABAB"/>
              </a:solidFill>
            </c:spPr>
          </c:dPt>
          <c:dPt>
            <c:idx val="2548"/>
            <c:spPr>
              <a:solidFill>
                <a:srgbClr val="AEABAB"/>
              </a:solidFill>
            </c:spPr>
          </c:dPt>
          <c:dPt>
            <c:idx val="2549"/>
            <c:spPr>
              <a:solidFill>
                <a:srgbClr val="AEABAB"/>
              </a:solidFill>
            </c:spPr>
          </c:dPt>
          <c:dPt>
            <c:idx val="2550"/>
            <c:spPr>
              <a:solidFill>
                <a:srgbClr val="AEABAB"/>
              </a:solidFill>
            </c:spPr>
          </c:dPt>
          <c:dPt>
            <c:idx val="2551"/>
            <c:spPr>
              <a:solidFill>
                <a:srgbClr val="AEABAB"/>
              </a:solidFill>
            </c:spPr>
          </c:dPt>
          <c:dPt>
            <c:idx val="2552"/>
            <c:spPr>
              <a:solidFill>
                <a:srgbClr val="AEABAB"/>
              </a:solidFill>
            </c:spPr>
          </c:dPt>
          <c:dPt>
            <c:idx val="2553"/>
            <c:spPr>
              <a:solidFill>
                <a:srgbClr val="AEABAB"/>
              </a:solidFill>
            </c:spPr>
          </c:dPt>
          <c:dPt>
            <c:idx val="2554"/>
            <c:spPr>
              <a:solidFill>
                <a:srgbClr val="AEABAB"/>
              </a:solidFill>
            </c:spPr>
          </c:dPt>
          <c:dPt>
            <c:idx val="2555"/>
            <c:spPr>
              <a:solidFill>
                <a:srgbClr val="AEABAB"/>
              </a:solidFill>
            </c:spPr>
          </c:dPt>
          <c:dPt>
            <c:idx val="2556"/>
            <c:spPr>
              <a:solidFill>
                <a:srgbClr val="AEABAB"/>
              </a:solidFill>
            </c:spPr>
          </c:dPt>
          <c:dPt>
            <c:idx val="2557"/>
            <c:spPr>
              <a:solidFill>
                <a:srgbClr val="AEABAB"/>
              </a:solidFill>
            </c:spPr>
          </c:dPt>
          <c:dPt>
            <c:idx val="2558"/>
            <c:spPr>
              <a:solidFill>
                <a:srgbClr val="AEABAB"/>
              </a:solidFill>
            </c:spPr>
          </c:dPt>
          <c:dPt>
            <c:idx val="2559"/>
            <c:spPr>
              <a:solidFill>
                <a:srgbClr val="AEABAB"/>
              </a:solidFill>
            </c:spPr>
          </c:dPt>
          <c:dPt>
            <c:idx val="2560"/>
            <c:spPr>
              <a:solidFill>
                <a:srgbClr val="AEABAB"/>
              </a:solidFill>
            </c:spPr>
          </c:dPt>
          <c:dPt>
            <c:idx val="2561"/>
            <c:spPr>
              <a:solidFill>
                <a:srgbClr val="AEABAB"/>
              </a:solidFill>
            </c:spPr>
          </c:dPt>
          <c:dPt>
            <c:idx val="2562"/>
            <c:spPr>
              <a:solidFill>
                <a:srgbClr val="AEABAB"/>
              </a:solidFill>
            </c:spPr>
          </c:dPt>
          <c:dPt>
            <c:idx val="2563"/>
            <c:spPr>
              <a:solidFill>
                <a:srgbClr val="AEABAB"/>
              </a:solidFill>
            </c:spPr>
          </c:dPt>
          <c:dPt>
            <c:idx val="2564"/>
            <c:spPr>
              <a:solidFill>
                <a:srgbClr val="AEABAB"/>
              </a:solidFill>
            </c:spPr>
          </c:dPt>
          <c:dPt>
            <c:idx val="2565"/>
            <c:spPr>
              <a:solidFill>
                <a:srgbClr val="AEABAB"/>
              </a:solidFill>
            </c:spPr>
          </c:dPt>
          <c:dPt>
            <c:idx val="2566"/>
            <c:spPr>
              <a:solidFill>
                <a:srgbClr val="AEABAB"/>
              </a:solidFill>
            </c:spPr>
          </c:dPt>
          <c:dPt>
            <c:idx val="2567"/>
            <c:spPr>
              <a:solidFill>
                <a:srgbClr val="AEABAB"/>
              </a:solidFill>
            </c:spPr>
          </c:dPt>
          <c:dPt>
            <c:idx val="2568"/>
            <c:spPr>
              <a:solidFill>
                <a:srgbClr val="AEABAB"/>
              </a:solidFill>
            </c:spPr>
          </c:dPt>
          <c:dPt>
            <c:idx val="2569"/>
            <c:spPr>
              <a:solidFill>
                <a:srgbClr val="AEABAB"/>
              </a:solidFill>
            </c:spPr>
          </c:dPt>
          <c:dPt>
            <c:idx val="2570"/>
            <c:spPr>
              <a:solidFill>
                <a:srgbClr val="AEABAB"/>
              </a:solidFill>
            </c:spPr>
          </c:dPt>
          <c:dPt>
            <c:idx val="2571"/>
            <c:spPr>
              <a:solidFill>
                <a:srgbClr val="AEABAB"/>
              </a:solidFill>
            </c:spPr>
          </c:dPt>
          <c:dPt>
            <c:idx val="2572"/>
            <c:spPr>
              <a:solidFill>
                <a:srgbClr val="AEABAB"/>
              </a:solidFill>
            </c:spPr>
          </c:dPt>
          <c:dPt>
            <c:idx val="2573"/>
            <c:spPr>
              <a:solidFill>
                <a:srgbClr val="AEABAB"/>
              </a:solidFill>
            </c:spPr>
          </c:dPt>
          <c:dPt>
            <c:idx val="2574"/>
            <c:spPr>
              <a:solidFill>
                <a:srgbClr val="AEABAB"/>
              </a:solidFill>
            </c:spPr>
          </c:dPt>
          <c:dPt>
            <c:idx val="2575"/>
            <c:spPr>
              <a:solidFill>
                <a:srgbClr val="AEABAB"/>
              </a:solidFill>
            </c:spPr>
          </c:dPt>
          <c:dPt>
            <c:idx val="2576"/>
            <c:spPr>
              <a:solidFill>
                <a:srgbClr val="AEABAB"/>
              </a:solidFill>
            </c:spPr>
          </c:dPt>
          <c:dPt>
            <c:idx val="2577"/>
            <c:spPr>
              <a:solidFill>
                <a:srgbClr val="AEABAB"/>
              </a:solidFill>
            </c:spPr>
          </c:dPt>
          <c:dPt>
            <c:idx val="2578"/>
            <c:spPr>
              <a:solidFill>
                <a:srgbClr val="AEABAB"/>
              </a:solidFill>
            </c:spPr>
          </c:dPt>
          <c:dPt>
            <c:idx val="2579"/>
            <c:spPr>
              <a:solidFill>
                <a:srgbClr val="AEABAB"/>
              </a:solidFill>
            </c:spPr>
          </c:dPt>
          <c:dPt>
            <c:idx val="2580"/>
            <c:spPr>
              <a:solidFill>
                <a:srgbClr val="AEABAB"/>
              </a:solidFill>
            </c:spPr>
          </c:dPt>
          <c:dPt>
            <c:idx val="2581"/>
            <c:spPr>
              <a:solidFill>
                <a:srgbClr val="AEABAB"/>
              </a:solidFill>
            </c:spPr>
          </c:dPt>
          <c:dPt>
            <c:idx val="2582"/>
            <c:spPr>
              <a:solidFill>
                <a:srgbClr val="AEABAB"/>
              </a:solidFill>
            </c:spPr>
          </c:dPt>
          <c:dPt>
            <c:idx val="2583"/>
            <c:spPr>
              <a:solidFill>
                <a:srgbClr val="AEABAB"/>
              </a:solidFill>
            </c:spPr>
          </c:dPt>
          <c:dPt>
            <c:idx val="2584"/>
            <c:spPr>
              <a:solidFill>
                <a:srgbClr val="AEABAB"/>
              </a:solidFill>
            </c:spPr>
          </c:dPt>
          <c:dPt>
            <c:idx val="2585"/>
            <c:spPr>
              <a:solidFill>
                <a:srgbClr val="AEABAB"/>
              </a:solidFill>
            </c:spPr>
          </c:dPt>
          <c:dPt>
            <c:idx val="2586"/>
            <c:spPr>
              <a:solidFill>
                <a:srgbClr val="AEABAB"/>
              </a:solidFill>
            </c:spPr>
          </c:dPt>
          <c:dPt>
            <c:idx val="2587"/>
            <c:spPr>
              <a:solidFill>
                <a:srgbClr val="AEABAB"/>
              </a:solidFill>
            </c:spPr>
          </c:dPt>
          <c:dPt>
            <c:idx val="2588"/>
            <c:spPr>
              <a:solidFill>
                <a:srgbClr val="AEABAB"/>
              </a:solidFill>
            </c:spPr>
          </c:dPt>
          <c:dPt>
            <c:idx val="2589"/>
            <c:spPr>
              <a:solidFill>
                <a:srgbClr val="AEABAB"/>
              </a:solidFill>
            </c:spPr>
          </c:dPt>
          <c:dPt>
            <c:idx val="2590"/>
            <c:spPr>
              <a:solidFill>
                <a:srgbClr val="AEABAB"/>
              </a:solidFill>
            </c:spPr>
          </c:dPt>
          <c:dPt>
            <c:idx val="2591"/>
            <c:spPr>
              <a:solidFill>
                <a:srgbClr val="AEABAB"/>
              </a:solidFill>
            </c:spPr>
          </c:dPt>
          <c:dPt>
            <c:idx val="2592"/>
            <c:spPr>
              <a:solidFill>
                <a:srgbClr val="AEABAB"/>
              </a:solidFill>
            </c:spPr>
          </c:dPt>
          <c:dPt>
            <c:idx val="2593"/>
            <c:spPr>
              <a:solidFill>
                <a:srgbClr val="AEABAB"/>
              </a:solidFill>
            </c:spPr>
          </c:dPt>
          <c:dPt>
            <c:idx val="2594"/>
            <c:spPr>
              <a:solidFill>
                <a:srgbClr val="AEABAB"/>
              </a:solidFill>
            </c:spPr>
          </c:dPt>
          <c:dPt>
            <c:idx val="2595"/>
            <c:spPr>
              <a:solidFill>
                <a:srgbClr val="AEABAB"/>
              </a:solidFill>
            </c:spPr>
          </c:dPt>
          <c:dPt>
            <c:idx val="2596"/>
            <c:spPr>
              <a:solidFill>
                <a:srgbClr val="AEABAB"/>
              </a:solidFill>
            </c:spPr>
          </c:dPt>
          <c:dPt>
            <c:idx val="2597"/>
            <c:spPr>
              <a:solidFill>
                <a:srgbClr val="AEABAB"/>
              </a:solidFill>
            </c:spPr>
          </c:dPt>
          <c:dPt>
            <c:idx val="2598"/>
            <c:spPr>
              <a:solidFill>
                <a:srgbClr val="AEABAB"/>
              </a:solidFill>
            </c:spPr>
          </c:dPt>
          <c:dPt>
            <c:idx val="2599"/>
            <c:spPr>
              <a:solidFill>
                <a:srgbClr val="AEABAB"/>
              </a:solidFill>
            </c:spPr>
          </c:dPt>
          <c:dPt>
            <c:idx val="2600"/>
            <c:spPr>
              <a:solidFill>
                <a:srgbClr val="AEABAB"/>
              </a:solidFill>
            </c:spPr>
          </c:dPt>
          <c:dPt>
            <c:idx val="2601"/>
            <c:spPr>
              <a:solidFill>
                <a:srgbClr val="AEABAB"/>
              </a:solidFill>
            </c:spPr>
          </c:dPt>
          <c:dPt>
            <c:idx val="2602"/>
            <c:spPr>
              <a:solidFill>
                <a:srgbClr val="AEABAB"/>
              </a:solidFill>
            </c:spPr>
          </c:dPt>
          <c:dPt>
            <c:idx val="2603"/>
            <c:spPr>
              <a:solidFill>
                <a:srgbClr val="AEABAB"/>
              </a:solidFill>
            </c:spPr>
          </c:dPt>
          <c:dPt>
            <c:idx val="2604"/>
            <c:spPr>
              <a:solidFill>
                <a:srgbClr val="AEABAB"/>
              </a:solidFill>
            </c:spPr>
          </c:dPt>
          <c:dPt>
            <c:idx val="2605"/>
            <c:spPr>
              <a:solidFill>
                <a:srgbClr val="AEABAB"/>
              </a:solidFill>
            </c:spPr>
          </c:dPt>
          <c:dPt>
            <c:idx val="2606"/>
            <c:spPr>
              <a:solidFill>
                <a:srgbClr val="AEABAB"/>
              </a:solidFill>
            </c:spPr>
          </c:dPt>
          <c:dPt>
            <c:idx val="2607"/>
            <c:spPr>
              <a:solidFill>
                <a:srgbClr val="AEABAB"/>
              </a:solidFill>
            </c:spPr>
          </c:dPt>
          <c:dPt>
            <c:idx val="2608"/>
            <c:spPr>
              <a:solidFill>
                <a:srgbClr val="AEABAB"/>
              </a:solidFill>
            </c:spPr>
          </c:dPt>
          <c:dPt>
            <c:idx val="2609"/>
            <c:spPr>
              <a:solidFill>
                <a:srgbClr val="AEABAB"/>
              </a:solidFill>
            </c:spPr>
          </c:dPt>
          <c:dPt>
            <c:idx val="2610"/>
            <c:spPr>
              <a:solidFill>
                <a:srgbClr val="AEABAB"/>
              </a:solidFill>
            </c:spPr>
          </c:dPt>
          <c:dPt>
            <c:idx val="2611"/>
            <c:spPr>
              <a:solidFill>
                <a:srgbClr val="AEABAB"/>
              </a:solidFill>
            </c:spPr>
          </c:dPt>
          <c:dPt>
            <c:idx val="2612"/>
            <c:spPr>
              <a:solidFill>
                <a:srgbClr val="AEABAB"/>
              </a:solidFill>
            </c:spPr>
          </c:dPt>
          <c:dPt>
            <c:idx val="2613"/>
            <c:spPr>
              <a:solidFill>
                <a:srgbClr val="AEABAB"/>
              </a:solidFill>
            </c:spPr>
          </c:dPt>
          <c:dPt>
            <c:idx val="2614"/>
            <c:spPr>
              <a:solidFill>
                <a:srgbClr val="AEABAB"/>
              </a:solidFill>
            </c:spPr>
          </c:dPt>
          <c:dPt>
            <c:idx val="2615"/>
            <c:spPr>
              <a:solidFill>
                <a:srgbClr val="AEABAB"/>
              </a:solidFill>
            </c:spPr>
          </c:dPt>
          <c:dPt>
            <c:idx val="2616"/>
            <c:spPr>
              <a:solidFill>
                <a:srgbClr val="AEABAB"/>
              </a:solidFill>
            </c:spPr>
          </c:dPt>
          <c:dPt>
            <c:idx val="2617"/>
            <c:spPr>
              <a:solidFill>
                <a:srgbClr val="AEABAB"/>
              </a:solidFill>
            </c:spPr>
          </c:dPt>
          <c:dPt>
            <c:idx val="2618"/>
            <c:spPr>
              <a:solidFill>
                <a:srgbClr val="AEABAB"/>
              </a:solidFill>
            </c:spPr>
          </c:dPt>
          <c:dPt>
            <c:idx val="2619"/>
            <c:spPr>
              <a:solidFill>
                <a:srgbClr val="AEABAB"/>
              </a:solidFill>
            </c:spPr>
          </c:dPt>
          <c:dPt>
            <c:idx val="2620"/>
            <c:spPr>
              <a:solidFill>
                <a:srgbClr val="AEABAB"/>
              </a:solidFill>
            </c:spPr>
          </c:dPt>
          <c:dPt>
            <c:idx val="2621"/>
            <c:spPr>
              <a:solidFill>
                <a:srgbClr val="AEABAB"/>
              </a:solidFill>
            </c:spPr>
          </c:dPt>
          <c:dPt>
            <c:idx val="2622"/>
            <c:spPr>
              <a:solidFill>
                <a:srgbClr val="AEABAB"/>
              </a:solidFill>
            </c:spPr>
          </c:dPt>
          <c:dPt>
            <c:idx val="2623"/>
            <c:spPr>
              <a:solidFill>
                <a:srgbClr val="AEABAB"/>
              </a:solidFill>
            </c:spPr>
          </c:dPt>
          <c:dPt>
            <c:idx val="2624"/>
            <c:spPr>
              <a:solidFill>
                <a:srgbClr val="AEABAB"/>
              </a:solidFill>
            </c:spPr>
          </c:dPt>
          <c:dPt>
            <c:idx val="2625"/>
            <c:spPr>
              <a:solidFill>
                <a:srgbClr val="AEABAB"/>
              </a:solidFill>
            </c:spPr>
          </c:dPt>
          <c:dPt>
            <c:idx val="2626"/>
            <c:spPr>
              <a:solidFill>
                <a:srgbClr val="AEABAB"/>
              </a:solidFill>
            </c:spPr>
          </c:dPt>
          <c:dPt>
            <c:idx val="2627"/>
            <c:spPr>
              <a:solidFill>
                <a:srgbClr val="AEABAB"/>
              </a:solidFill>
            </c:spPr>
          </c:dPt>
          <c:dPt>
            <c:idx val="2628"/>
            <c:spPr>
              <a:solidFill>
                <a:srgbClr val="AEABAB"/>
              </a:solidFill>
            </c:spPr>
          </c:dPt>
          <c:dPt>
            <c:idx val="2629"/>
            <c:spPr>
              <a:solidFill>
                <a:srgbClr val="AEABAB"/>
              </a:solidFill>
            </c:spPr>
          </c:dPt>
          <c:dPt>
            <c:idx val="2630"/>
            <c:spPr>
              <a:solidFill>
                <a:srgbClr val="AEABAB"/>
              </a:solidFill>
            </c:spPr>
          </c:dPt>
          <c:dPt>
            <c:idx val="2631"/>
            <c:spPr>
              <a:solidFill>
                <a:srgbClr val="AEABAB"/>
              </a:solidFill>
            </c:spPr>
          </c:dPt>
          <c:dPt>
            <c:idx val="2632"/>
            <c:spPr>
              <a:solidFill>
                <a:srgbClr val="AEABAB"/>
              </a:solidFill>
            </c:spPr>
          </c:dPt>
          <c:dPt>
            <c:idx val="2633"/>
            <c:spPr>
              <a:solidFill>
                <a:srgbClr val="AEABAB"/>
              </a:solidFill>
            </c:spPr>
          </c:dPt>
          <c:dPt>
            <c:idx val="2634"/>
            <c:spPr>
              <a:solidFill>
                <a:srgbClr val="AEABAB"/>
              </a:solidFill>
            </c:spPr>
          </c:dPt>
          <c:dPt>
            <c:idx val="2635"/>
            <c:spPr>
              <a:solidFill>
                <a:srgbClr val="AEABAB"/>
              </a:solidFill>
            </c:spPr>
          </c:dPt>
          <c:dPt>
            <c:idx val="2636"/>
            <c:spPr>
              <a:solidFill>
                <a:srgbClr val="AEABAB"/>
              </a:solidFill>
            </c:spPr>
          </c:dPt>
          <c:dPt>
            <c:idx val="2637"/>
            <c:spPr>
              <a:solidFill>
                <a:srgbClr val="AEABAB"/>
              </a:solidFill>
            </c:spPr>
          </c:dPt>
          <c:dPt>
            <c:idx val="2638"/>
            <c:spPr>
              <a:solidFill>
                <a:srgbClr val="AEABAB"/>
              </a:solidFill>
            </c:spPr>
          </c:dPt>
          <c:dPt>
            <c:idx val="2639"/>
            <c:spPr>
              <a:solidFill>
                <a:srgbClr val="AEABAB"/>
              </a:solidFill>
            </c:spPr>
          </c:dPt>
          <c:dPt>
            <c:idx val="2640"/>
            <c:spPr>
              <a:solidFill>
                <a:srgbClr val="AEABAB"/>
              </a:solidFill>
            </c:spPr>
          </c:dPt>
          <c:dPt>
            <c:idx val="2641"/>
            <c:spPr>
              <a:solidFill>
                <a:srgbClr val="AEABAB"/>
              </a:solidFill>
            </c:spPr>
          </c:dPt>
          <c:dPt>
            <c:idx val="2642"/>
            <c:spPr>
              <a:solidFill>
                <a:srgbClr val="AEABAB"/>
              </a:solidFill>
            </c:spPr>
          </c:dPt>
          <c:dPt>
            <c:idx val="2643"/>
            <c:spPr>
              <a:solidFill>
                <a:srgbClr val="AEABAB"/>
              </a:solidFill>
            </c:spPr>
          </c:dPt>
          <c:dPt>
            <c:idx val="2644"/>
            <c:spPr>
              <a:solidFill>
                <a:srgbClr val="AEABAB"/>
              </a:solidFill>
            </c:spPr>
          </c:dPt>
          <c:dPt>
            <c:idx val="2645"/>
            <c:spPr>
              <a:solidFill>
                <a:srgbClr val="AEABAB"/>
              </a:solidFill>
            </c:spPr>
          </c:dPt>
          <c:dPt>
            <c:idx val="2646"/>
            <c:spPr>
              <a:solidFill>
                <a:srgbClr val="AEABAB"/>
              </a:solidFill>
            </c:spPr>
          </c:dPt>
          <c:dPt>
            <c:idx val="2647"/>
            <c:spPr>
              <a:solidFill>
                <a:srgbClr val="AEABAB"/>
              </a:solidFill>
            </c:spPr>
          </c:dPt>
          <c:dPt>
            <c:idx val="2648"/>
            <c:spPr>
              <a:solidFill>
                <a:srgbClr val="AEABAB"/>
              </a:solidFill>
            </c:spPr>
          </c:dPt>
          <c:dPt>
            <c:idx val="2649"/>
            <c:spPr>
              <a:solidFill>
                <a:srgbClr val="AEABAB"/>
              </a:solidFill>
            </c:spPr>
          </c:dPt>
          <c:dPt>
            <c:idx val="2650"/>
            <c:spPr>
              <a:solidFill>
                <a:srgbClr val="AEABAB"/>
              </a:solidFill>
            </c:spPr>
          </c:dPt>
          <c:dPt>
            <c:idx val="2651"/>
            <c:spPr>
              <a:solidFill>
                <a:srgbClr val="AEABAB"/>
              </a:solidFill>
            </c:spPr>
          </c:dPt>
          <c:dPt>
            <c:idx val="2652"/>
            <c:spPr>
              <a:solidFill>
                <a:srgbClr val="AEABAB"/>
              </a:solidFill>
            </c:spPr>
          </c:dPt>
          <c:dPt>
            <c:idx val="2653"/>
            <c:spPr>
              <a:solidFill>
                <a:srgbClr val="AEABAB"/>
              </a:solidFill>
            </c:spPr>
          </c:dPt>
          <c:dPt>
            <c:idx val="2654"/>
            <c:spPr>
              <a:solidFill>
                <a:srgbClr val="AEABAB"/>
              </a:solidFill>
            </c:spPr>
          </c:dPt>
          <c:dPt>
            <c:idx val="2655"/>
            <c:spPr>
              <a:solidFill>
                <a:srgbClr val="AEABAB"/>
              </a:solidFill>
            </c:spPr>
          </c:dPt>
          <c:dPt>
            <c:idx val="2656"/>
            <c:spPr>
              <a:solidFill>
                <a:srgbClr val="AEABAB"/>
              </a:solidFill>
            </c:spPr>
          </c:dPt>
          <c:dPt>
            <c:idx val="2657"/>
            <c:spPr>
              <a:solidFill>
                <a:srgbClr val="AEABAB"/>
              </a:solidFill>
            </c:spPr>
          </c:dPt>
          <c:dPt>
            <c:idx val="2658"/>
            <c:spPr>
              <a:solidFill>
                <a:srgbClr val="AEABAB"/>
              </a:solidFill>
            </c:spPr>
          </c:dPt>
          <c:dPt>
            <c:idx val="2659"/>
            <c:spPr>
              <a:solidFill>
                <a:srgbClr val="AEABAB"/>
              </a:solidFill>
            </c:spPr>
          </c:dPt>
          <c:dPt>
            <c:idx val="2660"/>
            <c:spPr>
              <a:solidFill>
                <a:srgbClr val="AEABAB"/>
              </a:solidFill>
            </c:spPr>
          </c:dPt>
          <c:dPt>
            <c:idx val="2661"/>
            <c:spPr>
              <a:solidFill>
                <a:srgbClr val="AEABAB"/>
              </a:solidFill>
            </c:spPr>
          </c:dPt>
          <c:dPt>
            <c:idx val="2662"/>
            <c:spPr>
              <a:solidFill>
                <a:srgbClr val="AEABAB"/>
              </a:solidFill>
            </c:spPr>
          </c:dPt>
          <c:dPt>
            <c:idx val="2663"/>
            <c:spPr>
              <a:solidFill>
                <a:srgbClr val="AEABAB"/>
              </a:solidFill>
            </c:spPr>
          </c:dPt>
          <c:dPt>
            <c:idx val="2664"/>
            <c:spPr>
              <a:solidFill>
                <a:srgbClr val="AEABAB"/>
              </a:solidFill>
            </c:spPr>
          </c:dPt>
          <c:dPt>
            <c:idx val="2665"/>
            <c:spPr>
              <a:solidFill>
                <a:srgbClr val="AEABAB"/>
              </a:solidFill>
            </c:spPr>
          </c:dPt>
          <c:dPt>
            <c:idx val="2666"/>
            <c:spPr>
              <a:solidFill>
                <a:srgbClr val="AEABAB"/>
              </a:solidFill>
            </c:spPr>
          </c:dPt>
          <c:dPt>
            <c:idx val="2667"/>
            <c:spPr>
              <a:solidFill>
                <a:srgbClr val="AEABAB"/>
              </a:solidFill>
            </c:spPr>
          </c:dPt>
          <c:dPt>
            <c:idx val="2668"/>
            <c:spPr>
              <a:solidFill>
                <a:srgbClr val="AEABAB"/>
              </a:solidFill>
            </c:spPr>
          </c:dPt>
          <c:dPt>
            <c:idx val="2669"/>
            <c:spPr>
              <a:solidFill>
                <a:srgbClr val="AEABAB"/>
              </a:solidFill>
            </c:spPr>
          </c:dPt>
          <c:dPt>
            <c:idx val="2670"/>
            <c:spPr>
              <a:solidFill>
                <a:srgbClr val="AEABAB"/>
              </a:solidFill>
            </c:spPr>
          </c:dPt>
          <c:dPt>
            <c:idx val="2671"/>
            <c:spPr>
              <a:solidFill>
                <a:srgbClr val="AEABAB"/>
              </a:solidFill>
            </c:spPr>
          </c:dPt>
          <c:dPt>
            <c:idx val="2672"/>
            <c:spPr>
              <a:solidFill>
                <a:srgbClr val="AEABAB"/>
              </a:solidFill>
            </c:spPr>
          </c:dPt>
          <c:dPt>
            <c:idx val="2673"/>
            <c:spPr>
              <a:solidFill>
                <a:srgbClr val="AEABAB"/>
              </a:solidFill>
            </c:spPr>
          </c:dPt>
          <c:dPt>
            <c:idx val="2674"/>
            <c:spPr>
              <a:solidFill>
                <a:srgbClr val="AEABAB"/>
              </a:solidFill>
            </c:spPr>
          </c:dPt>
          <c:dPt>
            <c:idx val="2675"/>
            <c:spPr>
              <a:solidFill>
                <a:srgbClr val="AEABAB"/>
              </a:solidFill>
            </c:spPr>
          </c:dPt>
          <c:dPt>
            <c:idx val="2676"/>
            <c:spPr>
              <a:solidFill>
                <a:srgbClr val="AEABAB"/>
              </a:solidFill>
            </c:spPr>
          </c:dPt>
          <c:dPt>
            <c:idx val="2677"/>
            <c:spPr>
              <a:solidFill>
                <a:srgbClr val="AEABAB"/>
              </a:solidFill>
            </c:spPr>
          </c:dPt>
          <c:dPt>
            <c:idx val="2678"/>
            <c:spPr>
              <a:solidFill>
                <a:srgbClr val="AEABAB"/>
              </a:solidFill>
            </c:spPr>
          </c:dPt>
          <c:dPt>
            <c:idx val="2679"/>
            <c:spPr>
              <a:solidFill>
                <a:srgbClr val="AEABAB"/>
              </a:solidFill>
            </c:spPr>
          </c:dPt>
          <c:dPt>
            <c:idx val="2680"/>
            <c:spPr>
              <a:solidFill>
                <a:srgbClr val="AEABAB"/>
              </a:solidFill>
            </c:spPr>
          </c:dPt>
          <c:dPt>
            <c:idx val="2681"/>
            <c:spPr>
              <a:solidFill>
                <a:srgbClr val="AEABAB"/>
              </a:solidFill>
            </c:spPr>
          </c:dPt>
          <c:dPt>
            <c:idx val="2682"/>
            <c:spPr>
              <a:solidFill>
                <a:srgbClr val="AEABAB"/>
              </a:solidFill>
            </c:spPr>
          </c:dPt>
          <c:dPt>
            <c:idx val="2683"/>
            <c:spPr>
              <a:solidFill>
                <a:srgbClr val="AEABAB"/>
              </a:solidFill>
            </c:spPr>
          </c:dPt>
          <c:dPt>
            <c:idx val="2684"/>
            <c:spPr>
              <a:solidFill>
                <a:srgbClr val="AEABAB"/>
              </a:solidFill>
            </c:spPr>
          </c:dPt>
          <c:dPt>
            <c:idx val="2685"/>
            <c:spPr>
              <a:solidFill>
                <a:srgbClr val="AEABAB"/>
              </a:solidFill>
            </c:spPr>
          </c:dPt>
          <c:dPt>
            <c:idx val="2686"/>
            <c:spPr>
              <a:solidFill>
                <a:srgbClr val="AEABAB"/>
              </a:solidFill>
            </c:spPr>
          </c:dPt>
          <c:dPt>
            <c:idx val="2687"/>
            <c:spPr>
              <a:solidFill>
                <a:srgbClr val="AEABAB"/>
              </a:solidFill>
            </c:spPr>
          </c:dPt>
          <c:dPt>
            <c:idx val="2688"/>
            <c:spPr>
              <a:solidFill>
                <a:srgbClr val="AEABAB"/>
              </a:solidFill>
            </c:spPr>
          </c:dPt>
          <c:dPt>
            <c:idx val="2689"/>
            <c:spPr>
              <a:solidFill>
                <a:srgbClr val="AEABAB"/>
              </a:solidFill>
            </c:spPr>
          </c:dPt>
          <c:dPt>
            <c:idx val="2690"/>
            <c:spPr>
              <a:solidFill>
                <a:srgbClr val="AEABAB"/>
              </a:solidFill>
            </c:spPr>
          </c:dPt>
          <c:dPt>
            <c:idx val="2691"/>
            <c:spPr>
              <a:solidFill>
                <a:srgbClr val="AEABAB"/>
              </a:solidFill>
            </c:spPr>
          </c:dPt>
          <c:dPt>
            <c:idx val="2692"/>
            <c:spPr>
              <a:solidFill>
                <a:srgbClr val="AEABAB"/>
              </a:solidFill>
            </c:spPr>
          </c:dPt>
          <c:dPt>
            <c:idx val="2693"/>
            <c:spPr>
              <a:solidFill>
                <a:srgbClr val="AEABAB"/>
              </a:solidFill>
            </c:spPr>
          </c:dPt>
          <c:dPt>
            <c:idx val="2694"/>
            <c:spPr>
              <a:solidFill>
                <a:srgbClr val="AEABAB"/>
              </a:solidFill>
            </c:spPr>
          </c:dPt>
          <c:dPt>
            <c:idx val="2695"/>
            <c:spPr>
              <a:solidFill>
                <a:srgbClr val="AEABAB"/>
              </a:solidFill>
            </c:spPr>
          </c:dPt>
          <c:dPt>
            <c:idx val="2696"/>
            <c:spPr>
              <a:solidFill>
                <a:srgbClr val="AEABAB"/>
              </a:solidFill>
            </c:spPr>
          </c:dPt>
          <c:dPt>
            <c:idx val="2697"/>
            <c:spPr>
              <a:solidFill>
                <a:srgbClr val="AEABAB"/>
              </a:solidFill>
            </c:spPr>
          </c:dPt>
          <c:dPt>
            <c:idx val="2698"/>
            <c:spPr>
              <a:solidFill>
                <a:srgbClr val="AEABAB"/>
              </a:solidFill>
            </c:spPr>
          </c:dPt>
          <c:dPt>
            <c:idx val="2699"/>
            <c:spPr>
              <a:solidFill>
                <a:srgbClr val="AEABAB"/>
              </a:solidFill>
            </c:spPr>
          </c:dPt>
          <c:dPt>
            <c:idx val="2700"/>
            <c:spPr>
              <a:solidFill>
                <a:srgbClr val="AEABAB"/>
              </a:solidFill>
            </c:spPr>
          </c:dPt>
          <c:dPt>
            <c:idx val="2701"/>
            <c:spPr>
              <a:solidFill>
                <a:srgbClr val="AEABAB"/>
              </a:solidFill>
            </c:spPr>
          </c:dPt>
          <c:dPt>
            <c:idx val="2702"/>
            <c:spPr>
              <a:solidFill>
                <a:srgbClr val="AEABAB"/>
              </a:solidFill>
            </c:spPr>
          </c:dPt>
          <c:dPt>
            <c:idx val="2703"/>
            <c:spPr>
              <a:solidFill>
                <a:srgbClr val="AEABAB"/>
              </a:solidFill>
            </c:spPr>
          </c:dPt>
          <c:dPt>
            <c:idx val="2704"/>
            <c:spPr>
              <a:solidFill>
                <a:srgbClr val="AEABAB"/>
              </a:solidFill>
            </c:spPr>
          </c:dPt>
          <c:dPt>
            <c:idx val="2705"/>
            <c:spPr>
              <a:solidFill>
                <a:srgbClr val="AEABAB"/>
              </a:solidFill>
            </c:spPr>
          </c:dPt>
          <c:dPt>
            <c:idx val="2706"/>
            <c:spPr>
              <a:solidFill>
                <a:srgbClr val="AEABAB"/>
              </a:solidFill>
            </c:spPr>
          </c:dPt>
          <c:dPt>
            <c:idx val="2707"/>
            <c:spPr>
              <a:solidFill>
                <a:srgbClr val="AEABAB"/>
              </a:solidFill>
            </c:spPr>
          </c:dPt>
          <c:dPt>
            <c:idx val="2708"/>
            <c:spPr>
              <a:solidFill>
                <a:srgbClr val="AEABAB"/>
              </a:solidFill>
            </c:spPr>
          </c:dPt>
          <c:dPt>
            <c:idx val="2709"/>
            <c:spPr>
              <a:solidFill>
                <a:srgbClr val="AEABAB"/>
              </a:solidFill>
            </c:spPr>
          </c:dPt>
          <c:dPt>
            <c:idx val="2710"/>
            <c:spPr>
              <a:solidFill>
                <a:srgbClr val="AEABAB"/>
              </a:solidFill>
            </c:spPr>
          </c:dPt>
          <c:dPt>
            <c:idx val="2711"/>
            <c:spPr>
              <a:solidFill>
                <a:srgbClr val="AEABAB"/>
              </a:solidFill>
            </c:spPr>
          </c:dPt>
          <c:dPt>
            <c:idx val="2712"/>
            <c:spPr>
              <a:solidFill>
                <a:srgbClr val="AEABAB"/>
              </a:solidFill>
            </c:spPr>
          </c:dPt>
          <c:dPt>
            <c:idx val="2713"/>
            <c:spPr>
              <a:solidFill>
                <a:srgbClr val="AEABAB"/>
              </a:solidFill>
            </c:spPr>
          </c:dPt>
          <c:dPt>
            <c:idx val="2714"/>
            <c:spPr>
              <a:solidFill>
                <a:srgbClr val="AEABAB"/>
              </a:solidFill>
            </c:spPr>
          </c:dPt>
          <c:dPt>
            <c:idx val="2715"/>
            <c:spPr>
              <a:solidFill>
                <a:srgbClr val="AEABAB"/>
              </a:solidFill>
            </c:spPr>
          </c:dPt>
          <c:dPt>
            <c:idx val="2716"/>
            <c:spPr>
              <a:solidFill>
                <a:srgbClr val="AEABAB"/>
              </a:solidFill>
            </c:spPr>
          </c:dPt>
          <c:dPt>
            <c:idx val="2717"/>
            <c:spPr>
              <a:solidFill>
                <a:srgbClr val="AEABAB"/>
              </a:solidFill>
            </c:spPr>
          </c:dPt>
          <c:dPt>
            <c:idx val="2718"/>
            <c:spPr>
              <a:solidFill>
                <a:srgbClr val="AEABAB"/>
              </a:solidFill>
            </c:spPr>
          </c:dPt>
          <c:dPt>
            <c:idx val="2719"/>
            <c:spPr>
              <a:solidFill>
                <a:srgbClr val="AEABAB"/>
              </a:solidFill>
            </c:spPr>
          </c:dPt>
          <c:dPt>
            <c:idx val="2720"/>
            <c:spPr>
              <a:solidFill>
                <a:srgbClr val="AEABAB"/>
              </a:solidFill>
            </c:spPr>
          </c:dPt>
          <c:dPt>
            <c:idx val="2721"/>
            <c:spPr>
              <a:solidFill>
                <a:srgbClr val="AEABAB"/>
              </a:solidFill>
            </c:spPr>
          </c:dPt>
          <c:dPt>
            <c:idx val="2722"/>
            <c:spPr>
              <a:solidFill>
                <a:srgbClr val="AEABAB"/>
              </a:solidFill>
            </c:spPr>
          </c:dPt>
          <c:dPt>
            <c:idx val="2723"/>
            <c:spPr>
              <a:solidFill>
                <a:srgbClr val="AEABAB"/>
              </a:solidFill>
            </c:spPr>
          </c:dPt>
          <c:dPt>
            <c:idx val="2724"/>
            <c:spPr>
              <a:solidFill>
                <a:srgbClr val="AEABAB"/>
              </a:solidFill>
            </c:spPr>
          </c:dPt>
          <c:dPt>
            <c:idx val="2725"/>
            <c:spPr>
              <a:solidFill>
                <a:srgbClr val="AEABAB"/>
              </a:solidFill>
            </c:spPr>
          </c:dPt>
          <c:dPt>
            <c:idx val="2726"/>
            <c:spPr>
              <a:solidFill>
                <a:srgbClr val="AEABAB"/>
              </a:solidFill>
            </c:spPr>
          </c:dPt>
          <c:dPt>
            <c:idx val="2727"/>
            <c:spPr>
              <a:solidFill>
                <a:srgbClr val="AEABAB"/>
              </a:solidFill>
            </c:spPr>
          </c:dPt>
          <c:dPt>
            <c:idx val="2728"/>
            <c:spPr>
              <a:solidFill>
                <a:srgbClr val="AEABAB"/>
              </a:solidFill>
            </c:spPr>
          </c:dPt>
          <c:dPt>
            <c:idx val="2729"/>
            <c:spPr>
              <a:solidFill>
                <a:srgbClr val="AEABAB"/>
              </a:solidFill>
            </c:spPr>
          </c:dPt>
          <c:dPt>
            <c:idx val="2730"/>
            <c:spPr>
              <a:solidFill>
                <a:srgbClr val="AEABAB"/>
              </a:solidFill>
            </c:spPr>
          </c:dPt>
          <c:dPt>
            <c:idx val="2731"/>
            <c:spPr>
              <a:solidFill>
                <a:srgbClr val="AEABAB"/>
              </a:solidFill>
            </c:spPr>
          </c:dPt>
          <c:dPt>
            <c:idx val="2732"/>
            <c:spPr>
              <a:solidFill>
                <a:srgbClr val="AEABAB"/>
              </a:solidFill>
            </c:spPr>
          </c:dPt>
          <c:dPt>
            <c:idx val="2733"/>
            <c:spPr>
              <a:solidFill>
                <a:srgbClr val="AEABAB"/>
              </a:solidFill>
            </c:spPr>
          </c:dPt>
          <c:dPt>
            <c:idx val="2734"/>
            <c:spPr>
              <a:solidFill>
                <a:srgbClr val="AEABAB"/>
              </a:solidFill>
            </c:spPr>
          </c:dPt>
          <c:dPt>
            <c:idx val="2735"/>
            <c:spPr>
              <a:solidFill>
                <a:srgbClr val="AEABAB"/>
              </a:solidFill>
            </c:spPr>
          </c:dPt>
          <c:dPt>
            <c:idx val="2736"/>
            <c:spPr>
              <a:solidFill>
                <a:srgbClr val="AEABAB"/>
              </a:solidFill>
            </c:spPr>
          </c:dPt>
          <c:dPt>
            <c:idx val="2737"/>
            <c:spPr>
              <a:solidFill>
                <a:srgbClr val="AEABAB"/>
              </a:solidFill>
            </c:spPr>
          </c:dPt>
          <c:dPt>
            <c:idx val="2738"/>
            <c:spPr>
              <a:solidFill>
                <a:srgbClr val="AEABAB"/>
              </a:solidFill>
            </c:spPr>
          </c:dPt>
          <c:dPt>
            <c:idx val="2739"/>
            <c:spPr>
              <a:solidFill>
                <a:srgbClr val="AEABAB"/>
              </a:solidFill>
            </c:spPr>
          </c:dPt>
          <c:dPt>
            <c:idx val="2740"/>
            <c:spPr>
              <a:solidFill>
                <a:srgbClr val="AEABAB"/>
              </a:solidFill>
            </c:spPr>
          </c:dPt>
          <c:dPt>
            <c:idx val="2741"/>
            <c:spPr>
              <a:solidFill>
                <a:srgbClr val="AEABAB"/>
              </a:solidFill>
            </c:spPr>
          </c:dPt>
          <c:dPt>
            <c:idx val="2742"/>
            <c:spPr>
              <a:solidFill>
                <a:srgbClr val="AEABAB"/>
              </a:solidFill>
            </c:spPr>
          </c:dPt>
          <c:dPt>
            <c:idx val="2743"/>
            <c:spPr>
              <a:solidFill>
                <a:srgbClr val="AEABAB"/>
              </a:solidFill>
            </c:spPr>
          </c:dPt>
          <c:dPt>
            <c:idx val="2744"/>
            <c:spPr>
              <a:solidFill>
                <a:srgbClr val="AEABAB"/>
              </a:solidFill>
            </c:spPr>
          </c:dPt>
          <c:dPt>
            <c:idx val="2745"/>
            <c:spPr>
              <a:solidFill>
                <a:srgbClr val="AEABAB"/>
              </a:solidFill>
            </c:spPr>
          </c:dPt>
          <c:dPt>
            <c:idx val="2746"/>
            <c:spPr>
              <a:solidFill>
                <a:srgbClr val="AEABAB"/>
              </a:solidFill>
            </c:spPr>
          </c:dPt>
          <c:dPt>
            <c:idx val="2747"/>
            <c:spPr>
              <a:solidFill>
                <a:srgbClr val="AEABAB"/>
              </a:solidFill>
            </c:spPr>
          </c:dPt>
          <c:dPt>
            <c:idx val="2748"/>
            <c:spPr>
              <a:solidFill>
                <a:srgbClr val="AEABAB"/>
              </a:solidFill>
            </c:spPr>
          </c:dPt>
          <c:dPt>
            <c:idx val="2749"/>
            <c:spPr>
              <a:solidFill>
                <a:srgbClr val="AEABAB"/>
              </a:solidFill>
            </c:spPr>
          </c:dPt>
          <c:dPt>
            <c:idx val="2750"/>
            <c:spPr>
              <a:solidFill>
                <a:srgbClr val="AEABAB"/>
              </a:solidFill>
            </c:spPr>
          </c:dPt>
          <c:dPt>
            <c:idx val="2751"/>
            <c:spPr>
              <a:solidFill>
                <a:srgbClr val="AEABAB"/>
              </a:solidFill>
            </c:spPr>
          </c:dPt>
          <c:dPt>
            <c:idx val="2752"/>
            <c:spPr>
              <a:solidFill>
                <a:srgbClr val="AEABAB"/>
              </a:solidFill>
            </c:spPr>
          </c:dPt>
          <c:dPt>
            <c:idx val="2753"/>
            <c:spPr>
              <a:solidFill>
                <a:srgbClr val="AEABAB"/>
              </a:solidFill>
            </c:spPr>
          </c:dPt>
          <c:dPt>
            <c:idx val="2754"/>
            <c:spPr>
              <a:solidFill>
                <a:srgbClr val="AEABAB"/>
              </a:solidFill>
            </c:spPr>
          </c:dPt>
          <c:dPt>
            <c:idx val="2755"/>
            <c:spPr>
              <a:solidFill>
                <a:srgbClr val="AEABAB"/>
              </a:solidFill>
            </c:spPr>
          </c:dPt>
          <c:dPt>
            <c:idx val="2756"/>
            <c:spPr>
              <a:solidFill>
                <a:srgbClr val="AEABAB"/>
              </a:solidFill>
            </c:spPr>
          </c:dPt>
          <c:dPt>
            <c:idx val="2757"/>
            <c:spPr>
              <a:solidFill>
                <a:srgbClr val="AEABAB"/>
              </a:solidFill>
            </c:spPr>
          </c:dPt>
          <c:dPt>
            <c:idx val="2758"/>
            <c:spPr>
              <a:solidFill>
                <a:srgbClr val="AEABAB"/>
              </a:solidFill>
            </c:spPr>
          </c:dPt>
          <c:dPt>
            <c:idx val="2759"/>
            <c:spPr>
              <a:solidFill>
                <a:srgbClr val="AEABAB"/>
              </a:solidFill>
            </c:spPr>
          </c:dPt>
          <c:dPt>
            <c:idx val="2760"/>
            <c:spPr>
              <a:solidFill>
                <a:srgbClr val="AEABAB"/>
              </a:solidFill>
            </c:spPr>
          </c:dPt>
          <c:dPt>
            <c:idx val="2761"/>
            <c:spPr>
              <a:solidFill>
                <a:srgbClr val="AEABAB"/>
              </a:solidFill>
            </c:spPr>
          </c:dPt>
          <c:dPt>
            <c:idx val="2762"/>
            <c:spPr>
              <a:solidFill>
                <a:srgbClr val="AEABAB"/>
              </a:solidFill>
            </c:spPr>
          </c:dPt>
          <c:dPt>
            <c:idx val="2763"/>
            <c:spPr>
              <a:solidFill>
                <a:srgbClr val="AEABAB"/>
              </a:solidFill>
            </c:spPr>
          </c:dPt>
          <c:dPt>
            <c:idx val="2764"/>
            <c:spPr>
              <a:solidFill>
                <a:srgbClr val="AEABAB"/>
              </a:solidFill>
            </c:spPr>
          </c:dPt>
          <c:dPt>
            <c:idx val="2765"/>
            <c:spPr>
              <a:solidFill>
                <a:srgbClr val="AEABAB"/>
              </a:solidFill>
            </c:spPr>
          </c:dPt>
          <c:dPt>
            <c:idx val="2766"/>
            <c:spPr>
              <a:solidFill>
                <a:srgbClr val="AEABAB"/>
              </a:solidFill>
            </c:spPr>
          </c:dPt>
          <c:dPt>
            <c:idx val="2767"/>
            <c:spPr>
              <a:solidFill>
                <a:srgbClr val="AEABAB"/>
              </a:solidFill>
            </c:spPr>
          </c:dPt>
          <c:dPt>
            <c:idx val="2768"/>
            <c:spPr>
              <a:solidFill>
                <a:srgbClr val="AEABAB"/>
              </a:solidFill>
            </c:spPr>
          </c:dPt>
          <c:dPt>
            <c:idx val="2769"/>
            <c:spPr>
              <a:solidFill>
                <a:srgbClr val="AEABAB"/>
              </a:solidFill>
            </c:spPr>
          </c:dPt>
          <c:dPt>
            <c:idx val="2770"/>
            <c:spPr>
              <a:solidFill>
                <a:srgbClr val="AEABAB"/>
              </a:solidFill>
            </c:spPr>
          </c:dPt>
          <c:dPt>
            <c:idx val="2771"/>
            <c:spPr>
              <a:solidFill>
                <a:srgbClr val="AEABAB"/>
              </a:solidFill>
            </c:spPr>
          </c:dPt>
          <c:dPt>
            <c:idx val="2772"/>
            <c:spPr>
              <a:solidFill>
                <a:srgbClr val="AEABAB"/>
              </a:solidFill>
            </c:spPr>
          </c:dPt>
          <c:dPt>
            <c:idx val="2773"/>
            <c:spPr>
              <a:solidFill>
                <a:srgbClr val="AEABAB"/>
              </a:solidFill>
            </c:spPr>
          </c:dPt>
          <c:dPt>
            <c:idx val="2774"/>
            <c:spPr>
              <a:solidFill>
                <a:srgbClr val="AEABAB"/>
              </a:solidFill>
            </c:spPr>
          </c:dPt>
          <c:dPt>
            <c:idx val="2775"/>
            <c:spPr>
              <a:solidFill>
                <a:srgbClr val="AEABAB"/>
              </a:solidFill>
            </c:spPr>
          </c:dPt>
          <c:dPt>
            <c:idx val="2776"/>
            <c:spPr>
              <a:solidFill>
                <a:srgbClr val="AEABAB"/>
              </a:solidFill>
            </c:spPr>
          </c:dPt>
          <c:dPt>
            <c:idx val="2777"/>
            <c:spPr>
              <a:solidFill>
                <a:srgbClr val="AEABAB"/>
              </a:solidFill>
            </c:spPr>
          </c:dPt>
          <c:dPt>
            <c:idx val="2778"/>
            <c:spPr>
              <a:solidFill>
                <a:srgbClr val="AEABAB"/>
              </a:solidFill>
            </c:spPr>
          </c:dPt>
          <c:dPt>
            <c:idx val="2779"/>
            <c:spPr>
              <a:solidFill>
                <a:srgbClr val="AEABAB"/>
              </a:solidFill>
            </c:spPr>
          </c:dPt>
          <c:dPt>
            <c:idx val="2780"/>
            <c:spPr>
              <a:solidFill>
                <a:srgbClr val="AEABAB"/>
              </a:solidFill>
            </c:spPr>
          </c:dPt>
          <c:dPt>
            <c:idx val="2781"/>
            <c:spPr>
              <a:solidFill>
                <a:srgbClr val="AEABAB"/>
              </a:solidFill>
            </c:spPr>
          </c:dPt>
          <c:dPt>
            <c:idx val="2782"/>
            <c:spPr>
              <a:solidFill>
                <a:srgbClr val="AEABAB"/>
              </a:solidFill>
            </c:spPr>
          </c:dPt>
          <c:dPt>
            <c:idx val="2783"/>
            <c:spPr>
              <a:solidFill>
                <a:srgbClr val="AEABAB"/>
              </a:solidFill>
            </c:spPr>
          </c:dPt>
          <c:dPt>
            <c:idx val="2784"/>
            <c:spPr>
              <a:solidFill>
                <a:srgbClr val="AEABAB"/>
              </a:solidFill>
            </c:spPr>
          </c:dPt>
          <c:dPt>
            <c:idx val="2785"/>
            <c:spPr>
              <a:solidFill>
                <a:srgbClr val="AEABAB"/>
              </a:solidFill>
            </c:spPr>
          </c:dPt>
          <c:dPt>
            <c:idx val="2786"/>
            <c:spPr>
              <a:solidFill>
                <a:srgbClr val="AEABAB"/>
              </a:solidFill>
            </c:spPr>
          </c:dPt>
          <c:dPt>
            <c:idx val="2787"/>
            <c:spPr>
              <a:solidFill>
                <a:srgbClr val="AEABAB"/>
              </a:solidFill>
            </c:spPr>
          </c:dPt>
          <c:dPt>
            <c:idx val="2788"/>
            <c:spPr>
              <a:solidFill>
                <a:srgbClr val="AEABAB"/>
              </a:solidFill>
            </c:spPr>
          </c:dPt>
          <c:dPt>
            <c:idx val="2789"/>
            <c:spPr>
              <a:solidFill>
                <a:srgbClr val="AEABAB"/>
              </a:solidFill>
            </c:spPr>
          </c:dPt>
          <c:dPt>
            <c:idx val="2790"/>
            <c:spPr>
              <a:solidFill>
                <a:srgbClr val="AEABAB"/>
              </a:solidFill>
            </c:spPr>
          </c:dPt>
          <c:dPt>
            <c:idx val="2791"/>
            <c:spPr>
              <a:solidFill>
                <a:srgbClr val="AEABAB"/>
              </a:solidFill>
            </c:spPr>
          </c:dPt>
          <c:dPt>
            <c:idx val="2792"/>
            <c:spPr>
              <a:solidFill>
                <a:srgbClr val="AEABAB"/>
              </a:solidFill>
            </c:spPr>
          </c:dPt>
          <c:dPt>
            <c:idx val="2793"/>
            <c:spPr>
              <a:solidFill>
                <a:srgbClr val="AEABAB"/>
              </a:solidFill>
            </c:spPr>
          </c:dPt>
          <c:dPt>
            <c:idx val="2794"/>
            <c:spPr>
              <a:solidFill>
                <a:srgbClr val="AEABAB"/>
              </a:solidFill>
            </c:spPr>
          </c:dPt>
          <c:dPt>
            <c:idx val="2795"/>
            <c:spPr>
              <a:solidFill>
                <a:srgbClr val="AEABAB"/>
              </a:solidFill>
            </c:spPr>
          </c:dPt>
          <c:dPt>
            <c:idx val="2796"/>
            <c:spPr>
              <a:solidFill>
                <a:srgbClr val="AEABAB"/>
              </a:solidFill>
            </c:spPr>
          </c:dPt>
          <c:dPt>
            <c:idx val="2797"/>
            <c:spPr>
              <a:solidFill>
                <a:srgbClr val="AEABAB"/>
              </a:solidFill>
            </c:spPr>
          </c:dPt>
          <c:dPt>
            <c:idx val="2798"/>
            <c:spPr>
              <a:solidFill>
                <a:srgbClr val="AEABAB"/>
              </a:solidFill>
            </c:spPr>
          </c:dPt>
          <c:dPt>
            <c:idx val="2799"/>
            <c:spPr>
              <a:solidFill>
                <a:srgbClr val="AEABAB"/>
              </a:solidFill>
            </c:spPr>
          </c:dPt>
          <c:dPt>
            <c:idx val="2800"/>
            <c:spPr>
              <a:solidFill>
                <a:srgbClr val="AEABAB"/>
              </a:solidFill>
            </c:spPr>
          </c:dPt>
          <c:dPt>
            <c:idx val="2801"/>
            <c:spPr>
              <a:solidFill>
                <a:srgbClr val="AEABAB"/>
              </a:solidFill>
            </c:spPr>
          </c:dPt>
          <c:dPt>
            <c:idx val="2802"/>
            <c:spPr>
              <a:solidFill>
                <a:srgbClr val="AEABAB"/>
              </a:solidFill>
            </c:spPr>
          </c:dPt>
          <c:dPt>
            <c:idx val="2803"/>
            <c:spPr>
              <a:solidFill>
                <a:srgbClr val="AEABAB"/>
              </a:solidFill>
            </c:spPr>
          </c:dPt>
          <c:dPt>
            <c:idx val="2804"/>
            <c:spPr>
              <a:solidFill>
                <a:srgbClr val="AEABAB"/>
              </a:solidFill>
            </c:spPr>
          </c:dPt>
          <c:dPt>
            <c:idx val="2805"/>
            <c:spPr>
              <a:solidFill>
                <a:srgbClr val="AEABAB"/>
              </a:solidFill>
            </c:spPr>
          </c:dPt>
          <c:dPt>
            <c:idx val="2806"/>
            <c:spPr>
              <a:solidFill>
                <a:srgbClr val="AEABAB"/>
              </a:solidFill>
            </c:spPr>
          </c:dPt>
          <c:dPt>
            <c:idx val="2807"/>
            <c:spPr>
              <a:solidFill>
                <a:srgbClr val="AEABAB"/>
              </a:solidFill>
            </c:spPr>
          </c:dPt>
          <c:dPt>
            <c:idx val="2808"/>
            <c:spPr>
              <a:solidFill>
                <a:srgbClr val="AEABAB"/>
              </a:solidFill>
            </c:spPr>
          </c:dPt>
          <c:dPt>
            <c:idx val="2809"/>
            <c:spPr>
              <a:solidFill>
                <a:srgbClr val="AEABAB"/>
              </a:solidFill>
            </c:spPr>
          </c:dPt>
          <c:dPt>
            <c:idx val="2810"/>
            <c:spPr>
              <a:solidFill>
                <a:srgbClr val="AEABAB"/>
              </a:solidFill>
            </c:spPr>
          </c:dPt>
          <c:dPt>
            <c:idx val="2811"/>
            <c:spPr>
              <a:solidFill>
                <a:srgbClr val="AEABAB"/>
              </a:solidFill>
            </c:spPr>
          </c:dPt>
          <c:dPt>
            <c:idx val="2812"/>
            <c:spPr>
              <a:solidFill>
                <a:srgbClr val="AEABAB"/>
              </a:solidFill>
            </c:spPr>
          </c:dPt>
          <c:dPt>
            <c:idx val="2813"/>
            <c:spPr>
              <a:solidFill>
                <a:srgbClr val="AEABAB"/>
              </a:solidFill>
            </c:spPr>
          </c:dPt>
          <c:dPt>
            <c:idx val="2814"/>
            <c:spPr>
              <a:solidFill>
                <a:srgbClr val="AEABAB"/>
              </a:solidFill>
            </c:spPr>
          </c:dPt>
          <c:dPt>
            <c:idx val="2815"/>
            <c:spPr>
              <a:solidFill>
                <a:srgbClr val="AEABAB"/>
              </a:solidFill>
            </c:spPr>
          </c:dPt>
          <c:dPt>
            <c:idx val="2816"/>
            <c:spPr>
              <a:solidFill>
                <a:srgbClr val="AEABAB"/>
              </a:solidFill>
            </c:spPr>
          </c:dPt>
          <c:dPt>
            <c:idx val="2817"/>
            <c:spPr>
              <a:solidFill>
                <a:srgbClr val="AEABAB"/>
              </a:solidFill>
            </c:spPr>
          </c:dPt>
          <c:dPt>
            <c:idx val="2818"/>
            <c:spPr>
              <a:solidFill>
                <a:srgbClr val="AEABAB"/>
              </a:solidFill>
            </c:spPr>
          </c:dPt>
          <c:dPt>
            <c:idx val="2819"/>
            <c:spPr>
              <a:solidFill>
                <a:srgbClr val="AEABAB"/>
              </a:solidFill>
            </c:spPr>
          </c:dPt>
          <c:dPt>
            <c:idx val="2820"/>
            <c:spPr>
              <a:solidFill>
                <a:srgbClr val="AEABAB"/>
              </a:solidFill>
            </c:spPr>
          </c:dPt>
          <c:dPt>
            <c:idx val="2821"/>
            <c:spPr>
              <a:solidFill>
                <a:srgbClr val="AEABAB"/>
              </a:solidFill>
            </c:spPr>
          </c:dPt>
          <c:dPt>
            <c:idx val="2822"/>
            <c:spPr>
              <a:solidFill>
                <a:srgbClr val="AEABAB"/>
              </a:solidFill>
            </c:spPr>
          </c:dPt>
          <c:dPt>
            <c:idx val="2823"/>
            <c:spPr>
              <a:solidFill>
                <a:srgbClr val="AEABAB"/>
              </a:solidFill>
            </c:spPr>
          </c:dPt>
          <c:dPt>
            <c:idx val="2824"/>
            <c:spPr>
              <a:solidFill>
                <a:srgbClr val="AEABAB"/>
              </a:solidFill>
            </c:spPr>
          </c:dPt>
          <c:dPt>
            <c:idx val="2825"/>
            <c:spPr>
              <a:solidFill>
                <a:srgbClr val="AEABAB"/>
              </a:solidFill>
            </c:spPr>
          </c:dPt>
          <c:dPt>
            <c:idx val="2826"/>
            <c:spPr>
              <a:solidFill>
                <a:srgbClr val="AEABAB"/>
              </a:solidFill>
            </c:spPr>
          </c:dPt>
          <c:dPt>
            <c:idx val="2827"/>
            <c:spPr>
              <a:solidFill>
                <a:srgbClr val="AEABAB"/>
              </a:solidFill>
            </c:spPr>
          </c:dPt>
          <c:dPt>
            <c:idx val="2828"/>
            <c:spPr>
              <a:solidFill>
                <a:srgbClr val="AEABAB"/>
              </a:solidFill>
            </c:spPr>
          </c:dPt>
          <c:dPt>
            <c:idx val="2829"/>
            <c:spPr>
              <a:solidFill>
                <a:srgbClr val="AEABAB"/>
              </a:solidFill>
            </c:spPr>
          </c:dPt>
          <c:dPt>
            <c:idx val="2830"/>
            <c:spPr>
              <a:solidFill>
                <a:srgbClr val="AEABAB"/>
              </a:solidFill>
            </c:spPr>
          </c:dPt>
          <c:dPt>
            <c:idx val="2831"/>
            <c:spPr>
              <a:solidFill>
                <a:srgbClr val="AEABAB"/>
              </a:solidFill>
            </c:spPr>
          </c:dPt>
          <c:dPt>
            <c:idx val="2832"/>
            <c:spPr>
              <a:solidFill>
                <a:srgbClr val="AEABAB"/>
              </a:solidFill>
            </c:spPr>
          </c:dPt>
          <c:dPt>
            <c:idx val="2833"/>
            <c:spPr>
              <a:solidFill>
                <a:srgbClr val="AEABAB"/>
              </a:solidFill>
            </c:spPr>
          </c:dPt>
          <c:dPt>
            <c:idx val="2834"/>
            <c:spPr>
              <a:solidFill>
                <a:srgbClr val="AEABAB"/>
              </a:solidFill>
            </c:spPr>
          </c:dPt>
          <c:dPt>
            <c:idx val="2835"/>
            <c:spPr>
              <a:solidFill>
                <a:srgbClr val="AEABAB"/>
              </a:solidFill>
            </c:spPr>
          </c:dPt>
          <c:dPt>
            <c:idx val="2836"/>
            <c:spPr>
              <a:solidFill>
                <a:srgbClr val="AEABAB"/>
              </a:solidFill>
            </c:spPr>
          </c:dPt>
          <c:dPt>
            <c:idx val="2837"/>
            <c:spPr>
              <a:solidFill>
                <a:srgbClr val="AEABAB"/>
              </a:solidFill>
            </c:spPr>
          </c:dPt>
          <c:dPt>
            <c:idx val="2838"/>
            <c:spPr>
              <a:solidFill>
                <a:srgbClr val="AEABAB"/>
              </a:solidFill>
            </c:spPr>
          </c:dPt>
          <c:dPt>
            <c:idx val="2839"/>
            <c:spPr>
              <a:solidFill>
                <a:srgbClr val="AEABAB"/>
              </a:solidFill>
            </c:spPr>
          </c:dPt>
          <c:dPt>
            <c:idx val="2840"/>
            <c:spPr>
              <a:solidFill>
                <a:srgbClr val="AEABAB"/>
              </a:solidFill>
            </c:spPr>
          </c:dPt>
          <c:dPt>
            <c:idx val="2841"/>
            <c:spPr>
              <a:solidFill>
                <a:srgbClr val="AEABAB"/>
              </a:solidFill>
            </c:spPr>
          </c:dPt>
          <c:dPt>
            <c:idx val="2842"/>
            <c:spPr>
              <a:solidFill>
                <a:srgbClr val="AEABAB"/>
              </a:solidFill>
            </c:spPr>
          </c:dPt>
          <c:dPt>
            <c:idx val="2843"/>
            <c:spPr>
              <a:solidFill>
                <a:srgbClr val="AEABAB"/>
              </a:solidFill>
            </c:spPr>
          </c:dPt>
          <c:dPt>
            <c:idx val="2844"/>
            <c:spPr>
              <a:solidFill>
                <a:srgbClr val="AEABAB"/>
              </a:solidFill>
            </c:spPr>
          </c:dPt>
          <c:dPt>
            <c:idx val="2845"/>
            <c:spPr>
              <a:solidFill>
                <a:srgbClr val="AEABAB"/>
              </a:solidFill>
            </c:spPr>
          </c:dPt>
          <c:dPt>
            <c:idx val="2846"/>
            <c:spPr>
              <a:solidFill>
                <a:srgbClr val="AEABAB"/>
              </a:solidFill>
            </c:spPr>
          </c:dPt>
          <c:dPt>
            <c:idx val="2847"/>
            <c:spPr>
              <a:solidFill>
                <a:srgbClr val="AEABAB"/>
              </a:solidFill>
            </c:spPr>
          </c:dPt>
          <c:dPt>
            <c:idx val="2848"/>
            <c:spPr>
              <a:solidFill>
                <a:srgbClr val="AEABAB"/>
              </a:solidFill>
            </c:spPr>
          </c:dPt>
          <c:dPt>
            <c:idx val="2849"/>
            <c:spPr>
              <a:solidFill>
                <a:srgbClr val="AEABAB"/>
              </a:solidFill>
            </c:spPr>
          </c:dPt>
          <c:dPt>
            <c:idx val="2850"/>
            <c:spPr>
              <a:solidFill>
                <a:srgbClr val="AEABAB"/>
              </a:solidFill>
            </c:spPr>
          </c:dPt>
          <c:dPt>
            <c:idx val="2851"/>
            <c:spPr>
              <a:solidFill>
                <a:srgbClr val="AEABAB"/>
              </a:solidFill>
            </c:spPr>
          </c:dPt>
          <c:dPt>
            <c:idx val="2852"/>
            <c:spPr>
              <a:solidFill>
                <a:srgbClr val="AEABAB"/>
              </a:solidFill>
            </c:spPr>
          </c:dPt>
          <c:dPt>
            <c:idx val="2853"/>
            <c:spPr>
              <a:solidFill>
                <a:srgbClr val="AEABAB"/>
              </a:solidFill>
            </c:spPr>
          </c:dPt>
          <c:dPt>
            <c:idx val="2854"/>
            <c:spPr>
              <a:solidFill>
                <a:srgbClr val="AEABAB"/>
              </a:solidFill>
            </c:spPr>
          </c:dPt>
          <c:dPt>
            <c:idx val="2855"/>
            <c:spPr>
              <a:solidFill>
                <a:srgbClr val="AEABAB"/>
              </a:solidFill>
            </c:spPr>
          </c:dPt>
          <c:dPt>
            <c:idx val="2856"/>
            <c:spPr>
              <a:solidFill>
                <a:srgbClr val="AEABAB"/>
              </a:solidFill>
            </c:spPr>
          </c:dPt>
          <c:dPt>
            <c:idx val="2857"/>
            <c:spPr>
              <a:solidFill>
                <a:srgbClr val="AEABAB"/>
              </a:solidFill>
            </c:spPr>
          </c:dPt>
          <c:dPt>
            <c:idx val="2858"/>
            <c:spPr>
              <a:solidFill>
                <a:srgbClr val="AEABAB"/>
              </a:solidFill>
            </c:spPr>
          </c:dPt>
          <c:dPt>
            <c:idx val="2859"/>
            <c:spPr>
              <a:solidFill>
                <a:srgbClr val="AEABAB"/>
              </a:solidFill>
            </c:spPr>
          </c:dPt>
          <c:dPt>
            <c:idx val="2860"/>
            <c:spPr>
              <a:solidFill>
                <a:srgbClr val="AEABAB"/>
              </a:solidFill>
            </c:spPr>
          </c:dPt>
          <c:dPt>
            <c:idx val="2861"/>
            <c:spPr>
              <a:solidFill>
                <a:srgbClr val="AEABAB"/>
              </a:solidFill>
            </c:spPr>
          </c:dPt>
          <c:dPt>
            <c:idx val="2862"/>
            <c:spPr>
              <a:solidFill>
                <a:srgbClr val="AEABAB"/>
              </a:solidFill>
            </c:spPr>
          </c:dPt>
          <c:dPt>
            <c:idx val="2863"/>
            <c:spPr>
              <a:solidFill>
                <a:srgbClr val="AEABAB"/>
              </a:solidFill>
            </c:spPr>
          </c:dPt>
          <c:dPt>
            <c:idx val="2864"/>
            <c:spPr>
              <a:solidFill>
                <a:srgbClr val="AEABAB"/>
              </a:solidFill>
            </c:spPr>
          </c:dPt>
          <c:dPt>
            <c:idx val="2865"/>
            <c:spPr>
              <a:solidFill>
                <a:srgbClr val="AEABAB"/>
              </a:solidFill>
            </c:spPr>
          </c:dPt>
          <c:dPt>
            <c:idx val="2866"/>
            <c:spPr>
              <a:solidFill>
                <a:srgbClr val="AEABAB"/>
              </a:solidFill>
            </c:spPr>
          </c:dPt>
          <c:dPt>
            <c:idx val="2867"/>
            <c:spPr>
              <a:solidFill>
                <a:srgbClr val="AEABAB"/>
              </a:solidFill>
            </c:spPr>
          </c:dPt>
          <c:dPt>
            <c:idx val="2868"/>
            <c:spPr>
              <a:solidFill>
                <a:srgbClr val="AEABAB"/>
              </a:solidFill>
            </c:spPr>
          </c:dPt>
          <c:dPt>
            <c:idx val="2869"/>
            <c:spPr>
              <a:solidFill>
                <a:srgbClr val="AEABAB"/>
              </a:solidFill>
            </c:spPr>
          </c:dPt>
          <c:dPt>
            <c:idx val="2870"/>
            <c:spPr>
              <a:solidFill>
                <a:srgbClr val="AEABAB"/>
              </a:solidFill>
            </c:spPr>
          </c:dPt>
          <c:dPt>
            <c:idx val="2871"/>
            <c:spPr>
              <a:solidFill>
                <a:srgbClr val="AEABAB"/>
              </a:solidFill>
            </c:spPr>
          </c:dPt>
          <c:dPt>
            <c:idx val="2872"/>
            <c:spPr>
              <a:solidFill>
                <a:srgbClr val="AEABAB"/>
              </a:solidFill>
            </c:spPr>
          </c:dPt>
          <c:dPt>
            <c:idx val="2873"/>
            <c:spPr>
              <a:solidFill>
                <a:srgbClr val="AEABAB"/>
              </a:solidFill>
            </c:spPr>
          </c:dPt>
          <c:dPt>
            <c:idx val="2874"/>
            <c:spPr>
              <a:solidFill>
                <a:srgbClr val="AEABAB"/>
              </a:solidFill>
            </c:spPr>
          </c:dPt>
          <c:dPt>
            <c:idx val="2875"/>
            <c:spPr>
              <a:solidFill>
                <a:srgbClr val="AEABAB"/>
              </a:solidFill>
            </c:spPr>
          </c:dPt>
          <c:dPt>
            <c:idx val="2876"/>
            <c:spPr>
              <a:solidFill>
                <a:srgbClr val="AEABAB"/>
              </a:solidFill>
            </c:spPr>
          </c:dPt>
          <c:dPt>
            <c:idx val="2877"/>
            <c:spPr>
              <a:solidFill>
                <a:srgbClr val="AEABAB"/>
              </a:solidFill>
            </c:spPr>
          </c:dPt>
          <c:dPt>
            <c:idx val="2878"/>
            <c:spPr>
              <a:solidFill>
                <a:srgbClr val="AEABAB"/>
              </a:solidFill>
            </c:spPr>
          </c:dPt>
          <c:dPt>
            <c:idx val="2879"/>
            <c:spPr>
              <a:solidFill>
                <a:srgbClr val="AEABAB"/>
              </a:solidFill>
            </c:spPr>
          </c:dPt>
          <c:dPt>
            <c:idx val="2880"/>
            <c:spPr>
              <a:solidFill>
                <a:srgbClr val="AEABAB"/>
              </a:solidFill>
            </c:spPr>
          </c:dPt>
          <c:dPt>
            <c:idx val="2881"/>
            <c:spPr>
              <a:solidFill>
                <a:srgbClr val="AEABAB"/>
              </a:solidFill>
            </c:spPr>
          </c:dPt>
          <c:dPt>
            <c:idx val="2882"/>
            <c:spPr>
              <a:solidFill>
                <a:srgbClr val="AEABAB"/>
              </a:solidFill>
            </c:spPr>
          </c:dPt>
          <c:dPt>
            <c:idx val="2883"/>
            <c:spPr>
              <a:solidFill>
                <a:srgbClr val="AEABAB"/>
              </a:solidFill>
            </c:spPr>
          </c:dPt>
          <c:dPt>
            <c:idx val="2884"/>
            <c:spPr>
              <a:solidFill>
                <a:srgbClr val="AEABAB"/>
              </a:solidFill>
            </c:spPr>
          </c:dPt>
          <c:dPt>
            <c:idx val="2885"/>
            <c:spPr>
              <a:solidFill>
                <a:srgbClr val="AEABAB"/>
              </a:solidFill>
            </c:spPr>
          </c:dPt>
          <c:dPt>
            <c:idx val="2886"/>
            <c:spPr>
              <a:solidFill>
                <a:srgbClr val="AEABAB"/>
              </a:solidFill>
            </c:spPr>
          </c:dPt>
          <c:dPt>
            <c:idx val="2887"/>
            <c:spPr>
              <a:solidFill>
                <a:srgbClr val="AEABAB"/>
              </a:solidFill>
            </c:spPr>
          </c:dPt>
          <c:dPt>
            <c:idx val="2888"/>
            <c:spPr>
              <a:solidFill>
                <a:srgbClr val="AEABAB"/>
              </a:solidFill>
            </c:spPr>
          </c:dPt>
          <c:dPt>
            <c:idx val="2889"/>
            <c:spPr>
              <a:solidFill>
                <a:srgbClr val="AEABAB"/>
              </a:solidFill>
            </c:spPr>
          </c:dPt>
          <c:dPt>
            <c:idx val="2890"/>
            <c:spPr>
              <a:solidFill>
                <a:srgbClr val="AEABAB"/>
              </a:solidFill>
            </c:spPr>
          </c:dPt>
          <c:dPt>
            <c:idx val="2891"/>
            <c:spPr>
              <a:solidFill>
                <a:srgbClr val="AEABAB"/>
              </a:solidFill>
            </c:spPr>
          </c:dPt>
          <c:dPt>
            <c:idx val="2892"/>
            <c:spPr>
              <a:solidFill>
                <a:srgbClr val="AEABAB"/>
              </a:solidFill>
            </c:spPr>
          </c:dPt>
          <c:dPt>
            <c:idx val="2893"/>
            <c:spPr>
              <a:solidFill>
                <a:srgbClr val="AEABAB"/>
              </a:solidFill>
            </c:spPr>
          </c:dPt>
          <c:dPt>
            <c:idx val="2894"/>
            <c:spPr>
              <a:solidFill>
                <a:srgbClr val="AEABAB"/>
              </a:solidFill>
            </c:spPr>
          </c:dPt>
          <c:dPt>
            <c:idx val="2895"/>
            <c:spPr>
              <a:solidFill>
                <a:srgbClr val="AEABAB"/>
              </a:solidFill>
            </c:spPr>
          </c:dPt>
          <c:dPt>
            <c:idx val="2896"/>
            <c:spPr>
              <a:solidFill>
                <a:srgbClr val="AEABAB"/>
              </a:solidFill>
            </c:spPr>
          </c:dPt>
          <c:dPt>
            <c:idx val="2897"/>
            <c:spPr>
              <a:solidFill>
                <a:srgbClr val="AEABAB"/>
              </a:solidFill>
            </c:spPr>
          </c:dPt>
          <c:dPt>
            <c:idx val="2898"/>
            <c:spPr>
              <a:solidFill>
                <a:srgbClr val="AEABAB"/>
              </a:solidFill>
            </c:spPr>
          </c:dPt>
          <c:dPt>
            <c:idx val="2899"/>
            <c:spPr>
              <a:solidFill>
                <a:srgbClr val="AEABAB"/>
              </a:solidFill>
            </c:spPr>
          </c:dPt>
          <c:dPt>
            <c:idx val="2900"/>
            <c:spPr>
              <a:solidFill>
                <a:srgbClr val="AEABAB"/>
              </a:solidFill>
            </c:spPr>
          </c:dPt>
          <c:dPt>
            <c:idx val="2901"/>
            <c:spPr>
              <a:solidFill>
                <a:srgbClr val="AEABAB"/>
              </a:solidFill>
            </c:spPr>
          </c:dPt>
          <c:dPt>
            <c:idx val="2902"/>
            <c:spPr>
              <a:solidFill>
                <a:srgbClr val="AEABAB"/>
              </a:solidFill>
            </c:spPr>
          </c:dPt>
          <c:dPt>
            <c:idx val="2903"/>
            <c:spPr>
              <a:solidFill>
                <a:srgbClr val="AEABAB"/>
              </a:solidFill>
            </c:spPr>
          </c:dPt>
          <c:dPt>
            <c:idx val="2904"/>
            <c:spPr>
              <a:solidFill>
                <a:srgbClr val="AEABAB"/>
              </a:solidFill>
            </c:spPr>
          </c:dPt>
          <c:dPt>
            <c:idx val="2905"/>
            <c:spPr>
              <a:solidFill>
                <a:srgbClr val="AEABAB"/>
              </a:solidFill>
            </c:spPr>
          </c:dPt>
          <c:dPt>
            <c:idx val="2906"/>
            <c:spPr>
              <a:solidFill>
                <a:srgbClr val="AEABAB"/>
              </a:solidFill>
            </c:spPr>
          </c:dPt>
          <c:dPt>
            <c:idx val="2907"/>
            <c:spPr>
              <a:solidFill>
                <a:srgbClr val="AEABAB"/>
              </a:solidFill>
            </c:spPr>
          </c:dPt>
          <c:dPt>
            <c:idx val="2908"/>
            <c:spPr>
              <a:solidFill>
                <a:srgbClr val="AEABAB"/>
              </a:solidFill>
            </c:spPr>
          </c:dPt>
          <c:dPt>
            <c:idx val="2909"/>
            <c:spPr>
              <a:solidFill>
                <a:srgbClr val="AEABAB"/>
              </a:solidFill>
            </c:spPr>
          </c:dPt>
          <c:dPt>
            <c:idx val="2910"/>
            <c:spPr>
              <a:solidFill>
                <a:srgbClr val="AEABAB"/>
              </a:solidFill>
            </c:spPr>
          </c:dPt>
          <c:dPt>
            <c:idx val="2911"/>
            <c:spPr>
              <a:solidFill>
                <a:srgbClr val="AEABAB"/>
              </a:solidFill>
            </c:spPr>
          </c:dPt>
          <c:dPt>
            <c:idx val="2912"/>
            <c:spPr>
              <a:solidFill>
                <a:srgbClr val="AEABAB"/>
              </a:solidFill>
            </c:spPr>
          </c:dPt>
          <c:dPt>
            <c:idx val="2913"/>
            <c:spPr>
              <a:solidFill>
                <a:srgbClr val="AEABAB"/>
              </a:solidFill>
            </c:spPr>
          </c:dPt>
          <c:dPt>
            <c:idx val="2914"/>
            <c:spPr>
              <a:solidFill>
                <a:srgbClr val="AEABAB"/>
              </a:solidFill>
            </c:spPr>
          </c:dPt>
          <c:dPt>
            <c:idx val="2915"/>
            <c:spPr>
              <a:solidFill>
                <a:srgbClr val="AEABAB"/>
              </a:solidFill>
            </c:spPr>
          </c:dPt>
          <c:dPt>
            <c:idx val="2916"/>
            <c:spPr>
              <a:solidFill>
                <a:srgbClr val="AEABAB"/>
              </a:solidFill>
            </c:spPr>
          </c:dPt>
          <c:dPt>
            <c:idx val="2917"/>
            <c:spPr>
              <a:solidFill>
                <a:srgbClr val="AEABAB"/>
              </a:solidFill>
            </c:spPr>
          </c:dPt>
          <c:dPt>
            <c:idx val="2918"/>
            <c:spPr>
              <a:solidFill>
                <a:srgbClr val="AEABAB"/>
              </a:solidFill>
            </c:spPr>
          </c:dPt>
          <c:dPt>
            <c:idx val="2919"/>
            <c:spPr>
              <a:solidFill>
                <a:srgbClr val="AEABAB"/>
              </a:solidFill>
            </c:spPr>
          </c:dPt>
          <c:dPt>
            <c:idx val="2920"/>
            <c:spPr>
              <a:solidFill>
                <a:srgbClr val="AEABAB"/>
              </a:solidFill>
            </c:spPr>
          </c:dPt>
          <c:dPt>
            <c:idx val="2921"/>
            <c:spPr>
              <a:solidFill>
                <a:srgbClr val="AEABAB"/>
              </a:solidFill>
            </c:spPr>
          </c:dPt>
          <c:dPt>
            <c:idx val="2922"/>
            <c:spPr>
              <a:solidFill>
                <a:srgbClr val="AEABAB"/>
              </a:solidFill>
            </c:spPr>
          </c:dPt>
          <c:dPt>
            <c:idx val="2923"/>
            <c:spPr>
              <a:solidFill>
                <a:srgbClr val="AEABAB"/>
              </a:solidFill>
            </c:spPr>
          </c:dPt>
          <c:dPt>
            <c:idx val="2924"/>
            <c:spPr>
              <a:solidFill>
                <a:srgbClr val="AEABAB"/>
              </a:solidFill>
            </c:spPr>
          </c:dPt>
          <c:dPt>
            <c:idx val="2925"/>
            <c:spPr>
              <a:solidFill>
                <a:srgbClr val="AEABAB"/>
              </a:solidFill>
            </c:spPr>
          </c:dPt>
          <c:dPt>
            <c:idx val="2926"/>
            <c:spPr>
              <a:solidFill>
                <a:srgbClr val="AEABAB"/>
              </a:solidFill>
            </c:spPr>
          </c:dPt>
          <c:dPt>
            <c:idx val="2927"/>
            <c:spPr>
              <a:solidFill>
                <a:srgbClr val="AEABAB"/>
              </a:solidFill>
            </c:spPr>
          </c:dPt>
          <c:dPt>
            <c:idx val="2928"/>
            <c:spPr>
              <a:solidFill>
                <a:srgbClr val="AEABAB"/>
              </a:solidFill>
            </c:spPr>
          </c:dPt>
          <c:dPt>
            <c:idx val="2929"/>
            <c:spPr>
              <a:solidFill>
                <a:srgbClr val="AEABAB"/>
              </a:solidFill>
            </c:spPr>
          </c:dPt>
          <c:dPt>
            <c:idx val="2930"/>
            <c:spPr>
              <a:solidFill>
                <a:srgbClr val="AEABAB"/>
              </a:solidFill>
            </c:spPr>
          </c:dPt>
          <c:dPt>
            <c:idx val="2931"/>
            <c:spPr>
              <a:solidFill>
                <a:srgbClr val="AEABAB"/>
              </a:solidFill>
            </c:spPr>
          </c:dPt>
          <c:dPt>
            <c:idx val="2932"/>
            <c:spPr>
              <a:solidFill>
                <a:srgbClr val="AEABAB"/>
              </a:solidFill>
            </c:spPr>
          </c:dPt>
          <c:dPt>
            <c:idx val="2933"/>
            <c:spPr>
              <a:solidFill>
                <a:srgbClr val="AEABAB"/>
              </a:solidFill>
            </c:spPr>
          </c:dPt>
          <c:dPt>
            <c:idx val="2934"/>
            <c:spPr>
              <a:solidFill>
                <a:srgbClr val="AEABAB"/>
              </a:solidFill>
            </c:spPr>
          </c:dPt>
          <c:dPt>
            <c:idx val="2935"/>
            <c:spPr>
              <a:solidFill>
                <a:srgbClr val="AEABAB"/>
              </a:solidFill>
            </c:spPr>
          </c:dPt>
          <c:dPt>
            <c:idx val="2936"/>
            <c:spPr>
              <a:solidFill>
                <a:srgbClr val="AEABAB"/>
              </a:solidFill>
            </c:spPr>
          </c:dPt>
          <c:dPt>
            <c:idx val="2937"/>
            <c:spPr>
              <a:solidFill>
                <a:srgbClr val="AEABAB"/>
              </a:solidFill>
            </c:spPr>
          </c:dPt>
          <c:dPt>
            <c:idx val="2938"/>
            <c:spPr>
              <a:solidFill>
                <a:srgbClr val="AEABAB"/>
              </a:solidFill>
            </c:spPr>
          </c:dPt>
          <c:dPt>
            <c:idx val="2939"/>
            <c:spPr>
              <a:solidFill>
                <a:srgbClr val="AEABAB"/>
              </a:solidFill>
            </c:spPr>
          </c:dPt>
          <c:dPt>
            <c:idx val="2940"/>
            <c:spPr>
              <a:solidFill>
                <a:srgbClr val="AEABAB"/>
              </a:solidFill>
            </c:spPr>
          </c:dPt>
          <c:dPt>
            <c:idx val="2941"/>
            <c:spPr>
              <a:solidFill>
                <a:srgbClr val="AEABAB"/>
              </a:solidFill>
            </c:spPr>
          </c:dPt>
          <c:dPt>
            <c:idx val="2942"/>
            <c:spPr>
              <a:solidFill>
                <a:srgbClr val="AEABAB"/>
              </a:solidFill>
            </c:spPr>
          </c:dPt>
          <c:dPt>
            <c:idx val="2943"/>
            <c:spPr>
              <a:solidFill>
                <a:srgbClr val="AEABAB"/>
              </a:solidFill>
            </c:spPr>
          </c:dPt>
          <c:dPt>
            <c:idx val="2944"/>
            <c:spPr>
              <a:solidFill>
                <a:srgbClr val="AEABAB"/>
              </a:solidFill>
            </c:spPr>
          </c:dPt>
          <c:dPt>
            <c:idx val="2945"/>
            <c:spPr>
              <a:solidFill>
                <a:srgbClr val="AEABAB"/>
              </a:solidFill>
            </c:spPr>
          </c:dPt>
          <c:dPt>
            <c:idx val="2946"/>
            <c:spPr>
              <a:solidFill>
                <a:srgbClr val="AEABAB"/>
              </a:solidFill>
            </c:spPr>
          </c:dPt>
          <c:dPt>
            <c:idx val="2947"/>
            <c:spPr>
              <a:solidFill>
                <a:srgbClr val="AEABAB"/>
              </a:solidFill>
            </c:spPr>
          </c:dPt>
          <c:dPt>
            <c:idx val="2948"/>
            <c:spPr>
              <a:solidFill>
                <a:srgbClr val="AEABAB"/>
              </a:solidFill>
            </c:spPr>
          </c:dPt>
          <c:dPt>
            <c:idx val="2949"/>
            <c:spPr>
              <a:solidFill>
                <a:srgbClr val="AEABAB"/>
              </a:solidFill>
            </c:spPr>
          </c:dPt>
          <c:dPt>
            <c:idx val="2950"/>
            <c:spPr>
              <a:solidFill>
                <a:srgbClr val="AEABAB"/>
              </a:solidFill>
            </c:spPr>
          </c:dPt>
          <c:dPt>
            <c:idx val="2951"/>
            <c:spPr>
              <a:solidFill>
                <a:srgbClr val="AEABAB"/>
              </a:solidFill>
            </c:spPr>
          </c:dPt>
          <c:dPt>
            <c:idx val="2952"/>
            <c:spPr>
              <a:solidFill>
                <a:srgbClr val="AEABAB"/>
              </a:solidFill>
            </c:spPr>
          </c:dPt>
          <c:dPt>
            <c:idx val="2953"/>
            <c:spPr>
              <a:solidFill>
                <a:srgbClr val="AEABAB"/>
              </a:solidFill>
            </c:spPr>
          </c:dPt>
          <c:dPt>
            <c:idx val="2954"/>
            <c:spPr>
              <a:solidFill>
                <a:srgbClr val="AEABAB"/>
              </a:solidFill>
            </c:spPr>
          </c:dPt>
          <c:dPt>
            <c:idx val="2955"/>
            <c:spPr>
              <a:solidFill>
                <a:srgbClr val="AEABAB"/>
              </a:solidFill>
            </c:spPr>
          </c:dPt>
          <c:dPt>
            <c:idx val="2956"/>
            <c:spPr>
              <a:solidFill>
                <a:srgbClr val="AEABAB"/>
              </a:solidFill>
            </c:spPr>
          </c:dPt>
          <c:dPt>
            <c:idx val="2957"/>
            <c:spPr>
              <a:solidFill>
                <a:srgbClr val="AEABAB"/>
              </a:solidFill>
            </c:spPr>
          </c:dPt>
          <c:dPt>
            <c:idx val="2958"/>
            <c:spPr>
              <a:solidFill>
                <a:srgbClr val="AEABAB"/>
              </a:solidFill>
            </c:spPr>
          </c:dPt>
          <c:dPt>
            <c:idx val="2959"/>
            <c:spPr>
              <a:solidFill>
                <a:srgbClr val="AEABAB"/>
              </a:solidFill>
            </c:spPr>
          </c:dPt>
          <c:dPt>
            <c:idx val="2960"/>
            <c:spPr>
              <a:solidFill>
                <a:srgbClr val="AEABAB"/>
              </a:solidFill>
            </c:spPr>
          </c:dPt>
          <c:dPt>
            <c:idx val="2961"/>
            <c:spPr>
              <a:solidFill>
                <a:srgbClr val="AEABAB"/>
              </a:solidFill>
            </c:spPr>
          </c:dPt>
          <c:dPt>
            <c:idx val="2962"/>
            <c:spPr>
              <a:solidFill>
                <a:srgbClr val="AEABAB"/>
              </a:solidFill>
            </c:spPr>
          </c:dPt>
          <c:dPt>
            <c:idx val="2963"/>
            <c:spPr>
              <a:solidFill>
                <a:srgbClr val="AEABAB"/>
              </a:solidFill>
            </c:spPr>
          </c:dPt>
          <c:dPt>
            <c:idx val="2964"/>
            <c:spPr>
              <a:solidFill>
                <a:srgbClr val="AEABAB"/>
              </a:solidFill>
            </c:spPr>
          </c:dPt>
          <c:dPt>
            <c:idx val="2965"/>
            <c:spPr>
              <a:solidFill>
                <a:srgbClr val="AEABAB"/>
              </a:solidFill>
            </c:spPr>
          </c:dPt>
          <c:dPt>
            <c:idx val="2966"/>
            <c:spPr>
              <a:solidFill>
                <a:srgbClr val="AEABAB"/>
              </a:solidFill>
            </c:spPr>
          </c:dPt>
          <c:dPt>
            <c:idx val="2967"/>
            <c:spPr>
              <a:solidFill>
                <a:srgbClr val="AEABAB"/>
              </a:solidFill>
            </c:spPr>
          </c:dPt>
          <c:dPt>
            <c:idx val="2968"/>
            <c:spPr>
              <a:solidFill>
                <a:srgbClr val="AEABAB"/>
              </a:solidFill>
            </c:spPr>
          </c:dPt>
          <c:dPt>
            <c:idx val="2969"/>
            <c:spPr>
              <a:solidFill>
                <a:srgbClr val="AEABAB"/>
              </a:solidFill>
            </c:spPr>
          </c:dPt>
          <c:dPt>
            <c:idx val="2970"/>
            <c:spPr>
              <a:solidFill>
                <a:srgbClr val="AEABAB"/>
              </a:solidFill>
            </c:spPr>
          </c:dPt>
          <c:dPt>
            <c:idx val="2971"/>
            <c:spPr>
              <a:solidFill>
                <a:srgbClr val="AEABAB"/>
              </a:solidFill>
            </c:spPr>
          </c:dPt>
          <c:dPt>
            <c:idx val="2972"/>
            <c:spPr>
              <a:solidFill>
                <a:srgbClr val="AEABAB"/>
              </a:solidFill>
            </c:spPr>
          </c:dPt>
          <c:dPt>
            <c:idx val="2973"/>
            <c:spPr>
              <a:solidFill>
                <a:srgbClr val="AEABAB"/>
              </a:solidFill>
            </c:spPr>
          </c:dPt>
          <c:dPt>
            <c:idx val="2974"/>
            <c:spPr>
              <a:solidFill>
                <a:srgbClr val="AEABAB"/>
              </a:solidFill>
            </c:spPr>
          </c:dPt>
          <c:dPt>
            <c:idx val="2975"/>
            <c:spPr>
              <a:solidFill>
                <a:srgbClr val="AEABAB"/>
              </a:solidFill>
            </c:spPr>
          </c:dPt>
          <c:dPt>
            <c:idx val="2976"/>
            <c:spPr>
              <a:solidFill>
                <a:srgbClr val="AEABAB"/>
              </a:solidFill>
            </c:spPr>
          </c:dPt>
          <c:dPt>
            <c:idx val="2977"/>
            <c:spPr>
              <a:solidFill>
                <a:srgbClr val="AEABAB"/>
              </a:solidFill>
            </c:spPr>
          </c:dPt>
          <c:dPt>
            <c:idx val="2978"/>
            <c:spPr>
              <a:solidFill>
                <a:srgbClr val="AEABAB"/>
              </a:solidFill>
            </c:spPr>
          </c:dPt>
          <c:dPt>
            <c:idx val="2979"/>
            <c:spPr>
              <a:solidFill>
                <a:srgbClr val="AEABAB"/>
              </a:solidFill>
            </c:spPr>
          </c:dPt>
          <c:dPt>
            <c:idx val="2980"/>
            <c:spPr>
              <a:solidFill>
                <a:srgbClr val="AEABAB"/>
              </a:solidFill>
            </c:spPr>
          </c:dPt>
          <c:dPt>
            <c:idx val="2981"/>
            <c:spPr>
              <a:solidFill>
                <a:srgbClr val="AEABAB"/>
              </a:solidFill>
            </c:spPr>
          </c:dPt>
          <c:dPt>
            <c:idx val="2982"/>
            <c:spPr>
              <a:solidFill>
                <a:srgbClr val="AEABAB"/>
              </a:solidFill>
            </c:spPr>
          </c:dPt>
          <c:dPt>
            <c:idx val="2983"/>
            <c:spPr>
              <a:solidFill>
                <a:srgbClr val="AEABAB"/>
              </a:solidFill>
            </c:spPr>
          </c:dPt>
          <c:dPt>
            <c:idx val="2984"/>
            <c:spPr>
              <a:solidFill>
                <a:srgbClr val="AEABAB"/>
              </a:solidFill>
            </c:spPr>
          </c:dPt>
          <c:dPt>
            <c:idx val="2985"/>
            <c:spPr>
              <a:solidFill>
                <a:srgbClr val="AEABAB"/>
              </a:solidFill>
            </c:spPr>
          </c:dPt>
          <c:dPt>
            <c:idx val="2986"/>
            <c:spPr>
              <a:solidFill>
                <a:srgbClr val="AEABAB"/>
              </a:solidFill>
            </c:spPr>
          </c:dPt>
          <c:dPt>
            <c:idx val="2987"/>
            <c:spPr>
              <a:solidFill>
                <a:srgbClr val="AEABAB"/>
              </a:solidFill>
            </c:spPr>
          </c:dPt>
          <c:dPt>
            <c:idx val="2988"/>
            <c:spPr>
              <a:solidFill>
                <a:srgbClr val="AEABAB"/>
              </a:solidFill>
            </c:spPr>
          </c:dPt>
          <c:dPt>
            <c:idx val="2989"/>
            <c:spPr>
              <a:solidFill>
                <a:srgbClr val="AEABAB"/>
              </a:solidFill>
            </c:spPr>
          </c:dPt>
          <c:dPt>
            <c:idx val="2990"/>
            <c:spPr>
              <a:solidFill>
                <a:srgbClr val="AEABAB"/>
              </a:solidFill>
            </c:spPr>
          </c:dPt>
          <c:dPt>
            <c:idx val="2991"/>
            <c:spPr>
              <a:solidFill>
                <a:srgbClr val="AEABAB"/>
              </a:solidFill>
            </c:spPr>
          </c:dPt>
          <c:dPt>
            <c:idx val="2992"/>
            <c:spPr>
              <a:solidFill>
                <a:srgbClr val="AEABAB"/>
              </a:solidFill>
            </c:spPr>
          </c:dPt>
          <c:dPt>
            <c:idx val="2993"/>
            <c:spPr>
              <a:solidFill>
                <a:srgbClr val="AEABAB"/>
              </a:solidFill>
            </c:spPr>
          </c:dPt>
          <c:dPt>
            <c:idx val="2994"/>
            <c:spPr>
              <a:solidFill>
                <a:srgbClr val="AEABAB"/>
              </a:solidFill>
            </c:spPr>
          </c:dPt>
          <c:dPt>
            <c:idx val="2995"/>
            <c:spPr>
              <a:solidFill>
                <a:srgbClr val="AEABAB"/>
              </a:solidFill>
            </c:spPr>
          </c:dPt>
          <c:dPt>
            <c:idx val="2996"/>
            <c:spPr>
              <a:solidFill>
                <a:srgbClr val="AEABAB"/>
              </a:solidFill>
            </c:spPr>
          </c:dPt>
          <c:dPt>
            <c:idx val="2997"/>
            <c:spPr>
              <a:solidFill>
                <a:srgbClr val="AEABAB"/>
              </a:solidFill>
            </c:spPr>
          </c:dPt>
          <c:dPt>
            <c:idx val="2998"/>
            <c:spPr>
              <a:solidFill>
                <a:srgbClr val="AEABAB"/>
              </a:solidFill>
            </c:spPr>
          </c:dPt>
          <c:dPt>
            <c:idx val="2999"/>
            <c:spPr>
              <a:solidFill>
                <a:srgbClr val="AEABAB"/>
              </a:solidFill>
            </c:spPr>
          </c:dPt>
          <c:dPt>
            <c:idx val="3000"/>
            <c:spPr>
              <a:solidFill>
                <a:srgbClr val="AEABAB"/>
              </a:solidFill>
            </c:spPr>
          </c:dPt>
          <c:dPt>
            <c:idx val="3001"/>
            <c:spPr>
              <a:solidFill>
                <a:srgbClr val="AEABAB"/>
              </a:solidFill>
            </c:spPr>
          </c:dPt>
          <c:dPt>
            <c:idx val="3002"/>
            <c:spPr>
              <a:solidFill>
                <a:srgbClr val="AEABAB"/>
              </a:solidFill>
            </c:spPr>
          </c:dPt>
          <c:dPt>
            <c:idx val="3003"/>
            <c:spPr>
              <a:solidFill>
                <a:srgbClr val="AEABAB"/>
              </a:solidFill>
            </c:spPr>
          </c:dPt>
          <c:dPt>
            <c:idx val="3004"/>
            <c:spPr>
              <a:solidFill>
                <a:srgbClr val="AEABAB"/>
              </a:solidFill>
            </c:spPr>
          </c:dPt>
          <c:dPt>
            <c:idx val="3005"/>
            <c:spPr>
              <a:solidFill>
                <a:srgbClr val="AEABAB"/>
              </a:solidFill>
            </c:spPr>
          </c:dPt>
          <c:dPt>
            <c:idx val="3006"/>
            <c:spPr>
              <a:solidFill>
                <a:srgbClr val="AEABAB"/>
              </a:solidFill>
            </c:spPr>
          </c:dPt>
          <c:dPt>
            <c:idx val="3007"/>
            <c:spPr>
              <a:solidFill>
                <a:srgbClr val="AEABAB"/>
              </a:solidFill>
            </c:spPr>
          </c:dPt>
          <c:dPt>
            <c:idx val="3008"/>
            <c:spPr>
              <a:solidFill>
                <a:srgbClr val="AEABAB"/>
              </a:solidFill>
            </c:spPr>
          </c:dPt>
          <c:dPt>
            <c:idx val="3009"/>
            <c:spPr>
              <a:solidFill>
                <a:srgbClr val="AEABAB"/>
              </a:solidFill>
            </c:spPr>
          </c:dPt>
          <c:dPt>
            <c:idx val="3010"/>
            <c:spPr>
              <a:solidFill>
                <a:srgbClr val="AEABAB"/>
              </a:solidFill>
            </c:spPr>
          </c:dPt>
          <c:dPt>
            <c:idx val="3011"/>
            <c:spPr>
              <a:solidFill>
                <a:srgbClr val="AEABAB"/>
              </a:solidFill>
            </c:spPr>
          </c:dPt>
          <c:dPt>
            <c:idx val="3012"/>
            <c:spPr>
              <a:solidFill>
                <a:srgbClr val="AEABAB"/>
              </a:solidFill>
            </c:spPr>
          </c:dPt>
          <c:dPt>
            <c:idx val="3013"/>
            <c:spPr>
              <a:solidFill>
                <a:srgbClr val="AEABAB"/>
              </a:solidFill>
            </c:spPr>
          </c:dPt>
          <c:dPt>
            <c:idx val="3014"/>
            <c:spPr>
              <a:solidFill>
                <a:srgbClr val="AEABAB"/>
              </a:solidFill>
            </c:spPr>
          </c:dPt>
          <c:dPt>
            <c:idx val="3015"/>
            <c:spPr>
              <a:solidFill>
                <a:srgbClr val="AEABAB"/>
              </a:solidFill>
            </c:spPr>
          </c:dPt>
          <c:dPt>
            <c:idx val="3016"/>
            <c:spPr>
              <a:solidFill>
                <a:srgbClr val="AEABAB"/>
              </a:solidFill>
            </c:spPr>
          </c:dPt>
          <c:dPt>
            <c:idx val="3017"/>
            <c:spPr>
              <a:solidFill>
                <a:srgbClr val="AEABAB"/>
              </a:solidFill>
            </c:spPr>
          </c:dPt>
          <c:dPt>
            <c:idx val="3018"/>
            <c:spPr>
              <a:solidFill>
                <a:srgbClr val="AEABAB"/>
              </a:solidFill>
            </c:spPr>
          </c:dPt>
          <c:dPt>
            <c:idx val="3019"/>
            <c:spPr>
              <a:solidFill>
                <a:srgbClr val="AEABAB"/>
              </a:solidFill>
            </c:spPr>
          </c:dPt>
          <c:dPt>
            <c:idx val="3020"/>
            <c:spPr>
              <a:solidFill>
                <a:srgbClr val="AEABAB"/>
              </a:solidFill>
            </c:spPr>
          </c:dPt>
          <c:dPt>
            <c:idx val="3021"/>
            <c:spPr>
              <a:solidFill>
                <a:srgbClr val="AEABAB"/>
              </a:solidFill>
            </c:spPr>
          </c:dPt>
          <c:dPt>
            <c:idx val="3022"/>
            <c:spPr>
              <a:solidFill>
                <a:srgbClr val="AEABAB"/>
              </a:solidFill>
            </c:spPr>
          </c:dPt>
          <c:dPt>
            <c:idx val="3023"/>
            <c:spPr>
              <a:solidFill>
                <a:srgbClr val="AEABAB"/>
              </a:solidFill>
            </c:spPr>
          </c:dPt>
          <c:dPt>
            <c:idx val="3024"/>
            <c:spPr>
              <a:solidFill>
                <a:srgbClr val="AEABAB"/>
              </a:solidFill>
            </c:spPr>
          </c:dPt>
          <c:dPt>
            <c:idx val="3025"/>
            <c:spPr>
              <a:solidFill>
                <a:srgbClr val="AEABAB"/>
              </a:solidFill>
            </c:spPr>
          </c:dPt>
          <c:dPt>
            <c:idx val="3026"/>
            <c:spPr>
              <a:solidFill>
                <a:srgbClr val="AEABAB"/>
              </a:solidFill>
            </c:spPr>
          </c:dPt>
          <c:dPt>
            <c:idx val="3027"/>
            <c:spPr>
              <a:solidFill>
                <a:srgbClr val="AEABAB"/>
              </a:solidFill>
            </c:spPr>
          </c:dPt>
          <c:dPt>
            <c:idx val="3028"/>
            <c:spPr>
              <a:solidFill>
                <a:srgbClr val="AEABAB"/>
              </a:solidFill>
            </c:spPr>
          </c:dPt>
          <c:dPt>
            <c:idx val="3029"/>
            <c:spPr>
              <a:solidFill>
                <a:srgbClr val="AEABAB"/>
              </a:solidFill>
            </c:spPr>
          </c:dPt>
          <c:dPt>
            <c:idx val="3030"/>
            <c:spPr>
              <a:solidFill>
                <a:srgbClr val="AEABAB"/>
              </a:solidFill>
            </c:spPr>
          </c:dPt>
          <c:dPt>
            <c:idx val="3031"/>
            <c:spPr>
              <a:solidFill>
                <a:srgbClr val="AEABAB"/>
              </a:solidFill>
            </c:spPr>
          </c:dPt>
          <c:dPt>
            <c:idx val="3032"/>
            <c:spPr>
              <a:solidFill>
                <a:srgbClr val="AEABAB"/>
              </a:solidFill>
            </c:spPr>
          </c:dPt>
          <c:dPt>
            <c:idx val="3033"/>
            <c:spPr>
              <a:solidFill>
                <a:srgbClr val="AEABAB"/>
              </a:solidFill>
            </c:spPr>
          </c:dPt>
          <c:dPt>
            <c:idx val="3034"/>
            <c:spPr>
              <a:solidFill>
                <a:srgbClr val="AEABAB"/>
              </a:solidFill>
            </c:spPr>
          </c:dPt>
          <c:dPt>
            <c:idx val="3035"/>
            <c:spPr>
              <a:solidFill>
                <a:srgbClr val="AEABAB"/>
              </a:solidFill>
            </c:spPr>
          </c:dPt>
          <c:dPt>
            <c:idx val="3036"/>
            <c:spPr>
              <a:solidFill>
                <a:srgbClr val="AEABAB"/>
              </a:solidFill>
            </c:spPr>
          </c:dPt>
          <c:dPt>
            <c:idx val="3037"/>
            <c:spPr>
              <a:solidFill>
                <a:srgbClr val="AEABAB"/>
              </a:solidFill>
            </c:spPr>
          </c:dPt>
          <c:dPt>
            <c:idx val="3038"/>
            <c:spPr>
              <a:solidFill>
                <a:srgbClr val="AEABAB"/>
              </a:solidFill>
            </c:spPr>
          </c:dPt>
          <c:dPt>
            <c:idx val="3039"/>
            <c:spPr>
              <a:solidFill>
                <a:srgbClr val="AEABAB"/>
              </a:solidFill>
            </c:spPr>
          </c:dPt>
          <c:dPt>
            <c:idx val="3040"/>
            <c:spPr>
              <a:solidFill>
                <a:srgbClr val="AEABAB"/>
              </a:solidFill>
            </c:spPr>
          </c:dPt>
          <c:dPt>
            <c:idx val="3041"/>
            <c:spPr>
              <a:solidFill>
                <a:srgbClr val="AEABAB"/>
              </a:solidFill>
            </c:spPr>
          </c:dPt>
          <c:dPt>
            <c:idx val="3042"/>
            <c:spPr>
              <a:solidFill>
                <a:srgbClr val="AEABAB"/>
              </a:solidFill>
            </c:spPr>
          </c:dPt>
          <c:dPt>
            <c:idx val="3043"/>
            <c:spPr>
              <a:solidFill>
                <a:srgbClr val="AEABAB"/>
              </a:solidFill>
            </c:spPr>
          </c:dPt>
          <c:dPt>
            <c:idx val="3044"/>
            <c:spPr>
              <a:solidFill>
                <a:srgbClr val="AEABAB"/>
              </a:solidFill>
            </c:spPr>
          </c:dPt>
          <c:dPt>
            <c:idx val="3045"/>
            <c:spPr>
              <a:solidFill>
                <a:srgbClr val="AEABAB"/>
              </a:solidFill>
            </c:spPr>
          </c:dPt>
          <c:dPt>
            <c:idx val="3046"/>
            <c:spPr>
              <a:solidFill>
                <a:srgbClr val="AEABAB"/>
              </a:solidFill>
            </c:spPr>
          </c:dPt>
          <c:dPt>
            <c:idx val="3047"/>
            <c:spPr>
              <a:solidFill>
                <a:srgbClr val="AEABAB"/>
              </a:solidFill>
            </c:spPr>
          </c:dPt>
          <c:dPt>
            <c:idx val="3048"/>
            <c:spPr>
              <a:solidFill>
                <a:srgbClr val="AEABAB"/>
              </a:solidFill>
            </c:spPr>
          </c:dPt>
          <c:dPt>
            <c:idx val="3049"/>
            <c:spPr>
              <a:solidFill>
                <a:srgbClr val="AEABAB"/>
              </a:solidFill>
            </c:spPr>
          </c:dPt>
          <c:dPt>
            <c:idx val="3050"/>
            <c:spPr>
              <a:solidFill>
                <a:srgbClr val="AEABAB"/>
              </a:solidFill>
            </c:spPr>
          </c:dPt>
          <c:dPt>
            <c:idx val="3051"/>
            <c:spPr>
              <a:solidFill>
                <a:srgbClr val="AEABAB"/>
              </a:solidFill>
            </c:spPr>
          </c:dPt>
          <c:dPt>
            <c:idx val="3052"/>
            <c:spPr>
              <a:solidFill>
                <a:srgbClr val="AEABAB"/>
              </a:solidFill>
            </c:spPr>
          </c:dPt>
          <c:dPt>
            <c:idx val="3053"/>
            <c:spPr>
              <a:solidFill>
                <a:srgbClr val="AEABAB"/>
              </a:solidFill>
            </c:spPr>
          </c:dPt>
          <c:dPt>
            <c:idx val="3054"/>
            <c:spPr>
              <a:solidFill>
                <a:srgbClr val="AEABAB"/>
              </a:solidFill>
            </c:spPr>
          </c:dPt>
          <c:dPt>
            <c:idx val="3055"/>
            <c:spPr>
              <a:solidFill>
                <a:srgbClr val="AEABAB"/>
              </a:solidFill>
            </c:spPr>
          </c:dPt>
          <c:dPt>
            <c:idx val="3056"/>
            <c:spPr>
              <a:solidFill>
                <a:srgbClr val="AEABAB"/>
              </a:solidFill>
            </c:spPr>
          </c:dPt>
          <c:dPt>
            <c:idx val="3057"/>
            <c:spPr>
              <a:solidFill>
                <a:srgbClr val="AEABAB"/>
              </a:solidFill>
            </c:spPr>
          </c:dPt>
          <c:dPt>
            <c:idx val="3058"/>
            <c:spPr>
              <a:solidFill>
                <a:srgbClr val="AEABAB"/>
              </a:solidFill>
            </c:spPr>
          </c:dPt>
          <c:dPt>
            <c:idx val="3059"/>
            <c:spPr>
              <a:solidFill>
                <a:srgbClr val="AEABAB"/>
              </a:solidFill>
            </c:spPr>
          </c:dPt>
          <c:dPt>
            <c:idx val="3060"/>
            <c:spPr>
              <a:solidFill>
                <a:srgbClr val="AEABAB"/>
              </a:solidFill>
            </c:spPr>
          </c:dPt>
          <c:dPt>
            <c:idx val="3061"/>
            <c:spPr>
              <a:solidFill>
                <a:srgbClr val="AEABAB"/>
              </a:solidFill>
            </c:spPr>
          </c:dPt>
          <c:dPt>
            <c:idx val="3062"/>
            <c:spPr>
              <a:solidFill>
                <a:srgbClr val="AEABAB"/>
              </a:solidFill>
            </c:spPr>
          </c:dPt>
          <c:dPt>
            <c:idx val="3063"/>
            <c:spPr>
              <a:solidFill>
                <a:srgbClr val="AEABAB"/>
              </a:solidFill>
            </c:spPr>
          </c:dPt>
          <c:dPt>
            <c:idx val="3064"/>
            <c:spPr>
              <a:solidFill>
                <a:srgbClr val="AEABAB"/>
              </a:solidFill>
            </c:spPr>
          </c:dPt>
          <c:dPt>
            <c:idx val="3065"/>
            <c:spPr>
              <a:solidFill>
                <a:srgbClr val="AEABAB"/>
              </a:solidFill>
            </c:spPr>
          </c:dPt>
          <c:dPt>
            <c:idx val="3066"/>
            <c:spPr>
              <a:solidFill>
                <a:srgbClr val="AEABAB"/>
              </a:solidFill>
            </c:spPr>
          </c:dPt>
          <c:dPt>
            <c:idx val="3067"/>
            <c:spPr>
              <a:solidFill>
                <a:srgbClr val="AEABAB"/>
              </a:solidFill>
            </c:spPr>
          </c:dPt>
          <c:dPt>
            <c:idx val="3068"/>
            <c:spPr>
              <a:solidFill>
                <a:srgbClr val="AEABAB"/>
              </a:solidFill>
            </c:spPr>
          </c:dPt>
          <c:dPt>
            <c:idx val="3069"/>
            <c:spPr>
              <a:solidFill>
                <a:srgbClr val="AEABAB"/>
              </a:solidFill>
            </c:spPr>
          </c:dPt>
          <c:dPt>
            <c:idx val="3070"/>
            <c:spPr>
              <a:solidFill>
                <a:srgbClr val="AEABAB"/>
              </a:solidFill>
            </c:spPr>
          </c:dPt>
          <c:dPt>
            <c:idx val="3071"/>
            <c:spPr>
              <a:solidFill>
                <a:srgbClr val="AEABAB"/>
              </a:solidFill>
            </c:spPr>
          </c:dPt>
          <c:dPt>
            <c:idx val="3072"/>
            <c:spPr>
              <a:solidFill>
                <a:srgbClr val="AEABAB"/>
              </a:solidFill>
            </c:spPr>
          </c:dPt>
          <c:dPt>
            <c:idx val="3073"/>
            <c:spPr>
              <a:solidFill>
                <a:srgbClr val="AEABAB"/>
              </a:solidFill>
            </c:spPr>
          </c:dPt>
          <c:dPt>
            <c:idx val="3074"/>
            <c:spPr>
              <a:solidFill>
                <a:srgbClr val="AEABAB"/>
              </a:solidFill>
            </c:spPr>
          </c:dPt>
          <c:dPt>
            <c:idx val="3075"/>
            <c:spPr>
              <a:solidFill>
                <a:srgbClr val="AEABAB"/>
              </a:solidFill>
            </c:spPr>
          </c:dPt>
          <c:dPt>
            <c:idx val="3076"/>
            <c:spPr>
              <a:solidFill>
                <a:srgbClr val="AEABAB"/>
              </a:solidFill>
            </c:spPr>
          </c:dPt>
          <c:dPt>
            <c:idx val="3077"/>
            <c:spPr>
              <a:solidFill>
                <a:srgbClr val="AEABAB"/>
              </a:solidFill>
            </c:spPr>
          </c:dPt>
          <c:dPt>
            <c:idx val="3078"/>
            <c:spPr>
              <a:solidFill>
                <a:srgbClr val="AEABAB"/>
              </a:solidFill>
            </c:spPr>
          </c:dPt>
          <c:dPt>
            <c:idx val="3079"/>
            <c:spPr>
              <a:solidFill>
                <a:srgbClr val="AEABAB"/>
              </a:solidFill>
            </c:spPr>
          </c:dPt>
          <c:dPt>
            <c:idx val="3080"/>
            <c:spPr>
              <a:solidFill>
                <a:srgbClr val="AEABAB"/>
              </a:solidFill>
            </c:spPr>
          </c:dPt>
          <c:dPt>
            <c:idx val="3081"/>
            <c:spPr>
              <a:solidFill>
                <a:srgbClr val="AEABAB"/>
              </a:solidFill>
            </c:spPr>
          </c:dPt>
          <c:dPt>
            <c:idx val="3082"/>
            <c:spPr>
              <a:solidFill>
                <a:srgbClr val="AEABAB"/>
              </a:solidFill>
            </c:spPr>
          </c:dPt>
          <c:dPt>
            <c:idx val="3083"/>
            <c:spPr>
              <a:solidFill>
                <a:srgbClr val="AEABAB"/>
              </a:solidFill>
            </c:spPr>
          </c:dPt>
          <c:dPt>
            <c:idx val="3084"/>
            <c:spPr>
              <a:solidFill>
                <a:srgbClr val="AEABAB"/>
              </a:solidFill>
            </c:spPr>
          </c:dPt>
          <c:dPt>
            <c:idx val="3085"/>
            <c:spPr>
              <a:solidFill>
                <a:srgbClr val="AEABAB"/>
              </a:solidFill>
            </c:spPr>
          </c:dPt>
          <c:dPt>
            <c:idx val="3086"/>
            <c:spPr>
              <a:solidFill>
                <a:srgbClr val="AEABAB"/>
              </a:solidFill>
            </c:spPr>
          </c:dPt>
          <c:dPt>
            <c:idx val="3087"/>
            <c:spPr>
              <a:solidFill>
                <a:srgbClr val="AEABAB"/>
              </a:solidFill>
            </c:spPr>
          </c:dPt>
          <c:dPt>
            <c:idx val="3088"/>
            <c:spPr>
              <a:solidFill>
                <a:srgbClr val="AEABAB"/>
              </a:solidFill>
            </c:spPr>
          </c:dPt>
          <c:dPt>
            <c:idx val="3089"/>
            <c:spPr>
              <a:solidFill>
                <a:srgbClr val="AEABAB"/>
              </a:solidFill>
            </c:spPr>
          </c:dPt>
          <c:dPt>
            <c:idx val="3090"/>
            <c:spPr>
              <a:solidFill>
                <a:srgbClr val="AEABAB"/>
              </a:solidFill>
            </c:spPr>
          </c:dPt>
          <c:dPt>
            <c:idx val="3091"/>
            <c:spPr>
              <a:solidFill>
                <a:srgbClr val="AEABAB"/>
              </a:solidFill>
            </c:spPr>
          </c:dPt>
          <c:dPt>
            <c:idx val="3092"/>
            <c:spPr>
              <a:solidFill>
                <a:srgbClr val="AEABAB"/>
              </a:solidFill>
            </c:spPr>
          </c:dPt>
          <c:dPt>
            <c:idx val="3093"/>
            <c:spPr>
              <a:solidFill>
                <a:srgbClr val="AEABAB"/>
              </a:solidFill>
            </c:spPr>
          </c:dPt>
          <c:dPt>
            <c:idx val="3094"/>
            <c:spPr>
              <a:solidFill>
                <a:srgbClr val="AEABAB"/>
              </a:solidFill>
            </c:spPr>
          </c:dPt>
          <c:dPt>
            <c:idx val="3095"/>
            <c:spPr>
              <a:solidFill>
                <a:srgbClr val="AEABAB"/>
              </a:solidFill>
            </c:spPr>
          </c:dPt>
          <c:dPt>
            <c:idx val="3096"/>
            <c:spPr>
              <a:solidFill>
                <a:srgbClr val="AEABAB"/>
              </a:solidFill>
            </c:spPr>
          </c:dPt>
          <c:dPt>
            <c:idx val="3097"/>
            <c:spPr>
              <a:solidFill>
                <a:srgbClr val="AEABAB"/>
              </a:solidFill>
            </c:spPr>
          </c:dPt>
          <c:dPt>
            <c:idx val="3098"/>
            <c:spPr>
              <a:solidFill>
                <a:srgbClr val="AEABAB"/>
              </a:solidFill>
            </c:spPr>
          </c:dPt>
          <c:dPt>
            <c:idx val="3099"/>
            <c:spPr>
              <a:solidFill>
                <a:srgbClr val="AEABAB"/>
              </a:solidFill>
            </c:spPr>
          </c:dPt>
          <c:dPt>
            <c:idx val="3100"/>
            <c:spPr>
              <a:solidFill>
                <a:srgbClr val="AEABAB"/>
              </a:solidFill>
            </c:spPr>
          </c:dPt>
          <c:dPt>
            <c:idx val="3101"/>
            <c:spPr>
              <a:solidFill>
                <a:srgbClr val="AEABAB"/>
              </a:solidFill>
            </c:spPr>
          </c:dPt>
          <c:dPt>
            <c:idx val="3102"/>
            <c:spPr>
              <a:solidFill>
                <a:srgbClr val="AEABAB"/>
              </a:solidFill>
            </c:spPr>
          </c:dPt>
          <c:dPt>
            <c:idx val="3103"/>
            <c:spPr>
              <a:solidFill>
                <a:srgbClr val="AEABAB"/>
              </a:solidFill>
            </c:spPr>
          </c:dPt>
          <c:dPt>
            <c:idx val="3104"/>
            <c:spPr>
              <a:solidFill>
                <a:srgbClr val="AEABAB"/>
              </a:solidFill>
            </c:spPr>
          </c:dPt>
          <c:dPt>
            <c:idx val="3105"/>
            <c:spPr>
              <a:solidFill>
                <a:srgbClr val="AEABAB"/>
              </a:solidFill>
            </c:spPr>
          </c:dPt>
          <c:dPt>
            <c:idx val="3106"/>
            <c:spPr>
              <a:solidFill>
                <a:srgbClr val="AEABAB"/>
              </a:solidFill>
            </c:spPr>
          </c:dPt>
          <c:dPt>
            <c:idx val="3107"/>
            <c:spPr>
              <a:solidFill>
                <a:srgbClr val="AEABAB"/>
              </a:solidFill>
            </c:spPr>
          </c:dPt>
          <c:dPt>
            <c:idx val="3108"/>
            <c:spPr>
              <a:solidFill>
                <a:srgbClr val="AEABAB"/>
              </a:solidFill>
            </c:spPr>
          </c:dPt>
          <c:dPt>
            <c:idx val="3109"/>
            <c:spPr>
              <a:solidFill>
                <a:srgbClr val="AEABAB"/>
              </a:solidFill>
            </c:spPr>
          </c:dPt>
          <c:dPt>
            <c:idx val="3110"/>
            <c:spPr>
              <a:solidFill>
                <a:srgbClr val="AEABAB"/>
              </a:solidFill>
            </c:spPr>
          </c:dPt>
          <c:dPt>
            <c:idx val="3111"/>
            <c:spPr>
              <a:solidFill>
                <a:srgbClr val="AEABAB"/>
              </a:solidFill>
            </c:spPr>
          </c:dPt>
          <c:dPt>
            <c:idx val="3112"/>
            <c:spPr>
              <a:solidFill>
                <a:srgbClr val="AEABAB"/>
              </a:solidFill>
            </c:spPr>
          </c:dPt>
          <c:dPt>
            <c:idx val="3113"/>
            <c:spPr>
              <a:solidFill>
                <a:srgbClr val="AEABAB"/>
              </a:solidFill>
            </c:spPr>
          </c:dPt>
          <c:dPt>
            <c:idx val="3114"/>
            <c:spPr>
              <a:solidFill>
                <a:srgbClr val="AEABAB"/>
              </a:solidFill>
            </c:spPr>
          </c:dPt>
          <c:dPt>
            <c:idx val="3115"/>
            <c:spPr>
              <a:solidFill>
                <a:srgbClr val="AEABAB"/>
              </a:solidFill>
            </c:spPr>
          </c:dPt>
          <c:dPt>
            <c:idx val="3116"/>
            <c:spPr>
              <a:solidFill>
                <a:srgbClr val="AEABAB"/>
              </a:solidFill>
            </c:spPr>
          </c:dPt>
          <c:dPt>
            <c:idx val="3117"/>
            <c:spPr>
              <a:solidFill>
                <a:srgbClr val="AEABAB"/>
              </a:solidFill>
            </c:spPr>
          </c:dPt>
          <c:dPt>
            <c:idx val="3118"/>
            <c:spPr>
              <a:solidFill>
                <a:srgbClr val="AEABAB"/>
              </a:solidFill>
            </c:spPr>
          </c:dPt>
          <c:dPt>
            <c:idx val="3119"/>
            <c:spPr>
              <a:solidFill>
                <a:srgbClr val="AEABAB"/>
              </a:solidFill>
            </c:spPr>
          </c:dPt>
          <c:dPt>
            <c:idx val="3120"/>
            <c:spPr>
              <a:solidFill>
                <a:srgbClr val="AEABAB"/>
              </a:solidFill>
            </c:spPr>
          </c:dPt>
          <c:dPt>
            <c:idx val="3121"/>
            <c:spPr>
              <a:solidFill>
                <a:srgbClr val="AEABAB"/>
              </a:solidFill>
            </c:spPr>
          </c:dPt>
          <c:dPt>
            <c:idx val="3122"/>
            <c:spPr>
              <a:solidFill>
                <a:srgbClr val="AEABAB"/>
              </a:solidFill>
            </c:spPr>
          </c:dPt>
          <c:dPt>
            <c:idx val="3123"/>
            <c:spPr>
              <a:solidFill>
                <a:srgbClr val="AEABAB"/>
              </a:solidFill>
            </c:spPr>
          </c:dPt>
          <c:dPt>
            <c:idx val="3124"/>
            <c:spPr>
              <a:solidFill>
                <a:srgbClr val="AEABAB"/>
              </a:solidFill>
            </c:spPr>
          </c:dPt>
          <c:dPt>
            <c:idx val="3125"/>
            <c:spPr>
              <a:solidFill>
                <a:srgbClr val="AEABAB"/>
              </a:solidFill>
            </c:spPr>
          </c:dPt>
          <c:dPt>
            <c:idx val="3126"/>
            <c:spPr>
              <a:solidFill>
                <a:srgbClr val="AEABAB"/>
              </a:solidFill>
            </c:spPr>
          </c:dPt>
          <c:dPt>
            <c:idx val="3127"/>
            <c:spPr>
              <a:solidFill>
                <a:srgbClr val="AEABAB"/>
              </a:solidFill>
            </c:spPr>
          </c:dPt>
          <c:dPt>
            <c:idx val="3128"/>
            <c:spPr>
              <a:solidFill>
                <a:srgbClr val="AEABAB"/>
              </a:solidFill>
            </c:spPr>
          </c:dPt>
          <c:dPt>
            <c:idx val="3129"/>
            <c:spPr>
              <a:solidFill>
                <a:srgbClr val="AEABAB"/>
              </a:solidFill>
            </c:spPr>
          </c:dPt>
          <c:dPt>
            <c:idx val="3130"/>
            <c:spPr>
              <a:solidFill>
                <a:srgbClr val="AEABAB"/>
              </a:solidFill>
            </c:spPr>
          </c:dPt>
          <c:dPt>
            <c:idx val="3131"/>
            <c:spPr>
              <a:solidFill>
                <a:srgbClr val="AEABAB"/>
              </a:solidFill>
            </c:spPr>
          </c:dPt>
          <c:dPt>
            <c:idx val="3132"/>
            <c:spPr>
              <a:solidFill>
                <a:srgbClr val="AEABAB"/>
              </a:solidFill>
            </c:spPr>
          </c:dPt>
          <c:dPt>
            <c:idx val="3133"/>
            <c:spPr>
              <a:solidFill>
                <a:srgbClr val="AEABAB"/>
              </a:solidFill>
            </c:spPr>
          </c:dPt>
          <c:dPt>
            <c:idx val="3134"/>
            <c:spPr>
              <a:solidFill>
                <a:srgbClr val="AEABAB"/>
              </a:solidFill>
            </c:spPr>
          </c:dPt>
          <c:dPt>
            <c:idx val="3135"/>
            <c:spPr>
              <a:solidFill>
                <a:srgbClr val="AEABAB"/>
              </a:solidFill>
            </c:spPr>
          </c:dPt>
          <c:dPt>
            <c:idx val="3136"/>
            <c:spPr>
              <a:solidFill>
                <a:srgbClr val="AEABAB"/>
              </a:solidFill>
            </c:spPr>
          </c:dPt>
          <c:dPt>
            <c:idx val="3137"/>
            <c:spPr>
              <a:solidFill>
                <a:srgbClr val="AEABAB"/>
              </a:solidFill>
            </c:spPr>
          </c:dPt>
          <c:dPt>
            <c:idx val="3138"/>
            <c:spPr>
              <a:solidFill>
                <a:srgbClr val="AEABAB"/>
              </a:solidFill>
            </c:spPr>
          </c:dPt>
          <c:dPt>
            <c:idx val="3139"/>
            <c:spPr>
              <a:solidFill>
                <a:srgbClr val="AEABAB"/>
              </a:solidFill>
            </c:spPr>
          </c:dPt>
          <c:dPt>
            <c:idx val="3140"/>
            <c:spPr>
              <a:solidFill>
                <a:srgbClr val="AEABAB"/>
              </a:solidFill>
            </c:spPr>
          </c:dPt>
          <c:dPt>
            <c:idx val="3141"/>
            <c:spPr>
              <a:solidFill>
                <a:srgbClr val="AEABAB"/>
              </a:solidFill>
            </c:spPr>
          </c:dPt>
          <c:dPt>
            <c:idx val="3142"/>
            <c:spPr>
              <a:solidFill>
                <a:srgbClr val="AEABAB"/>
              </a:solidFill>
            </c:spPr>
          </c:dPt>
          <c:dPt>
            <c:idx val="3143"/>
            <c:spPr>
              <a:solidFill>
                <a:srgbClr val="AEABAB"/>
              </a:solidFill>
            </c:spPr>
          </c:dPt>
          <c:dPt>
            <c:idx val="3144"/>
            <c:spPr>
              <a:solidFill>
                <a:srgbClr val="AEABAB"/>
              </a:solidFill>
            </c:spPr>
          </c:dPt>
          <c:dPt>
            <c:idx val="3145"/>
            <c:spPr>
              <a:solidFill>
                <a:srgbClr val="AEABAB"/>
              </a:solidFill>
            </c:spPr>
          </c:dPt>
          <c:dPt>
            <c:idx val="3146"/>
            <c:spPr>
              <a:solidFill>
                <a:srgbClr val="AEABAB"/>
              </a:solidFill>
            </c:spPr>
          </c:dPt>
          <c:dPt>
            <c:idx val="3147"/>
            <c:spPr>
              <a:solidFill>
                <a:srgbClr val="AEABAB"/>
              </a:solidFill>
            </c:spPr>
          </c:dPt>
          <c:dPt>
            <c:idx val="3148"/>
            <c:spPr>
              <a:solidFill>
                <a:srgbClr val="AEABAB"/>
              </a:solidFill>
            </c:spPr>
          </c:dPt>
          <c:dPt>
            <c:idx val="3149"/>
            <c:spPr>
              <a:solidFill>
                <a:srgbClr val="AEABAB"/>
              </a:solidFill>
            </c:spPr>
          </c:dPt>
          <c:dPt>
            <c:idx val="3150"/>
            <c:spPr>
              <a:solidFill>
                <a:srgbClr val="AEABAB"/>
              </a:solidFill>
            </c:spPr>
          </c:dPt>
          <c:dPt>
            <c:idx val="3151"/>
            <c:spPr>
              <a:solidFill>
                <a:srgbClr val="AEABAB"/>
              </a:solidFill>
            </c:spPr>
          </c:dPt>
          <c:dPt>
            <c:idx val="3152"/>
            <c:spPr>
              <a:solidFill>
                <a:srgbClr val="AEABAB"/>
              </a:solidFill>
            </c:spPr>
          </c:dPt>
          <c:dPt>
            <c:idx val="3153"/>
            <c:spPr>
              <a:solidFill>
                <a:srgbClr val="AEABAB"/>
              </a:solidFill>
            </c:spPr>
          </c:dPt>
          <c:dPt>
            <c:idx val="3154"/>
            <c:spPr>
              <a:solidFill>
                <a:srgbClr val="AEABAB"/>
              </a:solidFill>
            </c:spPr>
          </c:dPt>
          <c:dPt>
            <c:idx val="3155"/>
            <c:spPr>
              <a:solidFill>
                <a:srgbClr val="AEABAB"/>
              </a:solidFill>
            </c:spPr>
          </c:dPt>
          <c:dPt>
            <c:idx val="3156"/>
            <c:spPr>
              <a:solidFill>
                <a:srgbClr val="AEABAB"/>
              </a:solidFill>
            </c:spPr>
          </c:dPt>
          <c:dPt>
            <c:idx val="3157"/>
            <c:spPr>
              <a:solidFill>
                <a:srgbClr val="AEABAB"/>
              </a:solidFill>
            </c:spPr>
          </c:dPt>
          <c:dPt>
            <c:idx val="3158"/>
            <c:spPr>
              <a:solidFill>
                <a:srgbClr val="AEABAB"/>
              </a:solidFill>
            </c:spPr>
          </c:dPt>
          <c:dPt>
            <c:idx val="3159"/>
            <c:spPr>
              <a:solidFill>
                <a:srgbClr val="AEABAB"/>
              </a:solidFill>
            </c:spPr>
          </c:dPt>
          <c:dPt>
            <c:idx val="3160"/>
            <c:spPr>
              <a:solidFill>
                <a:srgbClr val="AEABAB"/>
              </a:solidFill>
            </c:spPr>
          </c:dPt>
          <c:dPt>
            <c:idx val="3161"/>
            <c:spPr>
              <a:solidFill>
                <a:srgbClr val="AEABAB"/>
              </a:solidFill>
            </c:spPr>
          </c:dPt>
          <c:dPt>
            <c:idx val="3162"/>
            <c:spPr>
              <a:solidFill>
                <a:srgbClr val="AEABAB"/>
              </a:solidFill>
            </c:spPr>
          </c:dPt>
          <c:dPt>
            <c:idx val="3163"/>
            <c:spPr>
              <a:solidFill>
                <a:srgbClr val="AEABAB"/>
              </a:solidFill>
            </c:spPr>
          </c:dPt>
          <c:dPt>
            <c:idx val="3164"/>
            <c:spPr>
              <a:solidFill>
                <a:srgbClr val="AEABAB"/>
              </a:solidFill>
            </c:spPr>
          </c:dPt>
          <c:dPt>
            <c:idx val="3165"/>
            <c:spPr>
              <a:solidFill>
                <a:srgbClr val="AEABAB"/>
              </a:solidFill>
            </c:spPr>
          </c:dPt>
          <c:dPt>
            <c:idx val="3166"/>
            <c:spPr>
              <a:solidFill>
                <a:srgbClr val="AEABAB"/>
              </a:solidFill>
            </c:spPr>
          </c:dPt>
          <c:dPt>
            <c:idx val="3167"/>
            <c:spPr>
              <a:solidFill>
                <a:srgbClr val="AEABAB"/>
              </a:solidFill>
            </c:spPr>
          </c:dPt>
          <c:dPt>
            <c:idx val="3168"/>
            <c:spPr>
              <a:solidFill>
                <a:srgbClr val="AEABAB"/>
              </a:solidFill>
            </c:spPr>
          </c:dPt>
          <c:dPt>
            <c:idx val="3169"/>
            <c:spPr>
              <a:solidFill>
                <a:srgbClr val="AEABAB"/>
              </a:solidFill>
            </c:spPr>
          </c:dPt>
          <c:cat>
            <c:strRef>
              <c:f>Sheet1!$A$2:$A$3171</c:f>
              <c:strCache>
                <c:ptCount val="3170"/>
                <c:pt idx="0">
                  <c:v>Caprice Des</c:v>
                </c:pt>
                <c:pt idx="1">
                  <c:v>La Vache Qu</c:v>
                </c:pt>
                <c:pt idx="2">
                  <c:v>Private Lab</c:v>
                </c:pt>
                <c:pt idx="3">
                  <c:v>Private Lab</c:v>
                </c:pt>
                <c:pt idx="4">
                  <c:v>Private Lab</c:v>
                </c:pt>
                <c:pt idx="5">
                  <c:v>Private Lab</c:v>
                </c:pt>
                <c:pt idx="6">
                  <c:v>Private Lab</c:v>
                </c:pt>
                <c:pt idx="7">
                  <c:v>Mini Babybe</c:v>
                </c:pt>
                <c:pt idx="8">
                  <c:v>Kiri</c:v>
                </c:pt>
                <c:pt idx="9">
                  <c:v>Coeur De Li</c:v>
                </c:pt>
                <c:pt idx="10">
                  <c:v>Caprice Des</c:v>
                </c:pt>
                <c:pt idx="11">
                  <c:v>President</c:v>
                </c:pt>
                <c:pt idx="12">
                  <c:v>Private Lab</c:v>
                </c:pt>
                <c:pt idx="13">
                  <c:v>Private Lab</c:v>
                </c:pt>
                <c:pt idx="14">
                  <c:v>Soignon</c:v>
                </c:pt>
                <c:pt idx="15">
                  <c:v>Private Lab</c:v>
                </c:pt>
                <c:pt idx="16">
                  <c:v>Soignon</c:v>
                </c:pt>
                <c:pt idx="17">
                  <c:v>Private Lab</c:v>
                </c:pt>
                <c:pt idx="18">
                  <c:v>La Vache Qu</c:v>
                </c:pt>
                <c:pt idx="19">
                  <c:v>Private Lab</c:v>
                </c:pt>
                <c:pt idx="20">
                  <c:v>Tartare</c:v>
                </c:pt>
                <c:pt idx="21">
                  <c:v>Coeur De Li</c:v>
                </c:pt>
                <c:pt idx="22">
                  <c:v>Private Lab</c:v>
                </c:pt>
                <c:pt idx="23">
                  <c:v>President</c:v>
                </c:pt>
                <c:pt idx="24">
                  <c:v>President</c:v>
                </c:pt>
                <c:pt idx="25">
                  <c:v>Private Lab</c:v>
                </c:pt>
                <c:pt idx="26">
                  <c:v>Le Rustique</c:v>
                </c:pt>
                <c:pt idx="27">
                  <c:v>Galbani</c:v>
                </c:pt>
                <c:pt idx="28">
                  <c:v>Ficello</c:v>
                </c:pt>
                <c:pt idx="29">
                  <c:v>Soignon</c:v>
                </c:pt>
                <c:pt idx="30">
                  <c:v>St Moret</c:v>
                </c:pt>
                <c:pt idx="31">
                  <c:v>Private Lab</c:v>
                </c:pt>
                <c:pt idx="32">
                  <c:v>St Moret</c:v>
                </c:pt>
                <c:pt idx="33">
                  <c:v>President</c:v>
                </c:pt>
                <c:pt idx="34">
                  <c:v>Mini Babybe</c:v>
                </c:pt>
                <c:pt idx="35">
                  <c:v>Private Lab</c:v>
                </c:pt>
                <c:pt idx="36">
                  <c:v>Kiri</c:v>
                </c:pt>
                <c:pt idx="37">
                  <c:v>St Moret</c:v>
                </c:pt>
                <c:pt idx="38">
                  <c:v>Private Lab</c:v>
                </c:pt>
                <c:pt idx="39">
                  <c:v>Private Lab</c:v>
                </c:pt>
                <c:pt idx="40">
                  <c:v>Richesmonts</c:v>
                </c:pt>
                <c:pt idx="41">
                  <c:v>Private Lab</c:v>
                </c:pt>
                <c:pt idx="42">
                  <c:v>Private Lab</c:v>
                </c:pt>
                <c:pt idx="43">
                  <c:v>La Vache Qu</c:v>
                </c:pt>
                <c:pt idx="44">
                  <c:v>Private Lab</c:v>
                </c:pt>
                <c:pt idx="45">
                  <c:v>All Others</c:v>
                </c:pt>
                <c:pt idx="46">
                  <c:v>St Moret</c:v>
                </c:pt>
                <c:pt idx="47">
                  <c:v>Salakis</c:v>
                </c:pt>
                <c:pt idx="48">
                  <c:v>Carre Frais</c:v>
                </c:pt>
                <c:pt idx="49">
                  <c:v>Coeur De Li</c:v>
                </c:pt>
                <c:pt idx="50">
                  <c:v>St Moret</c:v>
                </c:pt>
                <c:pt idx="51">
                  <c:v>Paysan Bret</c:v>
                </c:pt>
                <c:pt idx="52">
                  <c:v>President</c:v>
                </c:pt>
                <c:pt idx="53">
                  <c:v>Galbani</c:v>
                </c:pt>
                <c:pt idx="54">
                  <c:v>Philadelphi</c:v>
                </c:pt>
                <c:pt idx="55">
                  <c:v>Kiri</c:v>
                </c:pt>
                <c:pt idx="56">
                  <c:v>Societe</c:v>
                </c:pt>
                <c:pt idx="57">
                  <c:v>Private Lab</c:v>
                </c:pt>
                <c:pt idx="58">
                  <c:v>Private Lab</c:v>
                </c:pt>
                <c:pt idx="59">
                  <c:v>Apericube</c:v>
                </c:pt>
                <c:pt idx="60">
                  <c:v>Boursin</c:v>
                </c:pt>
                <c:pt idx="61">
                  <c:v>Entremont</c:v>
                </c:pt>
                <c:pt idx="62">
                  <c:v>Carre Frais</c:v>
                </c:pt>
                <c:pt idx="63">
                  <c:v>Private Lab</c:v>
                </c:pt>
                <c:pt idx="64">
                  <c:v>Private Lab</c:v>
                </c:pt>
                <c:pt idx="65">
                  <c:v>Chaussee Au</c:v>
                </c:pt>
                <c:pt idx="66">
                  <c:v>Apericube</c:v>
                </c:pt>
                <c:pt idx="67">
                  <c:v>Paysan Bret</c:v>
                </c:pt>
                <c:pt idx="68">
                  <c:v>Islos</c:v>
                </c:pt>
                <c:pt idx="69">
                  <c:v>St Moret</c:v>
                </c:pt>
                <c:pt idx="70">
                  <c:v>Apericube</c:v>
                </c:pt>
                <c:pt idx="71">
                  <c:v>President</c:v>
                </c:pt>
                <c:pt idx="72">
                  <c:v>President</c:v>
                </c:pt>
                <c:pt idx="73">
                  <c:v>Private Lab</c:v>
                </c:pt>
                <c:pt idx="74">
                  <c:v>Paysan Bret</c:v>
                </c:pt>
                <c:pt idx="75">
                  <c:v>Galbani</c:v>
                </c:pt>
                <c:pt idx="76">
                  <c:v>Salakis</c:v>
                </c:pt>
                <c:pt idx="77">
                  <c:v>Tartare</c:v>
                </c:pt>
                <c:pt idx="78">
                  <c:v>President</c:v>
                </c:pt>
                <c:pt idx="79">
                  <c:v>President</c:v>
                </c:pt>
                <c:pt idx="80">
                  <c:v>Private Lab</c:v>
                </c:pt>
                <c:pt idx="81">
                  <c:v>Kiri</c:v>
                </c:pt>
                <c:pt idx="82">
                  <c:v>Lepetit</c:v>
                </c:pt>
                <c:pt idx="83">
                  <c:v>Istara</c:v>
                </c:pt>
                <c:pt idx="84">
                  <c:v>Coeur De Li</c:v>
                </c:pt>
                <c:pt idx="85">
                  <c:v>Casa Azzurr</c:v>
                </c:pt>
                <c:pt idx="86">
                  <c:v>Boursin</c:v>
                </c:pt>
                <c:pt idx="87">
                  <c:v>Richesmonts</c:v>
                </c:pt>
                <c:pt idx="88">
                  <c:v>Richesmonts</c:v>
                </c:pt>
                <c:pt idx="89">
                  <c:v>Private Lab</c:v>
                </c:pt>
                <c:pt idx="90">
                  <c:v>Entremont</c:v>
                </c:pt>
                <c:pt idx="91">
                  <c:v>Private Lab</c:v>
                </c:pt>
                <c:pt idx="92">
                  <c:v>All Others</c:v>
                </c:pt>
                <c:pt idx="93">
                  <c:v>Kiri</c:v>
                </c:pt>
                <c:pt idx="94">
                  <c:v>Private Lab</c:v>
                </c:pt>
                <c:pt idx="95">
                  <c:v>Private Lab</c:v>
                </c:pt>
                <c:pt idx="96">
                  <c:v>Private Lab</c:v>
                </c:pt>
                <c:pt idx="97">
                  <c:v>Private Lab</c:v>
                </c:pt>
                <c:pt idx="98">
                  <c:v>All Others</c:v>
                </c:pt>
                <c:pt idx="99">
                  <c:v>Private Lab</c:v>
                </c:pt>
                <c:pt idx="100">
                  <c:v>Petit Billy</c:v>
                </c:pt>
                <c:pt idx="101">
                  <c:v>Lou Perac</c:v>
                </c:pt>
                <c:pt idx="102">
                  <c:v>Mini Babybe</c:v>
                </c:pt>
                <c:pt idx="103">
                  <c:v>Private Lab</c:v>
                </c:pt>
                <c:pt idx="104">
                  <c:v>Carre Frais</c:v>
                </c:pt>
                <c:pt idx="105">
                  <c:v>Mini Babybe</c:v>
                </c:pt>
                <c:pt idx="106">
                  <c:v>Apericube</c:v>
                </c:pt>
                <c:pt idx="107">
                  <c:v>Boursin</c:v>
                </c:pt>
                <c:pt idx="108">
                  <c:v>Chaussee Au</c:v>
                </c:pt>
                <c:pt idx="109">
                  <c:v>All Others</c:v>
                </c:pt>
                <c:pt idx="110">
                  <c:v>Private Lab</c:v>
                </c:pt>
                <c:pt idx="111">
                  <c:v>Leerdammer</c:v>
                </c:pt>
                <c:pt idx="112">
                  <c:v>Richesmonts</c:v>
                </c:pt>
                <c:pt idx="113">
                  <c:v>Galbani</c:v>
                </c:pt>
                <c:pt idx="114">
                  <c:v>La Vache Qu</c:v>
                </c:pt>
                <c:pt idx="115">
                  <c:v>Entremont</c:v>
                </c:pt>
                <c:pt idx="116">
                  <c:v>All Others</c:v>
                </c:pt>
                <c:pt idx="117">
                  <c:v>Saint Agur</c:v>
                </c:pt>
                <c:pt idx="118">
                  <c:v>Apericube</c:v>
                </c:pt>
                <c:pt idx="119">
                  <c:v>Private Lab</c:v>
                </c:pt>
                <c:pt idx="120">
                  <c:v>Private Lab</c:v>
                </c:pt>
                <c:pt idx="121">
                  <c:v>St Moret</c:v>
                </c:pt>
                <c:pt idx="122">
                  <c:v>Private Lab</c:v>
                </c:pt>
                <c:pt idx="123">
                  <c:v>President</c:v>
                </c:pt>
                <c:pt idx="124">
                  <c:v>St Moret</c:v>
                </c:pt>
                <c:pt idx="125">
                  <c:v>Private Lab</c:v>
                </c:pt>
                <c:pt idx="126">
                  <c:v>Private Lab</c:v>
                </c:pt>
                <c:pt idx="127">
                  <c:v>Caprice Des</c:v>
                </c:pt>
                <c:pt idx="128">
                  <c:v>All Others</c:v>
                </c:pt>
                <c:pt idx="129">
                  <c:v>Private Lab</c:v>
                </c:pt>
                <c:pt idx="130">
                  <c:v>President</c:v>
                </c:pt>
                <c:pt idx="131">
                  <c:v>Philadelphi</c:v>
                </c:pt>
                <c:pt idx="132">
                  <c:v>President</c:v>
                </c:pt>
                <c:pt idx="133">
                  <c:v>Private Lab</c:v>
                </c:pt>
                <c:pt idx="134">
                  <c:v>Pochat</c:v>
                </c:pt>
                <c:pt idx="135">
                  <c:v>Philadelphi</c:v>
                </c:pt>
                <c:pt idx="136">
                  <c:v>President</c:v>
                </c:pt>
                <c:pt idx="137">
                  <c:v>Private Lab</c:v>
                </c:pt>
                <c:pt idx="138">
                  <c:v>Casa Azzurr</c:v>
                </c:pt>
                <c:pt idx="139">
                  <c:v>Salakis</c:v>
                </c:pt>
                <c:pt idx="140">
                  <c:v>Kiri</c:v>
                </c:pt>
                <c:pt idx="141">
                  <c:v>Private Lab</c:v>
                </c:pt>
                <c:pt idx="142">
                  <c:v>Leerdammer</c:v>
                </c:pt>
                <c:pt idx="143">
                  <c:v>Apericube</c:v>
                </c:pt>
                <c:pt idx="144">
                  <c:v>Istara</c:v>
                </c:pt>
                <c:pt idx="145">
                  <c:v>Private Lab</c:v>
                </c:pt>
                <c:pt idx="146">
                  <c:v>Boursin</c:v>
                </c:pt>
                <c:pt idx="147">
                  <c:v>Juraflore</c:v>
                </c:pt>
                <c:pt idx="148">
                  <c:v>Casa Azzurr</c:v>
                </c:pt>
                <c:pt idx="149">
                  <c:v>All Others</c:v>
                </c:pt>
                <c:pt idx="150">
                  <c:v>La Vache Qu</c:v>
                </c:pt>
                <c:pt idx="151">
                  <c:v>President</c:v>
                </c:pt>
                <c:pt idx="152">
                  <c:v>Apericube</c:v>
                </c:pt>
                <c:pt idx="153">
                  <c:v>Ficello</c:v>
                </c:pt>
                <c:pt idx="154">
                  <c:v>President</c:v>
                </c:pt>
                <c:pt idx="155">
                  <c:v>Entremont</c:v>
                </c:pt>
                <c:pt idx="156">
                  <c:v>Private Lab</c:v>
                </c:pt>
                <c:pt idx="157">
                  <c:v>Entremont</c:v>
                </c:pt>
                <c:pt idx="158">
                  <c:v>Private Lab</c:v>
                </c:pt>
                <c:pt idx="159">
                  <c:v>Mini Babybe</c:v>
                </c:pt>
                <c:pt idx="160">
                  <c:v>Laita: All </c:v>
                </c:pt>
                <c:pt idx="161">
                  <c:v>La Vache Qu</c:v>
                </c:pt>
                <c:pt idx="162">
                  <c:v>Apericube</c:v>
                </c:pt>
                <c:pt idx="163">
                  <c:v>All Others</c:v>
                </c:pt>
                <c:pt idx="164">
                  <c:v>Private Lab</c:v>
                </c:pt>
                <c:pt idx="165">
                  <c:v>Le Rustique</c:v>
                </c:pt>
                <c:pt idx="166">
                  <c:v>Private Lab</c:v>
                </c:pt>
                <c:pt idx="167">
                  <c:v>Private Lab</c:v>
                </c:pt>
                <c:pt idx="168">
                  <c:v>All Others</c:v>
                </c:pt>
                <c:pt idx="169">
                  <c:v>Etorki</c:v>
                </c:pt>
                <c:pt idx="170">
                  <c:v>Leerdammer</c:v>
                </c:pt>
                <c:pt idx="171">
                  <c:v>L'Ortolan</c:v>
                </c:pt>
                <c:pt idx="172">
                  <c:v>Private Lab</c:v>
                </c:pt>
                <c:pt idx="173">
                  <c:v>Private Lab</c:v>
                </c:pt>
                <c:pt idx="174">
                  <c:v>Lactalis: A</c:v>
                </c:pt>
                <c:pt idx="175">
                  <c:v>Soignon</c:v>
                </c:pt>
                <c:pt idx="176">
                  <c:v>Private Lab</c:v>
                </c:pt>
                <c:pt idx="177">
                  <c:v>Private Lab</c:v>
                </c:pt>
                <c:pt idx="178">
                  <c:v>Leerdammer</c:v>
                </c:pt>
                <c:pt idx="179">
                  <c:v>All Others</c:v>
                </c:pt>
                <c:pt idx="180">
                  <c:v>Private Lab</c:v>
                </c:pt>
                <c:pt idx="181">
                  <c:v>Coeur De Li</c:v>
                </c:pt>
                <c:pt idx="182">
                  <c:v>Caprice Des</c:v>
                </c:pt>
                <c:pt idx="183">
                  <c:v>Tartare</c:v>
                </c:pt>
                <c:pt idx="184">
                  <c:v>All Others</c:v>
                </c:pt>
                <c:pt idx="185">
                  <c:v>Salakis</c:v>
                </c:pt>
                <c:pt idx="186">
                  <c:v>Boursin</c:v>
                </c:pt>
                <c:pt idx="187">
                  <c:v>St Moret</c:v>
                </c:pt>
                <c:pt idx="188">
                  <c:v>Soignon</c:v>
                </c:pt>
                <c:pt idx="189">
                  <c:v>Bresse Bleu</c:v>
                </c:pt>
                <c:pt idx="190">
                  <c:v>Private Lab</c:v>
                </c:pt>
                <c:pt idx="191">
                  <c:v>Private Lab</c:v>
                </c:pt>
                <c:pt idx="192">
                  <c:v>L'Ortolan</c:v>
                </c:pt>
                <c:pt idx="193">
                  <c:v>President</c:v>
                </c:pt>
                <c:pt idx="194">
                  <c:v>All Others</c:v>
                </c:pt>
                <c:pt idx="195">
                  <c:v>Private Lab</c:v>
                </c:pt>
                <c:pt idx="196">
                  <c:v>Richesmonts</c:v>
                </c:pt>
                <c:pt idx="197">
                  <c:v>Private Lab</c:v>
                </c:pt>
                <c:pt idx="198">
                  <c:v>Private Lab</c:v>
                </c:pt>
                <c:pt idx="199">
                  <c:v>Private Lab</c:v>
                </c:pt>
                <c:pt idx="200">
                  <c:v>President</c:v>
                </c:pt>
                <c:pt idx="201">
                  <c:v>Entremont</c:v>
                </c:pt>
                <c:pt idx="202">
                  <c:v>Private Lab</c:v>
                </c:pt>
                <c:pt idx="203">
                  <c:v>Soignon</c:v>
                </c:pt>
                <c:pt idx="204">
                  <c:v>Mini Babybe</c:v>
                </c:pt>
                <c:pt idx="205">
                  <c:v>Le Rustique</c:v>
                </c:pt>
                <c:pt idx="206">
                  <c:v>President</c:v>
                </c:pt>
                <c:pt idx="207">
                  <c:v>Entremont</c:v>
                </c:pt>
                <c:pt idx="208">
                  <c:v>Soignon</c:v>
                </c:pt>
                <c:pt idx="209">
                  <c:v>Galbani</c:v>
                </c:pt>
                <c:pt idx="210">
                  <c:v>Private Lab</c:v>
                </c:pt>
                <c:pt idx="211">
                  <c:v>President</c:v>
                </c:pt>
                <c:pt idx="212">
                  <c:v>Lactalis: A</c:v>
                </c:pt>
                <c:pt idx="213">
                  <c:v>Apericube</c:v>
                </c:pt>
                <c:pt idx="214">
                  <c:v>Caprice Des</c:v>
                </c:pt>
                <c:pt idx="215">
                  <c:v>Casa Azzurr</c:v>
                </c:pt>
                <c:pt idx="216">
                  <c:v>Private Lab</c:v>
                </c:pt>
                <c:pt idx="217">
                  <c:v>All Others</c:v>
                </c:pt>
                <c:pt idx="218">
                  <c:v>Casa Azzurr</c:v>
                </c:pt>
                <c:pt idx="219">
                  <c:v>Paysan Bret</c:v>
                </c:pt>
                <c:pt idx="220">
                  <c:v>Private Lab</c:v>
                </c:pt>
                <c:pt idx="221">
                  <c:v>Aperivrais</c:v>
                </c:pt>
                <c:pt idx="222">
                  <c:v>Casa Azzurr</c:v>
                </c:pt>
                <c:pt idx="223">
                  <c:v>All Others</c:v>
                </c:pt>
                <c:pt idx="224">
                  <c:v>Saint Albra</c:v>
                </c:pt>
                <c:pt idx="225">
                  <c:v>Paysan Bret</c:v>
                </c:pt>
                <c:pt idx="226">
                  <c:v>Salakis</c:v>
                </c:pt>
                <c:pt idx="227">
                  <c:v>Le Brebiou</c:v>
                </c:pt>
                <c:pt idx="228">
                  <c:v>Lactalis: A</c:v>
                </c:pt>
                <c:pt idx="229">
                  <c:v>President</c:v>
                </c:pt>
                <c:pt idx="230">
                  <c:v>All Others</c:v>
                </c:pt>
                <c:pt idx="231">
                  <c:v>Aperivrais</c:v>
                </c:pt>
                <c:pt idx="232">
                  <c:v>Private Lab</c:v>
                </c:pt>
                <c:pt idx="233">
                  <c:v>Coeur De Li</c:v>
                </c:pt>
                <c:pt idx="234">
                  <c:v>Galbani</c:v>
                </c:pt>
                <c:pt idx="235">
                  <c:v>President</c:v>
                </c:pt>
                <c:pt idx="236">
                  <c:v>Richesmonts</c:v>
                </c:pt>
                <c:pt idx="237">
                  <c:v>Savencia: A</c:v>
                </c:pt>
                <c:pt idx="238">
                  <c:v>Private Lab</c:v>
                </c:pt>
                <c:pt idx="239">
                  <c:v>Casa Azzurr</c:v>
                </c:pt>
                <c:pt idx="240">
                  <c:v>Saint Agur</c:v>
                </c:pt>
                <c:pt idx="241">
                  <c:v>Chavroux</c:v>
                </c:pt>
                <c:pt idx="242">
                  <c:v>Chavroux</c:v>
                </c:pt>
                <c:pt idx="243">
                  <c:v>Paysan Bret</c:v>
                </c:pt>
                <c:pt idx="244">
                  <c:v>Savencia: A</c:v>
                </c:pt>
                <c:pt idx="245">
                  <c:v>All Others</c:v>
                </c:pt>
                <c:pt idx="246">
                  <c:v>Private Lab</c:v>
                </c:pt>
                <c:pt idx="247">
                  <c:v>Casa Azzurr</c:v>
                </c:pt>
                <c:pt idx="248">
                  <c:v>Private Lab</c:v>
                </c:pt>
                <c:pt idx="249">
                  <c:v>Entremont</c:v>
                </c:pt>
                <c:pt idx="250">
                  <c:v>All Others</c:v>
                </c:pt>
                <c:pt idx="251">
                  <c:v>All Others</c:v>
                </c:pt>
                <c:pt idx="252">
                  <c:v>Private Lab</c:v>
                </c:pt>
                <c:pt idx="253">
                  <c:v>Richesmonts</c:v>
                </c:pt>
                <c:pt idx="254">
                  <c:v>All Others</c:v>
                </c:pt>
                <c:pt idx="255">
                  <c:v>President</c:v>
                </c:pt>
                <c:pt idx="256">
                  <c:v>All Others</c:v>
                </c:pt>
                <c:pt idx="257">
                  <c:v>Casa Azzurr</c:v>
                </c:pt>
                <c:pt idx="258">
                  <c:v>Paysan Bret</c:v>
                </c:pt>
                <c:pt idx="259">
                  <c:v>Salakis</c:v>
                </c:pt>
                <c:pt idx="260">
                  <c:v>All Others</c:v>
                </c:pt>
                <c:pt idx="261">
                  <c:v>Leerdammer</c:v>
                </c:pt>
                <c:pt idx="262">
                  <c:v>Private Lab</c:v>
                </c:pt>
                <c:pt idx="263">
                  <c:v>Private Lab</c:v>
                </c:pt>
                <c:pt idx="264">
                  <c:v>Lactalis: A</c:v>
                </c:pt>
                <c:pt idx="265">
                  <c:v>Richesmonts</c:v>
                </c:pt>
                <c:pt idx="266">
                  <c:v>President</c:v>
                </c:pt>
                <c:pt idx="267">
                  <c:v>All Others</c:v>
                </c:pt>
                <c:pt idx="268">
                  <c:v>Saint Agur</c:v>
                </c:pt>
                <c:pt idx="269">
                  <c:v>La Vache Qu</c:v>
                </c:pt>
                <c:pt idx="270">
                  <c:v>La Vache Qu</c:v>
                </c:pt>
                <c:pt idx="271">
                  <c:v>Parmareggio</c:v>
                </c:pt>
                <c:pt idx="272">
                  <c:v>Apericube</c:v>
                </c:pt>
                <c:pt idx="273">
                  <c:v>President</c:v>
                </c:pt>
                <c:pt idx="274">
                  <c:v>La Vache Qu</c:v>
                </c:pt>
                <c:pt idx="275">
                  <c:v>Juraflore</c:v>
                </c:pt>
                <c:pt idx="276">
                  <c:v>Le Rustique</c:v>
                </c:pt>
                <c:pt idx="277">
                  <c:v>Port Salut</c:v>
                </c:pt>
                <c:pt idx="278">
                  <c:v>Richesmonts</c:v>
                </c:pt>
                <c:pt idx="279">
                  <c:v>Private Lab</c:v>
                </c:pt>
                <c:pt idx="280">
                  <c:v>Saint Agur</c:v>
                </c:pt>
                <c:pt idx="281">
                  <c:v>Private Lab</c:v>
                </c:pt>
                <c:pt idx="282">
                  <c:v>Boursin</c:v>
                </c:pt>
                <c:pt idx="283">
                  <c:v>Private Lab</c:v>
                </c:pt>
                <c:pt idx="284">
                  <c:v>Private Lab</c:v>
                </c:pt>
                <c:pt idx="285">
                  <c:v>Private Lab</c:v>
                </c:pt>
                <c:pt idx="286">
                  <c:v>Private Lab</c:v>
                </c:pt>
                <c:pt idx="287">
                  <c:v>Lou Perac</c:v>
                </c:pt>
                <c:pt idx="288">
                  <c:v>Saint Albra</c:v>
                </c:pt>
                <c:pt idx="289">
                  <c:v>Entremont</c:v>
                </c:pt>
                <c:pt idx="290">
                  <c:v>Private Lab</c:v>
                </c:pt>
                <c:pt idx="291">
                  <c:v>Casa Azzurr</c:v>
                </c:pt>
                <c:pt idx="292">
                  <c:v>Leerdammer</c:v>
                </c:pt>
                <c:pt idx="293">
                  <c:v>Soignon</c:v>
                </c:pt>
                <c:pt idx="294">
                  <c:v>Chavroux</c:v>
                </c:pt>
                <c:pt idx="295">
                  <c:v>All Others</c:v>
                </c:pt>
                <c:pt idx="296">
                  <c:v>Entremont</c:v>
                </c:pt>
                <c:pt idx="297">
                  <c:v>Soignon</c:v>
                </c:pt>
                <c:pt idx="298">
                  <c:v>Etorki</c:v>
                </c:pt>
                <c:pt idx="299">
                  <c:v>All Others</c:v>
                </c:pt>
                <c:pt idx="300">
                  <c:v>Private Lab</c:v>
                </c:pt>
                <c:pt idx="301">
                  <c:v>Entremont</c:v>
                </c:pt>
                <c:pt idx="302">
                  <c:v>President</c:v>
                </c:pt>
                <c:pt idx="303">
                  <c:v>Private Lab</c:v>
                </c:pt>
                <c:pt idx="304">
                  <c:v>Rondele</c:v>
                </c:pt>
                <c:pt idx="305">
                  <c:v>Leerdammer</c:v>
                </c:pt>
                <c:pt idx="306">
                  <c:v>Private Lab</c:v>
                </c:pt>
                <c:pt idx="307">
                  <c:v>Boursin</c:v>
                </c:pt>
                <c:pt idx="308">
                  <c:v>Soignon</c:v>
                </c:pt>
                <c:pt idx="309">
                  <c:v>P'Tit Louis</c:v>
                </c:pt>
                <c:pt idx="310">
                  <c:v>President</c:v>
                </c:pt>
                <c:pt idx="311">
                  <c:v>Galbani</c:v>
                </c:pt>
                <c:pt idx="312">
                  <c:v>Private Lab</c:v>
                </c:pt>
                <c:pt idx="313">
                  <c:v>All Others</c:v>
                </c:pt>
                <c:pt idx="314">
                  <c:v>Boursin</c:v>
                </c:pt>
                <c:pt idx="315">
                  <c:v>Private Lab</c:v>
                </c:pt>
                <c:pt idx="316">
                  <c:v>President</c:v>
                </c:pt>
                <c:pt idx="317">
                  <c:v>Caprice Des</c:v>
                </c:pt>
                <c:pt idx="318">
                  <c:v>All Others</c:v>
                </c:pt>
                <c:pt idx="319">
                  <c:v>All Others</c:v>
                </c:pt>
                <c:pt idx="320">
                  <c:v>Entremont</c:v>
                </c:pt>
                <c:pt idx="321">
                  <c:v>Private Lab</c:v>
                </c:pt>
                <c:pt idx="322">
                  <c:v>Private Lab</c:v>
                </c:pt>
                <c:pt idx="323">
                  <c:v>Private Lab</c:v>
                </c:pt>
                <c:pt idx="324">
                  <c:v>Private Lab</c:v>
                </c:pt>
                <c:pt idx="325">
                  <c:v>All Others</c:v>
                </c:pt>
                <c:pt idx="326">
                  <c:v>All Others</c:v>
                </c:pt>
                <c:pt idx="327">
                  <c:v>Private Lab</c:v>
                </c:pt>
                <c:pt idx="328">
                  <c:v>Ficello</c:v>
                </c:pt>
                <c:pt idx="329">
                  <c:v>Societe</c:v>
                </c:pt>
                <c:pt idx="330">
                  <c:v>Private Lab</c:v>
                </c:pt>
                <c:pt idx="331">
                  <c:v>La Pointe P</c:v>
                </c:pt>
                <c:pt idx="332">
                  <c:v>Casa Azzurr</c:v>
                </c:pt>
                <c:pt idx="333">
                  <c:v>All Others</c:v>
                </c:pt>
                <c:pt idx="334">
                  <c:v>Soignon</c:v>
                </c:pt>
                <c:pt idx="335">
                  <c:v>Galbani</c:v>
                </c:pt>
                <c:pt idx="336">
                  <c:v>Private Lab</c:v>
                </c:pt>
                <c:pt idx="337">
                  <c:v>Private Lab</c:v>
                </c:pt>
                <c:pt idx="338">
                  <c:v>Soignon</c:v>
                </c:pt>
                <c:pt idx="339">
                  <c:v>P'Tit Louis</c:v>
                </c:pt>
                <c:pt idx="340">
                  <c:v>Tartare</c:v>
                </c:pt>
                <c:pt idx="341">
                  <c:v>Lactalis: A</c:v>
                </c:pt>
                <c:pt idx="342">
                  <c:v>All Others</c:v>
                </c:pt>
                <c:pt idx="343">
                  <c:v>Private Lab</c:v>
                </c:pt>
                <c:pt idx="344">
                  <c:v>All Others</c:v>
                </c:pt>
                <c:pt idx="345">
                  <c:v>Soignon</c:v>
                </c:pt>
                <c:pt idx="346">
                  <c:v>Galbani</c:v>
                </c:pt>
                <c:pt idx="347">
                  <c:v>President</c:v>
                </c:pt>
                <c:pt idx="348">
                  <c:v>Caprice Des</c:v>
                </c:pt>
                <c:pt idx="349">
                  <c:v>Entremont</c:v>
                </c:pt>
                <c:pt idx="350">
                  <c:v>Private Lab</c:v>
                </c:pt>
                <c:pt idx="351">
                  <c:v>Private Lab</c:v>
                </c:pt>
                <c:pt idx="352">
                  <c:v>Kiri</c:v>
                </c:pt>
                <c:pt idx="353">
                  <c:v>Galbani</c:v>
                </c:pt>
                <c:pt idx="354">
                  <c:v>President</c:v>
                </c:pt>
                <c:pt idx="355">
                  <c:v>Galbani</c:v>
                </c:pt>
                <c:pt idx="356">
                  <c:v>Boursin</c:v>
                </c:pt>
                <c:pt idx="357">
                  <c:v>All Others</c:v>
                </c:pt>
                <c:pt idx="358">
                  <c:v>Etoile Du V</c:v>
                </c:pt>
                <c:pt idx="359">
                  <c:v>Aperivrais</c:v>
                </c:pt>
                <c:pt idx="360">
                  <c:v>All Others</c:v>
                </c:pt>
                <c:pt idx="361">
                  <c:v>All Others</c:v>
                </c:pt>
                <c:pt idx="362">
                  <c:v>Private Lab</c:v>
                </c:pt>
                <c:pt idx="363">
                  <c:v>Private Lab</c:v>
                </c:pt>
                <c:pt idx="364">
                  <c:v>Private Lab</c:v>
                </c:pt>
                <c:pt idx="365">
                  <c:v>St Moret</c:v>
                </c:pt>
                <c:pt idx="366">
                  <c:v>Entremont</c:v>
                </c:pt>
                <c:pt idx="367">
                  <c:v>Salakis</c:v>
                </c:pt>
                <c:pt idx="368">
                  <c:v>All Others</c:v>
                </c:pt>
                <c:pt idx="369">
                  <c:v>Apericube</c:v>
                </c:pt>
                <c:pt idx="370">
                  <c:v>La Pointe P</c:v>
                </c:pt>
                <c:pt idx="371">
                  <c:v>All Others</c:v>
                </c:pt>
                <c:pt idx="372">
                  <c:v>Casa Azzurr</c:v>
                </c:pt>
                <c:pt idx="373">
                  <c:v>Private Lab</c:v>
                </c:pt>
                <c:pt idx="374">
                  <c:v>All Others</c:v>
                </c:pt>
                <c:pt idx="375">
                  <c:v>All Others</c:v>
                </c:pt>
                <c:pt idx="376">
                  <c:v>Private Lab</c:v>
                </c:pt>
                <c:pt idx="377">
                  <c:v>Private Lab</c:v>
                </c:pt>
                <c:pt idx="378">
                  <c:v>All Others</c:v>
                </c:pt>
                <c:pt idx="379">
                  <c:v>Private Lab</c:v>
                </c:pt>
                <c:pt idx="380">
                  <c:v>Leerdammer</c:v>
                </c:pt>
                <c:pt idx="381">
                  <c:v>Cousteron</c:v>
                </c:pt>
                <c:pt idx="382">
                  <c:v>Caprice Des</c:v>
                </c:pt>
                <c:pt idx="383">
                  <c:v>Leerdammer</c:v>
                </c:pt>
                <c:pt idx="384">
                  <c:v>Pochat</c:v>
                </c:pt>
                <c:pt idx="385">
                  <c:v>Mini Babybe</c:v>
                </c:pt>
                <c:pt idx="386">
                  <c:v>Private Lab</c:v>
                </c:pt>
                <c:pt idx="387">
                  <c:v>Casa Azzurr</c:v>
                </c:pt>
                <c:pt idx="388">
                  <c:v>Private Lab</c:v>
                </c:pt>
                <c:pt idx="389">
                  <c:v>Bresse Bleu</c:v>
                </c:pt>
                <c:pt idx="390">
                  <c:v>Private Lab</c:v>
                </c:pt>
                <c:pt idx="391">
                  <c:v>Paysan Bret</c:v>
                </c:pt>
                <c:pt idx="392">
                  <c:v>Tartare</c:v>
                </c:pt>
                <c:pt idx="393">
                  <c:v>All Others</c:v>
                </c:pt>
                <c:pt idx="394">
                  <c:v>Private Lab</c:v>
                </c:pt>
                <c:pt idx="395">
                  <c:v>Chaussee Au</c:v>
                </c:pt>
                <c:pt idx="396">
                  <c:v>Pave D'Affi</c:v>
                </c:pt>
                <c:pt idx="397">
                  <c:v>All Others</c:v>
                </c:pt>
                <c:pt idx="398">
                  <c:v>Societe</c:v>
                </c:pt>
                <c:pt idx="399">
                  <c:v>P'Tit Louis</c:v>
                </c:pt>
                <c:pt idx="400">
                  <c:v>All Others</c:v>
                </c:pt>
                <c:pt idx="401">
                  <c:v>Galbani</c:v>
                </c:pt>
                <c:pt idx="402">
                  <c:v>Private Lab</c:v>
                </c:pt>
                <c:pt idx="403">
                  <c:v>Saint Agur</c:v>
                </c:pt>
                <c:pt idx="404">
                  <c:v>All Others</c:v>
                </c:pt>
                <c:pt idx="405">
                  <c:v>Casa Azzurr</c:v>
                </c:pt>
                <c:pt idx="406">
                  <c:v>Casa Azzurr</c:v>
                </c:pt>
                <c:pt idx="407">
                  <c:v>Boursin</c:v>
                </c:pt>
                <c:pt idx="408">
                  <c:v>Private Lab</c:v>
                </c:pt>
                <c:pt idx="409">
                  <c:v>All Others</c:v>
                </c:pt>
                <c:pt idx="410">
                  <c:v>Aperivrais</c:v>
                </c:pt>
                <c:pt idx="411">
                  <c:v>Societe</c:v>
                </c:pt>
                <c:pt idx="412">
                  <c:v>Private Lab</c:v>
                </c:pt>
                <c:pt idx="413">
                  <c:v>Apericube</c:v>
                </c:pt>
                <c:pt idx="414">
                  <c:v>Pave D'Affi</c:v>
                </c:pt>
                <c:pt idx="415">
                  <c:v>Mini Babybe</c:v>
                </c:pt>
                <c:pt idx="416">
                  <c:v>Private Lab</c:v>
                </c:pt>
                <c:pt idx="417">
                  <c:v>La Vache Qu</c:v>
                </c:pt>
                <c:pt idx="418">
                  <c:v>Private Lab</c:v>
                </c:pt>
                <c:pt idx="419">
                  <c:v>Babybel</c:v>
                </c:pt>
                <c:pt idx="420">
                  <c:v>Boursin</c:v>
                </c:pt>
                <c:pt idx="421">
                  <c:v>Tartare</c:v>
                </c:pt>
                <c:pt idx="422">
                  <c:v>Fauquet</c:v>
                </c:pt>
                <c:pt idx="423">
                  <c:v>All Others</c:v>
                </c:pt>
                <c:pt idx="424">
                  <c:v>All Others</c:v>
                </c:pt>
                <c:pt idx="425">
                  <c:v>Private Lab</c:v>
                </c:pt>
                <c:pt idx="426">
                  <c:v>All Others</c:v>
                </c:pt>
                <c:pt idx="427">
                  <c:v>Private Lab</c:v>
                </c:pt>
                <c:pt idx="428">
                  <c:v>All Others</c:v>
                </c:pt>
                <c:pt idx="429">
                  <c:v>All Others</c:v>
                </c:pt>
                <c:pt idx="430">
                  <c:v>Richesmonts</c:v>
                </c:pt>
                <c:pt idx="431">
                  <c:v>All Others</c:v>
                </c:pt>
                <c:pt idx="432">
                  <c:v>Private Lab</c:v>
                </c:pt>
                <c:pt idx="433">
                  <c:v>La Pointe P</c:v>
                </c:pt>
                <c:pt idx="434">
                  <c:v>Private Lab</c:v>
                </c:pt>
                <c:pt idx="435">
                  <c:v>Private Lab</c:v>
                </c:pt>
                <c:pt idx="436">
                  <c:v>Fol Epi</c:v>
                </c:pt>
                <c:pt idx="437">
                  <c:v>Private Lab</c:v>
                </c:pt>
                <c:pt idx="438">
                  <c:v>President</c:v>
                </c:pt>
                <c:pt idx="439">
                  <c:v>Private Lab</c:v>
                </c:pt>
                <c:pt idx="440">
                  <c:v>All Others</c:v>
                </c:pt>
                <c:pt idx="441">
                  <c:v>Vieux Pane</c:v>
                </c:pt>
                <c:pt idx="442">
                  <c:v>President</c:v>
                </c:pt>
                <c:pt idx="443">
                  <c:v>Lactalis: A</c:v>
                </c:pt>
                <c:pt idx="444">
                  <c:v>Private Lab</c:v>
                </c:pt>
                <c:pt idx="445">
                  <c:v>Lou Perac</c:v>
                </c:pt>
                <c:pt idx="446">
                  <c:v>Richesmonts</c:v>
                </c:pt>
                <c:pt idx="447">
                  <c:v>All Others</c:v>
                </c:pt>
                <c:pt idx="448">
                  <c:v>All Others</c:v>
                </c:pt>
                <c:pt idx="449">
                  <c:v>All Others</c:v>
                </c:pt>
                <c:pt idx="450">
                  <c:v>Private Lab</c:v>
                </c:pt>
                <c:pt idx="451">
                  <c:v>All Others</c:v>
                </c:pt>
                <c:pt idx="452">
                  <c:v>Private Lab</c:v>
                </c:pt>
                <c:pt idx="453">
                  <c:v>All Others</c:v>
                </c:pt>
                <c:pt idx="454">
                  <c:v>Lactalis: A</c:v>
                </c:pt>
                <c:pt idx="455">
                  <c:v>St Moret</c:v>
                </c:pt>
                <c:pt idx="456">
                  <c:v>Private Lab</c:v>
                </c:pt>
                <c:pt idx="457">
                  <c:v>All Others</c:v>
                </c:pt>
                <c:pt idx="458">
                  <c:v>Apericube</c:v>
                </c:pt>
                <c:pt idx="459">
                  <c:v>All Others</c:v>
                </c:pt>
                <c:pt idx="460">
                  <c:v>Philadelphi</c:v>
                </c:pt>
                <c:pt idx="461">
                  <c:v>Casa Azzurr</c:v>
                </c:pt>
                <c:pt idx="462">
                  <c:v>La Pointe P</c:v>
                </c:pt>
                <c:pt idx="463">
                  <c:v>Societe</c:v>
                </c:pt>
                <c:pt idx="464">
                  <c:v>St Moret</c:v>
                </c:pt>
                <c:pt idx="465">
                  <c:v>Entremont</c:v>
                </c:pt>
                <c:pt idx="466">
                  <c:v>Private Lab</c:v>
                </c:pt>
                <c:pt idx="467">
                  <c:v>Savencia: A</c:v>
                </c:pt>
                <c:pt idx="468">
                  <c:v>Private Lab</c:v>
                </c:pt>
                <c:pt idx="469">
                  <c:v>All Others</c:v>
                </c:pt>
                <c:pt idx="470">
                  <c:v>Apericube</c:v>
                </c:pt>
                <c:pt idx="471">
                  <c:v>All Others</c:v>
                </c:pt>
                <c:pt idx="472">
                  <c:v>All Others</c:v>
                </c:pt>
                <c:pt idx="473">
                  <c:v>Private Lab</c:v>
                </c:pt>
                <c:pt idx="474">
                  <c:v>Private Lab</c:v>
                </c:pt>
                <c:pt idx="475">
                  <c:v>All Others</c:v>
                </c:pt>
                <c:pt idx="476">
                  <c:v>Private Lab</c:v>
                </c:pt>
                <c:pt idx="477">
                  <c:v>Tartare</c:v>
                </c:pt>
                <c:pt idx="478">
                  <c:v>Private Lab</c:v>
                </c:pt>
                <c:pt idx="479">
                  <c:v>All Others</c:v>
                </c:pt>
                <c:pt idx="480">
                  <c:v>Casa Azzurr</c:v>
                </c:pt>
                <c:pt idx="481">
                  <c:v>Richesmonts</c:v>
                </c:pt>
                <c:pt idx="482">
                  <c:v>President</c:v>
                </c:pt>
                <c:pt idx="483">
                  <c:v>Private Lab</c:v>
                </c:pt>
                <c:pt idx="484">
                  <c:v>All Others</c:v>
                </c:pt>
                <c:pt idx="485">
                  <c:v>Private Lab</c:v>
                </c:pt>
                <c:pt idx="486">
                  <c:v>Corsica</c:v>
                </c:pt>
                <c:pt idx="487">
                  <c:v>Kiri</c:v>
                </c:pt>
                <c:pt idx="488">
                  <c:v>Ficello</c:v>
                </c:pt>
                <c:pt idx="489">
                  <c:v>All Others</c:v>
                </c:pt>
                <c:pt idx="490">
                  <c:v>Private Lab</c:v>
                </c:pt>
                <c:pt idx="491">
                  <c:v>Lou Perac</c:v>
                </c:pt>
                <c:pt idx="492">
                  <c:v>Private Lab</c:v>
                </c:pt>
                <c:pt idx="493">
                  <c:v>L'Ortolan</c:v>
                </c:pt>
                <c:pt idx="494">
                  <c:v>Private Lab</c:v>
                </c:pt>
                <c:pt idx="495">
                  <c:v>Private Lab</c:v>
                </c:pt>
                <c:pt idx="496">
                  <c:v>Istara</c:v>
                </c:pt>
                <c:pt idx="497">
                  <c:v>Babybel</c:v>
                </c:pt>
                <c:pt idx="498">
                  <c:v>All Others</c:v>
                </c:pt>
                <c:pt idx="499">
                  <c:v>Private Lab</c:v>
                </c:pt>
                <c:pt idx="500">
                  <c:v>Soignon</c:v>
                </c:pt>
                <c:pt idx="501">
                  <c:v>All Others</c:v>
                </c:pt>
                <c:pt idx="502">
                  <c:v>Private Lab</c:v>
                </c:pt>
                <c:pt idx="503">
                  <c:v>Private Lab</c:v>
                </c:pt>
                <c:pt idx="504">
                  <c:v>Galbani</c:v>
                </c:pt>
                <c:pt idx="505">
                  <c:v>All Others</c:v>
                </c:pt>
                <c:pt idx="506">
                  <c:v>Entremont</c:v>
                </c:pt>
                <c:pt idx="507">
                  <c:v>Paysan Bret</c:v>
                </c:pt>
                <c:pt idx="508">
                  <c:v>All Others</c:v>
                </c:pt>
                <c:pt idx="509">
                  <c:v>All Others</c:v>
                </c:pt>
                <c:pt idx="510">
                  <c:v>Soignon</c:v>
                </c:pt>
                <c:pt idx="511">
                  <c:v>All Others</c:v>
                </c:pt>
                <c:pt idx="512">
                  <c:v>All Others</c:v>
                </c:pt>
                <c:pt idx="513">
                  <c:v>Savencia: A</c:v>
                </c:pt>
                <c:pt idx="514">
                  <c:v>Le Rustique</c:v>
                </c:pt>
                <c:pt idx="515">
                  <c:v>All Others</c:v>
                </c:pt>
                <c:pt idx="516">
                  <c:v>All Others</c:v>
                </c:pt>
                <c:pt idx="517">
                  <c:v>Galbani</c:v>
                </c:pt>
                <c:pt idx="518">
                  <c:v>Boursin</c:v>
                </c:pt>
                <c:pt idx="519">
                  <c:v>Pave D'Affi</c:v>
                </c:pt>
                <c:pt idx="520">
                  <c:v>Private Lab</c:v>
                </c:pt>
                <c:pt idx="521">
                  <c:v>All Others</c:v>
                </c:pt>
                <c:pt idx="522">
                  <c:v>Richesmonts</c:v>
                </c:pt>
                <c:pt idx="523">
                  <c:v>Private Lab</c:v>
                </c:pt>
                <c:pt idx="524">
                  <c:v>Private Lab</c:v>
                </c:pt>
                <c:pt idx="525">
                  <c:v>All Others</c:v>
                </c:pt>
                <c:pt idx="526">
                  <c:v>Private Lab</c:v>
                </c:pt>
                <c:pt idx="527">
                  <c:v>All Others</c:v>
                </c:pt>
                <c:pt idx="528">
                  <c:v>Galbani</c:v>
                </c:pt>
                <c:pt idx="529">
                  <c:v>Apericube</c:v>
                </c:pt>
                <c:pt idx="530">
                  <c:v>La Pointe P</c:v>
                </c:pt>
                <c:pt idx="531">
                  <c:v>President</c:v>
                </c:pt>
                <c:pt idx="532">
                  <c:v>Private Lab</c:v>
                </c:pt>
                <c:pt idx="533">
                  <c:v>All Others</c:v>
                </c:pt>
                <c:pt idx="534">
                  <c:v>President</c:v>
                </c:pt>
                <c:pt idx="535">
                  <c:v>Private Lab</c:v>
                </c:pt>
                <c:pt idx="536">
                  <c:v>Private Lab</c:v>
                </c:pt>
                <c:pt idx="537">
                  <c:v>All Others</c:v>
                </c:pt>
                <c:pt idx="538">
                  <c:v>Fauquet</c:v>
                </c:pt>
                <c:pt idx="539">
                  <c:v>Private Lab</c:v>
                </c:pt>
                <c:pt idx="540">
                  <c:v>Corsica</c:v>
                </c:pt>
                <c:pt idx="541">
                  <c:v>All Others</c:v>
                </c:pt>
                <c:pt idx="542">
                  <c:v>Entremont</c:v>
                </c:pt>
                <c:pt idx="543">
                  <c:v>Casa Azzurr</c:v>
                </c:pt>
                <c:pt idx="544">
                  <c:v>President</c:v>
                </c:pt>
                <c:pt idx="545">
                  <c:v>Soignon</c:v>
                </c:pt>
                <c:pt idx="546">
                  <c:v>Lactalis: A</c:v>
                </c:pt>
                <c:pt idx="547">
                  <c:v>Triballat N</c:v>
                </c:pt>
                <c:pt idx="548">
                  <c:v>Entremont</c:v>
                </c:pt>
                <c:pt idx="549">
                  <c:v>Private Lab</c:v>
                </c:pt>
                <c:pt idx="550">
                  <c:v>Private Lab</c:v>
                </c:pt>
                <c:pt idx="551">
                  <c:v>Private Lab</c:v>
                </c:pt>
                <c:pt idx="552">
                  <c:v>Private Lab</c:v>
                </c:pt>
                <c:pt idx="553">
                  <c:v>Private Lab</c:v>
                </c:pt>
                <c:pt idx="554">
                  <c:v>All Others</c:v>
                </c:pt>
                <c:pt idx="555">
                  <c:v>Private Lab</c:v>
                </c:pt>
                <c:pt idx="556">
                  <c:v>All Others</c:v>
                </c:pt>
                <c:pt idx="557">
                  <c:v>All Others</c:v>
                </c:pt>
                <c:pt idx="558">
                  <c:v>Savencia: A</c:v>
                </c:pt>
                <c:pt idx="559">
                  <c:v>Private Lab</c:v>
                </c:pt>
                <c:pt idx="560">
                  <c:v>Private Lab</c:v>
                </c:pt>
                <c:pt idx="561">
                  <c:v>Savencia: A</c:v>
                </c:pt>
                <c:pt idx="562">
                  <c:v>All Others</c:v>
                </c:pt>
                <c:pt idx="563">
                  <c:v>Casa Azzurr</c:v>
                </c:pt>
                <c:pt idx="564">
                  <c:v>Private Lab</c:v>
                </c:pt>
                <c:pt idx="565">
                  <c:v>Apericube</c:v>
                </c:pt>
                <c:pt idx="566">
                  <c:v>Private Lab</c:v>
                </c:pt>
                <c:pt idx="567">
                  <c:v>Private Lab</c:v>
                </c:pt>
                <c:pt idx="568">
                  <c:v>Le Coq Crem</c:v>
                </c:pt>
                <c:pt idx="569">
                  <c:v>All Others</c:v>
                </c:pt>
                <c:pt idx="570">
                  <c:v>Private Lab</c:v>
                </c:pt>
                <c:pt idx="571">
                  <c:v>All Others</c:v>
                </c:pt>
                <c:pt idx="572">
                  <c:v>Private Lab</c:v>
                </c:pt>
                <c:pt idx="573">
                  <c:v>All Others</c:v>
                </c:pt>
                <c:pt idx="574">
                  <c:v>All Others</c:v>
                </c:pt>
                <c:pt idx="575">
                  <c:v>Private Lab</c:v>
                </c:pt>
                <c:pt idx="576">
                  <c:v>All Others</c:v>
                </c:pt>
                <c:pt idx="577">
                  <c:v>Private Lab</c:v>
                </c:pt>
                <c:pt idx="578">
                  <c:v>Private Lab</c:v>
                </c:pt>
                <c:pt idx="579">
                  <c:v>All Others</c:v>
                </c:pt>
                <c:pt idx="580">
                  <c:v>Private Lab</c:v>
                </c:pt>
                <c:pt idx="581">
                  <c:v>All Others</c:v>
                </c:pt>
                <c:pt idx="582">
                  <c:v>All Others</c:v>
                </c:pt>
                <c:pt idx="583">
                  <c:v>Entremont</c:v>
                </c:pt>
                <c:pt idx="584">
                  <c:v>Boursin</c:v>
                </c:pt>
                <c:pt idx="585">
                  <c:v>All Others</c:v>
                </c:pt>
                <c:pt idx="586">
                  <c:v>Islos</c:v>
                </c:pt>
                <c:pt idx="587">
                  <c:v>Private Lab</c:v>
                </c:pt>
                <c:pt idx="588">
                  <c:v>Violife</c:v>
                </c:pt>
                <c:pt idx="589">
                  <c:v>Leerdammer</c:v>
                </c:pt>
                <c:pt idx="590">
                  <c:v>President</c:v>
                </c:pt>
                <c:pt idx="591">
                  <c:v>Private Lab</c:v>
                </c:pt>
                <c:pt idx="592">
                  <c:v>All Others</c:v>
                </c:pt>
                <c:pt idx="593">
                  <c:v>Mini Babybe</c:v>
                </c:pt>
                <c:pt idx="594">
                  <c:v>Pochat</c:v>
                </c:pt>
                <c:pt idx="595">
                  <c:v>All Others</c:v>
                </c:pt>
                <c:pt idx="596">
                  <c:v>All Others</c:v>
                </c:pt>
                <c:pt idx="597">
                  <c:v>La Pointe P</c:v>
                </c:pt>
                <c:pt idx="598">
                  <c:v>Private Lab</c:v>
                </c:pt>
                <c:pt idx="599">
                  <c:v>Private Lab</c:v>
                </c:pt>
                <c:pt idx="600">
                  <c:v>Pave D'Affi</c:v>
                </c:pt>
                <c:pt idx="601">
                  <c:v>All Others</c:v>
                </c:pt>
                <c:pt idx="602">
                  <c:v>Private Lab</c:v>
                </c:pt>
                <c:pt idx="603">
                  <c:v>Casa Azzurr</c:v>
                </c:pt>
                <c:pt idx="604">
                  <c:v>Galbani</c:v>
                </c:pt>
                <c:pt idx="605">
                  <c:v>Private Lab</c:v>
                </c:pt>
                <c:pt idx="606">
                  <c:v>Etoile Du V</c:v>
                </c:pt>
                <c:pt idx="607">
                  <c:v>Casa Azzurr</c:v>
                </c:pt>
                <c:pt idx="608">
                  <c:v>Private Lab</c:v>
                </c:pt>
                <c:pt idx="609">
                  <c:v>Societe</c:v>
                </c:pt>
                <c:pt idx="610">
                  <c:v>Galbani</c:v>
                </c:pt>
                <c:pt idx="611">
                  <c:v>All Others</c:v>
                </c:pt>
                <c:pt idx="612">
                  <c:v>Private Lab</c:v>
                </c:pt>
                <c:pt idx="613">
                  <c:v>All Others</c:v>
                </c:pt>
                <c:pt idx="614">
                  <c:v>All Others</c:v>
                </c:pt>
                <c:pt idx="615">
                  <c:v>Kiri</c:v>
                </c:pt>
                <c:pt idx="616">
                  <c:v>Rondele</c:v>
                </c:pt>
                <c:pt idx="617">
                  <c:v>Private Lab</c:v>
                </c:pt>
                <c:pt idx="618">
                  <c:v>President</c:v>
                </c:pt>
                <c:pt idx="619">
                  <c:v>Ficello</c:v>
                </c:pt>
                <c:pt idx="620">
                  <c:v>All Others</c:v>
                </c:pt>
                <c:pt idx="621">
                  <c:v>Private Lab</c:v>
                </c:pt>
                <c:pt idx="622">
                  <c:v>All Others</c:v>
                </c:pt>
                <c:pt idx="623">
                  <c:v>Casa Azzurr</c:v>
                </c:pt>
                <c:pt idx="624">
                  <c:v>Private Lab</c:v>
                </c:pt>
                <c:pt idx="625">
                  <c:v>Private Lab</c:v>
                </c:pt>
                <c:pt idx="626">
                  <c:v>Private Lab</c:v>
                </c:pt>
                <c:pt idx="627">
                  <c:v>All Others</c:v>
                </c:pt>
                <c:pt idx="628">
                  <c:v>All Others</c:v>
                </c:pt>
                <c:pt idx="629">
                  <c:v>All Others</c:v>
                </c:pt>
                <c:pt idx="630">
                  <c:v>Casa Azzurr</c:v>
                </c:pt>
                <c:pt idx="631">
                  <c:v>All Others</c:v>
                </c:pt>
                <c:pt idx="632">
                  <c:v>President</c:v>
                </c:pt>
                <c:pt idx="633">
                  <c:v>Societe</c:v>
                </c:pt>
                <c:pt idx="634">
                  <c:v>Leerdammer</c:v>
                </c:pt>
                <c:pt idx="635">
                  <c:v>Private Lab</c:v>
                </c:pt>
                <c:pt idx="636">
                  <c:v>All Others</c:v>
                </c:pt>
                <c:pt idx="637">
                  <c:v>All Others</c:v>
                </c:pt>
                <c:pt idx="638">
                  <c:v>Apericube</c:v>
                </c:pt>
                <c:pt idx="639">
                  <c:v>All Others</c:v>
                </c:pt>
                <c:pt idx="640">
                  <c:v>All Others</c:v>
                </c:pt>
                <c:pt idx="641">
                  <c:v>All Others</c:v>
                </c:pt>
                <c:pt idx="642">
                  <c:v>Entremont</c:v>
                </c:pt>
                <c:pt idx="643">
                  <c:v>Leerdammer</c:v>
                </c:pt>
                <c:pt idx="644">
                  <c:v>Milleret: A</c:v>
                </c:pt>
                <c:pt idx="645">
                  <c:v>Private Lab</c:v>
                </c:pt>
                <c:pt idx="646">
                  <c:v>Casa Azzurr</c:v>
                </c:pt>
                <c:pt idx="647">
                  <c:v>Private Lab</c:v>
                </c:pt>
                <c:pt idx="648">
                  <c:v>All Others</c:v>
                </c:pt>
                <c:pt idx="649">
                  <c:v>Galbani</c:v>
                </c:pt>
                <c:pt idx="650">
                  <c:v>All Others</c:v>
                </c:pt>
                <c:pt idx="651">
                  <c:v>Etoile Du Q</c:v>
                </c:pt>
                <c:pt idx="652">
                  <c:v>Eurial Autr</c:v>
                </c:pt>
                <c:pt idx="653">
                  <c:v>Apericube</c:v>
                </c:pt>
                <c:pt idx="654">
                  <c:v>All Others</c:v>
                </c:pt>
                <c:pt idx="655">
                  <c:v>All Others</c:v>
                </c:pt>
                <c:pt idx="656">
                  <c:v>All Others</c:v>
                </c:pt>
                <c:pt idx="657">
                  <c:v>Private Lab</c:v>
                </c:pt>
                <c:pt idx="658">
                  <c:v>Pave D'Affi</c:v>
                </c:pt>
                <c:pt idx="659">
                  <c:v>All Others</c:v>
                </c:pt>
                <c:pt idx="660">
                  <c:v>All Others</c:v>
                </c:pt>
                <c:pt idx="661">
                  <c:v>All Others</c:v>
                </c:pt>
                <c:pt idx="662">
                  <c:v>Boursin</c:v>
                </c:pt>
                <c:pt idx="663">
                  <c:v>L'Ortolan</c:v>
                </c:pt>
                <c:pt idx="664">
                  <c:v>Private Lab</c:v>
                </c:pt>
                <c:pt idx="665">
                  <c:v>Private Lab</c:v>
                </c:pt>
                <c:pt idx="666">
                  <c:v>Kiri</c:v>
                </c:pt>
                <c:pt idx="667">
                  <c:v>Private Lab</c:v>
                </c:pt>
                <c:pt idx="668">
                  <c:v>Lou Perac</c:v>
                </c:pt>
                <c:pt idx="669">
                  <c:v>Saint Agur</c:v>
                </c:pt>
                <c:pt idx="670">
                  <c:v>All Others</c:v>
                </c:pt>
                <c:pt idx="671">
                  <c:v>Violife</c:v>
                </c:pt>
                <c:pt idx="672">
                  <c:v>All Others</c:v>
                </c:pt>
                <c:pt idx="673">
                  <c:v>All Others</c:v>
                </c:pt>
                <c:pt idx="674">
                  <c:v>Chaussee Au</c:v>
                </c:pt>
                <c:pt idx="675">
                  <c:v>Violife</c:v>
                </c:pt>
                <c:pt idx="676">
                  <c:v>L'Ortolan</c:v>
                </c:pt>
                <c:pt idx="677">
                  <c:v>All Others</c:v>
                </c:pt>
                <c:pt idx="678">
                  <c:v>All Others</c:v>
                </c:pt>
                <c:pt idx="679">
                  <c:v>Richesmonts</c:v>
                </c:pt>
                <c:pt idx="680">
                  <c:v>O'Tapas Ape</c:v>
                </c:pt>
                <c:pt idx="681">
                  <c:v>All Others</c:v>
                </c:pt>
                <c:pt idx="682">
                  <c:v>Boursin</c:v>
                </c:pt>
                <c:pt idx="683">
                  <c:v>Salakis</c:v>
                </c:pt>
                <c:pt idx="684">
                  <c:v>All Others</c:v>
                </c:pt>
                <c:pt idx="685">
                  <c:v>All Others</c:v>
                </c:pt>
                <c:pt idx="686">
                  <c:v>President</c:v>
                </c:pt>
                <c:pt idx="687">
                  <c:v>All Others</c:v>
                </c:pt>
                <c:pt idx="688">
                  <c:v>President</c:v>
                </c:pt>
                <c:pt idx="689">
                  <c:v>Soignon</c:v>
                </c:pt>
                <c:pt idx="690">
                  <c:v>Coeur De Li</c:v>
                </c:pt>
                <c:pt idx="691">
                  <c:v>Le Coq Crem</c:v>
                </c:pt>
                <c:pt idx="692">
                  <c:v>All Others</c:v>
                </c:pt>
                <c:pt idx="693">
                  <c:v>Soignon</c:v>
                </c:pt>
                <c:pt idx="694">
                  <c:v>All Others</c:v>
                </c:pt>
                <c:pt idx="695">
                  <c:v>Mini Babybe</c:v>
                </c:pt>
                <c:pt idx="696">
                  <c:v>Private Lab</c:v>
                </c:pt>
                <c:pt idx="697">
                  <c:v>Etoile Du V</c:v>
                </c:pt>
                <c:pt idx="698">
                  <c:v>All Others</c:v>
                </c:pt>
                <c:pt idx="699">
                  <c:v>President</c:v>
                </c:pt>
                <c:pt idx="700">
                  <c:v>Societe</c:v>
                </c:pt>
                <c:pt idx="701">
                  <c:v>All Others</c:v>
                </c:pt>
                <c:pt idx="702">
                  <c:v>All Others</c:v>
                </c:pt>
                <c:pt idx="703">
                  <c:v>All Others</c:v>
                </c:pt>
                <c:pt idx="704">
                  <c:v>Galbani</c:v>
                </c:pt>
                <c:pt idx="705">
                  <c:v>Private Lab</c:v>
                </c:pt>
                <c:pt idx="706">
                  <c:v>La Pointe P</c:v>
                </c:pt>
                <c:pt idx="707">
                  <c:v>Savencia: A</c:v>
                </c:pt>
                <c:pt idx="708">
                  <c:v>Private Lab</c:v>
                </c:pt>
                <c:pt idx="709">
                  <c:v>All Others</c:v>
                </c:pt>
                <c:pt idx="710">
                  <c:v>All Others</c:v>
                </c:pt>
                <c:pt idx="711">
                  <c:v>Rondele</c:v>
                </c:pt>
                <c:pt idx="712">
                  <c:v>Casa Azzurr</c:v>
                </c:pt>
                <c:pt idx="713">
                  <c:v>Richesmonts</c:v>
                </c:pt>
                <c:pt idx="714">
                  <c:v>Violife</c:v>
                </c:pt>
                <c:pt idx="715">
                  <c:v>Richesmonts</c:v>
                </c:pt>
                <c:pt idx="716">
                  <c:v>All Others</c:v>
                </c:pt>
                <c:pt idx="717">
                  <c:v>All Others</c:v>
                </c:pt>
                <c:pt idx="718">
                  <c:v>Juraflore</c:v>
                </c:pt>
                <c:pt idx="719">
                  <c:v>Savencia: A</c:v>
                </c:pt>
                <c:pt idx="720">
                  <c:v>All Others</c:v>
                </c:pt>
                <c:pt idx="721">
                  <c:v>All Others</c:v>
                </c:pt>
                <c:pt idx="722">
                  <c:v>All Others</c:v>
                </c:pt>
                <c:pt idx="723">
                  <c:v>Private Lab</c:v>
                </c:pt>
                <c:pt idx="724">
                  <c:v>All Others</c:v>
                </c:pt>
                <c:pt idx="725">
                  <c:v>All Others</c:v>
                </c:pt>
                <c:pt idx="726">
                  <c:v>Richesmonts</c:v>
                </c:pt>
                <c:pt idx="727">
                  <c:v>President</c:v>
                </c:pt>
                <c:pt idx="728">
                  <c:v>Entremont</c:v>
                </c:pt>
                <c:pt idx="729">
                  <c:v>Galbani</c:v>
                </c:pt>
                <c:pt idx="730">
                  <c:v>Galbani</c:v>
                </c:pt>
                <c:pt idx="731">
                  <c:v>Fauquet</c:v>
                </c:pt>
                <c:pt idx="732">
                  <c:v>Savencia: A</c:v>
                </c:pt>
                <c:pt idx="733">
                  <c:v>Private Lab</c:v>
                </c:pt>
                <c:pt idx="734">
                  <c:v>Galbani</c:v>
                </c:pt>
                <c:pt idx="735">
                  <c:v>Juraflore</c:v>
                </c:pt>
                <c:pt idx="736">
                  <c:v>All Others</c:v>
                </c:pt>
                <c:pt idx="737">
                  <c:v>All Others</c:v>
                </c:pt>
                <c:pt idx="738">
                  <c:v>All Others</c:v>
                </c:pt>
                <c:pt idx="739">
                  <c:v>Tartare</c:v>
                </c:pt>
                <c:pt idx="740">
                  <c:v>All Others</c:v>
                </c:pt>
                <c:pt idx="741">
                  <c:v>All Others</c:v>
                </c:pt>
                <c:pt idx="742">
                  <c:v>All Others</c:v>
                </c:pt>
                <c:pt idx="743">
                  <c:v>Private Lab</c:v>
                </c:pt>
                <c:pt idx="744">
                  <c:v>All Others</c:v>
                </c:pt>
                <c:pt idx="745">
                  <c:v>Entremont</c:v>
                </c:pt>
                <c:pt idx="746">
                  <c:v>La Belle Et</c:v>
                </c:pt>
                <c:pt idx="747">
                  <c:v>Leerdammer</c:v>
                </c:pt>
                <c:pt idx="748">
                  <c:v>All Others</c:v>
                </c:pt>
                <c:pt idx="749">
                  <c:v>Soignon</c:v>
                </c:pt>
                <c:pt idx="750">
                  <c:v>All Others</c:v>
                </c:pt>
                <c:pt idx="751">
                  <c:v>Eurial Autr</c:v>
                </c:pt>
                <c:pt idx="752">
                  <c:v>Milleret: A</c:v>
                </c:pt>
                <c:pt idx="753">
                  <c:v>Violife</c:v>
                </c:pt>
                <c:pt idx="754">
                  <c:v>Triballat R</c:v>
                </c:pt>
                <c:pt idx="755">
                  <c:v>All Others</c:v>
                </c:pt>
                <c:pt idx="756">
                  <c:v>Casa Azzurr</c:v>
                </c:pt>
                <c:pt idx="757">
                  <c:v>Mini Babybe</c:v>
                </c:pt>
                <c:pt idx="758">
                  <c:v>Private Lab</c:v>
                </c:pt>
                <c:pt idx="759">
                  <c:v>Pave D'Affi</c:v>
                </c:pt>
                <c:pt idx="760">
                  <c:v>All Others</c:v>
                </c:pt>
                <c:pt idx="761">
                  <c:v>All Others</c:v>
                </c:pt>
                <c:pt idx="762">
                  <c:v>Aperivrais</c:v>
                </c:pt>
                <c:pt idx="763">
                  <c:v>All Others</c:v>
                </c:pt>
                <c:pt idx="764">
                  <c:v>Salakis</c:v>
                </c:pt>
                <c:pt idx="765">
                  <c:v>President</c:v>
                </c:pt>
                <c:pt idx="766">
                  <c:v>Private Lab</c:v>
                </c:pt>
                <c:pt idx="767">
                  <c:v>Private Lab</c:v>
                </c:pt>
                <c:pt idx="768">
                  <c:v>Private Lab</c:v>
                </c:pt>
                <c:pt idx="769">
                  <c:v>All Others</c:v>
                </c:pt>
                <c:pt idx="770">
                  <c:v>La Belle Et</c:v>
                </c:pt>
                <c:pt idx="771">
                  <c:v>All Others</c:v>
                </c:pt>
                <c:pt idx="772">
                  <c:v>All Others</c:v>
                </c:pt>
                <c:pt idx="773">
                  <c:v>Saint Agur</c:v>
                </c:pt>
                <c:pt idx="774">
                  <c:v>Private Lab</c:v>
                </c:pt>
                <c:pt idx="775">
                  <c:v>Leerdammer</c:v>
                </c:pt>
                <c:pt idx="776">
                  <c:v>All Others</c:v>
                </c:pt>
                <c:pt idx="777">
                  <c:v>Private Lab</c:v>
                </c:pt>
                <c:pt idx="778">
                  <c:v>All Others</c:v>
                </c:pt>
                <c:pt idx="779">
                  <c:v>All Others</c:v>
                </c:pt>
                <c:pt idx="780">
                  <c:v>Boursin</c:v>
                </c:pt>
                <c:pt idx="781">
                  <c:v>Private Lab</c:v>
                </c:pt>
                <c:pt idx="782">
                  <c:v>Savencia: A</c:v>
                </c:pt>
                <c:pt idx="783">
                  <c:v>Richesmonts</c:v>
                </c:pt>
                <c:pt idx="784">
                  <c:v>All Others</c:v>
                </c:pt>
                <c:pt idx="785">
                  <c:v>Leerdammer</c:v>
                </c:pt>
                <c:pt idx="786">
                  <c:v>All Others</c:v>
                </c:pt>
                <c:pt idx="787">
                  <c:v>Private Lab</c:v>
                </c:pt>
                <c:pt idx="788">
                  <c:v>Bresse Bleu</c:v>
                </c:pt>
                <c:pt idx="789">
                  <c:v>Mini Babybe</c:v>
                </c:pt>
                <c:pt idx="790">
                  <c:v>All Others</c:v>
                </c:pt>
                <c:pt idx="791">
                  <c:v>St Moret</c:v>
                </c:pt>
                <c:pt idx="792">
                  <c:v>All Others</c:v>
                </c:pt>
                <c:pt idx="793">
                  <c:v>President</c:v>
                </c:pt>
                <c:pt idx="794">
                  <c:v>All Others</c:v>
                </c:pt>
                <c:pt idx="795">
                  <c:v>Saint Agur</c:v>
                </c:pt>
                <c:pt idx="796">
                  <c:v>President</c:v>
                </c:pt>
                <c:pt idx="797">
                  <c:v>Lou Perac</c:v>
                </c:pt>
                <c:pt idx="798">
                  <c:v>Fol Epi</c:v>
                </c:pt>
                <c:pt idx="799">
                  <c:v>Etoile Du V</c:v>
                </c:pt>
                <c:pt idx="800">
                  <c:v>All Others</c:v>
                </c:pt>
                <c:pt idx="801">
                  <c:v>All Others</c:v>
                </c:pt>
                <c:pt idx="802">
                  <c:v>Nurishh</c:v>
                </c:pt>
                <c:pt idx="803">
                  <c:v>President</c:v>
                </c:pt>
                <c:pt idx="804">
                  <c:v>Apericube</c:v>
                </c:pt>
                <c:pt idx="805">
                  <c:v>All Others</c:v>
                </c:pt>
                <c:pt idx="806">
                  <c:v>Private Lab</c:v>
                </c:pt>
                <c:pt idx="807">
                  <c:v>La Vache Qu</c:v>
                </c:pt>
                <c:pt idx="808">
                  <c:v>Richesmonts</c:v>
                </c:pt>
                <c:pt idx="809">
                  <c:v>All Others</c:v>
                </c:pt>
                <c:pt idx="810">
                  <c:v>Private Lab</c:v>
                </c:pt>
                <c:pt idx="811">
                  <c:v>Apericube</c:v>
                </c:pt>
                <c:pt idx="812">
                  <c:v>All Others</c:v>
                </c:pt>
                <c:pt idx="813">
                  <c:v>All Others</c:v>
                </c:pt>
                <c:pt idx="814">
                  <c:v>Boursin</c:v>
                </c:pt>
                <c:pt idx="815">
                  <c:v>Triballat R</c:v>
                </c:pt>
                <c:pt idx="816">
                  <c:v>All Others</c:v>
                </c:pt>
                <c:pt idx="817">
                  <c:v>Savencia: A</c:v>
                </c:pt>
                <c:pt idx="818">
                  <c:v>All Others</c:v>
                </c:pt>
                <c:pt idx="819">
                  <c:v>All Others</c:v>
                </c:pt>
                <c:pt idx="820">
                  <c:v>President</c:v>
                </c:pt>
                <c:pt idx="821">
                  <c:v>All Others</c:v>
                </c:pt>
                <c:pt idx="822">
                  <c:v>O'Tapas Ape</c:v>
                </c:pt>
                <c:pt idx="823">
                  <c:v>Eurial Autr</c:v>
                </c:pt>
                <c:pt idx="824">
                  <c:v>St Moret</c:v>
                </c:pt>
                <c:pt idx="825">
                  <c:v>All Others</c:v>
                </c:pt>
                <c:pt idx="826">
                  <c:v>Aperivrais</c:v>
                </c:pt>
                <c:pt idx="827">
                  <c:v>All Others</c:v>
                </c:pt>
                <c:pt idx="828">
                  <c:v>Bresse Bleu</c:v>
                </c:pt>
                <c:pt idx="829">
                  <c:v>Leerdammer</c:v>
                </c:pt>
                <c:pt idx="830">
                  <c:v>All Others</c:v>
                </c:pt>
                <c:pt idx="831">
                  <c:v>Entremont</c:v>
                </c:pt>
                <c:pt idx="832">
                  <c:v>Savencia: A</c:v>
                </c:pt>
                <c:pt idx="833">
                  <c:v>All Others</c:v>
                </c:pt>
                <c:pt idx="834">
                  <c:v>All Others</c:v>
                </c:pt>
                <c:pt idx="835">
                  <c:v>Private Lab</c:v>
                </c:pt>
                <c:pt idx="836">
                  <c:v>All Others</c:v>
                </c:pt>
                <c:pt idx="837">
                  <c:v>All Others</c:v>
                </c:pt>
                <c:pt idx="838">
                  <c:v>Nurishh</c:v>
                </c:pt>
                <c:pt idx="839">
                  <c:v>St Moret</c:v>
                </c:pt>
                <c:pt idx="840">
                  <c:v>Islos</c:v>
                </c:pt>
                <c:pt idx="841">
                  <c:v>All Others</c:v>
                </c:pt>
                <c:pt idx="842">
                  <c:v>All Others</c:v>
                </c:pt>
                <c:pt idx="843">
                  <c:v>Richesmonts</c:v>
                </c:pt>
                <c:pt idx="844">
                  <c:v>Eurial Autr</c:v>
                </c:pt>
                <c:pt idx="845">
                  <c:v>Triballat N</c:v>
                </c:pt>
                <c:pt idx="846">
                  <c:v>Private Lab</c:v>
                </c:pt>
                <c:pt idx="847">
                  <c:v>President</c:v>
                </c:pt>
                <c:pt idx="848">
                  <c:v>All Others</c:v>
                </c:pt>
                <c:pt idx="849">
                  <c:v>All Others</c:v>
                </c:pt>
                <c:pt idx="850">
                  <c:v>Aperivrais</c:v>
                </c:pt>
                <c:pt idx="851">
                  <c:v>La Belle Et</c:v>
                </c:pt>
                <c:pt idx="852">
                  <c:v>All Others</c:v>
                </c:pt>
                <c:pt idx="853">
                  <c:v>All Others</c:v>
                </c:pt>
                <c:pt idx="854">
                  <c:v>All Others</c:v>
                </c:pt>
                <c:pt idx="855">
                  <c:v>Private Lab</c:v>
                </c:pt>
                <c:pt idx="856">
                  <c:v>Private Lab</c:v>
                </c:pt>
                <c:pt idx="857">
                  <c:v>Etorki</c:v>
                </c:pt>
                <c:pt idx="858">
                  <c:v>Private Lab</c:v>
                </c:pt>
                <c:pt idx="859">
                  <c:v>Boursin</c:v>
                </c:pt>
                <c:pt idx="860">
                  <c:v>Apericube</c:v>
                </c:pt>
                <c:pt idx="861">
                  <c:v>Entremont</c:v>
                </c:pt>
                <c:pt idx="862">
                  <c:v>L'Ortolan</c:v>
                </c:pt>
                <c:pt idx="863">
                  <c:v>Violife</c:v>
                </c:pt>
                <c:pt idx="864">
                  <c:v>Etoile Du Q</c:v>
                </c:pt>
                <c:pt idx="865">
                  <c:v>Lactalis: A</c:v>
                </c:pt>
                <c:pt idx="866">
                  <c:v>Tartare</c:v>
                </c:pt>
                <c:pt idx="867">
                  <c:v>Lactalis: A</c:v>
                </c:pt>
                <c:pt idx="868">
                  <c:v>Violife</c:v>
                </c:pt>
                <c:pt idx="869">
                  <c:v>All Others</c:v>
                </c:pt>
                <c:pt idx="870">
                  <c:v>All Others</c:v>
                </c:pt>
                <c:pt idx="871">
                  <c:v>All Others</c:v>
                </c:pt>
                <c:pt idx="872">
                  <c:v>Nurishh</c:v>
                </c:pt>
                <c:pt idx="873">
                  <c:v>Eurial Autr</c:v>
                </c:pt>
                <c:pt idx="874">
                  <c:v>All Others</c:v>
                </c:pt>
                <c:pt idx="875">
                  <c:v>All Others</c:v>
                </c:pt>
                <c:pt idx="876">
                  <c:v>Lactalis: A</c:v>
                </c:pt>
                <c:pt idx="877">
                  <c:v>Private Lab</c:v>
                </c:pt>
                <c:pt idx="878">
                  <c:v>Etoile Du V</c:v>
                </c:pt>
                <c:pt idx="879">
                  <c:v>All Others</c:v>
                </c:pt>
                <c:pt idx="880">
                  <c:v>All Others</c:v>
                </c:pt>
                <c:pt idx="881">
                  <c:v>All Others</c:v>
                </c:pt>
                <c:pt idx="882">
                  <c:v>All Others</c:v>
                </c:pt>
                <c:pt idx="883">
                  <c:v>Nurishh</c:v>
                </c:pt>
                <c:pt idx="884">
                  <c:v>All Others</c:v>
                </c:pt>
                <c:pt idx="885">
                  <c:v>All Others</c:v>
                </c:pt>
                <c:pt idx="886">
                  <c:v>Private Lab</c:v>
                </c:pt>
                <c:pt idx="887">
                  <c:v>Nurishh</c:v>
                </c:pt>
                <c:pt idx="888">
                  <c:v>All Others</c:v>
                </c:pt>
                <c:pt idx="889">
                  <c:v>All Others</c:v>
                </c:pt>
                <c:pt idx="890">
                  <c:v>All Others</c:v>
                </c:pt>
                <c:pt idx="891">
                  <c:v>Nurishh</c:v>
                </c:pt>
                <c:pt idx="892">
                  <c:v>Violife</c:v>
                </c:pt>
                <c:pt idx="893">
                  <c:v>All Others</c:v>
                </c:pt>
                <c:pt idx="894">
                  <c:v>Casa Azzurr</c:v>
                </c:pt>
                <c:pt idx="895">
                  <c:v>Boursin</c:v>
                </c:pt>
                <c:pt idx="896">
                  <c:v>All Others</c:v>
                </c:pt>
                <c:pt idx="897">
                  <c:v>All Others</c:v>
                </c:pt>
                <c:pt idx="898">
                  <c:v>Private Lab</c:v>
                </c:pt>
                <c:pt idx="899">
                  <c:v>All Others</c:v>
                </c:pt>
                <c:pt idx="900">
                  <c:v>Leerdammer</c:v>
                </c:pt>
                <c:pt idx="901">
                  <c:v>All Others</c:v>
                </c:pt>
                <c:pt idx="902">
                  <c:v>All Others</c:v>
                </c:pt>
                <c:pt idx="903">
                  <c:v>Aperivrais</c:v>
                </c:pt>
                <c:pt idx="904">
                  <c:v>Etoile Du Q</c:v>
                </c:pt>
                <c:pt idx="905">
                  <c:v>Boursin</c:v>
                </c:pt>
                <c:pt idx="906">
                  <c:v>All Others</c:v>
                </c:pt>
                <c:pt idx="907">
                  <c:v>All Others</c:v>
                </c:pt>
                <c:pt idx="908">
                  <c:v>Entremont</c:v>
                </c:pt>
                <c:pt idx="909">
                  <c:v>All Others</c:v>
                </c:pt>
                <c:pt idx="910">
                  <c:v>Nurishh</c:v>
                </c:pt>
                <c:pt idx="911">
                  <c:v>Private Lab</c:v>
                </c:pt>
                <c:pt idx="912">
                  <c:v>All Others</c:v>
                </c:pt>
                <c:pt idx="913">
                  <c:v>Private Lab</c:v>
                </c:pt>
                <c:pt idx="914">
                  <c:v>Soignon</c:v>
                </c:pt>
                <c:pt idx="915">
                  <c:v>All Others</c:v>
                </c:pt>
                <c:pt idx="916">
                  <c:v>All Others</c:v>
                </c:pt>
                <c:pt idx="917">
                  <c:v>All Others</c:v>
                </c:pt>
                <c:pt idx="918">
                  <c:v>Lactalis: A</c:v>
                </c:pt>
                <c:pt idx="919">
                  <c:v>All Others</c:v>
                </c:pt>
                <c:pt idx="920">
                  <c:v>La Belle Et</c:v>
                </c:pt>
                <c:pt idx="921">
                  <c:v>All Others</c:v>
                </c:pt>
                <c:pt idx="922">
                  <c:v>Soignon</c:v>
                </c:pt>
                <c:pt idx="923">
                  <c:v>All Others</c:v>
                </c:pt>
                <c:pt idx="924">
                  <c:v>All Others</c:v>
                </c:pt>
                <c:pt idx="925">
                  <c:v>Savencia: A</c:v>
                </c:pt>
                <c:pt idx="926">
                  <c:v>All Others</c:v>
                </c:pt>
                <c:pt idx="927">
                  <c:v>Savencia: A</c:v>
                </c:pt>
                <c:pt idx="928">
                  <c:v>President</c:v>
                </c:pt>
                <c:pt idx="929">
                  <c:v>Triballat N</c:v>
                </c:pt>
                <c:pt idx="930">
                  <c:v>Boursin</c:v>
                </c:pt>
                <c:pt idx="931">
                  <c:v>Eurial Autr</c:v>
                </c:pt>
                <c:pt idx="932">
                  <c:v>All Others</c:v>
                </c:pt>
                <c:pt idx="933">
                  <c:v>Le Brebiou</c:v>
                </c:pt>
                <c:pt idx="934">
                  <c:v>All Others</c:v>
                </c:pt>
                <c:pt idx="935">
                  <c:v>All Others</c:v>
                </c:pt>
                <c:pt idx="936">
                  <c:v>Savencia: A</c:v>
                </c:pt>
                <c:pt idx="937">
                  <c:v>All Others</c:v>
                </c:pt>
                <c:pt idx="938">
                  <c:v>Lactalis: A</c:v>
                </c:pt>
                <c:pt idx="939">
                  <c:v>All Others</c:v>
                </c:pt>
                <c:pt idx="940">
                  <c:v>All Others</c:v>
                </c:pt>
                <c:pt idx="941">
                  <c:v>Private Lab</c:v>
                </c:pt>
                <c:pt idx="942">
                  <c:v>All Others</c:v>
                </c:pt>
                <c:pt idx="943">
                  <c:v>O'Tapas Ape</c:v>
                </c:pt>
                <c:pt idx="944">
                  <c:v>All Others</c:v>
                </c:pt>
                <c:pt idx="945">
                  <c:v>Lactalis: A</c:v>
                </c:pt>
                <c:pt idx="946">
                  <c:v>All Others</c:v>
                </c:pt>
                <c:pt idx="947">
                  <c:v>Private Lab</c:v>
                </c:pt>
                <c:pt idx="948">
                  <c:v>All Others</c:v>
                </c:pt>
                <c:pt idx="949">
                  <c:v>All Others</c:v>
                </c:pt>
                <c:pt idx="950">
                  <c:v>Richesmonts</c:v>
                </c:pt>
                <c:pt idx="951">
                  <c:v>Entremont</c:v>
                </c:pt>
                <c:pt idx="952">
                  <c:v>Bresse Bleu</c:v>
                </c:pt>
                <c:pt idx="953">
                  <c:v>All Others</c:v>
                </c:pt>
                <c:pt idx="954">
                  <c:v>All Others</c:v>
                </c:pt>
                <c:pt idx="955">
                  <c:v>All Others</c:v>
                </c:pt>
                <c:pt idx="956">
                  <c:v>All Others</c:v>
                </c:pt>
                <c:pt idx="957">
                  <c:v>Chavroux</c:v>
                </c:pt>
                <c:pt idx="958">
                  <c:v>Private Lab</c:v>
                </c:pt>
                <c:pt idx="959">
                  <c:v>Coeur De Li</c:v>
                </c:pt>
                <c:pt idx="960">
                  <c:v>Salakis</c:v>
                </c:pt>
                <c:pt idx="961">
                  <c:v>All Others</c:v>
                </c:pt>
                <c:pt idx="962">
                  <c:v>Private Lab</c:v>
                </c:pt>
                <c:pt idx="963">
                  <c:v>All Others</c:v>
                </c:pt>
                <c:pt idx="964">
                  <c:v>All Others</c:v>
                </c:pt>
                <c:pt idx="965">
                  <c:v>Pave D'Affi</c:v>
                </c:pt>
                <c:pt idx="966">
                  <c:v>All Others</c:v>
                </c:pt>
                <c:pt idx="967">
                  <c:v>All Others</c:v>
                </c:pt>
                <c:pt idx="968">
                  <c:v>Milleret: A</c:v>
                </c:pt>
                <c:pt idx="969">
                  <c:v>Violife</c:v>
                </c:pt>
                <c:pt idx="970">
                  <c:v>Etoile Du V</c:v>
                </c:pt>
                <c:pt idx="971">
                  <c:v>Fauquet</c:v>
                </c:pt>
                <c:pt idx="972">
                  <c:v>All Others</c:v>
                </c:pt>
                <c:pt idx="973">
                  <c:v>All Others</c:v>
                </c:pt>
                <c:pt idx="974">
                  <c:v>Etoile Du V</c:v>
                </c:pt>
                <c:pt idx="975">
                  <c:v>Milleret: A</c:v>
                </c:pt>
                <c:pt idx="976">
                  <c:v>Paysan Bret</c:v>
                </c:pt>
                <c:pt idx="977">
                  <c:v>Port Salut</c:v>
                </c:pt>
                <c:pt idx="978">
                  <c:v>Etoile Du V</c:v>
                </c:pt>
                <c:pt idx="979">
                  <c:v>Private Lab</c:v>
                </c:pt>
                <c:pt idx="980">
                  <c:v>Apericube</c:v>
                </c:pt>
                <c:pt idx="981">
                  <c:v>All Others</c:v>
                </c:pt>
                <c:pt idx="982">
                  <c:v>All Others</c:v>
                </c:pt>
                <c:pt idx="983">
                  <c:v>Lactalis: A</c:v>
                </c:pt>
                <c:pt idx="984">
                  <c:v>All Others</c:v>
                </c:pt>
                <c:pt idx="985">
                  <c:v>Casa Azzurr</c:v>
                </c:pt>
                <c:pt idx="986">
                  <c:v>All Others</c:v>
                </c:pt>
                <c:pt idx="987">
                  <c:v>All Others</c:v>
                </c:pt>
                <c:pt idx="988">
                  <c:v>All Others</c:v>
                </c:pt>
                <c:pt idx="989">
                  <c:v>All Others</c:v>
                </c:pt>
                <c:pt idx="990">
                  <c:v>Juraflore</c:v>
                </c:pt>
                <c:pt idx="991">
                  <c:v>All Others</c:v>
                </c:pt>
                <c:pt idx="992">
                  <c:v>All Others</c:v>
                </c:pt>
                <c:pt idx="993">
                  <c:v>Carre Frais</c:v>
                </c:pt>
                <c:pt idx="994">
                  <c:v>All Others</c:v>
                </c:pt>
                <c:pt idx="995">
                  <c:v>President</c:v>
                </c:pt>
                <c:pt idx="996">
                  <c:v>Nurishh</c:v>
                </c:pt>
                <c:pt idx="997">
                  <c:v>Violife</c:v>
                </c:pt>
                <c:pt idx="998">
                  <c:v>Triballat R</c:v>
                </c:pt>
                <c:pt idx="999">
                  <c:v>All Others</c:v>
                </c:pt>
                <c:pt idx="1000">
                  <c:v>All Others</c:v>
                </c:pt>
                <c:pt idx="1001">
                  <c:v>All Others</c:v>
                </c:pt>
                <c:pt idx="1002">
                  <c:v>Tartare</c:v>
                </c:pt>
                <c:pt idx="1003">
                  <c:v>Apericube</c:v>
                </c:pt>
                <c:pt idx="1004">
                  <c:v>All Others</c:v>
                </c:pt>
                <c:pt idx="1005">
                  <c:v>All Others</c:v>
                </c:pt>
                <c:pt idx="1006">
                  <c:v>Eurial Autr</c:v>
                </c:pt>
                <c:pt idx="1007">
                  <c:v>All Others</c:v>
                </c:pt>
                <c:pt idx="1008">
                  <c:v>All Others</c:v>
                </c:pt>
                <c:pt idx="1009">
                  <c:v>Casa Azzurr</c:v>
                </c:pt>
                <c:pt idx="1010">
                  <c:v>Paysan Bret</c:v>
                </c:pt>
                <c:pt idx="1011">
                  <c:v>All Others</c:v>
                </c:pt>
                <c:pt idx="1012">
                  <c:v>All Others</c:v>
                </c:pt>
                <c:pt idx="1013">
                  <c:v>Private Lab</c:v>
                </c:pt>
                <c:pt idx="1014">
                  <c:v>All Others</c:v>
                </c:pt>
                <c:pt idx="1015">
                  <c:v>All Others</c:v>
                </c:pt>
                <c:pt idx="1016">
                  <c:v>All Others</c:v>
                </c:pt>
                <c:pt idx="1017">
                  <c:v>All Others</c:v>
                </c:pt>
                <c:pt idx="1018">
                  <c:v>All Others</c:v>
                </c:pt>
                <c:pt idx="1019">
                  <c:v>Private Lab</c:v>
                </c:pt>
                <c:pt idx="1020">
                  <c:v>All Others</c:v>
                </c:pt>
                <c:pt idx="1021">
                  <c:v>Boursin</c:v>
                </c:pt>
                <c:pt idx="1022">
                  <c:v>Societe</c:v>
                </c:pt>
                <c:pt idx="1023">
                  <c:v>Etoile Du V</c:v>
                </c:pt>
                <c:pt idx="1024">
                  <c:v>Etoile Du Q</c:v>
                </c:pt>
                <c:pt idx="1025">
                  <c:v>Private Lab</c:v>
                </c:pt>
                <c:pt idx="1026">
                  <c:v>All Others</c:v>
                </c:pt>
                <c:pt idx="1027">
                  <c:v>All Others</c:v>
                </c:pt>
                <c:pt idx="1028">
                  <c:v>Saint Albra</c:v>
                </c:pt>
                <c:pt idx="1029">
                  <c:v>La Vache Qu</c:v>
                </c:pt>
                <c:pt idx="1030">
                  <c:v>All Others</c:v>
                </c:pt>
                <c:pt idx="1031">
                  <c:v>Lactalis: A</c:v>
                </c:pt>
                <c:pt idx="1032">
                  <c:v>All Others</c:v>
                </c:pt>
                <c:pt idx="1033">
                  <c:v>Pochat</c:v>
                </c:pt>
                <c:pt idx="1034">
                  <c:v>Private Lab</c:v>
                </c:pt>
                <c:pt idx="1035">
                  <c:v>All Others</c:v>
                </c:pt>
                <c:pt idx="1036">
                  <c:v>All Others</c:v>
                </c:pt>
                <c:pt idx="1037">
                  <c:v>All Others</c:v>
                </c:pt>
                <c:pt idx="1038">
                  <c:v>All Others</c:v>
                </c:pt>
                <c:pt idx="1039">
                  <c:v>Private Lab</c:v>
                </c:pt>
                <c:pt idx="1040">
                  <c:v>All Others</c:v>
                </c:pt>
                <c:pt idx="1041">
                  <c:v>All Others</c:v>
                </c:pt>
                <c:pt idx="1042">
                  <c:v>Private Lab</c:v>
                </c:pt>
                <c:pt idx="1043">
                  <c:v>All Others</c:v>
                </c:pt>
                <c:pt idx="1044">
                  <c:v>Galbani</c:v>
                </c:pt>
                <c:pt idx="1045">
                  <c:v>All Others</c:v>
                </c:pt>
                <c:pt idx="1046">
                  <c:v>All Others</c:v>
                </c:pt>
                <c:pt idx="1047">
                  <c:v>Milleret: A</c:v>
                </c:pt>
                <c:pt idx="1048">
                  <c:v>Etoile Du V</c:v>
                </c:pt>
                <c:pt idx="1049">
                  <c:v>All Others</c:v>
                </c:pt>
                <c:pt idx="1050">
                  <c:v>Corsica</c:v>
                </c:pt>
                <c:pt idx="1051">
                  <c:v>Lactalis: A</c:v>
                </c:pt>
                <c:pt idx="1052">
                  <c:v>Eurial Autr</c:v>
                </c:pt>
                <c:pt idx="1053">
                  <c:v>All Others</c:v>
                </c:pt>
                <c:pt idx="1054">
                  <c:v>All Others</c:v>
                </c:pt>
                <c:pt idx="1055">
                  <c:v>All Others</c:v>
                </c:pt>
                <c:pt idx="1056">
                  <c:v>All Others</c:v>
                </c:pt>
                <c:pt idx="1057">
                  <c:v>Private Lab</c:v>
                </c:pt>
                <c:pt idx="1058">
                  <c:v>All Others</c:v>
                </c:pt>
                <c:pt idx="1059">
                  <c:v>All Others</c:v>
                </c:pt>
                <c:pt idx="1060">
                  <c:v>All Others</c:v>
                </c:pt>
                <c:pt idx="1061">
                  <c:v>All Others</c:v>
                </c:pt>
                <c:pt idx="1062">
                  <c:v>Private Lab</c:v>
                </c:pt>
                <c:pt idx="1063">
                  <c:v>All Others</c:v>
                </c:pt>
                <c:pt idx="1064">
                  <c:v>All Others</c:v>
                </c:pt>
                <c:pt idx="1065">
                  <c:v>O'Tapas Ape</c:v>
                </c:pt>
                <c:pt idx="1066">
                  <c:v>Lactalis: A</c:v>
                </c:pt>
                <c:pt idx="1067">
                  <c:v>Private Lab</c:v>
                </c:pt>
                <c:pt idx="1068">
                  <c:v>Eurial Autr</c:v>
                </c:pt>
                <c:pt idx="1069">
                  <c:v>All Others</c:v>
                </c:pt>
                <c:pt idx="1070">
                  <c:v>All Others</c:v>
                </c:pt>
                <c:pt idx="1071">
                  <c:v>All Others</c:v>
                </c:pt>
                <c:pt idx="1072">
                  <c:v>Private Lab</c:v>
                </c:pt>
                <c:pt idx="1073">
                  <c:v>All Others</c:v>
                </c:pt>
                <c:pt idx="1074">
                  <c:v>All Others</c:v>
                </c:pt>
                <c:pt idx="1075">
                  <c:v>All Others</c:v>
                </c:pt>
                <c:pt idx="1076">
                  <c:v>Private Lab</c:v>
                </c:pt>
                <c:pt idx="1077">
                  <c:v>All Others</c:v>
                </c:pt>
                <c:pt idx="1078">
                  <c:v>Private Lab</c:v>
                </c:pt>
                <c:pt idx="1079">
                  <c:v>Mini Babybe</c:v>
                </c:pt>
                <c:pt idx="1080">
                  <c:v>Pochat</c:v>
                </c:pt>
                <c:pt idx="1081">
                  <c:v>All Others</c:v>
                </c:pt>
                <c:pt idx="1082">
                  <c:v>All Others</c:v>
                </c:pt>
                <c:pt idx="1083">
                  <c:v>Richesmonts</c:v>
                </c:pt>
                <c:pt idx="1084">
                  <c:v>All Others</c:v>
                </c:pt>
                <c:pt idx="1085">
                  <c:v>All Others</c:v>
                </c:pt>
                <c:pt idx="1086">
                  <c:v>All Others</c:v>
                </c:pt>
                <c:pt idx="1087">
                  <c:v>All Others</c:v>
                </c:pt>
                <c:pt idx="1088">
                  <c:v>All Others</c:v>
                </c:pt>
                <c:pt idx="1089">
                  <c:v>All Others</c:v>
                </c:pt>
                <c:pt idx="1090">
                  <c:v>All Others</c:v>
                </c:pt>
                <c:pt idx="1091">
                  <c:v>Galbani</c:v>
                </c:pt>
                <c:pt idx="1092">
                  <c:v>All Others</c:v>
                </c:pt>
                <c:pt idx="1093">
                  <c:v>P'Tit Louis</c:v>
                </c:pt>
                <c:pt idx="1094">
                  <c:v>All Others</c:v>
                </c:pt>
                <c:pt idx="1095">
                  <c:v>All Others</c:v>
                </c:pt>
                <c:pt idx="1096">
                  <c:v>All Others</c:v>
                </c:pt>
                <c:pt idx="1097">
                  <c:v>All Others</c:v>
                </c:pt>
                <c:pt idx="1098">
                  <c:v>All Others</c:v>
                </c:pt>
                <c:pt idx="1099">
                  <c:v>Boursin</c:v>
                </c:pt>
                <c:pt idx="1100">
                  <c:v>All Others</c:v>
                </c:pt>
                <c:pt idx="1101">
                  <c:v>All Others</c:v>
                </c:pt>
                <c:pt idx="1102">
                  <c:v>Private Lab</c:v>
                </c:pt>
                <c:pt idx="1103">
                  <c:v>Boursin</c:v>
                </c:pt>
                <c:pt idx="1104">
                  <c:v>Boursin</c:v>
                </c:pt>
                <c:pt idx="1105">
                  <c:v>All Others</c:v>
                </c:pt>
                <c:pt idx="1106">
                  <c:v>All Others</c:v>
                </c:pt>
                <c:pt idx="1107">
                  <c:v>Private Lab</c:v>
                </c:pt>
                <c:pt idx="1108">
                  <c:v>All Others</c:v>
                </c:pt>
                <c:pt idx="1109">
                  <c:v>All Others</c:v>
                </c:pt>
                <c:pt idx="1110">
                  <c:v>All Others</c:v>
                </c:pt>
                <c:pt idx="1111">
                  <c:v>Private Lab</c:v>
                </c:pt>
                <c:pt idx="1112">
                  <c:v>All Others</c:v>
                </c:pt>
                <c:pt idx="1113">
                  <c:v>All Others</c:v>
                </c:pt>
                <c:pt idx="1114">
                  <c:v>All Others</c:v>
                </c:pt>
                <c:pt idx="1115">
                  <c:v>Triballat N</c:v>
                </c:pt>
                <c:pt idx="1116">
                  <c:v>Lactalis: A</c:v>
                </c:pt>
                <c:pt idx="1117">
                  <c:v>All Others</c:v>
                </c:pt>
                <c:pt idx="1118">
                  <c:v>All Others</c:v>
                </c:pt>
                <c:pt idx="1119">
                  <c:v>Petit Billy</c:v>
                </c:pt>
                <c:pt idx="1120">
                  <c:v>La Vache Qu</c:v>
                </c:pt>
                <c:pt idx="1121">
                  <c:v>Private Lab</c:v>
                </c:pt>
                <c:pt idx="1122">
                  <c:v>All Others</c:v>
                </c:pt>
                <c:pt idx="1123">
                  <c:v>Entremont</c:v>
                </c:pt>
                <c:pt idx="1124">
                  <c:v>All Others</c:v>
                </c:pt>
                <c:pt idx="1125">
                  <c:v>Private Lab</c:v>
                </c:pt>
                <c:pt idx="1126">
                  <c:v>Private Lab</c:v>
                </c:pt>
                <c:pt idx="1127">
                  <c:v>Galbani</c:v>
                </c:pt>
                <c:pt idx="1128">
                  <c:v>All Others</c:v>
                </c:pt>
                <c:pt idx="1129">
                  <c:v>All Others</c:v>
                </c:pt>
                <c:pt idx="1130">
                  <c:v>Lactalis: A</c:v>
                </c:pt>
                <c:pt idx="1131">
                  <c:v>All Others</c:v>
                </c:pt>
                <c:pt idx="1132">
                  <c:v>All Others</c:v>
                </c:pt>
                <c:pt idx="1133">
                  <c:v>All Others</c:v>
                </c:pt>
                <c:pt idx="1134">
                  <c:v>Savencia: A</c:v>
                </c:pt>
                <c:pt idx="1135">
                  <c:v>Pave D'Affi</c:v>
                </c:pt>
                <c:pt idx="1136">
                  <c:v>All Others</c:v>
                </c:pt>
                <c:pt idx="1137">
                  <c:v>Le Saint Am</c:v>
                </c:pt>
                <c:pt idx="1138">
                  <c:v>Societe</c:v>
                </c:pt>
                <c:pt idx="1139">
                  <c:v>St Moret</c:v>
                </c:pt>
                <c:pt idx="1140">
                  <c:v>All Others</c:v>
                </c:pt>
                <c:pt idx="1141">
                  <c:v>All Others</c:v>
                </c:pt>
                <c:pt idx="1142">
                  <c:v>Boursin</c:v>
                </c:pt>
                <c:pt idx="1143">
                  <c:v>All Others</c:v>
                </c:pt>
                <c:pt idx="1144">
                  <c:v>All Others</c:v>
                </c:pt>
                <c:pt idx="1145">
                  <c:v>All Others</c:v>
                </c:pt>
                <c:pt idx="1146">
                  <c:v>Pave D'Affi</c:v>
                </c:pt>
                <c:pt idx="1147">
                  <c:v>L'Ortolan</c:v>
                </c:pt>
                <c:pt idx="1148">
                  <c:v>All Others</c:v>
                </c:pt>
                <c:pt idx="1149">
                  <c:v>Le Saint Am</c:v>
                </c:pt>
                <c:pt idx="1150">
                  <c:v>All Others</c:v>
                </c:pt>
                <c:pt idx="1151">
                  <c:v>All Others</c:v>
                </c:pt>
                <c:pt idx="1152">
                  <c:v>All Others</c:v>
                </c:pt>
                <c:pt idx="1153">
                  <c:v>All Others</c:v>
                </c:pt>
                <c:pt idx="1154">
                  <c:v>Nurishh</c:v>
                </c:pt>
                <c:pt idx="1155">
                  <c:v>Savencia: A</c:v>
                </c:pt>
                <c:pt idx="1156">
                  <c:v>La Vache Qu</c:v>
                </c:pt>
                <c:pt idx="1157">
                  <c:v>All Others</c:v>
                </c:pt>
                <c:pt idx="1158">
                  <c:v>All Others</c:v>
                </c:pt>
                <c:pt idx="1159">
                  <c:v>All Others</c:v>
                </c:pt>
                <c:pt idx="1160">
                  <c:v>All Others</c:v>
                </c:pt>
                <c:pt idx="1161">
                  <c:v>All Others</c:v>
                </c:pt>
                <c:pt idx="1162">
                  <c:v>All Others</c:v>
                </c:pt>
                <c:pt idx="1163">
                  <c:v>Triballat N</c:v>
                </c:pt>
                <c:pt idx="1164">
                  <c:v>All Others</c:v>
                </c:pt>
                <c:pt idx="1165">
                  <c:v>Entremont</c:v>
                </c:pt>
                <c:pt idx="1166">
                  <c:v>All Others</c:v>
                </c:pt>
                <c:pt idx="1167">
                  <c:v>All Others</c:v>
                </c:pt>
                <c:pt idx="1168">
                  <c:v>All Others</c:v>
                </c:pt>
                <c:pt idx="1169">
                  <c:v>All Others</c:v>
                </c:pt>
                <c:pt idx="1170">
                  <c:v>Etoile Du V</c:v>
                </c:pt>
                <c:pt idx="1171">
                  <c:v>All Others</c:v>
                </c:pt>
                <c:pt idx="1172">
                  <c:v>All Others</c:v>
                </c:pt>
                <c:pt idx="1173">
                  <c:v>Boursin</c:v>
                </c:pt>
                <c:pt idx="1174">
                  <c:v>All Others</c:v>
                </c:pt>
                <c:pt idx="1175">
                  <c:v>All Others</c:v>
                </c:pt>
                <c:pt idx="1176">
                  <c:v>Boursin</c:v>
                </c:pt>
                <c:pt idx="1177">
                  <c:v>Leerdammer</c:v>
                </c:pt>
                <c:pt idx="1178">
                  <c:v>All Others</c:v>
                </c:pt>
                <c:pt idx="1179">
                  <c:v>All Others</c:v>
                </c:pt>
                <c:pt idx="1180">
                  <c:v>All Others</c:v>
                </c:pt>
                <c:pt idx="1181">
                  <c:v>Savencia: A</c:v>
                </c:pt>
                <c:pt idx="1182">
                  <c:v>Etoile Du V</c:v>
                </c:pt>
                <c:pt idx="1183">
                  <c:v>Lactalis: A</c:v>
                </c:pt>
                <c:pt idx="1184">
                  <c:v>All Others</c:v>
                </c:pt>
                <c:pt idx="1185">
                  <c:v>La Vache Qu</c:v>
                </c:pt>
                <c:pt idx="1186">
                  <c:v>Etoile Du V</c:v>
                </c:pt>
                <c:pt idx="1187">
                  <c:v>All Others</c:v>
                </c:pt>
                <c:pt idx="1188">
                  <c:v>Paysan Bret</c:v>
                </c:pt>
                <c:pt idx="1189">
                  <c:v>All Others</c:v>
                </c:pt>
                <c:pt idx="1190">
                  <c:v>Private Lab</c:v>
                </c:pt>
                <c:pt idx="1191">
                  <c:v>Etoile Du Q</c:v>
                </c:pt>
                <c:pt idx="1192">
                  <c:v>All Others</c:v>
                </c:pt>
                <c:pt idx="1193">
                  <c:v>Paysan Bret</c:v>
                </c:pt>
                <c:pt idx="1194">
                  <c:v>Private Lab</c:v>
                </c:pt>
                <c:pt idx="1195">
                  <c:v>All Others</c:v>
                </c:pt>
                <c:pt idx="1196">
                  <c:v>Private Lab</c:v>
                </c:pt>
                <c:pt idx="1197">
                  <c:v>Private Lab</c:v>
                </c:pt>
                <c:pt idx="1198">
                  <c:v>All Others</c:v>
                </c:pt>
                <c:pt idx="1199">
                  <c:v>All Others</c:v>
                </c:pt>
                <c:pt idx="1200">
                  <c:v>Savencia: A</c:v>
                </c:pt>
                <c:pt idx="1201">
                  <c:v>All Others</c:v>
                </c:pt>
                <c:pt idx="1202">
                  <c:v>All Others</c:v>
                </c:pt>
                <c:pt idx="1203">
                  <c:v>Salakis</c:v>
                </c:pt>
                <c:pt idx="1204">
                  <c:v>All Others</c:v>
                </c:pt>
                <c:pt idx="1205">
                  <c:v>Triballat N</c:v>
                </c:pt>
                <c:pt idx="1206">
                  <c:v>All Others</c:v>
                </c:pt>
                <c:pt idx="1207">
                  <c:v>Private Lab</c:v>
                </c:pt>
                <c:pt idx="1208">
                  <c:v>All Others</c:v>
                </c:pt>
                <c:pt idx="1209">
                  <c:v>All Others</c:v>
                </c:pt>
                <c:pt idx="1210">
                  <c:v>Raguin</c:v>
                </c:pt>
                <c:pt idx="1211">
                  <c:v>All Others</c:v>
                </c:pt>
                <c:pt idx="1212">
                  <c:v>Private Lab</c:v>
                </c:pt>
                <c:pt idx="1213">
                  <c:v>Raguin</c:v>
                </c:pt>
                <c:pt idx="1214">
                  <c:v>All Others</c:v>
                </c:pt>
                <c:pt idx="1215">
                  <c:v>All Others</c:v>
                </c:pt>
                <c:pt idx="1216">
                  <c:v>All Others</c:v>
                </c:pt>
                <c:pt idx="1217">
                  <c:v>Etoile Du V</c:v>
                </c:pt>
                <c:pt idx="1218">
                  <c:v>All Others</c:v>
                </c:pt>
                <c:pt idx="1219">
                  <c:v>All Others</c:v>
                </c:pt>
                <c:pt idx="1220">
                  <c:v>All Others</c:v>
                </c:pt>
                <c:pt idx="1221">
                  <c:v>Private Lab</c:v>
                </c:pt>
                <c:pt idx="1222">
                  <c:v>All Others</c:v>
                </c:pt>
                <c:pt idx="1223">
                  <c:v>Savencia: A</c:v>
                </c:pt>
                <c:pt idx="1224">
                  <c:v>All Others</c:v>
                </c:pt>
                <c:pt idx="1225">
                  <c:v>Lactalis: A</c:v>
                </c:pt>
                <c:pt idx="1226">
                  <c:v>Private Lab</c:v>
                </c:pt>
                <c:pt idx="1227">
                  <c:v>Raguin</c:v>
                </c:pt>
                <c:pt idx="1228">
                  <c:v>All Others</c:v>
                </c:pt>
                <c:pt idx="1229">
                  <c:v>All Others</c:v>
                </c:pt>
                <c:pt idx="1230">
                  <c:v>Pochat</c:v>
                </c:pt>
                <c:pt idx="1231">
                  <c:v>Savencia: A</c:v>
                </c:pt>
                <c:pt idx="1232">
                  <c:v>All Others</c:v>
                </c:pt>
                <c:pt idx="1233">
                  <c:v>La Pointe P</c:v>
                </c:pt>
                <c:pt idx="1234">
                  <c:v>Petit Billy</c:v>
                </c:pt>
                <c:pt idx="1235">
                  <c:v>Salakis</c:v>
                </c:pt>
                <c:pt idx="1236">
                  <c:v>Lactalis: A</c:v>
                </c:pt>
                <c:pt idx="1237">
                  <c:v>All Others</c:v>
                </c:pt>
                <c:pt idx="1238">
                  <c:v>La Belle Et</c:v>
                </c:pt>
                <c:pt idx="1239">
                  <c:v>Nurishh</c:v>
                </c:pt>
                <c:pt idx="1240">
                  <c:v>All Others</c:v>
                </c:pt>
                <c:pt idx="1241">
                  <c:v>President</c:v>
                </c:pt>
                <c:pt idx="1242">
                  <c:v>All Others</c:v>
                </c:pt>
                <c:pt idx="1243">
                  <c:v>All Others</c:v>
                </c:pt>
                <c:pt idx="1244">
                  <c:v>O'Tapas Ape</c:v>
                </c:pt>
                <c:pt idx="1245">
                  <c:v>All Others</c:v>
                </c:pt>
                <c:pt idx="1246">
                  <c:v>All Others</c:v>
                </c:pt>
                <c:pt idx="1247">
                  <c:v>All Others</c:v>
                </c:pt>
                <c:pt idx="1248">
                  <c:v>All Others</c:v>
                </c:pt>
                <c:pt idx="1249">
                  <c:v>All Others</c:v>
                </c:pt>
                <c:pt idx="1250">
                  <c:v>Private Lab</c:v>
                </c:pt>
                <c:pt idx="1251">
                  <c:v>All Others</c:v>
                </c:pt>
                <c:pt idx="1252">
                  <c:v>Private Lab</c:v>
                </c:pt>
                <c:pt idx="1253">
                  <c:v>Tartare</c:v>
                </c:pt>
                <c:pt idx="1254">
                  <c:v>All Others</c:v>
                </c:pt>
                <c:pt idx="1255">
                  <c:v>All Others</c:v>
                </c:pt>
                <c:pt idx="1256">
                  <c:v>All Others</c:v>
                </c:pt>
                <c:pt idx="1257">
                  <c:v>Lactalis: A</c:v>
                </c:pt>
                <c:pt idx="1258">
                  <c:v>All Others</c:v>
                </c:pt>
                <c:pt idx="1259">
                  <c:v>All Others</c:v>
                </c:pt>
                <c:pt idx="1260">
                  <c:v>All Others</c:v>
                </c:pt>
                <c:pt idx="1261">
                  <c:v>All Others</c:v>
                </c:pt>
                <c:pt idx="1262">
                  <c:v>All Others</c:v>
                </c:pt>
                <c:pt idx="1263">
                  <c:v>All Others</c:v>
                </c:pt>
                <c:pt idx="1264">
                  <c:v>Casa Azzurr</c:v>
                </c:pt>
                <c:pt idx="1265">
                  <c:v>Private Lab</c:v>
                </c:pt>
                <c:pt idx="1266">
                  <c:v>All Others</c:v>
                </c:pt>
                <c:pt idx="1267">
                  <c:v>All Others</c:v>
                </c:pt>
                <c:pt idx="1268">
                  <c:v>Milleret: A</c:v>
                </c:pt>
                <c:pt idx="1269">
                  <c:v>All Others</c:v>
                </c:pt>
                <c:pt idx="1270">
                  <c:v>Islos</c:v>
                </c:pt>
                <c:pt idx="1271">
                  <c:v>All Others</c:v>
                </c:pt>
                <c:pt idx="1272">
                  <c:v>All Others</c:v>
                </c:pt>
                <c:pt idx="1273">
                  <c:v>Etoile Du V</c:v>
                </c:pt>
                <c:pt idx="1274">
                  <c:v>All Others</c:v>
                </c:pt>
                <c:pt idx="1275">
                  <c:v>Philadelphi</c:v>
                </c:pt>
                <c:pt idx="1276">
                  <c:v>All Others</c:v>
                </c:pt>
                <c:pt idx="1277">
                  <c:v>Lactalis: A</c:v>
                </c:pt>
                <c:pt idx="1278">
                  <c:v>All Others</c:v>
                </c:pt>
                <c:pt idx="1279">
                  <c:v>All Others</c:v>
                </c:pt>
                <c:pt idx="1280">
                  <c:v>Milleret: A</c:v>
                </c:pt>
                <c:pt idx="1281">
                  <c:v>All Others</c:v>
                </c:pt>
                <c:pt idx="1282">
                  <c:v>All Others</c:v>
                </c:pt>
                <c:pt idx="1283">
                  <c:v>All Others</c:v>
                </c:pt>
                <c:pt idx="1284">
                  <c:v>All Others</c:v>
                </c:pt>
                <c:pt idx="1285">
                  <c:v>All Others</c:v>
                </c:pt>
                <c:pt idx="1286">
                  <c:v>Pave D'Affi</c:v>
                </c:pt>
                <c:pt idx="1287">
                  <c:v>All Others</c:v>
                </c:pt>
                <c:pt idx="1288">
                  <c:v>All Others</c:v>
                </c:pt>
                <c:pt idx="1289">
                  <c:v>All Others</c:v>
                </c:pt>
                <c:pt idx="1290">
                  <c:v>Private Lab</c:v>
                </c:pt>
                <c:pt idx="1291">
                  <c:v>All Others</c:v>
                </c:pt>
                <c:pt idx="1292">
                  <c:v>All Others</c:v>
                </c:pt>
                <c:pt idx="1293">
                  <c:v>Etoile Du V</c:v>
                </c:pt>
                <c:pt idx="1294">
                  <c:v>All Others</c:v>
                </c:pt>
                <c:pt idx="1295">
                  <c:v>Private Lab</c:v>
                </c:pt>
                <c:pt idx="1296">
                  <c:v>All Others</c:v>
                </c:pt>
                <c:pt idx="1297">
                  <c:v>All Others</c:v>
                </c:pt>
                <c:pt idx="1298">
                  <c:v>Casa Azzurr</c:v>
                </c:pt>
                <c:pt idx="1299">
                  <c:v>All Others</c:v>
                </c:pt>
                <c:pt idx="1300">
                  <c:v>Private Lab</c:v>
                </c:pt>
                <c:pt idx="1301">
                  <c:v>All Others</c:v>
                </c:pt>
                <c:pt idx="1302">
                  <c:v>Pave D'Affi</c:v>
                </c:pt>
                <c:pt idx="1303">
                  <c:v>All Others</c:v>
                </c:pt>
                <c:pt idx="1304">
                  <c:v>All Others</c:v>
                </c:pt>
                <c:pt idx="1305">
                  <c:v>All Others</c:v>
                </c:pt>
                <c:pt idx="1306">
                  <c:v>All Others</c:v>
                </c:pt>
                <c:pt idx="1307">
                  <c:v>Corsica</c:v>
                </c:pt>
                <c:pt idx="1308">
                  <c:v>All Others</c:v>
                </c:pt>
                <c:pt idx="1309">
                  <c:v>All Others</c:v>
                </c:pt>
                <c:pt idx="1310">
                  <c:v>Private Lab</c:v>
                </c:pt>
                <c:pt idx="1311">
                  <c:v>Private Lab</c:v>
                </c:pt>
                <c:pt idx="1312">
                  <c:v>All Others</c:v>
                </c:pt>
                <c:pt idx="1313">
                  <c:v>All Others</c:v>
                </c:pt>
                <c:pt idx="1314">
                  <c:v>All Others</c:v>
                </c:pt>
                <c:pt idx="1315">
                  <c:v>Parmareggio</c:v>
                </c:pt>
                <c:pt idx="1316">
                  <c:v>All Others</c:v>
                </c:pt>
                <c:pt idx="1317">
                  <c:v>All Others</c:v>
                </c:pt>
                <c:pt idx="1318">
                  <c:v>All Others</c:v>
                </c:pt>
                <c:pt idx="1319">
                  <c:v>Raguin</c:v>
                </c:pt>
                <c:pt idx="1320">
                  <c:v>All Others</c:v>
                </c:pt>
                <c:pt idx="1321">
                  <c:v>All Others</c:v>
                </c:pt>
                <c:pt idx="1322">
                  <c:v>Private Lab</c:v>
                </c:pt>
                <c:pt idx="1323">
                  <c:v>All Others</c:v>
                </c:pt>
                <c:pt idx="1324">
                  <c:v>All Others</c:v>
                </c:pt>
                <c:pt idx="1325">
                  <c:v>Private Lab</c:v>
                </c:pt>
                <c:pt idx="1326">
                  <c:v>Eurial Autr</c:v>
                </c:pt>
                <c:pt idx="1327">
                  <c:v>All Others</c:v>
                </c:pt>
                <c:pt idx="1328">
                  <c:v>All Others</c:v>
                </c:pt>
                <c:pt idx="1329">
                  <c:v>All Others</c:v>
                </c:pt>
                <c:pt idx="1330">
                  <c:v>All Others</c:v>
                </c:pt>
                <c:pt idx="1331">
                  <c:v>All Others</c:v>
                </c:pt>
                <c:pt idx="1332">
                  <c:v>All Others</c:v>
                </c:pt>
                <c:pt idx="1333">
                  <c:v>All Others</c:v>
                </c:pt>
                <c:pt idx="1334">
                  <c:v>All Others</c:v>
                </c:pt>
                <c:pt idx="1335">
                  <c:v>All Others</c:v>
                </c:pt>
                <c:pt idx="1336">
                  <c:v>Private Lab</c:v>
                </c:pt>
                <c:pt idx="1337">
                  <c:v>All Others</c:v>
                </c:pt>
                <c:pt idx="1338">
                  <c:v>All Others</c:v>
                </c:pt>
                <c:pt idx="1339">
                  <c:v>All Others</c:v>
                </c:pt>
                <c:pt idx="1340">
                  <c:v>All Others</c:v>
                </c:pt>
                <c:pt idx="1341">
                  <c:v>All Others</c:v>
                </c:pt>
                <c:pt idx="1342">
                  <c:v>All Others</c:v>
                </c:pt>
                <c:pt idx="1343">
                  <c:v>All Others</c:v>
                </c:pt>
                <c:pt idx="1344">
                  <c:v>Pave D'Affi</c:v>
                </c:pt>
                <c:pt idx="1345">
                  <c:v>Lactalis: A</c:v>
                </c:pt>
                <c:pt idx="1346">
                  <c:v>All Others</c:v>
                </c:pt>
                <c:pt idx="1347">
                  <c:v>Soignon</c:v>
                </c:pt>
                <c:pt idx="1348">
                  <c:v>All Others</c:v>
                </c:pt>
                <c:pt idx="1349">
                  <c:v>All Others</c:v>
                </c:pt>
                <c:pt idx="1350">
                  <c:v>Savencia: A</c:v>
                </c:pt>
                <c:pt idx="1351">
                  <c:v>All Others</c:v>
                </c:pt>
                <c:pt idx="1352">
                  <c:v>All Others</c:v>
                </c:pt>
                <c:pt idx="1353">
                  <c:v>All Others</c:v>
                </c:pt>
                <c:pt idx="1354">
                  <c:v>All Others</c:v>
                </c:pt>
                <c:pt idx="1355">
                  <c:v>All Others</c:v>
                </c:pt>
                <c:pt idx="1356">
                  <c:v>Etoile Du V</c:v>
                </c:pt>
                <c:pt idx="1357">
                  <c:v>All Others</c:v>
                </c:pt>
                <c:pt idx="1358">
                  <c:v>All Others</c:v>
                </c:pt>
                <c:pt idx="1359">
                  <c:v>All Others</c:v>
                </c:pt>
                <c:pt idx="1360">
                  <c:v>Pochat</c:v>
                </c:pt>
                <c:pt idx="1361">
                  <c:v>All Others</c:v>
                </c:pt>
                <c:pt idx="1362">
                  <c:v>Private Lab</c:v>
                </c:pt>
                <c:pt idx="1363">
                  <c:v>La Belle Et</c:v>
                </c:pt>
                <c:pt idx="1364">
                  <c:v>Boursin</c:v>
                </c:pt>
                <c:pt idx="1365">
                  <c:v>All Others</c:v>
                </c:pt>
                <c:pt idx="1366">
                  <c:v>Private Lab</c:v>
                </c:pt>
                <c:pt idx="1367">
                  <c:v>All Others</c:v>
                </c:pt>
                <c:pt idx="1368">
                  <c:v>All Others</c:v>
                </c:pt>
                <c:pt idx="1369">
                  <c:v>All Others</c:v>
                </c:pt>
                <c:pt idx="1370">
                  <c:v>All Others</c:v>
                </c:pt>
                <c:pt idx="1371">
                  <c:v>All Others</c:v>
                </c:pt>
                <c:pt idx="1372">
                  <c:v>All Others</c:v>
                </c:pt>
                <c:pt idx="1373">
                  <c:v>All Others</c:v>
                </c:pt>
                <c:pt idx="1374">
                  <c:v>All Others</c:v>
                </c:pt>
                <c:pt idx="1375">
                  <c:v>Milleret: A</c:v>
                </c:pt>
                <c:pt idx="1376">
                  <c:v>All Others</c:v>
                </c:pt>
                <c:pt idx="1377">
                  <c:v>Private Lab</c:v>
                </c:pt>
                <c:pt idx="1378">
                  <c:v>Etoile Du V</c:v>
                </c:pt>
                <c:pt idx="1379">
                  <c:v>All Others</c:v>
                </c:pt>
                <c:pt idx="1380">
                  <c:v>All Others</c:v>
                </c:pt>
                <c:pt idx="1381">
                  <c:v>All Others</c:v>
                </c:pt>
                <c:pt idx="1382">
                  <c:v>All Others</c:v>
                </c:pt>
                <c:pt idx="1383">
                  <c:v>Triballat R</c:v>
                </c:pt>
                <c:pt idx="1384">
                  <c:v>Entremont</c:v>
                </c:pt>
                <c:pt idx="1385">
                  <c:v>All Others</c:v>
                </c:pt>
                <c:pt idx="1386">
                  <c:v>All Others</c:v>
                </c:pt>
                <c:pt idx="1387">
                  <c:v>All Others</c:v>
                </c:pt>
                <c:pt idx="1388">
                  <c:v>Eurial Autr</c:v>
                </c:pt>
                <c:pt idx="1389">
                  <c:v>Lactalis: A</c:v>
                </c:pt>
                <c:pt idx="1390">
                  <c:v>All Others</c:v>
                </c:pt>
                <c:pt idx="1391">
                  <c:v>Port Salut</c:v>
                </c:pt>
                <c:pt idx="1392">
                  <c:v>Kiri</c:v>
                </c:pt>
                <c:pt idx="1393">
                  <c:v>Triballat R</c:v>
                </c:pt>
                <c:pt idx="1394">
                  <c:v>Entremont</c:v>
                </c:pt>
                <c:pt idx="1395">
                  <c:v>All Others</c:v>
                </c:pt>
                <c:pt idx="1396">
                  <c:v>All Others</c:v>
                </c:pt>
                <c:pt idx="1397">
                  <c:v>La Belle Et</c:v>
                </c:pt>
                <c:pt idx="1398">
                  <c:v>Etoile Du V</c:v>
                </c:pt>
                <c:pt idx="1399">
                  <c:v>All Others</c:v>
                </c:pt>
                <c:pt idx="1400">
                  <c:v>All Others</c:v>
                </c:pt>
                <c:pt idx="1401">
                  <c:v>All Others</c:v>
                </c:pt>
                <c:pt idx="1402">
                  <c:v>All Others</c:v>
                </c:pt>
                <c:pt idx="1403">
                  <c:v>All Others</c:v>
                </c:pt>
                <c:pt idx="1404">
                  <c:v>All Others</c:v>
                </c:pt>
                <c:pt idx="1405">
                  <c:v>All Others</c:v>
                </c:pt>
                <c:pt idx="1406">
                  <c:v>All Others</c:v>
                </c:pt>
                <c:pt idx="1407">
                  <c:v>La Belle Et</c:v>
                </c:pt>
                <c:pt idx="1408">
                  <c:v>All Others</c:v>
                </c:pt>
                <c:pt idx="1409">
                  <c:v>All Others</c:v>
                </c:pt>
                <c:pt idx="1410">
                  <c:v>All Others</c:v>
                </c:pt>
                <c:pt idx="1411">
                  <c:v>All Others</c:v>
                </c:pt>
                <c:pt idx="1412">
                  <c:v>All Others</c:v>
                </c:pt>
                <c:pt idx="1413">
                  <c:v>All Others</c:v>
                </c:pt>
                <c:pt idx="1414">
                  <c:v>All Others</c:v>
                </c:pt>
                <c:pt idx="1415">
                  <c:v>All Others</c:v>
                </c:pt>
                <c:pt idx="1416">
                  <c:v>All Others</c:v>
                </c:pt>
                <c:pt idx="1417">
                  <c:v>All Others</c:v>
                </c:pt>
                <c:pt idx="1418">
                  <c:v>Private Lab</c:v>
                </c:pt>
                <c:pt idx="1419">
                  <c:v>Nurishh</c:v>
                </c:pt>
                <c:pt idx="1420">
                  <c:v>All Others</c:v>
                </c:pt>
                <c:pt idx="1421">
                  <c:v>All Others</c:v>
                </c:pt>
                <c:pt idx="1422">
                  <c:v>All Others</c:v>
                </c:pt>
                <c:pt idx="1423">
                  <c:v>La Belle Et</c:v>
                </c:pt>
                <c:pt idx="1424">
                  <c:v>All Others</c:v>
                </c:pt>
                <c:pt idx="1425">
                  <c:v>Nurishh</c:v>
                </c:pt>
                <c:pt idx="1426">
                  <c:v>All Others</c:v>
                </c:pt>
                <c:pt idx="1427">
                  <c:v>All Others</c:v>
                </c:pt>
                <c:pt idx="1428">
                  <c:v>La Belle Et</c:v>
                </c:pt>
                <c:pt idx="1429">
                  <c:v>All Others</c:v>
                </c:pt>
                <c:pt idx="1430">
                  <c:v>Eurial Autr</c:v>
                </c:pt>
                <c:pt idx="1431">
                  <c:v>All Others</c:v>
                </c:pt>
                <c:pt idx="1432">
                  <c:v>Juraflore</c:v>
                </c:pt>
                <c:pt idx="1433">
                  <c:v>All Others</c:v>
                </c:pt>
                <c:pt idx="1434">
                  <c:v>All Others</c:v>
                </c:pt>
                <c:pt idx="1435">
                  <c:v>All Others</c:v>
                </c:pt>
                <c:pt idx="1436">
                  <c:v>All Others</c:v>
                </c:pt>
                <c:pt idx="1437">
                  <c:v>Boursin</c:v>
                </c:pt>
                <c:pt idx="1438">
                  <c:v>All Others</c:v>
                </c:pt>
                <c:pt idx="1439">
                  <c:v>All Others</c:v>
                </c:pt>
                <c:pt idx="1440">
                  <c:v>Milleret: A</c:v>
                </c:pt>
                <c:pt idx="1441">
                  <c:v>Lactalis: A</c:v>
                </c:pt>
                <c:pt idx="1442">
                  <c:v>All Others</c:v>
                </c:pt>
                <c:pt idx="1443">
                  <c:v>All Others</c:v>
                </c:pt>
                <c:pt idx="1444">
                  <c:v>All Others</c:v>
                </c:pt>
                <c:pt idx="1445">
                  <c:v>Eurial Autr</c:v>
                </c:pt>
                <c:pt idx="1446">
                  <c:v>All Others</c:v>
                </c:pt>
                <c:pt idx="1447">
                  <c:v>All Others</c:v>
                </c:pt>
                <c:pt idx="1448">
                  <c:v>Entremont</c:v>
                </c:pt>
                <c:pt idx="1449">
                  <c:v>All Others</c:v>
                </c:pt>
                <c:pt idx="1450">
                  <c:v>All Others</c:v>
                </c:pt>
                <c:pt idx="1451">
                  <c:v>All Others</c:v>
                </c:pt>
                <c:pt idx="1452">
                  <c:v>All Others</c:v>
                </c:pt>
                <c:pt idx="1453">
                  <c:v>All Others</c:v>
                </c:pt>
                <c:pt idx="1454">
                  <c:v>All Others</c:v>
                </c:pt>
                <c:pt idx="1455">
                  <c:v>All Others</c:v>
                </c:pt>
                <c:pt idx="1456">
                  <c:v>All Others</c:v>
                </c:pt>
                <c:pt idx="1457">
                  <c:v>Pave D'Affi</c:v>
                </c:pt>
                <c:pt idx="1458">
                  <c:v>All Others</c:v>
                </c:pt>
                <c:pt idx="1459">
                  <c:v>All Others</c:v>
                </c:pt>
                <c:pt idx="1460">
                  <c:v>Fauquet</c:v>
                </c:pt>
                <c:pt idx="1461">
                  <c:v>All Others</c:v>
                </c:pt>
                <c:pt idx="1462">
                  <c:v>All Others</c:v>
                </c:pt>
                <c:pt idx="1463">
                  <c:v>Paysan Bret</c:v>
                </c:pt>
                <c:pt idx="1464">
                  <c:v>All Others</c:v>
                </c:pt>
                <c:pt idx="1465">
                  <c:v>Lactalis: A</c:v>
                </c:pt>
                <c:pt idx="1466">
                  <c:v>All Others</c:v>
                </c:pt>
                <c:pt idx="1467">
                  <c:v>Etoile Du V</c:v>
                </c:pt>
                <c:pt idx="1468">
                  <c:v>All Others</c:v>
                </c:pt>
                <c:pt idx="1469">
                  <c:v>All Others</c:v>
                </c:pt>
                <c:pt idx="1470">
                  <c:v>President</c:v>
                </c:pt>
                <c:pt idx="1471">
                  <c:v>All Others</c:v>
                </c:pt>
                <c:pt idx="1472">
                  <c:v>Lactalis: A</c:v>
                </c:pt>
                <c:pt idx="1473">
                  <c:v>All Others</c:v>
                </c:pt>
                <c:pt idx="1474">
                  <c:v>All Others</c:v>
                </c:pt>
                <c:pt idx="1475">
                  <c:v>All Others</c:v>
                </c:pt>
                <c:pt idx="1476">
                  <c:v>All Others</c:v>
                </c:pt>
                <c:pt idx="1477">
                  <c:v>All Others</c:v>
                </c:pt>
                <c:pt idx="1478">
                  <c:v>All Others</c:v>
                </c:pt>
                <c:pt idx="1479">
                  <c:v>All Others</c:v>
                </c:pt>
                <c:pt idx="1480">
                  <c:v>All Others</c:v>
                </c:pt>
                <c:pt idx="1481">
                  <c:v>All Others</c:v>
                </c:pt>
                <c:pt idx="1482">
                  <c:v>All Others</c:v>
                </c:pt>
                <c:pt idx="1483">
                  <c:v>All Others</c:v>
                </c:pt>
                <c:pt idx="1484">
                  <c:v>All Others</c:v>
                </c:pt>
                <c:pt idx="1485">
                  <c:v>All Others</c:v>
                </c:pt>
                <c:pt idx="1486">
                  <c:v>Tartare</c:v>
                </c:pt>
                <c:pt idx="1487">
                  <c:v>All Others</c:v>
                </c:pt>
                <c:pt idx="1488">
                  <c:v>All Others</c:v>
                </c:pt>
                <c:pt idx="1489">
                  <c:v>All Others</c:v>
                </c:pt>
                <c:pt idx="1490">
                  <c:v>All Others</c:v>
                </c:pt>
                <c:pt idx="1491">
                  <c:v>President</c:v>
                </c:pt>
                <c:pt idx="1492">
                  <c:v>Juraflore</c:v>
                </c:pt>
                <c:pt idx="1493">
                  <c:v>All Others</c:v>
                </c:pt>
                <c:pt idx="1494">
                  <c:v>La Belle Et</c:v>
                </c:pt>
                <c:pt idx="1495">
                  <c:v>All Others</c:v>
                </c:pt>
                <c:pt idx="1496">
                  <c:v>All Others</c:v>
                </c:pt>
                <c:pt idx="1497">
                  <c:v>Private Lab</c:v>
                </c:pt>
                <c:pt idx="1498">
                  <c:v>Entremont</c:v>
                </c:pt>
                <c:pt idx="1499">
                  <c:v>All Others</c:v>
                </c:pt>
                <c:pt idx="1500">
                  <c:v>All Others</c:v>
                </c:pt>
                <c:pt idx="1501">
                  <c:v>All Others</c:v>
                </c:pt>
                <c:pt idx="1502">
                  <c:v>All Others</c:v>
                </c:pt>
                <c:pt idx="1503">
                  <c:v>All Others</c:v>
                </c:pt>
                <c:pt idx="1504">
                  <c:v>All Others</c:v>
                </c:pt>
                <c:pt idx="1505">
                  <c:v>Private Lab</c:v>
                </c:pt>
                <c:pt idx="1506">
                  <c:v>All Others</c:v>
                </c:pt>
                <c:pt idx="1507">
                  <c:v>Private Lab</c:v>
                </c:pt>
                <c:pt idx="1508">
                  <c:v>All Others</c:v>
                </c:pt>
                <c:pt idx="1509">
                  <c:v>All Others</c:v>
                </c:pt>
                <c:pt idx="1510">
                  <c:v>Private Lab</c:v>
                </c:pt>
                <c:pt idx="1511">
                  <c:v>All Others</c:v>
                </c:pt>
                <c:pt idx="1512">
                  <c:v>All Others</c:v>
                </c:pt>
                <c:pt idx="1513">
                  <c:v>All Others</c:v>
                </c:pt>
                <c:pt idx="1514">
                  <c:v>Etoile Du V</c:v>
                </c:pt>
                <c:pt idx="1515">
                  <c:v>St Moret</c:v>
                </c:pt>
                <c:pt idx="1516">
                  <c:v>All Others</c:v>
                </c:pt>
                <c:pt idx="1517">
                  <c:v>All Others</c:v>
                </c:pt>
                <c:pt idx="1518">
                  <c:v>All Others</c:v>
                </c:pt>
                <c:pt idx="1519">
                  <c:v>All Others</c:v>
                </c:pt>
                <c:pt idx="1520">
                  <c:v>All Others</c:v>
                </c:pt>
                <c:pt idx="1521">
                  <c:v>All Others</c:v>
                </c:pt>
                <c:pt idx="1522">
                  <c:v>All Others</c:v>
                </c:pt>
                <c:pt idx="1523">
                  <c:v>Mini Babybe</c:v>
                </c:pt>
                <c:pt idx="1524">
                  <c:v>All Others</c:v>
                </c:pt>
                <c:pt idx="1525">
                  <c:v>Casa Azzurr</c:v>
                </c:pt>
                <c:pt idx="1526">
                  <c:v>All Others</c:v>
                </c:pt>
                <c:pt idx="1527">
                  <c:v>All Others</c:v>
                </c:pt>
                <c:pt idx="1528">
                  <c:v>All Others</c:v>
                </c:pt>
                <c:pt idx="1529">
                  <c:v>All Others</c:v>
                </c:pt>
                <c:pt idx="1530">
                  <c:v>President</c:v>
                </c:pt>
                <c:pt idx="1531">
                  <c:v>All Others</c:v>
                </c:pt>
                <c:pt idx="1532">
                  <c:v>Soignon</c:v>
                </c:pt>
                <c:pt idx="1533">
                  <c:v>Lactalis: A</c:v>
                </c:pt>
                <c:pt idx="1534">
                  <c:v>Corsica</c:v>
                </c:pt>
                <c:pt idx="1535">
                  <c:v>All Others</c:v>
                </c:pt>
                <c:pt idx="1536">
                  <c:v>Richesmonts</c:v>
                </c:pt>
                <c:pt idx="1537">
                  <c:v>All Others</c:v>
                </c:pt>
                <c:pt idx="1538">
                  <c:v>All Others</c:v>
                </c:pt>
                <c:pt idx="1539">
                  <c:v>All Others</c:v>
                </c:pt>
                <c:pt idx="1540">
                  <c:v>All Others</c:v>
                </c:pt>
                <c:pt idx="1541">
                  <c:v>Lactalis: A</c:v>
                </c:pt>
                <c:pt idx="1542">
                  <c:v>All Others</c:v>
                </c:pt>
                <c:pt idx="1543">
                  <c:v>All Others</c:v>
                </c:pt>
                <c:pt idx="1544">
                  <c:v>Pave D'Affi</c:v>
                </c:pt>
                <c:pt idx="1545">
                  <c:v>All Others</c:v>
                </c:pt>
                <c:pt idx="1546">
                  <c:v>La Belle Et</c:v>
                </c:pt>
                <c:pt idx="1547">
                  <c:v>All Others</c:v>
                </c:pt>
                <c:pt idx="1548">
                  <c:v>All Others</c:v>
                </c:pt>
                <c:pt idx="1549">
                  <c:v>All Others</c:v>
                </c:pt>
                <c:pt idx="1550">
                  <c:v>All Others</c:v>
                </c:pt>
                <c:pt idx="1551">
                  <c:v>Private Lab</c:v>
                </c:pt>
                <c:pt idx="1552">
                  <c:v>All Others</c:v>
                </c:pt>
                <c:pt idx="1553">
                  <c:v>All Others</c:v>
                </c:pt>
                <c:pt idx="1554">
                  <c:v>Mini Babybe</c:v>
                </c:pt>
                <c:pt idx="1555">
                  <c:v>All Others</c:v>
                </c:pt>
                <c:pt idx="1556">
                  <c:v>All Others</c:v>
                </c:pt>
                <c:pt idx="1557">
                  <c:v>Cousteron</c:v>
                </c:pt>
                <c:pt idx="1558">
                  <c:v>All Others</c:v>
                </c:pt>
                <c:pt idx="1559">
                  <c:v>All Others</c:v>
                </c:pt>
                <c:pt idx="1560">
                  <c:v>Eurial Autr</c:v>
                </c:pt>
                <c:pt idx="1561">
                  <c:v>All Others</c:v>
                </c:pt>
                <c:pt idx="1562">
                  <c:v>All Others</c:v>
                </c:pt>
                <c:pt idx="1563">
                  <c:v>All Others</c:v>
                </c:pt>
                <c:pt idx="1564">
                  <c:v>All Others</c:v>
                </c:pt>
                <c:pt idx="1565">
                  <c:v>Entremont</c:v>
                </c:pt>
                <c:pt idx="1566">
                  <c:v>All Others</c:v>
                </c:pt>
                <c:pt idx="1567">
                  <c:v>Lou Perac</c:v>
                </c:pt>
                <c:pt idx="1568">
                  <c:v>All Others</c:v>
                </c:pt>
                <c:pt idx="1569">
                  <c:v>Societe</c:v>
                </c:pt>
                <c:pt idx="1570">
                  <c:v>All Others</c:v>
                </c:pt>
                <c:pt idx="1571">
                  <c:v>All Others</c:v>
                </c:pt>
                <c:pt idx="1572">
                  <c:v>St Moret</c:v>
                </c:pt>
                <c:pt idx="1573">
                  <c:v>Carre Frais</c:v>
                </c:pt>
                <c:pt idx="1574">
                  <c:v>All Others</c:v>
                </c:pt>
                <c:pt idx="1575">
                  <c:v>All Others</c:v>
                </c:pt>
                <c:pt idx="1576">
                  <c:v>All Others</c:v>
                </c:pt>
                <c:pt idx="1577">
                  <c:v>Private Lab</c:v>
                </c:pt>
                <c:pt idx="1578">
                  <c:v>La Pointe P</c:v>
                </c:pt>
                <c:pt idx="1579">
                  <c:v>All Others</c:v>
                </c:pt>
                <c:pt idx="1580">
                  <c:v>Private Lab</c:v>
                </c:pt>
                <c:pt idx="1581">
                  <c:v>Etoile Du V</c:v>
                </c:pt>
                <c:pt idx="1582">
                  <c:v>All Others</c:v>
                </c:pt>
                <c:pt idx="1583">
                  <c:v>Fauquet</c:v>
                </c:pt>
                <c:pt idx="1584">
                  <c:v>All Others</c:v>
                </c:pt>
                <c:pt idx="1585">
                  <c:v>All Others</c:v>
                </c:pt>
                <c:pt idx="1586">
                  <c:v>All Others</c:v>
                </c:pt>
                <c:pt idx="1587">
                  <c:v>All Others</c:v>
                </c:pt>
                <c:pt idx="1588">
                  <c:v>All Others</c:v>
                </c:pt>
                <c:pt idx="1589">
                  <c:v>All Others</c:v>
                </c:pt>
                <c:pt idx="1590">
                  <c:v>All Others</c:v>
                </c:pt>
                <c:pt idx="1591">
                  <c:v>All Others</c:v>
                </c:pt>
                <c:pt idx="1592">
                  <c:v>La Belle Et</c:v>
                </c:pt>
                <c:pt idx="1593">
                  <c:v>All Others</c:v>
                </c:pt>
                <c:pt idx="1594">
                  <c:v>Entremont</c:v>
                </c:pt>
                <c:pt idx="1595">
                  <c:v>All Others</c:v>
                </c:pt>
                <c:pt idx="1596">
                  <c:v>All Others</c:v>
                </c:pt>
                <c:pt idx="1597">
                  <c:v>All Others</c:v>
                </c:pt>
                <c:pt idx="1598">
                  <c:v>All Others</c:v>
                </c:pt>
                <c:pt idx="1599">
                  <c:v>All Others</c:v>
                </c:pt>
                <c:pt idx="1600">
                  <c:v>Milleret: A</c:v>
                </c:pt>
                <c:pt idx="1601">
                  <c:v>All Others</c:v>
                </c:pt>
                <c:pt idx="1602">
                  <c:v>All Others</c:v>
                </c:pt>
                <c:pt idx="1603">
                  <c:v>Savencia: A</c:v>
                </c:pt>
                <c:pt idx="1604">
                  <c:v>All Others</c:v>
                </c:pt>
                <c:pt idx="1605">
                  <c:v>Etoile Du V</c:v>
                </c:pt>
                <c:pt idx="1606">
                  <c:v>All Others</c:v>
                </c:pt>
                <c:pt idx="1607">
                  <c:v>All Others</c:v>
                </c:pt>
                <c:pt idx="1608">
                  <c:v>All Others</c:v>
                </c:pt>
                <c:pt idx="1609">
                  <c:v>All Others</c:v>
                </c:pt>
                <c:pt idx="1610">
                  <c:v>All Others</c:v>
                </c:pt>
                <c:pt idx="1611">
                  <c:v>Lactalis: A</c:v>
                </c:pt>
                <c:pt idx="1612">
                  <c:v>All Others</c:v>
                </c:pt>
                <c:pt idx="1613">
                  <c:v>All Others</c:v>
                </c:pt>
                <c:pt idx="1614">
                  <c:v>All Others</c:v>
                </c:pt>
                <c:pt idx="1615">
                  <c:v>All Others</c:v>
                </c:pt>
                <c:pt idx="1616">
                  <c:v>All Others</c:v>
                </c:pt>
                <c:pt idx="1617">
                  <c:v>All Others</c:v>
                </c:pt>
                <c:pt idx="1618">
                  <c:v>All Others</c:v>
                </c:pt>
                <c:pt idx="1619">
                  <c:v>All Others</c:v>
                </c:pt>
                <c:pt idx="1620">
                  <c:v>Lactalis: A</c:v>
                </c:pt>
                <c:pt idx="1621">
                  <c:v>All Others</c:v>
                </c:pt>
                <c:pt idx="1622">
                  <c:v>All Others</c:v>
                </c:pt>
                <c:pt idx="1623">
                  <c:v>All Others</c:v>
                </c:pt>
                <c:pt idx="1624">
                  <c:v>Savencia: A</c:v>
                </c:pt>
                <c:pt idx="1625">
                  <c:v>All Others</c:v>
                </c:pt>
                <c:pt idx="1626">
                  <c:v>All Others</c:v>
                </c:pt>
                <c:pt idx="1627">
                  <c:v>All Others</c:v>
                </c:pt>
                <c:pt idx="1628">
                  <c:v>Eurial Autr</c:v>
                </c:pt>
                <c:pt idx="1629">
                  <c:v>Etoile Du Q</c:v>
                </c:pt>
                <c:pt idx="1630">
                  <c:v>All Others</c:v>
                </c:pt>
                <c:pt idx="1631">
                  <c:v>All Others</c:v>
                </c:pt>
                <c:pt idx="1632">
                  <c:v>All Others</c:v>
                </c:pt>
                <c:pt idx="1633">
                  <c:v>Milleret: A</c:v>
                </c:pt>
                <c:pt idx="1634">
                  <c:v>All Others</c:v>
                </c:pt>
                <c:pt idx="1635">
                  <c:v>Private Lab</c:v>
                </c:pt>
                <c:pt idx="1636">
                  <c:v>All Others</c:v>
                </c:pt>
                <c:pt idx="1637">
                  <c:v>All Others</c:v>
                </c:pt>
                <c:pt idx="1638">
                  <c:v>All Others</c:v>
                </c:pt>
                <c:pt idx="1639">
                  <c:v>All Others</c:v>
                </c:pt>
                <c:pt idx="1640">
                  <c:v>L'Ortolan</c:v>
                </c:pt>
                <c:pt idx="1641">
                  <c:v>Savencia: A</c:v>
                </c:pt>
                <c:pt idx="1642">
                  <c:v>All Others</c:v>
                </c:pt>
                <c:pt idx="1643">
                  <c:v>All Others</c:v>
                </c:pt>
                <c:pt idx="1644">
                  <c:v>All Others</c:v>
                </c:pt>
                <c:pt idx="1645">
                  <c:v>All Others</c:v>
                </c:pt>
                <c:pt idx="1646">
                  <c:v>All Others</c:v>
                </c:pt>
                <c:pt idx="1647">
                  <c:v>Eurial Autr</c:v>
                </c:pt>
                <c:pt idx="1648">
                  <c:v>All Others</c:v>
                </c:pt>
                <c:pt idx="1649">
                  <c:v>Lou Perac</c:v>
                </c:pt>
                <c:pt idx="1650">
                  <c:v>All Others</c:v>
                </c:pt>
                <c:pt idx="1651">
                  <c:v>All Others</c:v>
                </c:pt>
                <c:pt idx="1652">
                  <c:v>All Others</c:v>
                </c:pt>
                <c:pt idx="1653">
                  <c:v>All Others</c:v>
                </c:pt>
                <c:pt idx="1654">
                  <c:v>President</c:v>
                </c:pt>
                <c:pt idx="1655">
                  <c:v>All Others</c:v>
                </c:pt>
                <c:pt idx="1656">
                  <c:v>All Others</c:v>
                </c:pt>
                <c:pt idx="1657">
                  <c:v>Raguin</c:v>
                </c:pt>
                <c:pt idx="1658">
                  <c:v>All Others</c:v>
                </c:pt>
                <c:pt idx="1659">
                  <c:v>All Others</c:v>
                </c:pt>
                <c:pt idx="1660">
                  <c:v>All Others</c:v>
                </c:pt>
                <c:pt idx="1661">
                  <c:v>All Others</c:v>
                </c:pt>
                <c:pt idx="1662">
                  <c:v>All Others</c:v>
                </c:pt>
                <c:pt idx="1663">
                  <c:v>All Others</c:v>
                </c:pt>
                <c:pt idx="1664">
                  <c:v>President</c:v>
                </c:pt>
                <c:pt idx="1665">
                  <c:v>Private Lab</c:v>
                </c:pt>
                <c:pt idx="1666">
                  <c:v>All Others</c:v>
                </c:pt>
                <c:pt idx="1667">
                  <c:v>All Others</c:v>
                </c:pt>
                <c:pt idx="1668">
                  <c:v>All Others</c:v>
                </c:pt>
                <c:pt idx="1669">
                  <c:v>All Others</c:v>
                </c:pt>
                <c:pt idx="1670">
                  <c:v>All Others</c:v>
                </c:pt>
                <c:pt idx="1671">
                  <c:v>All Others</c:v>
                </c:pt>
                <c:pt idx="1672">
                  <c:v>All Others</c:v>
                </c:pt>
                <c:pt idx="1673">
                  <c:v>All Others</c:v>
                </c:pt>
                <c:pt idx="1674">
                  <c:v>All Others</c:v>
                </c:pt>
                <c:pt idx="1675">
                  <c:v>All Others</c:v>
                </c:pt>
                <c:pt idx="1676">
                  <c:v>All Others</c:v>
                </c:pt>
                <c:pt idx="1677">
                  <c:v>All Others</c:v>
                </c:pt>
                <c:pt idx="1678">
                  <c:v>All Others</c:v>
                </c:pt>
                <c:pt idx="1679">
                  <c:v>All Others</c:v>
                </c:pt>
                <c:pt idx="1680">
                  <c:v>All Others</c:v>
                </c:pt>
                <c:pt idx="1681">
                  <c:v>La Belle Et</c:v>
                </c:pt>
                <c:pt idx="1682">
                  <c:v>All Others</c:v>
                </c:pt>
                <c:pt idx="1683">
                  <c:v>All Others</c:v>
                </c:pt>
                <c:pt idx="1684">
                  <c:v>All Others</c:v>
                </c:pt>
                <c:pt idx="1685">
                  <c:v>All Others</c:v>
                </c:pt>
                <c:pt idx="1686">
                  <c:v>All Others</c:v>
                </c:pt>
                <c:pt idx="1687">
                  <c:v>All Others</c:v>
                </c:pt>
                <c:pt idx="1688">
                  <c:v>All Others</c:v>
                </c:pt>
                <c:pt idx="1689">
                  <c:v>All Others</c:v>
                </c:pt>
                <c:pt idx="1690">
                  <c:v>All Others</c:v>
                </c:pt>
                <c:pt idx="1691">
                  <c:v>All Others</c:v>
                </c:pt>
                <c:pt idx="1692">
                  <c:v>La Belle Et</c:v>
                </c:pt>
                <c:pt idx="1693">
                  <c:v>All Others</c:v>
                </c:pt>
                <c:pt idx="1694">
                  <c:v>All Others</c:v>
                </c:pt>
                <c:pt idx="1695">
                  <c:v>All Others</c:v>
                </c:pt>
                <c:pt idx="1696">
                  <c:v>All Others</c:v>
                </c:pt>
                <c:pt idx="1697">
                  <c:v>All Others</c:v>
                </c:pt>
                <c:pt idx="1698">
                  <c:v>All Others</c:v>
                </c:pt>
                <c:pt idx="1699">
                  <c:v>All Others</c:v>
                </c:pt>
                <c:pt idx="1700">
                  <c:v>All Others</c:v>
                </c:pt>
                <c:pt idx="1701">
                  <c:v>All Others</c:v>
                </c:pt>
                <c:pt idx="1702">
                  <c:v>All Others</c:v>
                </c:pt>
                <c:pt idx="1703">
                  <c:v>Lactalis: A</c:v>
                </c:pt>
                <c:pt idx="1704">
                  <c:v>All Others</c:v>
                </c:pt>
                <c:pt idx="1705">
                  <c:v>All Others</c:v>
                </c:pt>
                <c:pt idx="1706">
                  <c:v>Lactalis: A</c:v>
                </c:pt>
                <c:pt idx="1707">
                  <c:v>All Others</c:v>
                </c:pt>
                <c:pt idx="1708">
                  <c:v>All Others</c:v>
                </c:pt>
                <c:pt idx="1709">
                  <c:v>All Others</c:v>
                </c:pt>
                <c:pt idx="1710">
                  <c:v>All Others</c:v>
                </c:pt>
                <c:pt idx="1711">
                  <c:v>All Others</c:v>
                </c:pt>
                <c:pt idx="1712">
                  <c:v>All Others</c:v>
                </c:pt>
                <c:pt idx="1713">
                  <c:v>All Others</c:v>
                </c:pt>
                <c:pt idx="1714">
                  <c:v>All Others</c:v>
                </c:pt>
                <c:pt idx="1715">
                  <c:v>All Others</c:v>
                </c:pt>
                <c:pt idx="1716">
                  <c:v>All Others</c:v>
                </c:pt>
                <c:pt idx="1717">
                  <c:v>All Others</c:v>
                </c:pt>
                <c:pt idx="1718">
                  <c:v>Savencia: A</c:v>
                </c:pt>
                <c:pt idx="1719">
                  <c:v>Tartare</c:v>
                </c:pt>
                <c:pt idx="1720">
                  <c:v>All Others</c:v>
                </c:pt>
                <c:pt idx="1721">
                  <c:v>All Others</c:v>
                </c:pt>
                <c:pt idx="1722">
                  <c:v>All Others</c:v>
                </c:pt>
                <c:pt idx="1723">
                  <c:v>Vieux Pane</c:v>
                </c:pt>
                <c:pt idx="1724">
                  <c:v>All Others</c:v>
                </c:pt>
                <c:pt idx="1725">
                  <c:v>All Others</c:v>
                </c:pt>
                <c:pt idx="1726">
                  <c:v>All Others</c:v>
                </c:pt>
                <c:pt idx="1727">
                  <c:v>Etoile Du V</c:v>
                </c:pt>
                <c:pt idx="1728">
                  <c:v>All Others</c:v>
                </c:pt>
                <c:pt idx="1729">
                  <c:v>All Others</c:v>
                </c:pt>
                <c:pt idx="1730">
                  <c:v>All Others</c:v>
                </c:pt>
                <c:pt idx="1731">
                  <c:v>Paysan Bret</c:v>
                </c:pt>
                <c:pt idx="1732">
                  <c:v>All Others</c:v>
                </c:pt>
                <c:pt idx="1733">
                  <c:v>All Others</c:v>
                </c:pt>
                <c:pt idx="1734">
                  <c:v>All Others</c:v>
                </c:pt>
                <c:pt idx="1735">
                  <c:v>President</c:v>
                </c:pt>
                <c:pt idx="1736">
                  <c:v>All Others</c:v>
                </c:pt>
                <c:pt idx="1737">
                  <c:v>Lactalis: A</c:v>
                </c:pt>
                <c:pt idx="1738">
                  <c:v>All Others</c:v>
                </c:pt>
                <c:pt idx="1739">
                  <c:v>Pochat</c:v>
                </c:pt>
                <c:pt idx="1740">
                  <c:v>All Others</c:v>
                </c:pt>
                <c:pt idx="1741">
                  <c:v>All Others</c:v>
                </c:pt>
                <c:pt idx="1742">
                  <c:v>All Others</c:v>
                </c:pt>
                <c:pt idx="1743">
                  <c:v>All Others</c:v>
                </c:pt>
                <c:pt idx="1744">
                  <c:v>All Others</c:v>
                </c:pt>
                <c:pt idx="1745">
                  <c:v>All Others</c:v>
                </c:pt>
                <c:pt idx="1746">
                  <c:v>All Others</c:v>
                </c:pt>
                <c:pt idx="1747">
                  <c:v>All Others</c:v>
                </c:pt>
                <c:pt idx="1748">
                  <c:v>All Others</c:v>
                </c:pt>
                <c:pt idx="1749">
                  <c:v>All Others</c:v>
                </c:pt>
                <c:pt idx="1750">
                  <c:v>All Others</c:v>
                </c:pt>
                <c:pt idx="1751">
                  <c:v>All Others</c:v>
                </c:pt>
                <c:pt idx="1752">
                  <c:v>Eurial Autr</c:v>
                </c:pt>
                <c:pt idx="1753">
                  <c:v>All Others</c:v>
                </c:pt>
                <c:pt idx="1754">
                  <c:v>All Others</c:v>
                </c:pt>
                <c:pt idx="1755">
                  <c:v>All Others</c:v>
                </c:pt>
                <c:pt idx="1756">
                  <c:v>All Others</c:v>
                </c:pt>
                <c:pt idx="1757">
                  <c:v>Triballat R</c:v>
                </c:pt>
                <c:pt idx="1758">
                  <c:v>La Belle Et</c:v>
                </c:pt>
                <c:pt idx="1759">
                  <c:v>Savencia: A</c:v>
                </c:pt>
                <c:pt idx="1760">
                  <c:v>Savencia: A</c:v>
                </c:pt>
                <c:pt idx="1761">
                  <c:v>All Others</c:v>
                </c:pt>
                <c:pt idx="1762">
                  <c:v>All Others</c:v>
                </c:pt>
                <c:pt idx="1763">
                  <c:v>Richesmonts</c:v>
                </c:pt>
                <c:pt idx="1764">
                  <c:v>All Others</c:v>
                </c:pt>
                <c:pt idx="1765">
                  <c:v>All Others</c:v>
                </c:pt>
                <c:pt idx="1766">
                  <c:v>Lactalis: A</c:v>
                </c:pt>
                <c:pt idx="1767">
                  <c:v>All Others</c:v>
                </c:pt>
                <c:pt idx="1768">
                  <c:v>Savencia: A</c:v>
                </c:pt>
                <c:pt idx="1769">
                  <c:v>All Others</c:v>
                </c:pt>
                <c:pt idx="1770">
                  <c:v>All Others</c:v>
                </c:pt>
                <c:pt idx="1771">
                  <c:v>All Others</c:v>
                </c:pt>
                <c:pt idx="1772">
                  <c:v>All Others</c:v>
                </c:pt>
                <c:pt idx="1773">
                  <c:v>All Others</c:v>
                </c:pt>
                <c:pt idx="1774">
                  <c:v>All Others</c:v>
                </c:pt>
                <c:pt idx="1775">
                  <c:v>All Others</c:v>
                </c:pt>
                <c:pt idx="1776">
                  <c:v>All Others</c:v>
                </c:pt>
                <c:pt idx="1777">
                  <c:v>All Others</c:v>
                </c:pt>
                <c:pt idx="1778">
                  <c:v>All Others</c:v>
                </c:pt>
                <c:pt idx="1779">
                  <c:v>Milleret: A</c:v>
                </c:pt>
                <c:pt idx="1780">
                  <c:v>All Others</c:v>
                </c:pt>
                <c:pt idx="1781">
                  <c:v>All Others</c:v>
                </c:pt>
                <c:pt idx="1782">
                  <c:v>All Others</c:v>
                </c:pt>
                <c:pt idx="1783">
                  <c:v>All Others</c:v>
                </c:pt>
                <c:pt idx="1784">
                  <c:v>All Others</c:v>
                </c:pt>
                <c:pt idx="1785">
                  <c:v>Eurial Autr</c:v>
                </c:pt>
                <c:pt idx="1786">
                  <c:v>Paysan Bret</c:v>
                </c:pt>
                <c:pt idx="1787">
                  <c:v>All Others</c:v>
                </c:pt>
                <c:pt idx="1788">
                  <c:v>All Others</c:v>
                </c:pt>
                <c:pt idx="1789">
                  <c:v>La Belle Et</c:v>
                </c:pt>
                <c:pt idx="1790">
                  <c:v>All Others</c:v>
                </c:pt>
                <c:pt idx="1791">
                  <c:v>All Others</c:v>
                </c:pt>
                <c:pt idx="1792">
                  <c:v>All Others</c:v>
                </c:pt>
                <c:pt idx="1793">
                  <c:v>Leerdammer</c:v>
                </c:pt>
                <c:pt idx="1794">
                  <c:v>Pave D'Affi</c:v>
                </c:pt>
                <c:pt idx="1795">
                  <c:v>All Others</c:v>
                </c:pt>
                <c:pt idx="1796">
                  <c:v>All Others</c:v>
                </c:pt>
                <c:pt idx="1797">
                  <c:v>Soignon</c:v>
                </c:pt>
                <c:pt idx="1798">
                  <c:v>All Others</c:v>
                </c:pt>
                <c:pt idx="1799">
                  <c:v>All Others</c:v>
                </c:pt>
                <c:pt idx="1800">
                  <c:v>All Others</c:v>
                </c:pt>
                <c:pt idx="1801">
                  <c:v>All Others</c:v>
                </c:pt>
                <c:pt idx="1802">
                  <c:v>All Others</c:v>
                </c:pt>
                <c:pt idx="1803">
                  <c:v>All Others</c:v>
                </c:pt>
                <c:pt idx="1804">
                  <c:v>All Others</c:v>
                </c:pt>
                <c:pt idx="1805">
                  <c:v>Raguin</c:v>
                </c:pt>
                <c:pt idx="1806">
                  <c:v>All Others</c:v>
                </c:pt>
                <c:pt idx="1807">
                  <c:v>Lactalis: A</c:v>
                </c:pt>
                <c:pt idx="1808">
                  <c:v>Private Lab</c:v>
                </c:pt>
                <c:pt idx="1809">
                  <c:v>All Others</c:v>
                </c:pt>
                <c:pt idx="1810">
                  <c:v>All Others</c:v>
                </c:pt>
                <c:pt idx="1811">
                  <c:v>Paysan Bret</c:v>
                </c:pt>
                <c:pt idx="1812">
                  <c:v>Lou Perac</c:v>
                </c:pt>
                <c:pt idx="1813">
                  <c:v>All Others</c:v>
                </c:pt>
                <c:pt idx="1814">
                  <c:v>Pave D'Affi</c:v>
                </c:pt>
                <c:pt idx="1815">
                  <c:v>All Others</c:v>
                </c:pt>
                <c:pt idx="1816">
                  <c:v>Etoile Du V</c:v>
                </c:pt>
                <c:pt idx="1817">
                  <c:v>All Others</c:v>
                </c:pt>
                <c:pt idx="1818">
                  <c:v>All Others</c:v>
                </c:pt>
                <c:pt idx="1819">
                  <c:v>All Others</c:v>
                </c:pt>
                <c:pt idx="1820">
                  <c:v>All Others</c:v>
                </c:pt>
                <c:pt idx="1821">
                  <c:v>All Others</c:v>
                </c:pt>
                <c:pt idx="1822">
                  <c:v>All Others</c:v>
                </c:pt>
                <c:pt idx="1823">
                  <c:v>All Others</c:v>
                </c:pt>
                <c:pt idx="1824">
                  <c:v>All Others</c:v>
                </c:pt>
                <c:pt idx="1825">
                  <c:v>President</c:v>
                </c:pt>
                <c:pt idx="1826">
                  <c:v>All Others</c:v>
                </c:pt>
                <c:pt idx="1827">
                  <c:v>Raguin</c:v>
                </c:pt>
                <c:pt idx="1828">
                  <c:v>All Others</c:v>
                </c:pt>
                <c:pt idx="1829">
                  <c:v>Private Lab</c:v>
                </c:pt>
                <c:pt idx="1830">
                  <c:v>All Others</c:v>
                </c:pt>
                <c:pt idx="1831">
                  <c:v>All Others</c:v>
                </c:pt>
                <c:pt idx="1832">
                  <c:v>All Others</c:v>
                </c:pt>
                <c:pt idx="1833">
                  <c:v>Lactalis: A</c:v>
                </c:pt>
                <c:pt idx="1834">
                  <c:v>All Others</c:v>
                </c:pt>
                <c:pt idx="1835">
                  <c:v>All Others</c:v>
                </c:pt>
                <c:pt idx="1836">
                  <c:v>All Others</c:v>
                </c:pt>
                <c:pt idx="1837">
                  <c:v>All Others</c:v>
                </c:pt>
                <c:pt idx="1838">
                  <c:v>All Others</c:v>
                </c:pt>
                <c:pt idx="1839">
                  <c:v>All Others</c:v>
                </c:pt>
                <c:pt idx="1840">
                  <c:v>All Others</c:v>
                </c:pt>
                <c:pt idx="1841">
                  <c:v>All Others</c:v>
                </c:pt>
                <c:pt idx="1842">
                  <c:v>All Others</c:v>
                </c:pt>
                <c:pt idx="1843">
                  <c:v>All Others</c:v>
                </c:pt>
                <c:pt idx="1844">
                  <c:v>All Others</c:v>
                </c:pt>
                <c:pt idx="1845">
                  <c:v>All Others</c:v>
                </c:pt>
                <c:pt idx="1846">
                  <c:v>All Others</c:v>
                </c:pt>
                <c:pt idx="1847">
                  <c:v>All Others</c:v>
                </c:pt>
                <c:pt idx="1848">
                  <c:v>All Others</c:v>
                </c:pt>
                <c:pt idx="1849">
                  <c:v>All Others</c:v>
                </c:pt>
                <c:pt idx="1850">
                  <c:v>Soignon</c:v>
                </c:pt>
                <c:pt idx="1851">
                  <c:v>All Others</c:v>
                </c:pt>
                <c:pt idx="1852">
                  <c:v>All Others</c:v>
                </c:pt>
                <c:pt idx="1853">
                  <c:v>All Others</c:v>
                </c:pt>
                <c:pt idx="1854">
                  <c:v>Leerdammer</c:v>
                </c:pt>
                <c:pt idx="1855">
                  <c:v>All Others</c:v>
                </c:pt>
                <c:pt idx="1856">
                  <c:v>All Others</c:v>
                </c:pt>
                <c:pt idx="1857">
                  <c:v>All Others</c:v>
                </c:pt>
                <c:pt idx="1858">
                  <c:v>All Others</c:v>
                </c:pt>
                <c:pt idx="1859">
                  <c:v>Milleret: A</c:v>
                </c:pt>
                <c:pt idx="1860">
                  <c:v>Leerdammer</c:v>
                </c:pt>
                <c:pt idx="1861">
                  <c:v>All Others</c:v>
                </c:pt>
                <c:pt idx="1862">
                  <c:v>All Others</c:v>
                </c:pt>
                <c:pt idx="1863">
                  <c:v>All Others</c:v>
                </c:pt>
                <c:pt idx="1864">
                  <c:v>All Others</c:v>
                </c:pt>
                <c:pt idx="1865">
                  <c:v>All Others</c:v>
                </c:pt>
                <c:pt idx="1866">
                  <c:v>Fol Epi</c:v>
                </c:pt>
                <c:pt idx="1867">
                  <c:v>All Others</c:v>
                </c:pt>
                <c:pt idx="1868">
                  <c:v>Fol Epi</c:v>
                </c:pt>
                <c:pt idx="1869">
                  <c:v>Paysan Bret</c:v>
                </c:pt>
                <c:pt idx="1870">
                  <c:v>All Others</c:v>
                </c:pt>
                <c:pt idx="1871">
                  <c:v>All Others</c:v>
                </c:pt>
                <c:pt idx="1872">
                  <c:v>All Others</c:v>
                </c:pt>
                <c:pt idx="1873">
                  <c:v>All Others</c:v>
                </c:pt>
                <c:pt idx="1874">
                  <c:v>All Others</c:v>
                </c:pt>
                <c:pt idx="1875">
                  <c:v>All Others</c:v>
                </c:pt>
                <c:pt idx="1876">
                  <c:v>All Others</c:v>
                </c:pt>
                <c:pt idx="1877">
                  <c:v>All Others</c:v>
                </c:pt>
                <c:pt idx="1878">
                  <c:v>All Others</c:v>
                </c:pt>
                <c:pt idx="1879">
                  <c:v>All Others</c:v>
                </c:pt>
                <c:pt idx="1880">
                  <c:v>All Others</c:v>
                </c:pt>
                <c:pt idx="1881">
                  <c:v>All Others</c:v>
                </c:pt>
                <c:pt idx="1882">
                  <c:v>All Others</c:v>
                </c:pt>
                <c:pt idx="1883">
                  <c:v>Pave D'Affi</c:v>
                </c:pt>
                <c:pt idx="1884">
                  <c:v>All Others</c:v>
                </c:pt>
                <c:pt idx="1885">
                  <c:v>Lactalis: A</c:v>
                </c:pt>
                <c:pt idx="1886">
                  <c:v>All Others</c:v>
                </c:pt>
                <c:pt idx="1887">
                  <c:v>All Others</c:v>
                </c:pt>
                <c:pt idx="1888">
                  <c:v>All Others</c:v>
                </c:pt>
                <c:pt idx="1889">
                  <c:v>All Others</c:v>
                </c:pt>
                <c:pt idx="1890">
                  <c:v>All Others</c:v>
                </c:pt>
                <c:pt idx="1891">
                  <c:v>All Others</c:v>
                </c:pt>
                <c:pt idx="1892">
                  <c:v>All Others</c:v>
                </c:pt>
                <c:pt idx="1893">
                  <c:v>All Others</c:v>
                </c:pt>
                <c:pt idx="1894">
                  <c:v>Richesmonts</c:v>
                </c:pt>
                <c:pt idx="1895">
                  <c:v>All Others</c:v>
                </c:pt>
                <c:pt idx="1896">
                  <c:v>All Others</c:v>
                </c:pt>
                <c:pt idx="1897">
                  <c:v>All Others</c:v>
                </c:pt>
                <c:pt idx="1898">
                  <c:v>La Belle Et</c:v>
                </c:pt>
                <c:pt idx="1899">
                  <c:v>Triballat R</c:v>
                </c:pt>
                <c:pt idx="1900">
                  <c:v>All Others</c:v>
                </c:pt>
                <c:pt idx="1901">
                  <c:v>All Others</c:v>
                </c:pt>
                <c:pt idx="1902">
                  <c:v>Private Lab</c:v>
                </c:pt>
                <c:pt idx="1903">
                  <c:v>Private Lab</c:v>
                </c:pt>
                <c:pt idx="1904">
                  <c:v>All Others</c:v>
                </c:pt>
                <c:pt idx="1905">
                  <c:v>Lactalis: A</c:v>
                </c:pt>
                <c:pt idx="1906">
                  <c:v>All Others</c:v>
                </c:pt>
                <c:pt idx="1907">
                  <c:v>All Others</c:v>
                </c:pt>
                <c:pt idx="1908">
                  <c:v>Triballat R</c:v>
                </c:pt>
                <c:pt idx="1909">
                  <c:v>All Others</c:v>
                </c:pt>
                <c:pt idx="1910">
                  <c:v>All Others</c:v>
                </c:pt>
                <c:pt idx="1911">
                  <c:v>All Others</c:v>
                </c:pt>
                <c:pt idx="1912">
                  <c:v>President</c:v>
                </c:pt>
                <c:pt idx="1913">
                  <c:v>All Others</c:v>
                </c:pt>
                <c:pt idx="1914">
                  <c:v>Entremont</c:v>
                </c:pt>
                <c:pt idx="1915">
                  <c:v>All Others</c:v>
                </c:pt>
                <c:pt idx="1916">
                  <c:v>All Others</c:v>
                </c:pt>
                <c:pt idx="1917">
                  <c:v>All Others</c:v>
                </c:pt>
                <c:pt idx="1918">
                  <c:v>Entremont</c:v>
                </c:pt>
                <c:pt idx="1919">
                  <c:v>All Others</c:v>
                </c:pt>
                <c:pt idx="1920">
                  <c:v>Saint Agur</c:v>
                </c:pt>
                <c:pt idx="1921">
                  <c:v>All Others</c:v>
                </c:pt>
                <c:pt idx="1922">
                  <c:v>Private Lab</c:v>
                </c:pt>
                <c:pt idx="1923">
                  <c:v>Lactalis: A</c:v>
                </c:pt>
                <c:pt idx="1924">
                  <c:v>All Others</c:v>
                </c:pt>
                <c:pt idx="1925">
                  <c:v>All Others</c:v>
                </c:pt>
                <c:pt idx="1926">
                  <c:v>All Others</c:v>
                </c:pt>
                <c:pt idx="1927">
                  <c:v>All Others</c:v>
                </c:pt>
                <c:pt idx="1928">
                  <c:v>All Others</c:v>
                </c:pt>
                <c:pt idx="1929">
                  <c:v>All Others</c:v>
                </c:pt>
                <c:pt idx="1930">
                  <c:v>All Others</c:v>
                </c:pt>
                <c:pt idx="1931">
                  <c:v>All Others</c:v>
                </c:pt>
                <c:pt idx="1932">
                  <c:v>All Others</c:v>
                </c:pt>
                <c:pt idx="1933">
                  <c:v>All Others</c:v>
                </c:pt>
                <c:pt idx="1934">
                  <c:v>All Others</c:v>
                </c:pt>
                <c:pt idx="1935">
                  <c:v>All Others</c:v>
                </c:pt>
                <c:pt idx="1936">
                  <c:v>All Others</c:v>
                </c:pt>
                <c:pt idx="1937">
                  <c:v>All Others</c:v>
                </c:pt>
                <c:pt idx="1938">
                  <c:v>Raguin</c:v>
                </c:pt>
                <c:pt idx="1939">
                  <c:v>All Others</c:v>
                </c:pt>
                <c:pt idx="1940">
                  <c:v>All Others</c:v>
                </c:pt>
                <c:pt idx="1941">
                  <c:v>All Others</c:v>
                </c:pt>
                <c:pt idx="1942">
                  <c:v>All Others</c:v>
                </c:pt>
                <c:pt idx="1943">
                  <c:v>All Others</c:v>
                </c:pt>
                <c:pt idx="1944">
                  <c:v>All Others</c:v>
                </c:pt>
                <c:pt idx="1945">
                  <c:v>All Others</c:v>
                </c:pt>
                <c:pt idx="1946">
                  <c:v>All Others</c:v>
                </c:pt>
                <c:pt idx="1947">
                  <c:v>All Others</c:v>
                </c:pt>
                <c:pt idx="1948">
                  <c:v>All Others</c:v>
                </c:pt>
                <c:pt idx="1949">
                  <c:v>All Others</c:v>
                </c:pt>
                <c:pt idx="1950">
                  <c:v>All Others</c:v>
                </c:pt>
                <c:pt idx="1951">
                  <c:v>All Others</c:v>
                </c:pt>
                <c:pt idx="1952">
                  <c:v>Milleret: A</c:v>
                </c:pt>
                <c:pt idx="1953">
                  <c:v>All Others</c:v>
                </c:pt>
                <c:pt idx="1954">
                  <c:v>All Others</c:v>
                </c:pt>
                <c:pt idx="1955">
                  <c:v>Caprice Des</c:v>
                </c:pt>
                <c:pt idx="1956">
                  <c:v>All Others</c:v>
                </c:pt>
                <c:pt idx="1957">
                  <c:v>All Others</c:v>
                </c:pt>
                <c:pt idx="1958">
                  <c:v>Lactalis: A</c:v>
                </c:pt>
                <c:pt idx="1959">
                  <c:v>All Others</c:v>
                </c:pt>
                <c:pt idx="1960">
                  <c:v>All Others</c:v>
                </c:pt>
                <c:pt idx="1961">
                  <c:v>All Others</c:v>
                </c:pt>
                <c:pt idx="1962">
                  <c:v>Private Lab</c:v>
                </c:pt>
                <c:pt idx="1963">
                  <c:v>All Others</c:v>
                </c:pt>
                <c:pt idx="1964">
                  <c:v>Pave D'Affi</c:v>
                </c:pt>
                <c:pt idx="1965">
                  <c:v>All Others</c:v>
                </c:pt>
                <c:pt idx="1966">
                  <c:v>All Others</c:v>
                </c:pt>
                <c:pt idx="1967">
                  <c:v>All Others</c:v>
                </c:pt>
                <c:pt idx="1968">
                  <c:v>All Others</c:v>
                </c:pt>
                <c:pt idx="1969">
                  <c:v>All Others</c:v>
                </c:pt>
                <c:pt idx="1970">
                  <c:v>All Others</c:v>
                </c:pt>
                <c:pt idx="1971">
                  <c:v>All Others</c:v>
                </c:pt>
                <c:pt idx="1972">
                  <c:v>All Others</c:v>
                </c:pt>
                <c:pt idx="1973">
                  <c:v>La Belle Et</c:v>
                </c:pt>
                <c:pt idx="1974">
                  <c:v>All Others</c:v>
                </c:pt>
                <c:pt idx="1975">
                  <c:v>Raguin</c:v>
                </c:pt>
                <c:pt idx="1976">
                  <c:v>All Others</c:v>
                </c:pt>
                <c:pt idx="1977">
                  <c:v>All Others</c:v>
                </c:pt>
                <c:pt idx="1978">
                  <c:v>All Others</c:v>
                </c:pt>
                <c:pt idx="1979">
                  <c:v>All Others</c:v>
                </c:pt>
                <c:pt idx="1980">
                  <c:v>Lactalis: A</c:v>
                </c:pt>
                <c:pt idx="1981">
                  <c:v>All Others</c:v>
                </c:pt>
                <c:pt idx="1982">
                  <c:v>La Belle Et</c:v>
                </c:pt>
                <c:pt idx="1983">
                  <c:v>All Others</c:v>
                </c:pt>
                <c:pt idx="1984">
                  <c:v>All Others</c:v>
                </c:pt>
                <c:pt idx="1985">
                  <c:v>All Others</c:v>
                </c:pt>
                <c:pt idx="1986">
                  <c:v>All Others</c:v>
                </c:pt>
                <c:pt idx="1987">
                  <c:v>Lou Perac</c:v>
                </c:pt>
                <c:pt idx="1988">
                  <c:v>All Others</c:v>
                </c:pt>
                <c:pt idx="1989">
                  <c:v>All Others</c:v>
                </c:pt>
                <c:pt idx="1990">
                  <c:v>Savencia: A</c:v>
                </c:pt>
                <c:pt idx="1991">
                  <c:v>All Others</c:v>
                </c:pt>
                <c:pt idx="1992">
                  <c:v>All Others</c:v>
                </c:pt>
                <c:pt idx="1993">
                  <c:v>All Others</c:v>
                </c:pt>
                <c:pt idx="1994">
                  <c:v>All Others</c:v>
                </c:pt>
                <c:pt idx="1995">
                  <c:v>Private Lab</c:v>
                </c:pt>
                <c:pt idx="1996">
                  <c:v>Pochat</c:v>
                </c:pt>
                <c:pt idx="1997">
                  <c:v>All Others</c:v>
                </c:pt>
                <c:pt idx="1998">
                  <c:v>All Others</c:v>
                </c:pt>
                <c:pt idx="1999">
                  <c:v>All Others</c:v>
                </c:pt>
                <c:pt idx="2000">
                  <c:v>All Others</c:v>
                </c:pt>
                <c:pt idx="2001">
                  <c:v>All Others</c:v>
                </c:pt>
                <c:pt idx="2002">
                  <c:v>Mini Babybe</c:v>
                </c:pt>
                <c:pt idx="2003">
                  <c:v>All Others</c:v>
                </c:pt>
                <c:pt idx="2004">
                  <c:v>All Others</c:v>
                </c:pt>
                <c:pt idx="2005">
                  <c:v>All Others</c:v>
                </c:pt>
                <c:pt idx="2006">
                  <c:v>All Others</c:v>
                </c:pt>
                <c:pt idx="2007">
                  <c:v>All Others</c:v>
                </c:pt>
                <c:pt idx="2008">
                  <c:v>All Others</c:v>
                </c:pt>
                <c:pt idx="2009">
                  <c:v>Lactalis: A</c:v>
                </c:pt>
                <c:pt idx="2010">
                  <c:v>All Others</c:v>
                </c:pt>
                <c:pt idx="2011">
                  <c:v>All Others</c:v>
                </c:pt>
                <c:pt idx="2012">
                  <c:v>All Others</c:v>
                </c:pt>
                <c:pt idx="2013">
                  <c:v>Port Salut</c:v>
                </c:pt>
                <c:pt idx="2014">
                  <c:v>All Others</c:v>
                </c:pt>
                <c:pt idx="2015">
                  <c:v>All Others</c:v>
                </c:pt>
                <c:pt idx="2016">
                  <c:v>All Others</c:v>
                </c:pt>
                <c:pt idx="2017">
                  <c:v>All Others</c:v>
                </c:pt>
                <c:pt idx="2018">
                  <c:v>All Others</c:v>
                </c:pt>
                <c:pt idx="2019">
                  <c:v>All Others</c:v>
                </c:pt>
                <c:pt idx="2020">
                  <c:v>All Others</c:v>
                </c:pt>
                <c:pt idx="2021">
                  <c:v>All Others</c:v>
                </c:pt>
                <c:pt idx="2022">
                  <c:v>All Others</c:v>
                </c:pt>
                <c:pt idx="2023">
                  <c:v>All Others</c:v>
                </c:pt>
                <c:pt idx="2024">
                  <c:v>Richesmonts</c:v>
                </c:pt>
                <c:pt idx="2025">
                  <c:v>Private Lab</c:v>
                </c:pt>
                <c:pt idx="2026">
                  <c:v>All Others</c:v>
                </c:pt>
                <c:pt idx="2027">
                  <c:v>All Others</c:v>
                </c:pt>
                <c:pt idx="2028">
                  <c:v>All Others</c:v>
                </c:pt>
                <c:pt idx="2029">
                  <c:v>All Others</c:v>
                </c:pt>
                <c:pt idx="2030">
                  <c:v>All Others</c:v>
                </c:pt>
                <c:pt idx="2031">
                  <c:v>All Others</c:v>
                </c:pt>
                <c:pt idx="2032">
                  <c:v>All Others</c:v>
                </c:pt>
                <c:pt idx="2033">
                  <c:v>All Others</c:v>
                </c:pt>
                <c:pt idx="2034">
                  <c:v>All Others</c:v>
                </c:pt>
                <c:pt idx="2035">
                  <c:v>All Others</c:v>
                </c:pt>
                <c:pt idx="2036">
                  <c:v>All Others</c:v>
                </c:pt>
                <c:pt idx="2037">
                  <c:v>All Others</c:v>
                </c:pt>
                <c:pt idx="2038">
                  <c:v>All Others</c:v>
                </c:pt>
                <c:pt idx="2039">
                  <c:v>All Others</c:v>
                </c:pt>
                <c:pt idx="2040">
                  <c:v>All Others</c:v>
                </c:pt>
                <c:pt idx="2041">
                  <c:v>All Others</c:v>
                </c:pt>
                <c:pt idx="2042">
                  <c:v>All Others</c:v>
                </c:pt>
                <c:pt idx="2043">
                  <c:v>All Others</c:v>
                </c:pt>
                <c:pt idx="2044">
                  <c:v>Eurial Autr</c:v>
                </c:pt>
                <c:pt idx="2045">
                  <c:v>All Others</c:v>
                </c:pt>
                <c:pt idx="2046">
                  <c:v>All Others</c:v>
                </c:pt>
                <c:pt idx="2047">
                  <c:v>All Others</c:v>
                </c:pt>
                <c:pt idx="2048">
                  <c:v>All Others</c:v>
                </c:pt>
                <c:pt idx="2049">
                  <c:v>All Others</c:v>
                </c:pt>
                <c:pt idx="2050">
                  <c:v>All Others</c:v>
                </c:pt>
                <c:pt idx="2051">
                  <c:v>All Others</c:v>
                </c:pt>
                <c:pt idx="2052">
                  <c:v>All Others</c:v>
                </c:pt>
                <c:pt idx="2053">
                  <c:v>All Others</c:v>
                </c:pt>
                <c:pt idx="2054">
                  <c:v>All Others</c:v>
                </c:pt>
                <c:pt idx="2055">
                  <c:v>All Others</c:v>
                </c:pt>
                <c:pt idx="2056">
                  <c:v>All Others</c:v>
                </c:pt>
                <c:pt idx="2057">
                  <c:v>All Others</c:v>
                </c:pt>
                <c:pt idx="2058">
                  <c:v>All Others</c:v>
                </c:pt>
                <c:pt idx="2059">
                  <c:v>All Others</c:v>
                </c:pt>
                <c:pt idx="2060">
                  <c:v>All Others</c:v>
                </c:pt>
                <c:pt idx="2061">
                  <c:v>All Others</c:v>
                </c:pt>
                <c:pt idx="2062">
                  <c:v>All Others</c:v>
                </c:pt>
                <c:pt idx="2063">
                  <c:v>All Others</c:v>
                </c:pt>
                <c:pt idx="2064">
                  <c:v>All Others</c:v>
                </c:pt>
                <c:pt idx="2065">
                  <c:v>Private Lab</c:v>
                </c:pt>
                <c:pt idx="2066">
                  <c:v>All Others</c:v>
                </c:pt>
                <c:pt idx="2067">
                  <c:v>All Others</c:v>
                </c:pt>
                <c:pt idx="2068">
                  <c:v>All Others</c:v>
                </c:pt>
                <c:pt idx="2069">
                  <c:v>Le Saint Am</c:v>
                </c:pt>
                <c:pt idx="2070">
                  <c:v>All Others</c:v>
                </c:pt>
                <c:pt idx="2071">
                  <c:v>All Others</c:v>
                </c:pt>
                <c:pt idx="2072">
                  <c:v>All Others</c:v>
                </c:pt>
                <c:pt idx="2073">
                  <c:v>All Others</c:v>
                </c:pt>
                <c:pt idx="2074">
                  <c:v>All Others</c:v>
                </c:pt>
                <c:pt idx="2075">
                  <c:v>All Others</c:v>
                </c:pt>
                <c:pt idx="2076">
                  <c:v>All Others</c:v>
                </c:pt>
                <c:pt idx="2077">
                  <c:v>All Others</c:v>
                </c:pt>
                <c:pt idx="2078">
                  <c:v>All Others</c:v>
                </c:pt>
                <c:pt idx="2079">
                  <c:v>All Others</c:v>
                </c:pt>
                <c:pt idx="2080">
                  <c:v>All Others</c:v>
                </c:pt>
                <c:pt idx="2081">
                  <c:v>All Others</c:v>
                </c:pt>
                <c:pt idx="2082">
                  <c:v>Eurial Autr</c:v>
                </c:pt>
                <c:pt idx="2083">
                  <c:v>All Others</c:v>
                </c:pt>
                <c:pt idx="2084">
                  <c:v>All Others</c:v>
                </c:pt>
                <c:pt idx="2085">
                  <c:v>All Others</c:v>
                </c:pt>
                <c:pt idx="2086">
                  <c:v>All Others</c:v>
                </c:pt>
                <c:pt idx="2087">
                  <c:v>All Others</c:v>
                </c:pt>
                <c:pt idx="2088">
                  <c:v>All Others</c:v>
                </c:pt>
                <c:pt idx="2089">
                  <c:v>All Others</c:v>
                </c:pt>
                <c:pt idx="2090">
                  <c:v>All Others</c:v>
                </c:pt>
                <c:pt idx="2091">
                  <c:v>All Others</c:v>
                </c:pt>
                <c:pt idx="2092">
                  <c:v>Pave D'Affi</c:v>
                </c:pt>
                <c:pt idx="2093">
                  <c:v>All Others</c:v>
                </c:pt>
                <c:pt idx="2094">
                  <c:v>All Others</c:v>
                </c:pt>
                <c:pt idx="2095">
                  <c:v>All Others</c:v>
                </c:pt>
                <c:pt idx="2096">
                  <c:v>All Others</c:v>
                </c:pt>
                <c:pt idx="2097">
                  <c:v>All Others</c:v>
                </c:pt>
                <c:pt idx="2098">
                  <c:v>All Others</c:v>
                </c:pt>
                <c:pt idx="2099">
                  <c:v>All Others</c:v>
                </c:pt>
                <c:pt idx="2100">
                  <c:v>All Others</c:v>
                </c:pt>
                <c:pt idx="2101">
                  <c:v>All Others</c:v>
                </c:pt>
                <c:pt idx="2102">
                  <c:v>All Others</c:v>
                </c:pt>
                <c:pt idx="2103">
                  <c:v>All Others</c:v>
                </c:pt>
                <c:pt idx="2104">
                  <c:v>All Others</c:v>
                </c:pt>
                <c:pt idx="2105">
                  <c:v>All Others</c:v>
                </c:pt>
                <c:pt idx="2106">
                  <c:v>All Others</c:v>
                </c:pt>
                <c:pt idx="2107">
                  <c:v>All Others</c:v>
                </c:pt>
                <c:pt idx="2108">
                  <c:v>All Others</c:v>
                </c:pt>
                <c:pt idx="2109">
                  <c:v>All Others</c:v>
                </c:pt>
                <c:pt idx="2110">
                  <c:v>All Others</c:v>
                </c:pt>
                <c:pt idx="2111">
                  <c:v>All Others</c:v>
                </c:pt>
                <c:pt idx="2112">
                  <c:v>All Others</c:v>
                </c:pt>
                <c:pt idx="2113">
                  <c:v>All Others</c:v>
                </c:pt>
                <c:pt idx="2114">
                  <c:v>All Others</c:v>
                </c:pt>
                <c:pt idx="2115">
                  <c:v>All Others</c:v>
                </c:pt>
                <c:pt idx="2116">
                  <c:v>All Others</c:v>
                </c:pt>
                <c:pt idx="2117">
                  <c:v>All Others</c:v>
                </c:pt>
                <c:pt idx="2118">
                  <c:v>All Others</c:v>
                </c:pt>
                <c:pt idx="2119">
                  <c:v>All Others</c:v>
                </c:pt>
                <c:pt idx="2120">
                  <c:v>Private Lab</c:v>
                </c:pt>
                <c:pt idx="2121">
                  <c:v>All Others</c:v>
                </c:pt>
                <c:pt idx="2122">
                  <c:v>All Others</c:v>
                </c:pt>
                <c:pt idx="2123">
                  <c:v>All Others</c:v>
                </c:pt>
                <c:pt idx="2124">
                  <c:v>All Others</c:v>
                </c:pt>
                <c:pt idx="2125">
                  <c:v>All Others</c:v>
                </c:pt>
                <c:pt idx="2126">
                  <c:v>All Others</c:v>
                </c:pt>
                <c:pt idx="2127">
                  <c:v>All Others</c:v>
                </c:pt>
                <c:pt idx="2128">
                  <c:v>All Others</c:v>
                </c:pt>
                <c:pt idx="2129">
                  <c:v>All Others</c:v>
                </c:pt>
                <c:pt idx="2130">
                  <c:v>All Others</c:v>
                </c:pt>
                <c:pt idx="2131">
                  <c:v>All Others</c:v>
                </c:pt>
                <c:pt idx="2132">
                  <c:v>Lactalis: A</c:v>
                </c:pt>
                <c:pt idx="2133">
                  <c:v>All Others</c:v>
                </c:pt>
                <c:pt idx="2134">
                  <c:v>Limiano</c:v>
                </c:pt>
                <c:pt idx="2135">
                  <c:v>All Others</c:v>
                </c:pt>
                <c:pt idx="2136">
                  <c:v>All Others</c:v>
                </c:pt>
                <c:pt idx="2137">
                  <c:v>All Others</c:v>
                </c:pt>
                <c:pt idx="2138">
                  <c:v>All Others</c:v>
                </c:pt>
                <c:pt idx="2139">
                  <c:v>All Others</c:v>
                </c:pt>
                <c:pt idx="2140">
                  <c:v>All Others</c:v>
                </c:pt>
                <c:pt idx="2141">
                  <c:v>All Others</c:v>
                </c:pt>
                <c:pt idx="2142">
                  <c:v>All Others</c:v>
                </c:pt>
                <c:pt idx="2143">
                  <c:v>All Others</c:v>
                </c:pt>
                <c:pt idx="2144">
                  <c:v>All Others</c:v>
                </c:pt>
                <c:pt idx="2145">
                  <c:v>All Others</c:v>
                </c:pt>
                <c:pt idx="2146">
                  <c:v>President</c:v>
                </c:pt>
                <c:pt idx="2147">
                  <c:v>All Others</c:v>
                </c:pt>
                <c:pt idx="2148">
                  <c:v>All Others</c:v>
                </c:pt>
                <c:pt idx="2149">
                  <c:v>All Others</c:v>
                </c:pt>
                <c:pt idx="2150">
                  <c:v>Raguin</c:v>
                </c:pt>
                <c:pt idx="2151">
                  <c:v>All Others</c:v>
                </c:pt>
                <c:pt idx="2152">
                  <c:v>All Others</c:v>
                </c:pt>
                <c:pt idx="2153">
                  <c:v>All Others</c:v>
                </c:pt>
                <c:pt idx="2154">
                  <c:v>All Others</c:v>
                </c:pt>
                <c:pt idx="2155">
                  <c:v>All Others</c:v>
                </c:pt>
                <c:pt idx="2156">
                  <c:v>All Others</c:v>
                </c:pt>
                <c:pt idx="2157">
                  <c:v>Lactalis: A</c:v>
                </c:pt>
                <c:pt idx="2158">
                  <c:v>All Others</c:v>
                </c:pt>
                <c:pt idx="2159">
                  <c:v>All Others</c:v>
                </c:pt>
                <c:pt idx="2160">
                  <c:v>Private Lab</c:v>
                </c:pt>
                <c:pt idx="2161">
                  <c:v>All Others</c:v>
                </c:pt>
                <c:pt idx="2162">
                  <c:v>All Others</c:v>
                </c:pt>
                <c:pt idx="2163">
                  <c:v>All Others</c:v>
                </c:pt>
                <c:pt idx="2164">
                  <c:v>All Others</c:v>
                </c:pt>
                <c:pt idx="2165">
                  <c:v>All Others</c:v>
                </c:pt>
                <c:pt idx="2166">
                  <c:v>All Others</c:v>
                </c:pt>
                <c:pt idx="2167">
                  <c:v>All Others</c:v>
                </c:pt>
                <c:pt idx="2168">
                  <c:v>Raguin</c:v>
                </c:pt>
                <c:pt idx="2169">
                  <c:v>Etorki</c:v>
                </c:pt>
                <c:pt idx="2170">
                  <c:v>Etoile Du V</c:v>
                </c:pt>
                <c:pt idx="2171">
                  <c:v>All Others</c:v>
                </c:pt>
                <c:pt idx="2172">
                  <c:v>All Others</c:v>
                </c:pt>
                <c:pt idx="2173">
                  <c:v>All Others</c:v>
                </c:pt>
                <c:pt idx="2174">
                  <c:v>All Others</c:v>
                </c:pt>
                <c:pt idx="2175">
                  <c:v>All Others</c:v>
                </c:pt>
                <c:pt idx="2176">
                  <c:v>All Others</c:v>
                </c:pt>
                <c:pt idx="2177">
                  <c:v>All Others</c:v>
                </c:pt>
                <c:pt idx="2178">
                  <c:v>All Others</c:v>
                </c:pt>
                <c:pt idx="2179">
                  <c:v>All Others</c:v>
                </c:pt>
                <c:pt idx="2180">
                  <c:v>All Others</c:v>
                </c:pt>
                <c:pt idx="2181">
                  <c:v>All Others</c:v>
                </c:pt>
                <c:pt idx="2182">
                  <c:v>All Others</c:v>
                </c:pt>
                <c:pt idx="2183">
                  <c:v>All Others</c:v>
                </c:pt>
                <c:pt idx="2184">
                  <c:v>All Others</c:v>
                </c:pt>
                <c:pt idx="2185">
                  <c:v>Raguin</c:v>
                </c:pt>
                <c:pt idx="2186">
                  <c:v>All Others</c:v>
                </c:pt>
                <c:pt idx="2187">
                  <c:v>All Others</c:v>
                </c:pt>
                <c:pt idx="2188">
                  <c:v>All Others</c:v>
                </c:pt>
                <c:pt idx="2189">
                  <c:v>All Others</c:v>
                </c:pt>
                <c:pt idx="2190">
                  <c:v>All Others</c:v>
                </c:pt>
                <c:pt idx="2191">
                  <c:v>All Others</c:v>
                </c:pt>
                <c:pt idx="2192">
                  <c:v>All Others</c:v>
                </c:pt>
                <c:pt idx="2193">
                  <c:v>All Others</c:v>
                </c:pt>
                <c:pt idx="2194">
                  <c:v>All Others</c:v>
                </c:pt>
                <c:pt idx="2195">
                  <c:v>All Others</c:v>
                </c:pt>
                <c:pt idx="2196">
                  <c:v>All Others</c:v>
                </c:pt>
                <c:pt idx="2197">
                  <c:v>All Others</c:v>
                </c:pt>
                <c:pt idx="2198">
                  <c:v>All Others</c:v>
                </c:pt>
                <c:pt idx="2199">
                  <c:v>All Others</c:v>
                </c:pt>
                <c:pt idx="2200">
                  <c:v>Raguin</c:v>
                </c:pt>
                <c:pt idx="2201">
                  <c:v>All Others</c:v>
                </c:pt>
                <c:pt idx="2202">
                  <c:v>All Others</c:v>
                </c:pt>
                <c:pt idx="2203">
                  <c:v>All Others</c:v>
                </c:pt>
                <c:pt idx="2204">
                  <c:v>All Others</c:v>
                </c:pt>
                <c:pt idx="2205">
                  <c:v>All Others</c:v>
                </c:pt>
                <c:pt idx="2206">
                  <c:v>President</c:v>
                </c:pt>
                <c:pt idx="2207">
                  <c:v>All Others</c:v>
                </c:pt>
                <c:pt idx="2208">
                  <c:v>All Others</c:v>
                </c:pt>
                <c:pt idx="2209">
                  <c:v>All Others</c:v>
                </c:pt>
                <c:pt idx="2210">
                  <c:v>All Others</c:v>
                </c:pt>
                <c:pt idx="2211">
                  <c:v>All Others</c:v>
                </c:pt>
                <c:pt idx="2212">
                  <c:v>All Others</c:v>
                </c:pt>
                <c:pt idx="2213">
                  <c:v>All Others</c:v>
                </c:pt>
                <c:pt idx="2214">
                  <c:v>All Others</c:v>
                </c:pt>
                <c:pt idx="2215">
                  <c:v>All Others</c:v>
                </c:pt>
                <c:pt idx="2216">
                  <c:v>All Others</c:v>
                </c:pt>
                <c:pt idx="2217">
                  <c:v>All Others</c:v>
                </c:pt>
                <c:pt idx="2218">
                  <c:v>All Others</c:v>
                </c:pt>
                <c:pt idx="2219">
                  <c:v>Rondele</c:v>
                </c:pt>
                <c:pt idx="2220">
                  <c:v>All Others</c:v>
                </c:pt>
                <c:pt idx="2221">
                  <c:v>Lactalis: A</c:v>
                </c:pt>
                <c:pt idx="2222">
                  <c:v>All Others</c:v>
                </c:pt>
                <c:pt idx="2223">
                  <c:v>All Others</c:v>
                </c:pt>
                <c:pt idx="2224">
                  <c:v>All Others</c:v>
                </c:pt>
                <c:pt idx="2225">
                  <c:v>All Others</c:v>
                </c:pt>
                <c:pt idx="2226">
                  <c:v>All Others</c:v>
                </c:pt>
                <c:pt idx="2227">
                  <c:v>All Others</c:v>
                </c:pt>
                <c:pt idx="2228">
                  <c:v>Limiano</c:v>
                </c:pt>
                <c:pt idx="2229">
                  <c:v>All Others</c:v>
                </c:pt>
                <c:pt idx="2230">
                  <c:v>All Others</c:v>
                </c:pt>
                <c:pt idx="2231">
                  <c:v>All Others</c:v>
                </c:pt>
                <c:pt idx="2232">
                  <c:v>All Others</c:v>
                </c:pt>
                <c:pt idx="2233">
                  <c:v>All Others</c:v>
                </c:pt>
                <c:pt idx="2234">
                  <c:v>All Others</c:v>
                </c:pt>
                <c:pt idx="2235">
                  <c:v>All Others</c:v>
                </c:pt>
                <c:pt idx="2236">
                  <c:v>All Others</c:v>
                </c:pt>
                <c:pt idx="2237">
                  <c:v>All Others</c:v>
                </c:pt>
                <c:pt idx="2238">
                  <c:v>All Others</c:v>
                </c:pt>
                <c:pt idx="2239">
                  <c:v>All Others</c:v>
                </c:pt>
                <c:pt idx="2240">
                  <c:v>All Others</c:v>
                </c:pt>
                <c:pt idx="2241">
                  <c:v>All Others</c:v>
                </c:pt>
                <c:pt idx="2242">
                  <c:v>All Others</c:v>
                </c:pt>
                <c:pt idx="2243">
                  <c:v>All Others</c:v>
                </c:pt>
                <c:pt idx="2244">
                  <c:v>All Others</c:v>
                </c:pt>
                <c:pt idx="2245">
                  <c:v>All Others</c:v>
                </c:pt>
                <c:pt idx="2246">
                  <c:v>All Others</c:v>
                </c:pt>
                <c:pt idx="2247">
                  <c:v>All Others</c:v>
                </c:pt>
                <c:pt idx="2248">
                  <c:v>All Others</c:v>
                </c:pt>
                <c:pt idx="2249">
                  <c:v>All Others</c:v>
                </c:pt>
                <c:pt idx="2250">
                  <c:v>All Others</c:v>
                </c:pt>
                <c:pt idx="2251">
                  <c:v>All Others</c:v>
                </c:pt>
                <c:pt idx="2252">
                  <c:v>All Others</c:v>
                </c:pt>
                <c:pt idx="2253">
                  <c:v>All Others</c:v>
                </c:pt>
                <c:pt idx="2254">
                  <c:v>All Others</c:v>
                </c:pt>
                <c:pt idx="2255">
                  <c:v>All Others</c:v>
                </c:pt>
                <c:pt idx="2256">
                  <c:v>All Others</c:v>
                </c:pt>
                <c:pt idx="2257">
                  <c:v>All Others</c:v>
                </c:pt>
                <c:pt idx="2258">
                  <c:v>Rondele</c:v>
                </c:pt>
                <c:pt idx="2259">
                  <c:v>All Others</c:v>
                </c:pt>
                <c:pt idx="2260">
                  <c:v>All Others</c:v>
                </c:pt>
                <c:pt idx="2261">
                  <c:v>All Others</c:v>
                </c:pt>
                <c:pt idx="2262">
                  <c:v>All Others</c:v>
                </c:pt>
                <c:pt idx="2263">
                  <c:v>All Others</c:v>
                </c:pt>
                <c:pt idx="2264">
                  <c:v>Private Lab</c:v>
                </c:pt>
                <c:pt idx="2265">
                  <c:v>All Others</c:v>
                </c:pt>
                <c:pt idx="2266">
                  <c:v>O'Tapas Ape</c:v>
                </c:pt>
                <c:pt idx="2267">
                  <c:v>All Others</c:v>
                </c:pt>
                <c:pt idx="2268">
                  <c:v>All Others</c:v>
                </c:pt>
                <c:pt idx="2269">
                  <c:v>All Others</c:v>
                </c:pt>
                <c:pt idx="2270">
                  <c:v>All Others</c:v>
                </c:pt>
                <c:pt idx="2271">
                  <c:v>All Others</c:v>
                </c:pt>
                <c:pt idx="2272">
                  <c:v>Raguin</c:v>
                </c:pt>
                <c:pt idx="2273">
                  <c:v>All Others</c:v>
                </c:pt>
                <c:pt idx="2274">
                  <c:v>All Others</c:v>
                </c:pt>
                <c:pt idx="2275">
                  <c:v>All Others</c:v>
                </c:pt>
                <c:pt idx="2276">
                  <c:v>All Others</c:v>
                </c:pt>
                <c:pt idx="2277">
                  <c:v>All Others</c:v>
                </c:pt>
                <c:pt idx="2278">
                  <c:v>All Others</c:v>
                </c:pt>
                <c:pt idx="2279">
                  <c:v>All Others</c:v>
                </c:pt>
                <c:pt idx="2280">
                  <c:v>All Others</c:v>
                </c:pt>
                <c:pt idx="2281">
                  <c:v>All Others</c:v>
                </c:pt>
                <c:pt idx="2282">
                  <c:v>All Others</c:v>
                </c:pt>
                <c:pt idx="2283">
                  <c:v>All Others</c:v>
                </c:pt>
                <c:pt idx="2284">
                  <c:v>Soignon</c:v>
                </c:pt>
                <c:pt idx="2285">
                  <c:v>All Others</c:v>
                </c:pt>
                <c:pt idx="2286">
                  <c:v>All Others</c:v>
                </c:pt>
                <c:pt idx="2287">
                  <c:v>All Others</c:v>
                </c:pt>
                <c:pt idx="2288">
                  <c:v>All Others</c:v>
                </c:pt>
                <c:pt idx="2289">
                  <c:v>All Others</c:v>
                </c:pt>
                <c:pt idx="2290">
                  <c:v>All Others</c:v>
                </c:pt>
                <c:pt idx="2291">
                  <c:v>All Others</c:v>
                </c:pt>
                <c:pt idx="2292">
                  <c:v>All Others</c:v>
                </c:pt>
                <c:pt idx="2293">
                  <c:v>All Others</c:v>
                </c:pt>
                <c:pt idx="2294">
                  <c:v>All Others</c:v>
                </c:pt>
                <c:pt idx="2295">
                  <c:v>All Others</c:v>
                </c:pt>
                <c:pt idx="2296">
                  <c:v>All Others</c:v>
                </c:pt>
                <c:pt idx="2297">
                  <c:v>Lactalis: A</c:v>
                </c:pt>
                <c:pt idx="2298">
                  <c:v>All Others</c:v>
                </c:pt>
                <c:pt idx="2299">
                  <c:v>All Others</c:v>
                </c:pt>
                <c:pt idx="2300">
                  <c:v>Raguin</c:v>
                </c:pt>
                <c:pt idx="2301">
                  <c:v>All Others</c:v>
                </c:pt>
                <c:pt idx="2302">
                  <c:v>All Others</c:v>
                </c:pt>
                <c:pt idx="2303">
                  <c:v>All Others</c:v>
                </c:pt>
                <c:pt idx="2304">
                  <c:v>All Others</c:v>
                </c:pt>
                <c:pt idx="2305">
                  <c:v>All Others</c:v>
                </c:pt>
                <c:pt idx="2306">
                  <c:v>All Others</c:v>
                </c:pt>
                <c:pt idx="2307">
                  <c:v>All Others</c:v>
                </c:pt>
                <c:pt idx="2308">
                  <c:v>All Others</c:v>
                </c:pt>
                <c:pt idx="2309">
                  <c:v>All Others</c:v>
                </c:pt>
                <c:pt idx="2310">
                  <c:v>All Others</c:v>
                </c:pt>
                <c:pt idx="2311">
                  <c:v>All Others</c:v>
                </c:pt>
                <c:pt idx="2312">
                  <c:v>All Others</c:v>
                </c:pt>
                <c:pt idx="2313">
                  <c:v>All Others</c:v>
                </c:pt>
                <c:pt idx="2314">
                  <c:v>Lactalis: A</c:v>
                </c:pt>
                <c:pt idx="2315">
                  <c:v>All Others</c:v>
                </c:pt>
                <c:pt idx="2316">
                  <c:v>Rondele</c:v>
                </c:pt>
                <c:pt idx="2317">
                  <c:v>Raguin</c:v>
                </c:pt>
                <c:pt idx="2318">
                  <c:v>All Others</c:v>
                </c:pt>
                <c:pt idx="2319">
                  <c:v>All Others</c:v>
                </c:pt>
                <c:pt idx="2320">
                  <c:v>All Others</c:v>
                </c:pt>
                <c:pt idx="2321">
                  <c:v>All Others</c:v>
                </c:pt>
                <c:pt idx="2322">
                  <c:v>All Others</c:v>
                </c:pt>
                <c:pt idx="2323">
                  <c:v>All Others</c:v>
                </c:pt>
                <c:pt idx="2324">
                  <c:v>All Others</c:v>
                </c:pt>
                <c:pt idx="2325">
                  <c:v>All Others</c:v>
                </c:pt>
                <c:pt idx="2326">
                  <c:v>All Others</c:v>
                </c:pt>
                <c:pt idx="2327">
                  <c:v>All Others</c:v>
                </c:pt>
                <c:pt idx="2328">
                  <c:v>All Others</c:v>
                </c:pt>
                <c:pt idx="2329">
                  <c:v>All Others</c:v>
                </c:pt>
                <c:pt idx="2330">
                  <c:v>All Others</c:v>
                </c:pt>
                <c:pt idx="2331">
                  <c:v>All Others</c:v>
                </c:pt>
                <c:pt idx="2332">
                  <c:v>All Others</c:v>
                </c:pt>
                <c:pt idx="2333">
                  <c:v>All Others</c:v>
                </c:pt>
                <c:pt idx="2334">
                  <c:v>All Others</c:v>
                </c:pt>
                <c:pt idx="2335">
                  <c:v>Petit Billy</c:v>
                </c:pt>
                <c:pt idx="2336">
                  <c:v>All Others</c:v>
                </c:pt>
                <c:pt idx="2337">
                  <c:v>All Others</c:v>
                </c:pt>
                <c:pt idx="2338">
                  <c:v>All Others</c:v>
                </c:pt>
                <c:pt idx="2339">
                  <c:v>All Others</c:v>
                </c:pt>
                <c:pt idx="2340">
                  <c:v>All Others</c:v>
                </c:pt>
                <c:pt idx="2341">
                  <c:v>All Others</c:v>
                </c:pt>
                <c:pt idx="2342">
                  <c:v>All Others</c:v>
                </c:pt>
                <c:pt idx="2343">
                  <c:v>All Others</c:v>
                </c:pt>
                <c:pt idx="2344">
                  <c:v>All Others</c:v>
                </c:pt>
                <c:pt idx="2345">
                  <c:v>All Others</c:v>
                </c:pt>
                <c:pt idx="2346">
                  <c:v>All Others</c:v>
                </c:pt>
                <c:pt idx="2347">
                  <c:v>All Others</c:v>
                </c:pt>
                <c:pt idx="2348">
                  <c:v>All Others</c:v>
                </c:pt>
                <c:pt idx="2349">
                  <c:v>All Others</c:v>
                </c:pt>
                <c:pt idx="2350">
                  <c:v>All Others</c:v>
                </c:pt>
                <c:pt idx="2351">
                  <c:v>Lactalis: A</c:v>
                </c:pt>
                <c:pt idx="2352">
                  <c:v>All Others</c:v>
                </c:pt>
                <c:pt idx="2353">
                  <c:v>All Others</c:v>
                </c:pt>
                <c:pt idx="2354">
                  <c:v>Private Lab</c:v>
                </c:pt>
                <c:pt idx="2355">
                  <c:v>All Others</c:v>
                </c:pt>
                <c:pt idx="2356">
                  <c:v>Violife</c:v>
                </c:pt>
                <c:pt idx="2357">
                  <c:v>All Others</c:v>
                </c:pt>
                <c:pt idx="2358">
                  <c:v>All Others</c:v>
                </c:pt>
                <c:pt idx="2359">
                  <c:v>All Others</c:v>
                </c:pt>
                <c:pt idx="2360">
                  <c:v>All Others</c:v>
                </c:pt>
                <c:pt idx="2361">
                  <c:v>All Others</c:v>
                </c:pt>
                <c:pt idx="2362">
                  <c:v>All Others</c:v>
                </c:pt>
                <c:pt idx="2363">
                  <c:v>All Others</c:v>
                </c:pt>
                <c:pt idx="2364">
                  <c:v>All Others</c:v>
                </c:pt>
                <c:pt idx="2365">
                  <c:v>All Others</c:v>
                </c:pt>
                <c:pt idx="2366">
                  <c:v>All Others</c:v>
                </c:pt>
                <c:pt idx="2367">
                  <c:v>All Others</c:v>
                </c:pt>
                <c:pt idx="2368">
                  <c:v>Savencia: A</c:v>
                </c:pt>
                <c:pt idx="2369">
                  <c:v>Pave D'Affi</c:v>
                </c:pt>
                <c:pt idx="2370">
                  <c:v>All Others</c:v>
                </c:pt>
                <c:pt idx="2371">
                  <c:v>All Others</c:v>
                </c:pt>
                <c:pt idx="2372">
                  <c:v>All Others</c:v>
                </c:pt>
                <c:pt idx="2373">
                  <c:v>All Others</c:v>
                </c:pt>
                <c:pt idx="2374">
                  <c:v>All Others</c:v>
                </c:pt>
                <c:pt idx="2375">
                  <c:v>All Others</c:v>
                </c:pt>
                <c:pt idx="2376">
                  <c:v>All Others</c:v>
                </c:pt>
                <c:pt idx="2377">
                  <c:v>All Others</c:v>
                </c:pt>
                <c:pt idx="2378">
                  <c:v>All Others</c:v>
                </c:pt>
                <c:pt idx="2379">
                  <c:v>Private Lab</c:v>
                </c:pt>
                <c:pt idx="2380">
                  <c:v>All Others</c:v>
                </c:pt>
                <c:pt idx="2381">
                  <c:v>All Others</c:v>
                </c:pt>
                <c:pt idx="2382">
                  <c:v>All Others</c:v>
                </c:pt>
                <c:pt idx="2383">
                  <c:v>All Others</c:v>
                </c:pt>
                <c:pt idx="2384">
                  <c:v>All Others</c:v>
                </c:pt>
                <c:pt idx="2385">
                  <c:v>All Others</c:v>
                </c:pt>
                <c:pt idx="2386">
                  <c:v>All Others</c:v>
                </c:pt>
                <c:pt idx="2387">
                  <c:v>All Others</c:v>
                </c:pt>
                <c:pt idx="2388">
                  <c:v>All Others</c:v>
                </c:pt>
                <c:pt idx="2389">
                  <c:v>Savencia: A</c:v>
                </c:pt>
                <c:pt idx="2390">
                  <c:v>All Others</c:v>
                </c:pt>
                <c:pt idx="2391">
                  <c:v>All Others</c:v>
                </c:pt>
                <c:pt idx="2392">
                  <c:v>All Others</c:v>
                </c:pt>
                <c:pt idx="2393">
                  <c:v>All Others</c:v>
                </c:pt>
                <c:pt idx="2394">
                  <c:v>All Others</c:v>
                </c:pt>
                <c:pt idx="2395">
                  <c:v>All Others</c:v>
                </c:pt>
                <c:pt idx="2396">
                  <c:v>All Others</c:v>
                </c:pt>
                <c:pt idx="2397">
                  <c:v>All Others</c:v>
                </c:pt>
                <c:pt idx="2398">
                  <c:v>All Others</c:v>
                </c:pt>
                <c:pt idx="2399">
                  <c:v>All Others</c:v>
                </c:pt>
                <c:pt idx="2400">
                  <c:v>All Others</c:v>
                </c:pt>
                <c:pt idx="2401">
                  <c:v>All Others</c:v>
                </c:pt>
                <c:pt idx="2402">
                  <c:v>All Others</c:v>
                </c:pt>
                <c:pt idx="2403">
                  <c:v>All Others</c:v>
                </c:pt>
                <c:pt idx="2404">
                  <c:v>All Others</c:v>
                </c:pt>
                <c:pt idx="2405">
                  <c:v>All Others</c:v>
                </c:pt>
                <c:pt idx="2406">
                  <c:v>All Others</c:v>
                </c:pt>
                <c:pt idx="2407">
                  <c:v>Casa Azzurr</c:v>
                </c:pt>
                <c:pt idx="2408">
                  <c:v>All Others</c:v>
                </c:pt>
                <c:pt idx="2409">
                  <c:v>All Others</c:v>
                </c:pt>
                <c:pt idx="2410">
                  <c:v>Raguin</c:v>
                </c:pt>
                <c:pt idx="2411">
                  <c:v>All Others</c:v>
                </c:pt>
                <c:pt idx="2412">
                  <c:v>All Others</c:v>
                </c:pt>
                <c:pt idx="2413">
                  <c:v>All Others</c:v>
                </c:pt>
                <c:pt idx="2414">
                  <c:v>All Others</c:v>
                </c:pt>
                <c:pt idx="2415">
                  <c:v>All Others</c:v>
                </c:pt>
                <c:pt idx="2416">
                  <c:v>All Others</c:v>
                </c:pt>
                <c:pt idx="2417">
                  <c:v>Etoile Du V</c:v>
                </c:pt>
                <c:pt idx="2418">
                  <c:v>All Others</c:v>
                </c:pt>
                <c:pt idx="2419">
                  <c:v>All Others</c:v>
                </c:pt>
                <c:pt idx="2420">
                  <c:v>Raguin</c:v>
                </c:pt>
                <c:pt idx="2421">
                  <c:v>All Others</c:v>
                </c:pt>
                <c:pt idx="2422">
                  <c:v>All Others</c:v>
                </c:pt>
                <c:pt idx="2423">
                  <c:v>Pochat</c:v>
                </c:pt>
                <c:pt idx="2424">
                  <c:v>Raguin</c:v>
                </c:pt>
                <c:pt idx="2425">
                  <c:v>All Others</c:v>
                </c:pt>
                <c:pt idx="2426">
                  <c:v>All Others</c:v>
                </c:pt>
                <c:pt idx="2427">
                  <c:v>All Others</c:v>
                </c:pt>
                <c:pt idx="2428">
                  <c:v>All Others</c:v>
                </c:pt>
                <c:pt idx="2429">
                  <c:v>Casa Azzurr</c:v>
                </c:pt>
                <c:pt idx="2430">
                  <c:v>All Others</c:v>
                </c:pt>
                <c:pt idx="2431">
                  <c:v>All Others</c:v>
                </c:pt>
                <c:pt idx="2432">
                  <c:v>Pochat</c:v>
                </c:pt>
                <c:pt idx="2433">
                  <c:v>All Others</c:v>
                </c:pt>
                <c:pt idx="2434">
                  <c:v>All Others</c:v>
                </c:pt>
                <c:pt idx="2435">
                  <c:v>All Others</c:v>
                </c:pt>
                <c:pt idx="2436">
                  <c:v>All Others</c:v>
                </c:pt>
                <c:pt idx="2437">
                  <c:v>All Others</c:v>
                </c:pt>
                <c:pt idx="2438">
                  <c:v>All Others</c:v>
                </c:pt>
                <c:pt idx="2439">
                  <c:v>Private Lab</c:v>
                </c:pt>
                <c:pt idx="2440">
                  <c:v>All Others</c:v>
                </c:pt>
                <c:pt idx="2441">
                  <c:v>All Others</c:v>
                </c:pt>
                <c:pt idx="2442">
                  <c:v>All Others</c:v>
                </c:pt>
                <c:pt idx="2443">
                  <c:v>All Others</c:v>
                </c:pt>
                <c:pt idx="2444">
                  <c:v>All Others</c:v>
                </c:pt>
                <c:pt idx="2445">
                  <c:v>All Others</c:v>
                </c:pt>
                <c:pt idx="2446">
                  <c:v>All Others</c:v>
                </c:pt>
                <c:pt idx="2447">
                  <c:v>All Others</c:v>
                </c:pt>
                <c:pt idx="2448">
                  <c:v>All Others</c:v>
                </c:pt>
                <c:pt idx="2449">
                  <c:v>All Others</c:v>
                </c:pt>
                <c:pt idx="2450">
                  <c:v>All Others</c:v>
                </c:pt>
                <c:pt idx="2451">
                  <c:v>All Others</c:v>
                </c:pt>
                <c:pt idx="2452">
                  <c:v>All Others</c:v>
                </c:pt>
                <c:pt idx="2453">
                  <c:v>All Others</c:v>
                </c:pt>
                <c:pt idx="2454">
                  <c:v>All Others</c:v>
                </c:pt>
                <c:pt idx="2455">
                  <c:v>Private Lab</c:v>
                </c:pt>
                <c:pt idx="2456">
                  <c:v>All Others</c:v>
                </c:pt>
                <c:pt idx="2457">
                  <c:v>All Others</c:v>
                </c:pt>
                <c:pt idx="2458">
                  <c:v>All Others</c:v>
                </c:pt>
                <c:pt idx="2459">
                  <c:v>All Others</c:v>
                </c:pt>
                <c:pt idx="2460">
                  <c:v>All Others</c:v>
                </c:pt>
                <c:pt idx="2461">
                  <c:v>Le Saint Am</c:v>
                </c:pt>
                <c:pt idx="2462">
                  <c:v>All Others</c:v>
                </c:pt>
                <c:pt idx="2463">
                  <c:v>All Others</c:v>
                </c:pt>
                <c:pt idx="2464">
                  <c:v>All Others</c:v>
                </c:pt>
                <c:pt idx="2465">
                  <c:v>All Others</c:v>
                </c:pt>
                <c:pt idx="2466">
                  <c:v>All Others</c:v>
                </c:pt>
                <c:pt idx="2467">
                  <c:v>All Others</c:v>
                </c:pt>
                <c:pt idx="2468">
                  <c:v>All Others</c:v>
                </c:pt>
                <c:pt idx="2469">
                  <c:v>All Others</c:v>
                </c:pt>
                <c:pt idx="2470">
                  <c:v>All Others</c:v>
                </c:pt>
                <c:pt idx="2471">
                  <c:v>All Others</c:v>
                </c:pt>
                <c:pt idx="2472">
                  <c:v>Raguin</c:v>
                </c:pt>
                <c:pt idx="2473">
                  <c:v>All Others</c:v>
                </c:pt>
                <c:pt idx="2474">
                  <c:v>All Others</c:v>
                </c:pt>
                <c:pt idx="2475">
                  <c:v>All Others</c:v>
                </c:pt>
                <c:pt idx="2476">
                  <c:v>All Others</c:v>
                </c:pt>
                <c:pt idx="2477">
                  <c:v>All Others</c:v>
                </c:pt>
                <c:pt idx="2478">
                  <c:v>All Others</c:v>
                </c:pt>
                <c:pt idx="2479">
                  <c:v>All Others</c:v>
                </c:pt>
                <c:pt idx="2480">
                  <c:v>All Others</c:v>
                </c:pt>
                <c:pt idx="2481">
                  <c:v>All Others</c:v>
                </c:pt>
                <c:pt idx="2482">
                  <c:v>All Others</c:v>
                </c:pt>
                <c:pt idx="2483">
                  <c:v>All Others</c:v>
                </c:pt>
                <c:pt idx="2484">
                  <c:v>All Others</c:v>
                </c:pt>
                <c:pt idx="2485">
                  <c:v>All Others</c:v>
                </c:pt>
                <c:pt idx="2486">
                  <c:v>All Others</c:v>
                </c:pt>
                <c:pt idx="2487">
                  <c:v>All Others</c:v>
                </c:pt>
                <c:pt idx="2488">
                  <c:v>All Others</c:v>
                </c:pt>
                <c:pt idx="2489">
                  <c:v>All Others</c:v>
                </c:pt>
                <c:pt idx="2490">
                  <c:v>All Others</c:v>
                </c:pt>
                <c:pt idx="2491">
                  <c:v>All Others</c:v>
                </c:pt>
                <c:pt idx="2492">
                  <c:v>All Others</c:v>
                </c:pt>
                <c:pt idx="2493">
                  <c:v>All Others</c:v>
                </c:pt>
                <c:pt idx="2494">
                  <c:v>All Others</c:v>
                </c:pt>
                <c:pt idx="2495">
                  <c:v>All Others</c:v>
                </c:pt>
                <c:pt idx="2496">
                  <c:v>All Others</c:v>
                </c:pt>
                <c:pt idx="2497">
                  <c:v>All Others</c:v>
                </c:pt>
                <c:pt idx="2498">
                  <c:v>All Others</c:v>
                </c:pt>
                <c:pt idx="2499">
                  <c:v>All Others</c:v>
                </c:pt>
                <c:pt idx="2500">
                  <c:v>All Others</c:v>
                </c:pt>
                <c:pt idx="2501">
                  <c:v>All Others</c:v>
                </c:pt>
                <c:pt idx="2502">
                  <c:v>All Others</c:v>
                </c:pt>
                <c:pt idx="2503">
                  <c:v>All Others</c:v>
                </c:pt>
                <c:pt idx="2504">
                  <c:v>All Others</c:v>
                </c:pt>
                <c:pt idx="2505">
                  <c:v>All Others</c:v>
                </c:pt>
                <c:pt idx="2506">
                  <c:v>All Others</c:v>
                </c:pt>
                <c:pt idx="2507">
                  <c:v>Eurial Autr</c:v>
                </c:pt>
                <c:pt idx="2508">
                  <c:v>All Others</c:v>
                </c:pt>
                <c:pt idx="2509">
                  <c:v>All Others</c:v>
                </c:pt>
                <c:pt idx="2510">
                  <c:v>Le Saint Am</c:v>
                </c:pt>
                <c:pt idx="2511">
                  <c:v>All Others</c:v>
                </c:pt>
                <c:pt idx="2512">
                  <c:v>All Others</c:v>
                </c:pt>
                <c:pt idx="2513">
                  <c:v>All Others</c:v>
                </c:pt>
                <c:pt idx="2514">
                  <c:v>All Others</c:v>
                </c:pt>
                <c:pt idx="2515">
                  <c:v>All Others</c:v>
                </c:pt>
                <c:pt idx="2516">
                  <c:v>All Others</c:v>
                </c:pt>
                <c:pt idx="2517">
                  <c:v>All Others</c:v>
                </c:pt>
                <c:pt idx="2518">
                  <c:v>All Others</c:v>
                </c:pt>
                <c:pt idx="2519">
                  <c:v>Private Lab</c:v>
                </c:pt>
                <c:pt idx="2520">
                  <c:v>All Others</c:v>
                </c:pt>
                <c:pt idx="2521">
                  <c:v>All Others</c:v>
                </c:pt>
                <c:pt idx="2522">
                  <c:v>All Others</c:v>
                </c:pt>
                <c:pt idx="2523">
                  <c:v>All Others</c:v>
                </c:pt>
                <c:pt idx="2524">
                  <c:v>Societe</c:v>
                </c:pt>
                <c:pt idx="2525">
                  <c:v>Savencia: A</c:v>
                </c:pt>
                <c:pt idx="2526">
                  <c:v>All Others</c:v>
                </c:pt>
                <c:pt idx="2527">
                  <c:v>All Others</c:v>
                </c:pt>
                <c:pt idx="2528">
                  <c:v>All Others</c:v>
                </c:pt>
                <c:pt idx="2529">
                  <c:v>All Others</c:v>
                </c:pt>
                <c:pt idx="2530">
                  <c:v>All Others</c:v>
                </c:pt>
                <c:pt idx="2531">
                  <c:v>All Others</c:v>
                </c:pt>
                <c:pt idx="2532">
                  <c:v>All Others</c:v>
                </c:pt>
                <c:pt idx="2533">
                  <c:v>All Others</c:v>
                </c:pt>
                <c:pt idx="2534">
                  <c:v>Casa Azzurr</c:v>
                </c:pt>
                <c:pt idx="2535">
                  <c:v>All Others</c:v>
                </c:pt>
                <c:pt idx="2536">
                  <c:v>All Others</c:v>
                </c:pt>
                <c:pt idx="2537">
                  <c:v>All Others</c:v>
                </c:pt>
                <c:pt idx="2538">
                  <c:v>All Others</c:v>
                </c:pt>
                <c:pt idx="2539">
                  <c:v>All Others</c:v>
                </c:pt>
                <c:pt idx="2540">
                  <c:v>All Others</c:v>
                </c:pt>
                <c:pt idx="2541">
                  <c:v>All Others</c:v>
                </c:pt>
                <c:pt idx="2542">
                  <c:v>All Others</c:v>
                </c:pt>
                <c:pt idx="2543">
                  <c:v>All Others</c:v>
                </c:pt>
                <c:pt idx="2544">
                  <c:v>All Others</c:v>
                </c:pt>
                <c:pt idx="2545">
                  <c:v>All Others</c:v>
                </c:pt>
                <c:pt idx="2546">
                  <c:v>All Others</c:v>
                </c:pt>
                <c:pt idx="2547">
                  <c:v>All Others</c:v>
                </c:pt>
                <c:pt idx="2548">
                  <c:v>All Others</c:v>
                </c:pt>
                <c:pt idx="2549">
                  <c:v>All Others</c:v>
                </c:pt>
                <c:pt idx="2550">
                  <c:v>All Others</c:v>
                </c:pt>
                <c:pt idx="2551">
                  <c:v>All Others</c:v>
                </c:pt>
                <c:pt idx="2552">
                  <c:v>All Others</c:v>
                </c:pt>
                <c:pt idx="2553">
                  <c:v>All Others</c:v>
                </c:pt>
                <c:pt idx="2554">
                  <c:v>All Others</c:v>
                </c:pt>
                <c:pt idx="2555">
                  <c:v>All Others</c:v>
                </c:pt>
                <c:pt idx="2556">
                  <c:v>All Others</c:v>
                </c:pt>
                <c:pt idx="2557">
                  <c:v>All Others</c:v>
                </c:pt>
                <c:pt idx="2558">
                  <c:v>All Others</c:v>
                </c:pt>
                <c:pt idx="2559">
                  <c:v>All Others</c:v>
                </c:pt>
                <c:pt idx="2560">
                  <c:v>All Others</c:v>
                </c:pt>
                <c:pt idx="2561">
                  <c:v>All Others</c:v>
                </c:pt>
                <c:pt idx="2562">
                  <c:v>All Others</c:v>
                </c:pt>
                <c:pt idx="2563">
                  <c:v>All Others</c:v>
                </c:pt>
                <c:pt idx="2564">
                  <c:v>All Others</c:v>
                </c:pt>
                <c:pt idx="2565">
                  <c:v>All Others</c:v>
                </c:pt>
                <c:pt idx="2566">
                  <c:v>All Others</c:v>
                </c:pt>
                <c:pt idx="2567">
                  <c:v>All Others</c:v>
                </c:pt>
                <c:pt idx="2568">
                  <c:v>All Others</c:v>
                </c:pt>
                <c:pt idx="2569">
                  <c:v>All Others</c:v>
                </c:pt>
                <c:pt idx="2570">
                  <c:v>All Others</c:v>
                </c:pt>
                <c:pt idx="2571">
                  <c:v>All Others</c:v>
                </c:pt>
                <c:pt idx="2572">
                  <c:v>All Others</c:v>
                </c:pt>
                <c:pt idx="2573">
                  <c:v>All Others</c:v>
                </c:pt>
                <c:pt idx="2574">
                  <c:v>All Others</c:v>
                </c:pt>
                <c:pt idx="2575">
                  <c:v>Entremont</c:v>
                </c:pt>
                <c:pt idx="2576">
                  <c:v>All Others</c:v>
                </c:pt>
                <c:pt idx="2577">
                  <c:v>Entremont</c:v>
                </c:pt>
                <c:pt idx="2578">
                  <c:v>All Others</c:v>
                </c:pt>
                <c:pt idx="2579">
                  <c:v>Private Lab</c:v>
                </c:pt>
                <c:pt idx="2580">
                  <c:v>All Others</c:v>
                </c:pt>
                <c:pt idx="2581">
                  <c:v>All Others</c:v>
                </c:pt>
                <c:pt idx="2582">
                  <c:v>All Others</c:v>
                </c:pt>
                <c:pt idx="2583">
                  <c:v>Private Lab</c:v>
                </c:pt>
                <c:pt idx="2584">
                  <c:v>All Others</c:v>
                </c:pt>
                <c:pt idx="2585">
                  <c:v>All Others</c:v>
                </c:pt>
                <c:pt idx="2586">
                  <c:v>All Others</c:v>
                </c:pt>
                <c:pt idx="2587">
                  <c:v>All Others</c:v>
                </c:pt>
                <c:pt idx="2588">
                  <c:v>All Others</c:v>
                </c:pt>
                <c:pt idx="2589">
                  <c:v>All Others</c:v>
                </c:pt>
                <c:pt idx="2590">
                  <c:v>All Others</c:v>
                </c:pt>
                <c:pt idx="2591">
                  <c:v>All Others</c:v>
                </c:pt>
                <c:pt idx="2592">
                  <c:v>All Others</c:v>
                </c:pt>
                <c:pt idx="2593">
                  <c:v>All Others</c:v>
                </c:pt>
                <c:pt idx="2594">
                  <c:v>All Others</c:v>
                </c:pt>
                <c:pt idx="2595">
                  <c:v>All Others</c:v>
                </c:pt>
                <c:pt idx="2596">
                  <c:v>All Others</c:v>
                </c:pt>
                <c:pt idx="2597">
                  <c:v>All Others</c:v>
                </c:pt>
                <c:pt idx="2598">
                  <c:v>All Others</c:v>
                </c:pt>
                <c:pt idx="2599">
                  <c:v>All Others</c:v>
                </c:pt>
                <c:pt idx="2600">
                  <c:v>All Others</c:v>
                </c:pt>
                <c:pt idx="2601">
                  <c:v>All Others</c:v>
                </c:pt>
                <c:pt idx="2602">
                  <c:v>All Others</c:v>
                </c:pt>
                <c:pt idx="2603">
                  <c:v>Private Lab</c:v>
                </c:pt>
                <c:pt idx="2604">
                  <c:v>All Others</c:v>
                </c:pt>
                <c:pt idx="2605">
                  <c:v>All Others</c:v>
                </c:pt>
                <c:pt idx="2606">
                  <c:v>All Others</c:v>
                </c:pt>
                <c:pt idx="2607">
                  <c:v>All Others</c:v>
                </c:pt>
                <c:pt idx="2608">
                  <c:v>All Others</c:v>
                </c:pt>
                <c:pt idx="2609">
                  <c:v>All Others</c:v>
                </c:pt>
                <c:pt idx="2610">
                  <c:v>All Others</c:v>
                </c:pt>
                <c:pt idx="2611">
                  <c:v>All Others</c:v>
                </c:pt>
                <c:pt idx="2612">
                  <c:v>All Others</c:v>
                </c:pt>
                <c:pt idx="2613">
                  <c:v>All Others</c:v>
                </c:pt>
                <c:pt idx="2614">
                  <c:v>All Others</c:v>
                </c:pt>
                <c:pt idx="2615">
                  <c:v>All Others</c:v>
                </c:pt>
                <c:pt idx="2616">
                  <c:v>All Others</c:v>
                </c:pt>
                <c:pt idx="2617">
                  <c:v>All Others</c:v>
                </c:pt>
                <c:pt idx="2618">
                  <c:v>All Others</c:v>
                </c:pt>
                <c:pt idx="2619">
                  <c:v>All Others</c:v>
                </c:pt>
                <c:pt idx="2620">
                  <c:v>All Others</c:v>
                </c:pt>
                <c:pt idx="2621">
                  <c:v>All Others</c:v>
                </c:pt>
                <c:pt idx="2622">
                  <c:v>All Others</c:v>
                </c:pt>
                <c:pt idx="2623">
                  <c:v>All Others</c:v>
                </c:pt>
                <c:pt idx="2624">
                  <c:v>All Others</c:v>
                </c:pt>
                <c:pt idx="2625">
                  <c:v>All Others</c:v>
                </c:pt>
                <c:pt idx="2626">
                  <c:v>All Others</c:v>
                </c:pt>
                <c:pt idx="2627">
                  <c:v>All Others</c:v>
                </c:pt>
                <c:pt idx="2628">
                  <c:v>All Others</c:v>
                </c:pt>
                <c:pt idx="2629">
                  <c:v>All Others</c:v>
                </c:pt>
                <c:pt idx="2630">
                  <c:v>All Others</c:v>
                </c:pt>
                <c:pt idx="2631">
                  <c:v>Private Lab</c:v>
                </c:pt>
                <c:pt idx="2632">
                  <c:v>All Others</c:v>
                </c:pt>
                <c:pt idx="2633">
                  <c:v>All Others</c:v>
                </c:pt>
                <c:pt idx="2634">
                  <c:v>All Others</c:v>
                </c:pt>
                <c:pt idx="2635">
                  <c:v>All Others</c:v>
                </c:pt>
                <c:pt idx="2636">
                  <c:v>All Others</c:v>
                </c:pt>
                <c:pt idx="2637">
                  <c:v>All Others</c:v>
                </c:pt>
                <c:pt idx="2638">
                  <c:v>All Others</c:v>
                </c:pt>
                <c:pt idx="2639">
                  <c:v>All Others</c:v>
                </c:pt>
                <c:pt idx="2640">
                  <c:v>All Others</c:v>
                </c:pt>
                <c:pt idx="2641">
                  <c:v>All Others</c:v>
                </c:pt>
                <c:pt idx="2642">
                  <c:v>All Others</c:v>
                </c:pt>
                <c:pt idx="2643">
                  <c:v>All Others</c:v>
                </c:pt>
                <c:pt idx="2644">
                  <c:v>All Others</c:v>
                </c:pt>
                <c:pt idx="2645">
                  <c:v>All Others</c:v>
                </c:pt>
                <c:pt idx="2646">
                  <c:v>All Others</c:v>
                </c:pt>
                <c:pt idx="2647">
                  <c:v>All Others</c:v>
                </c:pt>
                <c:pt idx="2648">
                  <c:v>Private Lab</c:v>
                </c:pt>
                <c:pt idx="2649">
                  <c:v>All Others</c:v>
                </c:pt>
                <c:pt idx="2650">
                  <c:v>President</c:v>
                </c:pt>
                <c:pt idx="2651">
                  <c:v>All Others</c:v>
                </c:pt>
                <c:pt idx="2652">
                  <c:v>All Others</c:v>
                </c:pt>
                <c:pt idx="2653">
                  <c:v>All Others</c:v>
                </c:pt>
                <c:pt idx="2654">
                  <c:v>Private Lab</c:v>
                </c:pt>
                <c:pt idx="2655">
                  <c:v>All Others</c:v>
                </c:pt>
                <c:pt idx="2656">
                  <c:v>All Others</c:v>
                </c:pt>
                <c:pt idx="2657">
                  <c:v>All Others</c:v>
                </c:pt>
                <c:pt idx="2658">
                  <c:v>All Others</c:v>
                </c:pt>
                <c:pt idx="2659">
                  <c:v>All Others</c:v>
                </c:pt>
                <c:pt idx="2660">
                  <c:v>All Others</c:v>
                </c:pt>
                <c:pt idx="2661">
                  <c:v>All Others</c:v>
                </c:pt>
                <c:pt idx="2662">
                  <c:v>All Others</c:v>
                </c:pt>
                <c:pt idx="2663">
                  <c:v>All Others</c:v>
                </c:pt>
                <c:pt idx="2664">
                  <c:v>All Others</c:v>
                </c:pt>
                <c:pt idx="2665">
                  <c:v>All Others</c:v>
                </c:pt>
                <c:pt idx="2666">
                  <c:v>All Others</c:v>
                </c:pt>
                <c:pt idx="2667">
                  <c:v>Savencia: A</c:v>
                </c:pt>
                <c:pt idx="2668">
                  <c:v>All Others</c:v>
                </c:pt>
                <c:pt idx="2669">
                  <c:v>All Others</c:v>
                </c:pt>
                <c:pt idx="2670">
                  <c:v>Istara</c:v>
                </c:pt>
                <c:pt idx="2671">
                  <c:v>All Others</c:v>
                </c:pt>
                <c:pt idx="2672">
                  <c:v>All Others</c:v>
                </c:pt>
                <c:pt idx="2673">
                  <c:v>All Others</c:v>
                </c:pt>
                <c:pt idx="2674">
                  <c:v>All Others</c:v>
                </c:pt>
                <c:pt idx="2675">
                  <c:v>All Others</c:v>
                </c:pt>
                <c:pt idx="2676">
                  <c:v>All Others</c:v>
                </c:pt>
                <c:pt idx="2677">
                  <c:v>All Others</c:v>
                </c:pt>
                <c:pt idx="2678">
                  <c:v>All Others</c:v>
                </c:pt>
                <c:pt idx="2679">
                  <c:v>All Others</c:v>
                </c:pt>
                <c:pt idx="2680">
                  <c:v>All Others</c:v>
                </c:pt>
                <c:pt idx="2681">
                  <c:v>Pochat</c:v>
                </c:pt>
                <c:pt idx="2682">
                  <c:v>All Others</c:v>
                </c:pt>
                <c:pt idx="2683">
                  <c:v>Private Lab</c:v>
                </c:pt>
                <c:pt idx="2684">
                  <c:v>All Others</c:v>
                </c:pt>
                <c:pt idx="2685">
                  <c:v>Pochat</c:v>
                </c:pt>
                <c:pt idx="2686">
                  <c:v>All Others</c:v>
                </c:pt>
                <c:pt idx="2687">
                  <c:v>All Others</c:v>
                </c:pt>
                <c:pt idx="2688">
                  <c:v>All Others</c:v>
                </c:pt>
                <c:pt idx="2689">
                  <c:v>All Others</c:v>
                </c:pt>
                <c:pt idx="2690">
                  <c:v>All Others</c:v>
                </c:pt>
                <c:pt idx="2691">
                  <c:v>All Others</c:v>
                </c:pt>
                <c:pt idx="2692">
                  <c:v>All Others</c:v>
                </c:pt>
                <c:pt idx="2693">
                  <c:v>All Others</c:v>
                </c:pt>
                <c:pt idx="2694">
                  <c:v>All Others</c:v>
                </c:pt>
                <c:pt idx="2695">
                  <c:v>All Others</c:v>
                </c:pt>
                <c:pt idx="2696">
                  <c:v>Private Lab</c:v>
                </c:pt>
                <c:pt idx="2697">
                  <c:v>All Others</c:v>
                </c:pt>
                <c:pt idx="2698">
                  <c:v>Entremont</c:v>
                </c:pt>
                <c:pt idx="2699">
                  <c:v>All Others</c:v>
                </c:pt>
                <c:pt idx="2700">
                  <c:v>All Others</c:v>
                </c:pt>
                <c:pt idx="2701">
                  <c:v>All Others</c:v>
                </c:pt>
                <c:pt idx="2702">
                  <c:v>All Others</c:v>
                </c:pt>
                <c:pt idx="2703">
                  <c:v>All Others</c:v>
                </c:pt>
                <c:pt idx="2704">
                  <c:v>All Others</c:v>
                </c:pt>
                <c:pt idx="2705">
                  <c:v>All Others</c:v>
                </c:pt>
                <c:pt idx="2706">
                  <c:v>All Others</c:v>
                </c:pt>
                <c:pt idx="2707">
                  <c:v>All Others</c:v>
                </c:pt>
                <c:pt idx="2708">
                  <c:v>All Others</c:v>
                </c:pt>
                <c:pt idx="2709">
                  <c:v>All Others</c:v>
                </c:pt>
                <c:pt idx="2710">
                  <c:v>All Others</c:v>
                </c:pt>
                <c:pt idx="2711">
                  <c:v>All Others</c:v>
                </c:pt>
                <c:pt idx="2712">
                  <c:v>All Others</c:v>
                </c:pt>
                <c:pt idx="2713">
                  <c:v>All Others</c:v>
                </c:pt>
                <c:pt idx="2714">
                  <c:v>All Others</c:v>
                </c:pt>
                <c:pt idx="2715">
                  <c:v>All Others</c:v>
                </c:pt>
                <c:pt idx="2716">
                  <c:v>All Others</c:v>
                </c:pt>
                <c:pt idx="2717">
                  <c:v>Salakis</c:v>
                </c:pt>
                <c:pt idx="2718">
                  <c:v>Societe</c:v>
                </c:pt>
                <c:pt idx="2719">
                  <c:v>All Others</c:v>
                </c:pt>
                <c:pt idx="2720">
                  <c:v>All Others</c:v>
                </c:pt>
                <c:pt idx="2721">
                  <c:v>All Others</c:v>
                </c:pt>
                <c:pt idx="2722">
                  <c:v>All Others</c:v>
                </c:pt>
                <c:pt idx="2723">
                  <c:v>All Others</c:v>
                </c:pt>
                <c:pt idx="2724">
                  <c:v>Casa Azzurr</c:v>
                </c:pt>
                <c:pt idx="2725">
                  <c:v>All Others</c:v>
                </c:pt>
                <c:pt idx="2726">
                  <c:v>Lactalis: A</c:v>
                </c:pt>
                <c:pt idx="2727">
                  <c:v>All Others</c:v>
                </c:pt>
                <c:pt idx="2728">
                  <c:v>All Others</c:v>
                </c:pt>
                <c:pt idx="2729">
                  <c:v>All Others</c:v>
                </c:pt>
                <c:pt idx="2730">
                  <c:v>All Others</c:v>
                </c:pt>
                <c:pt idx="2731">
                  <c:v>All Others</c:v>
                </c:pt>
                <c:pt idx="2732">
                  <c:v>All Others</c:v>
                </c:pt>
                <c:pt idx="2733">
                  <c:v>All Others</c:v>
                </c:pt>
                <c:pt idx="2734">
                  <c:v>All Others</c:v>
                </c:pt>
                <c:pt idx="2735">
                  <c:v>All Others</c:v>
                </c:pt>
                <c:pt idx="2736">
                  <c:v>All Others</c:v>
                </c:pt>
                <c:pt idx="2737">
                  <c:v>All Others</c:v>
                </c:pt>
                <c:pt idx="2738">
                  <c:v>All Others</c:v>
                </c:pt>
                <c:pt idx="2739">
                  <c:v>All Others</c:v>
                </c:pt>
                <c:pt idx="2740">
                  <c:v>All Others</c:v>
                </c:pt>
                <c:pt idx="2741">
                  <c:v>All Others</c:v>
                </c:pt>
                <c:pt idx="2742">
                  <c:v>All Others</c:v>
                </c:pt>
                <c:pt idx="2743">
                  <c:v>Juraflore</c:v>
                </c:pt>
                <c:pt idx="2744">
                  <c:v>All Others</c:v>
                </c:pt>
                <c:pt idx="2745">
                  <c:v>Limiano</c:v>
                </c:pt>
                <c:pt idx="2746">
                  <c:v>All Others</c:v>
                </c:pt>
                <c:pt idx="2747">
                  <c:v>All Others</c:v>
                </c:pt>
                <c:pt idx="2748">
                  <c:v>All Others</c:v>
                </c:pt>
                <c:pt idx="2749">
                  <c:v>All Others</c:v>
                </c:pt>
                <c:pt idx="2750">
                  <c:v>All Others</c:v>
                </c:pt>
                <c:pt idx="2751">
                  <c:v>All Others</c:v>
                </c:pt>
                <c:pt idx="2752">
                  <c:v>All Others</c:v>
                </c:pt>
                <c:pt idx="2753">
                  <c:v>All Others</c:v>
                </c:pt>
                <c:pt idx="2754">
                  <c:v>All Others</c:v>
                </c:pt>
                <c:pt idx="2755">
                  <c:v>All Others</c:v>
                </c:pt>
                <c:pt idx="2756">
                  <c:v>All Others</c:v>
                </c:pt>
                <c:pt idx="2757">
                  <c:v>Pave D'Affi</c:v>
                </c:pt>
                <c:pt idx="2758">
                  <c:v>All Others</c:v>
                </c:pt>
                <c:pt idx="2759">
                  <c:v>All Others</c:v>
                </c:pt>
                <c:pt idx="2760">
                  <c:v>All Others</c:v>
                </c:pt>
                <c:pt idx="2761">
                  <c:v>Lactalis: A</c:v>
                </c:pt>
                <c:pt idx="2762">
                  <c:v>All Others</c:v>
                </c:pt>
                <c:pt idx="2763">
                  <c:v>All Others</c:v>
                </c:pt>
                <c:pt idx="2764">
                  <c:v>All Others</c:v>
                </c:pt>
                <c:pt idx="2765">
                  <c:v>All Others</c:v>
                </c:pt>
                <c:pt idx="2766">
                  <c:v>All Others</c:v>
                </c:pt>
                <c:pt idx="2767">
                  <c:v>All Others</c:v>
                </c:pt>
                <c:pt idx="2768">
                  <c:v>All Others</c:v>
                </c:pt>
                <c:pt idx="2769">
                  <c:v>All Others</c:v>
                </c:pt>
                <c:pt idx="2770">
                  <c:v>Private Lab</c:v>
                </c:pt>
                <c:pt idx="2771">
                  <c:v>All Others</c:v>
                </c:pt>
                <c:pt idx="2772">
                  <c:v>All Others</c:v>
                </c:pt>
                <c:pt idx="2773">
                  <c:v>All Others</c:v>
                </c:pt>
                <c:pt idx="2774">
                  <c:v>All Others</c:v>
                </c:pt>
                <c:pt idx="2775">
                  <c:v>All Others</c:v>
                </c:pt>
                <c:pt idx="2776">
                  <c:v>All Others</c:v>
                </c:pt>
                <c:pt idx="2777">
                  <c:v>All Others</c:v>
                </c:pt>
                <c:pt idx="2778">
                  <c:v>All Others</c:v>
                </c:pt>
                <c:pt idx="2779">
                  <c:v>All Others</c:v>
                </c:pt>
                <c:pt idx="2780">
                  <c:v>All Others</c:v>
                </c:pt>
                <c:pt idx="2781">
                  <c:v>All Others</c:v>
                </c:pt>
                <c:pt idx="2782">
                  <c:v>All Others</c:v>
                </c:pt>
                <c:pt idx="2783">
                  <c:v>All Others</c:v>
                </c:pt>
                <c:pt idx="2784">
                  <c:v>All Others</c:v>
                </c:pt>
                <c:pt idx="2785">
                  <c:v>All Others</c:v>
                </c:pt>
                <c:pt idx="2786">
                  <c:v>All Others</c:v>
                </c:pt>
                <c:pt idx="2787">
                  <c:v>Lactalis: A</c:v>
                </c:pt>
                <c:pt idx="2788">
                  <c:v>All Others</c:v>
                </c:pt>
                <c:pt idx="2789">
                  <c:v>All Others</c:v>
                </c:pt>
                <c:pt idx="2790">
                  <c:v>All Others</c:v>
                </c:pt>
                <c:pt idx="2791">
                  <c:v>Lactalis: A</c:v>
                </c:pt>
                <c:pt idx="2792">
                  <c:v>All Others</c:v>
                </c:pt>
                <c:pt idx="2793">
                  <c:v>All Others</c:v>
                </c:pt>
                <c:pt idx="2794">
                  <c:v>Private Lab</c:v>
                </c:pt>
                <c:pt idx="2795">
                  <c:v>All Others</c:v>
                </c:pt>
                <c:pt idx="2796">
                  <c:v>All Others</c:v>
                </c:pt>
                <c:pt idx="2797">
                  <c:v>All Others</c:v>
                </c:pt>
                <c:pt idx="2798">
                  <c:v>All Others</c:v>
                </c:pt>
                <c:pt idx="2799">
                  <c:v>All Others</c:v>
                </c:pt>
                <c:pt idx="2800">
                  <c:v>All Others</c:v>
                </c:pt>
                <c:pt idx="2801">
                  <c:v>All Others</c:v>
                </c:pt>
                <c:pt idx="2802">
                  <c:v>All Others</c:v>
                </c:pt>
                <c:pt idx="2803">
                  <c:v>Private Lab</c:v>
                </c:pt>
                <c:pt idx="2804">
                  <c:v>All Others</c:v>
                </c:pt>
                <c:pt idx="2805">
                  <c:v>All Others</c:v>
                </c:pt>
                <c:pt idx="2806">
                  <c:v>All Others</c:v>
                </c:pt>
                <c:pt idx="2807">
                  <c:v>All Others</c:v>
                </c:pt>
                <c:pt idx="2808">
                  <c:v>Fol Epi</c:v>
                </c:pt>
                <c:pt idx="2809">
                  <c:v>All Others</c:v>
                </c:pt>
                <c:pt idx="2810">
                  <c:v>All Others</c:v>
                </c:pt>
                <c:pt idx="2811">
                  <c:v>All Others</c:v>
                </c:pt>
                <c:pt idx="2812">
                  <c:v>All Others</c:v>
                </c:pt>
                <c:pt idx="2813">
                  <c:v>All Others</c:v>
                </c:pt>
                <c:pt idx="2814">
                  <c:v>All Others</c:v>
                </c:pt>
                <c:pt idx="2815">
                  <c:v>All Others</c:v>
                </c:pt>
                <c:pt idx="2816">
                  <c:v>All Others</c:v>
                </c:pt>
                <c:pt idx="2817">
                  <c:v>All Others</c:v>
                </c:pt>
                <c:pt idx="2818">
                  <c:v>All Others</c:v>
                </c:pt>
                <c:pt idx="2819">
                  <c:v>All Others</c:v>
                </c:pt>
                <c:pt idx="2820">
                  <c:v>All Others</c:v>
                </c:pt>
                <c:pt idx="2821">
                  <c:v>All Others</c:v>
                </c:pt>
                <c:pt idx="2822">
                  <c:v>All Others</c:v>
                </c:pt>
                <c:pt idx="2823">
                  <c:v>All Others</c:v>
                </c:pt>
                <c:pt idx="2824">
                  <c:v>All Others</c:v>
                </c:pt>
                <c:pt idx="2825">
                  <c:v>All Others</c:v>
                </c:pt>
                <c:pt idx="2826">
                  <c:v>All Others</c:v>
                </c:pt>
                <c:pt idx="2827">
                  <c:v>All Others</c:v>
                </c:pt>
                <c:pt idx="2828">
                  <c:v>All Others</c:v>
                </c:pt>
                <c:pt idx="2829">
                  <c:v>All Others</c:v>
                </c:pt>
                <c:pt idx="2830">
                  <c:v>All Others</c:v>
                </c:pt>
                <c:pt idx="2831">
                  <c:v>All Others</c:v>
                </c:pt>
                <c:pt idx="2832">
                  <c:v>All Others</c:v>
                </c:pt>
                <c:pt idx="2833">
                  <c:v>All Others</c:v>
                </c:pt>
                <c:pt idx="2834">
                  <c:v>All Others</c:v>
                </c:pt>
                <c:pt idx="2835">
                  <c:v>All Others</c:v>
                </c:pt>
                <c:pt idx="2836">
                  <c:v>All Others</c:v>
                </c:pt>
                <c:pt idx="2837">
                  <c:v>All Others</c:v>
                </c:pt>
                <c:pt idx="2838">
                  <c:v>All Others</c:v>
                </c:pt>
                <c:pt idx="2839">
                  <c:v>All Others</c:v>
                </c:pt>
                <c:pt idx="2840">
                  <c:v>All Others</c:v>
                </c:pt>
                <c:pt idx="2841">
                  <c:v>All Others</c:v>
                </c:pt>
                <c:pt idx="2842">
                  <c:v>All Others</c:v>
                </c:pt>
                <c:pt idx="2843">
                  <c:v>All Others</c:v>
                </c:pt>
                <c:pt idx="2844">
                  <c:v>All Others</c:v>
                </c:pt>
                <c:pt idx="2845">
                  <c:v>All Others</c:v>
                </c:pt>
                <c:pt idx="2846">
                  <c:v>All Others</c:v>
                </c:pt>
                <c:pt idx="2847">
                  <c:v>All Others</c:v>
                </c:pt>
                <c:pt idx="2848">
                  <c:v>All Others</c:v>
                </c:pt>
                <c:pt idx="2849">
                  <c:v>All Others</c:v>
                </c:pt>
                <c:pt idx="2850">
                  <c:v>All Others</c:v>
                </c:pt>
                <c:pt idx="2851">
                  <c:v>Lactalis: A</c:v>
                </c:pt>
                <c:pt idx="2852">
                  <c:v>All Others</c:v>
                </c:pt>
                <c:pt idx="2853">
                  <c:v>All Others</c:v>
                </c:pt>
                <c:pt idx="2854">
                  <c:v>Savencia: A</c:v>
                </c:pt>
                <c:pt idx="2855">
                  <c:v>All Others</c:v>
                </c:pt>
                <c:pt idx="2856">
                  <c:v>All Others</c:v>
                </c:pt>
                <c:pt idx="2857">
                  <c:v>All Others</c:v>
                </c:pt>
                <c:pt idx="2858">
                  <c:v>All Others</c:v>
                </c:pt>
                <c:pt idx="2859">
                  <c:v>All Others</c:v>
                </c:pt>
                <c:pt idx="2860">
                  <c:v>All Others</c:v>
                </c:pt>
                <c:pt idx="2861">
                  <c:v>All Others</c:v>
                </c:pt>
                <c:pt idx="2862">
                  <c:v>All Others</c:v>
                </c:pt>
                <c:pt idx="2863">
                  <c:v>All Others</c:v>
                </c:pt>
                <c:pt idx="2864">
                  <c:v>All Others</c:v>
                </c:pt>
                <c:pt idx="2865">
                  <c:v>All Others</c:v>
                </c:pt>
                <c:pt idx="2866">
                  <c:v>All Others</c:v>
                </c:pt>
                <c:pt idx="2867">
                  <c:v>All Others</c:v>
                </c:pt>
                <c:pt idx="2868">
                  <c:v>All Others</c:v>
                </c:pt>
                <c:pt idx="2869">
                  <c:v>All Others</c:v>
                </c:pt>
                <c:pt idx="2870">
                  <c:v>All Others</c:v>
                </c:pt>
                <c:pt idx="2871">
                  <c:v>All Others</c:v>
                </c:pt>
                <c:pt idx="2872">
                  <c:v>Lactalis: A</c:v>
                </c:pt>
                <c:pt idx="2873">
                  <c:v>All Others</c:v>
                </c:pt>
                <c:pt idx="2874">
                  <c:v>All Others</c:v>
                </c:pt>
                <c:pt idx="2875">
                  <c:v>All Others</c:v>
                </c:pt>
                <c:pt idx="2876">
                  <c:v>All Others</c:v>
                </c:pt>
                <c:pt idx="2877">
                  <c:v>All Others</c:v>
                </c:pt>
                <c:pt idx="2878">
                  <c:v>All Others</c:v>
                </c:pt>
                <c:pt idx="2879">
                  <c:v>All Others</c:v>
                </c:pt>
                <c:pt idx="2880">
                  <c:v>All Others</c:v>
                </c:pt>
                <c:pt idx="2881">
                  <c:v>All Others</c:v>
                </c:pt>
                <c:pt idx="2882">
                  <c:v>All Others</c:v>
                </c:pt>
                <c:pt idx="2883">
                  <c:v>All Others</c:v>
                </c:pt>
                <c:pt idx="2884">
                  <c:v>All Others</c:v>
                </c:pt>
                <c:pt idx="2885">
                  <c:v>All Others</c:v>
                </c:pt>
                <c:pt idx="2886">
                  <c:v>All Others</c:v>
                </c:pt>
                <c:pt idx="2887">
                  <c:v>All Others</c:v>
                </c:pt>
                <c:pt idx="2888">
                  <c:v>All Others</c:v>
                </c:pt>
                <c:pt idx="2889">
                  <c:v>All Others</c:v>
                </c:pt>
                <c:pt idx="2890">
                  <c:v>All Others</c:v>
                </c:pt>
                <c:pt idx="2891">
                  <c:v>All Others</c:v>
                </c:pt>
                <c:pt idx="2892">
                  <c:v>All Others</c:v>
                </c:pt>
                <c:pt idx="2893">
                  <c:v>All Others</c:v>
                </c:pt>
                <c:pt idx="2894">
                  <c:v>All Others</c:v>
                </c:pt>
                <c:pt idx="2895">
                  <c:v>All Others</c:v>
                </c:pt>
                <c:pt idx="2896">
                  <c:v>All Others</c:v>
                </c:pt>
                <c:pt idx="2897">
                  <c:v>All Others</c:v>
                </c:pt>
                <c:pt idx="2898">
                  <c:v>All Others</c:v>
                </c:pt>
                <c:pt idx="2899">
                  <c:v>Savencia: A</c:v>
                </c:pt>
                <c:pt idx="2900">
                  <c:v>All Others</c:v>
                </c:pt>
                <c:pt idx="2901">
                  <c:v>All Others</c:v>
                </c:pt>
                <c:pt idx="2902">
                  <c:v>All Others</c:v>
                </c:pt>
                <c:pt idx="2903">
                  <c:v>All Others</c:v>
                </c:pt>
                <c:pt idx="2904">
                  <c:v>All Others</c:v>
                </c:pt>
                <c:pt idx="2905">
                  <c:v>All Others</c:v>
                </c:pt>
                <c:pt idx="2906">
                  <c:v>All Others</c:v>
                </c:pt>
                <c:pt idx="2907">
                  <c:v>All Others</c:v>
                </c:pt>
                <c:pt idx="2908">
                  <c:v>All Others</c:v>
                </c:pt>
                <c:pt idx="2909">
                  <c:v>All Others</c:v>
                </c:pt>
                <c:pt idx="2910">
                  <c:v>All Others</c:v>
                </c:pt>
                <c:pt idx="2911">
                  <c:v>All Others</c:v>
                </c:pt>
                <c:pt idx="2912">
                  <c:v>All Others</c:v>
                </c:pt>
                <c:pt idx="2913">
                  <c:v>All Others</c:v>
                </c:pt>
                <c:pt idx="2914">
                  <c:v>All Others</c:v>
                </c:pt>
                <c:pt idx="2915">
                  <c:v>All Others</c:v>
                </c:pt>
                <c:pt idx="2916">
                  <c:v>All Others</c:v>
                </c:pt>
                <c:pt idx="2917">
                  <c:v>All Others</c:v>
                </c:pt>
                <c:pt idx="2918">
                  <c:v>All Others</c:v>
                </c:pt>
                <c:pt idx="2919">
                  <c:v>All Others</c:v>
                </c:pt>
                <c:pt idx="2920">
                  <c:v>All Others</c:v>
                </c:pt>
                <c:pt idx="2921">
                  <c:v>Private Lab</c:v>
                </c:pt>
                <c:pt idx="2922">
                  <c:v>All Others</c:v>
                </c:pt>
                <c:pt idx="2923">
                  <c:v>All Others</c:v>
                </c:pt>
                <c:pt idx="2924">
                  <c:v>Private Lab</c:v>
                </c:pt>
                <c:pt idx="2925">
                  <c:v>All Others</c:v>
                </c:pt>
                <c:pt idx="2926">
                  <c:v>All Others</c:v>
                </c:pt>
                <c:pt idx="2927">
                  <c:v>All Others</c:v>
                </c:pt>
                <c:pt idx="2928">
                  <c:v>All Others</c:v>
                </c:pt>
                <c:pt idx="2929">
                  <c:v>All Others</c:v>
                </c:pt>
                <c:pt idx="2930">
                  <c:v>All Others</c:v>
                </c:pt>
                <c:pt idx="2931">
                  <c:v>All Others</c:v>
                </c:pt>
                <c:pt idx="2932">
                  <c:v>All Others</c:v>
                </c:pt>
                <c:pt idx="2933">
                  <c:v>All Others</c:v>
                </c:pt>
                <c:pt idx="2934">
                  <c:v>Private Lab</c:v>
                </c:pt>
                <c:pt idx="2935">
                  <c:v>All Others</c:v>
                </c:pt>
                <c:pt idx="2936">
                  <c:v>All Others</c:v>
                </c:pt>
                <c:pt idx="2937">
                  <c:v>All Others</c:v>
                </c:pt>
                <c:pt idx="2938">
                  <c:v>All Others</c:v>
                </c:pt>
                <c:pt idx="2939">
                  <c:v>All Others</c:v>
                </c:pt>
                <c:pt idx="2940">
                  <c:v>All Others</c:v>
                </c:pt>
                <c:pt idx="2941">
                  <c:v>All Others</c:v>
                </c:pt>
                <c:pt idx="2942">
                  <c:v>All Others</c:v>
                </c:pt>
                <c:pt idx="2943">
                  <c:v>All Others</c:v>
                </c:pt>
                <c:pt idx="2944">
                  <c:v>All Others</c:v>
                </c:pt>
                <c:pt idx="2945">
                  <c:v>All Others</c:v>
                </c:pt>
                <c:pt idx="2946">
                  <c:v>All Others</c:v>
                </c:pt>
                <c:pt idx="2947">
                  <c:v>All Others</c:v>
                </c:pt>
                <c:pt idx="2948">
                  <c:v>All Others</c:v>
                </c:pt>
                <c:pt idx="2949">
                  <c:v>All Others</c:v>
                </c:pt>
                <c:pt idx="2950">
                  <c:v>All Others</c:v>
                </c:pt>
                <c:pt idx="2951">
                  <c:v>All Others</c:v>
                </c:pt>
                <c:pt idx="2952">
                  <c:v>All Others</c:v>
                </c:pt>
                <c:pt idx="2953">
                  <c:v>All Others</c:v>
                </c:pt>
                <c:pt idx="2954">
                  <c:v>All Others</c:v>
                </c:pt>
                <c:pt idx="2955">
                  <c:v>All Others</c:v>
                </c:pt>
                <c:pt idx="2956">
                  <c:v>All Others</c:v>
                </c:pt>
                <c:pt idx="2957">
                  <c:v>All Others</c:v>
                </c:pt>
                <c:pt idx="2958">
                  <c:v>Private Lab</c:v>
                </c:pt>
                <c:pt idx="2959">
                  <c:v>All Others</c:v>
                </c:pt>
                <c:pt idx="2960">
                  <c:v>All Others</c:v>
                </c:pt>
                <c:pt idx="2961">
                  <c:v>Private Lab</c:v>
                </c:pt>
                <c:pt idx="2962">
                  <c:v>All Others</c:v>
                </c:pt>
                <c:pt idx="2963">
                  <c:v>All Others</c:v>
                </c:pt>
                <c:pt idx="2964">
                  <c:v>All Others</c:v>
                </c:pt>
                <c:pt idx="2965">
                  <c:v>All Others</c:v>
                </c:pt>
                <c:pt idx="2966">
                  <c:v>Private Lab</c:v>
                </c:pt>
                <c:pt idx="2967">
                  <c:v>All Others</c:v>
                </c:pt>
                <c:pt idx="2968">
                  <c:v>All Others</c:v>
                </c:pt>
                <c:pt idx="2969">
                  <c:v>All Others</c:v>
                </c:pt>
                <c:pt idx="2970">
                  <c:v>All Others</c:v>
                </c:pt>
                <c:pt idx="2971">
                  <c:v>All Others</c:v>
                </c:pt>
                <c:pt idx="2972">
                  <c:v>All Others</c:v>
                </c:pt>
                <c:pt idx="2973">
                  <c:v>Private Lab</c:v>
                </c:pt>
                <c:pt idx="2974">
                  <c:v>All Others</c:v>
                </c:pt>
                <c:pt idx="2975">
                  <c:v>All Others</c:v>
                </c:pt>
                <c:pt idx="2976">
                  <c:v>All Others</c:v>
                </c:pt>
                <c:pt idx="2977">
                  <c:v>All Others</c:v>
                </c:pt>
                <c:pt idx="2978">
                  <c:v>All Others</c:v>
                </c:pt>
                <c:pt idx="2979">
                  <c:v>All Others</c:v>
                </c:pt>
                <c:pt idx="2980">
                  <c:v>All Others</c:v>
                </c:pt>
                <c:pt idx="2981">
                  <c:v>All Others</c:v>
                </c:pt>
                <c:pt idx="2982">
                  <c:v>All Others</c:v>
                </c:pt>
                <c:pt idx="2983">
                  <c:v>All Others</c:v>
                </c:pt>
                <c:pt idx="2984">
                  <c:v>All Others</c:v>
                </c:pt>
                <c:pt idx="2985">
                  <c:v>All Others</c:v>
                </c:pt>
                <c:pt idx="2986">
                  <c:v>All Others</c:v>
                </c:pt>
                <c:pt idx="2987">
                  <c:v>All Others</c:v>
                </c:pt>
                <c:pt idx="2988">
                  <c:v>All Others</c:v>
                </c:pt>
                <c:pt idx="2989">
                  <c:v>All Others</c:v>
                </c:pt>
                <c:pt idx="2990">
                  <c:v>All Others</c:v>
                </c:pt>
                <c:pt idx="2991">
                  <c:v>All Others</c:v>
                </c:pt>
                <c:pt idx="2992">
                  <c:v>Lactalis: A</c:v>
                </c:pt>
                <c:pt idx="2993">
                  <c:v>All Others</c:v>
                </c:pt>
                <c:pt idx="2994">
                  <c:v>All Others</c:v>
                </c:pt>
                <c:pt idx="2995">
                  <c:v>All Others</c:v>
                </c:pt>
                <c:pt idx="2996">
                  <c:v>All Others</c:v>
                </c:pt>
                <c:pt idx="2997">
                  <c:v>All Others</c:v>
                </c:pt>
                <c:pt idx="2998">
                  <c:v>All Others</c:v>
                </c:pt>
                <c:pt idx="2999">
                  <c:v>All Others</c:v>
                </c:pt>
                <c:pt idx="3000">
                  <c:v>All Others</c:v>
                </c:pt>
                <c:pt idx="3001">
                  <c:v>All Others</c:v>
                </c:pt>
                <c:pt idx="3002">
                  <c:v>Private Lab</c:v>
                </c:pt>
                <c:pt idx="3003">
                  <c:v>Private Lab</c:v>
                </c:pt>
                <c:pt idx="3004">
                  <c:v>All Others</c:v>
                </c:pt>
                <c:pt idx="3005">
                  <c:v>All Others</c:v>
                </c:pt>
                <c:pt idx="3006">
                  <c:v>Private Lab</c:v>
                </c:pt>
                <c:pt idx="3007">
                  <c:v>All Others</c:v>
                </c:pt>
                <c:pt idx="3008">
                  <c:v>All Others</c:v>
                </c:pt>
                <c:pt idx="3009">
                  <c:v>All Others</c:v>
                </c:pt>
                <c:pt idx="3010">
                  <c:v>All Others</c:v>
                </c:pt>
                <c:pt idx="3011">
                  <c:v>All Others</c:v>
                </c:pt>
                <c:pt idx="3012">
                  <c:v>All Others</c:v>
                </c:pt>
                <c:pt idx="3013">
                  <c:v>All Others</c:v>
                </c:pt>
                <c:pt idx="3014">
                  <c:v>All Others</c:v>
                </c:pt>
                <c:pt idx="3015">
                  <c:v>All Others</c:v>
                </c:pt>
                <c:pt idx="3016">
                  <c:v>All Others</c:v>
                </c:pt>
                <c:pt idx="3017">
                  <c:v>Private Lab</c:v>
                </c:pt>
                <c:pt idx="3018">
                  <c:v>All Others</c:v>
                </c:pt>
                <c:pt idx="3019">
                  <c:v>All Others</c:v>
                </c:pt>
                <c:pt idx="3020">
                  <c:v>Milleret: A</c:v>
                </c:pt>
                <c:pt idx="3021">
                  <c:v>All Others</c:v>
                </c:pt>
                <c:pt idx="3022">
                  <c:v>All Others</c:v>
                </c:pt>
                <c:pt idx="3023">
                  <c:v>Nurishh</c:v>
                </c:pt>
                <c:pt idx="3024">
                  <c:v>All Others</c:v>
                </c:pt>
                <c:pt idx="3025">
                  <c:v>All Others</c:v>
                </c:pt>
                <c:pt idx="3026">
                  <c:v>All Others</c:v>
                </c:pt>
                <c:pt idx="3027">
                  <c:v>All Others</c:v>
                </c:pt>
                <c:pt idx="3028">
                  <c:v>All Others</c:v>
                </c:pt>
                <c:pt idx="3029">
                  <c:v>All Others</c:v>
                </c:pt>
                <c:pt idx="3030">
                  <c:v>All Others</c:v>
                </c:pt>
                <c:pt idx="3031">
                  <c:v>All Others</c:v>
                </c:pt>
                <c:pt idx="3032">
                  <c:v>All Others</c:v>
                </c:pt>
                <c:pt idx="3033">
                  <c:v>All Others</c:v>
                </c:pt>
                <c:pt idx="3034">
                  <c:v>All Others</c:v>
                </c:pt>
                <c:pt idx="3035">
                  <c:v>All Others</c:v>
                </c:pt>
                <c:pt idx="3036">
                  <c:v>All Others</c:v>
                </c:pt>
                <c:pt idx="3037">
                  <c:v>All Others</c:v>
                </c:pt>
                <c:pt idx="3038">
                  <c:v>Nurishh</c:v>
                </c:pt>
                <c:pt idx="3039">
                  <c:v>All Others</c:v>
                </c:pt>
                <c:pt idx="3040">
                  <c:v>All Others</c:v>
                </c:pt>
                <c:pt idx="3041">
                  <c:v>All Others</c:v>
                </c:pt>
                <c:pt idx="3042">
                  <c:v>All Others</c:v>
                </c:pt>
                <c:pt idx="3043">
                  <c:v>All Others</c:v>
                </c:pt>
                <c:pt idx="3044">
                  <c:v>All Others</c:v>
                </c:pt>
                <c:pt idx="3045">
                  <c:v>All Others</c:v>
                </c:pt>
                <c:pt idx="3046">
                  <c:v>All Others</c:v>
                </c:pt>
                <c:pt idx="3047">
                  <c:v>All Others</c:v>
                </c:pt>
                <c:pt idx="3048">
                  <c:v>All Others</c:v>
                </c:pt>
                <c:pt idx="3049">
                  <c:v>All Others</c:v>
                </c:pt>
                <c:pt idx="3050">
                  <c:v>All Others</c:v>
                </c:pt>
                <c:pt idx="3051">
                  <c:v>All Others</c:v>
                </c:pt>
                <c:pt idx="3052">
                  <c:v>All Others</c:v>
                </c:pt>
                <c:pt idx="3053">
                  <c:v>All Others</c:v>
                </c:pt>
                <c:pt idx="3054">
                  <c:v>Private Lab</c:v>
                </c:pt>
                <c:pt idx="3055">
                  <c:v>All Others</c:v>
                </c:pt>
                <c:pt idx="3056">
                  <c:v>All Others</c:v>
                </c:pt>
                <c:pt idx="3057">
                  <c:v>All Others</c:v>
                </c:pt>
                <c:pt idx="3058">
                  <c:v>All Others</c:v>
                </c:pt>
                <c:pt idx="3059">
                  <c:v>All Others</c:v>
                </c:pt>
                <c:pt idx="3060">
                  <c:v>All Others</c:v>
                </c:pt>
                <c:pt idx="3061">
                  <c:v>All Others</c:v>
                </c:pt>
                <c:pt idx="3062">
                  <c:v>All Others</c:v>
                </c:pt>
                <c:pt idx="3063">
                  <c:v>All Others</c:v>
                </c:pt>
                <c:pt idx="3064">
                  <c:v>All Others</c:v>
                </c:pt>
                <c:pt idx="3065">
                  <c:v>All Others</c:v>
                </c:pt>
                <c:pt idx="3066">
                  <c:v>All Others</c:v>
                </c:pt>
                <c:pt idx="3067">
                  <c:v>Private Lab</c:v>
                </c:pt>
                <c:pt idx="3068">
                  <c:v>All Others</c:v>
                </c:pt>
                <c:pt idx="3069">
                  <c:v>All Others</c:v>
                </c:pt>
                <c:pt idx="3070">
                  <c:v>All Others</c:v>
                </c:pt>
                <c:pt idx="3071">
                  <c:v>All Others</c:v>
                </c:pt>
                <c:pt idx="3072">
                  <c:v>All Others</c:v>
                </c:pt>
                <c:pt idx="3073">
                  <c:v>All Others</c:v>
                </c:pt>
                <c:pt idx="3074">
                  <c:v>Private Lab</c:v>
                </c:pt>
                <c:pt idx="3075">
                  <c:v>All Others</c:v>
                </c:pt>
                <c:pt idx="3076">
                  <c:v>All Others</c:v>
                </c:pt>
                <c:pt idx="3077">
                  <c:v>All Others</c:v>
                </c:pt>
                <c:pt idx="3078">
                  <c:v>All Others</c:v>
                </c:pt>
                <c:pt idx="3079">
                  <c:v>Private Lab</c:v>
                </c:pt>
                <c:pt idx="3080">
                  <c:v>All Others</c:v>
                </c:pt>
                <c:pt idx="3081">
                  <c:v>All Others</c:v>
                </c:pt>
                <c:pt idx="3082">
                  <c:v>All Others</c:v>
                </c:pt>
                <c:pt idx="3083">
                  <c:v>All Others</c:v>
                </c:pt>
                <c:pt idx="3084">
                  <c:v>All Others</c:v>
                </c:pt>
                <c:pt idx="3085">
                  <c:v>All Others</c:v>
                </c:pt>
                <c:pt idx="3086">
                  <c:v>All Others</c:v>
                </c:pt>
                <c:pt idx="3087">
                  <c:v>All Others</c:v>
                </c:pt>
                <c:pt idx="3088">
                  <c:v>All Others</c:v>
                </c:pt>
                <c:pt idx="3089">
                  <c:v>All Others</c:v>
                </c:pt>
                <c:pt idx="3090">
                  <c:v>All Others</c:v>
                </c:pt>
                <c:pt idx="3091">
                  <c:v>All Others</c:v>
                </c:pt>
                <c:pt idx="3092">
                  <c:v>All Others</c:v>
                </c:pt>
                <c:pt idx="3093">
                  <c:v>All Others</c:v>
                </c:pt>
                <c:pt idx="3094">
                  <c:v>All Others</c:v>
                </c:pt>
                <c:pt idx="3095">
                  <c:v>All Others</c:v>
                </c:pt>
                <c:pt idx="3096">
                  <c:v>All Others</c:v>
                </c:pt>
                <c:pt idx="3097">
                  <c:v>All Others</c:v>
                </c:pt>
                <c:pt idx="3098">
                  <c:v>All Others</c:v>
                </c:pt>
                <c:pt idx="3099">
                  <c:v>All Others</c:v>
                </c:pt>
                <c:pt idx="3100">
                  <c:v>All Others</c:v>
                </c:pt>
                <c:pt idx="3101">
                  <c:v>Lactalis: A</c:v>
                </c:pt>
                <c:pt idx="3102">
                  <c:v>Boursin</c:v>
                </c:pt>
                <c:pt idx="3103">
                  <c:v>All Others</c:v>
                </c:pt>
                <c:pt idx="3104">
                  <c:v>Private Lab</c:v>
                </c:pt>
                <c:pt idx="3105">
                  <c:v>All Others</c:v>
                </c:pt>
                <c:pt idx="3106">
                  <c:v>All Others</c:v>
                </c:pt>
                <c:pt idx="3107">
                  <c:v>All Others</c:v>
                </c:pt>
                <c:pt idx="3108">
                  <c:v>All Others</c:v>
                </c:pt>
                <c:pt idx="3109">
                  <c:v>All Others</c:v>
                </c:pt>
                <c:pt idx="3110">
                  <c:v>All Others</c:v>
                </c:pt>
                <c:pt idx="3111">
                  <c:v>All Others</c:v>
                </c:pt>
                <c:pt idx="3112">
                  <c:v>All Others</c:v>
                </c:pt>
                <c:pt idx="3113">
                  <c:v>All Others</c:v>
                </c:pt>
                <c:pt idx="3114">
                  <c:v>All Others</c:v>
                </c:pt>
                <c:pt idx="3115">
                  <c:v>Bresse Bleu</c:v>
                </c:pt>
                <c:pt idx="3116">
                  <c:v>All Others</c:v>
                </c:pt>
                <c:pt idx="3117">
                  <c:v>All Others</c:v>
                </c:pt>
                <c:pt idx="3118">
                  <c:v>All Others</c:v>
                </c:pt>
                <c:pt idx="3119">
                  <c:v>All Others</c:v>
                </c:pt>
                <c:pt idx="3120">
                  <c:v>All Others</c:v>
                </c:pt>
                <c:pt idx="3121">
                  <c:v>All Others</c:v>
                </c:pt>
                <c:pt idx="3122">
                  <c:v>All Others</c:v>
                </c:pt>
                <c:pt idx="3123">
                  <c:v>All Others</c:v>
                </c:pt>
                <c:pt idx="3124">
                  <c:v>All Others</c:v>
                </c:pt>
                <c:pt idx="3125">
                  <c:v>All Others</c:v>
                </c:pt>
                <c:pt idx="3126">
                  <c:v>All Others</c:v>
                </c:pt>
                <c:pt idx="3127">
                  <c:v>All Others</c:v>
                </c:pt>
                <c:pt idx="3128">
                  <c:v>All Others</c:v>
                </c:pt>
                <c:pt idx="3129">
                  <c:v>All Others</c:v>
                </c:pt>
                <c:pt idx="3130">
                  <c:v>All Others</c:v>
                </c:pt>
                <c:pt idx="3131">
                  <c:v>All Others</c:v>
                </c:pt>
                <c:pt idx="3132">
                  <c:v>All Others</c:v>
                </c:pt>
                <c:pt idx="3133">
                  <c:v>All Others</c:v>
                </c:pt>
                <c:pt idx="3134">
                  <c:v>Private Lab</c:v>
                </c:pt>
                <c:pt idx="3135">
                  <c:v>All Others</c:v>
                </c:pt>
                <c:pt idx="3136">
                  <c:v>Ficello</c:v>
                </c:pt>
                <c:pt idx="3137">
                  <c:v>All Others</c:v>
                </c:pt>
                <c:pt idx="3138">
                  <c:v>Mini Babybe</c:v>
                </c:pt>
                <c:pt idx="3139">
                  <c:v>Private Lab</c:v>
                </c:pt>
                <c:pt idx="3140">
                  <c:v>Savencia: A</c:v>
                </c:pt>
                <c:pt idx="3141">
                  <c:v>All Others</c:v>
                </c:pt>
                <c:pt idx="3142">
                  <c:v>All Others</c:v>
                </c:pt>
                <c:pt idx="3143">
                  <c:v>All Others</c:v>
                </c:pt>
                <c:pt idx="3144">
                  <c:v>All Others</c:v>
                </c:pt>
                <c:pt idx="3145">
                  <c:v>All Others</c:v>
                </c:pt>
                <c:pt idx="3146">
                  <c:v>All Others</c:v>
                </c:pt>
                <c:pt idx="3147">
                  <c:v>All Others</c:v>
                </c:pt>
                <c:pt idx="3148">
                  <c:v>All Others</c:v>
                </c:pt>
                <c:pt idx="3149">
                  <c:v>All Others</c:v>
                </c:pt>
                <c:pt idx="3150">
                  <c:v>All Others</c:v>
                </c:pt>
                <c:pt idx="3151">
                  <c:v>All Others</c:v>
                </c:pt>
                <c:pt idx="3152">
                  <c:v>All Others</c:v>
                </c:pt>
                <c:pt idx="3153">
                  <c:v>All Others</c:v>
                </c:pt>
                <c:pt idx="3154">
                  <c:v>All Others</c:v>
                </c:pt>
                <c:pt idx="3155">
                  <c:v>All Others</c:v>
                </c:pt>
                <c:pt idx="3156">
                  <c:v>Private Lab</c:v>
                </c:pt>
                <c:pt idx="3157">
                  <c:v>All Others</c:v>
                </c:pt>
                <c:pt idx="3158">
                  <c:v>All Others</c:v>
                </c:pt>
                <c:pt idx="3159">
                  <c:v>All Others</c:v>
                </c:pt>
                <c:pt idx="3160">
                  <c:v>Private Lab</c:v>
                </c:pt>
                <c:pt idx="3161">
                  <c:v>Casa Azzurr</c:v>
                </c:pt>
                <c:pt idx="3162">
                  <c:v>All Others</c:v>
                </c:pt>
                <c:pt idx="3163">
                  <c:v>All Others</c:v>
                </c:pt>
                <c:pt idx="3164">
                  <c:v>All Others</c:v>
                </c:pt>
                <c:pt idx="3165">
                  <c:v>Private Lab</c:v>
                </c:pt>
                <c:pt idx="3166">
                  <c:v>All Others</c:v>
                </c:pt>
                <c:pt idx="3167">
                  <c:v>All Others</c:v>
                </c:pt>
                <c:pt idx="3168">
                  <c:v>All Others</c:v>
                </c:pt>
                <c:pt idx="3169">
                  <c:v>All Others</c:v>
                </c:pt>
              </c:strCache>
            </c:strRef>
          </c:cat>
          <c:val>
            <c:numRef>
              <c:f>Sheet1!$C$2:$C$3171</c:f>
              <c:numCache>
                <c:formatCode>General</c:formatCode>
                <c:ptCount val="3170"/>
                <c:pt idx="0">
                  <c:v>0.016180477552594105</c:v>
                </c:pt>
                <c:pt idx="1">
                  <c:v>0.031551480345742115</c:v>
                </c:pt>
                <c:pt idx="2">
                  <c:v>0.057992766923454286</c:v>
                </c:pt>
                <c:pt idx="3">
                  <c:v>0.06999140302381456</c:v>
                </c:pt>
                <c:pt idx="4">
                  <c:v>0.09052051822938864</c:v>
                </c:pt>
                <c:pt idx="5">
                  <c:v>0.10042192990370634</c:v>
                </c:pt>
                <c:pt idx="6">
                  <c:v>0.10957750712364138</c:v>
                </c:pt>
                <c:pt idx="7">
                  <c:v>0.11836484790489579</c:v>
                </c:pt>
                <c:pt idx="8">
                  <c:v>0.12684750045912324</c:v>
                </c:pt>
                <c:pt idx="9">
                  <c:v>0.13513774356794536</c:v>
                </c:pt>
                <c:pt idx="10">
                  <c:v>0.14300751823909041</c:v>
                </c:pt>
                <c:pt idx="11">
                  <c:v>0.1502660783469009</c:v>
                </c:pt>
                <c:pt idx="12">
                  <c:v>0.157197334717486</c:v>
                </c:pt>
                <c:pt idx="13">
                  <c:v>0.16395670343738503</c:v>
                </c:pt>
                <c:pt idx="14">
                  <c:v>0.1706943550276952</c:v>
                </c:pt>
                <c:pt idx="15">
                  <c:v>0.1770876543232291</c:v>
                </c:pt>
                <c:pt idx="16">
                  <c:v>0.1950496525753563</c:v>
                </c:pt>
                <c:pt idx="17">
                  <c:v>0.2007065654485667</c:v>
                </c:pt>
                <c:pt idx="18">
                  <c:v>0.2061971407086224</c:v>
                </c:pt>
                <c:pt idx="19">
                  <c:v>0.21692293123910966</c:v>
                </c:pt>
                <c:pt idx="20">
                  <c:v>0.2219913221169349</c:v>
                </c:pt>
                <c:pt idx="21">
                  <c:v>0.22692051286616918</c:v>
                </c:pt>
                <c:pt idx="22">
                  <c:v>0.23161314759648774</c:v>
                </c:pt>
                <c:pt idx="23">
                  <c:v>0.23618302932941673</c:v>
                </c:pt>
                <c:pt idx="24">
                  <c:v>0.24070676098730856</c:v>
                </c:pt>
                <c:pt idx="25">
                  <c:v>0.24514385905901276</c:v>
                </c:pt>
                <c:pt idx="26">
                  <c:v>0.24942135925159137</c:v>
                </c:pt>
                <c:pt idx="27">
                  <c:v>0.2536583327055006</c:v>
                </c:pt>
                <c:pt idx="28">
                  <c:v>0.2578226745304214</c:v>
                </c:pt>
                <c:pt idx="29">
                  <c:v>0.26195250012125315</c:v>
                </c:pt>
                <c:pt idx="30">
                  <c:v>0.2701436319265929</c:v>
                </c:pt>
                <c:pt idx="31">
                  <c:v>0.27418485425994243</c:v>
                </c:pt>
                <c:pt idx="32">
                  <c:v>0.2781012392777099</c:v>
                </c:pt>
                <c:pt idx="33">
                  <c:v>0.2819956384034886</c:v>
                </c:pt>
                <c:pt idx="34">
                  <c:v>0.2858702769147717</c:v>
                </c:pt>
                <c:pt idx="35">
                  <c:v>0.2933741926607739</c:v>
                </c:pt>
                <c:pt idx="36">
                  <c:v>0.2970311956502049</c:v>
                </c:pt>
                <c:pt idx="37">
                  <c:v>0.30409543490449303</c:v>
                </c:pt>
                <c:pt idx="38">
                  <c:v>0.3108075615846391</c:v>
                </c:pt>
                <c:pt idx="39">
                  <c:v>0.3140892594963256</c:v>
                </c:pt>
                <c:pt idx="40">
                  <c:v>0.31732615490388927</c:v>
                </c:pt>
                <c:pt idx="41">
                  <c:v>0.32053775469508455</c:v>
                </c:pt>
                <c:pt idx="42">
                  <c:v>0.32374707282506643</c:v>
                </c:pt>
                <c:pt idx="43">
                  <c:v>0.32688607857642016</c:v>
                </c:pt>
                <c:pt idx="44">
                  <c:v>0.33310517097090775</c:v>
                </c:pt>
                <c:pt idx="45">
                  <c:v>0.33619907162550655</c:v>
                </c:pt>
                <c:pt idx="46">
                  <c:v>0.3392624837231006</c:v>
                </c:pt>
                <c:pt idx="47">
                  <c:v>0.3423189700203887</c:v>
                </c:pt>
                <c:pt idx="48">
                  <c:v>0.34838759869843366</c:v>
                </c:pt>
                <c:pt idx="49">
                  <c:v>0.3513596541335392</c:v>
                </c:pt>
                <c:pt idx="50">
                  <c:v>0.3542971501070368</c:v>
                </c:pt>
                <c:pt idx="51">
                  <c:v>0.3601254394185362</c:v>
                </c:pt>
                <c:pt idx="52">
                  <c:v>0.3659186185874264</c:v>
                </c:pt>
                <c:pt idx="53">
                  <c:v>0.3687699903076761</c:v>
                </c:pt>
                <c:pt idx="54">
                  <c:v>0.3716078412118062</c:v>
                </c:pt>
                <c:pt idx="55">
                  <c:v>0.37441030193418307</c:v>
                </c:pt>
                <c:pt idx="56">
                  <c:v>0.37720794748684927</c:v>
                </c:pt>
                <c:pt idx="57">
                  <c:v>0.37996647401439543</c:v>
                </c:pt>
                <c:pt idx="58">
                  <c:v>0.3827178097381504</c:v>
                </c:pt>
                <c:pt idx="59">
                  <c:v>0.3854278368689817</c:v>
                </c:pt>
                <c:pt idx="60">
                  <c:v>0.3881096176354174</c:v>
                </c:pt>
                <c:pt idx="61">
                  <c:v>0.39078706813213676</c:v>
                </c:pt>
                <c:pt idx="62">
                  <c:v>0.39344899055229504</c:v>
                </c:pt>
                <c:pt idx="63">
                  <c:v>0.39606139678931634</c:v>
                </c:pt>
                <c:pt idx="64">
                  <c:v>0.3986086817088886</c:v>
                </c:pt>
                <c:pt idx="65">
                  <c:v>0.40114086894763107</c:v>
                </c:pt>
                <c:pt idx="66">
                  <c:v>0.4036422744340234</c:v>
                </c:pt>
                <c:pt idx="67">
                  <c:v>0.40607695542585376</c:v>
                </c:pt>
                <c:pt idx="68">
                  <c:v>0.4084927159206205</c:v>
                </c:pt>
                <c:pt idx="69">
                  <c:v>0.41088775727764704</c:v>
                </c:pt>
                <c:pt idx="70">
                  <c:v>0.4132697251294014</c:v>
                </c:pt>
                <c:pt idx="71">
                  <c:v>0.41565063484667214</c:v>
                </c:pt>
                <c:pt idx="72">
                  <c:v>0.418023784284577</c:v>
                </c:pt>
                <c:pt idx="73">
                  <c:v>0.42273867178982694</c:v>
                </c:pt>
                <c:pt idx="74">
                  <c:v>0.42507772975100205</c:v>
                </c:pt>
                <c:pt idx="75">
                  <c:v>0.4296657651623991</c:v>
                </c:pt>
                <c:pt idx="76">
                  <c:v>0.4319461295502354</c:v>
                </c:pt>
                <c:pt idx="77">
                  <c:v>0.4341961820500571</c:v>
                </c:pt>
                <c:pt idx="78">
                  <c:v>0.43644182722241137</c:v>
                </c:pt>
                <c:pt idx="79">
                  <c:v>0.4386817626033601</c:v>
                </c:pt>
                <c:pt idx="80">
                  <c:v>0.44090723743951815</c:v>
                </c:pt>
                <c:pt idx="81">
                  <c:v>0.44312395400446164</c:v>
                </c:pt>
                <c:pt idx="82">
                  <c:v>0.44755063612357554</c:v>
                </c:pt>
                <c:pt idx="83">
                  <c:v>0.4497613722552562</c:v>
                </c:pt>
                <c:pt idx="84">
                  <c:v>0.4519524812139125</c:v>
                </c:pt>
                <c:pt idx="85">
                  <c:v>0.4541295656618815</c:v>
                </c:pt>
                <c:pt idx="86">
                  <c:v>0.4562932063514819</c:v>
                </c:pt>
                <c:pt idx="87">
                  <c:v>0.4584432905152732</c:v>
                </c:pt>
                <c:pt idx="88">
                  <c:v>0.4605811826392858</c:v>
                </c:pt>
                <c:pt idx="89">
                  <c:v>0.4648369769790196</c:v>
                </c:pt>
                <c:pt idx="90">
                  <c:v>0.4669578731702869</c:v>
                </c:pt>
                <c:pt idx="91">
                  <c:v>0.4690514664847444</c:v>
                </c:pt>
                <c:pt idx="92">
                  <c:v>0.4711323170784219</c:v>
                </c:pt>
                <c:pt idx="93">
                  <c:v>0.4732023232032351</c:v>
                </c:pt>
                <c:pt idx="94">
                  <c:v>0.4752629696304842</c:v>
                </c:pt>
                <c:pt idx="95">
                  <c:v>0.4813284370612796</c:v>
                </c:pt>
                <c:pt idx="96">
                  <c:v>0.4833035005189954</c:v>
                </c:pt>
                <c:pt idx="97">
                  <c:v>0.4852543979142055</c:v>
                </c:pt>
                <c:pt idx="98">
                  <c:v>0.48714540452174976</c:v>
                </c:pt>
                <c:pt idx="99">
                  <c:v>0.4890354920746537</c:v>
                </c:pt>
                <c:pt idx="100">
                  <c:v>0.4909193924539872</c:v>
                </c:pt>
                <c:pt idx="101">
                  <c:v>0.49280002821591734</c:v>
                </c:pt>
                <c:pt idx="102">
                  <c:v>0.49655097400113973</c:v>
                </c:pt>
                <c:pt idx="103">
                  <c:v>0.4984218967275255</c:v>
                </c:pt>
                <c:pt idx="104">
                  <c:v>0.5002924078527533</c:v>
                </c:pt>
                <c:pt idx="105">
                  <c:v>0.5021279779865327</c:v>
                </c:pt>
                <c:pt idx="106">
                  <c:v>0.5039575846021654</c:v>
                </c:pt>
                <c:pt idx="107">
                  <c:v>0.5057849696992197</c:v>
                </c:pt>
                <c:pt idx="108">
                  <c:v>0.5093954410837731</c:v>
                </c:pt>
                <c:pt idx="109">
                  <c:v>0.5111763378034686</c:v>
                </c:pt>
                <c:pt idx="110">
                  <c:v>0.5129433396950334</c:v>
                </c:pt>
                <c:pt idx="111">
                  <c:v>0.5147066653680369</c:v>
                </c:pt>
                <c:pt idx="112">
                  <c:v>0.5199736848156127</c:v>
                </c:pt>
                <c:pt idx="113">
                  <c:v>0.5217204938174932</c:v>
                </c:pt>
                <c:pt idx="114">
                  <c:v>0.5234604973043376</c:v>
                </c:pt>
                <c:pt idx="115">
                  <c:v>0.5251967287202963</c:v>
                </c:pt>
                <c:pt idx="116">
                  <c:v>0.5269097450791644</c:v>
                </c:pt>
                <c:pt idx="117">
                  <c:v>0.5286177113361541</c:v>
                </c:pt>
                <c:pt idx="118">
                  <c:v>0.5303236797299891</c:v>
                </c:pt>
                <c:pt idx="119">
                  <c:v>0.5320270695083505</c:v>
                </c:pt>
                <c:pt idx="120">
                  <c:v>0.5337205996534949</c:v>
                </c:pt>
                <c:pt idx="121">
                  <c:v>0.5354115154734764</c:v>
                </c:pt>
                <c:pt idx="122">
                  <c:v>0.5387792229915129</c:v>
                </c:pt>
                <c:pt idx="123">
                  <c:v>0.542121623616437</c:v>
                </c:pt>
                <c:pt idx="124">
                  <c:v>0.543783233058082</c:v>
                </c:pt>
                <c:pt idx="125">
                  <c:v>0.5454370314750128</c:v>
                </c:pt>
                <c:pt idx="126">
                  <c:v>0.5470829906753694</c:v>
                </c:pt>
                <c:pt idx="127">
                  <c:v>0.5487227476664968</c:v>
                </c:pt>
                <c:pt idx="128">
                  <c:v>0.5503470818306743</c:v>
                </c:pt>
                <c:pt idx="129">
                  <c:v>0.551966995511183</c:v>
                </c:pt>
                <c:pt idx="130">
                  <c:v>0.5535770119693278</c:v>
                </c:pt>
                <c:pt idx="131">
                  <c:v>0.5567799418238036</c:v>
                </c:pt>
                <c:pt idx="132">
                  <c:v>0.5583666454930761</c:v>
                </c:pt>
                <c:pt idx="133">
                  <c:v>0.5599488948484477</c:v>
                </c:pt>
                <c:pt idx="134">
                  <c:v>0.561526079066282</c:v>
                </c:pt>
                <c:pt idx="135">
                  <c:v>0.5630976568628647</c:v>
                </c:pt>
                <c:pt idx="136">
                  <c:v>0.5646653986870119</c:v>
                </c:pt>
                <c:pt idx="137">
                  <c:v>0.5662330390204627</c:v>
                </c:pt>
                <c:pt idx="138">
                  <c:v>0.5677653436764233</c:v>
                </c:pt>
                <c:pt idx="139">
                  <c:v>0.5692885104107861</c:v>
                </c:pt>
                <c:pt idx="140">
                  <c:v>0.5708059053316511</c:v>
                </c:pt>
                <c:pt idx="141">
                  <c:v>0.5723121757445078</c:v>
                </c:pt>
                <c:pt idx="142">
                  <c:v>0.5738082839315153</c:v>
                </c:pt>
                <c:pt idx="143">
                  <c:v>0.5753000505720623</c:v>
                </c:pt>
                <c:pt idx="144">
                  <c:v>0.5767804709286347</c:v>
                </c:pt>
                <c:pt idx="145">
                  <c:v>0.5782603781933526</c:v>
                </c:pt>
                <c:pt idx="146">
                  <c:v>0.5797362220712968</c:v>
                </c:pt>
                <c:pt idx="147">
                  <c:v>0.5811977933501845</c:v>
                </c:pt>
                <c:pt idx="148">
                  <c:v>0.5826577276217272</c:v>
                </c:pt>
                <c:pt idx="149">
                  <c:v>0.5841124595553467</c:v>
                </c:pt>
                <c:pt idx="150">
                  <c:v>0.585563443851026</c:v>
                </c:pt>
                <c:pt idx="151">
                  <c:v>0.5870095302808714</c:v>
                </c:pt>
                <c:pt idx="152">
                  <c:v>0.5884385907066542</c:v>
                </c:pt>
                <c:pt idx="153">
                  <c:v>0.5898620503495572</c:v>
                </c:pt>
                <c:pt idx="154">
                  <c:v>0.5912806440774013</c:v>
                </c:pt>
                <c:pt idx="155">
                  <c:v>0.5926986438967253</c:v>
                </c:pt>
                <c:pt idx="156">
                  <c:v>0.5941102836324034</c:v>
                </c:pt>
                <c:pt idx="157">
                  <c:v>0.5968816788043714</c:v>
                </c:pt>
                <c:pt idx="158">
                  <c:v>0.5982519723579789</c:v>
                </c:pt>
                <c:pt idx="159">
                  <c:v>0.5996194091364263</c:v>
                </c:pt>
                <c:pt idx="160">
                  <c:v>0.6009868196024709</c:v>
                </c:pt>
                <c:pt idx="161">
                  <c:v>0.6023478699848697</c:v>
                </c:pt>
                <c:pt idx="162">
                  <c:v>0.6037027970952475</c:v>
                </c:pt>
                <c:pt idx="163">
                  <c:v>0.6050563146126188</c:v>
                </c:pt>
                <c:pt idx="164">
                  <c:v>0.6064028161157317</c:v>
                </c:pt>
                <c:pt idx="165">
                  <c:v>0.6077385144980417</c:v>
                </c:pt>
                <c:pt idx="166">
                  <c:v>0.6090734291466401</c:v>
                </c:pt>
                <c:pt idx="167">
                  <c:v>0.6104067331002963</c:v>
                </c:pt>
                <c:pt idx="168">
                  <c:v>0.6130695031557158</c:v>
                </c:pt>
                <c:pt idx="169">
                  <c:v>0.6143990350384863</c:v>
                </c:pt>
                <c:pt idx="170">
                  <c:v>0.6157239096259628</c:v>
                </c:pt>
                <c:pt idx="171">
                  <c:v>0.6170484797413499</c:v>
                </c:pt>
                <c:pt idx="172">
                  <c:v>0.6183685729893479</c:v>
                </c:pt>
                <c:pt idx="173">
                  <c:v>0.6196817235219239</c:v>
                </c:pt>
                <c:pt idx="174">
                  <c:v>0.6209914572010518</c:v>
                </c:pt>
                <c:pt idx="175">
                  <c:v>0.6222936937248418</c:v>
                </c:pt>
                <c:pt idx="176">
                  <c:v>0.6235811483166356</c:v>
                </c:pt>
                <c:pt idx="177">
                  <c:v>0.6248654397817225</c:v>
                </c:pt>
                <c:pt idx="178">
                  <c:v>0.6261471789437387</c:v>
                </c:pt>
                <c:pt idx="179">
                  <c:v>0.6274273262053861</c:v>
                </c:pt>
                <c:pt idx="180">
                  <c:v>0.6286921013854319</c:v>
                </c:pt>
                <c:pt idx="181">
                  <c:v>0.6299519768201866</c:v>
                </c:pt>
                <c:pt idx="182">
                  <c:v>0.6312114237386672</c:v>
                </c:pt>
                <c:pt idx="183">
                  <c:v>0.6324626743436786</c:v>
                </c:pt>
                <c:pt idx="184">
                  <c:v>0.6337101152886575</c:v>
                </c:pt>
                <c:pt idx="185">
                  <c:v>0.6349398893346199</c:v>
                </c:pt>
                <c:pt idx="186">
                  <c:v>0.63616960135849</c:v>
                </c:pt>
                <c:pt idx="187">
                  <c:v>0.6373816821930331</c:v>
                </c:pt>
                <c:pt idx="188">
                  <c:v>0.6385831741649104</c:v>
                </c:pt>
                <c:pt idx="189">
                  <c:v>0.6397834783197475</c:v>
                </c:pt>
                <c:pt idx="190">
                  <c:v>0.6409734604948613</c:v>
                </c:pt>
                <c:pt idx="191">
                  <c:v>0.6421578888735289</c:v>
                </c:pt>
                <c:pt idx="192">
                  <c:v>0.6433418906153798</c:v>
                </c:pt>
                <c:pt idx="193">
                  <c:v>0.6445201825658253</c:v>
                </c:pt>
                <c:pt idx="194">
                  <c:v>0.645695548201189</c:v>
                </c:pt>
                <c:pt idx="195">
                  <c:v>0.6468690080668077</c:v>
                </c:pt>
                <c:pt idx="196">
                  <c:v>0.6480390398022343</c:v>
                </c:pt>
                <c:pt idx="197">
                  <c:v>0.6492081017376723</c:v>
                </c:pt>
                <c:pt idx="198">
                  <c:v>0.6503708167456658</c:v>
                </c:pt>
                <c:pt idx="199">
                  <c:v>0.6515279892339572</c:v>
                </c:pt>
                <c:pt idx="200">
                  <c:v>0.6526791775300711</c:v>
                </c:pt>
                <c:pt idx="201">
                  <c:v>0.6538248872080326</c:v>
                </c:pt>
                <c:pt idx="202">
                  <c:v>0.6549698958484054</c:v>
                </c:pt>
                <c:pt idx="203">
                  <c:v>0.6561037931369713</c:v>
                </c:pt>
                <c:pt idx="204">
                  <c:v>0.6572367093488046</c:v>
                </c:pt>
                <c:pt idx="205">
                  <c:v>0.6583653685897579</c:v>
                </c:pt>
                <c:pt idx="206">
                  <c:v>0.6594926050815032</c:v>
                </c:pt>
                <c:pt idx="207">
                  <c:v>0.6606128669070516</c:v>
                </c:pt>
                <c:pt idx="208">
                  <c:v>0.6617322810973386</c:v>
                </c:pt>
                <c:pt idx="209">
                  <c:v>0.662850686019033</c:v>
                </c:pt>
                <c:pt idx="210">
                  <c:v>0.6639650726609297</c:v>
                </c:pt>
                <c:pt idx="211">
                  <c:v>0.6650778298133109</c:v>
                </c:pt>
                <c:pt idx="212">
                  <c:v>0.6661836855983315</c:v>
                </c:pt>
                <c:pt idx="213">
                  <c:v>0.6672814973059277</c:v>
                </c:pt>
                <c:pt idx="214">
                  <c:v>0.6683756553484506</c:v>
                </c:pt>
                <c:pt idx="215">
                  <c:v>0.6694652425507173</c:v>
                </c:pt>
                <c:pt idx="216">
                  <c:v>0.6705516403138744</c:v>
                </c:pt>
                <c:pt idx="217">
                  <c:v>0.6716369348355716</c:v>
                </c:pt>
                <c:pt idx="218">
                  <c:v>0.6738044979526452</c:v>
                </c:pt>
                <c:pt idx="219">
                  <c:v>0.6748784010833915</c:v>
                </c:pt>
                <c:pt idx="220">
                  <c:v>0.6759498797141663</c:v>
                </c:pt>
                <c:pt idx="221">
                  <c:v>0.6770172592484779</c:v>
                </c:pt>
                <c:pt idx="222">
                  <c:v>0.6780818252351483</c:v>
                </c:pt>
                <c:pt idx="223">
                  <c:v>0.6791448763792008</c:v>
                </c:pt>
                <c:pt idx="224">
                  <c:v>0.6802053000418891</c:v>
                </c:pt>
                <c:pt idx="225">
                  <c:v>0.6812628424964717</c:v>
                </c:pt>
                <c:pt idx="226">
                  <c:v>0.6833696897441063</c:v>
                </c:pt>
                <c:pt idx="227">
                  <c:v>0.6844188968053764</c:v>
                </c:pt>
                <c:pt idx="228">
                  <c:v>0.6854674347798326</c:v>
                </c:pt>
                <c:pt idx="229">
                  <c:v>0.6865063254997515</c:v>
                </c:pt>
                <c:pt idx="230">
                  <c:v>0.6885684059529528</c:v>
                </c:pt>
                <c:pt idx="231">
                  <c:v>0.6895893309401377</c:v>
                </c:pt>
                <c:pt idx="232">
                  <c:v>0.6906077374544842</c:v>
                </c:pt>
                <c:pt idx="233">
                  <c:v>0.6916220335956234</c:v>
                </c:pt>
                <c:pt idx="234">
                  <c:v>0.6936226708293942</c:v>
                </c:pt>
                <c:pt idx="235">
                  <c:v>0.6946092882022551</c:v>
                </c:pt>
                <c:pt idx="236">
                  <c:v>0.6955859839198066</c:v>
                </c:pt>
                <c:pt idx="237">
                  <c:v>0.6965603171594791</c:v>
                </c:pt>
                <c:pt idx="238">
                  <c:v>0.697532900624366</c:v>
                </c:pt>
                <c:pt idx="239">
                  <c:v>0.6984979549831402</c:v>
                </c:pt>
                <c:pt idx="240">
                  <c:v>0.6994618628729355</c:v>
                </c:pt>
                <c:pt idx="241">
                  <c:v>0.7004212375116217</c:v>
                </c:pt>
                <c:pt idx="242">
                  <c:v>0.7013798960770604</c:v>
                </c:pt>
                <c:pt idx="243">
                  <c:v>0.7023385433657551</c:v>
                </c:pt>
                <c:pt idx="244">
                  <c:v>0.7032940688758044</c:v>
                </c:pt>
                <c:pt idx="245">
                  <c:v>0.70423975354721</c:v>
                </c:pt>
                <c:pt idx="246">
                  <c:v>0.70518211157912</c:v>
                </c:pt>
                <c:pt idx="247">
                  <c:v>0.7060986364698618</c:v>
                </c:pt>
                <c:pt idx="248">
                  <c:v>0.707014234788134</c:v>
                </c:pt>
                <c:pt idx="249">
                  <c:v>0.7079286828785126</c:v>
                </c:pt>
                <c:pt idx="250">
                  <c:v>0.7097514407515905</c:v>
                </c:pt>
                <c:pt idx="251">
                  <c:v>0.7106559972579772</c:v>
                </c:pt>
                <c:pt idx="252">
                  <c:v>0.7115581950453996</c:v>
                </c:pt>
                <c:pt idx="253">
                  <c:v>0.7124587163568727</c:v>
                </c:pt>
                <c:pt idx="254">
                  <c:v>0.7133577848478204</c:v>
                </c:pt>
                <c:pt idx="255">
                  <c:v>0.7142559869089333</c:v>
                </c:pt>
                <c:pt idx="256">
                  <c:v>0.7151502157972248</c:v>
                </c:pt>
                <c:pt idx="257">
                  <c:v>0.7160433282878551</c:v>
                </c:pt>
                <c:pt idx="258">
                  <c:v>0.7169352980684214</c:v>
                </c:pt>
                <c:pt idx="259">
                  <c:v>0.7187022868037848</c:v>
                </c:pt>
                <c:pt idx="260">
                  <c:v>0.719583216651923</c:v>
                </c:pt>
                <c:pt idx="261">
                  <c:v>0.7204544954866092</c:v>
                </c:pt>
                <c:pt idx="262">
                  <c:v>0.7213210456066226</c:v>
                </c:pt>
                <c:pt idx="263">
                  <c:v>0.7221863158161859</c:v>
                </c:pt>
                <c:pt idx="264">
                  <c:v>0.7239048822125854</c:v>
                </c:pt>
                <c:pt idx="265">
                  <c:v>0.7256139893001817</c:v>
                </c:pt>
                <c:pt idx="266">
                  <c:v>0.7264606679177162</c:v>
                </c:pt>
                <c:pt idx="267">
                  <c:v>0.7273072300088955</c:v>
                </c:pt>
                <c:pt idx="268">
                  <c:v>0.7289916898929065</c:v>
                </c:pt>
                <c:pt idx="269">
                  <c:v>0.7298232238431778</c:v>
                </c:pt>
                <c:pt idx="270">
                  <c:v>0.7306472700353978</c:v>
                </c:pt>
                <c:pt idx="271">
                  <c:v>0.7314689575086533</c:v>
                </c:pt>
                <c:pt idx="272">
                  <c:v>0.7322896601462615</c:v>
                </c:pt>
                <c:pt idx="273">
                  <c:v>0.7331083574028857</c:v>
                </c:pt>
                <c:pt idx="274">
                  <c:v>0.73392693437424</c:v>
                </c:pt>
                <c:pt idx="275">
                  <c:v>0.7347438555436757</c:v>
                </c:pt>
                <c:pt idx="276">
                  <c:v>0.7355564502023099</c:v>
                </c:pt>
                <c:pt idx="277">
                  <c:v>0.7363678777179344</c:v>
                </c:pt>
                <c:pt idx="278">
                  <c:v>0.7371740502708303</c:v>
                </c:pt>
                <c:pt idx="279">
                  <c:v>0.7379794747997039</c:v>
                </c:pt>
                <c:pt idx="280">
                  <c:v>0.7387845441111399</c:v>
                </c:pt>
                <c:pt idx="281">
                  <c:v>0.739588707524137</c:v>
                </c:pt>
                <c:pt idx="282">
                  <c:v>0.7403925307553552</c:v>
                </c:pt>
                <c:pt idx="283">
                  <c:v>0.7411940836021039</c:v>
                </c:pt>
                <c:pt idx="284">
                  <c:v>0.7419942249763888</c:v>
                </c:pt>
                <c:pt idx="285">
                  <c:v>0.7427874518271118</c:v>
                </c:pt>
                <c:pt idx="286">
                  <c:v>0.7435804982499299</c:v>
                </c:pt>
                <c:pt idx="287">
                  <c:v>0.7443670924956923</c:v>
                </c:pt>
                <c:pt idx="288">
                  <c:v>0.7451453231562821</c:v>
                </c:pt>
                <c:pt idx="289">
                  <c:v>0.7459204226409398</c:v>
                </c:pt>
                <c:pt idx="290">
                  <c:v>0.7466943418263866</c:v>
                </c:pt>
                <c:pt idx="291">
                  <c:v>0.7474655019684551</c:v>
                </c:pt>
                <c:pt idx="292">
                  <c:v>0.7482276012466769</c:v>
                </c:pt>
                <c:pt idx="293">
                  <c:v>0.7489834306552052</c:v>
                </c:pt>
                <c:pt idx="294">
                  <c:v>0.7497381868935912</c:v>
                </c:pt>
                <c:pt idx="295">
                  <c:v>0.7504814314557563</c:v>
                </c:pt>
                <c:pt idx="296">
                  <c:v>0.7512224883295752</c:v>
                </c:pt>
                <c:pt idx="297">
                  <c:v>0.7519622464983705</c:v>
                </c:pt>
                <c:pt idx="298">
                  <c:v>0.7527007341540026</c:v>
                </c:pt>
                <c:pt idx="299">
                  <c:v>0.7534387932933607</c:v>
                </c:pt>
                <c:pt idx="300">
                  <c:v>0.7541745594947613</c:v>
                </c:pt>
                <c:pt idx="301">
                  <c:v>0.7549096716450069</c:v>
                </c:pt>
                <c:pt idx="302">
                  <c:v>0.7556434625367409</c:v>
                </c:pt>
                <c:pt idx="303">
                  <c:v>0.7563743834971134</c:v>
                </c:pt>
                <c:pt idx="304">
                  <c:v>0.7571028404889103</c:v>
                </c:pt>
                <c:pt idx="305">
                  <c:v>0.7578289989043777</c:v>
                </c:pt>
                <c:pt idx="306">
                  <c:v>0.7585513044322937</c:v>
                </c:pt>
                <c:pt idx="307">
                  <c:v>0.7592668608288938</c:v>
                </c:pt>
                <c:pt idx="308">
                  <c:v>0.7599822443154185</c:v>
                </c:pt>
                <c:pt idx="309">
                  <c:v>0.7606938275391973</c:v>
                </c:pt>
                <c:pt idx="310">
                  <c:v>0.7614045931990323</c:v>
                </c:pt>
                <c:pt idx="311">
                  <c:v>0.7621091378550647</c:v>
                </c:pt>
                <c:pt idx="312">
                  <c:v>0.762810265657649</c:v>
                </c:pt>
                <c:pt idx="313">
                  <c:v>0.7635056254056501</c:v>
                </c:pt>
                <c:pt idx="314">
                  <c:v>0.7642005622757493</c:v>
                </c:pt>
                <c:pt idx="315">
                  <c:v>0.7648927043927807</c:v>
                </c:pt>
                <c:pt idx="316">
                  <c:v>0.7655846059392722</c:v>
                </c:pt>
                <c:pt idx="317">
                  <c:v>0.7662736450722316</c:v>
                </c:pt>
                <c:pt idx="318">
                  <c:v>0.7669616937311717</c:v>
                </c:pt>
                <c:pt idx="319">
                  <c:v>0.7676493552218994</c:v>
                </c:pt>
                <c:pt idx="320">
                  <c:v>0.7683285760697033</c:v>
                </c:pt>
                <c:pt idx="321">
                  <c:v>0.7690076240074317</c:v>
                </c:pt>
                <c:pt idx="322">
                  <c:v>0.7696829769320254</c:v>
                </c:pt>
                <c:pt idx="323">
                  <c:v>0.7703533511741196</c:v>
                </c:pt>
                <c:pt idx="324">
                  <c:v>0.7710220282662339</c:v>
                </c:pt>
                <c:pt idx="325">
                  <c:v>0.7716861909018122</c:v>
                </c:pt>
                <c:pt idx="326">
                  <c:v>0.7723501712300284</c:v>
                </c:pt>
                <c:pt idx="327">
                  <c:v>0.773011759009048</c:v>
                </c:pt>
                <c:pt idx="328">
                  <c:v>0.7736724916349769</c:v>
                </c:pt>
                <c:pt idx="329">
                  <c:v>0.7743321642469648</c:v>
                </c:pt>
                <c:pt idx="330">
                  <c:v>0.7756509324775366</c:v>
                </c:pt>
                <c:pt idx="331">
                  <c:v>0.7763086974403222</c:v>
                </c:pt>
                <c:pt idx="332">
                  <c:v>0.7769660714759806</c:v>
                </c:pt>
                <c:pt idx="333">
                  <c:v>0.7776234191992363</c:v>
                </c:pt>
                <c:pt idx="334">
                  <c:v>0.7782789494872421</c:v>
                </c:pt>
                <c:pt idx="335">
                  <c:v>0.7789337261128536</c:v>
                </c:pt>
                <c:pt idx="336">
                  <c:v>0.7795879802493241</c:v>
                </c:pt>
                <c:pt idx="337">
                  <c:v>0.7802417118966534</c:v>
                </c:pt>
                <c:pt idx="338">
                  <c:v>0.7808900194300932</c:v>
                </c:pt>
                <c:pt idx="339">
                  <c:v>0.7815383119278742</c:v>
                </c:pt>
                <c:pt idx="340">
                  <c:v>0.7821824846551612</c:v>
                </c:pt>
                <c:pt idx="341">
                  <c:v>0.7834659002931266</c:v>
                </c:pt>
                <c:pt idx="342">
                  <c:v>0.7841008937507543</c:v>
                </c:pt>
                <c:pt idx="343">
                  <c:v>0.7847302920638745</c:v>
                </c:pt>
                <c:pt idx="344">
                  <c:v>0.7853589404735151</c:v>
                </c:pt>
                <c:pt idx="345">
                  <c:v>0.78598723930409</c:v>
                </c:pt>
                <c:pt idx="346">
                  <c:v>0.7866147844722707</c:v>
                </c:pt>
                <c:pt idx="347">
                  <c:v>0.7872401626261359</c:v>
                </c:pt>
                <c:pt idx="348">
                  <c:v>0.7878650051346586</c:v>
                </c:pt>
                <c:pt idx="349">
                  <c:v>0.7884882651400992</c:v>
                </c:pt>
                <c:pt idx="350">
                  <c:v>0.7891093919614564</c:v>
                </c:pt>
                <c:pt idx="351">
                  <c:v>0.7897293647960054</c:v>
                </c:pt>
                <c:pt idx="352">
                  <c:v>0.7903484411294023</c:v>
                </c:pt>
                <c:pt idx="353">
                  <c:v>0.790967126535672</c:v>
                </c:pt>
                <c:pt idx="354">
                  <c:v>0.7915846447989322</c:v>
                </c:pt>
                <c:pt idx="355">
                  <c:v>0.7921990769932366</c:v>
                </c:pt>
                <c:pt idx="356">
                  <c:v>0.7928090097666638</c:v>
                </c:pt>
                <c:pt idx="357">
                  <c:v>0.7934174276974733</c:v>
                </c:pt>
                <c:pt idx="358">
                  <c:v>0.7940256839949512</c:v>
                </c:pt>
                <c:pt idx="359">
                  <c:v>0.7952390484988591</c:v>
                </c:pt>
                <c:pt idx="360">
                  <c:v>0.7958449197649698</c:v>
                </c:pt>
                <c:pt idx="361">
                  <c:v>0.7964496915485354</c:v>
                </c:pt>
                <c:pt idx="362">
                  <c:v>0.7970542716274521</c:v>
                </c:pt>
                <c:pt idx="363">
                  <c:v>0.7976586693990066</c:v>
                </c:pt>
                <c:pt idx="364">
                  <c:v>0.798258293348912</c:v>
                </c:pt>
                <c:pt idx="365">
                  <c:v>0.7988558066682221</c:v>
                </c:pt>
                <c:pt idx="366">
                  <c:v>0.800045822673568</c:v>
                </c:pt>
                <c:pt idx="367">
                  <c:v>0.8006367672894672</c:v>
                </c:pt>
                <c:pt idx="368">
                  <c:v>0.8012238928480471</c:v>
                </c:pt>
                <c:pt idx="369">
                  <c:v>0.8018110146477123</c:v>
                </c:pt>
                <c:pt idx="370">
                  <c:v>0.8023971647679317</c:v>
                </c:pt>
                <c:pt idx="371">
                  <c:v>0.8029827266180029</c:v>
                </c:pt>
                <c:pt idx="372">
                  <c:v>0.8035680554153636</c:v>
                </c:pt>
                <c:pt idx="373">
                  <c:v>0.8041530703433482</c:v>
                </c:pt>
                <c:pt idx="374">
                  <c:v>0.8047360141093417</c:v>
                </c:pt>
                <c:pt idx="375">
                  <c:v>0.8053176009071342</c:v>
                </c:pt>
                <c:pt idx="376">
                  <c:v>0.8058974510863426</c:v>
                </c:pt>
                <c:pt idx="377">
                  <c:v>0.8064749500644158</c:v>
                </c:pt>
                <c:pt idx="378">
                  <c:v>0.8070499982301149</c:v>
                </c:pt>
                <c:pt idx="379">
                  <c:v>0.807618723901315</c:v>
                </c:pt>
                <c:pt idx="380">
                  <c:v>0.808187186448487</c:v>
                </c:pt>
                <c:pt idx="381">
                  <c:v>0.8087549310429544</c:v>
                </c:pt>
                <c:pt idx="382">
                  <c:v>0.8093219652025464</c:v>
                </c:pt>
                <c:pt idx="383">
                  <c:v>0.8098853175052051</c:v>
                </c:pt>
                <c:pt idx="384">
                  <c:v>0.8104470497156349</c:v>
                </c:pt>
                <c:pt idx="385">
                  <c:v>0.8110067652683365</c:v>
                </c:pt>
                <c:pt idx="386">
                  <c:v>0.8115661049295696</c:v>
                </c:pt>
                <c:pt idx="387">
                  <c:v>0.8121253938454545</c:v>
                </c:pt>
                <c:pt idx="388">
                  <c:v>0.8126836265063131</c:v>
                </c:pt>
                <c:pt idx="389">
                  <c:v>0.8132408311040056</c:v>
                </c:pt>
                <c:pt idx="390">
                  <c:v>0.8137980131482099</c:v>
                </c:pt>
                <c:pt idx="391">
                  <c:v>0.8143539923397152</c:v>
                </c:pt>
                <c:pt idx="392">
                  <c:v>0.814909792982773</c:v>
                </c:pt>
                <c:pt idx="393">
                  <c:v>0.8154617858452555</c:v>
                </c:pt>
                <c:pt idx="394">
                  <c:v>0.8160129517465076</c:v>
                </c:pt>
                <c:pt idx="395">
                  <c:v>0.8165585168648799</c:v>
                </c:pt>
                <c:pt idx="396">
                  <c:v>0.8171027062204778</c:v>
                </c:pt>
                <c:pt idx="397">
                  <c:v>0.8176438189044065</c:v>
                </c:pt>
                <c:pt idx="398">
                  <c:v>0.8181805900418748</c:v>
                </c:pt>
                <c:pt idx="399">
                  <c:v>0.8187104128255491</c:v>
                </c:pt>
                <c:pt idx="400">
                  <c:v>0.8192396398212459</c:v>
                </c:pt>
                <c:pt idx="401">
                  <c:v>0.8197678368743192</c:v>
                </c:pt>
                <c:pt idx="402">
                  <c:v>0.8202864205030872</c:v>
                </c:pt>
                <c:pt idx="403">
                  <c:v>0.8208033558477662</c:v>
                </c:pt>
                <c:pt idx="404">
                  <c:v>0.821319982961441</c:v>
                </c:pt>
                <c:pt idx="405">
                  <c:v>0.8218364841514739</c:v>
                </c:pt>
                <c:pt idx="406">
                  <c:v>0.8223527128201922</c:v>
                </c:pt>
                <c:pt idx="407">
                  <c:v>0.8228680393493862</c:v>
                </c:pt>
                <c:pt idx="408">
                  <c:v>0.8233826479258756</c:v>
                </c:pt>
                <c:pt idx="409">
                  <c:v>0.8238969839810503</c:v>
                </c:pt>
                <c:pt idx="410">
                  <c:v>0.824410600204063</c:v>
                </c:pt>
                <c:pt idx="411">
                  <c:v>0.8254367087345977</c:v>
                </c:pt>
                <c:pt idx="412">
                  <c:v>0.825949234872352</c:v>
                </c:pt>
                <c:pt idx="413">
                  <c:v>0.8264595507682717</c:v>
                </c:pt>
                <c:pt idx="414">
                  <c:v>0.8269675774851487</c:v>
                </c:pt>
                <c:pt idx="415">
                  <c:v>0.8274756004431111</c:v>
                </c:pt>
                <c:pt idx="416">
                  <c:v>0.8279814714224166</c:v>
                </c:pt>
                <c:pt idx="417">
                  <c:v>0.8284854234757758</c:v>
                </c:pt>
                <c:pt idx="418">
                  <c:v>0.8289815851784517</c:v>
                </c:pt>
                <c:pt idx="419">
                  <c:v>0.8294772563427613</c:v>
                </c:pt>
                <c:pt idx="420">
                  <c:v>0.829971835542355</c:v>
                </c:pt>
                <c:pt idx="421">
                  <c:v>0.8304662549880747</c:v>
                </c:pt>
                <c:pt idx="422">
                  <c:v>0.8309595072907849</c:v>
                </c:pt>
                <c:pt idx="423">
                  <c:v>0.8314523592690812</c:v>
                </c:pt>
                <c:pt idx="424">
                  <c:v>0.8319442621214197</c:v>
                </c:pt>
                <c:pt idx="425">
                  <c:v>0.8324357157834534</c:v>
                </c:pt>
                <c:pt idx="426">
                  <c:v>0.8329268442993669</c:v>
                </c:pt>
                <c:pt idx="427">
                  <c:v>0.8334172059966849</c:v>
                </c:pt>
                <c:pt idx="428">
                  <c:v>0.8339058141603026</c:v>
                </c:pt>
                <c:pt idx="429">
                  <c:v>0.8343919959444915</c:v>
                </c:pt>
                <c:pt idx="430">
                  <c:v>0.8348776458422527</c:v>
                </c:pt>
                <c:pt idx="431">
                  <c:v>0.8353630833613341</c:v>
                </c:pt>
                <c:pt idx="432">
                  <c:v>0.8358453784277394</c:v>
                </c:pt>
                <c:pt idx="433">
                  <c:v>0.8363275663650762</c:v>
                </c:pt>
                <c:pt idx="434">
                  <c:v>0.8368089912427321</c:v>
                </c:pt>
                <c:pt idx="435">
                  <c:v>0.8372895478110959</c:v>
                </c:pt>
                <c:pt idx="436">
                  <c:v>0.837769980335275</c:v>
                </c:pt>
                <c:pt idx="437">
                  <c:v>0.8382499242005453</c:v>
                </c:pt>
                <c:pt idx="438">
                  <c:v>0.8387288569177654</c:v>
                </c:pt>
                <c:pt idx="439">
                  <c:v>0.8392068724598026</c:v>
                </c:pt>
                <c:pt idx="440">
                  <c:v>0.8396847320068804</c:v>
                </c:pt>
                <c:pt idx="441">
                  <c:v>0.8401585958276487</c:v>
                </c:pt>
                <c:pt idx="442">
                  <c:v>0.8406308207616147</c:v>
                </c:pt>
                <c:pt idx="443">
                  <c:v>0.841101510178932</c:v>
                </c:pt>
                <c:pt idx="444">
                  <c:v>0.8415719984943137</c:v>
                </c:pt>
                <c:pt idx="445">
                  <c:v>0.8420409550519616</c:v>
                </c:pt>
                <c:pt idx="446">
                  <c:v>0.8425089700014811</c:v>
                </c:pt>
                <c:pt idx="447">
                  <c:v>0.8429758422409365</c:v>
                </c:pt>
                <c:pt idx="448">
                  <c:v>0.8434400926373995</c:v>
                </c:pt>
                <c:pt idx="449">
                  <c:v>0.8439042922885144</c:v>
                </c:pt>
                <c:pt idx="450">
                  <c:v>0.8443679694504881</c:v>
                </c:pt>
                <c:pt idx="451">
                  <c:v>0.8448304456392202</c:v>
                </c:pt>
                <c:pt idx="452">
                  <c:v>0.8452887156024205</c:v>
                </c:pt>
                <c:pt idx="453">
                  <c:v>0.845745470723003</c:v>
                </c:pt>
                <c:pt idx="454">
                  <c:v>0.846201410159099</c:v>
                </c:pt>
                <c:pt idx="455">
                  <c:v>0.8466573270417068</c:v>
                </c:pt>
                <c:pt idx="456">
                  <c:v>0.8471131555898196</c:v>
                </c:pt>
                <c:pt idx="457">
                  <c:v>0.8475687510852219</c:v>
                </c:pt>
                <c:pt idx="458">
                  <c:v>0.8480236662170664</c:v>
                </c:pt>
                <c:pt idx="459">
                  <c:v>0.8484758711714234</c:v>
                </c:pt>
                <c:pt idx="460">
                  <c:v>0.8489273506552464</c:v>
                </c:pt>
                <c:pt idx="461">
                  <c:v>0.8493772419976152</c:v>
                </c:pt>
                <c:pt idx="462">
                  <c:v>0.8498249362543511</c:v>
                </c:pt>
                <c:pt idx="463">
                  <c:v>0.8502718261033445</c:v>
                </c:pt>
                <c:pt idx="464">
                  <c:v>0.8507178889911073</c:v>
                </c:pt>
                <c:pt idx="465">
                  <c:v>0.8511576538173166</c:v>
                </c:pt>
                <c:pt idx="466">
                  <c:v>0.8515970314753133</c:v>
                </c:pt>
                <c:pt idx="467">
                  <c:v>0.8520363452317604</c:v>
                </c:pt>
                <c:pt idx="468">
                  <c:v>0.8524755593769684</c:v>
                </c:pt>
                <c:pt idx="469">
                  <c:v>0.8529128076097964</c:v>
                </c:pt>
                <c:pt idx="470">
                  <c:v>0.8533499430751839</c:v>
                </c:pt>
                <c:pt idx="471">
                  <c:v>0.8542155158773793</c:v>
                </c:pt>
                <c:pt idx="472">
                  <c:v>0.8546467160164802</c:v>
                </c:pt>
                <c:pt idx="473">
                  <c:v>0.8550772357920232</c:v>
                </c:pt>
                <c:pt idx="474">
                  <c:v>0.8555065809067274</c:v>
                </c:pt>
                <c:pt idx="475">
                  <c:v>0.8559347062536165</c:v>
                </c:pt>
                <c:pt idx="476">
                  <c:v>0.8563620986121421</c:v>
                </c:pt>
                <c:pt idx="477">
                  <c:v>0.85678928423036</c:v>
                </c:pt>
                <c:pt idx="478">
                  <c:v>0.8572143629768975</c:v>
                </c:pt>
                <c:pt idx="479">
                  <c:v>0.8576364966137797</c:v>
                </c:pt>
                <c:pt idx="480">
                  <c:v>0.858479758377866</c:v>
                </c:pt>
                <c:pt idx="481">
                  <c:v>0.8589010894864632</c:v>
                </c:pt>
                <c:pt idx="482">
                  <c:v>0.8593220935694827</c:v>
                </c:pt>
                <c:pt idx="483">
                  <c:v>0.8597416110017446</c:v>
                </c:pt>
                <c:pt idx="484">
                  <c:v>0.8601609855952486</c:v>
                </c:pt>
                <c:pt idx="485">
                  <c:v>0.8605778567515727</c:v>
                </c:pt>
                <c:pt idx="486">
                  <c:v>0.860991076122281</c:v>
                </c:pt>
                <c:pt idx="487">
                  <c:v>0.8614011605581425</c:v>
                </c:pt>
                <c:pt idx="488">
                  <c:v>0.861801687953419</c:v>
                </c:pt>
                <c:pt idx="489">
                  <c:v>0.8622020330413335</c:v>
                </c:pt>
                <c:pt idx="490">
                  <c:v>0.8626018518811921</c:v>
                </c:pt>
                <c:pt idx="491">
                  <c:v>0.8630015936632996</c:v>
                </c:pt>
                <c:pt idx="492">
                  <c:v>0.8634001401105376</c:v>
                </c:pt>
                <c:pt idx="493">
                  <c:v>0.8637986076205671</c:v>
                </c:pt>
                <c:pt idx="494">
                  <c:v>0.8645920280553964</c:v>
                </c:pt>
                <c:pt idx="495">
                  <c:v>0.8649882853235915</c:v>
                </c:pt>
                <c:pt idx="496">
                  <c:v>0.8653827721429703</c:v>
                </c:pt>
                <c:pt idx="497">
                  <c:v>0.8657771574716526</c:v>
                </c:pt>
                <c:pt idx="498">
                  <c:v>0.8661693927011355</c:v>
                </c:pt>
                <c:pt idx="499">
                  <c:v>0.8665614625383723</c:v>
                </c:pt>
                <c:pt idx="500">
                  <c:v>0.8669532730104959</c:v>
                </c:pt>
                <c:pt idx="501">
                  <c:v>0.8673433957299261</c:v>
                </c:pt>
                <c:pt idx="502">
                  <c:v>0.867733213977267</c:v>
                </c:pt>
                <c:pt idx="503">
                  <c:v>0.868122428918801</c:v>
                </c:pt>
                <c:pt idx="504">
                  <c:v>0.86851101800104</c:v>
                </c:pt>
                <c:pt idx="505">
                  <c:v>0.8688947843957391</c:v>
                </c:pt>
                <c:pt idx="506">
                  <c:v>0.8692780771671879</c:v>
                </c:pt>
                <c:pt idx="507">
                  <c:v>0.8696592179599799</c:v>
                </c:pt>
                <c:pt idx="508">
                  <c:v>0.8700375339283867</c:v>
                </c:pt>
                <c:pt idx="509">
                  <c:v>0.8704155773754788</c:v>
                </c:pt>
                <c:pt idx="510">
                  <c:v>0.8707900912016823</c:v>
                </c:pt>
                <c:pt idx="511">
                  <c:v>0.8711640825387447</c:v>
                </c:pt>
                <c:pt idx="512">
                  <c:v>0.87153741418628</c:v>
                </c:pt>
                <c:pt idx="513">
                  <c:v>0.8719098512121204</c:v>
                </c:pt>
                <c:pt idx="514">
                  <c:v>0.8722798844120202</c:v>
                </c:pt>
                <c:pt idx="515">
                  <c:v>0.8726452941468582</c:v>
                </c:pt>
                <c:pt idx="516">
                  <c:v>0.8730104182041802</c:v>
                </c:pt>
                <c:pt idx="517">
                  <c:v>0.8733753317622799</c:v>
                </c:pt>
                <c:pt idx="518">
                  <c:v>0.8737372551037481</c:v>
                </c:pt>
                <c:pt idx="519">
                  <c:v>0.8740989998967689</c:v>
                </c:pt>
                <c:pt idx="520">
                  <c:v>0.8744604082669254</c:v>
                </c:pt>
                <c:pt idx="521">
                  <c:v>0.8748199728894293</c:v>
                </c:pt>
                <c:pt idx="522">
                  <c:v>0.8751793608429429</c:v>
                </c:pt>
                <c:pt idx="523">
                  <c:v>0.8758945187945865</c:v>
                </c:pt>
                <c:pt idx="524">
                  <c:v>0.8762514108287497</c:v>
                </c:pt>
                <c:pt idx="525">
                  <c:v>0.8769560363014478</c:v>
                </c:pt>
                <c:pt idx="526">
                  <c:v>0.8773035197721561</c:v>
                </c:pt>
                <c:pt idx="527">
                  <c:v>0.8776490316921125</c:v>
                </c:pt>
                <c:pt idx="528">
                  <c:v>0.8779938500923096</c:v>
                </c:pt>
                <c:pt idx="529">
                  <c:v>0.8783377156076342</c:v>
                </c:pt>
                <c:pt idx="530">
                  <c:v>0.8786793502070936</c:v>
                </c:pt>
                <c:pt idx="531">
                  <c:v>0.8790208776774846</c:v>
                </c:pt>
                <c:pt idx="532">
                  <c:v>0.8793618958149358</c:v>
                </c:pt>
                <c:pt idx="533">
                  <c:v>0.8797004932113304</c:v>
                </c:pt>
                <c:pt idx="534">
                  <c:v>0.8800379948840944</c:v>
                </c:pt>
                <c:pt idx="535">
                  <c:v>0.8803737787328477</c:v>
                </c:pt>
                <c:pt idx="536">
                  <c:v>0.8807083240192125</c:v>
                </c:pt>
                <c:pt idx="537">
                  <c:v>0.8810424858962794</c:v>
                </c:pt>
                <c:pt idx="538">
                  <c:v>0.881376503055131</c:v>
                </c:pt>
                <c:pt idx="539">
                  <c:v>0.8817104206027435</c:v>
                </c:pt>
                <c:pt idx="540">
                  <c:v>0.8820435732112177</c:v>
                </c:pt>
                <c:pt idx="541">
                  <c:v>0.8823747129208784</c:v>
                </c:pt>
                <c:pt idx="542">
                  <c:v>0.8827051948204694</c:v>
                </c:pt>
                <c:pt idx="543">
                  <c:v>0.8830355827471933</c:v>
                </c:pt>
                <c:pt idx="544">
                  <c:v>0.8833657958843844</c:v>
                </c:pt>
                <c:pt idx="545">
                  <c:v>0.8836921429778225</c:v>
                </c:pt>
                <c:pt idx="546">
                  <c:v>0.8840178059487882</c:v>
                </c:pt>
                <c:pt idx="547">
                  <c:v>0.8843421589379864</c:v>
                </c:pt>
                <c:pt idx="548">
                  <c:v>0.8846652677264241</c:v>
                </c:pt>
                <c:pt idx="549">
                  <c:v>0.8849882618679639</c:v>
                </c:pt>
                <c:pt idx="550">
                  <c:v>0.8853112278176435</c:v>
                </c:pt>
                <c:pt idx="551">
                  <c:v>0.885633956955698</c:v>
                </c:pt>
                <c:pt idx="552">
                  <c:v>0.8859515852465258</c:v>
                </c:pt>
                <c:pt idx="553">
                  <c:v>0.8862682813265119</c:v>
                </c:pt>
                <c:pt idx="554">
                  <c:v>0.8865845864793709</c:v>
                </c:pt>
                <c:pt idx="555">
                  <c:v>0.886900716842697</c:v>
                </c:pt>
                <c:pt idx="556">
                  <c:v>0.8872146444820181</c:v>
                </c:pt>
                <c:pt idx="557">
                  <c:v>0.8875281962298708</c:v>
                </c:pt>
                <c:pt idx="558">
                  <c:v>0.8878406127854888</c:v>
                </c:pt>
                <c:pt idx="559">
                  <c:v>0.8881516723729057</c:v>
                </c:pt>
                <c:pt idx="560">
                  <c:v>0.8884626248312542</c:v>
                </c:pt>
                <c:pt idx="561">
                  <c:v>0.8887726770295357</c:v>
                </c:pt>
                <c:pt idx="562">
                  <c:v>0.8890816635755042</c:v>
                </c:pt>
                <c:pt idx="563">
                  <c:v>0.8893900599718673</c:v>
                </c:pt>
                <c:pt idx="564">
                  <c:v>0.8896963457376351</c:v>
                </c:pt>
                <c:pt idx="565">
                  <c:v>0.8900022274200744</c:v>
                </c:pt>
                <c:pt idx="566">
                  <c:v>0.8903073892703516</c:v>
                </c:pt>
                <c:pt idx="567">
                  <c:v>0.8906124195586148</c:v>
                </c:pt>
                <c:pt idx="568">
                  <c:v>0.8909163917123945</c:v>
                </c:pt>
                <c:pt idx="569">
                  <c:v>0.891220281170051</c:v>
                </c:pt>
                <c:pt idx="570">
                  <c:v>0.891523492143607</c:v>
                </c:pt>
                <c:pt idx="571">
                  <c:v>0.8918265358454596</c:v>
                </c:pt>
                <c:pt idx="572">
                  <c:v>0.8921293746864618</c:v>
                </c:pt>
                <c:pt idx="573">
                  <c:v>0.8924322003712627</c:v>
                </c:pt>
                <c:pt idx="574">
                  <c:v>0.8927334661064695</c:v>
                </c:pt>
                <c:pt idx="575">
                  <c:v>0.8930346134358639</c:v>
                </c:pt>
                <c:pt idx="576">
                  <c:v>0.8933340034726432</c:v>
                </c:pt>
                <c:pt idx="577">
                  <c:v>0.8936321192373446</c:v>
                </c:pt>
                <c:pt idx="578">
                  <c:v>0.8939295245671707</c:v>
                </c:pt>
                <c:pt idx="579">
                  <c:v>0.8942265615233577</c:v>
                </c:pt>
                <c:pt idx="580">
                  <c:v>0.894523111700093</c:v>
                </c:pt>
                <c:pt idx="581">
                  <c:v>0.8948190435353628</c:v>
                </c:pt>
                <c:pt idx="582">
                  <c:v>0.895114779907069</c:v>
                </c:pt>
                <c:pt idx="583">
                  <c:v>0.8957023941245579</c:v>
                </c:pt>
                <c:pt idx="584">
                  <c:v>0.8959961232358226</c:v>
                </c:pt>
                <c:pt idx="585">
                  <c:v>0.896286022013024</c:v>
                </c:pt>
                <c:pt idx="586">
                  <c:v>0.8965757497596072</c:v>
                </c:pt>
                <c:pt idx="587">
                  <c:v>0.8968645565720927</c:v>
                </c:pt>
                <c:pt idx="588">
                  <c:v>0.8971526849004778</c:v>
                </c:pt>
                <c:pt idx="589">
                  <c:v>0.8974399543168575</c:v>
                </c:pt>
                <c:pt idx="590">
                  <c:v>0.8977262934018528</c:v>
                </c:pt>
                <c:pt idx="591">
                  <c:v>0.8980123975546803</c:v>
                </c:pt>
                <c:pt idx="592">
                  <c:v>0.8982984490827023</c:v>
                </c:pt>
                <c:pt idx="593">
                  <c:v>0.8985829519378743</c:v>
                </c:pt>
                <c:pt idx="594">
                  <c:v>0.898866981169796</c:v>
                </c:pt>
                <c:pt idx="595">
                  <c:v>0.8991492906982497</c:v>
                </c:pt>
                <c:pt idx="596">
                  <c:v>0.8994310946526783</c:v>
                </c:pt>
                <c:pt idx="597">
                  <c:v>0.8997127595272636</c:v>
                </c:pt>
                <c:pt idx="598">
                  <c:v>0.8999943398262685</c:v>
                </c:pt>
                <c:pt idx="599">
                  <c:v>0.9002752547973742</c:v>
                </c:pt>
                <c:pt idx="600">
                  <c:v>0.9005521853189146</c:v>
                </c:pt>
                <c:pt idx="601">
                  <c:v>0.9008286704090648</c:v>
                </c:pt>
                <c:pt idx="602">
                  <c:v>0.9011049976247983</c:v>
                </c:pt>
                <c:pt idx="603">
                  <c:v>0.9013810316451865</c:v>
                </c:pt>
                <c:pt idx="604">
                  <c:v>0.9016550790791639</c:v>
                </c:pt>
                <c:pt idx="605">
                  <c:v>0.9019284762209009</c:v>
                </c:pt>
                <c:pt idx="606">
                  <c:v>0.9022014974711695</c:v>
                </c:pt>
                <c:pt idx="607">
                  <c:v>0.9024735583187363</c:v>
                </c:pt>
                <c:pt idx="608">
                  <c:v>0.9027450778825885</c:v>
                </c:pt>
                <c:pt idx="609">
                  <c:v>0.9030151314697138</c:v>
                </c:pt>
                <c:pt idx="610">
                  <c:v>0.9032848072859133</c:v>
                </c:pt>
                <c:pt idx="611">
                  <c:v>0.9035530453172461</c:v>
                </c:pt>
                <c:pt idx="612">
                  <c:v>0.9038211160768754</c:v>
                </c:pt>
                <c:pt idx="613">
                  <c:v>0.904089111658211</c:v>
                </c:pt>
                <c:pt idx="614">
                  <c:v>0.9043567200713342</c:v>
                </c:pt>
                <c:pt idx="615">
                  <c:v>0.9046233267336939</c:v>
                </c:pt>
                <c:pt idx="616">
                  <c:v>0.9051552338355607</c:v>
                </c:pt>
                <c:pt idx="617">
                  <c:v>0.905419607702598</c:v>
                </c:pt>
                <c:pt idx="618">
                  <c:v>0.9056828689308887</c:v>
                </c:pt>
                <c:pt idx="619">
                  <c:v>0.9059451960688804</c:v>
                </c:pt>
                <c:pt idx="620">
                  <c:v>0.9062058053828612</c:v>
                </c:pt>
                <c:pt idx="621">
                  <c:v>0.9064663132061457</c:v>
                </c:pt>
                <c:pt idx="622">
                  <c:v>0.9067268172705154</c:v>
                </c:pt>
                <c:pt idx="623">
                  <c:v>0.9069860583395511</c:v>
                </c:pt>
                <c:pt idx="624">
                  <c:v>0.9072452110740918</c:v>
                </c:pt>
                <c:pt idx="625">
                  <c:v>0.9075035575214327</c:v>
                </c:pt>
                <c:pt idx="626">
                  <c:v>0.9077616558804045</c:v>
                </c:pt>
                <c:pt idx="627">
                  <c:v>0.9080194441289148</c:v>
                </c:pt>
                <c:pt idx="628">
                  <c:v>0.9082771590785887</c:v>
                </c:pt>
                <c:pt idx="629">
                  <c:v>0.9085344191995859</c:v>
                </c:pt>
                <c:pt idx="630">
                  <c:v>0.9087914932543062</c:v>
                </c:pt>
                <c:pt idx="631">
                  <c:v>0.9090475881117511</c:v>
                </c:pt>
                <c:pt idx="632">
                  <c:v>0.9093036679335373</c:v>
                </c:pt>
                <c:pt idx="633">
                  <c:v>0.9095584302557267</c:v>
                </c:pt>
                <c:pt idx="634">
                  <c:v>0.9098122359341289</c:v>
                </c:pt>
                <c:pt idx="635">
                  <c:v>0.9100647936528559</c:v>
                </c:pt>
                <c:pt idx="636">
                  <c:v>0.9103171446312752</c:v>
                </c:pt>
                <c:pt idx="637">
                  <c:v>0.9105693302174485</c:v>
                </c:pt>
                <c:pt idx="638">
                  <c:v>0.9108210440598288</c:v>
                </c:pt>
                <c:pt idx="639">
                  <c:v>0.9110716847320668</c:v>
                </c:pt>
                <c:pt idx="640">
                  <c:v>0.9113217596876447</c:v>
                </c:pt>
                <c:pt idx="641">
                  <c:v>0.9115706186343223</c:v>
                </c:pt>
                <c:pt idx="642">
                  <c:v>0.9118185885976771</c:v>
                </c:pt>
                <c:pt idx="643">
                  <c:v>0.9120662127408808</c:v>
                </c:pt>
                <c:pt idx="644">
                  <c:v>0.9123117638426362</c:v>
                </c:pt>
                <c:pt idx="645">
                  <c:v>0.9125571006862546</c:v>
                </c:pt>
                <c:pt idx="646">
                  <c:v>0.9128018661748409</c:v>
                </c:pt>
                <c:pt idx="647">
                  <c:v>0.9130456806580122</c:v>
                </c:pt>
                <c:pt idx="648">
                  <c:v>0.9132886663004954</c:v>
                </c:pt>
                <c:pt idx="649">
                  <c:v>0.9135310467577146</c:v>
                </c:pt>
                <c:pt idx="650">
                  <c:v>0.9137734027819883</c:v>
                </c:pt>
                <c:pt idx="651">
                  <c:v>0.9140155764988998</c:v>
                </c:pt>
                <c:pt idx="652">
                  <c:v>0.9142569119778367</c:v>
                </c:pt>
                <c:pt idx="653">
                  <c:v>0.9144977663156939</c:v>
                </c:pt>
                <c:pt idx="654">
                  <c:v>0.9147384702969638</c:v>
                </c:pt>
                <c:pt idx="655">
                  <c:v>0.9149790314394757</c:v>
                </c:pt>
                <c:pt idx="656">
                  <c:v>0.9152184649075823</c:v>
                </c:pt>
                <c:pt idx="657">
                  <c:v>0.9154572349272471</c:v>
                </c:pt>
                <c:pt idx="658">
                  <c:v>0.9156955632744365</c:v>
                </c:pt>
                <c:pt idx="659">
                  <c:v>0.9159337826131</c:v>
                </c:pt>
                <c:pt idx="660">
                  <c:v>0.9161717482250223</c:v>
                </c:pt>
                <c:pt idx="661">
                  <c:v>0.9164091218078819</c:v>
                </c:pt>
                <c:pt idx="662">
                  <c:v>0.916646267976403</c:v>
                </c:pt>
                <c:pt idx="663">
                  <c:v>0.9168827300224517</c:v>
                </c:pt>
                <c:pt idx="664">
                  <c:v>0.9171188725607521</c:v>
                </c:pt>
                <c:pt idx="665">
                  <c:v>0.9173546749172736</c:v>
                </c:pt>
                <c:pt idx="666">
                  <c:v>0.9175892969745842</c:v>
                </c:pt>
                <c:pt idx="667">
                  <c:v>0.9178226748311343</c:v>
                </c:pt>
                <c:pt idx="668">
                  <c:v>0.9180557933225713</c:v>
                </c:pt>
                <c:pt idx="669">
                  <c:v>0.9182887257477312</c:v>
                </c:pt>
                <c:pt idx="670">
                  <c:v>0.9185204402845335</c:v>
                </c:pt>
                <c:pt idx="671">
                  <c:v>0.9187508636341417</c:v>
                </c:pt>
                <c:pt idx="672">
                  <c:v>0.9189811347477052</c:v>
                </c:pt>
                <c:pt idx="673">
                  <c:v>0.9192104567353109</c:v>
                </c:pt>
                <c:pt idx="674">
                  <c:v>0.9194395212372607</c:v>
                </c:pt>
                <c:pt idx="675">
                  <c:v>0.9196682831465784</c:v>
                </c:pt>
                <c:pt idx="676">
                  <c:v>0.9198966015039634</c:v>
                </c:pt>
                <c:pt idx="677">
                  <c:v>0.9201245270547638</c:v>
                </c:pt>
                <c:pt idx="678">
                  <c:v>0.9203515241536372</c:v>
                </c:pt>
                <c:pt idx="679">
                  <c:v>0.920805309731619</c:v>
                </c:pt>
                <c:pt idx="680">
                  <c:v>0.9210321264025876</c:v>
                </c:pt>
                <c:pt idx="681">
                  <c:v>0.921258475088678</c:v>
                </c:pt>
                <c:pt idx="682">
                  <c:v>0.9214847918239936</c:v>
                </c:pt>
                <c:pt idx="683">
                  <c:v>0.9217106800430351</c:v>
                </c:pt>
                <c:pt idx="684">
                  <c:v>0.9219361134333999</c:v>
                </c:pt>
                <c:pt idx="685">
                  <c:v>0.9221609247233843</c:v>
                </c:pt>
                <c:pt idx="686">
                  <c:v>0.922385506719573</c:v>
                </c:pt>
                <c:pt idx="687">
                  <c:v>0.9226089121754655</c:v>
                </c:pt>
                <c:pt idx="688">
                  <c:v>0.9228317293612098</c:v>
                </c:pt>
                <c:pt idx="689">
                  <c:v>0.9230517649500878</c:v>
                </c:pt>
                <c:pt idx="690">
                  <c:v>0.9232715167409071</c:v>
                </c:pt>
                <c:pt idx="691">
                  <c:v>0.9234912610138971</c:v>
                </c:pt>
                <c:pt idx="692">
                  <c:v>0.9237109000372759</c:v>
                </c:pt>
                <c:pt idx="693">
                  <c:v>0.9239295016002017</c:v>
                </c:pt>
                <c:pt idx="694">
                  <c:v>0.9241477892937515</c:v>
                </c:pt>
                <c:pt idx="695">
                  <c:v>0.9243647576082471</c:v>
                </c:pt>
                <c:pt idx="696">
                  <c:v>0.9245804648068661</c:v>
                </c:pt>
                <c:pt idx="697">
                  <c:v>0.9247958882074263</c:v>
                </c:pt>
                <c:pt idx="698">
                  <c:v>0.9250106913870637</c:v>
                </c:pt>
                <c:pt idx="699">
                  <c:v>0.9252251957329837</c:v>
                </c:pt>
                <c:pt idx="700">
                  <c:v>0.9254396737665008</c:v>
                </c:pt>
                <c:pt idx="701">
                  <c:v>0.9256533586690195</c:v>
                </c:pt>
                <c:pt idx="702">
                  <c:v>0.9258668443490601</c:v>
                </c:pt>
                <c:pt idx="703">
                  <c:v>0.926079574487249</c:v>
                </c:pt>
                <c:pt idx="704">
                  <c:v>0.9262913554994802</c:v>
                </c:pt>
                <c:pt idx="705">
                  <c:v>0.9265022738407912</c:v>
                </c:pt>
                <c:pt idx="706">
                  <c:v>0.9267128426030367</c:v>
                </c:pt>
                <c:pt idx="707">
                  <c:v>0.9269222799319621</c:v>
                </c:pt>
                <c:pt idx="708">
                  <c:v>0.9271313112981017</c:v>
                </c:pt>
                <c:pt idx="709">
                  <c:v>0.9273400588661825</c:v>
                </c:pt>
                <c:pt idx="710">
                  <c:v>0.9275476298939672</c:v>
                </c:pt>
                <c:pt idx="711">
                  <c:v>0.9277548607399729</c:v>
                </c:pt>
                <c:pt idx="712">
                  <c:v>0.9279620352022584</c:v>
                </c:pt>
                <c:pt idx="713">
                  <c:v>0.9281691889905131</c:v>
                </c:pt>
                <c:pt idx="714">
                  <c:v>0.9283756699330393</c:v>
                </c:pt>
                <c:pt idx="715">
                  <c:v>0.9285820399875824</c:v>
                </c:pt>
                <c:pt idx="716">
                  <c:v>0.9287871583235355</c:v>
                </c:pt>
                <c:pt idx="717">
                  <c:v>0.9289913482075616</c:v>
                </c:pt>
                <c:pt idx="718">
                  <c:v>0.9291943465156327</c:v>
                </c:pt>
                <c:pt idx="719">
                  <c:v>0.9293971230477375</c:v>
                </c:pt>
                <c:pt idx="720">
                  <c:v>0.9300007258088362</c:v>
                </c:pt>
                <c:pt idx="721">
                  <c:v>0.930200750815392</c:v>
                </c:pt>
                <c:pt idx="722">
                  <c:v>0.9304006423804765</c:v>
                </c:pt>
                <c:pt idx="723">
                  <c:v>0.9306005264277316</c:v>
                </c:pt>
                <c:pt idx="724">
                  <c:v>0.9307993748939912</c:v>
                </c:pt>
                <c:pt idx="725">
                  <c:v>0.9309976726792496</c:v>
                </c:pt>
                <c:pt idx="726">
                  <c:v>0.9311956378005584</c:v>
                </c:pt>
                <c:pt idx="727">
                  <c:v>0.9313933285210952</c:v>
                </c:pt>
                <c:pt idx="728">
                  <c:v>0.9315901697269134</c:v>
                </c:pt>
                <c:pt idx="729">
                  <c:v>0.9317867966745946</c:v>
                </c:pt>
                <c:pt idx="730">
                  <c:v>0.9319832131230534</c:v>
                </c:pt>
                <c:pt idx="731">
                  <c:v>0.9321782763622259</c:v>
                </c:pt>
                <c:pt idx="732">
                  <c:v>0.9323721517843582</c:v>
                </c:pt>
                <c:pt idx="733">
                  <c:v>0.9325655535832402</c:v>
                </c:pt>
                <c:pt idx="734">
                  <c:v>0.9327585249863909</c:v>
                </c:pt>
                <c:pt idx="735">
                  <c:v>0.9329507803162942</c:v>
                </c:pt>
                <c:pt idx="736">
                  <c:v>0.9331429003252688</c:v>
                </c:pt>
                <c:pt idx="737">
                  <c:v>0.9335256687281192</c:v>
                </c:pt>
                <c:pt idx="738">
                  <c:v>0.9337138963809382</c:v>
                </c:pt>
                <c:pt idx="739">
                  <c:v>0.9339013985632231</c:v>
                </c:pt>
                <c:pt idx="740">
                  <c:v>0.9340888593974465</c:v>
                </c:pt>
                <c:pt idx="741">
                  <c:v>0.9342759725320615</c:v>
                </c:pt>
                <c:pt idx="742">
                  <c:v>0.9344629127566011</c:v>
                </c:pt>
                <c:pt idx="743">
                  <c:v>0.9346477404710881</c:v>
                </c:pt>
                <c:pt idx="744">
                  <c:v>0.9348321490665878</c:v>
                </c:pt>
                <c:pt idx="745">
                  <c:v>0.9350162625872848</c:v>
                </c:pt>
                <c:pt idx="746">
                  <c:v>0.9351992634692352</c:v>
                </c:pt>
                <c:pt idx="747">
                  <c:v>0.9353821045973115</c:v>
                </c:pt>
                <c:pt idx="748">
                  <c:v>0.9355648461141487</c:v>
                </c:pt>
                <c:pt idx="749">
                  <c:v>0.935747384649593</c:v>
                </c:pt>
                <c:pt idx="750">
                  <c:v>0.9359284158602488</c:v>
                </c:pt>
                <c:pt idx="751">
                  <c:v>0.936108268651151</c:v>
                </c:pt>
                <c:pt idx="752">
                  <c:v>0.9362880312281009</c:v>
                </c:pt>
                <c:pt idx="753">
                  <c:v>0.9364675908236577</c:v>
                </c:pt>
                <c:pt idx="754">
                  <c:v>0.9366470470490608</c:v>
                </c:pt>
                <c:pt idx="755">
                  <c:v>0.9368265032744638</c:v>
                </c:pt>
                <c:pt idx="756">
                  <c:v>0.9370057095320403</c:v>
                </c:pt>
                <c:pt idx="757">
                  <c:v>0.937183038211732</c:v>
                </c:pt>
                <c:pt idx="758">
                  <c:v>0.9373601620305734</c:v>
                </c:pt>
                <c:pt idx="759">
                  <c:v>0.9375367689986457</c:v>
                </c:pt>
                <c:pt idx="760">
                  <c:v>0.9377133646899739</c:v>
                </c:pt>
                <c:pt idx="761">
                  <c:v>0.9378882933026397</c:v>
                </c:pt>
                <c:pt idx="762">
                  <c:v>0.9380620979998148</c:v>
                </c:pt>
                <c:pt idx="763">
                  <c:v>0.9382357861706346</c:v>
                </c:pt>
                <c:pt idx="764">
                  <c:v>0.938409235650372</c:v>
                </c:pt>
                <c:pt idx="765">
                  <c:v>0.938581875083995</c:v>
                </c:pt>
                <c:pt idx="766">
                  <c:v>0.9387544919641299</c:v>
                </c:pt>
                <c:pt idx="767">
                  <c:v>0.938925813898156</c:v>
                </c:pt>
                <c:pt idx="768">
                  <c:v>0.939096816324434</c:v>
                </c:pt>
                <c:pt idx="769">
                  <c:v>0.939267769884821</c:v>
                </c:pt>
                <c:pt idx="770">
                  <c:v>0.9394379960952166</c:v>
                </c:pt>
                <c:pt idx="771">
                  <c:v>0.9396073070098866</c:v>
                </c:pt>
                <c:pt idx="772">
                  <c:v>0.9397763303675832</c:v>
                </c:pt>
                <c:pt idx="773">
                  <c:v>0.939944190341185</c:v>
                </c:pt>
                <c:pt idx="774">
                  <c:v>0.9401115616558778</c:v>
                </c:pt>
                <c:pt idx="775">
                  <c:v>0.9402782977139891</c:v>
                </c:pt>
                <c:pt idx="776">
                  <c:v>0.9404445864612528</c:v>
                </c:pt>
                <c:pt idx="777">
                  <c:v>0.9406100162965112</c:v>
                </c:pt>
                <c:pt idx="778">
                  <c:v>0.9407747300585222</c:v>
                </c:pt>
                <c:pt idx="779">
                  <c:v>0.9409391167949557</c:v>
                </c:pt>
                <c:pt idx="780">
                  <c:v>0.9411027329538788</c:v>
                </c:pt>
                <c:pt idx="781">
                  <c:v>0.9412662382248188</c:v>
                </c:pt>
                <c:pt idx="782">
                  <c:v>0.9414292435601058</c:v>
                </c:pt>
                <c:pt idx="783">
                  <c:v>0.9415921361279522</c:v>
                </c:pt>
                <c:pt idx="784">
                  <c:v>0.941754656563245</c:v>
                </c:pt>
                <c:pt idx="785">
                  <c:v>0.9419170454365238</c:v>
                </c:pt>
                <c:pt idx="786">
                  <c:v>0.9420781919884993</c:v>
                </c:pt>
                <c:pt idx="787">
                  <c:v>0.9422382183838989</c:v>
                </c:pt>
                <c:pt idx="788">
                  <c:v>0.942397643352949</c:v>
                </c:pt>
                <c:pt idx="789">
                  <c:v>0.942556902929753</c:v>
                </c:pt>
                <c:pt idx="790">
                  <c:v>0.9427160422212871</c:v>
                </c:pt>
                <c:pt idx="791">
                  <c:v>0.9428747680322059</c:v>
                </c:pt>
                <c:pt idx="792">
                  <c:v>0.9430332232012675</c:v>
                </c:pt>
                <c:pt idx="793">
                  <c:v>0.9431913663804102</c:v>
                </c:pt>
                <c:pt idx="794">
                  <c:v>0.9433494982828089</c:v>
                </c:pt>
                <c:pt idx="795">
                  <c:v>0.9435071340084693</c:v>
                </c:pt>
                <c:pt idx="796">
                  <c:v>0.9436635706403453</c:v>
                </c:pt>
                <c:pt idx="797">
                  <c:v>0.9438198926253235</c:v>
                </c:pt>
                <c:pt idx="798">
                  <c:v>0.9439761037223185</c:v>
                </c:pt>
                <c:pt idx="799">
                  <c:v>0.9441321738600129</c:v>
                </c:pt>
                <c:pt idx="800">
                  <c:v>0.9442879883915087</c:v>
                </c:pt>
                <c:pt idx="801">
                  <c:v>0.9444437897668031</c:v>
                </c:pt>
                <c:pt idx="802">
                  <c:v>0.9445993768839605</c:v>
                </c:pt>
                <c:pt idx="803">
                  <c:v>0.9447547422251514</c:v>
                </c:pt>
                <c:pt idx="804">
                  <c:v>0.9449091452841832</c:v>
                </c:pt>
                <c:pt idx="805">
                  <c:v>0.9450633152905047</c:v>
                </c:pt>
                <c:pt idx="806">
                  <c:v>0.9452174326720205</c:v>
                </c:pt>
                <c:pt idx="807">
                  <c:v>0.9453715068260174</c:v>
                </c:pt>
                <c:pt idx="808">
                  <c:v>0.9455255208373795</c:v>
                </c:pt>
                <c:pt idx="809">
                  <c:v>0.9456795235719975</c:v>
                </c:pt>
                <c:pt idx="810">
                  <c:v>0.9458321298698101</c:v>
                </c:pt>
                <c:pt idx="811">
                  <c:v>0.9459843001335194</c:v>
                </c:pt>
                <c:pt idx="812">
                  <c:v>0.9461356547127422</c:v>
                </c:pt>
                <c:pt idx="813">
                  <c:v>0.9462866033291791</c:v>
                </c:pt>
                <c:pt idx="814">
                  <c:v>0.9464374109863154</c:v>
                </c:pt>
                <c:pt idx="815">
                  <c:v>0.9465875100880337</c:v>
                </c:pt>
                <c:pt idx="816">
                  <c:v>0.9467375095785128</c:v>
                </c:pt>
                <c:pt idx="817">
                  <c:v>0.947036937204439</c:v>
                </c:pt>
                <c:pt idx="818">
                  <c:v>0.9471863089561658</c:v>
                </c:pt>
                <c:pt idx="819">
                  <c:v>0.9473345906226343</c:v>
                </c:pt>
                <c:pt idx="820">
                  <c:v>0.9474818705383392</c:v>
                </c:pt>
                <c:pt idx="821">
                  <c:v>0.947628611049787</c:v>
                </c:pt>
                <c:pt idx="822">
                  <c:v>0.9477751730127872</c:v>
                </c:pt>
                <c:pt idx="823">
                  <c:v>0.9479212669909093</c:v>
                </c:pt>
                <c:pt idx="824">
                  <c:v>0.9480668553950063</c:v>
                </c:pt>
                <c:pt idx="825">
                  <c:v>0.9482124212456152</c:v>
                </c:pt>
                <c:pt idx="826">
                  <c:v>0.9483572822997208</c:v>
                </c:pt>
                <c:pt idx="827">
                  <c:v>0.9485004368065597</c:v>
                </c:pt>
                <c:pt idx="828">
                  <c:v>0.9486434240416952</c:v>
                </c:pt>
                <c:pt idx="829">
                  <c:v>0.948785770381877</c:v>
                </c:pt>
                <c:pt idx="830">
                  <c:v>0.9489275547643135</c:v>
                </c:pt>
                <c:pt idx="831">
                  <c:v>0.9490692977986884</c:v>
                </c:pt>
                <c:pt idx="832">
                  <c:v>0.9492109412218243</c:v>
                </c:pt>
                <c:pt idx="833">
                  <c:v>0.9493524869131783</c:v>
                </c:pt>
                <c:pt idx="834">
                  <c:v>0.9494931530184961</c:v>
                </c:pt>
                <c:pt idx="835">
                  <c:v>0.9496335578792434</c:v>
                </c:pt>
                <c:pt idx="836">
                  <c:v>0.9497723708396218</c:v>
                </c:pt>
                <c:pt idx="837">
                  <c:v>0.9499095975380035</c:v>
                </c:pt>
                <c:pt idx="838">
                  <c:v>0.9500467189867741</c:v>
                </c:pt>
                <c:pt idx="839">
                  <c:v>0.9501837896901963</c:v>
                </c:pt>
                <c:pt idx="840">
                  <c:v>0.9503201330436272</c:v>
                </c:pt>
                <c:pt idx="841">
                  <c:v>0.9504561587687672</c:v>
                </c:pt>
                <c:pt idx="842">
                  <c:v>0.9505919514411968</c:v>
                </c:pt>
                <c:pt idx="843">
                  <c:v>0.9507272385396014</c:v>
                </c:pt>
                <c:pt idx="844">
                  <c:v>0.9508618527922774</c:v>
                </c:pt>
                <c:pt idx="845">
                  <c:v>0.9509960404081368</c:v>
                </c:pt>
                <c:pt idx="846">
                  <c:v>0.951129260103465</c:v>
                </c:pt>
                <c:pt idx="847">
                  <c:v>0.9512621471348436</c:v>
                </c:pt>
                <c:pt idx="848">
                  <c:v>0.9513943368875483</c:v>
                </c:pt>
                <c:pt idx="849">
                  <c:v>0.9515257861340601</c:v>
                </c:pt>
                <c:pt idx="850">
                  <c:v>0.9516572090681692</c:v>
                </c:pt>
                <c:pt idx="851">
                  <c:v>0.951788361360421</c:v>
                </c:pt>
                <c:pt idx="852">
                  <c:v>0.9519194196798056</c:v>
                </c:pt>
                <c:pt idx="853">
                  <c:v>0.952050427253842</c:v>
                </c:pt>
                <c:pt idx="854">
                  <c:v>0.9521813183015232</c:v>
                </c:pt>
                <c:pt idx="855">
                  <c:v>0.9523117225697528</c:v>
                </c:pt>
                <c:pt idx="856">
                  <c:v>0.9524415630007798</c:v>
                </c:pt>
                <c:pt idx="857">
                  <c:v>0.9525705219663132</c:v>
                </c:pt>
                <c:pt idx="858">
                  <c:v>0.9526994790523893</c:v>
                </c:pt>
                <c:pt idx="859">
                  <c:v>0.9528272708749133</c:v>
                </c:pt>
                <c:pt idx="860">
                  <c:v>0.9529545364493814</c:v>
                </c:pt>
                <c:pt idx="861">
                  <c:v>0.9530817794703614</c:v>
                </c:pt>
                <c:pt idx="862">
                  <c:v>0.9532089661076212</c:v>
                </c:pt>
                <c:pt idx="863">
                  <c:v>0.9533357674561258</c:v>
                </c:pt>
                <c:pt idx="864">
                  <c:v>0.9534624391220738</c:v>
                </c:pt>
                <c:pt idx="865">
                  <c:v>0.9535883496077983</c:v>
                </c:pt>
                <c:pt idx="866">
                  <c:v>0.9537141153753074</c:v>
                </c:pt>
                <c:pt idx="867">
                  <c:v>0.9538398792633591</c:v>
                </c:pt>
                <c:pt idx="868">
                  <c:v>0.9539646226060741</c:v>
                </c:pt>
                <c:pt idx="869">
                  <c:v>0.9540875898616007</c:v>
                </c:pt>
                <c:pt idx="870">
                  <c:v>0.9542105026128643</c:v>
                </c:pt>
                <c:pt idx="871">
                  <c:v>0.9543326710990205</c:v>
                </c:pt>
                <c:pt idx="872">
                  <c:v>0.9544545144390565</c:v>
                </c:pt>
                <c:pt idx="873">
                  <c:v>0.9545763540201778</c:v>
                </c:pt>
                <c:pt idx="874">
                  <c:v>0.9546978590578922</c:v>
                </c:pt>
                <c:pt idx="875">
                  <c:v>0.9548189806863088</c:v>
                </c:pt>
                <c:pt idx="876">
                  <c:v>0.9549394275895395</c:v>
                </c:pt>
                <c:pt idx="877">
                  <c:v>0.9550597767609885</c:v>
                </c:pt>
                <c:pt idx="878">
                  <c:v>0.9551796767421327</c:v>
                </c:pt>
                <c:pt idx="879">
                  <c:v>0.9552992384209552</c:v>
                </c:pt>
                <c:pt idx="880">
                  <c:v>0.9554181573253667</c:v>
                </c:pt>
                <c:pt idx="881">
                  <c:v>0.9555369766185391</c:v>
                </c:pt>
                <c:pt idx="882">
                  <c:v>0.9556557169745031</c:v>
                </c:pt>
                <c:pt idx="883">
                  <c:v>0.955774280661477</c:v>
                </c:pt>
                <c:pt idx="884">
                  <c:v>0.9558922579577601</c:v>
                </c:pt>
                <c:pt idx="885">
                  <c:v>0.956009844326916</c:v>
                </c:pt>
                <c:pt idx="886">
                  <c:v>0.9561272840983993</c:v>
                </c:pt>
                <c:pt idx="887">
                  <c:v>0.9562444269156225</c:v>
                </c:pt>
                <c:pt idx="888">
                  <c:v>0.9563613592336233</c:v>
                </c:pt>
                <c:pt idx="889">
                  <c:v>0.9564772710062873</c:v>
                </c:pt>
                <c:pt idx="890">
                  <c:v>0.9565926490130662</c:v>
                </c:pt>
                <c:pt idx="891">
                  <c:v>0.956708015743101</c:v>
                </c:pt>
                <c:pt idx="892">
                  <c:v>0.9568233599196477</c:v>
                </c:pt>
                <c:pt idx="893">
                  <c:v>0.9569379353981415</c:v>
                </c:pt>
                <c:pt idx="894">
                  <c:v>0.9570519507983474</c:v>
                </c:pt>
                <c:pt idx="895">
                  <c:v>0.9571656429318903</c:v>
                </c:pt>
                <c:pt idx="896">
                  <c:v>0.957278844527067</c:v>
                </c:pt>
                <c:pt idx="897">
                  <c:v>0.9573918732121682</c:v>
                </c:pt>
                <c:pt idx="898">
                  <c:v>0.9575048981383547</c:v>
                </c:pt>
                <c:pt idx="899">
                  <c:v>0.9576176204719091</c:v>
                </c:pt>
                <c:pt idx="900">
                  <c:v>0.9577299744318244</c:v>
                </c:pt>
                <c:pt idx="901">
                  <c:v>0.9578419412235272</c:v>
                </c:pt>
                <c:pt idx="902">
                  <c:v>0.9579535678334511</c:v>
                </c:pt>
                <c:pt idx="903">
                  <c:v>0.9580644952852437</c:v>
                </c:pt>
                <c:pt idx="904">
                  <c:v>0.9581753174874251</c:v>
                </c:pt>
                <c:pt idx="905">
                  <c:v>0.9582850834345803</c:v>
                </c:pt>
                <c:pt idx="906">
                  <c:v>0.9583948211898753</c:v>
                </c:pt>
                <c:pt idx="907">
                  <c:v>0.9585044292626137</c:v>
                </c:pt>
                <c:pt idx="908">
                  <c:v>0.9586133870431117</c:v>
                </c:pt>
                <c:pt idx="909">
                  <c:v>0.9587217076875707</c:v>
                </c:pt>
                <c:pt idx="910">
                  <c:v>0.9588298253506368</c:v>
                </c:pt>
                <c:pt idx="911">
                  <c:v>0.9589377701036274</c:v>
                </c:pt>
                <c:pt idx="912">
                  <c:v>0.959045577656232</c:v>
                </c:pt>
                <c:pt idx="913">
                  <c:v>0.9591530487859723</c:v>
                </c:pt>
                <c:pt idx="914">
                  <c:v>0.9592605030005965</c:v>
                </c:pt>
                <c:pt idx="915">
                  <c:v>0.9593679403001046</c:v>
                </c:pt>
                <c:pt idx="916">
                  <c:v>0.9594753174569779</c:v>
                </c:pt>
                <c:pt idx="917">
                  <c:v>0.9596888106548478</c:v>
                </c:pt>
                <c:pt idx="918">
                  <c:v>0.9597946974020487</c:v>
                </c:pt>
                <c:pt idx="919">
                  <c:v>0.9599005052120412</c:v>
                </c:pt>
                <c:pt idx="920">
                  <c:v>0.960006309263119</c:v>
                </c:pt>
                <c:pt idx="921">
                  <c:v>0.960111998667299</c:v>
                </c:pt>
                <c:pt idx="922">
                  <c:v>0.960217622290472</c:v>
                </c:pt>
                <c:pt idx="923">
                  <c:v>0.9603232158423275</c:v>
                </c:pt>
                <c:pt idx="924">
                  <c:v>0.9604286477608516</c:v>
                </c:pt>
                <c:pt idx="925">
                  <c:v>0.9605339236844163</c:v>
                </c:pt>
                <c:pt idx="926">
                  <c:v>0.9606391920901516</c:v>
                </c:pt>
                <c:pt idx="927">
                  <c:v>0.9607443627641051</c:v>
                </c:pt>
                <c:pt idx="928">
                  <c:v>0.960849486451625</c:v>
                </c:pt>
                <c:pt idx="929">
                  <c:v>0.9609545293224793</c:v>
                </c:pt>
                <c:pt idx="930">
                  <c:v>0.9610594443902343</c:v>
                </c:pt>
                <c:pt idx="931">
                  <c:v>0.9611642842796956</c:v>
                </c:pt>
                <c:pt idx="932">
                  <c:v>0.9612689982455149</c:v>
                </c:pt>
                <c:pt idx="933">
                  <c:v>0.961372947272196</c:v>
                </c:pt>
                <c:pt idx="934">
                  <c:v>0.9614768361562421</c:v>
                </c:pt>
                <c:pt idx="935">
                  <c:v>0.9615803529077346</c:v>
                </c:pt>
                <c:pt idx="936">
                  <c:v>0.9616837644096158</c:v>
                </c:pt>
                <c:pt idx="937">
                  <c:v>0.9617869165463838</c:v>
                </c:pt>
                <c:pt idx="938">
                  <c:v>0.9618900630447799</c:v>
                </c:pt>
                <c:pt idx="939">
                  <c:v>0.9619907286594842</c:v>
                </c:pt>
                <c:pt idx="940">
                  <c:v>0.9620910014676041</c:v>
                </c:pt>
                <c:pt idx="941">
                  <c:v>0.9621912272892903</c:v>
                </c:pt>
                <c:pt idx="942">
                  <c:v>0.9622911223264843</c:v>
                </c:pt>
                <c:pt idx="943">
                  <c:v>0.9623909121140671</c:v>
                </c:pt>
                <c:pt idx="944">
                  <c:v>0.9624899388419691</c:v>
                </c:pt>
                <c:pt idx="945">
                  <c:v>0.9625889467752976</c:v>
                </c:pt>
                <c:pt idx="946">
                  <c:v>0.962687569419871</c:v>
                </c:pt>
                <c:pt idx="947">
                  <c:v>0.962786184546615</c:v>
                </c:pt>
                <c:pt idx="948">
                  <c:v>0.9628843448446822</c:v>
                </c:pt>
                <c:pt idx="949">
                  <c:v>0.9629821724787998</c:v>
                </c:pt>
                <c:pt idx="950">
                  <c:v>0.9630794419140868</c:v>
                </c:pt>
                <c:pt idx="951">
                  <c:v>0.9631759426513209</c:v>
                </c:pt>
                <c:pt idx="952">
                  <c:v>0.963272294911425</c:v>
                </c:pt>
                <c:pt idx="953">
                  <c:v>0.963368630256413</c:v>
                </c:pt>
                <c:pt idx="954">
                  <c:v>0.9634644637862906</c:v>
                </c:pt>
                <c:pt idx="955">
                  <c:v>0.9635595098235418</c:v>
                </c:pt>
                <c:pt idx="956">
                  <c:v>0.9636545295483901</c:v>
                </c:pt>
                <c:pt idx="957">
                  <c:v>0.9637494158317673</c:v>
                </c:pt>
                <c:pt idx="958">
                  <c:v>0.9638436292694159</c:v>
                </c:pt>
                <c:pt idx="959">
                  <c:v>0.963937389757845</c:v>
                </c:pt>
                <c:pt idx="960">
                  <c:v>0.9640309322292225</c:v>
                </c:pt>
                <c:pt idx="961">
                  <c:v>0.9641240311486673</c:v>
                </c:pt>
                <c:pt idx="962">
                  <c:v>0.9642170511309036</c:v>
                </c:pt>
                <c:pt idx="963">
                  <c:v>0.9643097685205079</c:v>
                </c:pt>
                <c:pt idx="964">
                  <c:v>0.9644019089167081</c:v>
                </c:pt>
                <c:pt idx="965">
                  <c:v>0.9644935381005112</c:v>
                </c:pt>
                <c:pt idx="966">
                  <c:v>0.9645846278800572</c:v>
                </c:pt>
                <c:pt idx="967">
                  <c:v>0.9646753981518549</c:v>
                </c:pt>
                <c:pt idx="968">
                  <c:v>0.964765978598461</c:v>
                </c:pt>
                <c:pt idx="969">
                  <c:v>0.9648564462776267</c:v>
                </c:pt>
                <c:pt idx="970">
                  <c:v>0.9649466151230749</c:v>
                </c:pt>
                <c:pt idx="971">
                  <c:v>0.9650367745712365</c:v>
                </c:pt>
                <c:pt idx="972">
                  <c:v>0.9651268475643603</c:v>
                </c:pt>
                <c:pt idx="973">
                  <c:v>0.96530685071185</c:v>
                </c:pt>
                <c:pt idx="974">
                  <c:v>0.9653967094468368</c:v>
                </c:pt>
                <c:pt idx="975">
                  <c:v>0.9654865042802739</c:v>
                </c:pt>
                <c:pt idx="976">
                  <c:v>0.9655762840780524</c:v>
                </c:pt>
                <c:pt idx="977">
                  <c:v>0.9656650508483234</c:v>
                </c:pt>
                <c:pt idx="978">
                  <c:v>0.9657537800294476</c:v>
                </c:pt>
                <c:pt idx="979">
                  <c:v>0.9658419810830585</c:v>
                </c:pt>
                <c:pt idx="980">
                  <c:v>0.9659299114948122</c:v>
                </c:pt>
                <c:pt idx="981">
                  <c:v>0.966017770487187</c:v>
                </c:pt>
                <c:pt idx="982">
                  <c:v>0.9661054396543701</c:v>
                </c:pt>
                <c:pt idx="983">
                  <c:v>0.9661913816002559</c:v>
                </c:pt>
                <c:pt idx="984">
                  <c:v>0.9664478147600224</c:v>
                </c:pt>
                <c:pt idx="985">
                  <c:v>0.9665324467241406</c:v>
                </c:pt>
                <c:pt idx="986">
                  <c:v>0.9666164847797387</c:v>
                </c:pt>
                <c:pt idx="987">
                  <c:v>0.9667004871256473</c:v>
                </c:pt>
                <c:pt idx="988">
                  <c:v>0.9667842902490775</c:v>
                </c:pt>
                <c:pt idx="989">
                  <c:v>0.9668678866322002</c:v>
                </c:pt>
                <c:pt idx="990">
                  <c:v>0.9669513439354795</c:v>
                </c:pt>
                <c:pt idx="991">
                  <c:v>0.9670347918414722</c:v>
                </c:pt>
                <c:pt idx="992">
                  <c:v>0.9671181044265362</c:v>
                </c:pt>
                <c:pt idx="993">
                  <c:v>0.9672012647755556</c:v>
                </c:pt>
                <c:pt idx="994">
                  <c:v>0.9672839439834953</c:v>
                </c:pt>
                <c:pt idx="995">
                  <c:v>0.9673665668077147</c:v>
                </c:pt>
                <c:pt idx="996">
                  <c:v>0.9674484284517105</c:v>
                </c:pt>
                <c:pt idx="997">
                  <c:v>0.9675298728561764</c:v>
                </c:pt>
                <c:pt idx="998">
                  <c:v>0.9676109733199487</c:v>
                </c:pt>
                <c:pt idx="999">
                  <c:v>0.9676919516189938</c:v>
                </c:pt>
                <c:pt idx="1000">
                  <c:v>0.9677728603781172</c:v>
                </c:pt>
                <c:pt idx="1001">
                  <c:v>0.9678537202713496</c:v>
                </c:pt>
                <c:pt idx="1002">
                  <c:v>0.9679343640269877</c:v>
                </c:pt>
                <c:pt idx="1003">
                  <c:v>0.9680147145872805</c:v>
                </c:pt>
                <c:pt idx="1004">
                  <c:v>0.9680949993665663</c:v>
                </c:pt>
                <c:pt idx="1005">
                  <c:v>0.9681751676194968</c:v>
                </c:pt>
                <c:pt idx="1006">
                  <c:v>0.9682552588146763</c:v>
                </c:pt>
                <c:pt idx="1007">
                  <c:v>0.9683352222067566</c:v>
                </c:pt>
                <c:pt idx="1008">
                  <c:v>0.9684150935054271</c:v>
                </c:pt>
                <c:pt idx="1009">
                  <c:v>0.968494769340534</c:v>
                </c:pt>
                <c:pt idx="1010">
                  <c:v>0.9685741463419235</c:v>
                </c:pt>
                <c:pt idx="1011">
                  <c:v>0.9686530816708376</c:v>
                </c:pt>
                <c:pt idx="1012">
                  <c:v>0.9687316241931672</c:v>
                </c:pt>
                <c:pt idx="1013">
                  <c:v>0.9688100765015443</c:v>
                </c:pt>
                <c:pt idx="1014">
                  <c:v>0.9688884047657368</c:v>
                </c:pt>
                <c:pt idx="1015">
                  <c:v>0.9689657970601729</c:v>
                </c:pt>
                <c:pt idx="1016">
                  <c:v>0.969043166801121</c:v>
                </c:pt>
                <c:pt idx="1017">
                  <c:v>0.9691205045912943</c:v>
                </c:pt>
                <c:pt idx="1018">
                  <c:v>0.9691976450384466</c:v>
                </c:pt>
                <c:pt idx="1019">
                  <c:v>0.9692745749863766</c:v>
                </c:pt>
                <c:pt idx="1020">
                  <c:v>0.9694281792760381</c:v>
                </c:pt>
                <c:pt idx="1021">
                  <c:v>0.9695048235464521</c:v>
                </c:pt>
                <c:pt idx="1022">
                  <c:v>0.9695813682056269</c:v>
                </c:pt>
                <c:pt idx="1023">
                  <c:v>0.9696576572586032</c:v>
                </c:pt>
                <c:pt idx="1024">
                  <c:v>0.969733899325146</c:v>
                </c:pt>
                <c:pt idx="1025">
                  <c:v>0.9698100568161083</c:v>
                </c:pt>
                <c:pt idx="1026">
                  <c:v>0.9698861692000944</c:v>
                </c:pt>
                <c:pt idx="1027">
                  <c:v>0.9699622120441589</c:v>
                </c:pt>
                <c:pt idx="1028">
                  <c:v>0.9700379654517927</c:v>
                </c:pt>
                <c:pt idx="1029">
                  <c:v>0.9701136812702796</c:v>
                </c:pt>
                <c:pt idx="1030">
                  <c:v>0.970188696051178</c:v>
                </c:pt>
                <c:pt idx="1031">
                  <c:v>0.9702633086282051</c:v>
                </c:pt>
                <c:pt idx="1032">
                  <c:v>0.9703376336482588</c:v>
                </c:pt>
                <c:pt idx="1033">
                  <c:v>0.9704119379942817</c:v>
                </c:pt>
                <c:pt idx="1034">
                  <c:v>0.9704859623011607</c:v>
                </c:pt>
                <c:pt idx="1035">
                  <c:v>0.970559905791374</c:v>
                </c:pt>
                <c:pt idx="1036">
                  <c:v>0.9706334564750027</c:v>
                </c:pt>
                <c:pt idx="1037">
                  <c:v>0.9707069432570817</c:v>
                </c:pt>
                <c:pt idx="1038">
                  <c:v>0.9707793700252199</c:v>
                </c:pt>
                <c:pt idx="1039">
                  <c:v>0.9708517535658391</c:v>
                </c:pt>
                <c:pt idx="1040">
                  <c:v>0.9709239059332052</c:v>
                </c:pt>
                <c:pt idx="1041">
                  <c:v>0.970995336588952</c:v>
                </c:pt>
                <c:pt idx="1042">
                  <c:v>0.9710665905757085</c:v>
                </c:pt>
                <c:pt idx="1043">
                  <c:v>0.9711376453399869</c:v>
                </c:pt>
                <c:pt idx="1044">
                  <c:v>0.9712084764488416</c:v>
                </c:pt>
                <c:pt idx="1045">
                  <c:v>0.9712792530534332</c:v>
                </c:pt>
                <c:pt idx="1046">
                  <c:v>0.9713498680246935</c:v>
                </c:pt>
                <c:pt idx="1047">
                  <c:v>0.9714203702285132</c:v>
                </c:pt>
                <c:pt idx="1048">
                  <c:v>0.9714903574610212</c:v>
                </c:pt>
                <c:pt idx="1049">
                  <c:v>0.9715601341943069</c:v>
                </c:pt>
                <c:pt idx="1050">
                  <c:v>0.9716295745047283</c:v>
                </c:pt>
                <c:pt idx="1051">
                  <c:v>0.9717661076833508</c:v>
                </c:pt>
                <c:pt idx="1052">
                  <c:v>0.9718342605654928</c:v>
                </c:pt>
                <c:pt idx="1053">
                  <c:v>0.9719022837650783</c:v>
                </c:pt>
                <c:pt idx="1054">
                  <c:v>0.9719697713193212</c:v>
                </c:pt>
                <c:pt idx="1055">
                  <c:v>0.9720366856390746</c:v>
                </c:pt>
                <c:pt idx="1056">
                  <c:v>0.9721034533611554</c:v>
                </c:pt>
                <c:pt idx="1057">
                  <c:v>0.9721697944464196</c:v>
                </c:pt>
                <c:pt idx="1058">
                  <c:v>0.9722360265231579</c:v>
                </c:pt>
                <c:pt idx="1059">
                  <c:v>0.972302219131292</c:v>
                </c:pt>
                <c:pt idx="1060">
                  <c:v>0.9723683309227604</c:v>
                </c:pt>
                <c:pt idx="1061">
                  <c:v>0.9724341382421394</c:v>
                </c:pt>
                <c:pt idx="1062">
                  <c:v>0.9724996147770262</c:v>
                </c:pt>
                <c:pt idx="1063">
                  <c:v>0.9725650875529982</c:v>
                </c:pt>
                <c:pt idx="1064">
                  <c:v>0.9726305396549395</c:v>
                </c:pt>
                <c:pt idx="1065">
                  <c:v>0.9726959372526179</c:v>
                </c:pt>
                <c:pt idx="1066">
                  <c:v>0.9727613066584362</c:v>
                </c:pt>
                <c:pt idx="1067">
                  <c:v>0.9728264204580559</c:v>
                </c:pt>
                <c:pt idx="1068">
                  <c:v>0.9728913350351973</c:v>
                </c:pt>
                <c:pt idx="1069">
                  <c:v>0.9729560447514884</c:v>
                </c:pt>
                <c:pt idx="1070">
                  <c:v>0.9730205815577041</c:v>
                </c:pt>
                <c:pt idx="1071">
                  <c:v>0.9730849360565575</c:v>
                </c:pt>
                <c:pt idx="1072">
                  <c:v>0.9731491928236292</c:v>
                </c:pt>
                <c:pt idx="1073">
                  <c:v>0.9732132973546562</c:v>
                </c:pt>
                <c:pt idx="1074">
                  <c:v>0.9732772083015769</c:v>
                </c:pt>
                <c:pt idx="1075">
                  <c:v>0.9733410816593508</c:v>
                </c:pt>
                <c:pt idx="1076">
                  <c:v>0.9734048159372815</c:v>
                </c:pt>
                <c:pt idx="1077">
                  <c:v>0.9734685145055225</c:v>
                </c:pt>
                <c:pt idx="1078">
                  <c:v>0.9735321642078727</c:v>
                </c:pt>
                <c:pt idx="1079">
                  <c:v>0.9735957462497585</c:v>
                </c:pt>
                <c:pt idx="1080">
                  <c:v>0.9736592662695521</c:v>
                </c:pt>
                <c:pt idx="1081">
                  <c:v>0.9737224254335359</c:v>
                </c:pt>
                <c:pt idx="1082">
                  <c:v>0.9737853872544988</c:v>
                </c:pt>
                <c:pt idx="1083">
                  <c:v>0.9738478077917472</c:v>
                </c:pt>
                <c:pt idx="1084">
                  <c:v>0.9739102245700809</c:v>
                </c:pt>
                <c:pt idx="1085">
                  <c:v>0.9739723030460931</c:v>
                </c:pt>
                <c:pt idx="1086">
                  <c:v>0.9740343176205555</c:v>
                </c:pt>
                <c:pt idx="1087">
                  <c:v>0.9740962588961816</c:v>
                </c:pt>
                <c:pt idx="1088">
                  <c:v>0.9741579896725854</c:v>
                </c:pt>
                <c:pt idx="1089">
                  <c:v>0.974219466722248</c:v>
                </c:pt>
                <c:pt idx="1090">
                  <c:v>0.9742808216071833</c:v>
                </c:pt>
                <c:pt idx="1091">
                  <c:v>0.9743420223766166</c:v>
                </c:pt>
                <c:pt idx="1092">
                  <c:v>0.9744030596332611</c:v>
                </c:pt>
                <c:pt idx="1093">
                  <c:v>0.9744638863906834</c:v>
                </c:pt>
                <c:pt idx="1094">
                  <c:v>0.9745245872244637</c:v>
                </c:pt>
                <c:pt idx="1095">
                  <c:v>0.9745851828086328</c:v>
                </c:pt>
                <c:pt idx="1096">
                  <c:v>0.974645581049781</c:v>
                </c:pt>
                <c:pt idx="1097">
                  <c:v>0.9747054981498496</c:v>
                </c:pt>
                <c:pt idx="1098">
                  <c:v>0.9747653250359658</c:v>
                </c:pt>
                <c:pt idx="1099">
                  <c:v>0.97482487752131</c:v>
                </c:pt>
                <c:pt idx="1100">
                  <c:v>0.9748843548283604</c:v>
                </c:pt>
                <c:pt idx="1101">
                  <c:v>0.9749436009621579</c:v>
                </c:pt>
                <c:pt idx="1102">
                  <c:v>0.9750027606409176</c:v>
                </c:pt>
                <c:pt idx="1103">
                  <c:v>0.9750618883689025</c:v>
                </c:pt>
                <c:pt idx="1104">
                  <c:v>0.9751207492139448</c:v>
                </c:pt>
                <c:pt idx="1105">
                  <c:v>0.9751794258721675</c:v>
                </c:pt>
                <c:pt idx="1106">
                  <c:v>0.9752380517850421</c:v>
                </c:pt>
                <c:pt idx="1107">
                  <c:v>0.9752966513855138</c:v>
                </c:pt>
                <c:pt idx="1108">
                  <c:v>0.9753551213034289</c:v>
                </c:pt>
                <c:pt idx="1109">
                  <c:v>0.9754130161073974</c:v>
                </c:pt>
                <c:pt idx="1110">
                  <c:v>0.9754709071524511</c:v>
                </c:pt>
                <c:pt idx="1111">
                  <c:v>0.9755287230192111</c:v>
                </c:pt>
                <c:pt idx="1112">
                  <c:v>0.9755865332475991</c:v>
                </c:pt>
                <c:pt idx="1113">
                  <c:v>0.9756442664182361</c:v>
                </c:pt>
                <c:pt idx="1114">
                  <c:v>0.9757016744427529</c:v>
                </c:pt>
                <c:pt idx="1115">
                  <c:v>0.975759007288976</c:v>
                </c:pt>
                <c:pt idx="1116">
                  <c:v>0.975816234885588</c:v>
                </c:pt>
                <c:pt idx="1117">
                  <c:v>0.9758729888589497</c:v>
                </c:pt>
                <c:pt idx="1118">
                  <c:v>0.9759297183993659</c:v>
                </c:pt>
                <c:pt idx="1119">
                  <c:v>0.9759862054897851</c:v>
                </c:pt>
                <c:pt idx="1120">
                  <c:v>0.9760426756650882</c:v>
                </c:pt>
                <c:pt idx="1121">
                  <c:v>0.9760991383225619</c:v>
                </c:pt>
                <c:pt idx="1122">
                  <c:v>0.9761555972211209</c:v>
                </c:pt>
                <c:pt idx="1123">
                  <c:v>0.9762119320754953</c:v>
                </c:pt>
                <c:pt idx="1124">
                  <c:v>0.9762682255818081</c:v>
                </c:pt>
                <c:pt idx="1125">
                  <c:v>0.9763244345125406</c:v>
                </c:pt>
                <c:pt idx="1126">
                  <c:v>0.9763804254262214</c:v>
                </c:pt>
                <c:pt idx="1127">
                  <c:v>0.9764363374026938</c:v>
                </c:pt>
                <c:pt idx="1128">
                  <c:v>0.976491952424906</c:v>
                </c:pt>
                <c:pt idx="1129">
                  <c:v>0.9765475317374289</c:v>
                </c:pt>
                <c:pt idx="1130">
                  <c:v>0.9766030095592553</c:v>
                </c:pt>
                <c:pt idx="1131">
                  <c:v>0.9766583107120915</c:v>
                </c:pt>
                <c:pt idx="1132">
                  <c:v>0.9767135648784941</c:v>
                </c:pt>
                <c:pt idx="1133">
                  <c:v>0.9767686217018758</c:v>
                </c:pt>
                <c:pt idx="1134">
                  <c:v>0.9768235394454142</c:v>
                </c:pt>
                <c:pt idx="1135">
                  <c:v>0.9768782466897303</c:v>
                </c:pt>
                <c:pt idx="1136">
                  <c:v>0.9769323844584717</c:v>
                </c:pt>
                <c:pt idx="1137">
                  <c:v>0.9769863211252775</c:v>
                </c:pt>
                <c:pt idx="1138">
                  <c:v>0.9770401600603015</c:v>
                </c:pt>
                <c:pt idx="1139">
                  <c:v>0.9770939482499772</c:v>
                </c:pt>
                <c:pt idx="1140">
                  <c:v>0.9771476518640726</c:v>
                </c:pt>
                <c:pt idx="1141">
                  <c:v>0.9772011073897988</c:v>
                </c:pt>
                <c:pt idx="1142">
                  <c:v>0.9773077985447421</c:v>
                </c:pt>
                <c:pt idx="1143">
                  <c:v>0.9773608856968292</c:v>
                </c:pt>
                <c:pt idx="1144">
                  <c:v>0.9774138732376773</c:v>
                </c:pt>
                <c:pt idx="1145">
                  <c:v>0.9774668119126343</c:v>
                </c:pt>
                <c:pt idx="1146">
                  <c:v>0.9775197468286767</c:v>
                </c:pt>
                <c:pt idx="1147">
                  <c:v>0.9775723509602269</c:v>
                </c:pt>
                <c:pt idx="1148">
                  <c:v>0.977624878034026</c:v>
                </c:pt>
                <c:pt idx="1149">
                  <c:v>0.9776772171620909</c:v>
                </c:pt>
                <c:pt idx="1150">
                  <c:v>0.977729370223879</c:v>
                </c:pt>
                <c:pt idx="1151">
                  <c:v>0.9777812939918713</c:v>
                </c:pt>
                <c:pt idx="1152">
                  <c:v>0.9778329527563784</c:v>
                </c:pt>
                <c:pt idx="1153">
                  <c:v>0.9778845194274757</c:v>
                </c:pt>
                <c:pt idx="1154">
                  <c:v>0.9779359770900471</c:v>
                </c:pt>
                <c:pt idx="1155">
                  <c:v>0.9779872073382802</c:v>
                </c:pt>
                <c:pt idx="1156">
                  <c:v>0.9780383079039566</c:v>
                </c:pt>
                <c:pt idx="1157">
                  <c:v>0.9780892374390149</c:v>
                </c:pt>
                <c:pt idx="1158">
                  <c:v>0.9781401030725235</c:v>
                </c:pt>
                <c:pt idx="1159">
                  <c:v>0.978190869094793</c:v>
                </c:pt>
                <c:pt idx="1160">
                  <c:v>0.9782411746500137</c:v>
                </c:pt>
                <c:pt idx="1161">
                  <c:v>0.9782912659470974</c:v>
                </c:pt>
                <c:pt idx="1162">
                  <c:v>0.9783412144054231</c:v>
                </c:pt>
                <c:pt idx="1163">
                  <c:v>0.9783911177567726</c:v>
                </c:pt>
                <c:pt idx="1164">
                  <c:v>0.9784408575953333</c:v>
                </c:pt>
                <c:pt idx="1165">
                  <c:v>0.9784898851195613</c:v>
                </c:pt>
                <c:pt idx="1166">
                  <c:v>0.9785389088848746</c:v>
                </c:pt>
                <c:pt idx="1167">
                  <c:v>0.978587927011816</c:v>
                </c:pt>
                <c:pt idx="1168">
                  <c:v>0.9786368286124021</c:v>
                </c:pt>
                <c:pt idx="1169">
                  <c:v>0.9786855930126022</c:v>
                </c:pt>
                <c:pt idx="1170">
                  <c:v>0.9787342653193926</c:v>
                </c:pt>
                <c:pt idx="1171">
                  <c:v>0.9787828586889745</c:v>
                </c:pt>
                <c:pt idx="1172">
                  <c:v>0.9788313524473173</c:v>
                </c:pt>
                <c:pt idx="1173">
                  <c:v>0.9788798330494588</c:v>
                </c:pt>
                <c:pt idx="1174">
                  <c:v>0.9789283023748562</c:v>
                </c:pt>
                <c:pt idx="1175">
                  <c:v>0.9789766984014172</c:v>
                </c:pt>
                <c:pt idx="1176">
                  <c:v>0.9790250399237154</c:v>
                </c:pt>
                <c:pt idx="1177">
                  <c:v>0.9790733100266344</c:v>
                </c:pt>
                <c:pt idx="1178">
                  <c:v>0.9791214147373074</c:v>
                </c:pt>
                <c:pt idx="1179">
                  <c:v>0.979169446149144</c:v>
                </c:pt>
                <c:pt idx="1180">
                  <c:v>0.979217319686564</c:v>
                </c:pt>
                <c:pt idx="1181">
                  <c:v>0.9792648417654609</c:v>
                </c:pt>
                <c:pt idx="1182">
                  <c:v>0.9793122773893201</c:v>
                </c:pt>
                <c:pt idx="1183">
                  <c:v>0.9793595908484521</c:v>
                </c:pt>
                <c:pt idx="1184">
                  <c:v>0.979406535933945</c:v>
                </c:pt>
                <c:pt idx="1185">
                  <c:v>0.9794534584659498</c:v>
                </c:pt>
                <c:pt idx="1186">
                  <c:v>0.9795002494359406</c:v>
                </c:pt>
                <c:pt idx="1187">
                  <c:v>0.9795470366470167</c:v>
                </c:pt>
                <c:pt idx="1188">
                  <c:v>0.9795938238580928</c:v>
                </c:pt>
                <c:pt idx="1189">
                  <c:v>0.9796405866362234</c:v>
                </c:pt>
                <c:pt idx="1190">
                  <c:v>0.9796872892717192</c:v>
                </c:pt>
                <c:pt idx="1191">
                  <c:v>0.9797337513366752</c:v>
                </c:pt>
                <c:pt idx="1192">
                  <c:v>0.9797800837190745</c:v>
                </c:pt>
                <c:pt idx="1193">
                  <c:v>0.9798264104631018</c:v>
                </c:pt>
                <c:pt idx="1194">
                  <c:v>0.9798727221714704</c:v>
                </c:pt>
                <c:pt idx="1195">
                  <c:v>0.9799187782736404</c:v>
                </c:pt>
                <c:pt idx="1196">
                  <c:v>0.9799648174606943</c:v>
                </c:pt>
                <c:pt idx="1197">
                  <c:v>0.9800107645543384</c:v>
                </c:pt>
                <c:pt idx="1198">
                  <c:v>0.9800564767158149</c:v>
                </c:pt>
                <c:pt idx="1199">
                  <c:v>0.9801019689807823</c:v>
                </c:pt>
                <c:pt idx="1200">
                  <c:v>0.9801472958535036</c:v>
                </c:pt>
                <c:pt idx="1201">
                  <c:v>0.9801925024409549</c:v>
                </c:pt>
                <c:pt idx="1202">
                  <c:v>0.9802376902338329</c:v>
                </c:pt>
                <c:pt idx="1203">
                  <c:v>0.9802828611115948</c:v>
                </c:pt>
                <c:pt idx="1204">
                  <c:v>0.9803280188331552</c:v>
                </c:pt>
                <c:pt idx="1205">
                  <c:v>0.980373172795801</c:v>
                </c:pt>
                <c:pt idx="1206">
                  <c:v>0.9804183267584469</c:v>
                </c:pt>
                <c:pt idx="1207">
                  <c:v>0.9804634224579151</c:v>
                </c:pt>
                <c:pt idx="1208">
                  <c:v>0.9805084993628098</c:v>
                </c:pt>
                <c:pt idx="1209">
                  <c:v>0.980553518004527</c:v>
                </c:pt>
                <c:pt idx="1210">
                  <c:v>0.9805984990570973</c:v>
                </c:pt>
                <c:pt idx="1211">
                  <c:v>0.9806434199670326</c:v>
                </c:pt>
                <c:pt idx="1212">
                  <c:v>0.9806882412657288</c:v>
                </c:pt>
                <c:pt idx="1213">
                  <c:v>0.980733045649309</c:v>
                </c:pt>
                <c:pt idx="1214">
                  <c:v>0.9807778199615717</c:v>
                </c:pt>
                <c:pt idx="1215">
                  <c:v>0.9808225190955406</c:v>
                </c:pt>
                <c:pt idx="1216">
                  <c:v>0.9808671223771852</c:v>
                </c:pt>
                <c:pt idx="1217">
                  <c:v>0.9809116298065053</c:v>
                </c:pt>
                <c:pt idx="1218">
                  <c:v>0.9809559906381526</c:v>
                </c:pt>
                <c:pt idx="1219">
                  <c:v>0.9810002217872434</c:v>
                </c:pt>
                <c:pt idx="1220">
                  <c:v>0.9810441089956407</c:v>
                </c:pt>
                <c:pt idx="1221">
                  <c:v>0.9810879323024881</c:v>
                </c:pt>
                <c:pt idx="1222">
                  <c:v>0.981131697346158</c:v>
                </c:pt>
                <c:pt idx="1223">
                  <c:v>0.9811753327072713</c:v>
                </c:pt>
                <c:pt idx="1224">
                  <c:v>0.9812189361176098</c:v>
                </c:pt>
                <c:pt idx="1225">
                  <c:v>0.9812622557298897</c:v>
                </c:pt>
                <c:pt idx="1226">
                  <c:v>0.9813055264762786</c:v>
                </c:pt>
                <c:pt idx="1227">
                  <c:v>0.9813487276827458</c:v>
                </c:pt>
                <c:pt idx="1228">
                  <c:v>0.9813919270097557</c:v>
                </c:pt>
                <c:pt idx="1229">
                  <c:v>0.9814351188189363</c:v>
                </c:pt>
                <c:pt idx="1230">
                  <c:v>0.9814782260525364</c:v>
                </c:pt>
                <c:pt idx="1231">
                  <c:v>0.981521209241952</c:v>
                </c:pt>
                <c:pt idx="1232">
                  <c:v>0.9815640815433844</c:v>
                </c:pt>
                <c:pt idx="1233">
                  <c:v>0.9816068467157483</c:v>
                </c:pt>
                <c:pt idx="1234">
                  <c:v>0.9816495968524535</c:v>
                </c:pt>
                <c:pt idx="1235">
                  <c:v>0.9816923112794691</c:v>
                </c:pt>
                <c:pt idx="1236">
                  <c:v>0.9817349542871058</c:v>
                </c:pt>
                <c:pt idx="1237">
                  <c:v>0.9817775503083088</c:v>
                </c:pt>
                <c:pt idx="1238">
                  <c:v>0.9818200955841637</c:v>
                </c:pt>
                <c:pt idx="1239">
                  <c:v>0.9818625393693221</c:v>
                </c:pt>
                <c:pt idx="1240">
                  <c:v>0.9819048083649476</c:v>
                </c:pt>
                <c:pt idx="1241">
                  <c:v>0.9819470115795662</c:v>
                </c:pt>
                <c:pt idx="1242">
                  <c:v>0.9819891903612393</c:v>
                </c:pt>
                <c:pt idx="1243">
                  <c:v>0.9820312883262468</c:v>
                </c:pt>
                <c:pt idx="1244">
                  <c:v>0.9820733035951311</c:v>
                </c:pt>
                <c:pt idx="1245">
                  <c:v>0.98211529443107</c:v>
                </c:pt>
                <c:pt idx="1246">
                  <c:v>0.9821570089867796</c:v>
                </c:pt>
                <c:pt idx="1247">
                  <c:v>0.982198672797141</c:v>
                </c:pt>
                <c:pt idx="1248">
                  <c:v>0.9822400415326996</c:v>
                </c:pt>
                <c:pt idx="1249">
                  <c:v>0.9822812204430666</c:v>
                </c:pt>
                <c:pt idx="1250">
                  <c:v>0.982322318536768</c:v>
                </c:pt>
                <c:pt idx="1251">
                  <c:v>0.9823633677645784</c:v>
                </c:pt>
                <c:pt idx="1252">
                  <c:v>0.9824044019567302</c:v>
                </c:pt>
                <c:pt idx="1253">
                  <c:v>0.9824452876717519</c:v>
                </c:pt>
                <c:pt idx="1254">
                  <c:v>0.98248612640034</c:v>
                </c:pt>
                <c:pt idx="1255">
                  <c:v>0.9825268993479213</c:v>
                </c:pt>
                <c:pt idx="1256">
                  <c:v>0.9825675520102325</c:v>
                </c:pt>
                <c:pt idx="1257">
                  <c:v>0.9826080430392123</c:v>
                </c:pt>
                <c:pt idx="1258">
                  <c:v>0.9826484758050146</c:v>
                </c:pt>
                <c:pt idx="1259">
                  <c:v>0.9826888465487246</c:v>
                </c:pt>
                <c:pt idx="1260">
                  <c:v>0.9827290650563898</c:v>
                </c:pt>
                <c:pt idx="1261">
                  <c:v>0.9827692816845977</c:v>
                </c:pt>
                <c:pt idx="1262">
                  <c:v>0.9828091524926545</c:v>
                </c:pt>
                <c:pt idx="1263">
                  <c:v>0.9828489838321073</c:v>
                </c:pt>
                <c:pt idx="1264">
                  <c:v>0.9828887644262118</c:v>
                </c:pt>
                <c:pt idx="1265">
                  <c:v>0.9829285337435723</c:v>
                </c:pt>
                <c:pt idx="1266">
                  <c:v>0.9829681132357412</c:v>
                </c:pt>
                <c:pt idx="1267">
                  <c:v>0.9830076720538793</c:v>
                </c:pt>
                <c:pt idx="1268">
                  <c:v>0.9830471932828706</c:v>
                </c:pt>
                <c:pt idx="1269">
                  <c:v>0.9830866224184521</c:v>
                </c:pt>
                <c:pt idx="1270">
                  <c:v>0.9831259688579106</c:v>
                </c:pt>
                <c:pt idx="1271">
                  <c:v>0.9831651555434949</c:v>
                </c:pt>
                <c:pt idx="1272">
                  <c:v>0.9832042896042738</c:v>
                </c:pt>
                <c:pt idx="1273">
                  <c:v>0.983243382316991</c:v>
                </c:pt>
                <c:pt idx="1274">
                  <c:v>0.9832824261638174</c:v>
                </c:pt>
                <c:pt idx="1275">
                  <c:v>0.9833213572432032</c:v>
                </c:pt>
                <c:pt idx="1276">
                  <c:v>0.9833601567605751</c:v>
                </c:pt>
                <c:pt idx="1277">
                  <c:v>0.9833988284748477</c:v>
                </c:pt>
                <c:pt idx="1278">
                  <c:v>0.9834374795150895</c:v>
                </c:pt>
                <c:pt idx="1279">
                  <c:v>0.9834760835688978</c:v>
                </c:pt>
                <c:pt idx="1280">
                  <c:v>0.9835145974087537</c:v>
                </c:pt>
                <c:pt idx="1281">
                  <c:v>0.9835530736594628</c:v>
                </c:pt>
                <c:pt idx="1282">
                  <c:v>0.983591369482267</c:v>
                </c:pt>
                <c:pt idx="1283">
                  <c:v>0.9836296577872419</c:v>
                </c:pt>
                <c:pt idx="1284">
                  <c:v>0.9837059054921566</c:v>
                </c:pt>
                <c:pt idx="1285">
                  <c:v>0.9837439532265917</c:v>
                </c:pt>
                <c:pt idx="1286">
                  <c:v>0.9837818036180058</c:v>
                </c:pt>
                <c:pt idx="1287">
                  <c:v>0.9838196089024437</c:v>
                </c:pt>
                <c:pt idx="1288">
                  <c:v>0.9838572920221543</c:v>
                </c:pt>
                <c:pt idx="1289">
                  <c:v>0.9838949337938034</c:v>
                </c:pt>
                <c:pt idx="1290">
                  <c:v>0.983932451521268</c:v>
                </c:pt>
                <c:pt idx="1291">
                  <c:v>0.9839699485747018</c:v>
                </c:pt>
                <c:pt idx="1292">
                  <c:v>0.9840074174362754</c:v>
                </c:pt>
                <c:pt idx="1293">
                  <c:v>0.9840448656238183</c:v>
                </c:pt>
                <c:pt idx="1294">
                  <c:v>0.9840820112187291</c:v>
                </c:pt>
                <c:pt idx="1295">
                  <c:v>0.9841191511752678</c:v>
                </c:pt>
                <c:pt idx="1296">
                  <c:v>0.9841562591810318</c:v>
                </c:pt>
                <c:pt idx="1297">
                  <c:v>0.9841933352360209</c:v>
                </c:pt>
                <c:pt idx="1298">
                  <c:v>0.9842303868580646</c:v>
                </c:pt>
                <c:pt idx="1299">
                  <c:v>0.9842673670607293</c:v>
                </c:pt>
                <c:pt idx="1300">
                  <c:v>0.9843043322277352</c:v>
                </c:pt>
                <c:pt idx="1301">
                  <c:v>0.9843412936358265</c:v>
                </c:pt>
                <c:pt idx="1302">
                  <c:v>0.9843780050760912</c:v>
                </c:pt>
                <c:pt idx="1303">
                  <c:v>0.9844146300613181</c:v>
                </c:pt>
                <c:pt idx="1304">
                  <c:v>0.9844512456492585</c:v>
                </c:pt>
                <c:pt idx="1305">
                  <c:v>0.9844878537193694</c:v>
                </c:pt>
                <c:pt idx="1306">
                  <c:v>0.9845243734549852</c:v>
                </c:pt>
                <c:pt idx="1307">
                  <c:v>0.984560870637113</c:v>
                </c:pt>
                <c:pt idx="1308">
                  <c:v>0.9845972287393974</c:v>
                </c:pt>
                <c:pt idx="1309">
                  <c:v>0.9846335586498216</c:v>
                </c:pt>
                <c:pt idx="1310">
                  <c:v>0.9846697344447438</c:v>
                </c:pt>
                <c:pt idx="1311">
                  <c:v>0.984705844458659</c:v>
                </c:pt>
                <c:pt idx="1312">
                  <c:v>0.9847418943299393</c:v>
                </c:pt>
                <c:pt idx="1313">
                  <c:v>0.9847779197682741</c:v>
                </c:pt>
                <c:pt idx="1314">
                  <c:v>0.9848139057380048</c:v>
                </c:pt>
                <c:pt idx="1315">
                  <c:v>0.984849801493783</c:v>
                </c:pt>
                <c:pt idx="1316">
                  <c:v>0.9848856164328955</c:v>
                </c:pt>
                <c:pt idx="1317">
                  <c:v>0.9849214257336361</c:v>
                </c:pt>
                <c:pt idx="1318">
                  <c:v>0.9849570715215877</c:v>
                </c:pt>
                <c:pt idx="1319">
                  <c:v>0.9849925669529521</c:v>
                </c:pt>
                <c:pt idx="1320">
                  <c:v>0.9850280586254018</c:v>
                </c:pt>
                <c:pt idx="1321">
                  <c:v>0.9850634751195577</c:v>
                </c:pt>
                <c:pt idx="1322">
                  <c:v>0.985098750654413</c:v>
                </c:pt>
                <c:pt idx="1323">
                  <c:v>0.9851339190601998</c:v>
                </c:pt>
                <c:pt idx="1324">
                  <c:v>0.9851690479973824</c:v>
                </c:pt>
                <c:pt idx="1325">
                  <c:v>0.9852041412248755</c:v>
                </c:pt>
                <c:pt idx="1326">
                  <c:v>0.9852388303690401</c:v>
                </c:pt>
                <c:pt idx="1327">
                  <c:v>0.985273444334911</c:v>
                </c:pt>
                <c:pt idx="1328">
                  <c:v>0.9853080526624098</c:v>
                </c:pt>
                <c:pt idx="1329">
                  <c:v>0.9853768915464818</c:v>
                </c:pt>
                <c:pt idx="1330">
                  <c:v>0.9854108928092591</c:v>
                </c:pt>
                <c:pt idx="1331">
                  <c:v>0.9854447249208756</c:v>
                </c:pt>
                <c:pt idx="1332">
                  <c:v>0.9854785419968334</c:v>
                </c:pt>
                <c:pt idx="1333">
                  <c:v>0.9855121354173675</c:v>
                </c:pt>
                <c:pt idx="1334">
                  <c:v>0.9855456912487547</c:v>
                </c:pt>
                <c:pt idx="1335">
                  <c:v>0.9855792452006845</c:v>
                </c:pt>
                <c:pt idx="1336">
                  <c:v>0.9856127296126928</c:v>
                </c:pt>
                <c:pt idx="1337">
                  <c:v>0.9856461971095849</c:v>
                </c:pt>
                <c:pt idx="1338">
                  <c:v>0.985679427794852</c:v>
                </c:pt>
                <c:pt idx="1339">
                  <c:v>0.9857125194002757</c:v>
                </c:pt>
                <c:pt idx="1340">
                  <c:v>0.9857455471041497</c:v>
                </c:pt>
                <c:pt idx="1341">
                  <c:v>0.9857784413665526</c:v>
                </c:pt>
                <c:pt idx="1342">
                  <c:v>0.9858113055576379</c:v>
                </c:pt>
                <c:pt idx="1343">
                  <c:v>0.9858440926909722</c:v>
                </c:pt>
                <c:pt idx="1344">
                  <c:v>0.985876861029733</c:v>
                </c:pt>
                <c:pt idx="1345">
                  <c:v>0.9859094019541554</c:v>
                </c:pt>
                <c:pt idx="1346">
                  <c:v>0.985941882735943</c:v>
                </c:pt>
                <c:pt idx="1347">
                  <c:v>0.985974284580522</c:v>
                </c:pt>
                <c:pt idx="1348">
                  <c:v>0.9860065736576606</c:v>
                </c:pt>
                <c:pt idx="1349">
                  <c:v>0.9860388044716216</c:v>
                </c:pt>
                <c:pt idx="1350">
                  <c:v>0.9860710240088385</c:v>
                </c:pt>
                <c:pt idx="1351">
                  <c:v>0.9861032416665981</c:v>
                </c:pt>
                <c:pt idx="1352">
                  <c:v>0.9861354236146682</c:v>
                </c:pt>
                <c:pt idx="1353">
                  <c:v>0.986167549179018</c:v>
                </c:pt>
                <c:pt idx="1354">
                  <c:v>0.9861995676142994</c:v>
                </c:pt>
                <c:pt idx="1355">
                  <c:v>0.9862315315453178</c:v>
                </c:pt>
                <c:pt idx="1356">
                  <c:v>0.9862634372131587</c:v>
                </c:pt>
                <c:pt idx="1357">
                  <c:v>0.986295169970924</c:v>
                </c:pt>
                <c:pt idx="1358">
                  <c:v>0.986326829429853</c:v>
                </c:pt>
                <c:pt idx="1359">
                  <c:v>0.9863583761213414</c:v>
                </c:pt>
                <c:pt idx="1360">
                  <c:v>0.9863898645496522</c:v>
                </c:pt>
                <c:pt idx="1361">
                  <c:v>0.9864212533667238</c:v>
                </c:pt>
                <c:pt idx="1362">
                  <c:v>0.9864521422481425</c:v>
                </c:pt>
                <c:pt idx="1363">
                  <c:v>0.9864828262687109</c:v>
                </c:pt>
                <c:pt idx="1364">
                  <c:v>0.9865134012807534</c:v>
                </c:pt>
                <c:pt idx="1365">
                  <c:v>0.9865436962536519</c:v>
                </c:pt>
                <c:pt idx="1366">
                  <c:v>0.9865738916153113</c:v>
                </c:pt>
                <c:pt idx="1367">
                  <c:v>0.9866040700618546</c:v>
                </c:pt>
                <c:pt idx="1368">
                  <c:v>0.9866342297138245</c:v>
                </c:pt>
                <c:pt idx="1369">
                  <c:v>0.986664227732463</c:v>
                </c:pt>
                <c:pt idx="1370">
                  <c:v>0.9866941129836609</c:v>
                </c:pt>
                <c:pt idx="1371">
                  <c:v>0.986723943730596</c:v>
                </c:pt>
                <c:pt idx="1372">
                  <c:v>0.9867537350089268</c:v>
                </c:pt>
                <c:pt idx="1373">
                  <c:v>0.9867834473500493</c:v>
                </c:pt>
                <c:pt idx="1374">
                  <c:v>0.9868130130934991</c:v>
                </c:pt>
                <c:pt idx="1375">
                  <c:v>0.9868425487656314</c:v>
                </c:pt>
                <c:pt idx="1376">
                  <c:v>0.9868720825583064</c:v>
                </c:pt>
                <c:pt idx="1377">
                  <c:v>0.9869015900385786</c:v>
                </c:pt>
                <c:pt idx="1378">
                  <c:v>0.9869310542913319</c:v>
                </c:pt>
                <c:pt idx="1379">
                  <c:v>0.9869894753433561</c:v>
                </c:pt>
                <c:pt idx="1380">
                  <c:v>0.9870185167182074</c:v>
                </c:pt>
                <c:pt idx="1381">
                  <c:v>0.9870474979504238</c:v>
                </c:pt>
                <c:pt idx="1382">
                  <c:v>0.9870763607768276</c:v>
                </c:pt>
                <c:pt idx="1383">
                  <c:v>0.987105155942767</c:v>
                </c:pt>
                <c:pt idx="1384">
                  <c:v>0.9871339191579317</c:v>
                </c:pt>
                <c:pt idx="1385">
                  <c:v>0.9871625132219356</c:v>
                </c:pt>
                <c:pt idx="1386">
                  <c:v>0.9871909907595843</c:v>
                </c:pt>
                <c:pt idx="1387">
                  <c:v>0.9872193780832805</c:v>
                </c:pt>
                <c:pt idx="1388">
                  <c:v>0.9872759365930787</c:v>
                </c:pt>
                <c:pt idx="1389">
                  <c:v>0.9873041246942966</c:v>
                </c:pt>
                <c:pt idx="1390">
                  <c:v>0.9873321210908657</c:v>
                </c:pt>
                <c:pt idx="1391">
                  <c:v>0.9873600498269705</c:v>
                </c:pt>
                <c:pt idx="1392">
                  <c:v>0.9873879616479592</c:v>
                </c:pt>
                <c:pt idx="1393">
                  <c:v>0.9874157888933675</c:v>
                </c:pt>
                <c:pt idx="1394">
                  <c:v>0.9874435973442023</c:v>
                </c:pt>
                <c:pt idx="1395">
                  <c:v>0.9874713212194567</c:v>
                </c:pt>
                <c:pt idx="1396">
                  <c:v>0.9874990187823084</c:v>
                </c:pt>
                <c:pt idx="1397">
                  <c:v>0.9875266806354706</c:v>
                </c:pt>
                <c:pt idx="1398">
                  <c:v>0.9875542259622775</c:v>
                </c:pt>
                <c:pt idx="1399">
                  <c:v>0.9875817656507124</c:v>
                </c:pt>
                <c:pt idx="1400">
                  <c:v>0.9876092508348844</c:v>
                </c:pt>
                <c:pt idx="1401">
                  <c:v>0.9876367040682815</c:v>
                </c:pt>
                <c:pt idx="1402">
                  <c:v>0.9876641291098186</c:v>
                </c:pt>
                <c:pt idx="1403">
                  <c:v>0.9876913624467067</c:v>
                </c:pt>
                <c:pt idx="1404">
                  <c:v>0.9877185036901851</c:v>
                </c:pt>
                <c:pt idx="1405">
                  <c:v>0.9877455716348271</c:v>
                </c:pt>
                <c:pt idx="1406">
                  <c:v>0.9877726264232678</c:v>
                </c:pt>
                <c:pt idx="1407">
                  <c:v>0.9877996492609337</c:v>
                </c:pt>
                <c:pt idx="1408">
                  <c:v>0.9878265668489883</c:v>
                </c:pt>
                <c:pt idx="1409">
                  <c:v>0.9878533679106877</c:v>
                </c:pt>
                <c:pt idx="1410">
                  <c:v>0.9878801107092096</c:v>
                </c:pt>
                <c:pt idx="1411">
                  <c:v>0.9879068290747859</c:v>
                </c:pt>
                <c:pt idx="1412">
                  <c:v>0.9879335098512154</c:v>
                </c:pt>
                <c:pt idx="1413">
                  <c:v>0.987960124846638</c:v>
                </c:pt>
                <c:pt idx="1414">
                  <c:v>0.9879866815788829</c:v>
                </c:pt>
                <c:pt idx="1415">
                  <c:v>0.9880132082398104</c:v>
                </c:pt>
                <c:pt idx="1416">
                  <c:v>0.9880397292623658</c:v>
                </c:pt>
                <c:pt idx="1417">
                  <c:v>0.9880662220930612</c:v>
                </c:pt>
                <c:pt idx="1418">
                  <c:v>0.9880926810935243</c:v>
                </c:pt>
                <c:pt idx="1419">
                  <c:v>0.9881190649156938</c:v>
                </c:pt>
                <c:pt idx="1420">
                  <c:v>0.9881454130281737</c:v>
                </c:pt>
                <c:pt idx="1421">
                  <c:v>0.9881717423460803</c:v>
                </c:pt>
                <c:pt idx="1422">
                  <c:v>0.9881980491104987</c:v>
                </c:pt>
                <c:pt idx="1423">
                  <c:v>0.9882241021481759</c:v>
                </c:pt>
                <c:pt idx="1424">
                  <c:v>0.9882501420296518</c:v>
                </c:pt>
                <c:pt idx="1425">
                  <c:v>0.9882761480808955</c:v>
                </c:pt>
                <c:pt idx="1426">
                  <c:v>0.9883021522526818</c:v>
                </c:pt>
                <c:pt idx="1427">
                  <c:v>0.988328045536485</c:v>
                </c:pt>
                <c:pt idx="1428">
                  <c:v>0.9883538260528476</c:v>
                </c:pt>
                <c:pt idx="1429">
                  <c:v>0.9883795633416914</c:v>
                </c:pt>
                <c:pt idx="1430">
                  <c:v>0.9883795633416914</c:v>
                </c:pt>
                <c:pt idx="1431">
                  <c:v>0.9884052949921631</c:v>
                </c:pt>
                <c:pt idx="1432">
                  <c:v>0.9884308762860475</c:v>
                </c:pt>
                <c:pt idx="1433">
                  <c:v>0.9884564500621025</c:v>
                </c:pt>
                <c:pt idx="1434">
                  <c:v>0.9884819674544372</c:v>
                </c:pt>
                <c:pt idx="1435">
                  <c:v>0.9885074698111131</c:v>
                </c:pt>
                <c:pt idx="1436">
                  <c:v>0.9885329627705024</c:v>
                </c:pt>
                <c:pt idx="1437">
                  <c:v>0.9885583373240792</c:v>
                </c:pt>
                <c:pt idx="1438">
                  <c:v>0.988583646096649</c:v>
                </c:pt>
                <c:pt idx="1439">
                  <c:v>0.988608951110304</c:v>
                </c:pt>
                <c:pt idx="1440">
                  <c:v>0.988634167789464</c:v>
                </c:pt>
                <c:pt idx="1441">
                  <c:v>0.9886593825891666</c:v>
                </c:pt>
                <c:pt idx="1442">
                  <c:v>0.9886845955094119</c:v>
                </c:pt>
                <c:pt idx="1443">
                  <c:v>0.9887098009118278</c:v>
                </c:pt>
                <c:pt idx="1444">
                  <c:v>0.9887349800018409</c:v>
                </c:pt>
                <c:pt idx="1445">
                  <c:v>0.9887349800018409</c:v>
                </c:pt>
                <c:pt idx="1446">
                  <c:v>0.9887600030968946</c:v>
                </c:pt>
                <c:pt idx="1447">
                  <c:v>0.9887850149152043</c:v>
                </c:pt>
                <c:pt idx="1448">
                  <c:v>0.9888348750390349</c:v>
                </c:pt>
                <c:pt idx="1449">
                  <c:v>0.9888596293716887</c:v>
                </c:pt>
                <c:pt idx="1450">
                  <c:v>0.9888843104055062</c:v>
                </c:pt>
                <c:pt idx="1451">
                  <c:v>0.9889089594885488</c:v>
                </c:pt>
                <c:pt idx="1452">
                  <c:v>0.9889334807684922</c:v>
                </c:pt>
                <c:pt idx="1453">
                  <c:v>0.988957960700374</c:v>
                </c:pt>
                <c:pt idx="1454">
                  <c:v>0.9889823598155901</c:v>
                </c:pt>
                <c:pt idx="1455">
                  <c:v>0.989006702547086</c:v>
                </c:pt>
                <c:pt idx="1456">
                  <c:v>0.9890310133278071</c:v>
                </c:pt>
                <c:pt idx="1457">
                  <c:v>0.9890553071934121</c:v>
                </c:pt>
                <c:pt idx="1458">
                  <c:v>0.9890795371574674</c:v>
                </c:pt>
                <c:pt idx="1459">
                  <c:v>0.9891036111265634</c:v>
                </c:pt>
                <c:pt idx="1460">
                  <c:v>0.9891275366185294</c:v>
                </c:pt>
                <c:pt idx="1461">
                  <c:v>0.9891514282802631</c:v>
                </c:pt>
                <c:pt idx="1462">
                  <c:v>0.9891752654377339</c:v>
                </c:pt>
                <c:pt idx="1463">
                  <c:v>0.9891990706444299</c:v>
                </c:pt>
                <c:pt idx="1464">
                  <c:v>0.9892228608154672</c:v>
                </c:pt>
                <c:pt idx="1465">
                  <c:v>0.9892466284330164</c:v>
                </c:pt>
                <c:pt idx="1466">
                  <c:v>0.9892703810149068</c:v>
                </c:pt>
                <c:pt idx="1467">
                  <c:v>0.9892941072843945</c:v>
                </c:pt>
                <c:pt idx="1468">
                  <c:v>0.989317805362022</c:v>
                </c:pt>
                <c:pt idx="1469">
                  <c:v>0.9893415015601921</c:v>
                </c:pt>
                <c:pt idx="1470">
                  <c:v>0.9893651977583622</c:v>
                </c:pt>
                <c:pt idx="1471">
                  <c:v>0.9893888845592457</c:v>
                </c:pt>
                <c:pt idx="1472">
                  <c:v>0.9894125525655557</c:v>
                </c:pt>
                <c:pt idx="1473">
                  <c:v>0.989436211174579</c:v>
                </c:pt>
                <c:pt idx="1474">
                  <c:v>0.9894597513777897</c:v>
                </c:pt>
                <c:pt idx="1475">
                  <c:v>0.9894832201616215</c:v>
                </c:pt>
                <c:pt idx="1476">
                  <c:v>0.9895066757892519</c:v>
                </c:pt>
                <c:pt idx="1477">
                  <c:v>0.9895299603862641</c:v>
                </c:pt>
                <c:pt idx="1478">
                  <c:v>0.9895530889883168</c:v>
                </c:pt>
                <c:pt idx="1479">
                  <c:v>0.9895761969163389</c:v>
                </c:pt>
                <c:pt idx="1480">
                  <c:v>0.9895992841703302</c:v>
                </c:pt>
                <c:pt idx="1481">
                  <c:v>0.9896223507502907</c:v>
                </c:pt>
                <c:pt idx="1482">
                  <c:v>0.9896454098124219</c:v>
                </c:pt>
                <c:pt idx="1483">
                  <c:v>0.989668451959437</c:v>
                </c:pt>
                <c:pt idx="1484">
                  <c:v>0.9896913982541277</c:v>
                </c:pt>
                <c:pt idx="1485">
                  <c:v>0.9897143163569582</c:v>
                </c:pt>
                <c:pt idx="1486">
                  <c:v>0.9897372307008739</c:v>
                </c:pt>
                <c:pt idx="1487">
                  <c:v>0.9897600736254107</c:v>
                </c:pt>
                <c:pt idx="1488">
                  <c:v>0.989782792505763</c:v>
                </c:pt>
                <c:pt idx="1489">
                  <c:v>0.9898054869531697</c:v>
                </c:pt>
                <c:pt idx="1490">
                  <c:v>0.989828162606003</c:v>
                </c:pt>
                <c:pt idx="1491">
                  <c:v>0.9898508081875189</c:v>
                </c:pt>
                <c:pt idx="1492">
                  <c:v>0.9898734500101202</c:v>
                </c:pt>
                <c:pt idx="1493">
                  <c:v>0.9898959565117927</c:v>
                </c:pt>
                <c:pt idx="1494">
                  <c:v>0.9899183314514514</c:v>
                </c:pt>
                <c:pt idx="1495">
                  <c:v>0.9899406594046765</c:v>
                </c:pt>
                <c:pt idx="1496">
                  <c:v>0.9899629290947239</c:v>
                </c:pt>
                <c:pt idx="1497">
                  <c:v>0.9899851480394232</c:v>
                </c:pt>
                <c:pt idx="1498">
                  <c:v>0.9900073575868357</c:v>
                </c:pt>
                <c:pt idx="1499">
                  <c:v>0.9900294637640944</c:v>
                </c:pt>
                <c:pt idx="1500">
                  <c:v>0.9900514289820525</c:v>
                </c:pt>
                <c:pt idx="1501">
                  <c:v>0.9900733021066007</c:v>
                </c:pt>
                <c:pt idx="1502">
                  <c:v>0.9900951564365755</c:v>
                </c:pt>
                <c:pt idx="1503">
                  <c:v>0.9901169506239154</c:v>
                </c:pt>
                <c:pt idx="1504">
                  <c:v>0.9901386752713336</c:v>
                </c:pt>
                <c:pt idx="1505">
                  <c:v>0.9901603435350316</c:v>
                </c:pt>
                <c:pt idx="1506">
                  <c:v>0.9901819798479548</c:v>
                </c:pt>
                <c:pt idx="1507">
                  <c:v>0.9902035353442121</c:v>
                </c:pt>
                <c:pt idx="1508">
                  <c:v>0.9902250908404695</c:v>
                </c:pt>
                <c:pt idx="1509">
                  <c:v>0.9902466181448668</c:v>
                </c:pt>
                <c:pt idx="1510">
                  <c:v>0.9902681210163187</c:v>
                </c:pt>
                <c:pt idx="1511">
                  <c:v>0.9902896238877705</c:v>
                </c:pt>
                <c:pt idx="1512">
                  <c:v>0.9903110835317035</c:v>
                </c:pt>
                <c:pt idx="1513">
                  <c:v>0.9903325318988924</c:v>
                </c:pt>
                <c:pt idx="1514">
                  <c:v>0.9903539426769344</c:v>
                </c:pt>
                <c:pt idx="1515">
                  <c:v>0.9903752970712563</c:v>
                </c:pt>
                <c:pt idx="1516">
                  <c:v>0.9903966307915473</c:v>
                </c:pt>
                <c:pt idx="1517">
                  <c:v>0.9904179306816061</c:v>
                </c:pt>
                <c:pt idx="1518">
                  <c:v>0.9904391948619755</c:v>
                </c:pt>
                <c:pt idx="1519">
                  <c:v>0.9904604176942834</c:v>
                </c:pt>
                <c:pt idx="1520">
                  <c:v>0.9904816405265913</c:v>
                </c:pt>
                <c:pt idx="1521">
                  <c:v>0.9905237196970254</c:v>
                </c:pt>
                <c:pt idx="1522">
                  <c:v>0.9905446850436773</c:v>
                </c:pt>
                <c:pt idx="1523">
                  <c:v>0.9905656466314147</c:v>
                </c:pt>
                <c:pt idx="1524">
                  <c:v>0.9905865950629505</c:v>
                </c:pt>
                <c:pt idx="1525">
                  <c:v>0.9906073912584418</c:v>
                </c:pt>
                <c:pt idx="1526">
                  <c:v>0.9906281404674994</c:v>
                </c:pt>
                <c:pt idx="1527">
                  <c:v>0.9906487844269458</c:v>
                </c:pt>
                <c:pt idx="1528">
                  <c:v>0.9906693701232147</c:v>
                </c:pt>
                <c:pt idx="1529">
                  <c:v>0.9906899295070807</c:v>
                </c:pt>
                <c:pt idx="1530">
                  <c:v>0.9907104494223425</c:v>
                </c:pt>
                <c:pt idx="1531">
                  <c:v>0.9907309279895429</c:v>
                </c:pt>
                <c:pt idx="1532">
                  <c:v>0.990751361449767</c:v>
                </c:pt>
                <c:pt idx="1533">
                  <c:v>0.9907717855127045</c:v>
                </c:pt>
                <c:pt idx="1534">
                  <c:v>0.9907922076961846</c:v>
                </c:pt>
                <c:pt idx="1535">
                  <c:v>0.9908125904110605</c:v>
                </c:pt>
                <c:pt idx="1536">
                  <c:v>0.990832954331363</c:v>
                </c:pt>
                <c:pt idx="1537">
                  <c:v>0.99085329381872</c:v>
                </c:pt>
                <c:pt idx="1538">
                  <c:v>0.9908734096506533</c:v>
                </c:pt>
                <c:pt idx="1539">
                  <c:v>0.9908933638492552</c:v>
                </c:pt>
                <c:pt idx="1540">
                  <c:v>0.9909132710614236</c:v>
                </c:pt>
                <c:pt idx="1541">
                  <c:v>0.9909331312871583</c:v>
                </c:pt>
                <c:pt idx="1542">
                  <c:v>0.9909529576826609</c:v>
                </c:pt>
                <c:pt idx="1543">
                  <c:v>0.990972748368474</c:v>
                </c:pt>
                <c:pt idx="1544">
                  <c:v>0.9909925089829696</c:v>
                </c:pt>
                <c:pt idx="1545">
                  <c:v>0.9910122526823492</c:v>
                </c:pt>
                <c:pt idx="1546">
                  <c:v>0.9910319550336671</c:v>
                </c:pt>
                <c:pt idx="1547">
                  <c:v>0.9910516310725824</c:v>
                </c:pt>
                <c:pt idx="1548">
                  <c:v>0.9910712807990949</c:v>
                </c:pt>
                <c:pt idx="1549">
                  <c:v>0.9910908966953752</c:v>
                </c:pt>
                <c:pt idx="1550">
                  <c:v>0.9911104750025087</c:v>
                </c:pt>
                <c:pt idx="1551">
                  <c:v>0.9911300269972394</c:v>
                </c:pt>
                <c:pt idx="1552">
                  <c:v>0.9911495771125127</c:v>
                </c:pt>
                <c:pt idx="1553">
                  <c:v>0.9911690821208098</c:v>
                </c:pt>
                <c:pt idx="1554">
                  <c:v>0.9911885345043013</c:v>
                </c:pt>
                <c:pt idx="1555">
                  <c:v>0.9912078684819803</c:v>
                </c:pt>
                <c:pt idx="1556">
                  <c:v>0.9912271799061712</c:v>
                </c:pt>
                <c:pt idx="1557">
                  <c:v>0.9912656749514536</c:v>
                </c:pt>
                <c:pt idx="1558">
                  <c:v>0.9912848698492892</c:v>
                </c:pt>
                <c:pt idx="1559">
                  <c:v>0.9913040628676675</c:v>
                </c:pt>
                <c:pt idx="1560">
                  <c:v>0.991322966449615</c:v>
                </c:pt>
                <c:pt idx="1561">
                  <c:v>0.9913418700315626</c:v>
                </c:pt>
                <c:pt idx="1562">
                  <c:v>0.9913607585778514</c:v>
                </c:pt>
                <c:pt idx="1563">
                  <c:v>0.9913796076555361</c:v>
                </c:pt>
                <c:pt idx="1564">
                  <c:v>0.9913984492153914</c:v>
                </c:pt>
                <c:pt idx="1565">
                  <c:v>0.9914172607039293</c:v>
                </c:pt>
                <c:pt idx="1566">
                  <c:v>0.9914360364827777</c:v>
                </c:pt>
                <c:pt idx="1567">
                  <c:v>0.9914547596368204</c:v>
                </c:pt>
                <c:pt idx="1568">
                  <c:v>0.9914734132509415</c:v>
                </c:pt>
                <c:pt idx="1569">
                  <c:v>0.9914920236375437</c:v>
                </c:pt>
                <c:pt idx="1570">
                  <c:v>0.9915106189884872</c:v>
                </c:pt>
                <c:pt idx="1571">
                  <c:v>0.9915292087010588</c:v>
                </c:pt>
                <c:pt idx="1572">
                  <c:v>0.9915477908958008</c:v>
                </c:pt>
                <c:pt idx="1573">
                  <c:v>0.9915663542959695</c:v>
                </c:pt>
                <c:pt idx="1574">
                  <c:v>0.9915848425178445</c:v>
                </c:pt>
                <c:pt idx="1575">
                  <c:v>0.9916032762354566</c:v>
                </c:pt>
                <c:pt idx="1576">
                  <c:v>0.9916216855201232</c:v>
                </c:pt>
                <c:pt idx="1577">
                  <c:v>0.9916400102292094</c:v>
                </c:pt>
                <c:pt idx="1578">
                  <c:v>0.9916583048669781</c:v>
                </c:pt>
                <c:pt idx="1579">
                  <c:v>0.9916765619156</c:v>
                </c:pt>
                <c:pt idx="1580">
                  <c:v>0.9916947005584094</c:v>
                </c:pt>
                <c:pt idx="1581">
                  <c:v>0.991712747107809</c:v>
                </c:pt>
                <c:pt idx="1582">
                  <c:v>0.9917307429118604</c:v>
                </c:pt>
                <c:pt idx="1583">
                  <c:v>0.991748729318625</c:v>
                </c:pt>
                <c:pt idx="1584">
                  <c:v>0.9917667157253897</c:v>
                </c:pt>
                <c:pt idx="1585">
                  <c:v>0.9918025701331064</c:v>
                </c:pt>
                <c:pt idx="1586">
                  <c:v>0.9918203986654542</c:v>
                </c:pt>
                <c:pt idx="1587">
                  <c:v>0.99183819336757</c:v>
                </c:pt>
                <c:pt idx="1588">
                  <c:v>0.9918559880696857</c:v>
                </c:pt>
                <c:pt idx="1589">
                  <c:v>0.9918737714950573</c:v>
                </c:pt>
                <c:pt idx="1590">
                  <c:v>0.9918915530409717</c:v>
                </c:pt>
                <c:pt idx="1591">
                  <c:v>0.9919092969977391</c:v>
                </c:pt>
                <c:pt idx="1592">
                  <c:v>0.9919270409545066</c:v>
                </c:pt>
                <c:pt idx="1593">
                  <c:v>0.9919447830318168</c:v>
                </c:pt>
                <c:pt idx="1594">
                  <c:v>0.9919624480513759</c:v>
                </c:pt>
                <c:pt idx="1595">
                  <c:v>0.99198002473644</c:v>
                </c:pt>
                <c:pt idx="1596">
                  <c:v>0.991997584506388</c:v>
                </c:pt>
                <c:pt idx="1597">
                  <c:v>0.9920151273612199</c:v>
                </c:pt>
                <c:pt idx="1598">
                  <c:v>0.9920498766480194</c:v>
                </c:pt>
                <c:pt idx="1599">
                  <c:v>0.9920671300664206</c:v>
                </c:pt>
                <c:pt idx="1600">
                  <c:v>0.9920843571724189</c:v>
                </c:pt>
                <c:pt idx="1601">
                  <c:v>0.992101576760588</c:v>
                </c:pt>
                <c:pt idx="1602">
                  <c:v>0.9921187756747262</c:v>
                </c:pt>
                <c:pt idx="1603">
                  <c:v>0.9921359482764617</c:v>
                </c:pt>
                <c:pt idx="1604">
                  <c:v>0.9921530908068796</c:v>
                </c:pt>
                <c:pt idx="1605">
                  <c:v>0.9921701487617173</c:v>
                </c:pt>
                <c:pt idx="1606">
                  <c:v>0.9921871804041521</c:v>
                </c:pt>
                <c:pt idx="1607">
                  <c:v>0.9922041782163548</c:v>
                </c:pt>
                <c:pt idx="1608">
                  <c:v>0.9922210952118917</c:v>
                </c:pt>
                <c:pt idx="1609">
                  <c:v>0.9922379821361111</c:v>
                </c:pt>
                <c:pt idx="1610">
                  <c:v>0.9922548540246718</c:v>
                </c:pt>
                <c:pt idx="1611">
                  <c:v>0.9922717033597445</c:v>
                </c:pt>
                <c:pt idx="1612">
                  <c:v>0.9922884662397793</c:v>
                </c:pt>
                <c:pt idx="1613">
                  <c:v>0.9923051990484967</c:v>
                </c:pt>
                <c:pt idx="1614">
                  <c:v>0.9923218698351218</c:v>
                </c:pt>
                <c:pt idx="1615">
                  <c:v>0.9923384898763987</c:v>
                </c:pt>
                <c:pt idx="1616">
                  <c:v>0.9923550685696141</c:v>
                </c:pt>
                <c:pt idx="1617">
                  <c:v>0.9923716247093414</c:v>
                </c:pt>
                <c:pt idx="1618">
                  <c:v>0.9923881564161231</c:v>
                </c:pt>
                <c:pt idx="1619">
                  <c:v>0.9924046806050755</c:v>
                </c:pt>
                <c:pt idx="1620">
                  <c:v>0.9924211784816251</c:v>
                </c:pt>
                <c:pt idx="1621">
                  <c:v>0.9924376707198027</c:v>
                </c:pt>
                <c:pt idx="1622">
                  <c:v>0.9924705104779425</c:v>
                </c:pt>
                <c:pt idx="1623">
                  <c:v>0.9924868824308503</c:v>
                </c:pt>
                <c:pt idx="1624">
                  <c:v>0.9925032055178671</c:v>
                </c:pt>
                <c:pt idx="1625">
                  <c:v>0.9925194947746517</c:v>
                </c:pt>
                <c:pt idx="1626">
                  <c:v>0.9925520338196168</c:v>
                </c:pt>
                <c:pt idx="1627">
                  <c:v>0.9925682967639986</c:v>
                </c:pt>
                <c:pt idx="1628">
                  <c:v>0.992584540913807</c:v>
                </c:pt>
                <c:pt idx="1629">
                  <c:v>0.9926007606306699</c:v>
                </c:pt>
                <c:pt idx="1630">
                  <c:v>0.9926169634324168</c:v>
                </c:pt>
                <c:pt idx="1631">
                  <c:v>0.9926331324039316</c:v>
                </c:pt>
                <c:pt idx="1632">
                  <c:v>0.9926492807014156</c:v>
                </c:pt>
                <c:pt idx="1633">
                  <c:v>0.9926652203791345</c:v>
                </c:pt>
                <c:pt idx="1634">
                  <c:v>0.9926811393828228</c:v>
                </c:pt>
                <c:pt idx="1635">
                  <c:v>0.9926970546275963</c:v>
                </c:pt>
                <c:pt idx="1636">
                  <c:v>0.9927129285243083</c:v>
                </c:pt>
                <c:pt idx="1637">
                  <c:v>0.9927287140865252</c:v>
                </c:pt>
                <c:pt idx="1638">
                  <c:v>0.992744488371998</c:v>
                </c:pt>
                <c:pt idx="1639">
                  <c:v>0.9927602476218121</c:v>
                </c:pt>
                <c:pt idx="1640">
                  <c:v>0.9927759335727899</c:v>
                </c:pt>
                <c:pt idx="1641">
                  <c:v>0.9927915725373342</c:v>
                </c:pt>
                <c:pt idx="1642">
                  <c:v>0.9928072077429637</c:v>
                </c:pt>
                <c:pt idx="1643">
                  <c:v>0.9928227602524702</c:v>
                </c:pt>
                <c:pt idx="1644">
                  <c:v>0.99283830336469</c:v>
                </c:pt>
                <c:pt idx="1645">
                  <c:v>0.992853748745128</c:v>
                </c:pt>
                <c:pt idx="1646">
                  <c:v>0.9928691696926205</c:v>
                </c:pt>
                <c:pt idx="1647">
                  <c:v>0.992884579363369</c:v>
                </c:pt>
                <c:pt idx="1648">
                  <c:v>0.9928998931817931</c:v>
                </c:pt>
                <c:pt idx="1649">
                  <c:v>0.9929151731699849</c:v>
                </c:pt>
                <c:pt idx="1650">
                  <c:v>0.9929303930155419</c:v>
                </c:pt>
                <c:pt idx="1651">
                  <c:v>0.9929454775401702</c:v>
                </c:pt>
                <c:pt idx="1652">
                  <c:v>0.9929754304518323</c:v>
                </c:pt>
                <c:pt idx="1653">
                  <c:v>0.9929904003295628</c:v>
                </c:pt>
                <c:pt idx="1654">
                  <c:v>0.9930053608100065</c:v>
                </c:pt>
                <c:pt idx="1655">
                  <c:v>0.9930352310255457</c:v>
                </c:pt>
                <c:pt idx="1656">
                  <c:v>0.9930501238455252</c:v>
                </c:pt>
                <c:pt idx="1657">
                  <c:v>0.9930798098742448</c:v>
                </c:pt>
                <c:pt idx="1658">
                  <c:v>0.9930946312748452</c:v>
                </c:pt>
                <c:pt idx="1659">
                  <c:v>0.9931094413987016</c:v>
                </c:pt>
                <c:pt idx="1660">
                  <c:v>0.9931242158128685</c:v>
                </c:pt>
                <c:pt idx="1661">
                  <c:v>0.9931389601557179</c:v>
                </c:pt>
                <c:pt idx="1662">
                  <c:v>0.9931536499943043</c:v>
                </c:pt>
                <c:pt idx="1663">
                  <c:v>0.9931682815697132</c:v>
                </c:pt>
                <c:pt idx="1664">
                  <c:v>0.9931829056272926</c:v>
                </c:pt>
                <c:pt idx="1665">
                  <c:v>0.9931974996135546</c:v>
                </c:pt>
                <c:pt idx="1666">
                  <c:v>0.9932120334571817</c:v>
                </c:pt>
                <c:pt idx="1667">
                  <c:v>0.9932265503856926</c:v>
                </c:pt>
                <c:pt idx="1668">
                  <c:v>0.9932410071715686</c:v>
                </c:pt>
                <c:pt idx="1669">
                  <c:v>0.9932554620779873</c:v>
                </c:pt>
                <c:pt idx="1670">
                  <c:v>0.9932698361677403</c:v>
                </c:pt>
                <c:pt idx="1671">
                  <c:v>0.9932841933423773</c:v>
                </c:pt>
                <c:pt idx="1672">
                  <c:v>0.9932985204456967</c:v>
                </c:pt>
                <c:pt idx="1673">
                  <c:v>0.9933128231160706</c:v>
                </c:pt>
                <c:pt idx="1674">
                  <c:v>0.9933271239069872</c:v>
                </c:pt>
                <c:pt idx="1675">
                  <c:v>0.9933414190595318</c:v>
                </c:pt>
                <c:pt idx="1676">
                  <c:v>0.9933556878996735</c:v>
                </c:pt>
                <c:pt idx="1677">
                  <c:v>0.9933699078739244</c:v>
                </c:pt>
                <c:pt idx="1678">
                  <c:v>0.9933840752233698</c:v>
                </c:pt>
                <c:pt idx="1679">
                  <c:v>0.9933982425728152</c:v>
                </c:pt>
                <c:pt idx="1680">
                  <c:v>0.993412368574199</c:v>
                </c:pt>
                <c:pt idx="1681">
                  <c:v>0.9934263742903129</c:v>
                </c:pt>
                <c:pt idx="1682">
                  <c:v>0.9934403762475121</c:v>
                </c:pt>
                <c:pt idx="1683">
                  <c:v>0.9934543650485099</c:v>
                </c:pt>
                <c:pt idx="1684">
                  <c:v>0.9934683143809035</c:v>
                </c:pt>
                <c:pt idx="1685">
                  <c:v>0.9934821998117476</c:v>
                </c:pt>
                <c:pt idx="1686">
                  <c:v>0.9934960608096461</c:v>
                </c:pt>
                <c:pt idx="1687">
                  <c:v>0.9935098221963056</c:v>
                </c:pt>
                <c:pt idx="1688">
                  <c:v>0.9935235741856783</c:v>
                </c:pt>
                <c:pt idx="1689">
                  <c:v>0.9935373224161363</c:v>
                </c:pt>
                <c:pt idx="1690">
                  <c:v>0.9935510274190755</c:v>
                </c:pt>
                <c:pt idx="1691">
                  <c:v>0.993564651605349</c:v>
                </c:pt>
                <c:pt idx="1692">
                  <c:v>0.9935782663943358</c:v>
                </c:pt>
                <c:pt idx="1693">
                  <c:v>0.9935918661476638</c:v>
                </c:pt>
                <c:pt idx="1694">
                  <c:v>0.9936054640215345</c:v>
                </c:pt>
                <c:pt idx="1695">
                  <c:v>0.9936190243062583</c:v>
                </c:pt>
                <c:pt idx="1696">
                  <c:v>0.99363257895261</c:v>
                </c:pt>
                <c:pt idx="1697">
                  <c:v>0.9936461335989618</c:v>
                </c:pt>
                <c:pt idx="1698">
                  <c:v>0.9936596638123681</c:v>
                </c:pt>
                <c:pt idx="1699">
                  <c:v>0.993673147039341</c:v>
                </c:pt>
                <c:pt idx="1700">
                  <c:v>0.993686598315539</c:v>
                </c:pt>
                <c:pt idx="1701">
                  <c:v>0.9937000157615048</c:v>
                </c:pt>
                <c:pt idx="1702">
                  <c:v>0.9937268093053748</c:v>
                </c:pt>
                <c:pt idx="1703">
                  <c:v>0.993740168488163</c:v>
                </c:pt>
                <c:pt idx="1704">
                  <c:v>0.9937535145147498</c:v>
                </c:pt>
                <c:pt idx="1705">
                  <c:v>0.9937668455056778</c:v>
                </c:pt>
                <c:pt idx="1706">
                  <c:v>0.9937801652198619</c:v>
                </c:pt>
                <c:pt idx="1707">
                  <c:v>0.9937934511038138</c:v>
                </c:pt>
                <c:pt idx="1708">
                  <c:v>0.9938066918807894</c:v>
                </c:pt>
                <c:pt idx="1709">
                  <c:v>0.9938198593589287</c:v>
                </c:pt>
                <c:pt idx="1710">
                  <c:v>0.9938330193192386</c:v>
                </c:pt>
                <c:pt idx="1711">
                  <c:v>0.9938461717617192</c:v>
                </c:pt>
                <c:pt idx="1712">
                  <c:v>0.993859314806913</c:v>
                </c:pt>
                <c:pt idx="1713">
                  <c:v>0.9938724371780762</c:v>
                </c:pt>
                <c:pt idx="1714">
                  <c:v>0.9938855557903246</c:v>
                </c:pt>
                <c:pt idx="1715">
                  <c:v>0.9938986574874569</c:v>
                </c:pt>
                <c:pt idx="1716">
                  <c:v>0.9939117385105585</c:v>
                </c:pt>
                <c:pt idx="1717">
                  <c:v>0.9939247969801719</c:v>
                </c:pt>
                <c:pt idx="1718">
                  <c:v>0.9939378554497853</c:v>
                </c:pt>
                <c:pt idx="1719">
                  <c:v>0.993950893245368</c:v>
                </c:pt>
                <c:pt idx="1720">
                  <c:v>0.9939639197642066</c:v>
                </c:pt>
                <c:pt idx="1721">
                  <c:v>0.9939769387652159</c:v>
                </c:pt>
                <c:pt idx="1722">
                  <c:v>0.9940028997094833</c:v>
                </c:pt>
                <c:pt idx="1723">
                  <c:v>0.9940158529294856</c:v>
                </c:pt>
                <c:pt idx="1724">
                  <c:v>0.9940288023905731</c:v>
                </c:pt>
                <c:pt idx="1725">
                  <c:v>0.9940416616377082</c:v>
                </c:pt>
                <c:pt idx="1726">
                  <c:v>0.9940545058491846</c:v>
                </c:pt>
                <c:pt idx="1727">
                  <c:v>0.994067327507173</c:v>
                </c:pt>
                <c:pt idx="1728">
                  <c:v>0.9940801341295026</c:v>
                </c:pt>
                <c:pt idx="1729">
                  <c:v>0.9940929200778014</c:v>
                </c:pt>
                <c:pt idx="1730">
                  <c:v>0.9941056327272638</c:v>
                </c:pt>
                <c:pt idx="1731">
                  <c:v>0.9941183284616102</c:v>
                </c:pt>
                <c:pt idx="1732">
                  <c:v>0.9941310072808405</c:v>
                </c:pt>
                <c:pt idx="1733">
                  <c:v>0.9941436804616988</c:v>
                </c:pt>
                <c:pt idx="1734">
                  <c:v>0.9941563480041851</c:v>
                </c:pt>
                <c:pt idx="1735">
                  <c:v>0.9941689817164392</c:v>
                </c:pt>
                <c:pt idx="1736">
                  <c:v>0.9941815966341199</c:v>
                </c:pt>
                <c:pt idx="1737">
                  <c:v>0.9941941739626537</c:v>
                </c:pt>
                <c:pt idx="1738">
                  <c:v>0.9942067230993274</c:v>
                </c:pt>
                <c:pt idx="1739">
                  <c:v>0.9942192440441411</c:v>
                </c:pt>
                <c:pt idx="1740">
                  <c:v>0.99423176123004</c:v>
                </c:pt>
                <c:pt idx="1741">
                  <c:v>0.9942442652597375</c:v>
                </c:pt>
                <c:pt idx="1742">
                  <c:v>0.9942567674099777</c:v>
                </c:pt>
                <c:pt idx="1743">
                  <c:v>0.9942692112970403</c:v>
                </c:pt>
                <c:pt idx="1744">
                  <c:v>0.9942816138360413</c:v>
                </c:pt>
                <c:pt idx="1745">
                  <c:v>0.9942939863037249</c:v>
                </c:pt>
                <c:pt idx="1746">
                  <c:v>0.9943063437357497</c:v>
                </c:pt>
                <c:pt idx="1747">
                  <c:v>0.9943186804937437</c:v>
                </c:pt>
                <c:pt idx="1748">
                  <c:v>0.9943309759036763</c:v>
                </c:pt>
                <c:pt idx="1749">
                  <c:v>0.9943432694341514</c:v>
                </c:pt>
                <c:pt idx="1750">
                  <c:v>0.9943555629646266</c:v>
                </c:pt>
                <c:pt idx="1751">
                  <c:v>0.9943678527361871</c:v>
                </c:pt>
                <c:pt idx="1752">
                  <c:v>0.9943801387488329</c:v>
                </c:pt>
                <c:pt idx="1753">
                  <c:v>0.9943801387488329</c:v>
                </c:pt>
                <c:pt idx="1754">
                  <c:v>0.9943924210025641</c:v>
                </c:pt>
                <c:pt idx="1755">
                  <c:v>0.994404663787691</c:v>
                </c:pt>
                <c:pt idx="1756">
                  <c:v>0.9944168952960739</c:v>
                </c:pt>
                <c:pt idx="1757">
                  <c:v>0.9944291174071701</c:v>
                </c:pt>
                <c:pt idx="1758">
                  <c:v>0.9944412981702048</c:v>
                </c:pt>
                <c:pt idx="1759">
                  <c:v>0.9944656296249565</c:v>
                </c:pt>
                <c:pt idx="1760">
                  <c:v>0.994477754004271</c:v>
                </c:pt>
                <c:pt idx="1761">
                  <c:v>0.9944898577095546</c:v>
                </c:pt>
                <c:pt idx="1762">
                  <c:v>0.9945019332229781</c:v>
                </c:pt>
                <c:pt idx="1763">
                  <c:v>0.9945140049774869</c:v>
                </c:pt>
                <c:pt idx="1764">
                  <c:v>0.9945260673347089</c:v>
                </c:pt>
                <c:pt idx="1765">
                  <c:v>0.9945381278124736</c:v>
                </c:pt>
                <c:pt idx="1766">
                  <c:v>0.9945501845313237</c:v>
                </c:pt>
                <c:pt idx="1767">
                  <c:v>0.9945622017815696</c:v>
                </c:pt>
                <c:pt idx="1768">
                  <c:v>0.9945742058756141</c:v>
                </c:pt>
                <c:pt idx="1769">
                  <c:v>0.9945862099696585</c:v>
                </c:pt>
                <c:pt idx="1770">
                  <c:v>0.994598202786959</c:v>
                </c:pt>
                <c:pt idx="1771">
                  <c:v>0.9946101617740273</c:v>
                </c:pt>
                <c:pt idx="1772">
                  <c:v>0.9946221076048941</c:v>
                </c:pt>
                <c:pt idx="1773">
                  <c:v>0.9946340402795596</c:v>
                </c:pt>
                <c:pt idx="1774">
                  <c:v>0.9946459597980237</c:v>
                </c:pt>
                <c:pt idx="1775">
                  <c:v>0.9946578736781158</c:v>
                </c:pt>
                <c:pt idx="1776">
                  <c:v>0.9946697837992932</c:v>
                </c:pt>
                <c:pt idx="1777">
                  <c:v>0.9946816676080678</c:v>
                </c:pt>
                <c:pt idx="1778">
                  <c:v>0.9946935457784704</c:v>
                </c:pt>
                <c:pt idx="1779">
                  <c:v>0.9947054183105009</c:v>
                </c:pt>
                <c:pt idx="1780">
                  <c:v>0.994717272047958</c:v>
                </c:pt>
                <c:pt idx="1781">
                  <c:v>0.994729097593555</c:v>
                </c:pt>
                <c:pt idx="1782">
                  <c:v>0.9947409193802372</c:v>
                </c:pt>
                <c:pt idx="1783">
                  <c:v>0.9947526208816496</c:v>
                </c:pt>
                <c:pt idx="1784">
                  <c:v>0.9947643148652326</c:v>
                </c:pt>
                <c:pt idx="1785">
                  <c:v>0.9947760032104437</c:v>
                </c:pt>
                <c:pt idx="1786">
                  <c:v>0.9947876727610813</c:v>
                </c:pt>
                <c:pt idx="1787">
                  <c:v>0.9947993291555175</c:v>
                </c:pt>
                <c:pt idx="1788">
                  <c:v>0.9948109705142949</c:v>
                </c:pt>
                <c:pt idx="1789">
                  <c:v>0.994822604355243</c:v>
                </c:pt>
                <c:pt idx="1790">
                  <c:v>0.9948342344372764</c:v>
                </c:pt>
                <c:pt idx="1791">
                  <c:v>0.9948458081355895</c:v>
                </c:pt>
                <c:pt idx="1792">
                  <c:v>0.9948573743160732</c:v>
                </c:pt>
                <c:pt idx="1793">
                  <c:v>0.9948689310992703</c:v>
                </c:pt>
                <c:pt idx="1794">
                  <c:v>0.9948804784851807</c:v>
                </c:pt>
                <c:pt idx="1795">
                  <c:v>0.994892008955975</c:v>
                </c:pt>
                <c:pt idx="1796">
                  <c:v>0.9949035262705678</c:v>
                </c:pt>
                <c:pt idx="1797">
                  <c:v>0.9949150172727579</c:v>
                </c:pt>
                <c:pt idx="1798">
                  <c:v>0.9949265045160333</c:v>
                </c:pt>
                <c:pt idx="1799">
                  <c:v>0.9949379804825645</c:v>
                </c:pt>
                <c:pt idx="1800">
                  <c:v>0.9949494414134371</c:v>
                </c:pt>
                <c:pt idx="1801">
                  <c:v>0.9949608741524496</c:v>
                </c:pt>
                <c:pt idx="1802">
                  <c:v>0.994972289976346</c:v>
                </c:pt>
                <c:pt idx="1803">
                  <c:v>0.9949836362603207</c:v>
                </c:pt>
                <c:pt idx="1804">
                  <c:v>0.9949949317989472</c:v>
                </c:pt>
                <c:pt idx="1805">
                  <c:v>0.9950175078405414</c:v>
                </c:pt>
                <c:pt idx="1806">
                  <c:v>0.9950287319597889</c:v>
                </c:pt>
                <c:pt idx="1807">
                  <c:v>0.995039926007719</c:v>
                </c:pt>
                <c:pt idx="1808">
                  <c:v>0.9950511144172769</c:v>
                </c:pt>
                <c:pt idx="1809">
                  <c:v>0.9950622990679202</c:v>
                </c:pt>
                <c:pt idx="1810">
                  <c:v>0.995073387866239</c:v>
                </c:pt>
                <c:pt idx="1811">
                  <c:v>0.995084433437039</c:v>
                </c:pt>
                <c:pt idx="1812">
                  <c:v>0.9950954564543508</c:v>
                </c:pt>
                <c:pt idx="1813">
                  <c:v>0.9951064738332907</c:v>
                </c:pt>
                <c:pt idx="1814">
                  <c:v>0.9951174630203704</c:v>
                </c:pt>
                <c:pt idx="1815">
                  <c:v>0.9951284258950474</c:v>
                </c:pt>
                <c:pt idx="1816">
                  <c:v>0.9951393549394921</c:v>
                </c:pt>
                <c:pt idx="1817">
                  <c:v>0.9951502783455649</c:v>
                </c:pt>
                <c:pt idx="1818">
                  <c:v>0.9951611867159789</c:v>
                </c:pt>
                <c:pt idx="1819">
                  <c:v>0.9951720744123621</c:v>
                </c:pt>
                <c:pt idx="1820">
                  <c:v>0.995182954590916</c:v>
                </c:pt>
                <c:pt idx="1821">
                  <c:v>0.9951938291310978</c:v>
                </c:pt>
                <c:pt idx="1822">
                  <c:v>0.9952046717205048</c:v>
                </c:pt>
                <c:pt idx="1823">
                  <c:v>0.9952154767207649</c:v>
                </c:pt>
                <c:pt idx="1824">
                  <c:v>0.9952262798415678</c:v>
                </c:pt>
                <c:pt idx="1825">
                  <c:v>0.9952478541323987</c:v>
                </c:pt>
                <c:pt idx="1826">
                  <c:v>0.9952586290613414</c:v>
                </c:pt>
                <c:pt idx="1827">
                  <c:v>0.9952694002313694</c:v>
                </c:pt>
                <c:pt idx="1828">
                  <c:v>0.995280152606824</c:v>
                </c:pt>
                <c:pt idx="1829">
                  <c:v>0.9952908767904185</c:v>
                </c:pt>
                <c:pt idx="1830">
                  <c:v>0.9953015539875794</c:v>
                </c:pt>
                <c:pt idx="1831">
                  <c:v>0.9953122067517948</c:v>
                </c:pt>
                <c:pt idx="1832">
                  <c:v>0.9953227617842284</c:v>
                </c:pt>
                <c:pt idx="1833">
                  <c:v>0.99533331117829</c:v>
                </c:pt>
                <c:pt idx="1834">
                  <c:v>0.9953438323804915</c:v>
                </c:pt>
                <c:pt idx="1835">
                  <c:v>0.9953543460648636</c:v>
                </c:pt>
                <c:pt idx="1836">
                  <c:v>0.9953648484724917</c:v>
                </c:pt>
                <c:pt idx="1837">
                  <c:v>0.9953962786376249</c:v>
                </c:pt>
                <c:pt idx="1838">
                  <c:v>0.9954067227820754</c:v>
                </c:pt>
                <c:pt idx="1839">
                  <c:v>0.9954171594086966</c:v>
                </c:pt>
                <c:pt idx="1840">
                  <c:v>0.9954275753612869</c:v>
                </c:pt>
                <c:pt idx="1841">
                  <c:v>0.9954379762782185</c:v>
                </c:pt>
                <c:pt idx="1842">
                  <c:v>0.9954482888606551</c:v>
                </c:pt>
                <c:pt idx="1843">
                  <c:v>0.9954585864074329</c:v>
                </c:pt>
                <c:pt idx="1844">
                  <c:v>0.9954688689185519</c:v>
                </c:pt>
                <c:pt idx="1845">
                  <c:v>0.9954791213583535</c:v>
                </c:pt>
                <c:pt idx="1846">
                  <c:v>0.995489373798155</c:v>
                </c:pt>
                <c:pt idx="1847">
                  <c:v>0.9954996224790419</c:v>
                </c:pt>
                <c:pt idx="1848">
                  <c:v>0.9955098655215567</c:v>
                </c:pt>
                <c:pt idx="1849">
                  <c:v>0.9955303121379823</c:v>
                </c:pt>
                <c:pt idx="1850">
                  <c:v>0.9955405063146062</c:v>
                </c:pt>
                <c:pt idx="1851">
                  <c:v>0.9955506967323156</c:v>
                </c:pt>
                <c:pt idx="1852">
                  <c:v>0.9955608702349088</c:v>
                </c:pt>
                <c:pt idx="1853">
                  <c:v>0.995571032460758</c:v>
                </c:pt>
                <c:pt idx="1854">
                  <c:v>0.9955811758920337</c:v>
                </c:pt>
                <c:pt idx="1855">
                  <c:v>0.9955913155643947</c:v>
                </c:pt>
                <c:pt idx="1856">
                  <c:v>0.9956014533572984</c:v>
                </c:pt>
                <c:pt idx="1857">
                  <c:v>0.9956217120279898</c:v>
                </c:pt>
                <c:pt idx="1858">
                  <c:v>0.995631819749576</c:v>
                </c:pt>
                <c:pt idx="1859">
                  <c:v>0.9956418804847287</c:v>
                </c:pt>
                <c:pt idx="1860">
                  <c:v>0.9956619380534844</c:v>
                </c:pt>
                <c:pt idx="1861">
                  <c:v>0.9956719292487154</c:v>
                </c:pt>
                <c:pt idx="1862">
                  <c:v>0.9956819185644891</c:v>
                </c:pt>
                <c:pt idx="1863">
                  <c:v>0.9956918345814264</c:v>
                </c:pt>
                <c:pt idx="1864">
                  <c:v>0.9957017130092168</c:v>
                </c:pt>
                <c:pt idx="1865">
                  <c:v>0.9957115782808059</c:v>
                </c:pt>
                <c:pt idx="1866">
                  <c:v>0.9957213871686748</c:v>
                </c:pt>
                <c:pt idx="1867">
                  <c:v>0.9957311941770862</c:v>
                </c:pt>
                <c:pt idx="1868">
                  <c:v>0.995740991788211</c:v>
                </c:pt>
                <c:pt idx="1869">
                  <c:v>0.995750774363677</c:v>
                </c:pt>
                <c:pt idx="1870">
                  <c:v>0.9957702868898034</c:v>
                </c:pt>
                <c:pt idx="1871">
                  <c:v>0.9957799999253478</c:v>
                </c:pt>
                <c:pt idx="1872">
                  <c:v>0.9957896885279467</c:v>
                </c:pt>
                <c:pt idx="1873">
                  <c:v>0.9957993433003135</c:v>
                </c:pt>
                <c:pt idx="1874">
                  <c:v>0.9958089548451614</c:v>
                </c:pt>
                <c:pt idx="1875">
                  <c:v>0.9958185626310946</c:v>
                </c:pt>
                <c:pt idx="1876">
                  <c:v>0.9958281591402838</c:v>
                </c:pt>
                <c:pt idx="1877">
                  <c:v>0.9958377518905582</c:v>
                </c:pt>
                <c:pt idx="1878">
                  <c:v>0.995847335243546</c:v>
                </c:pt>
                <c:pt idx="1879">
                  <c:v>0.9958569016814176</c:v>
                </c:pt>
                <c:pt idx="1880">
                  <c:v>0.9958664512041732</c:v>
                </c:pt>
                <c:pt idx="1881">
                  <c:v>0.9958759499815806</c:v>
                </c:pt>
                <c:pt idx="1882">
                  <c:v>0.9958854337233292</c:v>
                </c:pt>
                <c:pt idx="1883">
                  <c:v>0.9958948685991869</c:v>
                </c:pt>
                <c:pt idx="1884">
                  <c:v>0.9959043015955873</c:v>
                </c:pt>
                <c:pt idx="1885">
                  <c:v>0.9959231281197839</c:v>
                </c:pt>
                <c:pt idx="1886">
                  <c:v>0.9959325197681228</c:v>
                </c:pt>
                <c:pt idx="1887">
                  <c:v>0.9959418493943694</c:v>
                </c:pt>
                <c:pt idx="1888">
                  <c:v>0.9959511715027866</c:v>
                </c:pt>
                <c:pt idx="1889">
                  <c:v>0.995960484213917</c:v>
                </c:pt>
                <c:pt idx="1890">
                  <c:v>0.9959697931661329</c:v>
                </c:pt>
                <c:pt idx="1891">
                  <c:v>0.995979092721062</c:v>
                </c:pt>
                <c:pt idx="1892">
                  <c:v>0.9959883922759911</c:v>
                </c:pt>
                <c:pt idx="1893">
                  <c:v>0.9959976617596027</c:v>
                </c:pt>
                <c:pt idx="1894">
                  <c:v>0.996006929363757</c:v>
                </c:pt>
                <c:pt idx="1895">
                  <c:v>0.996016189450082</c:v>
                </c:pt>
                <c:pt idx="1896">
                  <c:v>0.9960254401391202</c:v>
                </c:pt>
                <c:pt idx="1897">
                  <c:v>0.996034677671957</c:v>
                </c:pt>
                <c:pt idx="1898">
                  <c:v>0.9960531395814292</c:v>
                </c:pt>
                <c:pt idx="1899">
                  <c:v>0.9960623357662044</c:v>
                </c:pt>
                <c:pt idx="1900">
                  <c:v>0.9960898115530896</c:v>
                </c:pt>
                <c:pt idx="1901">
                  <c:v>0.99609894759523</c:v>
                </c:pt>
                <c:pt idx="1902">
                  <c:v>0.9961080742400836</c:v>
                </c:pt>
                <c:pt idx="1903">
                  <c:v>0.9961171745725345</c:v>
                </c:pt>
                <c:pt idx="1904">
                  <c:v>0.9961352662289102</c:v>
                </c:pt>
                <c:pt idx="1905">
                  <c:v>0.9961442669501219</c:v>
                </c:pt>
                <c:pt idx="1906">
                  <c:v>0.9961532507562175</c:v>
                </c:pt>
                <c:pt idx="1907">
                  <c:v>0.9961710341815893</c:v>
                </c:pt>
                <c:pt idx="1908">
                  <c:v>0.9961798676310974</c:v>
                </c:pt>
                <c:pt idx="1909">
                  <c:v>0.9961886634914588</c:v>
                </c:pt>
                <c:pt idx="1910">
                  <c:v>0.9961974161243013</c:v>
                </c:pt>
                <c:pt idx="1911">
                  <c:v>0.9962061631187719</c:v>
                </c:pt>
                <c:pt idx="1912">
                  <c:v>0.9962148762830102</c:v>
                </c:pt>
                <c:pt idx="1913">
                  <c:v>0.9962235744115898</c:v>
                </c:pt>
                <c:pt idx="1914">
                  <c:v>0.9962322669017973</c:v>
                </c:pt>
                <c:pt idx="1915">
                  <c:v>0.9962409481152609</c:v>
                </c:pt>
                <c:pt idx="1916">
                  <c:v>0.9962496236903523</c:v>
                </c:pt>
                <c:pt idx="1917">
                  <c:v>0.9962582823503278</c:v>
                </c:pt>
                <c:pt idx="1918">
                  <c:v>0.9962669165773578</c:v>
                </c:pt>
                <c:pt idx="1919">
                  <c:v>0.9962755414071011</c:v>
                </c:pt>
                <c:pt idx="1920">
                  <c:v>0.9962841568395576</c:v>
                </c:pt>
                <c:pt idx="1921">
                  <c:v>0.9962927703925568</c:v>
                </c:pt>
                <c:pt idx="1922">
                  <c:v>0.9963013726688119</c:v>
                </c:pt>
                <c:pt idx="1923">
                  <c:v>0.99631854339109</c:v>
                </c:pt>
                <c:pt idx="1924">
                  <c:v>0.9963271024398264</c:v>
                </c:pt>
                <c:pt idx="1925">
                  <c:v>0.9963356464529038</c:v>
                </c:pt>
                <c:pt idx="1926">
                  <c:v>0.99634417730978</c:v>
                </c:pt>
                <c:pt idx="1927">
                  <c:v>0.9963526950104548</c:v>
                </c:pt>
                <c:pt idx="1928">
                  <c:v>0.9963612070727574</c:v>
                </c:pt>
                <c:pt idx="1929">
                  <c:v>0.9963697116172308</c:v>
                </c:pt>
                <c:pt idx="1930">
                  <c:v>0.9963782105233321</c:v>
                </c:pt>
                <c:pt idx="1931">
                  <c:v>0.996386679358116</c:v>
                </c:pt>
                <c:pt idx="1932">
                  <c:v>0.9963951350366984</c:v>
                </c:pt>
                <c:pt idx="1933">
                  <c:v>0.9964035662823354</c:v>
                </c:pt>
                <c:pt idx="1934">
                  <c:v>0.9964119937690578</c:v>
                </c:pt>
                <c:pt idx="1935">
                  <c:v>0.996420404340664</c:v>
                </c:pt>
                <c:pt idx="1936">
                  <c:v>0.9964288017560688</c:v>
                </c:pt>
                <c:pt idx="1937">
                  <c:v>0.9964371897741869</c:v>
                </c:pt>
                <c:pt idx="1938">
                  <c:v>0.996445572153933</c:v>
                </c:pt>
                <c:pt idx="1939">
                  <c:v>0.9964539526542218</c:v>
                </c:pt>
                <c:pt idx="1940">
                  <c:v>0.9964623181188518</c:v>
                </c:pt>
                <c:pt idx="1941">
                  <c:v>0.9964706253203042</c:v>
                </c:pt>
                <c:pt idx="1942">
                  <c:v>0.9964789306422992</c:v>
                </c:pt>
                <c:pt idx="1943">
                  <c:v>0.9964872246875502</c:v>
                </c:pt>
                <c:pt idx="1944">
                  <c:v>0.9964955187328013</c:v>
                </c:pt>
                <c:pt idx="1945">
                  <c:v>0.9965037827067348</c:v>
                </c:pt>
                <c:pt idx="1946">
                  <c:v>0.9965119978147774</c:v>
                </c:pt>
                <c:pt idx="1947">
                  <c:v>0.9965201941282467</c:v>
                </c:pt>
                <c:pt idx="1948">
                  <c:v>0.9965283490936544</c:v>
                </c:pt>
                <c:pt idx="1949">
                  <c:v>0.9965444936322237</c:v>
                </c:pt>
                <c:pt idx="1950">
                  <c:v>0.9965605479568407</c:v>
                </c:pt>
                <c:pt idx="1951">
                  <c:v>0.9965685563245757</c:v>
                </c:pt>
                <c:pt idx="1952">
                  <c:v>0.9965765571744813</c:v>
                </c:pt>
                <c:pt idx="1953">
                  <c:v>0.9965845561449297</c:v>
                </c:pt>
                <c:pt idx="1954">
                  <c:v>0.9965925532359207</c:v>
                </c:pt>
                <c:pt idx="1955">
                  <c:v>0.9966163866344768</c:v>
                </c:pt>
                <c:pt idx="1956">
                  <c:v>0.9966242765963993</c:v>
                </c:pt>
                <c:pt idx="1957">
                  <c:v>0.996632157161035</c:v>
                </c:pt>
                <c:pt idx="1958">
                  <c:v>0.9966399775830358</c:v>
                </c:pt>
                <c:pt idx="1959">
                  <c:v>0.9966477961255793</c:v>
                </c:pt>
                <c:pt idx="1960">
                  <c:v>0.9966555827173479</c:v>
                </c:pt>
                <c:pt idx="1961">
                  <c:v>0.996663344876171</c:v>
                </c:pt>
                <c:pt idx="1962">
                  <c:v>0.9966710976377076</c:v>
                </c:pt>
                <c:pt idx="1963">
                  <c:v>0.996678844760872</c:v>
                </c:pt>
                <c:pt idx="1964">
                  <c:v>0.996686584366207</c:v>
                </c:pt>
                <c:pt idx="1965">
                  <c:v>0.9966943032975114</c:v>
                </c:pt>
                <c:pt idx="1966">
                  <c:v>0.9967020165904437</c:v>
                </c:pt>
                <c:pt idx="1967">
                  <c:v>0.9967097280039187</c:v>
                </c:pt>
                <c:pt idx="1968">
                  <c:v>0.9967174375379363</c:v>
                </c:pt>
                <c:pt idx="1969">
                  <c:v>0.9967251395541246</c:v>
                </c:pt>
                <c:pt idx="1970">
                  <c:v>0.9967328190168246</c:v>
                </c:pt>
                <c:pt idx="1971">
                  <c:v>0.9967404947206101</c:v>
                </c:pt>
                <c:pt idx="1972">
                  <c:v>0.9967481309557914</c:v>
                </c:pt>
                <c:pt idx="1973">
                  <c:v>0.9967557352401979</c:v>
                </c:pt>
                <c:pt idx="1974">
                  <c:v>0.9967633000560001</c:v>
                </c:pt>
                <c:pt idx="1975">
                  <c:v>0.9967708160059114</c:v>
                </c:pt>
                <c:pt idx="1976">
                  <c:v>0.9967783319558228</c:v>
                </c:pt>
                <c:pt idx="1977">
                  <c:v>0.9967858441468195</c:v>
                </c:pt>
                <c:pt idx="1978">
                  <c:v>0.9967933544583588</c:v>
                </c:pt>
                <c:pt idx="1979">
                  <c:v>0.9968008384574953</c:v>
                </c:pt>
                <c:pt idx="1980">
                  <c:v>0.9968083168182599</c:v>
                </c:pt>
                <c:pt idx="1981">
                  <c:v>0.9968232284328127</c:v>
                </c:pt>
                <c:pt idx="1982">
                  <c:v>0.9968306598071437</c:v>
                </c:pt>
                <c:pt idx="1983">
                  <c:v>0.9968380761458159</c:v>
                </c:pt>
                <c:pt idx="1984">
                  <c:v>0.996845458654256</c:v>
                </c:pt>
                <c:pt idx="1985">
                  <c:v>0.9968527922968051</c:v>
                </c:pt>
                <c:pt idx="1986">
                  <c:v>0.9968601109036955</c:v>
                </c:pt>
                <c:pt idx="1987">
                  <c:v>0.9968673900419818</c:v>
                </c:pt>
                <c:pt idx="1988">
                  <c:v>0.9968746503856946</c:v>
                </c:pt>
                <c:pt idx="1989">
                  <c:v>0.9968818956937486</c:v>
                </c:pt>
                <c:pt idx="1990">
                  <c:v>0.9968891410018027</c:v>
                </c:pt>
                <c:pt idx="1991">
                  <c:v>0.9968963787920274</c:v>
                </c:pt>
                <c:pt idx="1992">
                  <c:v>0.9969035921493067</c:v>
                </c:pt>
                <c:pt idx="1993">
                  <c:v>0.9969107754352685</c:v>
                </c:pt>
                <c:pt idx="1994">
                  <c:v>0.9969179587212303</c:v>
                </c:pt>
                <c:pt idx="1995">
                  <c:v>0.9969251420071922</c:v>
                </c:pt>
                <c:pt idx="1996">
                  <c:v>0.9969323102574953</c:v>
                </c:pt>
                <c:pt idx="1997">
                  <c:v>0.9969394427981089</c:v>
                </c:pt>
                <c:pt idx="1998">
                  <c:v>0.9969465753387224</c:v>
                </c:pt>
                <c:pt idx="1999">
                  <c:v>0.9969607840362292</c:v>
                </c:pt>
                <c:pt idx="2000">
                  <c:v>0.9969678545547505</c:v>
                </c:pt>
                <c:pt idx="2001">
                  <c:v>0.9969748611717221</c:v>
                </c:pt>
                <c:pt idx="2002">
                  <c:v>0.9969887860711704</c:v>
                </c:pt>
                <c:pt idx="2003">
                  <c:v>0.9969957081125616</c:v>
                </c:pt>
                <c:pt idx="2004">
                  <c:v>0.9970026263950381</c:v>
                </c:pt>
                <c:pt idx="2005">
                  <c:v>0.9970095315213132</c:v>
                </c:pt>
                <c:pt idx="2006">
                  <c:v>0.997016429129759</c:v>
                </c:pt>
                <c:pt idx="2007">
                  <c:v>0.9970232891490579</c:v>
                </c:pt>
                <c:pt idx="2008">
                  <c:v>0.9970301472888995</c:v>
                </c:pt>
                <c:pt idx="2009">
                  <c:v>0.9970369603217649</c:v>
                </c:pt>
                <c:pt idx="2010">
                  <c:v>0.9970437470422275</c:v>
                </c:pt>
                <c:pt idx="2011">
                  <c:v>0.9970505206064887</c:v>
                </c:pt>
                <c:pt idx="2012">
                  <c:v>0.9970572885323779</c:v>
                </c:pt>
                <c:pt idx="2013">
                  <c:v>0.9970640526993524</c:v>
                </c:pt>
                <c:pt idx="2014">
                  <c:v>0.9970708168663269</c:v>
                </c:pt>
                <c:pt idx="2015">
                  <c:v>0.9970775772743867</c:v>
                </c:pt>
                <c:pt idx="2016">
                  <c:v>0.9970843339235319</c:v>
                </c:pt>
                <c:pt idx="2017">
                  <c:v>0.9970910830548476</c:v>
                </c:pt>
                <c:pt idx="2018">
                  <c:v>0.9970978227888767</c:v>
                </c:pt>
                <c:pt idx="2019">
                  <c:v>0.9971112891007334</c:v>
                </c:pt>
                <c:pt idx="2020">
                  <c:v>0.9971179893661583</c:v>
                </c:pt>
                <c:pt idx="2021">
                  <c:v>0.9971246821137537</c:v>
                </c:pt>
                <c:pt idx="2022">
                  <c:v>0.9971313635846052</c:v>
                </c:pt>
                <c:pt idx="2023">
                  <c:v>0.9971380225019685</c:v>
                </c:pt>
                <c:pt idx="2024">
                  <c:v>0.9971446569863863</c:v>
                </c:pt>
                <c:pt idx="2025">
                  <c:v>0.9971512895913469</c:v>
                </c:pt>
                <c:pt idx="2026">
                  <c:v>0.9971579127990208</c:v>
                </c:pt>
                <c:pt idx="2027">
                  <c:v>0.9971645266094079</c:v>
                </c:pt>
                <c:pt idx="2028">
                  <c:v>0.9971711385403377</c:v>
                </c:pt>
                <c:pt idx="2029">
                  <c:v>0.9971777297972367</c:v>
                </c:pt>
                <c:pt idx="2030">
                  <c:v>0.9971842966211903</c:v>
                </c:pt>
                <c:pt idx="2031">
                  <c:v>0.9971908596862292</c:v>
                </c:pt>
                <c:pt idx="2032">
                  <c:v>0.9971974227512681</c:v>
                </c:pt>
                <c:pt idx="2033">
                  <c:v>0.9972039670217335</c:v>
                </c:pt>
                <c:pt idx="2034">
                  <c:v>0.9972104981359976</c:v>
                </c:pt>
                <c:pt idx="2035">
                  <c:v>0.9972170160940603</c:v>
                </c:pt>
                <c:pt idx="2036">
                  <c:v>0.9972235208959216</c:v>
                </c:pt>
                <c:pt idx="2037">
                  <c:v>0.9972299430016598</c:v>
                </c:pt>
                <c:pt idx="2038">
                  <c:v>0.9972363632279406</c:v>
                </c:pt>
                <c:pt idx="2039">
                  <c:v>0.9972427815747642</c:v>
                </c:pt>
                <c:pt idx="2040">
                  <c:v>0.9972556069916672</c:v>
                </c:pt>
                <c:pt idx="2041">
                  <c:v>0.9972620027850025</c:v>
                </c:pt>
                <c:pt idx="2042">
                  <c:v>0.9972683779043072</c:v>
                </c:pt>
                <c:pt idx="2043">
                  <c:v>0.9972747455057825</c:v>
                </c:pt>
                <c:pt idx="2044">
                  <c:v>0.9972810999510564</c:v>
                </c:pt>
                <c:pt idx="2045">
                  <c:v>0.9972874224455555</c:v>
                </c:pt>
                <c:pt idx="2046">
                  <c:v>0.9972937374222252</c:v>
                </c:pt>
                <c:pt idx="2047">
                  <c:v>0.9973000054124613</c:v>
                </c:pt>
                <c:pt idx="2048">
                  <c:v>0.997306254608124</c:v>
                </c:pt>
                <c:pt idx="2049">
                  <c:v>0.9973124887681281</c:v>
                </c:pt>
                <c:pt idx="2050">
                  <c:v>0.9973187210486747</c:v>
                </c:pt>
                <c:pt idx="2051">
                  <c:v>0.9973249270168185</c:v>
                </c:pt>
                <c:pt idx="2052">
                  <c:v>0.9973311311055051</c:v>
                </c:pt>
                <c:pt idx="2053">
                  <c:v>0.9973372938461301</c:v>
                </c:pt>
                <c:pt idx="2054">
                  <c:v>0.9973434490689258</c:v>
                </c:pt>
                <c:pt idx="2055">
                  <c:v>0.9973496005328067</c:v>
                </c:pt>
                <c:pt idx="2056">
                  <c:v>0.9973557501172303</c:v>
                </c:pt>
                <c:pt idx="2057">
                  <c:v>0.9973618903043672</c:v>
                </c:pt>
                <c:pt idx="2058">
                  <c:v>0.997368030491504</c:v>
                </c:pt>
                <c:pt idx="2059">
                  <c:v>0.9973741537635248</c:v>
                </c:pt>
                <c:pt idx="2060">
                  <c:v>0.9973802695177162</c:v>
                </c:pt>
                <c:pt idx="2061">
                  <c:v>0.9973863533211328</c:v>
                </c:pt>
                <c:pt idx="2062">
                  <c:v>0.9973923826202865</c:v>
                </c:pt>
                <c:pt idx="2063">
                  <c:v>0.9973984100399829</c:v>
                </c:pt>
                <c:pt idx="2064">
                  <c:v>0.9974044299418499</c:v>
                </c:pt>
                <c:pt idx="2065">
                  <c:v>0.997410417892942</c:v>
                </c:pt>
                <c:pt idx="2066">
                  <c:v>0.9974163983262049</c:v>
                </c:pt>
                <c:pt idx="2067">
                  <c:v>0.997422369362181</c:v>
                </c:pt>
                <c:pt idx="2068">
                  <c:v>0.9974283159652116</c:v>
                </c:pt>
                <c:pt idx="2069">
                  <c:v>0.9974342080639794</c:v>
                </c:pt>
                <c:pt idx="2070">
                  <c:v>0.9974400907654605</c:v>
                </c:pt>
                <c:pt idx="2071">
                  <c:v>0.9974459640696548</c:v>
                </c:pt>
                <c:pt idx="2072">
                  <c:v>0.9974518279765624</c:v>
                </c:pt>
                <c:pt idx="2073">
                  <c:v>0.9974576881245553</c:v>
                </c:pt>
                <c:pt idx="2074">
                  <c:v>0.9974635445136335</c:v>
                </c:pt>
                <c:pt idx="2075">
                  <c:v>0.9974693990232544</c:v>
                </c:pt>
                <c:pt idx="2076">
                  <c:v>0.9974752460150459</c:v>
                </c:pt>
                <c:pt idx="2077">
                  <c:v>0.9974810873684654</c:v>
                </c:pt>
                <c:pt idx="2078">
                  <c:v>0.9974869287218849</c:v>
                </c:pt>
                <c:pt idx="2079">
                  <c:v>0.997492751280731</c:v>
                </c:pt>
                <c:pt idx="2080">
                  <c:v>0.9975043663271057</c:v>
                </c:pt>
                <c:pt idx="2081">
                  <c:v>0.997510156935177</c:v>
                </c:pt>
                <c:pt idx="2082">
                  <c:v>0.9975159419048762</c:v>
                </c:pt>
                <c:pt idx="2083">
                  <c:v>0.9975217268745755</c:v>
                </c:pt>
                <c:pt idx="2084">
                  <c:v>0.9975274930497013</c:v>
                </c:pt>
                <c:pt idx="2085">
                  <c:v>0.997538899476311</c:v>
                </c:pt>
                <c:pt idx="2086">
                  <c:v>0.9975445923526005</c:v>
                </c:pt>
                <c:pt idx="2087">
                  <c:v>0.9975502589164872</c:v>
                </c:pt>
                <c:pt idx="2088">
                  <c:v>0.9975559123241724</c:v>
                </c:pt>
                <c:pt idx="2089">
                  <c:v>0.9975615582140283</c:v>
                </c:pt>
                <c:pt idx="2090">
                  <c:v>0.9975671853093108</c:v>
                </c:pt>
                <c:pt idx="2091">
                  <c:v>0.9975728067662212</c:v>
                </c:pt>
                <c:pt idx="2092">
                  <c:v>0.9975840384032981</c:v>
                </c:pt>
                <c:pt idx="2093">
                  <c:v>0.9975896504629219</c:v>
                </c:pt>
                <c:pt idx="2094">
                  <c:v>0.9975952512458016</c:v>
                </c:pt>
                <c:pt idx="2095">
                  <c:v>0.9976008482697666</c:v>
                </c:pt>
                <c:pt idx="2096">
                  <c:v>0.9976064302580728</c:v>
                </c:pt>
                <c:pt idx="2097">
                  <c:v>0.9976119990901777</c:v>
                </c:pt>
                <c:pt idx="2098">
                  <c:v>0.9976175622839105</c:v>
                </c:pt>
                <c:pt idx="2099">
                  <c:v>0.9976230991652406</c:v>
                </c:pt>
                <c:pt idx="2100">
                  <c:v>0.9976396158363636</c:v>
                </c:pt>
                <c:pt idx="2101">
                  <c:v>0.9976450925750587</c:v>
                </c:pt>
                <c:pt idx="2102">
                  <c:v>0.9976505636753819</c:v>
                </c:pt>
                <c:pt idx="2103">
                  <c:v>0.9976560178605889</c:v>
                </c:pt>
                <c:pt idx="2104">
                  <c:v>0.9976614701663385</c:v>
                </c:pt>
                <c:pt idx="2105">
                  <c:v>0.9976669168337162</c:v>
                </c:pt>
                <c:pt idx="2106">
                  <c:v>0.9976723616216365</c:v>
                </c:pt>
                <c:pt idx="2107">
                  <c:v>0.9976777970122701</c:v>
                </c:pt>
                <c:pt idx="2108">
                  <c:v>0.9976832305234463</c:v>
                </c:pt>
                <c:pt idx="2109">
                  <c:v>0.9976886621551652</c:v>
                </c:pt>
                <c:pt idx="2110">
                  <c:v>0.997694088148512</c:v>
                </c:pt>
                <c:pt idx="2111">
                  <c:v>0.9976995122624015</c:v>
                </c:pt>
                <c:pt idx="2112">
                  <c:v>0.997704936376291</c:v>
                </c:pt>
                <c:pt idx="2113">
                  <c:v>0.9977103567312658</c:v>
                </c:pt>
                <c:pt idx="2114">
                  <c:v>0.9977157601711246</c:v>
                </c:pt>
                <c:pt idx="2115">
                  <c:v>0.9977211034683484</c:v>
                </c:pt>
                <c:pt idx="2116">
                  <c:v>0.9977264392477428</c:v>
                </c:pt>
                <c:pt idx="2117">
                  <c:v>0.9977317712682227</c:v>
                </c:pt>
                <c:pt idx="2118">
                  <c:v>0.9977370938914157</c:v>
                </c:pt>
                <c:pt idx="2119">
                  <c:v>0.9977423939611206</c:v>
                </c:pt>
                <c:pt idx="2120">
                  <c:v>0.9977476902719109</c:v>
                </c:pt>
                <c:pt idx="2121">
                  <c:v>0.9977529809443292</c:v>
                </c:pt>
                <c:pt idx="2122">
                  <c:v>0.9977582622194607</c:v>
                </c:pt>
                <c:pt idx="2123">
                  <c:v>0.9977635416151349</c:v>
                </c:pt>
                <c:pt idx="2124">
                  <c:v>0.9977688153724371</c:v>
                </c:pt>
                <c:pt idx="2125">
                  <c:v>0.9977740722146232</c:v>
                </c:pt>
                <c:pt idx="2126">
                  <c:v>0.9977793290568093</c:v>
                </c:pt>
                <c:pt idx="2127">
                  <c:v>0.9977845783811661</c:v>
                </c:pt>
                <c:pt idx="2128">
                  <c:v>0.9977898277055228</c:v>
                </c:pt>
                <c:pt idx="2129">
                  <c:v>0.9977950695120501</c:v>
                </c:pt>
                <c:pt idx="2130">
                  <c:v>0.9978003056802054</c:v>
                </c:pt>
                <c:pt idx="2131">
                  <c:v>0.9978055042592139</c:v>
                </c:pt>
                <c:pt idx="2132">
                  <c:v>0.997810700958765</c:v>
                </c:pt>
                <c:pt idx="2133">
                  <c:v>0.9978158920199441</c:v>
                </c:pt>
                <c:pt idx="2134">
                  <c:v>0.9978210511303485</c:v>
                </c:pt>
                <c:pt idx="2135">
                  <c:v>0.997826189566722</c:v>
                </c:pt>
                <c:pt idx="2136">
                  <c:v>0.9978313073290648</c:v>
                </c:pt>
                <c:pt idx="2137">
                  <c:v>0.9978364100557487</c:v>
                </c:pt>
                <c:pt idx="2138">
                  <c:v>0.9978465704021405</c:v>
                </c:pt>
                <c:pt idx="2139">
                  <c:v>0.997851631780763</c:v>
                </c:pt>
                <c:pt idx="2140">
                  <c:v>0.9978617319845199</c:v>
                </c:pt>
                <c:pt idx="2141">
                  <c:v>0.9978667651712823</c:v>
                </c:pt>
                <c:pt idx="2142">
                  <c:v>0.9978717945991299</c:v>
                </c:pt>
                <c:pt idx="2143">
                  <c:v>0.9978768127502335</c:v>
                </c:pt>
                <c:pt idx="2144">
                  <c:v>0.9978818215040505</c:v>
                </c:pt>
                <c:pt idx="2145">
                  <c:v>0.9978868208605807</c:v>
                </c:pt>
                <c:pt idx="2146">
                  <c:v>0.9978918145787389</c:v>
                </c:pt>
                <c:pt idx="2147">
                  <c:v>0.9978968082968971</c:v>
                </c:pt>
                <c:pt idx="2148">
                  <c:v>0.9979017850999392</c:v>
                </c:pt>
                <c:pt idx="2149">
                  <c:v>0.9979067506262372</c:v>
                </c:pt>
                <c:pt idx="2150">
                  <c:v>0.9979117029963339</c:v>
                </c:pt>
                <c:pt idx="2151">
                  <c:v>0.9979166553664306</c:v>
                </c:pt>
                <c:pt idx="2152">
                  <c:v>0.9979215945803258</c:v>
                </c:pt>
                <c:pt idx="2153">
                  <c:v>0.9979314673697443</c:v>
                </c:pt>
                <c:pt idx="2154">
                  <c:v>0.9979363934274381</c:v>
                </c:pt>
                <c:pt idx="2155">
                  <c:v>0.9979412856548998</c:v>
                </c:pt>
                <c:pt idx="2156">
                  <c:v>0.9979461703645321</c:v>
                </c:pt>
                <c:pt idx="2157">
                  <c:v>0.9979510550741645</c:v>
                </c:pt>
                <c:pt idx="2158">
                  <c:v>0.9979559228686807</c:v>
                </c:pt>
                <c:pt idx="2159">
                  <c:v>0.9979607887837396</c:v>
                </c:pt>
                <c:pt idx="2160">
                  <c:v>0.9979656377836824</c:v>
                </c:pt>
                <c:pt idx="2161">
                  <c:v>0.9979704849041678</c:v>
                </c:pt>
                <c:pt idx="2162">
                  <c:v>0.9979753226273667</c:v>
                </c:pt>
                <c:pt idx="2163">
                  <c:v>0.9979801490738214</c:v>
                </c:pt>
                <c:pt idx="2164">
                  <c:v>0.9979849698819041</c:v>
                </c:pt>
                <c:pt idx="2165">
                  <c:v>0.997989770015956</c:v>
                </c:pt>
                <c:pt idx="2166">
                  <c:v>0.9979993026235955</c:v>
                </c:pt>
                <c:pt idx="2167">
                  <c:v>0.9980040520122991</c:v>
                </c:pt>
                <c:pt idx="2168">
                  <c:v>0.9980087976420882</c:v>
                </c:pt>
                <c:pt idx="2169">
                  <c:v>0.998013520718389</c:v>
                </c:pt>
                <c:pt idx="2170">
                  <c:v>0.9980182381563178</c:v>
                </c:pt>
                <c:pt idx="2171">
                  <c:v>0.9980276448403155</c:v>
                </c:pt>
                <c:pt idx="2172">
                  <c:v>0.9980323397247562</c:v>
                </c:pt>
                <c:pt idx="2173">
                  <c:v>0.9980417050606923</c:v>
                </c:pt>
                <c:pt idx="2174">
                  <c:v>0.998046383030017</c:v>
                </c:pt>
                <c:pt idx="2175">
                  <c:v>0.9980510440842256</c:v>
                </c:pt>
                <c:pt idx="2176">
                  <c:v>0.9980603549158988</c:v>
                </c:pt>
                <c:pt idx="2177">
                  <c:v>0.9980650065728207</c:v>
                </c:pt>
                <c:pt idx="2178">
                  <c:v>0.998069654470828</c:v>
                </c:pt>
                <c:pt idx="2179">
                  <c:v>0.9980742967304631</c:v>
                </c:pt>
                <c:pt idx="2180">
                  <c:v>0.998078937110641</c:v>
                </c:pt>
                <c:pt idx="2181">
                  <c:v>0.998092828179857</c:v>
                </c:pt>
                <c:pt idx="2182">
                  <c:v>0.9980974441270893</c:v>
                </c:pt>
                <c:pt idx="2183">
                  <c:v>0.9981020469181203</c:v>
                </c:pt>
                <c:pt idx="2184">
                  <c:v>0.9981066440707793</c:v>
                </c:pt>
                <c:pt idx="2185">
                  <c:v>0.9981112205494075</c:v>
                </c:pt>
                <c:pt idx="2186">
                  <c:v>0.998115793269121</c:v>
                </c:pt>
                <c:pt idx="2187">
                  <c:v>0.9981203659888346</c:v>
                </c:pt>
                <c:pt idx="2188">
                  <c:v>0.998124921793432</c:v>
                </c:pt>
                <c:pt idx="2189">
                  <c:v>0.9981294569239987</c:v>
                </c:pt>
                <c:pt idx="2190">
                  <c:v>0.9981339807778213</c:v>
                </c:pt>
                <c:pt idx="2191">
                  <c:v>0.998138504631644</c:v>
                </c:pt>
                <c:pt idx="2192">
                  <c:v>0.9981430247265519</c:v>
                </c:pt>
                <c:pt idx="2193">
                  <c:v>0.9981475391830879</c:v>
                </c:pt>
                <c:pt idx="2194">
                  <c:v>0.9981520517601664</c:v>
                </c:pt>
                <c:pt idx="2195">
                  <c:v>0.9981565417837569</c:v>
                </c:pt>
                <c:pt idx="2196">
                  <c:v>0.9981654579293882</c:v>
                </c:pt>
                <c:pt idx="2197">
                  <c:v>0.998169884051429</c:v>
                </c:pt>
                <c:pt idx="2198">
                  <c:v>0.9981743082940125</c:v>
                </c:pt>
                <c:pt idx="2199">
                  <c:v>0.9981787118625652</c:v>
                </c:pt>
                <c:pt idx="2200">
                  <c:v>0.9981830928776299</c:v>
                </c:pt>
                <c:pt idx="2201">
                  <c:v>0.9981874738926945</c:v>
                </c:pt>
                <c:pt idx="2202">
                  <c:v>0.9981918398721004</c:v>
                </c:pt>
                <c:pt idx="2203">
                  <c:v>0.9981961926953048</c:v>
                </c:pt>
                <c:pt idx="2204">
                  <c:v>0.9982005380006799</c:v>
                </c:pt>
                <c:pt idx="2205">
                  <c:v>0.9982048795471403</c:v>
                </c:pt>
                <c:pt idx="2206">
                  <c:v>0.9982092135757714</c:v>
                </c:pt>
                <c:pt idx="2207">
                  <c:v>0.998213534448201</c:v>
                </c:pt>
                <c:pt idx="2208">
                  <c:v>0.9982178440438867</c:v>
                </c:pt>
                <c:pt idx="2209">
                  <c:v>0.9982221348449989</c:v>
                </c:pt>
                <c:pt idx="2210">
                  <c:v>0.9982264124899097</c:v>
                </c:pt>
                <c:pt idx="2211">
                  <c:v>0.9982306863759058</c:v>
                </c:pt>
                <c:pt idx="2212">
                  <c:v>0.9982349527440726</c:v>
                </c:pt>
                <c:pt idx="2213">
                  <c:v>0.9982392097149526</c:v>
                </c:pt>
                <c:pt idx="2214">
                  <c:v>0.998243462926918</c:v>
                </c:pt>
                <c:pt idx="2215">
                  <c:v>0.9982477067415967</c:v>
                </c:pt>
                <c:pt idx="2216">
                  <c:v>0.998251943038446</c:v>
                </c:pt>
                <c:pt idx="2217">
                  <c:v>0.9982561680585512</c:v>
                </c:pt>
                <c:pt idx="2218">
                  <c:v>0.9982603818019123</c:v>
                </c:pt>
                <c:pt idx="2219">
                  <c:v>0.9982645767507001</c:v>
                </c:pt>
                <c:pt idx="2220">
                  <c:v>0.9982687698200305</c:v>
                </c:pt>
                <c:pt idx="2221">
                  <c:v>0.9982729610099036</c:v>
                </c:pt>
                <c:pt idx="2222">
                  <c:v>0.9982813189567042</c:v>
                </c:pt>
                <c:pt idx="2223">
                  <c:v>0.9982938060712857</c:v>
                </c:pt>
                <c:pt idx="2224">
                  <c:v>0.9982979634309266</c:v>
                </c:pt>
                <c:pt idx="2225">
                  <c:v>0.9983021132727381</c:v>
                </c:pt>
                <c:pt idx="2226">
                  <c:v>0.9983104091974464</c:v>
                </c:pt>
                <c:pt idx="2227">
                  <c:v>0.9983145534008859</c:v>
                </c:pt>
                <c:pt idx="2228">
                  <c:v>0.9983186957248681</c:v>
                </c:pt>
                <c:pt idx="2229">
                  <c:v>0.9983228324104783</c:v>
                </c:pt>
                <c:pt idx="2230">
                  <c:v>0.9983269653371737</c:v>
                </c:pt>
                <c:pt idx="2231">
                  <c:v>0.9983310926254971</c:v>
                </c:pt>
                <c:pt idx="2232">
                  <c:v>0.9983352180343632</c:v>
                </c:pt>
                <c:pt idx="2233">
                  <c:v>0.9983434481780646</c:v>
                </c:pt>
                <c:pt idx="2234">
                  <c:v>0.9983475566718146</c:v>
                </c:pt>
                <c:pt idx="2235">
                  <c:v>0.9983516595271926</c:v>
                </c:pt>
                <c:pt idx="2236">
                  <c:v>0.9983557567441985</c:v>
                </c:pt>
                <c:pt idx="2237">
                  <c:v>0.9983639417809237</c:v>
                </c:pt>
                <c:pt idx="2238">
                  <c:v>0.9983721230587341</c:v>
                </c:pt>
                <c:pt idx="2239">
                  <c:v>0.998376197722252</c:v>
                </c:pt>
                <c:pt idx="2240">
                  <c:v>0.9983802611090258</c:v>
                </c:pt>
                <c:pt idx="2241">
                  <c:v>0.9983843207368849</c:v>
                </c:pt>
                <c:pt idx="2242">
                  <c:v>0.998388380364744</c:v>
                </c:pt>
                <c:pt idx="2243">
                  <c:v>0.9983924399926031</c:v>
                </c:pt>
                <c:pt idx="2244">
                  <c:v>0.9983964939820902</c:v>
                </c:pt>
                <c:pt idx="2245">
                  <c:v>0.9984005348153758</c:v>
                </c:pt>
                <c:pt idx="2246">
                  <c:v>0.9984045737692042</c:v>
                </c:pt>
                <c:pt idx="2247">
                  <c:v>0.9984126422795742</c:v>
                </c:pt>
                <c:pt idx="2248">
                  <c:v>0.9984206844775413</c:v>
                </c:pt>
                <c:pt idx="2249">
                  <c:v>0.9984246952395095</c:v>
                </c:pt>
                <c:pt idx="2250">
                  <c:v>0.9984286853274469</c:v>
                </c:pt>
                <c:pt idx="2251">
                  <c:v>0.9984326754153843</c:v>
                </c:pt>
                <c:pt idx="2252">
                  <c:v>0.998436656106035</c:v>
                </c:pt>
                <c:pt idx="2253">
                  <c:v>0.9984406330377711</c:v>
                </c:pt>
                <c:pt idx="2254">
                  <c:v>0.9984446005722204</c:v>
                </c:pt>
                <c:pt idx="2255">
                  <c:v>0.9984485662272123</c:v>
                </c:pt>
                <c:pt idx="2256">
                  <c:v>0.9984525243643749</c:v>
                </c:pt>
                <c:pt idx="2257">
                  <c:v>0.9984564806220803</c:v>
                </c:pt>
                <c:pt idx="2258">
                  <c:v>0.9984604218441268</c:v>
                </c:pt>
                <c:pt idx="2259">
                  <c:v>0.9984682854936464</c:v>
                </c:pt>
                <c:pt idx="2260">
                  <c:v>0.9984722004032902</c:v>
                </c:pt>
                <c:pt idx="2261">
                  <c:v>0.9984761115540193</c:v>
                </c:pt>
                <c:pt idx="2262">
                  <c:v>0.998480009548547</c:v>
                </c:pt>
                <c:pt idx="2263">
                  <c:v>0.9984839000252453</c:v>
                </c:pt>
                <c:pt idx="2264">
                  <c:v>0.998487781104657</c:v>
                </c:pt>
                <c:pt idx="2265">
                  <c:v>0.9984916603046112</c:v>
                </c:pt>
                <c:pt idx="2266">
                  <c:v>0.9984955357456508</c:v>
                </c:pt>
                <c:pt idx="2267">
                  <c:v>0.9984994036688609</c:v>
                </c:pt>
                <c:pt idx="2268">
                  <c:v>0.9985032640742417</c:v>
                </c:pt>
                <c:pt idx="2269">
                  <c:v>0.9985071188412505</c:v>
                </c:pt>
                <c:pt idx="2270">
                  <c:v>0.9985148020628654</c:v>
                </c:pt>
                <c:pt idx="2271">
                  <c:v>0.9985186417942155</c:v>
                </c:pt>
                <c:pt idx="2272">
                  <c:v>0.9985224533337054</c:v>
                </c:pt>
                <c:pt idx="2273">
                  <c:v>0.9985262423197072</c:v>
                </c:pt>
                <c:pt idx="2274">
                  <c:v>0.9985300256673371</c:v>
                </c:pt>
                <c:pt idx="2275">
                  <c:v>0.9985337883409361</c:v>
                </c:pt>
                <c:pt idx="2276">
                  <c:v>0.9985375303405044</c:v>
                </c:pt>
                <c:pt idx="2277">
                  <c:v>0.9985412723400727</c:v>
                </c:pt>
                <c:pt idx="2278">
                  <c:v>0.9985450124601837</c:v>
                </c:pt>
                <c:pt idx="2279">
                  <c:v>0.9985487469419226</c:v>
                </c:pt>
                <c:pt idx="2280">
                  <c:v>0.9985524720263749</c:v>
                </c:pt>
                <c:pt idx="2281">
                  <c:v>0.9985561952313697</c:v>
                </c:pt>
                <c:pt idx="2282">
                  <c:v>0.9985599071596205</c:v>
                </c:pt>
                <c:pt idx="2283">
                  <c:v>0.9985636153289567</c:v>
                </c:pt>
                <c:pt idx="2284">
                  <c:v>0.9985709602482499</c:v>
                </c:pt>
                <c:pt idx="2285">
                  <c:v>0.9985746214311524</c:v>
                </c:pt>
                <c:pt idx="2286">
                  <c:v>0.9985782788551403</c:v>
                </c:pt>
                <c:pt idx="2287">
                  <c:v>0.9985819343996708</c:v>
                </c:pt>
                <c:pt idx="2288">
                  <c:v>0.998585576788</c:v>
                </c:pt>
                <c:pt idx="2289">
                  <c:v>0.9985892154174144</c:v>
                </c:pt>
                <c:pt idx="2290">
                  <c:v>0.9985928465289995</c:v>
                </c:pt>
                <c:pt idx="2291">
                  <c:v>0.9985964513281818</c:v>
                </c:pt>
                <c:pt idx="2292">
                  <c:v>0.99860004485062</c:v>
                </c:pt>
                <c:pt idx="2293">
                  <c:v>0.9986072018241791</c:v>
                </c:pt>
                <c:pt idx="2294">
                  <c:v>0.9986107671547572</c:v>
                </c:pt>
                <c:pt idx="2295">
                  <c:v>0.9986143230880485</c:v>
                </c:pt>
                <c:pt idx="2296">
                  <c:v>0.9986178790213399</c:v>
                </c:pt>
                <c:pt idx="2297">
                  <c:v>0.9986214236778873</c:v>
                </c:pt>
                <c:pt idx="2298">
                  <c:v>0.9986354932955509</c:v>
                </c:pt>
                <c:pt idx="2299">
                  <c:v>0.9986389834478353</c:v>
                </c:pt>
                <c:pt idx="2300">
                  <c:v>0.9986424698412051</c:v>
                </c:pt>
                <c:pt idx="2301">
                  <c:v>0.9986459543551175</c:v>
                </c:pt>
                <c:pt idx="2302">
                  <c:v>0.9986494313512005</c:v>
                </c:pt>
                <c:pt idx="2303">
                  <c:v>0.9986529027089115</c:v>
                </c:pt>
                <c:pt idx="2304">
                  <c:v>0.9986563458747624</c:v>
                </c:pt>
                <c:pt idx="2305">
                  <c:v>0.9986597721254972</c:v>
                </c:pt>
                <c:pt idx="2306">
                  <c:v>0.9986631964967746</c:v>
                </c:pt>
                <c:pt idx="2307">
                  <c:v>0.9986700245652987</c:v>
                </c:pt>
                <c:pt idx="2308">
                  <c:v>0.9986734357803748</c:v>
                </c:pt>
                <c:pt idx="2309">
                  <c:v>0.9986768357187068</c:v>
                </c:pt>
                <c:pt idx="2310">
                  <c:v>0.9986802262597521</c:v>
                </c:pt>
                <c:pt idx="2311">
                  <c:v>0.9986903640526558</c:v>
                </c:pt>
                <c:pt idx="2312">
                  <c:v>0.9986937357991277</c:v>
                </c:pt>
                <c:pt idx="2313">
                  <c:v>0.9987004473412966</c:v>
                </c:pt>
                <c:pt idx="2314">
                  <c:v>0.998703777739707</c:v>
                </c:pt>
                <c:pt idx="2315">
                  <c:v>0.9987070987408306</c:v>
                </c:pt>
                <c:pt idx="2316">
                  <c:v>0.9987104141035822</c:v>
                </c:pt>
                <c:pt idx="2317">
                  <c:v>0.9987170222755973</c:v>
                </c:pt>
                <c:pt idx="2318">
                  <c:v>0.9987235759433495</c:v>
                </c:pt>
                <c:pt idx="2319">
                  <c:v>0.998730120213815</c:v>
                </c:pt>
                <c:pt idx="2320">
                  <c:v>0.9987333867106757</c:v>
                </c:pt>
                <c:pt idx="2321">
                  <c:v>0.998739902789281</c:v>
                </c:pt>
                <c:pt idx="2322">
                  <c:v>0.9987431504915684</c:v>
                </c:pt>
                <c:pt idx="2323">
                  <c:v>0.998746394434941</c:v>
                </c:pt>
                <c:pt idx="2324">
                  <c:v>0.9987496364988562</c:v>
                </c:pt>
                <c:pt idx="2325">
                  <c:v>0.9987528691654847</c:v>
                </c:pt>
                <c:pt idx="2326">
                  <c:v>0.9987560943142838</c:v>
                </c:pt>
                <c:pt idx="2327">
                  <c:v>0.9987593025479669</c:v>
                </c:pt>
                <c:pt idx="2328">
                  <c:v>0.9987625107816499</c:v>
                </c:pt>
                <c:pt idx="2329">
                  <c:v>0.9987657152564183</c:v>
                </c:pt>
                <c:pt idx="2330">
                  <c:v>0.9987689197311868</c:v>
                </c:pt>
                <c:pt idx="2331">
                  <c:v>0.9987721242059552</c:v>
                </c:pt>
                <c:pt idx="2332">
                  <c:v>0.9987753286807236</c:v>
                </c:pt>
                <c:pt idx="2333">
                  <c:v>0.99877852751712</c:v>
                </c:pt>
                <c:pt idx="2334">
                  <c:v>0.998784893239138</c:v>
                </c:pt>
                <c:pt idx="2335">
                  <c:v>0.9987880657631316</c:v>
                </c:pt>
                <c:pt idx="2336">
                  <c:v>0.9987912100952651</c:v>
                </c:pt>
                <c:pt idx="2337">
                  <c:v>0.9987943487890265</c:v>
                </c:pt>
                <c:pt idx="2338">
                  <c:v>0.998797487482788</c:v>
                </c:pt>
                <c:pt idx="2339">
                  <c:v>0.9988006167792627</c:v>
                </c:pt>
                <c:pt idx="2340">
                  <c:v>0.998806858457096</c:v>
                </c:pt>
                <c:pt idx="2341">
                  <c:v>0.998809972717912</c:v>
                </c:pt>
                <c:pt idx="2342">
                  <c:v>0.9988130850992707</c:v>
                </c:pt>
                <c:pt idx="2343">
                  <c:v>0.998816195601172</c:v>
                </c:pt>
                <c:pt idx="2344">
                  <c:v>0.9988192985852439</c:v>
                </c:pt>
                <c:pt idx="2345">
                  <c:v>0.9988223733774557</c:v>
                </c:pt>
                <c:pt idx="2346">
                  <c:v>0.9988254481696676</c:v>
                </c:pt>
                <c:pt idx="2347">
                  <c:v>0.9988285116851353</c:v>
                </c:pt>
                <c:pt idx="2348">
                  <c:v>0.9988315733211457</c:v>
                </c:pt>
                <c:pt idx="2349">
                  <c:v>0.9988346311982415</c:v>
                </c:pt>
                <c:pt idx="2350">
                  <c:v>0.9988376871958798</c:v>
                </c:pt>
                <c:pt idx="2351">
                  <c:v>0.9988407394346035</c:v>
                </c:pt>
                <c:pt idx="2352">
                  <c:v>0.9988437841554978</c:v>
                </c:pt>
                <c:pt idx="2353">
                  <c:v>0.9988468269969347</c:v>
                </c:pt>
                <c:pt idx="2354">
                  <c:v>0.9988498679589144</c:v>
                </c:pt>
                <c:pt idx="2355">
                  <c:v>0.99885289764415</c:v>
                </c:pt>
                <c:pt idx="2356">
                  <c:v>0.9988589269433037</c:v>
                </c:pt>
                <c:pt idx="2357">
                  <c:v>0.9988619284366792</c:v>
                </c:pt>
                <c:pt idx="2358">
                  <c:v>0.9988649130149386</c:v>
                </c:pt>
                <c:pt idx="2359">
                  <c:v>0.9988678957137407</c:v>
                </c:pt>
                <c:pt idx="2360">
                  <c:v>0.9988708784125427</c:v>
                </c:pt>
                <c:pt idx="2361">
                  <c:v>0.9988738554729727</c:v>
                </c:pt>
                <c:pt idx="2362">
                  <c:v>0.998879800196546</c:v>
                </c:pt>
                <c:pt idx="2363">
                  <c:v>0.9988827565829452</c:v>
                </c:pt>
                <c:pt idx="2364">
                  <c:v>0.9988857110898871</c:v>
                </c:pt>
                <c:pt idx="2365">
                  <c:v>0.9988886580789996</c:v>
                </c:pt>
                <c:pt idx="2366">
                  <c:v>0.9988915881529961</c:v>
                </c:pt>
                <c:pt idx="2367">
                  <c:v>0.9988945163475351</c:v>
                </c:pt>
                <c:pt idx="2368">
                  <c:v>0.998900359580412</c:v>
                </c:pt>
                <c:pt idx="2369">
                  <c:v>0.998903270859835</c:v>
                </c:pt>
                <c:pt idx="2370">
                  <c:v>0.9989061783803433</c:v>
                </c:pt>
                <c:pt idx="2371">
                  <c:v>0.9989090840213943</c:v>
                </c:pt>
                <c:pt idx="2372">
                  <c:v>0.9989119840240733</c:v>
                </c:pt>
                <c:pt idx="2373">
                  <c:v>0.9989148802678376</c:v>
                </c:pt>
                <c:pt idx="2374">
                  <c:v>0.9989177633554005</c:v>
                </c:pt>
                <c:pt idx="2375">
                  <c:v>0.9989206426840487</c:v>
                </c:pt>
                <c:pt idx="2376">
                  <c:v>0.9989263787878571</c:v>
                </c:pt>
                <c:pt idx="2377">
                  <c:v>0.9989292468397613</c:v>
                </c:pt>
                <c:pt idx="2378">
                  <c:v>0.9989321036149214</c:v>
                </c:pt>
                <c:pt idx="2379">
                  <c:v>0.9989349472338801</c:v>
                </c:pt>
                <c:pt idx="2380">
                  <c:v>0.9989377720582654</c:v>
                </c:pt>
                <c:pt idx="2381">
                  <c:v>0.9989405912442787</c:v>
                </c:pt>
                <c:pt idx="2382">
                  <c:v>0.998943410430292</c:v>
                </c:pt>
                <c:pt idx="2383">
                  <c:v>0.9989490130926291</c:v>
                </c:pt>
                <c:pt idx="2384">
                  <c:v>0.9989518059662396</c:v>
                </c:pt>
                <c:pt idx="2385">
                  <c:v>0.9989545950809353</c:v>
                </c:pt>
                <c:pt idx="2386">
                  <c:v>0.9989573729188871</c:v>
                </c:pt>
                <c:pt idx="2387">
                  <c:v>0.9989601488773815</c:v>
                </c:pt>
                <c:pt idx="2388">
                  <c:v>0.9989629191975039</c:v>
                </c:pt>
                <c:pt idx="2389">
                  <c:v>0.998965687638169</c:v>
                </c:pt>
                <c:pt idx="2390">
                  <c:v>0.9989684541993766</c:v>
                </c:pt>
                <c:pt idx="2391">
                  <c:v>0.9989712188811269</c:v>
                </c:pt>
                <c:pt idx="2392">
                  <c:v>0.9989739741655905</c:v>
                </c:pt>
                <c:pt idx="2393">
                  <c:v>0.9989767200527675</c:v>
                </c:pt>
                <c:pt idx="2394">
                  <c:v>0.9989794640604871</c:v>
                </c:pt>
                <c:pt idx="2395">
                  <c:v>0.9989822005503773</c:v>
                </c:pt>
                <c:pt idx="2396">
                  <c:v>0.9989849126073221</c:v>
                </c:pt>
                <c:pt idx="2397">
                  <c:v>0.9989876152669802</c:v>
                </c:pt>
                <c:pt idx="2398">
                  <c:v>0.9989903028909796</c:v>
                </c:pt>
                <c:pt idx="2399">
                  <c:v>0.9989929792382348</c:v>
                </c:pt>
                <c:pt idx="2400">
                  <c:v>0.9989982981025132</c:v>
                </c:pt>
                <c:pt idx="2401">
                  <c:v>0.999000950016823</c:v>
                </c:pt>
                <c:pt idx="2402">
                  <c:v>0.9990035944133034</c:v>
                </c:pt>
                <c:pt idx="2403">
                  <c:v>0.9990062350508692</c:v>
                </c:pt>
                <c:pt idx="2404">
                  <c:v>0.9990088719295203</c:v>
                </c:pt>
                <c:pt idx="2405">
                  <c:v>0.9990114975314273</c:v>
                </c:pt>
                <c:pt idx="2406">
                  <c:v>0.9990141231333343</c:v>
                </c:pt>
                <c:pt idx="2407">
                  <c:v>0.9990167355790399</c:v>
                </c:pt>
                <c:pt idx="2408">
                  <c:v>0.9990193442658308</c:v>
                </c:pt>
                <c:pt idx="2409">
                  <c:v>0.9990219510731644</c:v>
                </c:pt>
                <c:pt idx="2410">
                  <c:v>0.9990245484832113</c:v>
                </c:pt>
                <c:pt idx="2411">
                  <c:v>0.9990271402548861</c:v>
                </c:pt>
                <c:pt idx="2412">
                  <c:v>0.9990297282676464</c:v>
                </c:pt>
                <c:pt idx="2413">
                  <c:v>0.9990323125214918</c:v>
                </c:pt>
                <c:pt idx="2414">
                  <c:v>0.999037449078408</c:v>
                </c:pt>
                <c:pt idx="2415">
                  <c:v>0.999040008899308</c:v>
                </c:pt>
                <c:pt idx="2416">
                  <c:v>0.9990451229027361</c:v>
                </c:pt>
                <c:pt idx="2417">
                  <c:v>0.9990476789647215</c:v>
                </c:pt>
                <c:pt idx="2418">
                  <c:v>0.9990502312677921</c:v>
                </c:pt>
                <c:pt idx="2419">
                  <c:v>0.9990553151999028</c:v>
                </c:pt>
                <c:pt idx="2420">
                  <c:v>0.9990578524673147</c:v>
                </c:pt>
                <c:pt idx="2421">
                  <c:v>0.9990603822168973</c:v>
                </c:pt>
                <c:pt idx="2422">
                  <c:v>0.9990629082075652</c:v>
                </c:pt>
                <c:pt idx="2423">
                  <c:v>0.9990654304393184</c:v>
                </c:pt>
                <c:pt idx="2424">
                  <c:v>0.9990679470326995</c:v>
                </c:pt>
                <c:pt idx="2425">
                  <c:v>0.9990704617466234</c:v>
                </c:pt>
                <c:pt idx="2426">
                  <c:v>0.9990729708221752</c:v>
                </c:pt>
                <c:pt idx="2427">
                  <c:v>0.9990779814554495</c:v>
                </c:pt>
                <c:pt idx="2428">
                  <c:v>0.9990804792542572</c:v>
                </c:pt>
                <c:pt idx="2429">
                  <c:v>0.9990829657763209</c:v>
                </c:pt>
                <c:pt idx="2430">
                  <c:v>0.9990854522983846</c:v>
                </c:pt>
                <c:pt idx="2431">
                  <c:v>0.999087936940991</c:v>
                </c:pt>
                <c:pt idx="2432">
                  <c:v>0.9990904159452253</c:v>
                </c:pt>
                <c:pt idx="2433">
                  <c:v>0.9990928949494596</c:v>
                </c:pt>
                <c:pt idx="2434">
                  <c:v>0.999095373953694</c:v>
                </c:pt>
                <c:pt idx="2435">
                  <c:v>0.9990978454400989</c:v>
                </c:pt>
                <c:pt idx="2436">
                  <c:v>0.9991003037703025</c:v>
                </c:pt>
                <c:pt idx="2437">
                  <c:v>0.999102756462134</c:v>
                </c:pt>
                <c:pt idx="2438">
                  <c:v>0.9991052035155935</c:v>
                </c:pt>
                <c:pt idx="2439">
                  <c:v>0.9991076486895957</c:v>
                </c:pt>
                <c:pt idx="2440">
                  <c:v>0.9991100919841405</c:v>
                </c:pt>
                <c:pt idx="2441">
                  <c:v>0.999112533399228</c:v>
                </c:pt>
                <c:pt idx="2442">
                  <c:v>0.9991149578991995</c:v>
                </c:pt>
                <c:pt idx="2443">
                  <c:v>0.9991173692429695</c:v>
                </c:pt>
                <c:pt idx="2444">
                  <c:v>0.9991197711894527</c:v>
                </c:pt>
                <c:pt idx="2445">
                  <c:v>0.9991221581002773</c:v>
                </c:pt>
                <c:pt idx="2446">
                  <c:v>0.9991245280959857</c:v>
                </c:pt>
                <c:pt idx="2447">
                  <c:v>0.9991315760610189</c:v>
                </c:pt>
                <c:pt idx="2448">
                  <c:v>0.9991339141059525</c:v>
                </c:pt>
                <c:pt idx="2449">
                  <c:v>0.9991362483919716</c:v>
                </c:pt>
                <c:pt idx="2450">
                  <c:v>0.9991385807985332</c:v>
                </c:pt>
                <c:pt idx="2451">
                  <c:v>0.9991409132050949</c:v>
                </c:pt>
                <c:pt idx="2452">
                  <c:v>0.9991432362143698</c:v>
                </c:pt>
                <c:pt idx="2453">
                  <c:v>0.9991455479469007</c:v>
                </c:pt>
                <c:pt idx="2454">
                  <c:v>0.9991478577999743</c:v>
                </c:pt>
                <c:pt idx="2455">
                  <c:v>0.9991547366138467</c:v>
                </c:pt>
                <c:pt idx="2456">
                  <c:v>0.9991570182750601</c:v>
                </c:pt>
                <c:pt idx="2457">
                  <c:v>0.9991592830211574</c:v>
                </c:pt>
                <c:pt idx="2458">
                  <c:v>0.99916154400834</c:v>
                </c:pt>
                <c:pt idx="2459">
                  <c:v>0.9991637974776932</c:v>
                </c:pt>
                <c:pt idx="2460">
                  <c:v>0.9991660471881318</c:v>
                </c:pt>
                <c:pt idx="2461">
                  <c:v>0.9991682856218264</c:v>
                </c:pt>
                <c:pt idx="2462">
                  <c:v>0.9991705202966062</c:v>
                </c:pt>
                <c:pt idx="2463">
                  <c:v>0.9991727549713861</c:v>
                </c:pt>
                <c:pt idx="2464">
                  <c:v>0.9991749802488793</c:v>
                </c:pt>
                <c:pt idx="2465">
                  <c:v>0.9991772055263725</c:v>
                </c:pt>
                <c:pt idx="2466">
                  <c:v>0.9991816391662426</c:v>
                </c:pt>
                <c:pt idx="2467">
                  <c:v>0.9991838531669917</c:v>
                </c:pt>
                <c:pt idx="2468">
                  <c:v>0.9991860652882834</c:v>
                </c:pt>
                <c:pt idx="2469">
                  <c:v>0.9991882755301178</c:v>
                </c:pt>
                <c:pt idx="2470">
                  <c:v>0.9991904820130375</c:v>
                </c:pt>
                <c:pt idx="2471">
                  <c:v>0.9991926884959572</c:v>
                </c:pt>
                <c:pt idx="2472">
                  <c:v>0.9991948949788769</c:v>
                </c:pt>
                <c:pt idx="2473">
                  <c:v>0.9991970995823393</c:v>
                </c:pt>
                <c:pt idx="2474">
                  <c:v>0.9991993023063444</c:v>
                </c:pt>
                <c:pt idx="2475">
                  <c:v>0.9992014993919773</c:v>
                </c:pt>
                <c:pt idx="2476">
                  <c:v>0.9992058935632433</c:v>
                </c:pt>
                <c:pt idx="2477">
                  <c:v>0.9992080850105043</c:v>
                </c:pt>
                <c:pt idx="2478">
                  <c:v>0.9992102726988505</c:v>
                </c:pt>
                <c:pt idx="2479">
                  <c:v>0.9992146405577138</c:v>
                </c:pt>
                <c:pt idx="2480">
                  <c:v>0.9992168188487733</c:v>
                </c:pt>
                <c:pt idx="2481">
                  <c:v>0.9992211603952337</c:v>
                </c:pt>
                <c:pt idx="2482">
                  <c:v>0.9992233311684638</c:v>
                </c:pt>
                <c:pt idx="2483">
                  <c:v>0.9992255000622368</c:v>
                </c:pt>
                <c:pt idx="2484">
                  <c:v>0.9992298265730385</c:v>
                </c:pt>
                <c:pt idx="2485">
                  <c:v>0.99923198231061</c:v>
                </c:pt>
                <c:pt idx="2486">
                  <c:v>0.9992341342892668</c:v>
                </c:pt>
                <c:pt idx="2487">
                  <c:v>0.999238413813635</c:v>
                </c:pt>
                <c:pt idx="2488">
                  <c:v>0.9992405507566331</c:v>
                </c:pt>
                <c:pt idx="2489">
                  <c:v>0.9992426876996312</c:v>
                </c:pt>
                <c:pt idx="2490">
                  <c:v>0.9992448208837146</c:v>
                </c:pt>
                <c:pt idx="2491">
                  <c:v>0.9992469521883406</c:v>
                </c:pt>
                <c:pt idx="2492">
                  <c:v>0.9992511884851899</c:v>
                </c:pt>
                <c:pt idx="2493">
                  <c:v>0.9992532953568705</c:v>
                </c:pt>
                <c:pt idx="2494">
                  <c:v>0.999255402228551</c:v>
                </c:pt>
                <c:pt idx="2495">
                  <c:v>0.9992574997029449</c:v>
                </c:pt>
                <c:pt idx="2496">
                  <c:v>0.9992595971773387</c:v>
                </c:pt>
                <c:pt idx="2497">
                  <c:v>0.9992616927722753</c:v>
                </c:pt>
                <c:pt idx="2498">
                  <c:v>0.9992637846082971</c:v>
                </c:pt>
                <c:pt idx="2499">
                  <c:v>0.9992679626419687</c:v>
                </c:pt>
                <c:pt idx="2500">
                  <c:v>0.9992721256399816</c:v>
                </c:pt>
                <c:pt idx="2501">
                  <c:v>0.9992741892841432</c:v>
                </c:pt>
                <c:pt idx="2502">
                  <c:v>0.9992762454104755</c:v>
                </c:pt>
                <c:pt idx="2503">
                  <c:v>0.9992782902600639</c:v>
                </c:pt>
                <c:pt idx="2504">
                  <c:v>0.9992823649235817</c:v>
                </c:pt>
                <c:pt idx="2505">
                  <c:v>0.9992843966169686</c:v>
                </c:pt>
                <c:pt idx="2506">
                  <c:v>0.9992864283103554</c:v>
                </c:pt>
                <c:pt idx="2507">
                  <c:v>0.999288458124285</c:v>
                </c:pt>
                <c:pt idx="2508">
                  <c:v>0.9992904804203852</c:v>
                </c:pt>
                <c:pt idx="2509">
                  <c:v>0.9992924989575707</c:v>
                </c:pt>
                <c:pt idx="2510">
                  <c:v>0.9992945156152988</c:v>
                </c:pt>
                <c:pt idx="2511">
                  <c:v>0.9992965303935696</c:v>
                </c:pt>
                <c:pt idx="2512">
                  <c:v>0.999298537654011</c:v>
                </c:pt>
                <c:pt idx="2513">
                  <c:v>0.9993025390186925</c:v>
                </c:pt>
                <c:pt idx="2514">
                  <c:v>0.9993045331229325</c:v>
                </c:pt>
                <c:pt idx="2515">
                  <c:v>0.9993065272271726</c:v>
                </c:pt>
                <c:pt idx="2516">
                  <c:v>0.9993085194519553</c:v>
                </c:pt>
                <c:pt idx="2517">
                  <c:v>0.999310511676738</c:v>
                </c:pt>
                <c:pt idx="2518">
                  <c:v>0.9993144923673887</c:v>
                </c:pt>
                <c:pt idx="2519">
                  <c:v>0.9993184655402101</c:v>
                </c:pt>
                <c:pt idx="2520">
                  <c:v>0.9993204389704193</c:v>
                </c:pt>
                <c:pt idx="2521">
                  <c:v>0.9993224067622566</c:v>
                </c:pt>
                <c:pt idx="2522">
                  <c:v>0.9993243726746365</c:v>
                </c:pt>
                <c:pt idx="2523">
                  <c:v>0.9993263329486444</c:v>
                </c:pt>
                <c:pt idx="2524">
                  <c:v>0.9993282913431949</c:v>
                </c:pt>
                <c:pt idx="2525">
                  <c:v>0.9993302440993734</c:v>
                </c:pt>
                <c:pt idx="2526">
                  <c:v>0.999332196855552</c:v>
                </c:pt>
                <c:pt idx="2527">
                  <c:v>0.9993341420939011</c:v>
                </c:pt>
                <c:pt idx="2528">
                  <c:v>0.9993360835733356</c:v>
                </c:pt>
                <c:pt idx="2529">
                  <c:v>0.999338013776026</c:v>
                </c:pt>
                <c:pt idx="2530">
                  <c:v>0.9993418591457481</c:v>
                </c:pt>
                <c:pt idx="2531">
                  <c:v>0.9993437743127798</c:v>
                </c:pt>
                <c:pt idx="2532">
                  <c:v>0.9993456857208968</c:v>
                </c:pt>
                <c:pt idx="2533">
                  <c:v>0.9993494953809293</c:v>
                </c:pt>
                <c:pt idx="2534">
                  <c:v>0.9993513973917596</c:v>
                </c:pt>
                <c:pt idx="2535">
                  <c:v>0.9993532900053032</c:v>
                </c:pt>
                <c:pt idx="2536">
                  <c:v>0.9993551788599321</c:v>
                </c:pt>
                <c:pt idx="2537">
                  <c:v>0.9993570564378169</c:v>
                </c:pt>
                <c:pt idx="2538">
                  <c:v>0.9993608078346718</c:v>
                </c:pt>
                <c:pt idx="2539">
                  <c:v>0.9993645310396667</c:v>
                </c:pt>
                <c:pt idx="2540">
                  <c:v>0.9993682241733441</c:v>
                </c:pt>
                <c:pt idx="2541">
                  <c:v>0.9993700679209968</c:v>
                </c:pt>
                <c:pt idx="2542">
                  <c:v>0.9993718985124481</c:v>
                </c:pt>
                <c:pt idx="2543">
                  <c:v>0.9993773620949419</c:v>
                </c:pt>
                <c:pt idx="2544">
                  <c:v>0.9993791757712771</c:v>
                </c:pt>
                <c:pt idx="2545">
                  <c:v>0.9993809856886976</c:v>
                </c:pt>
                <c:pt idx="2546">
                  <c:v>0.9993827956061181</c:v>
                </c:pt>
                <c:pt idx="2547">
                  <c:v>0.9993846036440812</c:v>
                </c:pt>
                <c:pt idx="2548">
                  <c:v>0.9993864098025871</c:v>
                </c:pt>
                <c:pt idx="2549">
                  <c:v>0.9993882065638062</c:v>
                </c:pt>
                <c:pt idx="2550">
                  <c:v>0.999390001445568</c:v>
                </c:pt>
                <c:pt idx="2551">
                  <c:v>0.9993935761734327</c:v>
                </c:pt>
                <c:pt idx="2552">
                  <c:v>0.9993953578989931</c:v>
                </c:pt>
                <c:pt idx="2553">
                  <c:v>0.9993971264683521</c:v>
                </c:pt>
                <c:pt idx="2554">
                  <c:v>0.9993988893993391</c:v>
                </c:pt>
                <c:pt idx="2555">
                  <c:v>0.9994024115023983</c:v>
                </c:pt>
                <c:pt idx="2556">
                  <c:v>0.9994041687950133</c:v>
                </c:pt>
                <c:pt idx="2557">
                  <c:v>0.9994059223287135</c:v>
                </c:pt>
                <c:pt idx="2558">
                  <c:v>0.9994076721034991</c:v>
                </c:pt>
                <c:pt idx="2559">
                  <c:v>0.9994094218782847</c:v>
                </c:pt>
                <c:pt idx="2560">
                  <c:v>0.9994111603763263</c:v>
                </c:pt>
                <c:pt idx="2561">
                  <c:v>0.9994128988743678</c:v>
                </c:pt>
                <c:pt idx="2562">
                  <c:v>0.9994163739909935</c:v>
                </c:pt>
                <c:pt idx="2563">
                  <c:v>0.9994181012122909</c:v>
                </c:pt>
                <c:pt idx="2564">
                  <c:v>0.9994198227952164</c:v>
                </c:pt>
                <c:pt idx="2565">
                  <c:v>0.9994215443781418</c:v>
                </c:pt>
                <c:pt idx="2566">
                  <c:v>0.9994232640816099</c:v>
                </c:pt>
                <c:pt idx="2567">
                  <c:v>0.9994266865734299</c:v>
                </c:pt>
                <c:pt idx="2568">
                  <c:v>0.9994283968796113</c:v>
                </c:pt>
                <c:pt idx="2569">
                  <c:v>0.9994300940295913</c:v>
                </c:pt>
                <c:pt idx="2570">
                  <c:v>0.9994317893001139</c:v>
                </c:pt>
                <c:pt idx="2571">
                  <c:v>0.9994334826911792</c:v>
                </c:pt>
                <c:pt idx="2572">
                  <c:v>0.9994351742027872</c:v>
                </c:pt>
                <c:pt idx="2573">
                  <c:v>0.9994368544376511</c:v>
                </c:pt>
                <c:pt idx="2574">
                  <c:v>0.999438534672515</c:v>
                </c:pt>
                <c:pt idx="2575">
                  <c:v>0.9994418801065841</c:v>
                </c:pt>
                <c:pt idx="2576">
                  <c:v>0.9994435509441613</c:v>
                </c:pt>
                <c:pt idx="2577">
                  <c:v>0.9994452199022811</c:v>
                </c:pt>
                <c:pt idx="2578">
                  <c:v>0.9994468775836569</c:v>
                </c:pt>
                <c:pt idx="2579">
                  <c:v>0.9994501703929204</c:v>
                </c:pt>
                <c:pt idx="2580">
                  <c:v>0.9994518074002654</c:v>
                </c:pt>
                <c:pt idx="2581">
                  <c:v>0.999453442528153</c:v>
                </c:pt>
                <c:pt idx="2582">
                  <c:v>0.9994550776560407</c:v>
                </c:pt>
                <c:pt idx="2583">
                  <c:v>0.9994567127839283</c:v>
                </c:pt>
                <c:pt idx="2584">
                  <c:v>0.9994599717629598</c:v>
                </c:pt>
                <c:pt idx="2585">
                  <c:v>0.9994615880962741</c:v>
                </c:pt>
                <c:pt idx="2586">
                  <c:v>0.9994631987912163</c:v>
                </c:pt>
                <c:pt idx="2587">
                  <c:v>0.9994680045636403</c:v>
                </c:pt>
                <c:pt idx="2588">
                  <c:v>0.9994695927050944</c:v>
                </c:pt>
                <c:pt idx="2589">
                  <c:v>0.9994727595907159</c:v>
                </c:pt>
                <c:pt idx="2590">
                  <c:v>0.9994743383348833</c:v>
                </c:pt>
                <c:pt idx="2591">
                  <c:v>0.9994759170790507</c:v>
                </c:pt>
                <c:pt idx="2592">
                  <c:v>0.9994774958232181</c:v>
                </c:pt>
                <c:pt idx="2593">
                  <c:v>0.9994790726879282</c:v>
                </c:pt>
                <c:pt idx="2594">
                  <c:v>0.9994806401553517</c:v>
                </c:pt>
                <c:pt idx="2595">
                  <c:v>0.999482201984403</c:v>
                </c:pt>
                <c:pt idx="2596">
                  <c:v>0.9994853256425056</c:v>
                </c:pt>
                <c:pt idx="2597">
                  <c:v>0.9994868761948129</c:v>
                </c:pt>
                <c:pt idx="2598">
                  <c:v>0.9994899547459394</c:v>
                </c:pt>
                <c:pt idx="2599">
                  <c:v>0.9994914883831306</c:v>
                </c:pt>
                <c:pt idx="2600">
                  <c:v>0.9994930163819498</c:v>
                </c:pt>
                <c:pt idx="2601">
                  <c:v>0.9994945425013116</c:v>
                </c:pt>
                <c:pt idx="2602">
                  <c:v>0.9994975891016633</c:v>
                </c:pt>
                <c:pt idx="2603">
                  <c:v>0.9994991095826531</c:v>
                </c:pt>
                <c:pt idx="2604">
                  <c:v>0.9995006244252709</c:v>
                </c:pt>
                <c:pt idx="2605">
                  <c:v>0.9995021373884313</c:v>
                </c:pt>
                <c:pt idx="2606">
                  <c:v>0.9995051539174655</c:v>
                </c:pt>
                <c:pt idx="2607">
                  <c:v>0.9995066537244246</c:v>
                </c:pt>
                <c:pt idx="2608">
                  <c:v>0.9995081516519263</c:v>
                </c:pt>
                <c:pt idx="2609">
                  <c:v>0.999509643941056</c:v>
                </c:pt>
                <c:pt idx="2610">
                  <c:v>0.9995111343507284</c:v>
                </c:pt>
                <c:pt idx="2611">
                  <c:v>0.9995141001344142</c:v>
                </c:pt>
                <c:pt idx="2612">
                  <c:v>0.9995170452440695</c:v>
                </c:pt>
                <c:pt idx="2613">
                  <c:v>0.999518503702967</c:v>
                </c:pt>
                <c:pt idx="2614">
                  <c:v>0.9995199546440352</c:v>
                </c:pt>
                <c:pt idx="2615">
                  <c:v>0.9995214055851034</c:v>
                </c:pt>
                <c:pt idx="2616">
                  <c:v>0.9995228490083422</c:v>
                </c:pt>
                <c:pt idx="2617">
                  <c:v>0.9995242867932089</c:v>
                </c:pt>
                <c:pt idx="2618">
                  <c:v>0.9995257226986184</c:v>
                </c:pt>
                <c:pt idx="2619">
                  <c:v>0.9995271548451131</c:v>
                </c:pt>
                <c:pt idx="2620">
                  <c:v>0.9995285832326932</c:v>
                </c:pt>
                <c:pt idx="2621">
                  <c:v>0.9995328496008599</c:v>
                </c:pt>
                <c:pt idx="2622">
                  <c:v>0.9995342685911532</c:v>
                </c:pt>
                <c:pt idx="2623">
                  <c:v>0.9995370990539105</c:v>
                </c:pt>
                <c:pt idx="2624">
                  <c:v>0.9995385105263745</c:v>
                </c:pt>
                <c:pt idx="2625">
                  <c:v>0.9995399182399238</c:v>
                </c:pt>
                <c:pt idx="2626">
                  <c:v>0.9995413259534731</c:v>
                </c:pt>
                <c:pt idx="2627">
                  <c:v>0.9995441301038277</c:v>
                </c:pt>
                <c:pt idx="2628">
                  <c:v>0.9995469323747249</c:v>
                </c:pt>
                <c:pt idx="2629">
                  <c:v>0.9995483269320729</c:v>
                </c:pt>
                <c:pt idx="2630">
                  <c:v>0.9995497196099634</c:v>
                </c:pt>
                <c:pt idx="2631">
                  <c:v>0.9995511104083966</c:v>
                </c:pt>
                <c:pt idx="2632">
                  <c:v>0.9995525012068298</c:v>
                </c:pt>
                <c:pt idx="2633">
                  <c:v>0.9995552809242388</c:v>
                </c:pt>
                <c:pt idx="2634">
                  <c:v>0.9995580456059892</c:v>
                </c:pt>
                <c:pt idx="2635">
                  <c:v>0.9995621428229952</c:v>
                </c:pt>
                <c:pt idx="2636">
                  <c:v>0.9995634960322816</c:v>
                </c:pt>
                <c:pt idx="2637">
                  <c:v>0.9995648454826532</c:v>
                </c:pt>
                <c:pt idx="2638">
                  <c:v>0.9995661911741103</c:v>
                </c:pt>
                <c:pt idx="2639">
                  <c:v>0.9995675368655673</c:v>
                </c:pt>
                <c:pt idx="2640">
                  <c:v>0.9995688769186523</c:v>
                </c:pt>
                <c:pt idx="2641">
                  <c:v>0.9995715495069929</c:v>
                </c:pt>
                <c:pt idx="2642">
                  <c:v>0.9995728782833339</c:v>
                </c:pt>
                <c:pt idx="2643">
                  <c:v>0.9995742051802174</c:v>
                </c:pt>
                <c:pt idx="2644">
                  <c:v>0.9995768495766979</c:v>
                </c:pt>
                <c:pt idx="2645">
                  <c:v>0.9995781708352095</c:v>
                </c:pt>
                <c:pt idx="2646">
                  <c:v>0.9995807814014578</c:v>
                </c:pt>
                <c:pt idx="2647">
                  <c:v>0.9995820838653959</c:v>
                </c:pt>
                <c:pt idx="2648">
                  <c:v>0.9995833863293341</c:v>
                </c:pt>
                <c:pt idx="2649">
                  <c:v>0.9995846850343575</c:v>
                </c:pt>
                <c:pt idx="2650">
                  <c:v>0.999588560475397</c:v>
                </c:pt>
                <c:pt idx="2651">
                  <c:v>0.9995898479036764</c:v>
                </c:pt>
                <c:pt idx="2652">
                  <c:v>0.9995911353319559</c:v>
                </c:pt>
                <c:pt idx="2653">
                  <c:v>0.9995924227602353</c:v>
                </c:pt>
                <c:pt idx="2654">
                  <c:v>0.999594975063306</c:v>
                </c:pt>
                <c:pt idx="2655">
                  <c:v>0.9995962455764693</c:v>
                </c:pt>
                <c:pt idx="2656">
                  <c:v>0.9995975104512606</c:v>
                </c:pt>
                <c:pt idx="2657">
                  <c:v>0.9996000270446417</c:v>
                </c:pt>
                <c:pt idx="2658">
                  <c:v>0.9996025135667054</c:v>
                </c:pt>
                <c:pt idx="2659">
                  <c:v>0.9996037540085512</c:v>
                </c:pt>
                <c:pt idx="2660">
                  <c:v>0.999604994450397</c:v>
                </c:pt>
                <c:pt idx="2661">
                  <c:v>0.9996062236154988</c:v>
                </c:pt>
                <c:pt idx="2662">
                  <c:v>0.9996074471422285</c:v>
                </c:pt>
                <c:pt idx="2663">
                  <c:v>0.9996098904367734</c:v>
                </c:pt>
                <c:pt idx="2664">
                  <c:v>0.9996111102045885</c:v>
                </c:pt>
                <c:pt idx="2665">
                  <c:v>0.9996135365840172</c:v>
                </c:pt>
                <c:pt idx="2666">
                  <c:v>0.9996147431956308</c:v>
                </c:pt>
                <c:pt idx="2667">
                  <c:v>0.9996159479277872</c:v>
                </c:pt>
                <c:pt idx="2668">
                  <c:v>0.9996183517537278</c:v>
                </c:pt>
                <c:pt idx="2669">
                  <c:v>0.9996195508475121</c:v>
                </c:pt>
                <c:pt idx="2670">
                  <c:v>0.9996207443029244</c:v>
                </c:pt>
                <c:pt idx="2671">
                  <c:v>0.9996219377583366</c:v>
                </c:pt>
                <c:pt idx="2672">
                  <c:v>0.9996278712051658</c:v>
                </c:pt>
                <c:pt idx="2673">
                  <c:v>0.9996290515043768</c:v>
                </c:pt>
                <c:pt idx="2674">
                  <c:v>0.9996302242857583</c:v>
                </c:pt>
                <c:pt idx="2675">
                  <c:v>0.9996313933082251</c:v>
                </c:pt>
                <c:pt idx="2676">
                  <c:v>0.99963255669232</c:v>
                </c:pt>
                <c:pt idx="2677">
                  <c:v>0.9996348665453935</c:v>
                </c:pt>
                <c:pt idx="2678">
                  <c:v>0.9996360148938296</c:v>
                </c:pt>
                <c:pt idx="2679">
                  <c:v>0.9996371632422657</c:v>
                </c:pt>
                <c:pt idx="2680">
                  <c:v>0.9996383097112445</c:v>
                </c:pt>
                <c:pt idx="2681">
                  <c:v>0.9996405988902872</c:v>
                </c:pt>
                <c:pt idx="2682">
                  <c:v>0.9996417416003512</c:v>
                </c:pt>
                <c:pt idx="2683">
                  <c:v>0.9996440138642779</c:v>
                </c:pt>
                <c:pt idx="2684">
                  <c:v>0.999645145297598</c:v>
                </c:pt>
                <c:pt idx="2685">
                  <c:v>0.9996462748514606</c:v>
                </c:pt>
                <c:pt idx="2686">
                  <c:v>0.9996474025258659</c:v>
                </c:pt>
                <c:pt idx="2687">
                  <c:v>0.9996485283208139</c:v>
                </c:pt>
                <c:pt idx="2688">
                  <c:v>0.9996496484773898</c:v>
                </c:pt>
                <c:pt idx="2689">
                  <c:v>0.9996507667545084</c:v>
                </c:pt>
                <c:pt idx="2690">
                  <c:v>0.9996518850316269</c:v>
                </c:pt>
                <c:pt idx="2691">
                  <c:v>0.9996529976703735</c:v>
                </c:pt>
                <c:pt idx="2692">
                  <c:v>0.9996541065502054</c:v>
                </c:pt>
                <c:pt idx="2693">
                  <c:v>0.99965521355058</c:v>
                </c:pt>
                <c:pt idx="2694">
                  <c:v>0.9996563186714972</c:v>
                </c:pt>
                <c:pt idx="2695">
                  <c:v>0.9996596321547915</c:v>
                </c:pt>
                <c:pt idx="2696">
                  <c:v>0.9996607353962513</c:v>
                </c:pt>
                <c:pt idx="2697">
                  <c:v>0.9996629362407989</c:v>
                </c:pt>
                <c:pt idx="2698">
                  <c:v>0.9996651314469747</c:v>
                </c:pt>
                <c:pt idx="2699">
                  <c:v>0.9996684111000368</c:v>
                </c:pt>
                <c:pt idx="2700">
                  <c:v>0.9996694936674659</c:v>
                </c:pt>
                <c:pt idx="2701">
                  <c:v>0.9996705724759803</c:v>
                </c:pt>
                <c:pt idx="2702">
                  <c:v>0.9996716512844948</c:v>
                </c:pt>
                <c:pt idx="2703">
                  <c:v>0.9996727300930092</c:v>
                </c:pt>
                <c:pt idx="2704">
                  <c:v>0.9996738070220662</c:v>
                </c:pt>
                <c:pt idx="2705">
                  <c:v>0.9996759176526615</c:v>
                </c:pt>
                <c:pt idx="2706">
                  <c:v>0.9996769663898585</c:v>
                </c:pt>
                <c:pt idx="2707">
                  <c:v>0.9996780151270555</c:v>
                </c:pt>
                <c:pt idx="2708">
                  <c:v>0.9996790601053377</c:v>
                </c:pt>
                <c:pt idx="2709">
                  <c:v>0.9996801013247053</c:v>
                </c:pt>
                <c:pt idx="2710">
                  <c:v>0.9996811425440729</c:v>
                </c:pt>
                <c:pt idx="2711">
                  <c:v>0.9996821818839832</c:v>
                </c:pt>
                <c:pt idx="2712">
                  <c:v>0.9996852923858844</c:v>
                </c:pt>
                <c:pt idx="2713">
                  <c:v>0.999686322328508</c:v>
                </c:pt>
                <c:pt idx="2714">
                  <c:v>0.9996873503916741</c:v>
                </c:pt>
                <c:pt idx="2715">
                  <c:v>0.9996883728164683</c:v>
                </c:pt>
                <c:pt idx="2716">
                  <c:v>0.9996893952412624</c:v>
                </c:pt>
                <c:pt idx="2717">
                  <c:v>0.9996904139071419</c:v>
                </c:pt>
                <c:pt idx="2718">
                  <c:v>0.999691430693564</c:v>
                </c:pt>
                <c:pt idx="2719">
                  <c:v>0.9996924456005288</c:v>
                </c:pt>
                <c:pt idx="2720">
                  <c:v>0.9996934586280363</c:v>
                </c:pt>
                <c:pt idx="2721">
                  <c:v>0.9996944641377143</c:v>
                </c:pt>
                <c:pt idx="2722">
                  <c:v>0.9996974806667486</c:v>
                </c:pt>
                <c:pt idx="2723">
                  <c:v>0.9996994860477326</c:v>
                </c:pt>
                <c:pt idx="2724">
                  <c:v>0.9997004859190387</c:v>
                </c:pt>
                <c:pt idx="2725">
                  <c:v>0.9997014857903448</c:v>
                </c:pt>
                <c:pt idx="2726">
                  <c:v>0.9997024837821935</c:v>
                </c:pt>
                <c:pt idx="2727">
                  <c:v>0.9997034798945849</c:v>
                </c:pt>
                <c:pt idx="2728">
                  <c:v>0.9997044741275188</c:v>
                </c:pt>
                <c:pt idx="2729">
                  <c:v>0.9997054514453367</c:v>
                </c:pt>
                <c:pt idx="2730">
                  <c:v>0.9997064268836974</c:v>
                </c:pt>
                <c:pt idx="2731">
                  <c:v>0.999707402322058</c:v>
                </c:pt>
                <c:pt idx="2732">
                  <c:v>0.9997083758809613</c:v>
                </c:pt>
                <c:pt idx="2733">
                  <c:v>0.9997093475604072</c:v>
                </c:pt>
                <c:pt idx="2734">
                  <c:v>0.9997103098425664</c:v>
                </c:pt>
                <c:pt idx="2735">
                  <c:v>0.9997112702452682</c:v>
                </c:pt>
                <c:pt idx="2736">
                  <c:v>0.9997122268890554</c:v>
                </c:pt>
                <c:pt idx="2737">
                  <c:v>0.9997131835328426</c:v>
                </c:pt>
                <c:pt idx="2738">
                  <c:v>0.9997150949409596</c:v>
                </c:pt>
                <c:pt idx="2739">
                  <c:v>0.9997160497052894</c:v>
                </c:pt>
                <c:pt idx="2740">
                  <c:v>0.9997170025901618</c:v>
                </c:pt>
                <c:pt idx="2741">
                  <c:v>0.9997179517161197</c:v>
                </c:pt>
                <c:pt idx="2742">
                  <c:v>0.9997188989626201</c:v>
                </c:pt>
                <c:pt idx="2743">
                  <c:v>0.9997198462091206</c:v>
                </c:pt>
                <c:pt idx="2744">
                  <c:v>0.999720787817249</c:v>
                </c:pt>
                <c:pt idx="2745">
                  <c:v>0.9997245147811586</c:v>
                </c:pt>
                <c:pt idx="2746">
                  <c:v>0.999727290739653</c:v>
                </c:pt>
                <c:pt idx="2747">
                  <c:v>0.9997282116737507</c:v>
                </c:pt>
                <c:pt idx="2748">
                  <c:v>0.9997309631992997</c:v>
                </c:pt>
                <c:pt idx="2749">
                  <c:v>0.9997318747361106</c:v>
                </c:pt>
                <c:pt idx="2750">
                  <c:v>0.9997345999492568</c:v>
                </c:pt>
                <c:pt idx="2751">
                  <c:v>0.9997364098666773</c:v>
                </c:pt>
                <c:pt idx="2752">
                  <c:v>0.9997373007294575</c:v>
                </c:pt>
                <c:pt idx="2753">
                  <c:v>0.9997381897127804</c:v>
                </c:pt>
                <c:pt idx="2754">
                  <c:v>0.9997390749371886</c:v>
                </c:pt>
                <c:pt idx="2755">
                  <c:v>0.9997399564026821</c:v>
                </c:pt>
                <c:pt idx="2756">
                  <c:v>0.9997408378681756</c:v>
                </c:pt>
                <c:pt idx="2757">
                  <c:v>0.9997425820045891</c:v>
                </c:pt>
                <c:pt idx="2758">
                  <c:v>0.9997434521933385</c:v>
                </c:pt>
                <c:pt idx="2759">
                  <c:v>0.9997443223820879</c:v>
                </c:pt>
                <c:pt idx="2760">
                  <c:v>0.99974519069138</c:v>
                </c:pt>
                <c:pt idx="2761">
                  <c:v>0.9997469160332202</c:v>
                </c:pt>
                <c:pt idx="2762">
                  <c:v>0.9997477711863109</c:v>
                </c:pt>
                <c:pt idx="2763">
                  <c:v>0.9997486244599442</c:v>
                </c:pt>
                <c:pt idx="2764">
                  <c:v>0.9997511805219296</c:v>
                </c:pt>
                <c:pt idx="2765">
                  <c:v>0.9997520300366483</c:v>
                </c:pt>
                <c:pt idx="2766">
                  <c:v>0.9997528776719096</c:v>
                </c:pt>
                <c:pt idx="2767">
                  <c:v>0.9997537215482563</c:v>
                </c:pt>
                <c:pt idx="2768">
                  <c:v>0.9997545635451456</c:v>
                </c:pt>
                <c:pt idx="2769">
                  <c:v>0.9997562400210949</c:v>
                </c:pt>
                <c:pt idx="2770">
                  <c:v>0.9997587321815306</c:v>
                </c:pt>
                <c:pt idx="2771">
                  <c:v>0.9997603842245343</c:v>
                </c:pt>
                <c:pt idx="2772">
                  <c:v>0.9997620268702513</c:v>
                </c:pt>
                <c:pt idx="2773">
                  <c:v>0.9997628444341952</c:v>
                </c:pt>
                <c:pt idx="2774">
                  <c:v>0.999763661998139</c:v>
                </c:pt>
                <c:pt idx="2775">
                  <c:v>0.9997652670547094</c:v>
                </c:pt>
                <c:pt idx="2776">
                  <c:v>0.9997660677035372</c:v>
                </c:pt>
                <c:pt idx="2777">
                  <c:v>0.9997676577244485</c:v>
                </c:pt>
                <c:pt idx="2778">
                  <c:v>0.9997692383480733</c:v>
                </c:pt>
                <c:pt idx="2779">
                  <c:v>0.9997700239612424</c:v>
                </c:pt>
                <c:pt idx="2780">
                  <c:v>0.9997708076949541</c:v>
                </c:pt>
                <c:pt idx="2781">
                  <c:v>0.9997715895492084</c:v>
                </c:pt>
                <c:pt idx="2782">
                  <c:v>0.9997723695240054</c:v>
                </c:pt>
                <c:pt idx="2783">
                  <c:v>0.9997731476193451</c:v>
                </c:pt>
                <c:pt idx="2784">
                  <c:v>0.9997739238352275</c:v>
                </c:pt>
                <c:pt idx="2785">
                  <c:v>0.9997762468445024</c:v>
                </c:pt>
                <c:pt idx="2786">
                  <c:v>0.9997770174220126</c:v>
                </c:pt>
                <c:pt idx="2787">
                  <c:v>0.9997777879995229</c:v>
                </c:pt>
                <c:pt idx="2788">
                  <c:v>0.9997793253956289</c:v>
                </c:pt>
                <c:pt idx="2789">
                  <c:v>0.9997816183335864</c:v>
                </c:pt>
                <c:pt idx="2790">
                  <c:v>0.99978237951381</c:v>
                </c:pt>
                <c:pt idx="2791">
                  <c:v>0.9997831388145763</c:v>
                </c:pt>
                <c:pt idx="2792">
                  <c:v>0.9997838981153425</c:v>
                </c:pt>
                <c:pt idx="2793">
                  <c:v>0.999784653657194</c:v>
                </c:pt>
                <c:pt idx="2794">
                  <c:v>0.999785405440131</c:v>
                </c:pt>
                <c:pt idx="2795">
                  <c:v>0.99978690524709</c:v>
                </c:pt>
                <c:pt idx="2796">
                  <c:v>0.9997876551505696</c:v>
                </c:pt>
                <c:pt idx="2797">
                  <c:v>0.9997884012951344</c:v>
                </c:pt>
                <c:pt idx="2798">
                  <c:v>0.9997891436807845</c:v>
                </c:pt>
                <c:pt idx="2799">
                  <c:v>0.9997898841869773</c:v>
                </c:pt>
                <c:pt idx="2800">
                  <c:v>0.9997906152958834</c:v>
                </c:pt>
                <c:pt idx="2801">
                  <c:v>0.9997942482869258</c:v>
                </c:pt>
                <c:pt idx="2802">
                  <c:v>0.9997949681190879</c:v>
                </c:pt>
                <c:pt idx="2803">
                  <c:v>0.99979640214504</c:v>
                </c:pt>
                <c:pt idx="2804">
                  <c:v>0.9997978324120773</c:v>
                </c:pt>
                <c:pt idx="2805">
                  <c:v>0.9998006722721214</c:v>
                </c:pt>
                <c:pt idx="2806">
                  <c:v>0.9998013789480821</c:v>
                </c:pt>
                <c:pt idx="2807">
                  <c:v>0.9998020781062134</c:v>
                </c:pt>
                <c:pt idx="2808">
                  <c:v>0.9998027753848873</c:v>
                </c:pt>
                <c:pt idx="2809">
                  <c:v>0.9998034726635612</c:v>
                </c:pt>
                <c:pt idx="2810">
                  <c:v>0.9998041699422351</c:v>
                </c:pt>
                <c:pt idx="2811">
                  <c:v>0.9998062598987996</c:v>
                </c:pt>
                <c:pt idx="2812">
                  <c:v>0.9998069552980162</c:v>
                </c:pt>
                <c:pt idx="2813">
                  <c:v>0.9998076450588608</c:v>
                </c:pt>
                <c:pt idx="2814">
                  <c:v>0.9998090189421779</c:v>
                </c:pt>
                <c:pt idx="2815">
                  <c:v>0.9998097011851931</c:v>
                </c:pt>
                <c:pt idx="2816">
                  <c:v>0.9998110619123087</c:v>
                </c:pt>
                <c:pt idx="2817">
                  <c:v>0.9998117403964093</c:v>
                </c:pt>
                <c:pt idx="2818">
                  <c:v>0.9998130954851531</c:v>
                </c:pt>
                <c:pt idx="2819">
                  <c:v>0.9998157849886098</c:v>
                </c:pt>
                <c:pt idx="2820">
                  <c:v>0.9998171175238654</c:v>
                </c:pt>
                <c:pt idx="2821">
                  <c:v>0.9998177790928499</c:v>
                </c:pt>
                <c:pt idx="2822">
                  <c:v>0.9998190928335321</c:v>
                </c:pt>
                <c:pt idx="2823">
                  <c:v>0.999820399056385</c:v>
                </c:pt>
                <c:pt idx="2824">
                  <c:v>0.9998210512280827</c:v>
                </c:pt>
                <c:pt idx="2825">
                  <c:v>0.9998217033997805</c:v>
                </c:pt>
                <c:pt idx="2826">
                  <c:v>0.9998223518125635</c:v>
                </c:pt>
                <c:pt idx="2827">
                  <c:v>0.9998236411203003</c:v>
                </c:pt>
                <c:pt idx="2828">
                  <c:v>0.9998242838947113</c:v>
                </c:pt>
                <c:pt idx="2829">
                  <c:v>0.9998249266691224</c:v>
                </c:pt>
                <c:pt idx="2830">
                  <c:v>0.9998255694435334</c:v>
                </c:pt>
                <c:pt idx="2831">
                  <c:v>0.999826847474526</c:v>
                </c:pt>
                <c:pt idx="2832">
                  <c:v>0.9998274864900223</c:v>
                </c:pt>
                <c:pt idx="2833">
                  <c:v>0.9998281236260613</c:v>
                </c:pt>
                <c:pt idx="2834">
                  <c:v>0.9998287551237283</c:v>
                </c:pt>
                <c:pt idx="2835">
                  <c:v>0.9998293866213952</c:v>
                </c:pt>
                <c:pt idx="2836">
                  <c:v>0.9998300181190621</c:v>
                </c:pt>
                <c:pt idx="2837">
                  <c:v>0.9998306477372718</c:v>
                </c:pt>
                <c:pt idx="2838">
                  <c:v>0.9998312754760241</c:v>
                </c:pt>
                <c:pt idx="2839">
                  <c:v>0.999832527194614</c:v>
                </c:pt>
                <c:pt idx="2840">
                  <c:v>0.9998337657570026</c:v>
                </c:pt>
                <c:pt idx="2841">
                  <c:v>0.9998343840984681</c:v>
                </c:pt>
                <c:pt idx="2842">
                  <c:v>0.9998350024399337</c:v>
                </c:pt>
                <c:pt idx="2843">
                  <c:v>0.9998356207813993</c:v>
                </c:pt>
                <c:pt idx="2844">
                  <c:v>0.9998362372434075</c:v>
                </c:pt>
                <c:pt idx="2845">
                  <c:v>0.9998368518259584</c:v>
                </c:pt>
                <c:pt idx="2846">
                  <c:v>0.999837464529052</c:v>
                </c:pt>
                <c:pt idx="2847">
                  <c:v>0.9998380753526882</c:v>
                </c:pt>
                <c:pt idx="2848">
                  <c:v>0.9998386861763244</c:v>
                </c:pt>
                <c:pt idx="2849">
                  <c:v>0.9998392951205033</c:v>
                </c:pt>
                <c:pt idx="2850">
                  <c:v>0.9998399021852248</c:v>
                </c:pt>
                <c:pt idx="2851">
                  <c:v>0.999840507370489</c:v>
                </c:pt>
                <c:pt idx="2852">
                  <c:v>0.9998411106762959</c:v>
                </c:pt>
                <c:pt idx="2853">
                  <c:v>0.999841710223188</c:v>
                </c:pt>
                <c:pt idx="2854">
                  <c:v>0.999842901799143</c:v>
                </c:pt>
                <c:pt idx="2855">
                  <c:v>0.9998452567591928</c:v>
                </c:pt>
                <c:pt idx="2856">
                  <c:v>0.9998458375115115</c:v>
                </c:pt>
                <c:pt idx="2857">
                  <c:v>0.9998464163843729</c:v>
                </c:pt>
                <c:pt idx="2858">
                  <c:v>0.9998469952572343</c:v>
                </c:pt>
                <c:pt idx="2859">
                  <c:v>0.9998475741300957</c:v>
                </c:pt>
                <c:pt idx="2860">
                  <c:v>0.9998481511234998</c:v>
                </c:pt>
                <c:pt idx="2861">
                  <c:v>0.9998487262374465</c:v>
                </c:pt>
                <c:pt idx="2862">
                  <c:v>0.9998498670680532</c:v>
                </c:pt>
                <c:pt idx="2863">
                  <c:v>0.9998504309052559</c:v>
                </c:pt>
                <c:pt idx="2864">
                  <c:v>0.9998515529412892</c:v>
                </c:pt>
                <c:pt idx="2865">
                  <c:v>0.9998521130195772</c:v>
                </c:pt>
                <c:pt idx="2866">
                  <c:v>0.9998543401765276</c:v>
                </c:pt>
                <c:pt idx="2867">
                  <c:v>0.9998548889780715</c:v>
                </c:pt>
                <c:pt idx="2868">
                  <c:v>0.9998565353827031</c:v>
                </c:pt>
                <c:pt idx="2869">
                  <c:v>0.9998570823047898</c:v>
                </c:pt>
                <c:pt idx="2870">
                  <c:v>0.999857627347419</c:v>
                </c:pt>
                <c:pt idx="2871">
                  <c:v>0.9998587117943054</c:v>
                </c:pt>
                <c:pt idx="2872">
                  <c:v>0.9998592493191053</c:v>
                </c:pt>
                <c:pt idx="2873">
                  <c:v>0.9998597868439052</c:v>
                </c:pt>
                <c:pt idx="2874">
                  <c:v>0.9998603243687051</c:v>
                </c:pt>
                <c:pt idx="2875">
                  <c:v>0.9998608581345902</c:v>
                </c:pt>
                <c:pt idx="2876">
                  <c:v>0.999861390021018</c:v>
                </c:pt>
                <c:pt idx="2877">
                  <c:v>0.9998624519144164</c:v>
                </c:pt>
                <c:pt idx="2878">
                  <c:v>0.9998629800419295</c:v>
                </c:pt>
                <c:pt idx="2879">
                  <c:v>0.999863504410528</c:v>
                </c:pt>
                <c:pt idx="2880">
                  <c:v>0.9998650549628353</c:v>
                </c:pt>
                <c:pt idx="2881">
                  <c:v>0.9998655661752324</c:v>
                </c:pt>
                <c:pt idx="2882">
                  <c:v>0.9998665848411118</c:v>
                </c:pt>
                <c:pt idx="2883">
                  <c:v>0.9998670904151369</c:v>
                </c:pt>
                <c:pt idx="2884">
                  <c:v>0.9998681015631871</c:v>
                </c:pt>
                <c:pt idx="2885">
                  <c:v>0.9998691051934078</c:v>
                </c:pt>
                <c:pt idx="2886">
                  <c:v>0.9998711030565626</c:v>
                </c:pt>
                <c:pt idx="2887">
                  <c:v>0.9998716011127583</c:v>
                </c:pt>
                <c:pt idx="2888">
                  <c:v>0.9998730858840587</c:v>
                </c:pt>
                <c:pt idx="2889">
                  <c:v>0.9998735783018823</c:v>
                </c:pt>
                <c:pt idx="2890">
                  <c:v>0.9998740707197059</c:v>
                </c:pt>
                <c:pt idx="2891">
                  <c:v>0.9998745593786149</c:v>
                </c:pt>
                <c:pt idx="2892">
                  <c:v>0.9998750461580665</c:v>
                </c:pt>
                <c:pt idx="2893">
                  <c:v>0.9998755310580608</c:v>
                </c:pt>
                <c:pt idx="2894">
                  <c:v>0.9998760140785977</c:v>
                </c:pt>
                <c:pt idx="2895">
                  <c:v>0.9998774612607512</c:v>
                </c:pt>
                <c:pt idx="2896">
                  <c:v>0.9998779367634587</c:v>
                </c:pt>
                <c:pt idx="2897">
                  <c:v>0.9998784122661662</c:v>
                </c:pt>
                <c:pt idx="2898">
                  <c:v>0.9998788877688738</c:v>
                </c:pt>
                <c:pt idx="2899">
                  <c:v>0.9998793632715813</c:v>
                </c:pt>
                <c:pt idx="2900">
                  <c:v>0.9998812521262103</c:v>
                </c:pt>
                <c:pt idx="2901">
                  <c:v>0.9998821918548814</c:v>
                </c:pt>
                <c:pt idx="2902">
                  <c:v>0.9998826598397595</c:v>
                </c:pt>
                <c:pt idx="2903">
                  <c:v>0.999883118427351</c:v>
                </c:pt>
                <c:pt idx="2904">
                  <c:v>0.9998835770149425</c:v>
                </c:pt>
                <c:pt idx="2905">
                  <c:v>0.9998844941901254</c:v>
                </c:pt>
                <c:pt idx="2906">
                  <c:v>0.9998858586761559</c:v>
                </c:pt>
                <c:pt idx="2907">
                  <c:v>0.9998863116253753</c:v>
                </c:pt>
                <c:pt idx="2908">
                  <c:v>0.9998876685935764</c:v>
                </c:pt>
                <c:pt idx="2909">
                  <c:v>0.9998894559575088</c:v>
                </c:pt>
                <c:pt idx="2910">
                  <c:v>0.9998903393024595</c:v>
                </c:pt>
                <c:pt idx="2911">
                  <c:v>0.9998907790954776</c:v>
                </c:pt>
                <c:pt idx="2912">
                  <c:v>0.9998912188884957</c:v>
                </c:pt>
                <c:pt idx="2913">
                  <c:v>0.9998925307497206</c:v>
                </c:pt>
                <c:pt idx="2914">
                  <c:v>0.9998929649043666</c:v>
                </c:pt>
                <c:pt idx="2915">
                  <c:v>0.9998933971795554</c:v>
                </c:pt>
                <c:pt idx="2916">
                  <c:v>0.9998938294547441</c:v>
                </c:pt>
                <c:pt idx="2917">
                  <c:v>0.9998942617299329</c:v>
                </c:pt>
                <c:pt idx="2918">
                  <c:v>0.9998946921256643</c:v>
                </c:pt>
                <c:pt idx="2919">
                  <c:v>0.9998951225213957</c:v>
                </c:pt>
                <c:pt idx="2920">
                  <c:v>0.9998968347070344</c:v>
                </c:pt>
                <c:pt idx="2921">
                  <c:v>0.9998972594643937</c:v>
                </c:pt>
                <c:pt idx="2922">
                  <c:v>0.999897684221753</c:v>
                </c:pt>
                <c:pt idx="2923">
                  <c:v>0.999898107099655</c:v>
                </c:pt>
                <c:pt idx="2924">
                  <c:v>0.999898529977557</c:v>
                </c:pt>
                <c:pt idx="2925">
                  <c:v>0.999898952855459</c:v>
                </c:pt>
                <c:pt idx="2926">
                  <c:v>0.9999010352941943</c:v>
                </c:pt>
                <c:pt idx="2927">
                  <c:v>0.9999018566170528</c:v>
                </c:pt>
                <c:pt idx="2928">
                  <c:v>0.999902264459296</c:v>
                </c:pt>
                <c:pt idx="2929">
                  <c:v>0.9999030745054105</c:v>
                </c:pt>
                <c:pt idx="2930">
                  <c:v>0.9999050798863945</c:v>
                </c:pt>
                <c:pt idx="2931">
                  <c:v>0.9999058711379356</c:v>
                </c:pt>
                <c:pt idx="2932">
                  <c:v>0.9999062658239775</c:v>
                </c:pt>
                <c:pt idx="2933">
                  <c:v>0.9999078389297728</c:v>
                </c:pt>
                <c:pt idx="2934">
                  <c:v>0.9999101713363345</c:v>
                </c:pt>
                <c:pt idx="2935">
                  <c:v>0.9999105547456323</c:v>
                </c:pt>
                <c:pt idx="2936">
                  <c:v>0.99991093815493</c:v>
                </c:pt>
                <c:pt idx="2937">
                  <c:v>0.9999113215642278</c:v>
                </c:pt>
                <c:pt idx="2938">
                  <c:v>0.9999124623948346</c:v>
                </c:pt>
                <c:pt idx="2939">
                  <c:v>0.9999128420452177</c:v>
                </c:pt>
                <c:pt idx="2940">
                  <c:v>0.9999132198161435</c:v>
                </c:pt>
                <c:pt idx="2941">
                  <c:v>0.9999139715990802</c:v>
                </c:pt>
                <c:pt idx="2942">
                  <c:v>0.9999143456110914</c:v>
                </c:pt>
                <c:pt idx="2943">
                  <c:v>0.9999147158641878</c:v>
                </c:pt>
                <c:pt idx="2944">
                  <c:v>0.9999150842378268</c:v>
                </c:pt>
                <c:pt idx="2945">
                  <c:v>0.9999154526114659</c:v>
                </c:pt>
                <c:pt idx="2946">
                  <c:v>0.9999176459381842</c:v>
                </c:pt>
                <c:pt idx="2947">
                  <c:v>0.9999180049145365</c:v>
                </c:pt>
                <c:pt idx="2948">
                  <c:v>0.9999194351815739</c:v>
                </c:pt>
                <c:pt idx="2949">
                  <c:v>0.9999197885195542</c:v>
                </c:pt>
                <c:pt idx="2950">
                  <c:v>0.9999208447745804</c:v>
                </c:pt>
                <c:pt idx="2951">
                  <c:v>0.9999211924741888</c:v>
                </c:pt>
                <c:pt idx="2952">
                  <c:v>0.9999215401737971</c:v>
                </c:pt>
                <c:pt idx="2953">
                  <c:v>0.9999218878734054</c:v>
                </c:pt>
                <c:pt idx="2954">
                  <c:v>0.9999222355730137</c:v>
                </c:pt>
                <c:pt idx="2955">
                  <c:v>0.9999225813931647</c:v>
                </c:pt>
                <c:pt idx="2956">
                  <c:v>0.9999236094563307</c:v>
                </c:pt>
                <c:pt idx="2957">
                  <c:v>0.9999246187249234</c:v>
                </c:pt>
                <c:pt idx="2958">
                  <c:v>0.9999249532683303</c:v>
                </c:pt>
                <c:pt idx="2959">
                  <c:v>0.9999252878117372</c:v>
                </c:pt>
                <c:pt idx="2960">
                  <c:v>0.9999256204756868</c:v>
                </c:pt>
                <c:pt idx="2961">
                  <c:v>0.999926285803586</c:v>
                </c:pt>
                <c:pt idx="2962">
                  <c:v>0.999927274398148</c:v>
                </c:pt>
                <c:pt idx="2963">
                  <c:v>0.9999285731031715</c:v>
                </c:pt>
                <c:pt idx="2964">
                  <c:v>0.9999295391442454</c:v>
                </c:pt>
                <c:pt idx="2965">
                  <c:v>0.999931443034533</c:v>
                </c:pt>
                <c:pt idx="2966">
                  <c:v>0.9999317550244518</c:v>
                </c:pt>
                <c:pt idx="2967">
                  <c:v>0.9999320670143705</c:v>
                </c:pt>
                <c:pt idx="2968">
                  <c:v>0.9999326891147508</c:v>
                </c:pt>
                <c:pt idx="2969">
                  <c:v>0.9999329973457549</c:v>
                </c:pt>
                <c:pt idx="2970">
                  <c:v>0.9999336138077632</c:v>
                </c:pt>
                <c:pt idx="2971">
                  <c:v>0.99993392015931</c:v>
                </c:pt>
                <c:pt idx="2972">
                  <c:v>0.9999342246313995</c:v>
                </c:pt>
                <c:pt idx="2973">
                  <c:v>0.9999357319561877</c:v>
                </c:pt>
                <c:pt idx="2974">
                  <c:v>0.9999360307899051</c:v>
                </c:pt>
                <c:pt idx="2975">
                  <c:v>0.9999366246984253</c:v>
                </c:pt>
                <c:pt idx="2976">
                  <c:v>0.999936919773228</c:v>
                </c:pt>
                <c:pt idx="2977">
                  <c:v>0.9999372148480307</c:v>
                </c:pt>
                <c:pt idx="2978">
                  <c:v>0.999937508043376</c:v>
                </c:pt>
                <c:pt idx="2979">
                  <c:v>0.9999377993592641</c:v>
                </c:pt>
                <c:pt idx="2980">
                  <c:v>0.9999380906751522</c:v>
                </c:pt>
                <c:pt idx="2981">
                  <c:v>0.9999383801115829</c:v>
                </c:pt>
                <c:pt idx="2982">
                  <c:v>0.9999389589844443</c:v>
                </c:pt>
                <c:pt idx="2983">
                  <c:v>0.9999392465414176</c:v>
                </c:pt>
                <c:pt idx="2984">
                  <c:v>0.9999398160169923</c:v>
                </c:pt>
                <c:pt idx="2985">
                  <c:v>0.9999400979355937</c:v>
                </c:pt>
                <c:pt idx="2986">
                  <c:v>0.999940379854195</c:v>
                </c:pt>
                <c:pt idx="2987">
                  <c:v>0.9999406617727964</c:v>
                </c:pt>
                <c:pt idx="2988">
                  <c:v>0.9999412218510844</c:v>
                </c:pt>
                <c:pt idx="2989">
                  <c:v>0.9999420582096016</c:v>
                </c:pt>
                <c:pt idx="2990">
                  <c:v>0.9999423344898308</c:v>
                </c:pt>
                <c:pt idx="2991">
                  <c:v>0.9999428870502893</c:v>
                </c:pt>
                <c:pt idx="2992">
                  <c:v>0.9999431633305186</c:v>
                </c:pt>
                <c:pt idx="2993">
                  <c:v>0.9999450615824341</c:v>
                </c:pt>
                <c:pt idx="2994">
                  <c:v>0.9999461291142047</c:v>
                </c:pt>
                <c:pt idx="2995">
                  <c:v>0.9999463941176899</c:v>
                </c:pt>
                <c:pt idx="2996">
                  <c:v>0.9999466572417178</c:v>
                </c:pt>
                <c:pt idx="2997">
                  <c:v>0.9999471816103163</c:v>
                </c:pt>
                <c:pt idx="2998">
                  <c:v>0.9999494745482737</c:v>
                </c:pt>
                <c:pt idx="2999">
                  <c:v>0.9999499744839268</c:v>
                </c:pt>
                <c:pt idx="3000">
                  <c:v>0.9999507112312048</c:v>
                </c:pt>
                <c:pt idx="3001">
                  <c:v>0.9999514404606537</c:v>
                </c:pt>
                <c:pt idx="3002">
                  <c:v>0.999952408381185</c:v>
                </c:pt>
                <c:pt idx="3003">
                  <c:v>0.9999526489517249</c:v>
                </c:pt>
                <c:pt idx="3004">
                  <c:v>0.9999528895222647</c:v>
                </c:pt>
                <c:pt idx="3005">
                  <c:v>0.9999533650249722</c:v>
                </c:pt>
                <c:pt idx="3006">
                  <c:v>0.9999540717009328</c:v>
                </c:pt>
                <c:pt idx="3007">
                  <c:v>0.9999545396858109</c:v>
                </c:pt>
                <c:pt idx="3008">
                  <c:v>0.9999547727385214</c:v>
                </c:pt>
                <c:pt idx="3009">
                  <c:v>0.9999552388439423</c:v>
                </c:pt>
                <c:pt idx="3010">
                  <c:v>0.9999559323637016</c:v>
                </c:pt>
                <c:pt idx="3011">
                  <c:v>0.9999561635369547</c:v>
                </c:pt>
                <c:pt idx="3012">
                  <c:v>0.9999563928307504</c:v>
                </c:pt>
                <c:pt idx="3013">
                  <c:v>0.9999566202450888</c:v>
                </c:pt>
                <c:pt idx="3014">
                  <c:v>0.9999573006086466</c:v>
                </c:pt>
                <c:pt idx="3015">
                  <c:v>0.9999577497989515</c:v>
                </c:pt>
                <c:pt idx="3016">
                  <c:v>0.9999579734543752</c:v>
                </c:pt>
                <c:pt idx="3017">
                  <c:v>0.9999581971097989</c:v>
                </c:pt>
                <c:pt idx="3018">
                  <c:v>0.9999590842136644</c:v>
                </c:pt>
                <c:pt idx="3019">
                  <c:v>0.9999595240066824</c:v>
                </c:pt>
                <c:pt idx="3020">
                  <c:v>0.9999599600407859</c:v>
                </c:pt>
                <c:pt idx="3021">
                  <c:v>0.9999608264706208</c:v>
                </c:pt>
                <c:pt idx="3022">
                  <c:v>0.9999610407287578</c:v>
                </c:pt>
                <c:pt idx="3023">
                  <c:v>0.9999614673655745</c:v>
                </c:pt>
                <c:pt idx="3024">
                  <c:v>0.9999616778647967</c:v>
                </c:pt>
                <c:pt idx="3025">
                  <c:v>0.9999623074830063</c:v>
                </c:pt>
                <c:pt idx="3026">
                  <c:v>0.999963140082609</c:v>
                </c:pt>
                <c:pt idx="3027">
                  <c:v>0.9999641681457752</c:v>
                </c:pt>
                <c:pt idx="3028">
                  <c:v>0.999964574108561</c:v>
                </c:pt>
                <c:pt idx="3029">
                  <c:v>0.9999649800713468</c:v>
                </c:pt>
                <c:pt idx="3030">
                  <c:v>0.9999653747573887</c:v>
                </c:pt>
                <c:pt idx="3031">
                  <c:v>0.9999655721004096</c:v>
                </c:pt>
                <c:pt idx="3032">
                  <c:v>0.9999659630275367</c:v>
                </c:pt>
                <c:pt idx="3033">
                  <c:v>0.9999665494182274</c:v>
                </c:pt>
                <c:pt idx="3034">
                  <c:v>0.9999667411228763</c:v>
                </c:pt>
                <c:pt idx="3035">
                  <c:v>0.9999671207732594</c:v>
                </c:pt>
                <c:pt idx="3036">
                  <c:v>0.999967310598451</c:v>
                </c:pt>
                <c:pt idx="3037">
                  <c:v>0.9999680623813878</c:v>
                </c:pt>
                <c:pt idx="3038">
                  <c:v>0.999968250327122</c:v>
                </c:pt>
                <c:pt idx="3039">
                  <c:v>0.9999686262185904</c:v>
                </c:pt>
                <c:pt idx="3040">
                  <c:v>0.9999689983511441</c:v>
                </c:pt>
                <c:pt idx="3041">
                  <c:v>0.9999693648453258</c:v>
                </c:pt>
                <c:pt idx="3042">
                  <c:v>0.9999699117674125</c:v>
                </c:pt>
                <c:pt idx="3043">
                  <c:v>0.9999700921953173</c:v>
                </c:pt>
                <c:pt idx="3044">
                  <c:v>0.9999713457933644</c:v>
                </c:pt>
                <c:pt idx="3045">
                  <c:v>0.9999715224623547</c:v>
                </c:pt>
                <c:pt idx="3046">
                  <c:v>0.9999718758003351</c:v>
                </c:pt>
                <c:pt idx="3047">
                  <c:v>0.9999725730790091</c:v>
                </c:pt>
                <c:pt idx="3048">
                  <c:v>0.9999727459890846</c:v>
                </c:pt>
                <c:pt idx="3049">
                  <c:v>0.9999737702933359</c:v>
                </c:pt>
                <c:pt idx="3050">
                  <c:v>0.9999747814413859</c:v>
                </c:pt>
                <c:pt idx="3051">
                  <c:v>0.999974946833632</c:v>
                </c:pt>
                <c:pt idx="3052">
                  <c:v>0.9999751122258781</c:v>
                </c:pt>
                <c:pt idx="3053">
                  <c:v>0.9999754430103703</c:v>
                </c:pt>
                <c:pt idx="3054">
                  <c:v>0.999975935428194</c:v>
                </c:pt>
                <c:pt idx="3055">
                  <c:v>0.9999764259665602</c:v>
                </c:pt>
                <c:pt idx="3056">
                  <c:v>0.99997723225376</c:v>
                </c:pt>
                <c:pt idx="3057">
                  <c:v>0.9999773882487194</c:v>
                </c:pt>
                <c:pt idx="3058">
                  <c:v>0.9999775442436788</c:v>
                </c:pt>
                <c:pt idx="3059">
                  <c:v>0.9999776983591808</c:v>
                </c:pt>
                <c:pt idx="3060">
                  <c:v>0.9999778524746828</c:v>
                </c:pt>
                <c:pt idx="3061">
                  <c:v>0.999978309182817</c:v>
                </c:pt>
                <c:pt idx="3062">
                  <c:v>0.9999786098959919</c:v>
                </c:pt>
                <c:pt idx="3063">
                  <c:v>0.999979203804512</c:v>
                </c:pt>
                <c:pt idx="3064">
                  <c:v>0.999980072113804</c:v>
                </c:pt>
                <c:pt idx="3065">
                  <c:v>0.9999802149525621</c:v>
                </c:pt>
                <c:pt idx="3066">
                  <c:v>0.9999806415893788</c:v>
                </c:pt>
                <c:pt idx="3067">
                  <c:v>0.9999809235079802</c:v>
                </c:pt>
                <c:pt idx="3068">
                  <c:v>0.9999810625878235</c:v>
                </c:pt>
                <c:pt idx="3069">
                  <c:v>0.9999812016676668</c:v>
                </c:pt>
                <c:pt idx="3070">
                  <c:v>0.9999813388680527</c:v>
                </c:pt>
                <c:pt idx="3071">
                  <c:v>0.9999814760684387</c:v>
                </c:pt>
                <c:pt idx="3072">
                  <c:v>0.9999817485897533</c:v>
                </c:pt>
                <c:pt idx="3073">
                  <c:v>0.9999820192316107</c:v>
                </c:pt>
                <c:pt idx="3074">
                  <c:v>0.9999821545525394</c:v>
                </c:pt>
                <c:pt idx="3075">
                  <c:v>0.9999825548769533</c:v>
                </c:pt>
                <c:pt idx="3076">
                  <c:v>0.999982821759896</c:v>
                </c:pt>
                <c:pt idx="3077">
                  <c:v>0.9999829533219099</c:v>
                </c:pt>
                <c:pt idx="3078">
                  <c:v>0.9999830848839238</c:v>
                </c:pt>
                <c:pt idx="3079">
                  <c:v>0.9999832164459378</c:v>
                </c:pt>
                <c:pt idx="3080">
                  <c:v>0.9999834776905083</c:v>
                </c:pt>
                <c:pt idx="3081">
                  <c:v>0.9999836054936075</c:v>
                </c:pt>
                <c:pt idx="3082">
                  <c:v>0.9999837332967068</c:v>
                </c:pt>
                <c:pt idx="3083">
                  <c:v>0.999983861099806</c:v>
                </c:pt>
                <c:pt idx="3084">
                  <c:v>0.9999841148265471</c:v>
                </c:pt>
                <c:pt idx="3085">
                  <c:v>0.9999844869591009</c:v>
                </c:pt>
                <c:pt idx="3086">
                  <c:v>0.9999849812563819</c:v>
                </c:pt>
                <c:pt idx="3087">
                  <c:v>0.9999851034211091</c:v>
                </c:pt>
                <c:pt idx="3088">
                  <c:v>0.9999854642769187</c:v>
                </c:pt>
                <c:pt idx="3089">
                  <c:v>0.9999858157354418</c:v>
                </c:pt>
                <c:pt idx="3090">
                  <c:v>0.999985932261797</c:v>
                </c:pt>
                <c:pt idx="3091">
                  <c:v>0.9999863852110163</c:v>
                </c:pt>
                <c:pt idx="3092">
                  <c:v>0.9999866107458973</c:v>
                </c:pt>
                <c:pt idx="3093">
                  <c:v>0.9999868362807783</c:v>
                </c:pt>
                <c:pt idx="3094">
                  <c:v>0.9999870580567448</c:v>
                </c:pt>
                <c:pt idx="3095">
                  <c:v>0.999987168944728</c:v>
                </c:pt>
                <c:pt idx="3096">
                  <c:v>0.9999872798327113</c:v>
                </c:pt>
                <c:pt idx="3097">
                  <c:v>0.9999875016086778</c:v>
                </c:pt>
                <c:pt idx="3098">
                  <c:v>0.9999876106172036</c:v>
                </c:pt>
                <c:pt idx="3099">
                  <c:v>0.9999878286342554</c:v>
                </c:pt>
                <c:pt idx="3100">
                  <c:v>0.9999880447718498</c:v>
                </c:pt>
                <c:pt idx="3101">
                  <c:v>0.9999882590299868</c:v>
                </c:pt>
                <c:pt idx="3102">
                  <c:v>0.9999883661590553</c:v>
                </c:pt>
                <c:pt idx="3103">
                  <c:v>0.9999884714086664</c:v>
                </c:pt>
                <c:pt idx="3104">
                  <c:v>0.9999886819078887</c:v>
                </c:pt>
                <c:pt idx="3105">
                  <c:v>0.9999889976567221</c:v>
                </c:pt>
                <c:pt idx="3106">
                  <c:v>0.9999892043970298</c:v>
                </c:pt>
                <c:pt idx="3107">
                  <c:v>0.9999900595501205</c:v>
                </c:pt>
                <c:pt idx="3108">
                  <c:v>0.9999903358303499</c:v>
                </c:pt>
                <c:pt idx="3109">
                  <c:v>0.9999904260443023</c:v>
                </c:pt>
                <c:pt idx="3110">
                  <c:v>0.9999906948067022</c:v>
                </c:pt>
                <c:pt idx="3111">
                  <c:v>0.99999078126174</c:v>
                </c:pt>
                <c:pt idx="3112">
                  <c:v>0.9999908677167778</c:v>
                </c:pt>
                <c:pt idx="3113">
                  <c:v>0.9999909541718156</c:v>
                </c:pt>
                <c:pt idx="3114">
                  <c:v>0.9999911270818912</c:v>
                </c:pt>
                <c:pt idx="3115">
                  <c:v>0.9999912999919668</c:v>
                </c:pt>
                <c:pt idx="3116">
                  <c:v>0.9999914729020424</c:v>
                </c:pt>
                <c:pt idx="3117">
                  <c:v>0.9999918130838215</c:v>
                </c:pt>
                <c:pt idx="3118">
                  <c:v>0.9999918976594019</c:v>
                </c:pt>
                <c:pt idx="3119">
                  <c:v>0.999992953914428</c:v>
                </c:pt>
                <c:pt idx="3120">
                  <c:v>0.9999934012252755</c:v>
                </c:pt>
                <c:pt idx="3121">
                  <c:v>0.9999936211217845</c:v>
                </c:pt>
                <c:pt idx="3122">
                  <c:v>0.9999936925411634</c:v>
                </c:pt>
                <c:pt idx="3123">
                  <c:v>0.9999938353799214</c:v>
                </c:pt>
                <c:pt idx="3124">
                  <c:v>0.999994190597359</c:v>
                </c:pt>
                <c:pt idx="3125">
                  <c:v>0.9999942601372807</c:v>
                </c:pt>
                <c:pt idx="3126">
                  <c:v>0.9999943992171241</c:v>
                </c:pt>
                <c:pt idx="3127">
                  <c:v>0.9999951246876582</c:v>
                </c:pt>
                <c:pt idx="3128">
                  <c:v>0.9999955626012187</c:v>
                </c:pt>
                <c:pt idx="3129">
                  <c:v>0.9999957430291236</c:v>
                </c:pt>
                <c:pt idx="3130">
                  <c:v>0.9999958031717586</c:v>
                </c:pt>
                <c:pt idx="3131">
                  <c:v>0.9999958633143936</c:v>
                </c:pt>
                <c:pt idx="3132">
                  <c:v>0.9999959817202062</c:v>
                </c:pt>
                <c:pt idx="3133">
                  <c:v>0.9999962692771796</c:v>
                </c:pt>
                <c:pt idx="3134">
                  <c:v>0.9999965474368661</c:v>
                </c:pt>
                <c:pt idx="3135">
                  <c:v>0.9999966019411289</c:v>
                </c:pt>
                <c:pt idx="3136">
                  <c:v>0.9999966564453918</c:v>
                </c:pt>
                <c:pt idx="3137">
                  <c:v>0.9999969233283345</c:v>
                </c:pt>
                <c:pt idx="3138">
                  <c:v>0.9999969759531401</c:v>
                </c:pt>
                <c:pt idx="3139">
                  <c:v>0.9999970285779457</c:v>
                </c:pt>
                <c:pt idx="3140">
                  <c:v>0.9999971845729052</c:v>
                </c:pt>
                <c:pt idx="3141">
                  <c:v>0.99999733680895</c:v>
                </c:pt>
                <c:pt idx="3142">
                  <c:v>0.9999973875542982</c:v>
                </c:pt>
                <c:pt idx="3143">
                  <c:v>0.9999974382996465</c:v>
                </c:pt>
                <c:pt idx="3144">
                  <c:v>0.9999974890449947</c:v>
                </c:pt>
                <c:pt idx="3145">
                  <c:v>0.9999976807496436</c:v>
                </c:pt>
                <c:pt idx="3146">
                  <c:v>0.9999977277360771</c:v>
                </c:pt>
                <c:pt idx="3147">
                  <c:v>0.9999978217089441</c:v>
                </c:pt>
                <c:pt idx="3148">
                  <c:v>0.9999978668159204</c:v>
                </c:pt>
                <c:pt idx="3149">
                  <c:v>0.9999980021368492</c:v>
                </c:pt>
                <c:pt idx="3150">
                  <c:v>0.9999980472438255</c:v>
                </c:pt>
                <c:pt idx="3151">
                  <c:v>0.9999980904713444</c:v>
                </c:pt>
                <c:pt idx="3152">
                  <c:v>0.9999981336988633</c:v>
                </c:pt>
                <c:pt idx="3153">
                  <c:v>0.9999982577430478</c:v>
                </c:pt>
                <c:pt idx="3154">
                  <c:v>0.9999982990911094</c:v>
                </c:pt>
                <c:pt idx="3155">
                  <c:v>0.9999984588449834</c:v>
                </c:pt>
                <c:pt idx="3156">
                  <c:v>0.9999984983135876</c:v>
                </c:pt>
                <c:pt idx="3157">
                  <c:v>0.9999985377821917</c:v>
                </c:pt>
                <c:pt idx="3158">
                  <c:v>0.9999986561880042</c:v>
                </c:pt>
                <c:pt idx="3159">
                  <c:v>0.9999987689554446</c:v>
                </c:pt>
                <c:pt idx="3160">
                  <c:v>0.9999990264411004</c:v>
                </c:pt>
                <c:pt idx="3161">
                  <c:v>0.9999990621507899</c:v>
                </c:pt>
                <c:pt idx="3162">
                  <c:v>0.9999992049895481</c:v>
                </c:pt>
                <c:pt idx="3163">
                  <c:v>0.9999992726500124</c:v>
                </c:pt>
                <c:pt idx="3164">
                  <c:v>0.9999993722612516</c:v>
                </c:pt>
                <c:pt idx="3165">
                  <c:v>0.9999994042120264</c:v>
                </c:pt>
                <c:pt idx="3166">
                  <c:v>0.9999998007775257</c:v>
                </c:pt>
                <c:pt idx="3167">
                  <c:v>0.9999998496434166</c:v>
                </c:pt>
                <c:pt idx="3168">
                  <c:v>0.9999999774465157</c:v>
                </c:pt>
                <c:pt idx="3169">
                  <c:v>0.999999992482174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President</c:v>
                </c:pt>
                <c:pt idx="2">
                  <c:v>Entremont</c:v>
                </c:pt>
                <c:pt idx="3">
                  <c:v>Soignon</c:v>
                </c:pt>
                <c:pt idx="4">
                  <c:v>St Moret</c:v>
                </c:pt>
                <c:pt idx="5">
                  <c:v>Galbani</c:v>
                </c:pt>
                <c:pt idx="6">
                  <c:v>La Vache Qui Rit</c:v>
                </c:pt>
                <c:pt idx="7">
                  <c:v>Boursin</c:v>
                </c:pt>
                <c:pt idx="8">
                  <c:v>Kiri</c:v>
                </c:pt>
                <c:pt idx="9">
                  <c:v>Others</c:v>
                </c:pt>
              </c:strCache>
            </c:strRef>
          </c:cat>
          <c:val>
            <c:numRef>
              <c:f>Sheet1!$B$2:$B$11</c:f>
              <c:numCache>
                <c:formatCode>General</c:formatCode>
                <c:ptCount val="10"/>
                <c:pt idx="0">
                  <c:v>0.44913456436626914</c:v>
                </c:pt>
                <c:pt idx="1">
                  <c:v>0.07745149666640773</c:v>
                </c:pt>
                <c:pt idx="2">
                  <c:v>0.0475408834561657</c:v>
                </c:pt>
                <c:pt idx="3">
                  <c:v>0.0262381685923947</c:v>
                </c:pt>
                <c:pt idx="4">
                  <c:v>0.023260453734998972</c:v>
                </c:pt>
                <c:pt idx="5">
                  <c:v>0.022822881299119094</c:v>
                </c:pt>
                <c:pt idx="6">
                  <c:v>0.016128481670867202</c:v>
                </c:pt>
                <c:pt idx="7">
                  <c:v>0.014662065689489752</c:v>
                </c:pt>
                <c:pt idx="8">
                  <c:v>0.01217835276007434</c:v>
                </c:pt>
                <c:pt idx="9">
                  <c:v>0.3105826517642134</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President</c:v>
                </c:pt>
                <c:pt idx="2">
                  <c:v>Entremont</c:v>
                </c:pt>
                <c:pt idx="3">
                  <c:v>Soignon</c:v>
                </c:pt>
                <c:pt idx="4">
                  <c:v>St Moret</c:v>
                </c:pt>
                <c:pt idx="5">
                  <c:v>Galbani</c:v>
                </c:pt>
                <c:pt idx="6">
                  <c:v>La Vache Qui Rit</c:v>
                </c:pt>
                <c:pt idx="7">
                  <c:v>Boursin</c:v>
                </c:pt>
                <c:pt idx="8">
                  <c:v>Kiri</c:v>
                </c:pt>
                <c:pt idx="9">
                  <c:v>Others</c:v>
                </c:pt>
              </c:strCache>
            </c:strRef>
          </c:cat>
          <c:val>
            <c:numRef>
              <c:f>Sheet1!$C$2:$C$11</c:f>
              <c:numCache>
                <c:formatCode>General</c:formatCode>
                <c:ptCount val="10"/>
                <c:pt idx="0">
                  <c:v>0.2875034340104393</c:v>
                </c:pt>
                <c:pt idx="1">
                  <c:v>0.05623697096039174</c:v>
                </c:pt>
                <c:pt idx="2">
                  <c:v>0.051227355731161446</c:v>
                </c:pt>
                <c:pt idx="3">
                  <c:v>0.028716407297878194</c:v>
                </c:pt>
                <c:pt idx="4">
                  <c:v>0.01916581826408753</c:v>
                </c:pt>
                <c:pt idx="5">
                  <c:v>0.02941128941031982</c:v>
                </c:pt>
                <c:pt idx="6">
                  <c:v>0.01392996234708554</c:v>
                </c:pt>
                <c:pt idx="7">
                  <c:v>0.032918020070781026</c:v>
                </c:pt>
                <c:pt idx="8">
                  <c:v>0.01824469546387422</c:v>
                </c:pt>
                <c:pt idx="9">
                  <c:v>0.4626460464439816</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President</c:v>
                </c:pt>
                <c:pt idx="2">
                  <c:v>Entremont</c:v>
                </c:pt>
                <c:pt idx="3">
                  <c:v>Soignon</c:v>
                </c:pt>
                <c:pt idx="4">
                  <c:v>St Moret</c:v>
                </c:pt>
                <c:pt idx="5">
                  <c:v>Galbani</c:v>
                </c:pt>
                <c:pt idx="6">
                  <c:v>La Vache Qui Rit</c:v>
                </c:pt>
                <c:pt idx="7">
                  <c:v>Boursin</c:v>
                </c:pt>
                <c:pt idx="8">
                  <c:v>Kiri</c:v>
                </c:pt>
                <c:pt idx="9">
                  <c:v>Others</c:v>
                </c:pt>
              </c:strCache>
            </c:strRef>
          </c:cat>
          <c:val>
            <c:numRef>
              <c:f>Sheet1!$D$2:$D$11</c:f>
              <c:numCache>
                <c:formatCode>General</c:formatCode>
                <c:ptCount val="10"/>
                <c:pt idx="0">
                  <c:v>64.01276072263731</c:v>
                </c:pt>
                <c:pt idx="1">
                  <c:v>72.60927597385326</c:v>
                </c:pt>
                <c:pt idx="2">
                  <c:v>107.75432008619444</c:v>
                </c:pt>
                <c:pt idx="3">
                  <c:v>109.44516648239629</c:v>
                </c:pt>
                <c:pt idx="4">
                  <c:v>82.39657954414524</c:v>
                </c:pt>
                <c:pt idx="5">
                  <c:v>128.8675563126862</c:v>
                </c:pt>
                <c:pt idx="6">
                  <c:v>86.36871486946698</c:v>
                </c:pt>
                <c:pt idx="7">
                  <c:v>224.51147585826013</c:v>
                </c:pt>
                <c:pt idx="8">
                  <c:v>149.81250603684146</c:v>
                </c:pt>
                <c:pt idx="9">
                  <c:v>148.96068528489832</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1980</c:f>
              <c:strCache>
                <c:ptCount val="1979"/>
                <c:pt idx="0">
                  <c:v>Private Lab</c:v>
                </c:pt>
                <c:pt idx="1">
                  <c:v>Caprice Des</c:v>
                </c:pt>
                <c:pt idx="2">
                  <c:v>Private Lab</c:v>
                </c:pt>
                <c:pt idx="3">
                  <c:v>Private Lab</c:v>
                </c:pt>
                <c:pt idx="4">
                  <c:v>Private Lab</c:v>
                </c:pt>
                <c:pt idx="5">
                  <c:v>Coeur De Li</c:v>
                </c:pt>
                <c:pt idx="6">
                  <c:v>Private Lab</c:v>
                </c:pt>
                <c:pt idx="7">
                  <c:v>President</c:v>
                </c:pt>
                <c:pt idx="8">
                  <c:v>La Vache Qu</c:v>
                </c:pt>
                <c:pt idx="9">
                  <c:v>Mini Babybe</c:v>
                </c:pt>
                <c:pt idx="10">
                  <c:v>Private Lab</c:v>
                </c:pt>
                <c:pt idx="11">
                  <c:v>Caprice Des</c:v>
                </c:pt>
                <c:pt idx="12">
                  <c:v>Private Lab</c:v>
                </c:pt>
                <c:pt idx="13">
                  <c:v>Soignon</c:v>
                </c:pt>
                <c:pt idx="14">
                  <c:v>Private Lab</c:v>
                </c:pt>
                <c:pt idx="15">
                  <c:v>Private Lab</c:v>
                </c:pt>
                <c:pt idx="16">
                  <c:v>Private Lab</c:v>
                </c:pt>
                <c:pt idx="17">
                  <c:v>Coeur De Li</c:v>
                </c:pt>
                <c:pt idx="18">
                  <c:v>Galbani</c:v>
                </c:pt>
                <c:pt idx="19">
                  <c:v>Soignon</c:v>
                </c:pt>
                <c:pt idx="20">
                  <c:v>Le Rustique</c:v>
                </c:pt>
                <c:pt idx="21">
                  <c:v>St Moret</c:v>
                </c:pt>
                <c:pt idx="22">
                  <c:v>Private Lab</c:v>
                </c:pt>
                <c:pt idx="23">
                  <c:v>Private Lab</c:v>
                </c:pt>
                <c:pt idx="24">
                  <c:v>La Vache Qu</c:v>
                </c:pt>
                <c:pt idx="25">
                  <c:v>Soignon</c:v>
                </c:pt>
                <c:pt idx="26">
                  <c:v>President</c:v>
                </c:pt>
                <c:pt idx="27">
                  <c:v>Tartare</c:v>
                </c:pt>
                <c:pt idx="28">
                  <c:v>All Others</c:v>
                </c:pt>
                <c:pt idx="29">
                  <c:v>Salakis</c:v>
                </c:pt>
                <c:pt idx="30">
                  <c:v>President</c:v>
                </c:pt>
                <c:pt idx="31">
                  <c:v>Apericube</c:v>
                </c:pt>
                <c:pt idx="32">
                  <c:v>Ficello</c:v>
                </c:pt>
                <c:pt idx="33">
                  <c:v>Private Lab</c:v>
                </c:pt>
                <c:pt idx="34">
                  <c:v>La Vache Qu</c:v>
                </c:pt>
                <c:pt idx="35">
                  <c:v>Mini Babybe</c:v>
                </c:pt>
                <c:pt idx="36">
                  <c:v>St Moret</c:v>
                </c:pt>
                <c:pt idx="37">
                  <c:v>All Others</c:v>
                </c:pt>
                <c:pt idx="38">
                  <c:v>Kiri</c:v>
                </c:pt>
                <c:pt idx="39">
                  <c:v>Private Lab</c:v>
                </c:pt>
                <c:pt idx="40">
                  <c:v>Apericube</c:v>
                </c:pt>
                <c:pt idx="41">
                  <c:v>Private Lab</c:v>
                </c:pt>
                <c:pt idx="42">
                  <c:v>Paysan Bret</c:v>
                </c:pt>
                <c:pt idx="43">
                  <c:v>Private Lab</c:v>
                </c:pt>
                <c:pt idx="44">
                  <c:v>Apericube</c:v>
                </c:pt>
                <c:pt idx="45">
                  <c:v>St Moret</c:v>
                </c:pt>
                <c:pt idx="46">
                  <c:v>Islos</c:v>
                </c:pt>
                <c:pt idx="47">
                  <c:v>Carre Frais</c:v>
                </c:pt>
                <c:pt idx="48">
                  <c:v>Kiri</c:v>
                </c:pt>
                <c:pt idx="49">
                  <c:v>Richesmonts</c:v>
                </c:pt>
                <c:pt idx="50">
                  <c:v>Private Lab</c:v>
                </c:pt>
                <c:pt idx="51">
                  <c:v>Entremont</c:v>
                </c:pt>
                <c:pt idx="52">
                  <c:v>Philadelphi</c:v>
                </c:pt>
                <c:pt idx="53">
                  <c:v>Paysan Bret</c:v>
                </c:pt>
                <c:pt idx="54">
                  <c:v>President</c:v>
                </c:pt>
                <c:pt idx="55">
                  <c:v>Private Lab</c:v>
                </c:pt>
                <c:pt idx="56">
                  <c:v>Private Lab</c:v>
                </c:pt>
                <c:pt idx="57">
                  <c:v>Private Lab</c:v>
                </c:pt>
                <c:pt idx="58">
                  <c:v>Lepetit</c:v>
                </c:pt>
                <c:pt idx="59">
                  <c:v>All Others</c:v>
                </c:pt>
                <c:pt idx="60">
                  <c:v>St Moret</c:v>
                </c:pt>
                <c:pt idx="61">
                  <c:v>Private Lab</c:v>
                </c:pt>
                <c:pt idx="62">
                  <c:v>Coeur De Li</c:v>
                </c:pt>
                <c:pt idx="63">
                  <c:v>Carre Frais</c:v>
                </c:pt>
                <c:pt idx="64">
                  <c:v>Chaussee Au</c:v>
                </c:pt>
                <c:pt idx="65">
                  <c:v>Caprice Des</c:v>
                </c:pt>
                <c:pt idx="66">
                  <c:v>Tartare</c:v>
                </c:pt>
                <c:pt idx="67">
                  <c:v>Private Lab</c:v>
                </c:pt>
                <c:pt idx="68">
                  <c:v>Private Lab</c:v>
                </c:pt>
                <c:pt idx="69">
                  <c:v>Boursin</c:v>
                </c:pt>
                <c:pt idx="70">
                  <c:v>Kiri</c:v>
                </c:pt>
                <c:pt idx="71">
                  <c:v>Casa Azzurr</c:v>
                </c:pt>
                <c:pt idx="72">
                  <c:v>Istara</c:v>
                </c:pt>
                <c:pt idx="73">
                  <c:v>Entremont</c:v>
                </c:pt>
                <c:pt idx="74">
                  <c:v>President</c:v>
                </c:pt>
                <c:pt idx="75">
                  <c:v>Private Lab</c:v>
                </c:pt>
                <c:pt idx="76">
                  <c:v>Casa Azzurr</c:v>
                </c:pt>
                <c:pt idx="77">
                  <c:v>Private Lab</c:v>
                </c:pt>
                <c:pt idx="78">
                  <c:v>St Moret</c:v>
                </c:pt>
                <c:pt idx="79">
                  <c:v>Galbani</c:v>
                </c:pt>
                <c:pt idx="80">
                  <c:v>Private Lab</c:v>
                </c:pt>
                <c:pt idx="81">
                  <c:v>Private Lab</c:v>
                </c:pt>
                <c:pt idx="82">
                  <c:v>Societe</c:v>
                </c:pt>
                <c:pt idx="83">
                  <c:v>Boursin</c:v>
                </c:pt>
                <c:pt idx="84">
                  <c:v>Private Lab</c:v>
                </c:pt>
                <c:pt idx="85">
                  <c:v>Private Lab</c:v>
                </c:pt>
                <c:pt idx="86">
                  <c:v>All Others</c:v>
                </c:pt>
                <c:pt idx="87">
                  <c:v>President</c:v>
                </c:pt>
                <c:pt idx="88">
                  <c:v>Entremont</c:v>
                </c:pt>
                <c:pt idx="89">
                  <c:v>President</c:v>
                </c:pt>
                <c:pt idx="90">
                  <c:v>Petit Billy</c:v>
                </c:pt>
                <c:pt idx="91">
                  <c:v>Juraflore</c:v>
                </c:pt>
                <c:pt idx="92">
                  <c:v>Entremont</c:v>
                </c:pt>
                <c:pt idx="93">
                  <c:v>Private Lab</c:v>
                </c:pt>
                <c:pt idx="94">
                  <c:v>Lou Perac</c:v>
                </c:pt>
                <c:pt idx="95">
                  <c:v>Private Lab</c:v>
                </c:pt>
                <c:pt idx="96">
                  <c:v>Private Lab</c:v>
                </c:pt>
                <c:pt idx="97">
                  <c:v>Philadelphi</c:v>
                </c:pt>
                <c:pt idx="98">
                  <c:v>Private Lab</c:v>
                </c:pt>
                <c:pt idx="99">
                  <c:v>Private Lab</c:v>
                </c:pt>
                <c:pt idx="100">
                  <c:v>Private Lab</c:v>
                </c:pt>
                <c:pt idx="101">
                  <c:v>Private Lab</c:v>
                </c:pt>
                <c:pt idx="102">
                  <c:v>Private Lab</c:v>
                </c:pt>
                <c:pt idx="103">
                  <c:v>Casa Azzurr</c:v>
                </c:pt>
                <c:pt idx="104">
                  <c:v>Private Lab</c:v>
                </c:pt>
                <c:pt idx="105">
                  <c:v>Boursin</c:v>
                </c:pt>
                <c:pt idx="106">
                  <c:v>President</c:v>
                </c:pt>
                <c:pt idx="107">
                  <c:v>St Moret</c:v>
                </c:pt>
                <c:pt idx="108">
                  <c:v>Private Lab</c:v>
                </c:pt>
                <c:pt idx="109">
                  <c:v>President</c:v>
                </c:pt>
                <c:pt idx="110">
                  <c:v>Private Lab</c:v>
                </c:pt>
                <c:pt idx="111">
                  <c:v>President</c:v>
                </c:pt>
                <c:pt idx="112">
                  <c:v>Kiri</c:v>
                </c:pt>
                <c:pt idx="113">
                  <c:v>St Moret</c:v>
                </c:pt>
                <c:pt idx="114">
                  <c:v>Coeur De Li</c:v>
                </c:pt>
                <c:pt idx="115">
                  <c:v>Boursin</c:v>
                </c:pt>
                <c:pt idx="116">
                  <c:v>Salakis</c:v>
                </c:pt>
                <c:pt idx="117">
                  <c:v>President</c:v>
                </c:pt>
                <c:pt idx="118">
                  <c:v>Pochat</c:v>
                </c:pt>
                <c:pt idx="119">
                  <c:v>Private Lab</c:v>
                </c:pt>
                <c:pt idx="120">
                  <c:v>Apericube</c:v>
                </c:pt>
                <c:pt idx="121">
                  <c:v>Private Lab</c:v>
                </c:pt>
                <c:pt idx="122">
                  <c:v>Apericube</c:v>
                </c:pt>
                <c:pt idx="123">
                  <c:v>Private Lab</c:v>
                </c:pt>
                <c:pt idx="124">
                  <c:v>Galbani</c:v>
                </c:pt>
                <c:pt idx="125">
                  <c:v>Private Lab</c:v>
                </c:pt>
                <c:pt idx="126">
                  <c:v>Apericube</c:v>
                </c:pt>
                <c:pt idx="127">
                  <c:v>Casa Azzurr</c:v>
                </c:pt>
                <c:pt idx="128">
                  <c:v>Private Lab</c:v>
                </c:pt>
                <c:pt idx="129">
                  <c:v>Galbani</c:v>
                </c:pt>
                <c:pt idx="130">
                  <c:v>Le Rustique</c:v>
                </c:pt>
                <c:pt idx="131">
                  <c:v>Chaussee Au</c:v>
                </c:pt>
                <c:pt idx="132">
                  <c:v>All Others</c:v>
                </c:pt>
                <c:pt idx="133">
                  <c:v>President</c:v>
                </c:pt>
                <c:pt idx="134">
                  <c:v>Casa Azzurr</c:v>
                </c:pt>
                <c:pt idx="135">
                  <c:v>Casa Azzurr</c:v>
                </c:pt>
                <c:pt idx="136">
                  <c:v>Private Lab</c:v>
                </c:pt>
                <c:pt idx="137">
                  <c:v>Richesmonts</c:v>
                </c:pt>
                <c:pt idx="138">
                  <c:v>Aperivrais</c:v>
                </c:pt>
                <c:pt idx="139">
                  <c:v>Leerdammer</c:v>
                </c:pt>
                <c:pt idx="140">
                  <c:v>All Others</c:v>
                </c:pt>
                <c:pt idx="141">
                  <c:v>Entremont</c:v>
                </c:pt>
                <c:pt idx="142">
                  <c:v>Mini Babybe</c:v>
                </c:pt>
                <c:pt idx="143">
                  <c:v>Ficello</c:v>
                </c:pt>
                <c:pt idx="144">
                  <c:v>Boursin</c:v>
                </c:pt>
                <c:pt idx="145">
                  <c:v>Mini Babybe</c:v>
                </c:pt>
                <c:pt idx="146">
                  <c:v>Le Brebiou</c:v>
                </c:pt>
                <c:pt idx="147">
                  <c:v>St Moret</c:v>
                </c:pt>
                <c:pt idx="148">
                  <c:v>Private Lab</c:v>
                </c:pt>
                <c:pt idx="149">
                  <c:v>Private Lab</c:v>
                </c:pt>
                <c:pt idx="150">
                  <c:v>Soignon</c:v>
                </c:pt>
                <c:pt idx="151">
                  <c:v>Private Lab</c:v>
                </c:pt>
                <c:pt idx="152">
                  <c:v>Salakis</c:v>
                </c:pt>
                <c:pt idx="153">
                  <c:v>Paysan Bret</c:v>
                </c:pt>
                <c:pt idx="154">
                  <c:v>Le Rustique</c:v>
                </c:pt>
                <c:pt idx="155">
                  <c:v>Richesmonts</c:v>
                </c:pt>
                <c:pt idx="156">
                  <c:v>Coeur De Li</c:v>
                </c:pt>
                <c:pt idx="157">
                  <c:v>Kiri</c:v>
                </c:pt>
                <c:pt idx="158">
                  <c:v>President</c:v>
                </c:pt>
                <c:pt idx="159">
                  <c:v>Lactalis: A</c:v>
                </c:pt>
                <c:pt idx="160">
                  <c:v>Aperivrais</c:v>
                </c:pt>
                <c:pt idx="161">
                  <c:v>Private Lab</c:v>
                </c:pt>
                <c:pt idx="162">
                  <c:v>Leerdammer</c:v>
                </c:pt>
                <c:pt idx="163">
                  <c:v>Private Lab</c:v>
                </c:pt>
                <c:pt idx="164">
                  <c:v>Private Lab</c:v>
                </c:pt>
                <c:pt idx="165">
                  <c:v>Saint Agur</c:v>
                </c:pt>
                <c:pt idx="166">
                  <c:v>Private Lab</c:v>
                </c:pt>
                <c:pt idx="167">
                  <c:v>Private Lab</c:v>
                </c:pt>
                <c:pt idx="168">
                  <c:v>Soignon</c:v>
                </c:pt>
                <c:pt idx="169">
                  <c:v>Casa Azzurr</c:v>
                </c:pt>
                <c:pt idx="170">
                  <c:v>Entremont</c:v>
                </c:pt>
                <c:pt idx="171">
                  <c:v>Etorki</c:v>
                </c:pt>
                <c:pt idx="172">
                  <c:v>All Others</c:v>
                </c:pt>
                <c:pt idx="173">
                  <c:v>Lou Perac</c:v>
                </c:pt>
                <c:pt idx="174">
                  <c:v>Richesmonts</c:v>
                </c:pt>
                <c:pt idx="175">
                  <c:v>President</c:v>
                </c:pt>
                <c:pt idx="176">
                  <c:v>L'Ortolan</c:v>
                </c:pt>
                <c:pt idx="177">
                  <c:v>Casa Azzurr</c:v>
                </c:pt>
                <c:pt idx="178">
                  <c:v>Richesmonts</c:v>
                </c:pt>
                <c:pt idx="179">
                  <c:v>Parmareggio</c:v>
                </c:pt>
                <c:pt idx="180">
                  <c:v>All Others</c:v>
                </c:pt>
                <c:pt idx="181">
                  <c:v>La Vache Qu</c:v>
                </c:pt>
                <c:pt idx="182">
                  <c:v>Chavroux</c:v>
                </c:pt>
                <c:pt idx="183">
                  <c:v>Saint Albra</c:v>
                </c:pt>
                <c:pt idx="184">
                  <c:v>Soignon</c:v>
                </c:pt>
                <c:pt idx="185">
                  <c:v>Caprice Des</c:v>
                </c:pt>
                <c:pt idx="186">
                  <c:v>President</c:v>
                </c:pt>
                <c:pt idx="187">
                  <c:v>La Vache Qu</c:v>
                </c:pt>
                <c:pt idx="188">
                  <c:v>Private Lab</c:v>
                </c:pt>
                <c:pt idx="189">
                  <c:v>All Others</c:v>
                </c:pt>
                <c:pt idx="190">
                  <c:v>Galbani</c:v>
                </c:pt>
                <c:pt idx="191">
                  <c:v>Entremont</c:v>
                </c:pt>
                <c:pt idx="192">
                  <c:v>Private Lab</c:v>
                </c:pt>
                <c:pt idx="193">
                  <c:v>Private Lab</c:v>
                </c:pt>
                <c:pt idx="194">
                  <c:v>Rondele</c:v>
                </c:pt>
                <c:pt idx="195">
                  <c:v>Private Lab</c:v>
                </c:pt>
                <c:pt idx="196">
                  <c:v>Bresse Bleu</c:v>
                </c:pt>
                <c:pt idx="197">
                  <c:v>Private Lab</c:v>
                </c:pt>
                <c:pt idx="198">
                  <c:v>All Others</c:v>
                </c:pt>
                <c:pt idx="199">
                  <c:v>All Others</c:v>
                </c:pt>
                <c:pt idx="200">
                  <c:v>Private Lab</c:v>
                </c:pt>
                <c:pt idx="201">
                  <c:v>Private Lab</c:v>
                </c:pt>
                <c:pt idx="202">
                  <c:v>Private Lab</c:v>
                </c:pt>
                <c:pt idx="203">
                  <c:v>Private Lab</c:v>
                </c:pt>
                <c:pt idx="204">
                  <c:v>Private Lab</c:v>
                </c:pt>
                <c:pt idx="205">
                  <c:v>Galbani</c:v>
                </c:pt>
                <c:pt idx="206">
                  <c:v>Lactalis: A</c:v>
                </c:pt>
                <c:pt idx="207">
                  <c:v>Boursin</c:v>
                </c:pt>
                <c:pt idx="208">
                  <c:v>All Others</c:v>
                </c:pt>
                <c:pt idx="209">
                  <c:v>All Others</c:v>
                </c:pt>
                <c:pt idx="210">
                  <c:v>Entremont</c:v>
                </c:pt>
                <c:pt idx="211">
                  <c:v>Paysan Bret</c:v>
                </c:pt>
                <c:pt idx="212">
                  <c:v>Entremont</c:v>
                </c:pt>
                <c:pt idx="213">
                  <c:v>President</c:v>
                </c:pt>
                <c:pt idx="214">
                  <c:v>Leerdammer</c:v>
                </c:pt>
                <c:pt idx="215">
                  <c:v>Leerdammer</c:v>
                </c:pt>
                <c:pt idx="216">
                  <c:v>Private Lab</c:v>
                </c:pt>
                <c:pt idx="217">
                  <c:v>Saint Agur</c:v>
                </c:pt>
                <c:pt idx="218">
                  <c:v>Saint Agur</c:v>
                </c:pt>
                <c:pt idx="219">
                  <c:v>Private Lab</c:v>
                </c:pt>
                <c:pt idx="220">
                  <c:v>Private Lab</c:v>
                </c:pt>
                <c:pt idx="221">
                  <c:v>Tartare</c:v>
                </c:pt>
                <c:pt idx="222">
                  <c:v>Istara</c:v>
                </c:pt>
                <c:pt idx="223">
                  <c:v>Private Lab</c:v>
                </c:pt>
                <c:pt idx="224">
                  <c:v>Casa Azzurr</c:v>
                </c:pt>
                <c:pt idx="225">
                  <c:v>Boursin</c:v>
                </c:pt>
                <c:pt idx="226">
                  <c:v>All Others</c:v>
                </c:pt>
                <c:pt idx="227">
                  <c:v>Lactalis: A</c:v>
                </c:pt>
                <c:pt idx="228">
                  <c:v>P'Tit Louis</c:v>
                </c:pt>
                <c:pt idx="229">
                  <c:v>Private Lab</c:v>
                </c:pt>
                <c:pt idx="230">
                  <c:v>Private Lab</c:v>
                </c:pt>
                <c:pt idx="231">
                  <c:v>Soignon</c:v>
                </c:pt>
                <c:pt idx="232">
                  <c:v>La Vache Qu</c:v>
                </c:pt>
                <c:pt idx="233">
                  <c:v>All Others</c:v>
                </c:pt>
                <c:pt idx="234">
                  <c:v>Soignon</c:v>
                </c:pt>
                <c:pt idx="235">
                  <c:v>Private Lab</c:v>
                </c:pt>
                <c:pt idx="236">
                  <c:v>Private Lab</c:v>
                </c:pt>
                <c:pt idx="237">
                  <c:v>Soignon</c:v>
                </c:pt>
                <c:pt idx="238">
                  <c:v>Chavroux</c:v>
                </c:pt>
                <c:pt idx="239">
                  <c:v>President</c:v>
                </c:pt>
                <c:pt idx="240">
                  <c:v>Galbani</c:v>
                </c:pt>
                <c:pt idx="241">
                  <c:v>President</c:v>
                </c:pt>
                <c:pt idx="242">
                  <c:v>Richesmonts</c:v>
                </c:pt>
                <c:pt idx="243">
                  <c:v>Private Lab</c:v>
                </c:pt>
                <c:pt idx="244">
                  <c:v>Private Lab</c:v>
                </c:pt>
                <c:pt idx="245">
                  <c:v>Paysan Bret</c:v>
                </c:pt>
                <c:pt idx="246">
                  <c:v>Private Lab</c:v>
                </c:pt>
                <c:pt idx="247">
                  <c:v>Port Salut</c:v>
                </c:pt>
                <c:pt idx="248">
                  <c:v>Galbani</c:v>
                </c:pt>
                <c:pt idx="249">
                  <c:v>Entremont</c:v>
                </c:pt>
                <c:pt idx="250">
                  <c:v>President</c:v>
                </c:pt>
                <c:pt idx="251">
                  <c:v>Apericube</c:v>
                </c:pt>
                <c:pt idx="252">
                  <c:v>Private Lab</c:v>
                </c:pt>
                <c:pt idx="253">
                  <c:v>President</c:v>
                </c:pt>
                <c:pt idx="254">
                  <c:v>All Others</c:v>
                </c:pt>
                <c:pt idx="255">
                  <c:v>Private Lab</c:v>
                </c:pt>
                <c:pt idx="256">
                  <c:v>Entremont</c:v>
                </c:pt>
                <c:pt idx="257">
                  <c:v>All Others</c:v>
                </c:pt>
                <c:pt idx="258">
                  <c:v>Apericube</c:v>
                </c:pt>
                <c:pt idx="259">
                  <c:v>All Others</c:v>
                </c:pt>
                <c:pt idx="260">
                  <c:v>Private Lab</c:v>
                </c:pt>
                <c:pt idx="261">
                  <c:v>Private Lab</c:v>
                </c:pt>
                <c:pt idx="262">
                  <c:v>All Others</c:v>
                </c:pt>
                <c:pt idx="263">
                  <c:v>Private Lab</c:v>
                </c:pt>
                <c:pt idx="264">
                  <c:v>Richesmonts</c:v>
                </c:pt>
                <c:pt idx="265">
                  <c:v>Caprice Des</c:v>
                </c:pt>
                <c:pt idx="266">
                  <c:v>All Others</c:v>
                </c:pt>
                <c:pt idx="267">
                  <c:v>Leerdammer</c:v>
                </c:pt>
                <c:pt idx="268">
                  <c:v>Private Lab</c:v>
                </c:pt>
                <c:pt idx="269">
                  <c:v>All Others</c:v>
                </c:pt>
                <c:pt idx="270">
                  <c:v>Paysan Bret</c:v>
                </c:pt>
                <c:pt idx="271">
                  <c:v>All Others</c:v>
                </c:pt>
                <c:pt idx="272">
                  <c:v>Private Lab</c:v>
                </c:pt>
                <c:pt idx="273">
                  <c:v>All Others</c:v>
                </c:pt>
                <c:pt idx="274">
                  <c:v>Aperivrais</c:v>
                </c:pt>
                <c:pt idx="275">
                  <c:v>Le Rustique</c:v>
                </c:pt>
                <c:pt idx="276">
                  <c:v>All Others</c:v>
                </c:pt>
                <c:pt idx="277">
                  <c:v>All Others</c:v>
                </c:pt>
                <c:pt idx="278">
                  <c:v>All Others</c:v>
                </c:pt>
                <c:pt idx="279">
                  <c:v>All Others</c:v>
                </c:pt>
                <c:pt idx="280">
                  <c:v>Lactalis: A</c:v>
                </c:pt>
                <c:pt idx="281">
                  <c:v>Private Lab</c:v>
                </c:pt>
                <c:pt idx="282">
                  <c:v>All Others</c:v>
                </c:pt>
                <c:pt idx="283">
                  <c:v>Private Lab</c:v>
                </c:pt>
                <c:pt idx="284">
                  <c:v>Societe</c:v>
                </c:pt>
                <c:pt idx="285">
                  <c:v>Bresse Bleu</c:v>
                </c:pt>
                <c:pt idx="286">
                  <c:v>Private Lab</c:v>
                </c:pt>
                <c:pt idx="287">
                  <c:v>Private Lab</c:v>
                </c:pt>
                <c:pt idx="288">
                  <c:v>All Others</c:v>
                </c:pt>
                <c:pt idx="289">
                  <c:v>Private Lab</c:v>
                </c:pt>
                <c:pt idx="290">
                  <c:v>All Others</c:v>
                </c:pt>
                <c:pt idx="291">
                  <c:v>Private Lab</c:v>
                </c:pt>
                <c:pt idx="292">
                  <c:v>Casa Azzurr</c:v>
                </c:pt>
                <c:pt idx="293">
                  <c:v>President</c:v>
                </c:pt>
                <c:pt idx="294">
                  <c:v>Kiri</c:v>
                </c:pt>
                <c:pt idx="295">
                  <c:v>Saint Agur</c:v>
                </c:pt>
                <c:pt idx="296">
                  <c:v>President</c:v>
                </c:pt>
                <c:pt idx="297">
                  <c:v>Private Lab</c:v>
                </c:pt>
                <c:pt idx="298">
                  <c:v>Richesmonts</c:v>
                </c:pt>
                <c:pt idx="299">
                  <c:v>Casa Azzurr</c:v>
                </c:pt>
                <c:pt idx="300">
                  <c:v>Leerdammer</c:v>
                </c:pt>
                <c:pt idx="301">
                  <c:v>Private Lab</c:v>
                </c:pt>
                <c:pt idx="302">
                  <c:v>Entremont</c:v>
                </c:pt>
                <c:pt idx="303">
                  <c:v>Pochat</c:v>
                </c:pt>
                <c:pt idx="304">
                  <c:v>Soignon</c:v>
                </c:pt>
                <c:pt idx="305">
                  <c:v>Soignon</c:v>
                </c:pt>
                <c:pt idx="306">
                  <c:v>Private Lab</c:v>
                </c:pt>
                <c:pt idx="307">
                  <c:v>All Others</c:v>
                </c:pt>
                <c:pt idx="308">
                  <c:v>La Vache Qu</c:v>
                </c:pt>
                <c:pt idx="309">
                  <c:v>Salakis</c:v>
                </c:pt>
                <c:pt idx="310">
                  <c:v>Private Lab</c:v>
                </c:pt>
                <c:pt idx="311">
                  <c:v>All Others</c:v>
                </c:pt>
                <c:pt idx="312">
                  <c:v>Casa Azzurr</c:v>
                </c:pt>
                <c:pt idx="313">
                  <c:v>Private Lab</c:v>
                </c:pt>
                <c:pt idx="314">
                  <c:v>Private Lab</c:v>
                </c:pt>
                <c:pt idx="315">
                  <c:v>Private Lab</c:v>
                </c:pt>
                <c:pt idx="316">
                  <c:v>Entremont</c:v>
                </c:pt>
                <c:pt idx="317">
                  <c:v>All Others</c:v>
                </c:pt>
                <c:pt idx="318">
                  <c:v>Leerdammer</c:v>
                </c:pt>
                <c:pt idx="319">
                  <c:v>Salakis</c:v>
                </c:pt>
                <c:pt idx="320">
                  <c:v>Saint Albra</c:v>
                </c:pt>
                <c:pt idx="321">
                  <c:v>Tartare</c:v>
                </c:pt>
                <c:pt idx="322">
                  <c:v>Fol Epi</c:v>
                </c:pt>
                <c:pt idx="323">
                  <c:v>Savencia: A</c:v>
                </c:pt>
                <c:pt idx="324">
                  <c:v>Societe</c:v>
                </c:pt>
                <c:pt idx="325">
                  <c:v>All Others</c:v>
                </c:pt>
                <c:pt idx="326">
                  <c:v>Paysan Bret</c:v>
                </c:pt>
                <c:pt idx="327">
                  <c:v>Private Lab</c:v>
                </c:pt>
                <c:pt idx="328">
                  <c:v>Private Lab</c:v>
                </c:pt>
                <c:pt idx="329">
                  <c:v>Boursin</c:v>
                </c:pt>
                <c:pt idx="330">
                  <c:v>All Others</c:v>
                </c:pt>
                <c:pt idx="331">
                  <c:v>Richesmonts</c:v>
                </c:pt>
                <c:pt idx="332">
                  <c:v>Salakis</c:v>
                </c:pt>
                <c:pt idx="333">
                  <c:v>Babybel</c:v>
                </c:pt>
                <c:pt idx="334">
                  <c:v>All Others</c:v>
                </c:pt>
                <c:pt idx="335">
                  <c:v>Private Lab</c:v>
                </c:pt>
                <c:pt idx="336">
                  <c:v>Entremont</c:v>
                </c:pt>
                <c:pt idx="337">
                  <c:v>Galbani</c:v>
                </c:pt>
                <c:pt idx="338">
                  <c:v>All Others</c:v>
                </c:pt>
                <c:pt idx="339">
                  <c:v>Boursin</c:v>
                </c:pt>
                <c:pt idx="340">
                  <c:v>Private Lab</c:v>
                </c:pt>
                <c:pt idx="341">
                  <c:v>Private Lab</c:v>
                </c:pt>
                <c:pt idx="342">
                  <c:v>Private Lab</c:v>
                </c:pt>
                <c:pt idx="343">
                  <c:v>Private Lab</c:v>
                </c:pt>
                <c:pt idx="344">
                  <c:v>Private Lab</c:v>
                </c:pt>
                <c:pt idx="345">
                  <c:v>Savencia: A</c:v>
                </c:pt>
                <c:pt idx="346">
                  <c:v>Private Lab</c:v>
                </c:pt>
                <c:pt idx="347">
                  <c:v>Soignon</c:v>
                </c:pt>
                <c:pt idx="348">
                  <c:v>All Others</c:v>
                </c:pt>
                <c:pt idx="349">
                  <c:v>Cousteron</c:v>
                </c:pt>
                <c:pt idx="350">
                  <c:v>All Others</c:v>
                </c:pt>
                <c:pt idx="351">
                  <c:v>Private Lab</c:v>
                </c:pt>
                <c:pt idx="352">
                  <c:v>Private Lab</c:v>
                </c:pt>
                <c:pt idx="353">
                  <c:v>Private Lab</c:v>
                </c:pt>
                <c:pt idx="354">
                  <c:v>Lou Perac</c:v>
                </c:pt>
                <c:pt idx="355">
                  <c:v>Chavroux</c:v>
                </c:pt>
                <c:pt idx="356">
                  <c:v>All Others</c:v>
                </c:pt>
                <c:pt idx="357">
                  <c:v>Private Lab</c:v>
                </c:pt>
                <c:pt idx="358">
                  <c:v>Etoile Du Q</c:v>
                </c:pt>
                <c:pt idx="359">
                  <c:v>Private Lab</c:v>
                </c:pt>
                <c:pt idx="360">
                  <c:v>Private Lab</c:v>
                </c:pt>
                <c:pt idx="361">
                  <c:v>Private Lab</c:v>
                </c:pt>
                <c:pt idx="362">
                  <c:v>Private Lab</c:v>
                </c:pt>
                <c:pt idx="363">
                  <c:v>Societe</c:v>
                </c:pt>
                <c:pt idx="364">
                  <c:v>All Others</c:v>
                </c:pt>
                <c:pt idx="365">
                  <c:v>All Others</c:v>
                </c:pt>
                <c:pt idx="366">
                  <c:v>La Vache Qu</c:v>
                </c:pt>
                <c:pt idx="367">
                  <c:v>All Others</c:v>
                </c:pt>
                <c:pt idx="368">
                  <c:v>All Others</c:v>
                </c:pt>
                <c:pt idx="369">
                  <c:v>Pave D'Affi</c:v>
                </c:pt>
                <c:pt idx="370">
                  <c:v>Richesmonts</c:v>
                </c:pt>
                <c:pt idx="371">
                  <c:v>All Others</c:v>
                </c:pt>
                <c:pt idx="372">
                  <c:v>Galbani</c:v>
                </c:pt>
                <c:pt idx="373">
                  <c:v>Entremont</c:v>
                </c:pt>
                <c:pt idx="374">
                  <c:v>Private Lab</c:v>
                </c:pt>
                <c:pt idx="375">
                  <c:v>Casa Azzurr</c:v>
                </c:pt>
                <c:pt idx="376">
                  <c:v>Apericube</c:v>
                </c:pt>
                <c:pt idx="377">
                  <c:v>All Others</c:v>
                </c:pt>
                <c:pt idx="378">
                  <c:v>Private Lab</c:v>
                </c:pt>
                <c:pt idx="379">
                  <c:v>Private Lab</c:v>
                </c:pt>
                <c:pt idx="380">
                  <c:v>Entremont</c:v>
                </c:pt>
                <c:pt idx="381">
                  <c:v>Private Lab</c:v>
                </c:pt>
                <c:pt idx="382">
                  <c:v>Fauquet</c:v>
                </c:pt>
                <c:pt idx="383">
                  <c:v>All Others</c:v>
                </c:pt>
                <c:pt idx="384">
                  <c:v>President</c:v>
                </c:pt>
                <c:pt idx="385">
                  <c:v>La Pointe P</c:v>
                </c:pt>
                <c:pt idx="386">
                  <c:v>All Others</c:v>
                </c:pt>
                <c:pt idx="387">
                  <c:v>Mini Babybe</c:v>
                </c:pt>
                <c:pt idx="388">
                  <c:v>Private Lab</c:v>
                </c:pt>
                <c:pt idx="389">
                  <c:v>President</c:v>
                </c:pt>
                <c:pt idx="390">
                  <c:v>All Others</c:v>
                </c:pt>
                <c:pt idx="391">
                  <c:v>Private Lab</c:v>
                </c:pt>
                <c:pt idx="392">
                  <c:v>President</c:v>
                </c:pt>
                <c:pt idx="393">
                  <c:v>Mini Babybe</c:v>
                </c:pt>
                <c:pt idx="394">
                  <c:v>All Others</c:v>
                </c:pt>
                <c:pt idx="395">
                  <c:v>La Pointe P</c:v>
                </c:pt>
                <c:pt idx="396">
                  <c:v>Soignon</c:v>
                </c:pt>
                <c:pt idx="397">
                  <c:v>All Others</c:v>
                </c:pt>
                <c:pt idx="398">
                  <c:v>Private Lab</c:v>
                </c:pt>
                <c:pt idx="399">
                  <c:v>Saint Agur</c:v>
                </c:pt>
                <c:pt idx="400">
                  <c:v>All Others</c:v>
                </c:pt>
                <c:pt idx="401">
                  <c:v>Triballat N</c:v>
                </c:pt>
                <c:pt idx="402">
                  <c:v>Private Lab</c:v>
                </c:pt>
                <c:pt idx="403">
                  <c:v>All Others</c:v>
                </c:pt>
                <c:pt idx="404">
                  <c:v>Private Lab</c:v>
                </c:pt>
                <c:pt idx="405">
                  <c:v>La Pointe P</c:v>
                </c:pt>
                <c:pt idx="406">
                  <c:v>Private Lab</c:v>
                </c:pt>
                <c:pt idx="407">
                  <c:v>Etoile Du V</c:v>
                </c:pt>
                <c:pt idx="408">
                  <c:v>All Others</c:v>
                </c:pt>
                <c:pt idx="409">
                  <c:v>Private Lab</c:v>
                </c:pt>
                <c:pt idx="410">
                  <c:v>All Others</c:v>
                </c:pt>
                <c:pt idx="411">
                  <c:v>St Moret</c:v>
                </c:pt>
                <c:pt idx="412">
                  <c:v>Aperivrais</c:v>
                </c:pt>
                <c:pt idx="413">
                  <c:v>Apericube</c:v>
                </c:pt>
                <c:pt idx="414">
                  <c:v>All Others</c:v>
                </c:pt>
                <c:pt idx="415">
                  <c:v>All Others</c:v>
                </c:pt>
                <c:pt idx="416">
                  <c:v>President</c:v>
                </c:pt>
                <c:pt idx="417">
                  <c:v>Pave D'Affi</c:v>
                </c:pt>
                <c:pt idx="418">
                  <c:v>St Moret</c:v>
                </c:pt>
                <c:pt idx="419">
                  <c:v>All Others</c:v>
                </c:pt>
                <c:pt idx="420">
                  <c:v>Fauquet</c:v>
                </c:pt>
                <c:pt idx="421">
                  <c:v>All Others</c:v>
                </c:pt>
                <c:pt idx="422">
                  <c:v>Private Lab</c:v>
                </c:pt>
                <c:pt idx="423">
                  <c:v>Casa Azzurr</c:v>
                </c:pt>
                <c:pt idx="424">
                  <c:v>Private Lab</c:v>
                </c:pt>
                <c:pt idx="425">
                  <c:v>L'Ortolan</c:v>
                </c:pt>
                <c:pt idx="426">
                  <c:v>All Others</c:v>
                </c:pt>
                <c:pt idx="427">
                  <c:v>All Others</c:v>
                </c:pt>
                <c:pt idx="428">
                  <c:v>Savencia: A</c:v>
                </c:pt>
                <c:pt idx="429">
                  <c:v>La Pointe P</c:v>
                </c:pt>
                <c:pt idx="430">
                  <c:v>All Others</c:v>
                </c:pt>
                <c:pt idx="431">
                  <c:v>Vieux Pane</c:v>
                </c:pt>
                <c:pt idx="432">
                  <c:v>Private Lab</c:v>
                </c:pt>
                <c:pt idx="433">
                  <c:v>All Others</c:v>
                </c:pt>
                <c:pt idx="434">
                  <c:v>All Others</c:v>
                </c:pt>
                <c:pt idx="435">
                  <c:v>Chaussee Au</c:v>
                </c:pt>
                <c:pt idx="436">
                  <c:v>Private Lab</c:v>
                </c:pt>
                <c:pt idx="437">
                  <c:v>All Others</c:v>
                </c:pt>
                <c:pt idx="438">
                  <c:v>Private Lab</c:v>
                </c:pt>
                <c:pt idx="439">
                  <c:v>Ficello</c:v>
                </c:pt>
                <c:pt idx="440">
                  <c:v>Savencia: A</c:v>
                </c:pt>
                <c:pt idx="441">
                  <c:v>All Others</c:v>
                </c:pt>
                <c:pt idx="442">
                  <c:v>St Moret</c:v>
                </c:pt>
                <c:pt idx="443">
                  <c:v>Galbani</c:v>
                </c:pt>
                <c:pt idx="444">
                  <c:v>Galbani</c:v>
                </c:pt>
                <c:pt idx="445">
                  <c:v>Private Lab</c:v>
                </c:pt>
                <c:pt idx="446">
                  <c:v>Private Lab</c:v>
                </c:pt>
                <c:pt idx="447">
                  <c:v>Private Lab</c:v>
                </c:pt>
                <c:pt idx="448">
                  <c:v>Soignon</c:v>
                </c:pt>
                <c:pt idx="449">
                  <c:v>Private Lab</c:v>
                </c:pt>
                <c:pt idx="450">
                  <c:v>Casa Azzurr</c:v>
                </c:pt>
                <c:pt idx="451">
                  <c:v>Pave D'Affi</c:v>
                </c:pt>
                <c:pt idx="452">
                  <c:v>Private Lab</c:v>
                </c:pt>
                <c:pt idx="453">
                  <c:v>Entremont</c:v>
                </c:pt>
                <c:pt idx="454">
                  <c:v>Le Rustique</c:v>
                </c:pt>
                <c:pt idx="455">
                  <c:v>Private Lab</c:v>
                </c:pt>
                <c:pt idx="456">
                  <c:v>Boursin</c:v>
                </c:pt>
                <c:pt idx="457">
                  <c:v>All Others</c:v>
                </c:pt>
                <c:pt idx="458">
                  <c:v>All Others</c:v>
                </c:pt>
                <c:pt idx="459">
                  <c:v>Private Lab</c:v>
                </c:pt>
                <c:pt idx="460">
                  <c:v>Galbani</c:v>
                </c:pt>
                <c:pt idx="461">
                  <c:v>All Others</c:v>
                </c:pt>
                <c:pt idx="462">
                  <c:v>Lactalis: A</c:v>
                </c:pt>
                <c:pt idx="463">
                  <c:v>Casa Azzurr</c:v>
                </c:pt>
                <c:pt idx="464">
                  <c:v>All Others</c:v>
                </c:pt>
                <c:pt idx="465">
                  <c:v>Lou Perac</c:v>
                </c:pt>
                <c:pt idx="466">
                  <c:v>All Others</c:v>
                </c:pt>
                <c:pt idx="467">
                  <c:v>Boursin</c:v>
                </c:pt>
                <c:pt idx="468">
                  <c:v>All Others</c:v>
                </c:pt>
                <c:pt idx="469">
                  <c:v>All Others</c:v>
                </c:pt>
                <c:pt idx="470">
                  <c:v>Private Lab</c:v>
                </c:pt>
                <c:pt idx="471">
                  <c:v>Private Lab</c:v>
                </c:pt>
                <c:pt idx="472">
                  <c:v>St Moret</c:v>
                </c:pt>
                <c:pt idx="473">
                  <c:v>All Others</c:v>
                </c:pt>
                <c:pt idx="474">
                  <c:v>All Others</c:v>
                </c:pt>
                <c:pt idx="475">
                  <c:v>Private Lab</c:v>
                </c:pt>
                <c:pt idx="476">
                  <c:v>Mini Babybe</c:v>
                </c:pt>
                <c:pt idx="477">
                  <c:v>Private Lab</c:v>
                </c:pt>
                <c:pt idx="478">
                  <c:v>Private Lab</c:v>
                </c:pt>
                <c:pt idx="479">
                  <c:v>All Others</c:v>
                </c:pt>
                <c:pt idx="480">
                  <c:v>All Others</c:v>
                </c:pt>
                <c:pt idx="481">
                  <c:v>President</c:v>
                </c:pt>
                <c:pt idx="482">
                  <c:v>Tartare</c:v>
                </c:pt>
                <c:pt idx="483">
                  <c:v>Private Lab</c:v>
                </c:pt>
                <c:pt idx="484">
                  <c:v>All Others</c:v>
                </c:pt>
                <c:pt idx="485">
                  <c:v>All Others</c:v>
                </c:pt>
                <c:pt idx="486">
                  <c:v>All Others</c:v>
                </c:pt>
                <c:pt idx="487">
                  <c:v>Private Lab</c:v>
                </c:pt>
                <c:pt idx="488">
                  <c:v>All Others</c:v>
                </c:pt>
                <c:pt idx="489">
                  <c:v>Kiri</c:v>
                </c:pt>
                <c:pt idx="490">
                  <c:v>All Others</c:v>
                </c:pt>
                <c:pt idx="491">
                  <c:v>All Others</c:v>
                </c:pt>
                <c:pt idx="492">
                  <c:v>Societe</c:v>
                </c:pt>
                <c:pt idx="493">
                  <c:v>Soignon</c:v>
                </c:pt>
                <c:pt idx="494">
                  <c:v>President</c:v>
                </c:pt>
                <c:pt idx="495">
                  <c:v>Savencia: A</c:v>
                </c:pt>
                <c:pt idx="496">
                  <c:v>Philadelphi</c:v>
                </c:pt>
                <c:pt idx="497">
                  <c:v>All Others</c:v>
                </c:pt>
                <c:pt idx="498">
                  <c:v>Leerdammer</c:v>
                </c:pt>
                <c:pt idx="499">
                  <c:v>Private Lab</c:v>
                </c:pt>
                <c:pt idx="500">
                  <c:v>Private Lab</c:v>
                </c:pt>
                <c:pt idx="501">
                  <c:v>Pave D'Affi</c:v>
                </c:pt>
                <c:pt idx="502">
                  <c:v>La Pointe P</c:v>
                </c:pt>
                <c:pt idx="503">
                  <c:v>Private Lab</c:v>
                </c:pt>
                <c:pt idx="504">
                  <c:v>All Others</c:v>
                </c:pt>
                <c:pt idx="505">
                  <c:v>All Others</c:v>
                </c:pt>
                <c:pt idx="506">
                  <c:v>Private Lab</c:v>
                </c:pt>
                <c:pt idx="507">
                  <c:v>La Pointe P</c:v>
                </c:pt>
                <c:pt idx="508">
                  <c:v>Etoile Du V</c:v>
                </c:pt>
                <c:pt idx="509">
                  <c:v>Kiri</c:v>
                </c:pt>
                <c:pt idx="510">
                  <c:v>Kiri</c:v>
                </c:pt>
                <c:pt idx="511">
                  <c:v>President</c:v>
                </c:pt>
                <c:pt idx="512">
                  <c:v>Islos</c:v>
                </c:pt>
                <c:pt idx="513">
                  <c:v>Casa Azzurr</c:v>
                </c:pt>
                <c:pt idx="514">
                  <c:v>Kiri</c:v>
                </c:pt>
                <c:pt idx="515">
                  <c:v>President</c:v>
                </c:pt>
                <c:pt idx="516">
                  <c:v>All Others</c:v>
                </c:pt>
                <c:pt idx="517">
                  <c:v>Private Lab</c:v>
                </c:pt>
                <c:pt idx="518">
                  <c:v>Rondele</c:v>
                </c:pt>
                <c:pt idx="519">
                  <c:v>Private Lab</c:v>
                </c:pt>
                <c:pt idx="520">
                  <c:v>All Others</c:v>
                </c:pt>
                <c:pt idx="521">
                  <c:v>All Others</c:v>
                </c:pt>
                <c:pt idx="522">
                  <c:v>Rondele</c:v>
                </c:pt>
                <c:pt idx="523">
                  <c:v>Entremont</c:v>
                </c:pt>
                <c:pt idx="524">
                  <c:v>Leerdammer</c:v>
                </c:pt>
                <c:pt idx="525">
                  <c:v>Leerdammer</c:v>
                </c:pt>
                <c:pt idx="526">
                  <c:v>Galbani</c:v>
                </c:pt>
                <c:pt idx="527">
                  <c:v>Private Lab</c:v>
                </c:pt>
                <c:pt idx="528">
                  <c:v>Fauquet</c:v>
                </c:pt>
                <c:pt idx="529">
                  <c:v>All Others</c:v>
                </c:pt>
                <c:pt idx="530">
                  <c:v>Casa Azzurr</c:v>
                </c:pt>
                <c:pt idx="531">
                  <c:v>All Others</c:v>
                </c:pt>
                <c:pt idx="532">
                  <c:v>All Others</c:v>
                </c:pt>
                <c:pt idx="533">
                  <c:v>All Others</c:v>
                </c:pt>
                <c:pt idx="534">
                  <c:v>Private Lab</c:v>
                </c:pt>
                <c:pt idx="535">
                  <c:v>All Others</c:v>
                </c:pt>
                <c:pt idx="536">
                  <c:v>All Others</c:v>
                </c:pt>
                <c:pt idx="537">
                  <c:v>All Others</c:v>
                </c:pt>
                <c:pt idx="538">
                  <c:v>Entremont</c:v>
                </c:pt>
                <c:pt idx="539">
                  <c:v>Le Coq Crem</c:v>
                </c:pt>
                <c:pt idx="540">
                  <c:v>All Others</c:v>
                </c:pt>
                <c:pt idx="541">
                  <c:v>Violife</c:v>
                </c:pt>
                <c:pt idx="542">
                  <c:v>Private Lab</c:v>
                </c:pt>
                <c:pt idx="543">
                  <c:v>All Others</c:v>
                </c:pt>
                <c:pt idx="544">
                  <c:v>All Others</c:v>
                </c:pt>
                <c:pt idx="545">
                  <c:v>Triballat R</c:v>
                </c:pt>
                <c:pt idx="546">
                  <c:v>Corsica</c:v>
                </c:pt>
                <c:pt idx="547">
                  <c:v>All Others</c:v>
                </c:pt>
                <c:pt idx="548">
                  <c:v>Le Brebiou</c:v>
                </c:pt>
                <c:pt idx="549">
                  <c:v>Juraflore</c:v>
                </c:pt>
                <c:pt idx="550">
                  <c:v>Saint Agur</c:v>
                </c:pt>
                <c:pt idx="551">
                  <c:v>All Others</c:v>
                </c:pt>
                <c:pt idx="552">
                  <c:v>Private Lab</c:v>
                </c:pt>
                <c:pt idx="553">
                  <c:v>President</c:v>
                </c:pt>
                <c:pt idx="554">
                  <c:v>Entremont</c:v>
                </c:pt>
                <c:pt idx="555">
                  <c:v>Private Lab</c:v>
                </c:pt>
                <c:pt idx="556">
                  <c:v>All Others</c:v>
                </c:pt>
                <c:pt idx="557">
                  <c:v>All Others</c:v>
                </c:pt>
                <c:pt idx="558">
                  <c:v>Apericube</c:v>
                </c:pt>
                <c:pt idx="559">
                  <c:v>All Others</c:v>
                </c:pt>
                <c:pt idx="560">
                  <c:v>All Others</c:v>
                </c:pt>
                <c:pt idx="561">
                  <c:v>All Others</c:v>
                </c:pt>
                <c:pt idx="562">
                  <c:v>All Others</c:v>
                </c:pt>
                <c:pt idx="563">
                  <c:v>All Others</c:v>
                </c:pt>
                <c:pt idx="564">
                  <c:v>All Others</c:v>
                </c:pt>
                <c:pt idx="565">
                  <c:v>Private Lab</c:v>
                </c:pt>
                <c:pt idx="566">
                  <c:v>Leerdammer</c:v>
                </c:pt>
                <c:pt idx="567">
                  <c:v>All Others</c:v>
                </c:pt>
                <c:pt idx="568">
                  <c:v>All Others</c:v>
                </c:pt>
                <c:pt idx="569">
                  <c:v>Ficello</c:v>
                </c:pt>
                <c:pt idx="570">
                  <c:v>Boursin</c:v>
                </c:pt>
                <c:pt idx="571">
                  <c:v>Private Lab</c:v>
                </c:pt>
                <c:pt idx="572">
                  <c:v>Savencia: A</c:v>
                </c:pt>
                <c:pt idx="573">
                  <c:v>Apericube</c:v>
                </c:pt>
                <c:pt idx="574">
                  <c:v>P'Tit Louis</c:v>
                </c:pt>
                <c:pt idx="575">
                  <c:v>All Others</c:v>
                </c:pt>
                <c:pt idx="576">
                  <c:v>All Others</c:v>
                </c:pt>
                <c:pt idx="577">
                  <c:v>Apericube</c:v>
                </c:pt>
                <c:pt idx="578">
                  <c:v>All Others</c:v>
                </c:pt>
                <c:pt idx="579">
                  <c:v>All Others</c:v>
                </c:pt>
                <c:pt idx="580">
                  <c:v>Lou Perac</c:v>
                </c:pt>
                <c:pt idx="581">
                  <c:v>All Others</c:v>
                </c:pt>
                <c:pt idx="582">
                  <c:v>All Others</c:v>
                </c:pt>
                <c:pt idx="583">
                  <c:v>Lactalis: A</c:v>
                </c:pt>
                <c:pt idx="584">
                  <c:v>Richesmonts</c:v>
                </c:pt>
                <c:pt idx="585">
                  <c:v>All Others</c:v>
                </c:pt>
                <c:pt idx="586">
                  <c:v>Leerdammer</c:v>
                </c:pt>
                <c:pt idx="587">
                  <c:v>President</c:v>
                </c:pt>
                <c:pt idx="588">
                  <c:v>Eurial Autr</c:v>
                </c:pt>
                <c:pt idx="589">
                  <c:v>Mini Babybe</c:v>
                </c:pt>
                <c:pt idx="590">
                  <c:v>All Others</c:v>
                </c:pt>
                <c:pt idx="591">
                  <c:v>Private Lab</c:v>
                </c:pt>
                <c:pt idx="592">
                  <c:v>Soignon</c:v>
                </c:pt>
                <c:pt idx="593">
                  <c:v>All Others</c:v>
                </c:pt>
                <c:pt idx="594">
                  <c:v>Galbani</c:v>
                </c:pt>
                <c:pt idx="595">
                  <c:v>All Others</c:v>
                </c:pt>
                <c:pt idx="596">
                  <c:v>All Others</c:v>
                </c:pt>
                <c:pt idx="597">
                  <c:v>Pave D'Affi</c:v>
                </c:pt>
                <c:pt idx="598">
                  <c:v>All Others</c:v>
                </c:pt>
                <c:pt idx="599">
                  <c:v>Private Lab</c:v>
                </c:pt>
                <c:pt idx="600">
                  <c:v>Soignon</c:v>
                </c:pt>
                <c:pt idx="601">
                  <c:v>La Vache Qu</c:v>
                </c:pt>
                <c:pt idx="602">
                  <c:v>All Others</c:v>
                </c:pt>
                <c:pt idx="603">
                  <c:v>Private Lab</c:v>
                </c:pt>
                <c:pt idx="604">
                  <c:v>All Others</c:v>
                </c:pt>
                <c:pt idx="605">
                  <c:v>Private Lab</c:v>
                </c:pt>
                <c:pt idx="606">
                  <c:v>Private Lab</c:v>
                </c:pt>
                <c:pt idx="607">
                  <c:v>All Others</c:v>
                </c:pt>
                <c:pt idx="608">
                  <c:v>Casa Azzurr</c:v>
                </c:pt>
                <c:pt idx="609">
                  <c:v>Entremont</c:v>
                </c:pt>
                <c:pt idx="610">
                  <c:v>Etoile Du V</c:v>
                </c:pt>
                <c:pt idx="611">
                  <c:v>Private Lab</c:v>
                </c:pt>
                <c:pt idx="612">
                  <c:v>All Others</c:v>
                </c:pt>
                <c:pt idx="613">
                  <c:v>Boursin</c:v>
                </c:pt>
                <c:pt idx="614">
                  <c:v>Saint Agur</c:v>
                </c:pt>
                <c:pt idx="615">
                  <c:v>Soignon</c:v>
                </c:pt>
                <c:pt idx="616">
                  <c:v>All Others</c:v>
                </c:pt>
                <c:pt idx="617">
                  <c:v>Eurial Autr</c:v>
                </c:pt>
                <c:pt idx="618">
                  <c:v>Triballat R</c:v>
                </c:pt>
                <c:pt idx="619">
                  <c:v>All Others</c:v>
                </c:pt>
                <c:pt idx="620">
                  <c:v>Violife</c:v>
                </c:pt>
                <c:pt idx="621">
                  <c:v>Private Lab</c:v>
                </c:pt>
                <c:pt idx="622">
                  <c:v>All Others</c:v>
                </c:pt>
                <c:pt idx="623">
                  <c:v>Apericube</c:v>
                </c:pt>
                <c:pt idx="624">
                  <c:v>Apericube</c:v>
                </c:pt>
                <c:pt idx="625">
                  <c:v>Richesmonts</c:v>
                </c:pt>
                <c:pt idx="626">
                  <c:v>All Others</c:v>
                </c:pt>
                <c:pt idx="627">
                  <c:v>All Others</c:v>
                </c:pt>
                <c:pt idx="628">
                  <c:v>All Others</c:v>
                </c:pt>
                <c:pt idx="629">
                  <c:v>Pochat</c:v>
                </c:pt>
                <c:pt idx="630">
                  <c:v>All Others</c:v>
                </c:pt>
                <c:pt idx="631">
                  <c:v>Lactalis: A</c:v>
                </c:pt>
                <c:pt idx="632">
                  <c:v>P'Tit Louis</c:v>
                </c:pt>
                <c:pt idx="633">
                  <c:v>Richesmonts</c:v>
                </c:pt>
                <c:pt idx="634">
                  <c:v>All Others</c:v>
                </c:pt>
                <c:pt idx="635">
                  <c:v>Casa Azzurr</c:v>
                </c:pt>
                <c:pt idx="636">
                  <c:v>All Others</c:v>
                </c:pt>
                <c:pt idx="637">
                  <c:v>President</c:v>
                </c:pt>
                <c:pt idx="638">
                  <c:v>Violife</c:v>
                </c:pt>
                <c:pt idx="639">
                  <c:v>All Others</c:v>
                </c:pt>
                <c:pt idx="640">
                  <c:v>All Others</c:v>
                </c:pt>
                <c:pt idx="641">
                  <c:v>Salakis</c:v>
                </c:pt>
                <c:pt idx="642">
                  <c:v>All Others</c:v>
                </c:pt>
                <c:pt idx="643">
                  <c:v>Apericube</c:v>
                </c:pt>
                <c:pt idx="644">
                  <c:v>All Others</c:v>
                </c:pt>
                <c:pt idx="645">
                  <c:v>All Others</c:v>
                </c:pt>
                <c:pt idx="646">
                  <c:v>All Others</c:v>
                </c:pt>
                <c:pt idx="647">
                  <c:v>Private Lab</c:v>
                </c:pt>
                <c:pt idx="648">
                  <c:v>Galbani</c:v>
                </c:pt>
                <c:pt idx="649">
                  <c:v>All Others</c:v>
                </c:pt>
                <c:pt idx="650">
                  <c:v>All Others</c:v>
                </c:pt>
                <c:pt idx="651">
                  <c:v>All Others</c:v>
                </c:pt>
                <c:pt idx="652">
                  <c:v>Apericube</c:v>
                </c:pt>
                <c:pt idx="653">
                  <c:v>Richesmonts</c:v>
                </c:pt>
                <c:pt idx="654">
                  <c:v>All Others</c:v>
                </c:pt>
                <c:pt idx="655">
                  <c:v>Violife</c:v>
                </c:pt>
                <c:pt idx="656">
                  <c:v>All Others</c:v>
                </c:pt>
                <c:pt idx="657">
                  <c:v>Societe</c:v>
                </c:pt>
                <c:pt idx="658">
                  <c:v>Entremont</c:v>
                </c:pt>
                <c:pt idx="659">
                  <c:v>Lactalis: A</c:v>
                </c:pt>
                <c:pt idx="660">
                  <c:v>Private Lab</c:v>
                </c:pt>
                <c:pt idx="661">
                  <c:v>All Others</c:v>
                </c:pt>
                <c:pt idx="662">
                  <c:v>All Others</c:v>
                </c:pt>
                <c:pt idx="663">
                  <c:v>Entremont</c:v>
                </c:pt>
                <c:pt idx="664">
                  <c:v>All Others</c:v>
                </c:pt>
                <c:pt idx="665">
                  <c:v>All Others</c:v>
                </c:pt>
                <c:pt idx="666">
                  <c:v>Eurial Autr</c:v>
                </c:pt>
                <c:pt idx="667">
                  <c:v>Boursin</c:v>
                </c:pt>
                <c:pt idx="668">
                  <c:v>Philadelphi</c:v>
                </c:pt>
                <c:pt idx="669">
                  <c:v>All Others</c:v>
                </c:pt>
                <c:pt idx="670">
                  <c:v>All Others</c:v>
                </c:pt>
                <c:pt idx="671">
                  <c:v>All Others</c:v>
                </c:pt>
                <c:pt idx="672">
                  <c:v>All Others</c:v>
                </c:pt>
                <c:pt idx="673">
                  <c:v>O'Tapas Ape</c:v>
                </c:pt>
                <c:pt idx="674">
                  <c:v>La Pointe P</c:v>
                </c:pt>
                <c:pt idx="675">
                  <c:v>All Others</c:v>
                </c:pt>
                <c:pt idx="676">
                  <c:v>Paysan Bret</c:v>
                </c:pt>
                <c:pt idx="677">
                  <c:v>All Others</c:v>
                </c:pt>
                <c:pt idx="678">
                  <c:v>Lactalis: A</c:v>
                </c:pt>
                <c:pt idx="679">
                  <c:v>Triballat R</c:v>
                </c:pt>
                <c:pt idx="680">
                  <c:v>All Others</c:v>
                </c:pt>
                <c:pt idx="681">
                  <c:v>All Others</c:v>
                </c:pt>
                <c:pt idx="682">
                  <c:v>Leerdammer</c:v>
                </c:pt>
                <c:pt idx="683">
                  <c:v>Savencia: A</c:v>
                </c:pt>
                <c:pt idx="684">
                  <c:v>All Others</c:v>
                </c:pt>
                <c:pt idx="685">
                  <c:v>Private Lab</c:v>
                </c:pt>
                <c:pt idx="686">
                  <c:v>Private Lab</c:v>
                </c:pt>
                <c:pt idx="687">
                  <c:v>Paysan Bret</c:v>
                </c:pt>
                <c:pt idx="688">
                  <c:v>All Others</c:v>
                </c:pt>
                <c:pt idx="689">
                  <c:v>All Others</c:v>
                </c:pt>
                <c:pt idx="690">
                  <c:v>Private Lab</c:v>
                </c:pt>
                <c:pt idx="691">
                  <c:v>Tartare</c:v>
                </c:pt>
                <c:pt idx="692">
                  <c:v>All Others</c:v>
                </c:pt>
                <c:pt idx="693">
                  <c:v>Pave D'Affi</c:v>
                </c:pt>
                <c:pt idx="694">
                  <c:v>All Others</c:v>
                </c:pt>
                <c:pt idx="695">
                  <c:v>All Others</c:v>
                </c:pt>
                <c:pt idx="696">
                  <c:v>Violife</c:v>
                </c:pt>
                <c:pt idx="697">
                  <c:v>Eurial Autr</c:v>
                </c:pt>
                <c:pt idx="698">
                  <c:v>All Others</c:v>
                </c:pt>
                <c:pt idx="699">
                  <c:v>All Others</c:v>
                </c:pt>
                <c:pt idx="700">
                  <c:v>La Pointe P</c:v>
                </c:pt>
                <c:pt idx="701">
                  <c:v>All Others</c:v>
                </c:pt>
                <c:pt idx="702">
                  <c:v>Richesmonts</c:v>
                </c:pt>
                <c:pt idx="703">
                  <c:v>Etoile Du Q</c:v>
                </c:pt>
                <c:pt idx="704">
                  <c:v>All Others</c:v>
                </c:pt>
                <c:pt idx="705">
                  <c:v>Boursin</c:v>
                </c:pt>
                <c:pt idx="706">
                  <c:v>All Others</c:v>
                </c:pt>
                <c:pt idx="707">
                  <c:v>St Moret</c:v>
                </c:pt>
                <c:pt idx="708">
                  <c:v>All Others</c:v>
                </c:pt>
                <c:pt idx="709">
                  <c:v>All Others</c:v>
                </c:pt>
                <c:pt idx="710">
                  <c:v>All Others</c:v>
                </c:pt>
                <c:pt idx="711">
                  <c:v>All Others</c:v>
                </c:pt>
                <c:pt idx="712">
                  <c:v>All Others</c:v>
                </c:pt>
                <c:pt idx="713">
                  <c:v>All Others</c:v>
                </c:pt>
                <c:pt idx="714">
                  <c:v>Private Lab</c:v>
                </c:pt>
                <c:pt idx="715">
                  <c:v>Private Lab</c:v>
                </c:pt>
                <c:pt idx="716">
                  <c:v>Private Lab</c:v>
                </c:pt>
                <c:pt idx="717">
                  <c:v>All Others</c:v>
                </c:pt>
                <c:pt idx="718">
                  <c:v>Boursin</c:v>
                </c:pt>
                <c:pt idx="719">
                  <c:v>All Others</c:v>
                </c:pt>
                <c:pt idx="720">
                  <c:v>All Others</c:v>
                </c:pt>
                <c:pt idx="721">
                  <c:v>All Others</c:v>
                </c:pt>
                <c:pt idx="722">
                  <c:v>All Others</c:v>
                </c:pt>
                <c:pt idx="723">
                  <c:v>All Others</c:v>
                </c:pt>
                <c:pt idx="724">
                  <c:v>Lactalis: A</c:v>
                </c:pt>
                <c:pt idx="725">
                  <c:v>All Others</c:v>
                </c:pt>
                <c:pt idx="726">
                  <c:v>Aperivrais</c:v>
                </c:pt>
                <c:pt idx="727">
                  <c:v>Caprice Des</c:v>
                </c:pt>
                <c:pt idx="728">
                  <c:v>Richesmonts</c:v>
                </c:pt>
                <c:pt idx="729">
                  <c:v>Eurial Autr</c:v>
                </c:pt>
                <c:pt idx="730">
                  <c:v>Violife</c:v>
                </c:pt>
                <c:pt idx="731">
                  <c:v>All Others</c:v>
                </c:pt>
                <c:pt idx="732">
                  <c:v>All Others</c:v>
                </c:pt>
                <c:pt idx="733">
                  <c:v>Mini Babybe</c:v>
                </c:pt>
                <c:pt idx="734">
                  <c:v>Petit Billy</c:v>
                </c:pt>
                <c:pt idx="735">
                  <c:v>All Others</c:v>
                </c:pt>
                <c:pt idx="736">
                  <c:v>All Others</c:v>
                </c:pt>
                <c:pt idx="737">
                  <c:v>All Others</c:v>
                </c:pt>
                <c:pt idx="738">
                  <c:v>All Others</c:v>
                </c:pt>
                <c:pt idx="739">
                  <c:v>Corsica</c:v>
                </c:pt>
                <c:pt idx="740">
                  <c:v>Nurishh</c:v>
                </c:pt>
                <c:pt idx="741">
                  <c:v>Aperivrais</c:v>
                </c:pt>
                <c:pt idx="742">
                  <c:v>Istara</c:v>
                </c:pt>
                <c:pt idx="743">
                  <c:v>President</c:v>
                </c:pt>
                <c:pt idx="744">
                  <c:v>Fauquet</c:v>
                </c:pt>
                <c:pt idx="745">
                  <c:v>All Others</c:v>
                </c:pt>
                <c:pt idx="746">
                  <c:v>Juraflore</c:v>
                </c:pt>
                <c:pt idx="747">
                  <c:v>All Others</c:v>
                </c:pt>
                <c:pt idx="748">
                  <c:v>All Others</c:v>
                </c:pt>
                <c:pt idx="749">
                  <c:v>Private Lab</c:v>
                </c:pt>
                <c:pt idx="750">
                  <c:v>All Others</c:v>
                </c:pt>
                <c:pt idx="751">
                  <c:v>All Others</c:v>
                </c:pt>
                <c:pt idx="752">
                  <c:v>Paysan Bret</c:v>
                </c:pt>
                <c:pt idx="753">
                  <c:v>All Others</c:v>
                </c:pt>
                <c:pt idx="754">
                  <c:v>All Others</c:v>
                </c:pt>
                <c:pt idx="755">
                  <c:v>All Others</c:v>
                </c:pt>
                <c:pt idx="756">
                  <c:v>All Others</c:v>
                </c:pt>
                <c:pt idx="757">
                  <c:v>All Others</c:v>
                </c:pt>
                <c:pt idx="758">
                  <c:v>All Others</c:v>
                </c:pt>
                <c:pt idx="759">
                  <c:v>All Others</c:v>
                </c:pt>
                <c:pt idx="760">
                  <c:v>Lactalis: A</c:v>
                </c:pt>
                <c:pt idx="761">
                  <c:v>Galbani</c:v>
                </c:pt>
                <c:pt idx="762">
                  <c:v>All Others</c:v>
                </c:pt>
                <c:pt idx="763">
                  <c:v>Lactalis: A</c:v>
                </c:pt>
                <c:pt idx="764">
                  <c:v>Eurial Autr</c:v>
                </c:pt>
                <c:pt idx="765">
                  <c:v>All Others</c:v>
                </c:pt>
                <c:pt idx="766">
                  <c:v>All Others</c:v>
                </c:pt>
                <c:pt idx="767">
                  <c:v>All Others</c:v>
                </c:pt>
                <c:pt idx="768">
                  <c:v>All Others</c:v>
                </c:pt>
                <c:pt idx="769">
                  <c:v>Private Lab</c:v>
                </c:pt>
                <c:pt idx="770">
                  <c:v>Lactalis: A</c:v>
                </c:pt>
                <c:pt idx="771">
                  <c:v>Casa Azzurr</c:v>
                </c:pt>
                <c:pt idx="772">
                  <c:v>All Others</c:v>
                </c:pt>
                <c:pt idx="773">
                  <c:v>Lactalis: A</c:v>
                </c:pt>
                <c:pt idx="774">
                  <c:v>All Others</c:v>
                </c:pt>
                <c:pt idx="775">
                  <c:v>All Others</c:v>
                </c:pt>
                <c:pt idx="776">
                  <c:v>Paysan Bret</c:v>
                </c:pt>
                <c:pt idx="777">
                  <c:v>Corsica</c:v>
                </c:pt>
                <c:pt idx="778">
                  <c:v>La Vache Qu</c:v>
                </c:pt>
                <c:pt idx="779">
                  <c:v>All Others</c:v>
                </c:pt>
                <c:pt idx="780">
                  <c:v>St Moret</c:v>
                </c:pt>
                <c:pt idx="781">
                  <c:v>All Others</c:v>
                </c:pt>
                <c:pt idx="782">
                  <c:v>All Others</c:v>
                </c:pt>
                <c:pt idx="783">
                  <c:v>All Others</c:v>
                </c:pt>
                <c:pt idx="784">
                  <c:v>All Others</c:v>
                </c:pt>
                <c:pt idx="785">
                  <c:v>All Others</c:v>
                </c:pt>
                <c:pt idx="786">
                  <c:v>All Others</c:v>
                </c:pt>
                <c:pt idx="787">
                  <c:v>All Others</c:v>
                </c:pt>
                <c:pt idx="788">
                  <c:v>All Others</c:v>
                </c:pt>
                <c:pt idx="789">
                  <c:v>Etoile Du Q</c:v>
                </c:pt>
                <c:pt idx="790">
                  <c:v>All Others</c:v>
                </c:pt>
                <c:pt idx="791">
                  <c:v>All Others</c:v>
                </c:pt>
                <c:pt idx="792">
                  <c:v>Richesmonts</c:v>
                </c:pt>
                <c:pt idx="793">
                  <c:v>Lactalis: A</c:v>
                </c:pt>
                <c:pt idx="794">
                  <c:v>Nurishh</c:v>
                </c:pt>
                <c:pt idx="795">
                  <c:v>Salakis</c:v>
                </c:pt>
                <c:pt idx="796">
                  <c:v>All Others</c:v>
                </c:pt>
                <c:pt idx="797">
                  <c:v>All Others</c:v>
                </c:pt>
                <c:pt idx="798">
                  <c:v>All Others</c:v>
                </c:pt>
                <c:pt idx="799">
                  <c:v>Caprice Des</c:v>
                </c:pt>
                <c:pt idx="800">
                  <c:v>All Others</c:v>
                </c:pt>
                <c:pt idx="801">
                  <c:v>Lactalis: A</c:v>
                </c:pt>
                <c:pt idx="802">
                  <c:v>All Others</c:v>
                </c:pt>
                <c:pt idx="803">
                  <c:v>All Others</c:v>
                </c:pt>
                <c:pt idx="804">
                  <c:v>All Others</c:v>
                </c:pt>
                <c:pt idx="805">
                  <c:v>Milleret: A</c:v>
                </c:pt>
                <c:pt idx="806">
                  <c:v>Violife</c:v>
                </c:pt>
                <c:pt idx="807">
                  <c:v>Saint Agur</c:v>
                </c:pt>
                <c:pt idx="808">
                  <c:v>All Others</c:v>
                </c:pt>
                <c:pt idx="809">
                  <c:v>Apericube</c:v>
                </c:pt>
                <c:pt idx="810">
                  <c:v>Private Lab</c:v>
                </c:pt>
                <c:pt idx="811">
                  <c:v>Tartare</c:v>
                </c:pt>
                <c:pt idx="812">
                  <c:v>All Others</c:v>
                </c:pt>
                <c:pt idx="813">
                  <c:v>Eurial Autr</c:v>
                </c:pt>
                <c:pt idx="814">
                  <c:v>All Others</c:v>
                </c:pt>
                <c:pt idx="815">
                  <c:v>All Others</c:v>
                </c:pt>
                <c:pt idx="816">
                  <c:v>All Others</c:v>
                </c:pt>
                <c:pt idx="817">
                  <c:v>All Others</c:v>
                </c:pt>
                <c:pt idx="818">
                  <c:v>Private Lab</c:v>
                </c:pt>
                <c:pt idx="819">
                  <c:v>Savencia: A</c:v>
                </c:pt>
                <c:pt idx="820">
                  <c:v>All Others</c:v>
                </c:pt>
                <c:pt idx="821">
                  <c:v>Paysan Bret</c:v>
                </c:pt>
                <c:pt idx="822">
                  <c:v>La Belle Et</c:v>
                </c:pt>
                <c:pt idx="823">
                  <c:v>All Others</c:v>
                </c:pt>
                <c:pt idx="824">
                  <c:v>All Others</c:v>
                </c:pt>
                <c:pt idx="825">
                  <c:v>Etoile Du V</c:v>
                </c:pt>
                <c:pt idx="826">
                  <c:v>Lactalis: A</c:v>
                </c:pt>
                <c:pt idx="827">
                  <c:v>Private Lab</c:v>
                </c:pt>
                <c:pt idx="828">
                  <c:v>O'Tapas Ape</c:v>
                </c:pt>
                <c:pt idx="829">
                  <c:v>All Others</c:v>
                </c:pt>
                <c:pt idx="830">
                  <c:v>All Others</c:v>
                </c:pt>
                <c:pt idx="831">
                  <c:v>Savencia: A</c:v>
                </c:pt>
                <c:pt idx="832">
                  <c:v>All Others</c:v>
                </c:pt>
                <c:pt idx="833">
                  <c:v>All Others</c:v>
                </c:pt>
                <c:pt idx="834">
                  <c:v>Lactalis: A</c:v>
                </c:pt>
                <c:pt idx="835">
                  <c:v>Boursin</c:v>
                </c:pt>
                <c:pt idx="836">
                  <c:v>All Others</c:v>
                </c:pt>
                <c:pt idx="837">
                  <c:v>Paysan Bret</c:v>
                </c:pt>
                <c:pt idx="838">
                  <c:v>La Belle Et</c:v>
                </c:pt>
                <c:pt idx="839">
                  <c:v>All Others</c:v>
                </c:pt>
                <c:pt idx="840">
                  <c:v>All Others</c:v>
                </c:pt>
                <c:pt idx="841">
                  <c:v>Nurishh</c:v>
                </c:pt>
                <c:pt idx="842">
                  <c:v>All Others</c:v>
                </c:pt>
                <c:pt idx="843">
                  <c:v>All Others</c:v>
                </c:pt>
                <c:pt idx="844">
                  <c:v>All Others</c:v>
                </c:pt>
                <c:pt idx="845">
                  <c:v>All Others</c:v>
                </c:pt>
                <c:pt idx="846">
                  <c:v>All Others</c:v>
                </c:pt>
                <c:pt idx="847">
                  <c:v>Private Lab</c:v>
                </c:pt>
                <c:pt idx="848">
                  <c:v>All Others</c:v>
                </c:pt>
                <c:pt idx="849">
                  <c:v>All Others</c:v>
                </c:pt>
                <c:pt idx="850">
                  <c:v>Paysan Bret</c:v>
                </c:pt>
                <c:pt idx="851">
                  <c:v>All Others</c:v>
                </c:pt>
                <c:pt idx="852">
                  <c:v>All Others</c:v>
                </c:pt>
                <c:pt idx="853">
                  <c:v>Nurishh</c:v>
                </c:pt>
                <c:pt idx="854">
                  <c:v>Chavroux</c:v>
                </c:pt>
                <c:pt idx="855">
                  <c:v>All Others</c:v>
                </c:pt>
                <c:pt idx="856">
                  <c:v>Etorki</c:v>
                </c:pt>
                <c:pt idx="857">
                  <c:v>All Others</c:v>
                </c:pt>
                <c:pt idx="858">
                  <c:v>All Others</c:v>
                </c:pt>
                <c:pt idx="859">
                  <c:v>All Others</c:v>
                </c:pt>
                <c:pt idx="860">
                  <c:v>All Others</c:v>
                </c:pt>
                <c:pt idx="861">
                  <c:v>Societe</c:v>
                </c:pt>
                <c:pt idx="862">
                  <c:v>Violife</c:v>
                </c:pt>
                <c:pt idx="863">
                  <c:v>Entremont</c:v>
                </c:pt>
                <c:pt idx="864">
                  <c:v>Nurishh</c:v>
                </c:pt>
                <c:pt idx="865">
                  <c:v>Salakis</c:v>
                </c:pt>
                <c:pt idx="866">
                  <c:v>All Others</c:v>
                </c:pt>
                <c:pt idx="867">
                  <c:v>All Others</c:v>
                </c:pt>
                <c:pt idx="868">
                  <c:v>President</c:v>
                </c:pt>
                <c:pt idx="869">
                  <c:v>All Others</c:v>
                </c:pt>
                <c:pt idx="870">
                  <c:v>All Others</c:v>
                </c:pt>
                <c:pt idx="871">
                  <c:v>All Others</c:v>
                </c:pt>
                <c:pt idx="872">
                  <c:v>All Others</c:v>
                </c:pt>
                <c:pt idx="873">
                  <c:v>Leerdammer</c:v>
                </c:pt>
                <c:pt idx="874">
                  <c:v>All Others</c:v>
                </c:pt>
                <c:pt idx="875">
                  <c:v>All Others</c:v>
                </c:pt>
                <c:pt idx="876">
                  <c:v>Port Salut</c:v>
                </c:pt>
                <c:pt idx="877">
                  <c:v>All Others</c:v>
                </c:pt>
                <c:pt idx="878">
                  <c:v>Private Lab</c:v>
                </c:pt>
                <c:pt idx="879">
                  <c:v>All Others</c:v>
                </c:pt>
                <c:pt idx="880">
                  <c:v>All Others</c:v>
                </c:pt>
                <c:pt idx="881">
                  <c:v>Galbani</c:v>
                </c:pt>
                <c:pt idx="882">
                  <c:v>Private Lab</c:v>
                </c:pt>
                <c:pt idx="883">
                  <c:v>All Others</c:v>
                </c:pt>
                <c:pt idx="884">
                  <c:v>All Others</c:v>
                </c:pt>
                <c:pt idx="885">
                  <c:v>Tartare</c:v>
                </c:pt>
                <c:pt idx="886">
                  <c:v>All Others</c:v>
                </c:pt>
                <c:pt idx="887">
                  <c:v>Private Lab</c:v>
                </c:pt>
                <c:pt idx="888">
                  <c:v>All Others</c:v>
                </c:pt>
                <c:pt idx="889">
                  <c:v>All Others</c:v>
                </c:pt>
                <c:pt idx="890">
                  <c:v>All Others</c:v>
                </c:pt>
                <c:pt idx="891">
                  <c:v>All Others</c:v>
                </c:pt>
                <c:pt idx="892">
                  <c:v>Private Lab</c:v>
                </c:pt>
                <c:pt idx="893">
                  <c:v>All Others</c:v>
                </c:pt>
                <c:pt idx="894">
                  <c:v>Private Lab</c:v>
                </c:pt>
                <c:pt idx="895">
                  <c:v>President</c:v>
                </c:pt>
                <c:pt idx="896">
                  <c:v>All Others</c:v>
                </c:pt>
                <c:pt idx="897">
                  <c:v>Savencia: A</c:v>
                </c:pt>
                <c:pt idx="898">
                  <c:v>All Others</c:v>
                </c:pt>
                <c:pt idx="899">
                  <c:v>All Others</c:v>
                </c:pt>
                <c:pt idx="900">
                  <c:v>All Others</c:v>
                </c:pt>
                <c:pt idx="901">
                  <c:v>Private Lab</c:v>
                </c:pt>
                <c:pt idx="902">
                  <c:v>All Others</c:v>
                </c:pt>
                <c:pt idx="903">
                  <c:v>Private Lab</c:v>
                </c:pt>
                <c:pt idx="904">
                  <c:v>All Others</c:v>
                </c:pt>
                <c:pt idx="905">
                  <c:v>All Others</c:v>
                </c:pt>
                <c:pt idx="906">
                  <c:v>All Others</c:v>
                </c:pt>
                <c:pt idx="907">
                  <c:v>Private Lab</c:v>
                </c:pt>
                <c:pt idx="908">
                  <c:v>Pave D'Affi</c:v>
                </c:pt>
                <c:pt idx="909">
                  <c:v>All Others</c:v>
                </c:pt>
                <c:pt idx="910">
                  <c:v>Paysan Bret</c:v>
                </c:pt>
                <c:pt idx="911">
                  <c:v>Tartare</c:v>
                </c:pt>
                <c:pt idx="912">
                  <c:v>Etoile Du V</c:v>
                </c:pt>
                <c:pt idx="913">
                  <c:v>Private Lab</c:v>
                </c:pt>
                <c:pt idx="914">
                  <c:v>Private Lab</c:v>
                </c:pt>
                <c:pt idx="915">
                  <c:v>All Others</c:v>
                </c:pt>
                <c:pt idx="916">
                  <c:v>All Others</c:v>
                </c:pt>
                <c:pt idx="917">
                  <c:v>All Others</c:v>
                </c:pt>
                <c:pt idx="918">
                  <c:v>Leerdammer</c:v>
                </c:pt>
                <c:pt idx="919">
                  <c:v>All Others</c:v>
                </c:pt>
                <c:pt idx="920">
                  <c:v>All Others</c:v>
                </c:pt>
                <c:pt idx="921">
                  <c:v>All Others</c:v>
                </c:pt>
                <c:pt idx="922">
                  <c:v>Boursin</c:v>
                </c:pt>
                <c:pt idx="923">
                  <c:v>All Others</c:v>
                </c:pt>
                <c:pt idx="924">
                  <c:v>Lactalis: A</c:v>
                </c:pt>
                <c:pt idx="925">
                  <c:v>O'Tapas Ape</c:v>
                </c:pt>
                <c:pt idx="926">
                  <c:v>Lactalis: A</c:v>
                </c:pt>
                <c:pt idx="927">
                  <c:v>All Others</c:v>
                </c:pt>
                <c:pt idx="928">
                  <c:v>Savencia: A</c:v>
                </c:pt>
                <c:pt idx="929">
                  <c:v>Boursin</c:v>
                </c:pt>
                <c:pt idx="930">
                  <c:v>All Others</c:v>
                </c:pt>
                <c:pt idx="931">
                  <c:v>Violife</c:v>
                </c:pt>
                <c:pt idx="932">
                  <c:v>All Others</c:v>
                </c:pt>
                <c:pt idx="933">
                  <c:v>All Others</c:v>
                </c:pt>
                <c:pt idx="934">
                  <c:v>All Others</c:v>
                </c:pt>
                <c:pt idx="935">
                  <c:v>All Others</c:v>
                </c:pt>
                <c:pt idx="936">
                  <c:v>All Others</c:v>
                </c:pt>
                <c:pt idx="937">
                  <c:v>All Others</c:v>
                </c:pt>
                <c:pt idx="938">
                  <c:v>P'Tit Louis</c:v>
                </c:pt>
                <c:pt idx="939">
                  <c:v>All Others</c:v>
                </c:pt>
                <c:pt idx="940">
                  <c:v>All Others</c:v>
                </c:pt>
                <c:pt idx="941">
                  <c:v>Private Lab</c:v>
                </c:pt>
                <c:pt idx="942">
                  <c:v>Etoile Du V</c:v>
                </c:pt>
                <c:pt idx="943">
                  <c:v>Lactalis: A</c:v>
                </c:pt>
                <c:pt idx="944">
                  <c:v>All Others</c:v>
                </c:pt>
                <c:pt idx="945">
                  <c:v>All Others</c:v>
                </c:pt>
                <c:pt idx="946">
                  <c:v>Violife</c:v>
                </c:pt>
                <c:pt idx="947">
                  <c:v>All Others</c:v>
                </c:pt>
                <c:pt idx="948">
                  <c:v>All Others</c:v>
                </c:pt>
                <c:pt idx="949">
                  <c:v>All Others</c:v>
                </c:pt>
                <c:pt idx="950">
                  <c:v>Private Lab</c:v>
                </c:pt>
                <c:pt idx="951">
                  <c:v>Eurial Autr</c:v>
                </c:pt>
                <c:pt idx="952">
                  <c:v>All Others</c:v>
                </c:pt>
                <c:pt idx="953">
                  <c:v>All Others</c:v>
                </c:pt>
                <c:pt idx="954">
                  <c:v>Private Lab</c:v>
                </c:pt>
                <c:pt idx="955">
                  <c:v>All Others</c:v>
                </c:pt>
                <c:pt idx="956">
                  <c:v>Nurishh</c:v>
                </c:pt>
                <c:pt idx="957">
                  <c:v>Private Lab</c:v>
                </c:pt>
                <c:pt idx="958">
                  <c:v>All Others</c:v>
                </c:pt>
                <c:pt idx="959">
                  <c:v>All Others</c:v>
                </c:pt>
                <c:pt idx="960">
                  <c:v>All Others</c:v>
                </c:pt>
                <c:pt idx="961">
                  <c:v>All Others</c:v>
                </c:pt>
                <c:pt idx="962">
                  <c:v>Pave D'Affi</c:v>
                </c:pt>
                <c:pt idx="963">
                  <c:v>All Others</c:v>
                </c:pt>
                <c:pt idx="964">
                  <c:v>All Others</c:v>
                </c:pt>
                <c:pt idx="965">
                  <c:v>All Others</c:v>
                </c:pt>
                <c:pt idx="966">
                  <c:v>La Belle Et</c:v>
                </c:pt>
                <c:pt idx="967">
                  <c:v>All Others</c:v>
                </c:pt>
                <c:pt idx="968">
                  <c:v>Islos</c:v>
                </c:pt>
                <c:pt idx="969">
                  <c:v>All Others</c:v>
                </c:pt>
                <c:pt idx="970">
                  <c:v>Tartare</c:v>
                </c:pt>
                <c:pt idx="971">
                  <c:v>All Others</c:v>
                </c:pt>
                <c:pt idx="972">
                  <c:v>Private Lab</c:v>
                </c:pt>
                <c:pt idx="973">
                  <c:v>All Others</c:v>
                </c:pt>
                <c:pt idx="974">
                  <c:v>All Others</c:v>
                </c:pt>
                <c:pt idx="975">
                  <c:v>All Others</c:v>
                </c:pt>
                <c:pt idx="976">
                  <c:v>Etoile Du Q</c:v>
                </c:pt>
                <c:pt idx="977">
                  <c:v>All Others</c:v>
                </c:pt>
                <c:pt idx="978">
                  <c:v>All Others</c:v>
                </c:pt>
                <c:pt idx="979">
                  <c:v>All Others</c:v>
                </c:pt>
                <c:pt idx="980">
                  <c:v>All Others</c:v>
                </c:pt>
                <c:pt idx="981">
                  <c:v>O'Tapas Ape</c:v>
                </c:pt>
                <c:pt idx="982">
                  <c:v>All Others</c:v>
                </c:pt>
                <c:pt idx="983">
                  <c:v>Aperivrais</c:v>
                </c:pt>
                <c:pt idx="984">
                  <c:v>All Others</c:v>
                </c:pt>
                <c:pt idx="985">
                  <c:v>Private Lab</c:v>
                </c:pt>
                <c:pt idx="986">
                  <c:v>All Others</c:v>
                </c:pt>
                <c:pt idx="987">
                  <c:v>Lactalis: A</c:v>
                </c:pt>
                <c:pt idx="988">
                  <c:v>Le Saint Am</c:v>
                </c:pt>
                <c:pt idx="989">
                  <c:v>Lactalis: A</c:v>
                </c:pt>
                <c:pt idx="990">
                  <c:v>All Others</c:v>
                </c:pt>
                <c:pt idx="991">
                  <c:v>All Others</c:v>
                </c:pt>
                <c:pt idx="992">
                  <c:v>All Others</c:v>
                </c:pt>
                <c:pt idx="993">
                  <c:v>All Others</c:v>
                </c:pt>
                <c:pt idx="994">
                  <c:v>Boursin</c:v>
                </c:pt>
                <c:pt idx="995">
                  <c:v>Philadelphi</c:v>
                </c:pt>
                <c:pt idx="996">
                  <c:v>All Others</c:v>
                </c:pt>
                <c:pt idx="997">
                  <c:v>All Others</c:v>
                </c:pt>
                <c:pt idx="998">
                  <c:v>Triballat R</c:v>
                </c:pt>
                <c:pt idx="999">
                  <c:v>All Others</c:v>
                </c:pt>
                <c:pt idx="1000">
                  <c:v>All Others</c:v>
                </c:pt>
                <c:pt idx="1001">
                  <c:v>Savencia: A</c:v>
                </c:pt>
                <c:pt idx="1002">
                  <c:v>Le Saint Am</c:v>
                </c:pt>
                <c:pt idx="1003">
                  <c:v>All Others</c:v>
                </c:pt>
                <c:pt idx="1004">
                  <c:v>All Others</c:v>
                </c:pt>
                <c:pt idx="1005">
                  <c:v>All Others</c:v>
                </c:pt>
                <c:pt idx="1006">
                  <c:v>All Others</c:v>
                </c:pt>
                <c:pt idx="1007">
                  <c:v>All Others</c:v>
                </c:pt>
                <c:pt idx="1008">
                  <c:v>Casa Azzurr</c:v>
                </c:pt>
                <c:pt idx="1009">
                  <c:v>All Others</c:v>
                </c:pt>
                <c:pt idx="1010">
                  <c:v>All Others</c:v>
                </c:pt>
                <c:pt idx="1011">
                  <c:v>All Others</c:v>
                </c:pt>
                <c:pt idx="1012">
                  <c:v>All Others</c:v>
                </c:pt>
                <c:pt idx="1013">
                  <c:v>Lactalis: A</c:v>
                </c:pt>
                <c:pt idx="1014">
                  <c:v>All Others</c:v>
                </c:pt>
                <c:pt idx="1015">
                  <c:v>Private Lab</c:v>
                </c:pt>
                <c:pt idx="1016">
                  <c:v>Boursin</c:v>
                </c:pt>
                <c:pt idx="1017">
                  <c:v>Boursin</c:v>
                </c:pt>
                <c:pt idx="1018">
                  <c:v>All Others</c:v>
                </c:pt>
                <c:pt idx="1019">
                  <c:v>Private Lab</c:v>
                </c:pt>
                <c:pt idx="1020">
                  <c:v>All Others</c:v>
                </c:pt>
                <c:pt idx="1021">
                  <c:v>All Others</c:v>
                </c:pt>
                <c:pt idx="1022">
                  <c:v>All Others</c:v>
                </c:pt>
                <c:pt idx="1023">
                  <c:v>La Belle Et</c:v>
                </c:pt>
                <c:pt idx="1024">
                  <c:v>All Others</c:v>
                </c:pt>
                <c:pt idx="1025">
                  <c:v>All Others</c:v>
                </c:pt>
                <c:pt idx="1026">
                  <c:v>All Others</c:v>
                </c:pt>
                <c:pt idx="1027">
                  <c:v>Private Lab</c:v>
                </c:pt>
                <c:pt idx="1028">
                  <c:v>All Others</c:v>
                </c:pt>
                <c:pt idx="1029">
                  <c:v>All Others</c:v>
                </c:pt>
                <c:pt idx="1030">
                  <c:v>All Others</c:v>
                </c:pt>
                <c:pt idx="1031">
                  <c:v>Private Lab</c:v>
                </c:pt>
                <c:pt idx="1032">
                  <c:v>Private Lab</c:v>
                </c:pt>
                <c:pt idx="1033">
                  <c:v>Parmareggio</c:v>
                </c:pt>
                <c:pt idx="1034">
                  <c:v>All Others</c:v>
                </c:pt>
                <c:pt idx="1035">
                  <c:v>All Others</c:v>
                </c:pt>
                <c:pt idx="1036">
                  <c:v>Chaussee Au</c:v>
                </c:pt>
                <c:pt idx="1037">
                  <c:v>Port Salut</c:v>
                </c:pt>
                <c:pt idx="1038">
                  <c:v>Triballat N</c:v>
                </c:pt>
                <c:pt idx="1039">
                  <c:v>All Others</c:v>
                </c:pt>
                <c:pt idx="1040">
                  <c:v>All Others</c:v>
                </c:pt>
                <c:pt idx="1041">
                  <c:v>All Others</c:v>
                </c:pt>
                <c:pt idx="1042">
                  <c:v>All Others</c:v>
                </c:pt>
                <c:pt idx="1043">
                  <c:v>All Others</c:v>
                </c:pt>
                <c:pt idx="1044">
                  <c:v>All Others</c:v>
                </c:pt>
                <c:pt idx="1045">
                  <c:v>All Others</c:v>
                </c:pt>
                <c:pt idx="1046">
                  <c:v>All Others</c:v>
                </c:pt>
                <c:pt idx="1047">
                  <c:v>All Others</c:v>
                </c:pt>
                <c:pt idx="1048">
                  <c:v>All Others</c:v>
                </c:pt>
                <c:pt idx="1049">
                  <c:v>All Others</c:v>
                </c:pt>
                <c:pt idx="1050">
                  <c:v>All Others</c:v>
                </c:pt>
                <c:pt idx="1051">
                  <c:v>All Others</c:v>
                </c:pt>
                <c:pt idx="1052">
                  <c:v>All Others</c:v>
                </c:pt>
                <c:pt idx="1053">
                  <c:v>All Others</c:v>
                </c:pt>
                <c:pt idx="1054">
                  <c:v>All Others</c:v>
                </c:pt>
                <c:pt idx="1055">
                  <c:v>Etoile Du V</c:v>
                </c:pt>
                <c:pt idx="1056">
                  <c:v>Nurishh</c:v>
                </c:pt>
                <c:pt idx="1057">
                  <c:v>Fauquet</c:v>
                </c:pt>
                <c:pt idx="1058">
                  <c:v>Aperivrais</c:v>
                </c:pt>
                <c:pt idx="1059">
                  <c:v>St Moret</c:v>
                </c:pt>
                <c:pt idx="1060">
                  <c:v>All Others</c:v>
                </c:pt>
                <c:pt idx="1061">
                  <c:v>All Others</c:v>
                </c:pt>
                <c:pt idx="1062">
                  <c:v>Paysan Bret</c:v>
                </c:pt>
                <c:pt idx="1063">
                  <c:v>All Others</c:v>
                </c:pt>
                <c:pt idx="1064">
                  <c:v>Lactalis: A</c:v>
                </c:pt>
                <c:pt idx="1065">
                  <c:v>Laita: All </c:v>
                </c:pt>
                <c:pt idx="1066">
                  <c:v>All Others</c:v>
                </c:pt>
                <c:pt idx="1067">
                  <c:v>All Others</c:v>
                </c:pt>
                <c:pt idx="1068">
                  <c:v>Private Lab</c:v>
                </c:pt>
                <c:pt idx="1069">
                  <c:v>All Others</c:v>
                </c:pt>
                <c:pt idx="1070">
                  <c:v>Boursin</c:v>
                </c:pt>
                <c:pt idx="1071">
                  <c:v>All Others</c:v>
                </c:pt>
                <c:pt idx="1072">
                  <c:v>Entremont</c:v>
                </c:pt>
                <c:pt idx="1073">
                  <c:v>All Others</c:v>
                </c:pt>
                <c:pt idx="1074">
                  <c:v>All Others</c:v>
                </c:pt>
                <c:pt idx="1075">
                  <c:v>All Others</c:v>
                </c:pt>
                <c:pt idx="1076">
                  <c:v>All Others</c:v>
                </c:pt>
                <c:pt idx="1077">
                  <c:v>All Others</c:v>
                </c:pt>
                <c:pt idx="1078">
                  <c:v>All Others</c:v>
                </c:pt>
                <c:pt idx="1079">
                  <c:v>Etoile Du V</c:v>
                </c:pt>
                <c:pt idx="1080">
                  <c:v>All Others</c:v>
                </c:pt>
                <c:pt idx="1081">
                  <c:v>All Others</c:v>
                </c:pt>
                <c:pt idx="1082">
                  <c:v>All Others</c:v>
                </c:pt>
                <c:pt idx="1083">
                  <c:v>All Others</c:v>
                </c:pt>
                <c:pt idx="1084">
                  <c:v>Lactalis: A</c:v>
                </c:pt>
                <c:pt idx="1085">
                  <c:v>O'Tapas Ape</c:v>
                </c:pt>
                <c:pt idx="1086">
                  <c:v>Nurishh</c:v>
                </c:pt>
                <c:pt idx="1087">
                  <c:v>All Others</c:v>
                </c:pt>
                <c:pt idx="1088">
                  <c:v>All Others</c:v>
                </c:pt>
                <c:pt idx="1089">
                  <c:v>Private Lab</c:v>
                </c:pt>
                <c:pt idx="1090">
                  <c:v>Private Lab</c:v>
                </c:pt>
                <c:pt idx="1091">
                  <c:v>All Others</c:v>
                </c:pt>
                <c:pt idx="1092">
                  <c:v>Bresse Bleu</c:v>
                </c:pt>
                <c:pt idx="1093">
                  <c:v>Juraflore</c:v>
                </c:pt>
                <c:pt idx="1094">
                  <c:v>All Others</c:v>
                </c:pt>
                <c:pt idx="1095">
                  <c:v>All Others</c:v>
                </c:pt>
                <c:pt idx="1096">
                  <c:v>All Others</c:v>
                </c:pt>
                <c:pt idx="1097">
                  <c:v>Lactalis: A</c:v>
                </c:pt>
                <c:pt idx="1098">
                  <c:v>All Others</c:v>
                </c:pt>
                <c:pt idx="1099">
                  <c:v>All Others</c:v>
                </c:pt>
                <c:pt idx="1100">
                  <c:v>Lactalis: A</c:v>
                </c:pt>
                <c:pt idx="1101">
                  <c:v>All Others</c:v>
                </c:pt>
                <c:pt idx="1102">
                  <c:v>All Others</c:v>
                </c:pt>
                <c:pt idx="1103">
                  <c:v>All Others</c:v>
                </c:pt>
                <c:pt idx="1104">
                  <c:v>Savencia: A</c:v>
                </c:pt>
                <c:pt idx="1105">
                  <c:v>All Others</c:v>
                </c:pt>
                <c:pt idx="1106">
                  <c:v>All Others</c:v>
                </c:pt>
                <c:pt idx="1107">
                  <c:v>All Others</c:v>
                </c:pt>
                <c:pt idx="1108">
                  <c:v>All Others</c:v>
                </c:pt>
                <c:pt idx="1109">
                  <c:v>All Others</c:v>
                </c:pt>
                <c:pt idx="1110">
                  <c:v>All Others</c:v>
                </c:pt>
                <c:pt idx="1111">
                  <c:v>All Others</c:v>
                </c:pt>
                <c:pt idx="1112">
                  <c:v>Pave D'Affi</c:v>
                </c:pt>
                <c:pt idx="1113">
                  <c:v>All Others</c:v>
                </c:pt>
                <c:pt idx="1114">
                  <c:v>All Others</c:v>
                </c:pt>
                <c:pt idx="1115">
                  <c:v>All Others</c:v>
                </c:pt>
                <c:pt idx="1116">
                  <c:v>Savencia: A</c:v>
                </c:pt>
                <c:pt idx="1117">
                  <c:v>All Others</c:v>
                </c:pt>
                <c:pt idx="1118">
                  <c:v>All Others</c:v>
                </c:pt>
                <c:pt idx="1119">
                  <c:v>All Others</c:v>
                </c:pt>
                <c:pt idx="1120">
                  <c:v>All Others</c:v>
                </c:pt>
                <c:pt idx="1121">
                  <c:v>Societe</c:v>
                </c:pt>
                <c:pt idx="1122">
                  <c:v>All Others</c:v>
                </c:pt>
                <c:pt idx="1123">
                  <c:v>All Others</c:v>
                </c:pt>
                <c:pt idx="1124">
                  <c:v>La Belle Et</c:v>
                </c:pt>
                <c:pt idx="1125">
                  <c:v>All Others</c:v>
                </c:pt>
                <c:pt idx="1126">
                  <c:v>All Others</c:v>
                </c:pt>
                <c:pt idx="1127">
                  <c:v>All Others</c:v>
                </c:pt>
                <c:pt idx="1128">
                  <c:v>All Others</c:v>
                </c:pt>
                <c:pt idx="1129">
                  <c:v>All Others</c:v>
                </c:pt>
                <c:pt idx="1130">
                  <c:v>All Others</c:v>
                </c:pt>
                <c:pt idx="1131">
                  <c:v>All Others</c:v>
                </c:pt>
                <c:pt idx="1132">
                  <c:v>All Others</c:v>
                </c:pt>
                <c:pt idx="1133">
                  <c:v>Boursin</c:v>
                </c:pt>
                <c:pt idx="1134">
                  <c:v>All Others</c:v>
                </c:pt>
                <c:pt idx="1135">
                  <c:v>Lactalis: A</c:v>
                </c:pt>
                <c:pt idx="1136">
                  <c:v>All Others</c:v>
                </c:pt>
                <c:pt idx="1137">
                  <c:v>All Others</c:v>
                </c:pt>
                <c:pt idx="1138">
                  <c:v>All Others</c:v>
                </c:pt>
                <c:pt idx="1139">
                  <c:v>Private Lab</c:v>
                </c:pt>
                <c:pt idx="1140">
                  <c:v>All Others</c:v>
                </c:pt>
                <c:pt idx="1141">
                  <c:v>All Others</c:v>
                </c:pt>
                <c:pt idx="1142">
                  <c:v>All Others</c:v>
                </c:pt>
                <c:pt idx="1143">
                  <c:v>All Others</c:v>
                </c:pt>
                <c:pt idx="1144">
                  <c:v>All Others</c:v>
                </c:pt>
                <c:pt idx="1145">
                  <c:v>All Others</c:v>
                </c:pt>
                <c:pt idx="1146">
                  <c:v>All Others</c:v>
                </c:pt>
                <c:pt idx="1147">
                  <c:v>Milleret: A</c:v>
                </c:pt>
                <c:pt idx="1148">
                  <c:v>All Others</c:v>
                </c:pt>
                <c:pt idx="1149">
                  <c:v>All Others</c:v>
                </c:pt>
                <c:pt idx="1150">
                  <c:v>All Others</c:v>
                </c:pt>
                <c:pt idx="1151">
                  <c:v>All Others</c:v>
                </c:pt>
                <c:pt idx="1152">
                  <c:v>All Others</c:v>
                </c:pt>
                <c:pt idx="1153">
                  <c:v>Pochat</c:v>
                </c:pt>
                <c:pt idx="1154">
                  <c:v>All Others</c:v>
                </c:pt>
                <c:pt idx="1155">
                  <c:v>All Others</c:v>
                </c:pt>
                <c:pt idx="1156">
                  <c:v>All Others</c:v>
                </c:pt>
                <c:pt idx="1157">
                  <c:v>All Others</c:v>
                </c:pt>
                <c:pt idx="1158">
                  <c:v>All Others</c:v>
                </c:pt>
                <c:pt idx="1159">
                  <c:v>All Others</c:v>
                </c:pt>
                <c:pt idx="1160">
                  <c:v>All Others</c:v>
                </c:pt>
                <c:pt idx="1161">
                  <c:v>Apericube</c:v>
                </c:pt>
                <c:pt idx="1162">
                  <c:v>All Others</c:v>
                </c:pt>
                <c:pt idx="1163">
                  <c:v>All Others</c:v>
                </c:pt>
                <c:pt idx="1164">
                  <c:v>Private Lab</c:v>
                </c:pt>
                <c:pt idx="1165">
                  <c:v>All Others</c:v>
                </c:pt>
                <c:pt idx="1166">
                  <c:v>All Others</c:v>
                </c:pt>
                <c:pt idx="1167">
                  <c:v>All Others</c:v>
                </c:pt>
                <c:pt idx="1168">
                  <c:v>All Others</c:v>
                </c:pt>
                <c:pt idx="1169">
                  <c:v>Milleret: A</c:v>
                </c:pt>
                <c:pt idx="1170">
                  <c:v>Triballat R</c:v>
                </c:pt>
                <c:pt idx="1171">
                  <c:v>All Others</c:v>
                </c:pt>
                <c:pt idx="1172">
                  <c:v>All Others</c:v>
                </c:pt>
                <c:pt idx="1173">
                  <c:v>All Others</c:v>
                </c:pt>
                <c:pt idx="1174">
                  <c:v>All Others</c:v>
                </c:pt>
                <c:pt idx="1175">
                  <c:v>All Others</c:v>
                </c:pt>
                <c:pt idx="1176">
                  <c:v>All Others</c:v>
                </c:pt>
                <c:pt idx="1177">
                  <c:v>All Others</c:v>
                </c:pt>
                <c:pt idx="1178">
                  <c:v>All Others</c:v>
                </c:pt>
                <c:pt idx="1179">
                  <c:v>All Others</c:v>
                </c:pt>
                <c:pt idx="1180">
                  <c:v>All Others</c:v>
                </c:pt>
                <c:pt idx="1181">
                  <c:v>All Others</c:v>
                </c:pt>
                <c:pt idx="1182">
                  <c:v>Lactalis: A</c:v>
                </c:pt>
                <c:pt idx="1183">
                  <c:v>All Others</c:v>
                </c:pt>
                <c:pt idx="1184">
                  <c:v>All Others</c:v>
                </c:pt>
                <c:pt idx="1185">
                  <c:v>Istara</c:v>
                </c:pt>
                <c:pt idx="1186">
                  <c:v>All Others</c:v>
                </c:pt>
                <c:pt idx="1187">
                  <c:v>All Others</c:v>
                </c:pt>
                <c:pt idx="1188">
                  <c:v>All Others</c:v>
                </c:pt>
                <c:pt idx="1189">
                  <c:v>Private Lab</c:v>
                </c:pt>
                <c:pt idx="1190">
                  <c:v>All Others</c:v>
                </c:pt>
                <c:pt idx="1191">
                  <c:v>All Others</c:v>
                </c:pt>
                <c:pt idx="1192">
                  <c:v>All Others</c:v>
                </c:pt>
                <c:pt idx="1193">
                  <c:v>All Others</c:v>
                </c:pt>
                <c:pt idx="1194">
                  <c:v>All Others</c:v>
                </c:pt>
                <c:pt idx="1195">
                  <c:v>All Others</c:v>
                </c:pt>
                <c:pt idx="1196">
                  <c:v>Eurial Autr</c:v>
                </c:pt>
                <c:pt idx="1197">
                  <c:v>All Others</c:v>
                </c:pt>
                <c:pt idx="1198">
                  <c:v>All Others</c:v>
                </c:pt>
                <c:pt idx="1199">
                  <c:v>All Others</c:v>
                </c:pt>
                <c:pt idx="1200">
                  <c:v>All Others</c:v>
                </c:pt>
                <c:pt idx="1201">
                  <c:v>All Others</c:v>
                </c:pt>
                <c:pt idx="1202">
                  <c:v>All Others</c:v>
                </c:pt>
                <c:pt idx="1203">
                  <c:v>All Others</c:v>
                </c:pt>
                <c:pt idx="1204">
                  <c:v>All Others</c:v>
                </c:pt>
                <c:pt idx="1205">
                  <c:v>All Others</c:v>
                </c:pt>
                <c:pt idx="1206">
                  <c:v>All Others</c:v>
                </c:pt>
                <c:pt idx="1207">
                  <c:v>All Others</c:v>
                </c:pt>
                <c:pt idx="1208">
                  <c:v>All Others</c:v>
                </c:pt>
                <c:pt idx="1209">
                  <c:v>Etoile Du V</c:v>
                </c:pt>
                <c:pt idx="1210">
                  <c:v>All Others</c:v>
                </c:pt>
                <c:pt idx="1211">
                  <c:v>Private Lab</c:v>
                </c:pt>
                <c:pt idx="1212">
                  <c:v>All Others</c:v>
                </c:pt>
                <c:pt idx="1213">
                  <c:v>Paysan Bret</c:v>
                </c:pt>
                <c:pt idx="1214">
                  <c:v>All Others</c:v>
                </c:pt>
                <c:pt idx="1215">
                  <c:v>All Others</c:v>
                </c:pt>
                <c:pt idx="1216">
                  <c:v>All Others</c:v>
                </c:pt>
                <c:pt idx="1217">
                  <c:v>All Others</c:v>
                </c:pt>
                <c:pt idx="1218">
                  <c:v>Juraflore</c:v>
                </c:pt>
                <c:pt idx="1219">
                  <c:v>All Others</c:v>
                </c:pt>
                <c:pt idx="1220">
                  <c:v>All Others</c:v>
                </c:pt>
                <c:pt idx="1221">
                  <c:v>All Others</c:v>
                </c:pt>
                <c:pt idx="1222">
                  <c:v>All Others</c:v>
                </c:pt>
                <c:pt idx="1223">
                  <c:v>Raguin</c:v>
                </c:pt>
                <c:pt idx="1224">
                  <c:v>All Others</c:v>
                </c:pt>
                <c:pt idx="1225">
                  <c:v>All Others</c:v>
                </c:pt>
                <c:pt idx="1226">
                  <c:v>All Others</c:v>
                </c:pt>
                <c:pt idx="1227">
                  <c:v>All Others</c:v>
                </c:pt>
                <c:pt idx="1228">
                  <c:v>All Others</c:v>
                </c:pt>
                <c:pt idx="1229">
                  <c:v>All Others</c:v>
                </c:pt>
                <c:pt idx="1230">
                  <c:v>All Others</c:v>
                </c:pt>
                <c:pt idx="1231">
                  <c:v>All Others</c:v>
                </c:pt>
                <c:pt idx="1232">
                  <c:v>Juraflore</c:v>
                </c:pt>
                <c:pt idx="1233">
                  <c:v>All Others</c:v>
                </c:pt>
                <c:pt idx="1234">
                  <c:v>All Others</c:v>
                </c:pt>
                <c:pt idx="1235">
                  <c:v>All Others</c:v>
                </c:pt>
                <c:pt idx="1236">
                  <c:v>All Others</c:v>
                </c:pt>
                <c:pt idx="1237">
                  <c:v>All Others</c:v>
                </c:pt>
                <c:pt idx="1238">
                  <c:v>All Others</c:v>
                </c:pt>
                <c:pt idx="1239">
                  <c:v>All Others</c:v>
                </c:pt>
                <c:pt idx="1240">
                  <c:v>All Others</c:v>
                </c:pt>
                <c:pt idx="1241">
                  <c:v>All Others</c:v>
                </c:pt>
                <c:pt idx="1242">
                  <c:v>Apericube</c:v>
                </c:pt>
                <c:pt idx="1243">
                  <c:v>All Others</c:v>
                </c:pt>
                <c:pt idx="1244">
                  <c:v>All Others</c:v>
                </c:pt>
                <c:pt idx="1245">
                  <c:v>All Others</c:v>
                </c:pt>
                <c:pt idx="1246">
                  <c:v>All Others</c:v>
                </c:pt>
                <c:pt idx="1247">
                  <c:v>All Others</c:v>
                </c:pt>
                <c:pt idx="1248">
                  <c:v>Pave D'Affi</c:v>
                </c:pt>
                <c:pt idx="1249">
                  <c:v>All Others</c:v>
                </c:pt>
                <c:pt idx="1250">
                  <c:v>All Others</c:v>
                </c:pt>
                <c:pt idx="1251">
                  <c:v>Eurial Autr</c:v>
                </c:pt>
                <c:pt idx="1252">
                  <c:v>All Others</c:v>
                </c:pt>
                <c:pt idx="1253">
                  <c:v>Carre Frais</c:v>
                </c:pt>
                <c:pt idx="1254">
                  <c:v>Juraflore</c:v>
                </c:pt>
                <c:pt idx="1255">
                  <c:v>All Others</c:v>
                </c:pt>
                <c:pt idx="1256">
                  <c:v>All Others</c:v>
                </c:pt>
                <c:pt idx="1257">
                  <c:v>Private Lab</c:v>
                </c:pt>
                <c:pt idx="1258">
                  <c:v>Etoile Du V</c:v>
                </c:pt>
                <c:pt idx="1259">
                  <c:v>All Others</c:v>
                </c:pt>
                <c:pt idx="1260">
                  <c:v>All Others</c:v>
                </c:pt>
                <c:pt idx="1261">
                  <c:v>Lactalis: A</c:v>
                </c:pt>
                <c:pt idx="1262">
                  <c:v>All Others</c:v>
                </c:pt>
                <c:pt idx="1263">
                  <c:v>All Others</c:v>
                </c:pt>
                <c:pt idx="1264">
                  <c:v>Pave D'Affi</c:v>
                </c:pt>
                <c:pt idx="1265">
                  <c:v>All Others</c:v>
                </c:pt>
                <c:pt idx="1266">
                  <c:v>Private Lab</c:v>
                </c:pt>
                <c:pt idx="1267">
                  <c:v>All Others</c:v>
                </c:pt>
                <c:pt idx="1268">
                  <c:v>All Others</c:v>
                </c:pt>
                <c:pt idx="1269">
                  <c:v>All Others</c:v>
                </c:pt>
                <c:pt idx="1270">
                  <c:v>All Others</c:v>
                </c:pt>
                <c:pt idx="1271">
                  <c:v>Entremont</c:v>
                </c:pt>
                <c:pt idx="1272">
                  <c:v>All Others</c:v>
                </c:pt>
                <c:pt idx="1273">
                  <c:v>All Others</c:v>
                </c:pt>
                <c:pt idx="1274">
                  <c:v>All Others</c:v>
                </c:pt>
                <c:pt idx="1275">
                  <c:v>All Others</c:v>
                </c:pt>
                <c:pt idx="1276">
                  <c:v>All Others</c:v>
                </c:pt>
                <c:pt idx="1277">
                  <c:v>All Others</c:v>
                </c:pt>
                <c:pt idx="1278">
                  <c:v>All Others</c:v>
                </c:pt>
                <c:pt idx="1279">
                  <c:v>Eurial Autr</c:v>
                </c:pt>
                <c:pt idx="1280">
                  <c:v>All Others</c:v>
                </c:pt>
                <c:pt idx="1281">
                  <c:v>All Others</c:v>
                </c:pt>
                <c:pt idx="1282">
                  <c:v>All Others</c:v>
                </c:pt>
                <c:pt idx="1283">
                  <c:v>All Others</c:v>
                </c:pt>
                <c:pt idx="1284">
                  <c:v>Lactalis: A</c:v>
                </c:pt>
                <c:pt idx="1285">
                  <c:v>All Others</c:v>
                </c:pt>
                <c:pt idx="1286">
                  <c:v>All Others</c:v>
                </c:pt>
                <c:pt idx="1287">
                  <c:v>All Others</c:v>
                </c:pt>
                <c:pt idx="1288">
                  <c:v>All Others</c:v>
                </c:pt>
                <c:pt idx="1289">
                  <c:v>All Others</c:v>
                </c:pt>
                <c:pt idx="1290">
                  <c:v>All Others</c:v>
                </c:pt>
                <c:pt idx="1291">
                  <c:v>Apericube</c:v>
                </c:pt>
                <c:pt idx="1292">
                  <c:v>All Others</c:v>
                </c:pt>
                <c:pt idx="1293">
                  <c:v>Etoile Du V</c:v>
                </c:pt>
                <c:pt idx="1294">
                  <c:v>All Others</c:v>
                </c:pt>
                <c:pt idx="1295">
                  <c:v>All Others</c:v>
                </c:pt>
                <c:pt idx="1296">
                  <c:v>All Others</c:v>
                </c:pt>
                <c:pt idx="1297">
                  <c:v>All Others</c:v>
                </c:pt>
                <c:pt idx="1298">
                  <c:v>All Others</c:v>
                </c:pt>
                <c:pt idx="1299">
                  <c:v>Lactalis: A</c:v>
                </c:pt>
                <c:pt idx="1300">
                  <c:v>All Others</c:v>
                </c:pt>
                <c:pt idx="1301">
                  <c:v>All Others</c:v>
                </c:pt>
                <c:pt idx="1302">
                  <c:v>All Others</c:v>
                </c:pt>
                <c:pt idx="1303">
                  <c:v>Etoile Du V</c:v>
                </c:pt>
                <c:pt idx="1304">
                  <c:v>All Others</c:v>
                </c:pt>
                <c:pt idx="1305">
                  <c:v>Casa Azzurr</c:v>
                </c:pt>
                <c:pt idx="1306">
                  <c:v>All Others</c:v>
                </c:pt>
                <c:pt idx="1307">
                  <c:v>All Others</c:v>
                </c:pt>
                <c:pt idx="1308">
                  <c:v>Societe</c:v>
                </c:pt>
                <c:pt idx="1309">
                  <c:v>All Others</c:v>
                </c:pt>
                <c:pt idx="1310">
                  <c:v>All Others</c:v>
                </c:pt>
                <c:pt idx="1311">
                  <c:v>Pave D'Affi</c:v>
                </c:pt>
                <c:pt idx="1312">
                  <c:v>All Others</c:v>
                </c:pt>
                <c:pt idx="1313">
                  <c:v>All Others</c:v>
                </c:pt>
                <c:pt idx="1314">
                  <c:v>All Others</c:v>
                </c:pt>
                <c:pt idx="1315">
                  <c:v>L'Ortolan</c:v>
                </c:pt>
                <c:pt idx="1316">
                  <c:v>All Others</c:v>
                </c:pt>
                <c:pt idx="1317">
                  <c:v>All Others</c:v>
                </c:pt>
                <c:pt idx="1318">
                  <c:v>Mini Babybe</c:v>
                </c:pt>
                <c:pt idx="1319">
                  <c:v>Eurial Autr</c:v>
                </c:pt>
                <c:pt idx="1320">
                  <c:v>All Others</c:v>
                </c:pt>
                <c:pt idx="1321">
                  <c:v>All Others</c:v>
                </c:pt>
                <c:pt idx="1322">
                  <c:v>All Others</c:v>
                </c:pt>
                <c:pt idx="1323">
                  <c:v>Raguin</c:v>
                </c:pt>
                <c:pt idx="1324">
                  <c:v>All Others</c:v>
                </c:pt>
                <c:pt idx="1325">
                  <c:v>All Others</c:v>
                </c:pt>
                <c:pt idx="1326">
                  <c:v>All Others</c:v>
                </c:pt>
                <c:pt idx="1327">
                  <c:v>All Others</c:v>
                </c:pt>
                <c:pt idx="1328">
                  <c:v>All Others</c:v>
                </c:pt>
                <c:pt idx="1329">
                  <c:v>All Others</c:v>
                </c:pt>
                <c:pt idx="1330">
                  <c:v>All Others</c:v>
                </c:pt>
                <c:pt idx="1331">
                  <c:v>All Others</c:v>
                </c:pt>
                <c:pt idx="1332">
                  <c:v>All Others</c:v>
                </c:pt>
                <c:pt idx="1333">
                  <c:v>All Others</c:v>
                </c:pt>
                <c:pt idx="1334">
                  <c:v>All Others</c:v>
                </c:pt>
                <c:pt idx="1335">
                  <c:v>All Others</c:v>
                </c:pt>
                <c:pt idx="1336">
                  <c:v>La Belle Et</c:v>
                </c:pt>
                <c:pt idx="1337">
                  <c:v>Triballat N</c:v>
                </c:pt>
                <c:pt idx="1338">
                  <c:v>All Others</c:v>
                </c:pt>
                <c:pt idx="1339">
                  <c:v>All Others</c:v>
                </c:pt>
                <c:pt idx="1340">
                  <c:v>All Others</c:v>
                </c:pt>
                <c:pt idx="1341">
                  <c:v>All Others</c:v>
                </c:pt>
                <c:pt idx="1342">
                  <c:v>Pochat</c:v>
                </c:pt>
                <c:pt idx="1343">
                  <c:v>All Others</c:v>
                </c:pt>
                <c:pt idx="1344">
                  <c:v>All Others</c:v>
                </c:pt>
                <c:pt idx="1345">
                  <c:v>All Others</c:v>
                </c:pt>
                <c:pt idx="1346">
                  <c:v>All Others</c:v>
                </c:pt>
                <c:pt idx="1347">
                  <c:v>Lactalis: A</c:v>
                </c:pt>
                <c:pt idx="1348">
                  <c:v>All Others</c:v>
                </c:pt>
                <c:pt idx="1349">
                  <c:v>All Others</c:v>
                </c:pt>
                <c:pt idx="1350">
                  <c:v>All Others</c:v>
                </c:pt>
                <c:pt idx="1351">
                  <c:v>All Others</c:v>
                </c:pt>
                <c:pt idx="1352">
                  <c:v>All Others</c:v>
                </c:pt>
                <c:pt idx="1353">
                  <c:v>All Others</c:v>
                </c:pt>
                <c:pt idx="1354">
                  <c:v>All Others</c:v>
                </c:pt>
                <c:pt idx="1355">
                  <c:v>All Others</c:v>
                </c:pt>
                <c:pt idx="1356">
                  <c:v>Lactalis: A</c:v>
                </c:pt>
                <c:pt idx="1357">
                  <c:v>All Others</c:v>
                </c:pt>
                <c:pt idx="1358">
                  <c:v>Private Lab</c:v>
                </c:pt>
                <c:pt idx="1359">
                  <c:v>All Others</c:v>
                </c:pt>
                <c:pt idx="1360">
                  <c:v>All Others</c:v>
                </c:pt>
                <c:pt idx="1361">
                  <c:v>All Others</c:v>
                </c:pt>
                <c:pt idx="1362">
                  <c:v>All Others</c:v>
                </c:pt>
                <c:pt idx="1363">
                  <c:v>Nurishh</c:v>
                </c:pt>
                <c:pt idx="1364">
                  <c:v>Eurial Autr</c:v>
                </c:pt>
                <c:pt idx="1365">
                  <c:v>Triballat R</c:v>
                </c:pt>
                <c:pt idx="1366">
                  <c:v>All Others</c:v>
                </c:pt>
                <c:pt idx="1367">
                  <c:v>All Others</c:v>
                </c:pt>
                <c:pt idx="1368">
                  <c:v>All Others</c:v>
                </c:pt>
                <c:pt idx="1369">
                  <c:v>All Others</c:v>
                </c:pt>
                <c:pt idx="1370">
                  <c:v>All Others</c:v>
                </c:pt>
                <c:pt idx="1371">
                  <c:v>All Others</c:v>
                </c:pt>
                <c:pt idx="1372">
                  <c:v>All Others</c:v>
                </c:pt>
                <c:pt idx="1373">
                  <c:v>All Others</c:v>
                </c:pt>
                <c:pt idx="1374">
                  <c:v>All Others</c:v>
                </c:pt>
                <c:pt idx="1375">
                  <c:v>All Others</c:v>
                </c:pt>
                <c:pt idx="1376">
                  <c:v>Lactalis: A</c:v>
                </c:pt>
                <c:pt idx="1377">
                  <c:v>All Others</c:v>
                </c:pt>
                <c:pt idx="1378">
                  <c:v>All Others</c:v>
                </c:pt>
                <c:pt idx="1379">
                  <c:v>All Others</c:v>
                </c:pt>
                <c:pt idx="1380">
                  <c:v>All Others</c:v>
                </c:pt>
                <c:pt idx="1381">
                  <c:v>All Others</c:v>
                </c:pt>
                <c:pt idx="1382">
                  <c:v>Private Lab</c:v>
                </c:pt>
                <c:pt idx="1383">
                  <c:v>All Others</c:v>
                </c:pt>
                <c:pt idx="1384">
                  <c:v>All Others</c:v>
                </c:pt>
                <c:pt idx="1385">
                  <c:v>La Belle Et</c:v>
                </c:pt>
                <c:pt idx="1386">
                  <c:v>All Others</c:v>
                </c:pt>
                <c:pt idx="1387">
                  <c:v>All Others</c:v>
                </c:pt>
                <c:pt idx="1388">
                  <c:v>All Others</c:v>
                </c:pt>
                <c:pt idx="1389">
                  <c:v>All Others</c:v>
                </c:pt>
                <c:pt idx="1390">
                  <c:v>All Others</c:v>
                </c:pt>
                <c:pt idx="1391">
                  <c:v>All Others</c:v>
                </c:pt>
                <c:pt idx="1392">
                  <c:v>All Others</c:v>
                </c:pt>
                <c:pt idx="1393">
                  <c:v>All Others</c:v>
                </c:pt>
                <c:pt idx="1394">
                  <c:v>Lactalis: A</c:v>
                </c:pt>
                <c:pt idx="1395">
                  <c:v>All Others</c:v>
                </c:pt>
                <c:pt idx="1396">
                  <c:v>All Others</c:v>
                </c:pt>
                <c:pt idx="1397">
                  <c:v>All Others</c:v>
                </c:pt>
                <c:pt idx="1398">
                  <c:v>All Others</c:v>
                </c:pt>
                <c:pt idx="1399">
                  <c:v>All Others</c:v>
                </c:pt>
                <c:pt idx="1400">
                  <c:v>All Others</c:v>
                </c:pt>
                <c:pt idx="1401">
                  <c:v>All Others</c:v>
                </c:pt>
                <c:pt idx="1402">
                  <c:v>All Others</c:v>
                </c:pt>
                <c:pt idx="1403">
                  <c:v>All Others</c:v>
                </c:pt>
                <c:pt idx="1404">
                  <c:v>All Others</c:v>
                </c:pt>
                <c:pt idx="1405">
                  <c:v>Etoile Du Q</c:v>
                </c:pt>
                <c:pt idx="1406">
                  <c:v>All Others</c:v>
                </c:pt>
                <c:pt idx="1407">
                  <c:v>All Others</c:v>
                </c:pt>
                <c:pt idx="1408">
                  <c:v>All Others</c:v>
                </c:pt>
                <c:pt idx="1409">
                  <c:v>All Others</c:v>
                </c:pt>
                <c:pt idx="1410">
                  <c:v>All Others</c:v>
                </c:pt>
                <c:pt idx="1411">
                  <c:v>All Others</c:v>
                </c:pt>
                <c:pt idx="1412">
                  <c:v>All Others</c:v>
                </c:pt>
                <c:pt idx="1413">
                  <c:v>All Others</c:v>
                </c:pt>
                <c:pt idx="1414">
                  <c:v>La Belle Et</c:v>
                </c:pt>
                <c:pt idx="1415">
                  <c:v>Eurial Autr</c:v>
                </c:pt>
                <c:pt idx="1416">
                  <c:v>All Others</c:v>
                </c:pt>
                <c:pt idx="1417">
                  <c:v>All Others</c:v>
                </c:pt>
                <c:pt idx="1418">
                  <c:v>Etoile Du V</c:v>
                </c:pt>
                <c:pt idx="1419">
                  <c:v>Pochat</c:v>
                </c:pt>
                <c:pt idx="1420">
                  <c:v>Nurishh</c:v>
                </c:pt>
                <c:pt idx="1421">
                  <c:v>All Others</c:v>
                </c:pt>
                <c:pt idx="1422">
                  <c:v>Eurial Autr</c:v>
                </c:pt>
                <c:pt idx="1423">
                  <c:v>All Others</c:v>
                </c:pt>
                <c:pt idx="1424">
                  <c:v>All Others</c:v>
                </c:pt>
                <c:pt idx="1425">
                  <c:v>All Others</c:v>
                </c:pt>
                <c:pt idx="1426">
                  <c:v>All Others</c:v>
                </c:pt>
                <c:pt idx="1427">
                  <c:v>All Others</c:v>
                </c:pt>
                <c:pt idx="1428">
                  <c:v>Private Lab</c:v>
                </c:pt>
                <c:pt idx="1429">
                  <c:v>Soignon</c:v>
                </c:pt>
                <c:pt idx="1430">
                  <c:v>All Others</c:v>
                </c:pt>
                <c:pt idx="1431">
                  <c:v>All Others</c:v>
                </c:pt>
                <c:pt idx="1432">
                  <c:v>All Others</c:v>
                </c:pt>
                <c:pt idx="1433">
                  <c:v>All Others</c:v>
                </c:pt>
                <c:pt idx="1434">
                  <c:v>Private Lab</c:v>
                </c:pt>
                <c:pt idx="1435">
                  <c:v>All Others</c:v>
                </c:pt>
                <c:pt idx="1436">
                  <c:v>All Others</c:v>
                </c:pt>
                <c:pt idx="1437">
                  <c:v>All Others</c:v>
                </c:pt>
                <c:pt idx="1438">
                  <c:v>All Others</c:v>
                </c:pt>
                <c:pt idx="1439">
                  <c:v>La Belle Et</c:v>
                </c:pt>
                <c:pt idx="1440">
                  <c:v>All Others</c:v>
                </c:pt>
                <c:pt idx="1441">
                  <c:v>All Others</c:v>
                </c:pt>
                <c:pt idx="1442">
                  <c:v>All Others</c:v>
                </c:pt>
                <c:pt idx="1443">
                  <c:v>La Belle Et</c:v>
                </c:pt>
                <c:pt idx="1444">
                  <c:v>All Others</c:v>
                </c:pt>
                <c:pt idx="1445">
                  <c:v>All Others</c:v>
                </c:pt>
                <c:pt idx="1446">
                  <c:v>All Others</c:v>
                </c:pt>
                <c:pt idx="1447">
                  <c:v>All Others</c:v>
                </c:pt>
                <c:pt idx="1448">
                  <c:v>All Others</c:v>
                </c:pt>
                <c:pt idx="1449">
                  <c:v>All Others</c:v>
                </c:pt>
                <c:pt idx="1450">
                  <c:v>All Others</c:v>
                </c:pt>
                <c:pt idx="1451">
                  <c:v>All Others</c:v>
                </c:pt>
                <c:pt idx="1452">
                  <c:v>All Others</c:v>
                </c:pt>
                <c:pt idx="1453">
                  <c:v>All Others</c:v>
                </c:pt>
                <c:pt idx="1454">
                  <c:v>All Others</c:v>
                </c:pt>
                <c:pt idx="1455">
                  <c:v>All Others</c:v>
                </c:pt>
                <c:pt idx="1456">
                  <c:v>All Others</c:v>
                </c:pt>
                <c:pt idx="1457">
                  <c:v>All Others</c:v>
                </c:pt>
                <c:pt idx="1458">
                  <c:v>Lactalis: A</c:v>
                </c:pt>
                <c:pt idx="1459">
                  <c:v>All Others</c:v>
                </c:pt>
                <c:pt idx="1460">
                  <c:v>Paysan Bret</c:v>
                </c:pt>
                <c:pt idx="1461">
                  <c:v>All Others</c:v>
                </c:pt>
                <c:pt idx="1462">
                  <c:v>All Others</c:v>
                </c:pt>
                <c:pt idx="1463">
                  <c:v>All Others</c:v>
                </c:pt>
                <c:pt idx="1464">
                  <c:v>All Others</c:v>
                </c:pt>
                <c:pt idx="1465">
                  <c:v>All Others</c:v>
                </c:pt>
                <c:pt idx="1466">
                  <c:v>Etoile Du V</c:v>
                </c:pt>
                <c:pt idx="1467">
                  <c:v>All Others</c:v>
                </c:pt>
                <c:pt idx="1468">
                  <c:v>All Others</c:v>
                </c:pt>
                <c:pt idx="1469">
                  <c:v>All Others</c:v>
                </c:pt>
                <c:pt idx="1470">
                  <c:v>All Others</c:v>
                </c:pt>
                <c:pt idx="1471">
                  <c:v>All Others</c:v>
                </c:pt>
                <c:pt idx="1472">
                  <c:v>Nurishh</c:v>
                </c:pt>
                <c:pt idx="1473">
                  <c:v>All Others</c:v>
                </c:pt>
                <c:pt idx="1474">
                  <c:v>Private Lab</c:v>
                </c:pt>
                <c:pt idx="1475">
                  <c:v>All Others</c:v>
                </c:pt>
                <c:pt idx="1476">
                  <c:v>Private Lab</c:v>
                </c:pt>
                <c:pt idx="1477">
                  <c:v>All Others</c:v>
                </c:pt>
                <c:pt idx="1478">
                  <c:v>All Others</c:v>
                </c:pt>
                <c:pt idx="1479">
                  <c:v>All Others</c:v>
                </c:pt>
                <c:pt idx="1480">
                  <c:v>All Others</c:v>
                </c:pt>
                <c:pt idx="1481">
                  <c:v>Private Lab</c:v>
                </c:pt>
                <c:pt idx="1482">
                  <c:v>All Others</c:v>
                </c:pt>
                <c:pt idx="1483">
                  <c:v>All Others</c:v>
                </c:pt>
                <c:pt idx="1484">
                  <c:v>All Others</c:v>
                </c:pt>
                <c:pt idx="1485">
                  <c:v>All Others</c:v>
                </c:pt>
                <c:pt idx="1486">
                  <c:v>La Belle Et</c:v>
                </c:pt>
                <c:pt idx="1487">
                  <c:v>All Others</c:v>
                </c:pt>
                <c:pt idx="1488">
                  <c:v>Lactalis: A</c:v>
                </c:pt>
                <c:pt idx="1489">
                  <c:v>All Others</c:v>
                </c:pt>
                <c:pt idx="1490">
                  <c:v>All Others</c:v>
                </c:pt>
                <c:pt idx="1491">
                  <c:v>Lou Perac</c:v>
                </c:pt>
                <c:pt idx="1492">
                  <c:v>All Others</c:v>
                </c:pt>
                <c:pt idx="1493">
                  <c:v>All Others</c:v>
                </c:pt>
                <c:pt idx="1494">
                  <c:v>All Others</c:v>
                </c:pt>
                <c:pt idx="1495">
                  <c:v>Private Lab</c:v>
                </c:pt>
                <c:pt idx="1496">
                  <c:v>All Others</c:v>
                </c:pt>
                <c:pt idx="1497">
                  <c:v>Etoile Du V</c:v>
                </c:pt>
                <c:pt idx="1498">
                  <c:v>All Others</c:v>
                </c:pt>
                <c:pt idx="1499">
                  <c:v>All Others</c:v>
                </c:pt>
                <c:pt idx="1500">
                  <c:v>All Others</c:v>
                </c:pt>
                <c:pt idx="1501">
                  <c:v>All Others</c:v>
                </c:pt>
                <c:pt idx="1502">
                  <c:v>All Others</c:v>
                </c:pt>
                <c:pt idx="1503">
                  <c:v>All Others</c:v>
                </c:pt>
                <c:pt idx="1504">
                  <c:v>All Others</c:v>
                </c:pt>
                <c:pt idx="1505">
                  <c:v>All Others</c:v>
                </c:pt>
                <c:pt idx="1506">
                  <c:v>All Others</c:v>
                </c:pt>
                <c:pt idx="1507">
                  <c:v>Savencia: A</c:v>
                </c:pt>
                <c:pt idx="1508">
                  <c:v>All Others</c:v>
                </c:pt>
                <c:pt idx="1509">
                  <c:v>All Others</c:v>
                </c:pt>
                <c:pt idx="1510">
                  <c:v>All Others</c:v>
                </c:pt>
                <c:pt idx="1511">
                  <c:v>All Others</c:v>
                </c:pt>
                <c:pt idx="1512">
                  <c:v>All Others</c:v>
                </c:pt>
                <c:pt idx="1513">
                  <c:v>All Others</c:v>
                </c:pt>
                <c:pt idx="1514">
                  <c:v>All Others</c:v>
                </c:pt>
                <c:pt idx="1515">
                  <c:v>All Others</c:v>
                </c:pt>
                <c:pt idx="1516">
                  <c:v>All Others</c:v>
                </c:pt>
                <c:pt idx="1517">
                  <c:v>All Others</c:v>
                </c:pt>
                <c:pt idx="1518">
                  <c:v>All Others</c:v>
                </c:pt>
                <c:pt idx="1519">
                  <c:v>La Belle Et</c:v>
                </c:pt>
                <c:pt idx="1520">
                  <c:v>Pochat</c:v>
                </c:pt>
                <c:pt idx="1521">
                  <c:v>All Others</c:v>
                </c:pt>
                <c:pt idx="1522">
                  <c:v>All Others</c:v>
                </c:pt>
                <c:pt idx="1523">
                  <c:v>Raguin</c:v>
                </c:pt>
                <c:pt idx="1524">
                  <c:v>All Others</c:v>
                </c:pt>
                <c:pt idx="1525">
                  <c:v>Lactalis: A</c:v>
                </c:pt>
                <c:pt idx="1526">
                  <c:v>Etoile Du V</c:v>
                </c:pt>
                <c:pt idx="1527">
                  <c:v>All Others</c:v>
                </c:pt>
                <c:pt idx="1528">
                  <c:v>All Others</c:v>
                </c:pt>
                <c:pt idx="1529">
                  <c:v>All Others</c:v>
                </c:pt>
                <c:pt idx="1530">
                  <c:v>All Others</c:v>
                </c:pt>
                <c:pt idx="1531">
                  <c:v>All Others</c:v>
                </c:pt>
                <c:pt idx="1532">
                  <c:v>All Others</c:v>
                </c:pt>
                <c:pt idx="1533">
                  <c:v>All Others</c:v>
                </c:pt>
                <c:pt idx="1534">
                  <c:v>All Others</c:v>
                </c:pt>
                <c:pt idx="1535">
                  <c:v>All Others</c:v>
                </c:pt>
                <c:pt idx="1536">
                  <c:v>All Others</c:v>
                </c:pt>
                <c:pt idx="1537">
                  <c:v>All Others</c:v>
                </c:pt>
                <c:pt idx="1538">
                  <c:v>La Belle Et</c:v>
                </c:pt>
                <c:pt idx="1539">
                  <c:v>All Others</c:v>
                </c:pt>
                <c:pt idx="1540">
                  <c:v>All Others</c:v>
                </c:pt>
                <c:pt idx="1541">
                  <c:v>All Others</c:v>
                </c:pt>
                <c:pt idx="1542">
                  <c:v>All Others</c:v>
                </c:pt>
                <c:pt idx="1543">
                  <c:v>All Others</c:v>
                </c:pt>
                <c:pt idx="1544">
                  <c:v>All Others</c:v>
                </c:pt>
                <c:pt idx="1545">
                  <c:v>Boursin</c:v>
                </c:pt>
                <c:pt idx="1546">
                  <c:v>All Others</c:v>
                </c:pt>
                <c:pt idx="1547">
                  <c:v>All Others</c:v>
                </c:pt>
                <c:pt idx="1548">
                  <c:v>All Others</c:v>
                </c:pt>
                <c:pt idx="1549">
                  <c:v>All Others</c:v>
                </c:pt>
                <c:pt idx="1550">
                  <c:v>Savencia: A</c:v>
                </c:pt>
                <c:pt idx="1551">
                  <c:v>All Others</c:v>
                </c:pt>
                <c:pt idx="1552">
                  <c:v>Societe</c:v>
                </c:pt>
                <c:pt idx="1553">
                  <c:v>All Others</c:v>
                </c:pt>
                <c:pt idx="1554">
                  <c:v>All Others</c:v>
                </c:pt>
                <c:pt idx="1555">
                  <c:v>All Others</c:v>
                </c:pt>
                <c:pt idx="1556">
                  <c:v>Pochat</c:v>
                </c:pt>
                <c:pt idx="1557">
                  <c:v>All Others</c:v>
                </c:pt>
                <c:pt idx="1558">
                  <c:v>All Others</c:v>
                </c:pt>
                <c:pt idx="1559">
                  <c:v>La Belle Et</c:v>
                </c:pt>
                <c:pt idx="1560">
                  <c:v>La Belle Et</c:v>
                </c:pt>
                <c:pt idx="1561">
                  <c:v>All Others</c:v>
                </c:pt>
                <c:pt idx="1562">
                  <c:v>Private Lab</c:v>
                </c:pt>
                <c:pt idx="1563">
                  <c:v>All Others</c:v>
                </c:pt>
                <c:pt idx="1564">
                  <c:v>All Others</c:v>
                </c:pt>
                <c:pt idx="1565">
                  <c:v>All Others</c:v>
                </c:pt>
                <c:pt idx="1566">
                  <c:v>Lactalis: A</c:v>
                </c:pt>
                <c:pt idx="1567">
                  <c:v>Private Lab</c:v>
                </c:pt>
                <c:pt idx="1568">
                  <c:v>Pave D'Affi</c:v>
                </c:pt>
                <c:pt idx="1569">
                  <c:v>All Others</c:v>
                </c:pt>
                <c:pt idx="1570">
                  <c:v>Etoile Du V</c:v>
                </c:pt>
                <c:pt idx="1571">
                  <c:v>All Others</c:v>
                </c:pt>
                <c:pt idx="1572">
                  <c:v>All Others</c:v>
                </c:pt>
                <c:pt idx="1573">
                  <c:v>All Others</c:v>
                </c:pt>
                <c:pt idx="1574">
                  <c:v>Etoile Du V</c:v>
                </c:pt>
                <c:pt idx="1575">
                  <c:v>All Others</c:v>
                </c:pt>
                <c:pt idx="1576">
                  <c:v>All Others</c:v>
                </c:pt>
                <c:pt idx="1577">
                  <c:v>All Others</c:v>
                </c:pt>
                <c:pt idx="1578">
                  <c:v>All Others</c:v>
                </c:pt>
                <c:pt idx="1579">
                  <c:v>All Others</c:v>
                </c:pt>
                <c:pt idx="1580">
                  <c:v>All Others</c:v>
                </c:pt>
                <c:pt idx="1581">
                  <c:v>All Others</c:v>
                </c:pt>
                <c:pt idx="1582">
                  <c:v>All Others</c:v>
                </c:pt>
                <c:pt idx="1583">
                  <c:v>La Belle Et</c:v>
                </c:pt>
                <c:pt idx="1584">
                  <c:v>All Others</c:v>
                </c:pt>
                <c:pt idx="1585">
                  <c:v>La Belle Et</c:v>
                </c:pt>
                <c:pt idx="1586">
                  <c:v>All Others</c:v>
                </c:pt>
                <c:pt idx="1587">
                  <c:v>All Others</c:v>
                </c:pt>
                <c:pt idx="1588">
                  <c:v>All Others</c:v>
                </c:pt>
                <c:pt idx="1589">
                  <c:v>All Others</c:v>
                </c:pt>
                <c:pt idx="1590">
                  <c:v>All Others</c:v>
                </c:pt>
                <c:pt idx="1591">
                  <c:v>All Others</c:v>
                </c:pt>
                <c:pt idx="1592">
                  <c:v>All Others</c:v>
                </c:pt>
                <c:pt idx="1593">
                  <c:v>All Others</c:v>
                </c:pt>
                <c:pt idx="1594">
                  <c:v>All Others</c:v>
                </c:pt>
                <c:pt idx="1595">
                  <c:v>All Others</c:v>
                </c:pt>
                <c:pt idx="1596">
                  <c:v>Savencia: A</c:v>
                </c:pt>
                <c:pt idx="1597">
                  <c:v>Apericube</c:v>
                </c:pt>
                <c:pt idx="1598">
                  <c:v>All Others</c:v>
                </c:pt>
                <c:pt idx="1599">
                  <c:v>Lactalis: A</c:v>
                </c:pt>
                <c:pt idx="1600">
                  <c:v>All Others</c:v>
                </c:pt>
                <c:pt idx="1601">
                  <c:v>All Others</c:v>
                </c:pt>
                <c:pt idx="1602">
                  <c:v>All Others</c:v>
                </c:pt>
                <c:pt idx="1603">
                  <c:v>All Others</c:v>
                </c:pt>
                <c:pt idx="1604">
                  <c:v>All Others</c:v>
                </c:pt>
                <c:pt idx="1605">
                  <c:v>All Others</c:v>
                </c:pt>
                <c:pt idx="1606">
                  <c:v>All Others</c:v>
                </c:pt>
                <c:pt idx="1607">
                  <c:v>All Others</c:v>
                </c:pt>
                <c:pt idx="1608">
                  <c:v>All Others</c:v>
                </c:pt>
                <c:pt idx="1609">
                  <c:v>All Others</c:v>
                </c:pt>
                <c:pt idx="1610">
                  <c:v>All Others</c:v>
                </c:pt>
                <c:pt idx="1611">
                  <c:v>All Others</c:v>
                </c:pt>
                <c:pt idx="1612">
                  <c:v>All Others</c:v>
                </c:pt>
                <c:pt idx="1613">
                  <c:v>All Others</c:v>
                </c:pt>
                <c:pt idx="1614">
                  <c:v>All Others</c:v>
                </c:pt>
                <c:pt idx="1615">
                  <c:v>All Others</c:v>
                </c:pt>
                <c:pt idx="1616">
                  <c:v>All Others</c:v>
                </c:pt>
                <c:pt idx="1617">
                  <c:v>All Others</c:v>
                </c:pt>
                <c:pt idx="1618">
                  <c:v>All Others</c:v>
                </c:pt>
                <c:pt idx="1619">
                  <c:v>All Others</c:v>
                </c:pt>
                <c:pt idx="1620">
                  <c:v>All Others</c:v>
                </c:pt>
                <c:pt idx="1621">
                  <c:v>All Others</c:v>
                </c:pt>
                <c:pt idx="1622">
                  <c:v>All Others</c:v>
                </c:pt>
                <c:pt idx="1623">
                  <c:v>All Others</c:v>
                </c:pt>
                <c:pt idx="1624">
                  <c:v>All Others</c:v>
                </c:pt>
                <c:pt idx="1625">
                  <c:v>All Others</c:v>
                </c:pt>
                <c:pt idx="1626">
                  <c:v>All Others</c:v>
                </c:pt>
                <c:pt idx="1627">
                  <c:v>All Others</c:v>
                </c:pt>
                <c:pt idx="1628">
                  <c:v>All Others</c:v>
                </c:pt>
                <c:pt idx="1629">
                  <c:v>All Others</c:v>
                </c:pt>
                <c:pt idx="1630">
                  <c:v>All Others</c:v>
                </c:pt>
                <c:pt idx="1631">
                  <c:v>All Others</c:v>
                </c:pt>
                <c:pt idx="1632">
                  <c:v>All Others</c:v>
                </c:pt>
                <c:pt idx="1633">
                  <c:v>Pave D'Affi</c:v>
                </c:pt>
                <c:pt idx="1634">
                  <c:v>All Others</c:v>
                </c:pt>
                <c:pt idx="1635">
                  <c:v>All Others</c:v>
                </c:pt>
                <c:pt idx="1636">
                  <c:v>All Others</c:v>
                </c:pt>
                <c:pt idx="1637">
                  <c:v>All Others</c:v>
                </c:pt>
                <c:pt idx="1638">
                  <c:v>All Others</c:v>
                </c:pt>
                <c:pt idx="1639">
                  <c:v>All Others</c:v>
                </c:pt>
                <c:pt idx="1640">
                  <c:v>All Others</c:v>
                </c:pt>
                <c:pt idx="1641">
                  <c:v>All Others</c:v>
                </c:pt>
                <c:pt idx="1642">
                  <c:v>All Others</c:v>
                </c:pt>
                <c:pt idx="1643">
                  <c:v>Leerdammer</c:v>
                </c:pt>
                <c:pt idx="1644">
                  <c:v>All Others</c:v>
                </c:pt>
                <c:pt idx="1645">
                  <c:v>All Others</c:v>
                </c:pt>
                <c:pt idx="1646">
                  <c:v>All Others</c:v>
                </c:pt>
                <c:pt idx="1647">
                  <c:v>Kiri</c:v>
                </c:pt>
                <c:pt idx="1648">
                  <c:v>All Others</c:v>
                </c:pt>
                <c:pt idx="1649">
                  <c:v>All Others</c:v>
                </c:pt>
                <c:pt idx="1650">
                  <c:v>All Others</c:v>
                </c:pt>
                <c:pt idx="1651">
                  <c:v>All Others</c:v>
                </c:pt>
                <c:pt idx="1652">
                  <c:v>All Others</c:v>
                </c:pt>
                <c:pt idx="1653">
                  <c:v>All Others</c:v>
                </c:pt>
                <c:pt idx="1654">
                  <c:v>All Others</c:v>
                </c:pt>
                <c:pt idx="1655">
                  <c:v>All Others</c:v>
                </c:pt>
                <c:pt idx="1656">
                  <c:v>All Others</c:v>
                </c:pt>
                <c:pt idx="1657">
                  <c:v>Private Lab</c:v>
                </c:pt>
                <c:pt idx="1658">
                  <c:v>All Others</c:v>
                </c:pt>
                <c:pt idx="1659">
                  <c:v>All Others</c:v>
                </c:pt>
                <c:pt idx="1660">
                  <c:v>All Others</c:v>
                </c:pt>
                <c:pt idx="1661">
                  <c:v>All Others</c:v>
                </c:pt>
                <c:pt idx="1662">
                  <c:v>All Others</c:v>
                </c:pt>
                <c:pt idx="1663">
                  <c:v>All Others</c:v>
                </c:pt>
                <c:pt idx="1664">
                  <c:v>All Others</c:v>
                </c:pt>
                <c:pt idx="1665">
                  <c:v>All Others</c:v>
                </c:pt>
                <c:pt idx="1666">
                  <c:v>All Others</c:v>
                </c:pt>
                <c:pt idx="1667">
                  <c:v>All Others</c:v>
                </c:pt>
                <c:pt idx="1668">
                  <c:v>All Others</c:v>
                </c:pt>
                <c:pt idx="1669">
                  <c:v>All Others</c:v>
                </c:pt>
                <c:pt idx="1670">
                  <c:v>All Others</c:v>
                </c:pt>
                <c:pt idx="1671">
                  <c:v>All Others</c:v>
                </c:pt>
                <c:pt idx="1672">
                  <c:v>All Others</c:v>
                </c:pt>
                <c:pt idx="1673">
                  <c:v>All Others</c:v>
                </c:pt>
                <c:pt idx="1674">
                  <c:v>All Others</c:v>
                </c:pt>
                <c:pt idx="1675">
                  <c:v>All Others</c:v>
                </c:pt>
                <c:pt idx="1676">
                  <c:v>All Others</c:v>
                </c:pt>
                <c:pt idx="1677">
                  <c:v>All Others</c:v>
                </c:pt>
                <c:pt idx="1678">
                  <c:v>All Others</c:v>
                </c:pt>
                <c:pt idx="1679">
                  <c:v>All Others</c:v>
                </c:pt>
                <c:pt idx="1680">
                  <c:v>All Others</c:v>
                </c:pt>
                <c:pt idx="1681">
                  <c:v>All Others</c:v>
                </c:pt>
                <c:pt idx="1682">
                  <c:v>All Others</c:v>
                </c:pt>
                <c:pt idx="1683">
                  <c:v>Savencia: A</c:v>
                </c:pt>
                <c:pt idx="1684">
                  <c:v>All Others</c:v>
                </c:pt>
                <c:pt idx="1685">
                  <c:v>All Others</c:v>
                </c:pt>
                <c:pt idx="1686">
                  <c:v>All Others</c:v>
                </c:pt>
                <c:pt idx="1687">
                  <c:v>All Others</c:v>
                </c:pt>
                <c:pt idx="1688">
                  <c:v>All Others</c:v>
                </c:pt>
                <c:pt idx="1689">
                  <c:v>All Others</c:v>
                </c:pt>
                <c:pt idx="1690">
                  <c:v>All Others</c:v>
                </c:pt>
                <c:pt idx="1691">
                  <c:v>All Others</c:v>
                </c:pt>
                <c:pt idx="1692">
                  <c:v>All Others</c:v>
                </c:pt>
                <c:pt idx="1693">
                  <c:v>Lactalis: A</c:v>
                </c:pt>
                <c:pt idx="1694">
                  <c:v>All Others</c:v>
                </c:pt>
                <c:pt idx="1695">
                  <c:v>All Others</c:v>
                </c:pt>
                <c:pt idx="1696">
                  <c:v>All Others</c:v>
                </c:pt>
                <c:pt idx="1697">
                  <c:v>All Others</c:v>
                </c:pt>
                <c:pt idx="1698">
                  <c:v>All Others</c:v>
                </c:pt>
                <c:pt idx="1699">
                  <c:v>All Others</c:v>
                </c:pt>
                <c:pt idx="1700">
                  <c:v>All Others</c:v>
                </c:pt>
                <c:pt idx="1701">
                  <c:v>Soignon</c:v>
                </c:pt>
                <c:pt idx="1702">
                  <c:v>All Others</c:v>
                </c:pt>
                <c:pt idx="1703">
                  <c:v>Private Lab</c:v>
                </c:pt>
                <c:pt idx="1704">
                  <c:v>All Others</c:v>
                </c:pt>
                <c:pt idx="1705">
                  <c:v>Eurial Autr</c:v>
                </c:pt>
                <c:pt idx="1706">
                  <c:v>All Others</c:v>
                </c:pt>
                <c:pt idx="1707">
                  <c:v>Milleret: A</c:v>
                </c:pt>
                <c:pt idx="1708">
                  <c:v>Private Lab</c:v>
                </c:pt>
                <c:pt idx="1709">
                  <c:v>All Others</c:v>
                </c:pt>
                <c:pt idx="1710">
                  <c:v>All Others</c:v>
                </c:pt>
                <c:pt idx="1711">
                  <c:v>All Others</c:v>
                </c:pt>
                <c:pt idx="1712">
                  <c:v>All Others</c:v>
                </c:pt>
                <c:pt idx="1713">
                  <c:v>All Others</c:v>
                </c:pt>
                <c:pt idx="1714">
                  <c:v>All Others</c:v>
                </c:pt>
                <c:pt idx="1715">
                  <c:v>Societe</c:v>
                </c:pt>
                <c:pt idx="1716">
                  <c:v>All Others</c:v>
                </c:pt>
                <c:pt idx="1717">
                  <c:v>All Others</c:v>
                </c:pt>
                <c:pt idx="1718">
                  <c:v>All Others</c:v>
                </c:pt>
                <c:pt idx="1719">
                  <c:v>Milleret: A</c:v>
                </c:pt>
                <c:pt idx="1720">
                  <c:v>Lactalis: A</c:v>
                </c:pt>
                <c:pt idx="1721">
                  <c:v>All Others</c:v>
                </c:pt>
                <c:pt idx="1722">
                  <c:v>All Others</c:v>
                </c:pt>
                <c:pt idx="1723">
                  <c:v>All Others</c:v>
                </c:pt>
                <c:pt idx="1724">
                  <c:v>La Belle Et</c:v>
                </c:pt>
                <c:pt idx="1725">
                  <c:v>Pave D'Affi</c:v>
                </c:pt>
                <c:pt idx="1726">
                  <c:v>Lactalis: A</c:v>
                </c:pt>
                <c:pt idx="1727">
                  <c:v>All Others</c:v>
                </c:pt>
                <c:pt idx="1728">
                  <c:v>All Others</c:v>
                </c:pt>
                <c:pt idx="1729">
                  <c:v>All Others</c:v>
                </c:pt>
                <c:pt idx="1730">
                  <c:v>All Others</c:v>
                </c:pt>
                <c:pt idx="1731">
                  <c:v>All Others</c:v>
                </c:pt>
                <c:pt idx="1732">
                  <c:v>All Others</c:v>
                </c:pt>
                <c:pt idx="1733">
                  <c:v>All Others</c:v>
                </c:pt>
                <c:pt idx="1734">
                  <c:v>All Others</c:v>
                </c:pt>
                <c:pt idx="1735">
                  <c:v>All Others</c:v>
                </c:pt>
                <c:pt idx="1736">
                  <c:v>All Others</c:v>
                </c:pt>
                <c:pt idx="1737">
                  <c:v>All Others</c:v>
                </c:pt>
                <c:pt idx="1738">
                  <c:v>All Others</c:v>
                </c:pt>
                <c:pt idx="1739">
                  <c:v>All Others</c:v>
                </c:pt>
                <c:pt idx="1740">
                  <c:v>All Others</c:v>
                </c:pt>
                <c:pt idx="1741">
                  <c:v>All Others</c:v>
                </c:pt>
                <c:pt idx="1742">
                  <c:v>All Others</c:v>
                </c:pt>
                <c:pt idx="1743">
                  <c:v>All Others</c:v>
                </c:pt>
                <c:pt idx="1744">
                  <c:v>All Others</c:v>
                </c:pt>
                <c:pt idx="1745">
                  <c:v>Private Lab</c:v>
                </c:pt>
                <c:pt idx="1746">
                  <c:v>All Others</c:v>
                </c:pt>
                <c:pt idx="1747">
                  <c:v>All Others</c:v>
                </c:pt>
                <c:pt idx="1748">
                  <c:v>All Others</c:v>
                </c:pt>
                <c:pt idx="1749">
                  <c:v>All Others</c:v>
                </c:pt>
                <c:pt idx="1750">
                  <c:v>All Others</c:v>
                </c:pt>
                <c:pt idx="1751">
                  <c:v>All Others</c:v>
                </c:pt>
                <c:pt idx="1752">
                  <c:v>All Others</c:v>
                </c:pt>
                <c:pt idx="1753">
                  <c:v>All Others</c:v>
                </c:pt>
                <c:pt idx="1754">
                  <c:v>All Others</c:v>
                </c:pt>
                <c:pt idx="1755">
                  <c:v>Eurial Autr</c:v>
                </c:pt>
                <c:pt idx="1756">
                  <c:v>All Others</c:v>
                </c:pt>
                <c:pt idx="1757">
                  <c:v>All Others</c:v>
                </c:pt>
                <c:pt idx="1758">
                  <c:v>All Others</c:v>
                </c:pt>
                <c:pt idx="1759">
                  <c:v>All Others</c:v>
                </c:pt>
                <c:pt idx="1760">
                  <c:v>All Others</c:v>
                </c:pt>
                <c:pt idx="1761">
                  <c:v>Lactalis: A</c:v>
                </c:pt>
                <c:pt idx="1762">
                  <c:v>All Others</c:v>
                </c:pt>
                <c:pt idx="1763">
                  <c:v>All Others</c:v>
                </c:pt>
                <c:pt idx="1764">
                  <c:v>All Others</c:v>
                </c:pt>
                <c:pt idx="1765">
                  <c:v>All Others</c:v>
                </c:pt>
                <c:pt idx="1766">
                  <c:v>All Others</c:v>
                </c:pt>
                <c:pt idx="1767">
                  <c:v>All Others</c:v>
                </c:pt>
                <c:pt idx="1768">
                  <c:v>All Others</c:v>
                </c:pt>
                <c:pt idx="1769">
                  <c:v>All Others</c:v>
                </c:pt>
                <c:pt idx="1770">
                  <c:v>La Belle Et</c:v>
                </c:pt>
                <c:pt idx="1771">
                  <c:v>All Others</c:v>
                </c:pt>
                <c:pt idx="1772">
                  <c:v>All Others</c:v>
                </c:pt>
                <c:pt idx="1773">
                  <c:v>All Others</c:v>
                </c:pt>
                <c:pt idx="1774">
                  <c:v>All Others</c:v>
                </c:pt>
                <c:pt idx="1775">
                  <c:v>All Others</c:v>
                </c:pt>
                <c:pt idx="1776">
                  <c:v>All Others</c:v>
                </c:pt>
                <c:pt idx="1777">
                  <c:v>All Others</c:v>
                </c:pt>
                <c:pt idx="1778">
                  <c:v>Soignon</c:v>
                </c:pt>
                <c:pt idx="1779">
                  <c:v>All Others</c:v>
                </c:pt>
                <c:pt idx="1780">
                  <c:v>All Others</c:v>
                </c:pt>
                <c:pt idx="1781">
                  <c:v>All Others</c:v>
                </c:pt>
                <c:pt idx="1782">
                  <c:v>All Others</c:v>
                </c:pt>
                <c:pt idx="1783">
                  <c:v>Private Lab</c:v>
                </c:pt>
                <c:pt idx="1784">
                  <c:v>All Others</c:v>
                </c:pt>
                <c:pt idx="1785">
                  <c:v>All Others</c:v>
                </c:pt>
                <c:pt idx="1786">
                  <c:v>All Others</c:v>
                </c:pt>
                <c:pt idx="1787">
                  <c:v>All Others</c:v>
                </c:pt>
                <c:pt idx="1788">
                  <c:v>All Others</c:v>
                </c:pt>
                <c:pt idx="1789">
                  <c:v>Eurial Autr</c:v>
                </c:pt>
                <c:pt idx="1790">
                  <c:v>All Others</c:v>
                </c:pt>
                <c:pt idx="1791">
                  <c:v>All Others</c:v>
                </c:pt>
                <c:pt idx="1792">
                  <c:v>All Others</c:v>
                </c:pt>
                <c:pt idx="1793">
                  <c:v>All Others</c:v>
                </c:pt>
                <c:pt idx="1794">
                  <c:v>All Others</c:v>
                </c:pt>
                <c:pt idx="1795">
                  <c:v>Galbani</c:v>
                </c:pt>
                <c:pt idx="1796">
                  <c:v>Lactalis: A</c:v>
                </c:pt>
                <c:pt idx="1797">
                  <c:v>All Others</c:v>
                </c:pt>
                <c:pt idx="1798">
                  <c:v>All Others</c:v>
                </c:pt>
                <c:pt idx="1799">
                  <c:v>All Others</c:v>
                </c:pt>
                <c:pt idx="1800">
                  <c:v>All Others</c:v>
                </c:pt>
                <c:pt idx="1801">
                  <c:v>All Others</c:v>
                </c:pt>
                <c:pt idx="1802">
                  <c:v>Le Saint Am</c:v>
                </c:pt>
                <c:pt idx="1803">
                  <c:v>All Others</c:v>
                </c:pt>
                <c:pt idx="1804">
                  <c:v>Nurishh</c:v>
                </c:pt>
                <c:pt idx="1805">
                  <c:v>Savencia: A</c:v>
                </c:pt>
                <c:pt idx="1806">
                  <c:v>Eurial Autr</c:v>
                </c:pt>
                <c:pt idx="1807">
                  <c:v>All Others</c:v>
                </c:pt>
                <c:pt idx="1808">
                  <c:v>All Others</c:v>
                </c:pt>
                <c:pt idx="1809">
                  <c:v>All Others</c:v>
                </c:pt>
                <c:pt idx="1810">
                  <c:v>All Others</c:v>
                </c:pt>
                <c:pt idx="1811">
                  <c:v>All Others</c:v>
                </c:pt>
                <c:pt idx="1812">
                  <c:v>All Others</c:v>
                </c:pt>
                <c:pt idx="1813">
                  <c:v>Private Lab</c:v>
                </c:pt>
                <c:pt idx="1814">
                  <c:v>Private Lab</c:v>
                </c:pt>
                <c:pt idx="1815">
                  <c:v>All Others</c:v>
                </c:pt>
                <c:pt idx="1816">
                  <c:v>All Others</c:v>
                </c:pt>
                <c:pt idx="1817">
                  <c:v>All Others</c:v>
                </c:pt>
                <c:pt idx="1818">
                  <c:v>Le Saint Am</c:v>
                </c:pt>
                <c:pt idx="1819">
                  <c:v>All Others</c:v>
                </c:pt>
                <c:pt idx="1820">
                  <c:v>All Others</c:v>
                </c:pt>
                <c:pt idx="1821">
                  <c:v>All Others</c:v>
                </c:pt>
                <c:pt idx="1822">
                  <c:v>All Others</c:v>
                </c:pt>
                <c:pt idx="1823">
                  <c:v>All Others</c:v>
                </c:pt>
                <c:pt idx="1824">
                  <c:v>Societe</c:v>
                </c:pt>
                <c:pt idx="1825">
                  <c:v>All Others</c:v>
                </c:pt>
                <c:pt idx="1826">
                  <c:v>All Others</c:v>
                </c:pt>
                <c:pt idx="1827">
                  <c:v>All Others</c:v>
                </c:pt>
                <c:pt idx="1828">
                  <c:v>All Others</c:v>
                </c:pt>
                <c:pt idx="1829">
                  <c:v>Le Saint Am</c:v>
                </c:pt>
                <c:pt idx="1830">
                  <c:v>All Others</c:v>
                </c:pt>
                <c:pt idx="1831">
                  <c:v>Juraflore</c:v>
                </c:pt>
                <c:pt idx="1832">
                  <c:v>All Others</c:v>
                </c:pt>
                <c:pt idx="1833">
                  <c:v>All Others</c:v>
                </c:pt>
                <c:pt idx="1834">
                  <c:v>All Others</c:v>
                </c:pt>
                <c:pt idx="1835">
                  <c:v>All Others</c:v>
                </c:pt>
                <c:pt idx="1836">
                  <c:v>All Others</c:v>
                </c:pt>
                <c:pt idx="1837">
                  <c:v>All Others</c:v>
                </c:pt>
                <c:pt idx="1838">
                  <c:v>All Others</c:v>
                </c:pt>
                <c:pt idx="1839">
                  <c:v>Etoile Du V</c:v>
                </c:pt>
                <c:pt idx="1840">
                  <c:v>All Others</c:v>
                </c:pt>
                <c:pt idx="1841">
                  <c:v>All Others</c:v>
                </c:pt>
                <c:pt idx="1842">
                  <c:v>All Others</c:v>
                </c:pt>
                <c:pt idx="1843">
                  <c:v>All Others</c:v>
                </c:pt>
                <c:pt idx="1844">
                  <c:v>All Others</c:v>
                </c:pt>
                <c:pt idx="1845">
                  <c:v>All Others</c:v>
                </c:pt>
                <c:pt idx="1846">
                  <c:v>All Others</c:v>
                </c:pt>
                <c:pt idx="1847">
                  <c:v>All Others</c:v>
                </c:pt>
                <c:pt idx="1848">
                  <c:v>All Others</c:v>
                </c:pt>
                <c:pt idx="1849">
                  <c:v>All Others</c:v>
                </c:pt>
                <c:pt idx="1850">
                  <c:v>All Others</c:v>
                </c:pt>
                <c:pt idx="1851">
                  <c:v>All Others</c:v>
                </c:pt>
                <c:pt idx="1852">
                  <c:v>All Others</c:v>
                </c:pt>
                <c:pt idx="1853">
                  <c:v>All Others</c:v>
                </c:pt>
                <c:pt idx="1854">
                  <c:v>All Others</c:v>
                </c:pt>
                <c:pt idx="1855">
                  <c:v>All Others</c:v>
                </c:pt>
                <c:pt idx="1856">
                  <c:v>All Others</c:v>
                </c:pt>
                <c:pt idx="1857">
                  <c:v>All Others</c:v>
                </c:pt>
                <c:pt idx="1858">
                  <c:v>All Others</c:v>
                </c:pt>
                <c:pt idx="1859">
                  <c:v>All Others</c:v>
                </c:pt>
                <c:pt idx="1860">
                  <c:v>All Others</c:v>
                </c:pt>
                <c:pt idx="1861">
                  <c:v>All Others</c:v>
                </c:pt>
                <c:pt idx="1862">
                  <c:v>All Others</c:v>
                </c:pt>
                <c:pt idx="1863">
                  <c:v>All Others</c:v>
                </c:pt>
                <c:pt idx="1864">
                  <c:v>All Others</c:v>
                </c:pt>
                <c:pt idx="1865">
                  <c:v>All Others</c:v>
                </c:pt>
                <c:pt idx="1866">
                  <c:v>Fol Epi</c:v>
                </c:pt>
                <c:pt idx="1867">
                  <c:v>Triballat R</c:v>
                </c:pt>
                <c:pt idx="1868">
                  <c:v>All Others</c:v>
                </c:pt>
                <c:pt idx="1869">
                  <c:v>All Others</c:v>
                </c:pt>
                <c:pt idx="1870">
                  <c:v>Private Lab</c:v>
                </c:pt>
                <c:pt idx="1871">
                  <c:v>Violife</c:v>
                </c:pt>
                <c:pt idx="1872">
                  <c:v>All Others</c:v>
                </c:pt>
                <c:pt idx="1873">
                  <c:v>Apericube</c:v>
                </c:pt>
                <c:pt idx="1874">
                  <c:v>All Others</c:v>
                </c:pt>
                <c:pt idx="1875">
                  <c:v>All Others</c:v>
                </c:pt>
                <c:pt idx="1876">
                  <c:v>All Others</c:v>
                </c:pt>
                <c:pt idx="1877">
                  <c:v>All Others</c:v>
                </c:pt>
                <c:pt idx="1878">
                  <c:v>All Others</c:v>
                </c:pt>
                <c:pt idx="1879">
                  <c:v>All Others</c:v>
                </c:pt>
                <c:pt idx="1880">
                  <c:v>All Others</c:v>
                </c:pt>
                <c:pt idx="1881">
                  <c:v>All Others</c:v>
                </c:pt>
                <c:pt idx="1882">
                  <c:v>Islos</c:v>
                </c:pt>
                <c:pt idx="1883">
                  <c:v>All Others</c:v>
                </c:pt>
                <c:pt idx="1884">
                  <c:v>All Others</c:v>
                </c:pt>
                <c:pt idx="1885">
                  <c:v>All Others</c:v>
                </c:pt>
                <c:pt idx="1886">
                  <c:v>President</c:v>
                </c:pt>
                <c:pt idx="1887">
                  <c:v>All Others</c:v>
                </c:pt>
                <c:pt idx="1888">
                  <c:v>All Others</c:v>
                </c:pt>
                <c:pt idx="1889">
                  <c:v>All Others</c:v>
                </c:pt>
                <c:pt idx="1890">
                  <c:v>All Others</c:v>
                </c:pt>
                <c:pt idx="1891">
                  <c:v>All Others</c:v>
                </c:pt>
                <c:pt idx="1892">
                  <c:v>All Others</c:v>
                </c:pt>
                <c:pt idx="1893">
                  <c:v>All Others</c:v>
                </c:pt>
                <c:pt idx="1894">
                  <c:v>All Others</c:v>
                </c:pt>
                <c:pt idx="1895">
                  <c:v>All Others</c:v>
                </c:pt>
                <c:pt idx="1896">
                  <c:v>All Others</c:v>
                </c:pt>
                <c:pt idx="1897">
                  <c:v>All Others</c:v>
                </c:pt>
                <c:pt idx="1898">
                  <c:v>All Others</c:v>
                </c:pt>
                <c:pt idx="1899">
                  <c:v>All Others</c:v>
                </c:pt>
                <c:pt idx="1900">
                  <c:v>All Others</c:v>
                </c:pt>
                <c:pt idx="1901">
                  <c:v>All Others</c:v>
                </c:pt>
                <c:pt idx="1902">
                  <c:v>All Others</c:v>
                </c:pt>
                <c:pt idx="1903">
                  <c:v>All Others</c:v>
                </c:pt>
                <c:pt idx="1904">
                  <c:v>All Others</c:v>
                </c:pt>
                <c:pt idx="1905">
                  <c:v>All Others</c:v>
                </c:pt>
                <c:pt idx="1906">
                  <c:v>All Others</c:v>
                </c:pt>
                <c:pt idx="1907">
                  <c:v>All Others</c:v>
                </c:pt>
                <c:pt idx="1908">
                  <c:v>All Others</c:v>
                </c:pt>
                <c:pt idx="1909">
                  <c:v>All Others</c:v>
                </c:pt>
                <c:pt idx="1910">
                  <c:v>All Others</c:v>
                </c:pt>
                <c:pt idx="1911">
                  <c:v>All Others</c:v>
                </c:pt>
                <c:pt idx="1912">
                  <c:v>All Others</c:v>
                </c:pt>
                <c:pt idx="1913">
                  <c:v>All Others</c:v>
                </c:pt>
                <c:pt idx="1914">
                  <c:v>Richesmonts</c:v>
                </c:pt>
                <c:pt idx="1915">
                  <c:v>All Others</c:v>
                </c:pt>
                <c:pt idx="1916">
                  <c:v>All Others</c:v>
                </c:pt>
                <c:pt idx="1917">
                  <c:v>All Others</c:v>
                </c:pt>
                <c:pt idx="1918">
                  <c:v>All Others</c:v>
                </c:pt>
                <c:pt idx="1919">
                  <c:v>All Others</c:v>
                </c:pt>
                <c:pt idx="1920">
                  <c:v>All Others</c:v>
                </c:pt>
                <c:pt idx="1921">
                  <c:v>All Others</c:v>
                </c:pt>
                <c:pt idx="1922">
                  <c:v>All Others</c:v>
                </c:pt>
                <c:pt idx="1923">
                  <c:v>All Others</c:v>
                </c:pt>
                <c:pt idx="1924">
                  <c:v>All Others</c:v>
                </c:pt>
                <c:pt idx="1925">
                  <c:v>All Others</c:v>
                </c:pt>
                <c:pt idx="1926">
                  <c:v>All Others</c:v>
                </c:pt>
                <c:pt idx="1927">
                  <c:v>All Others</c:v>
                </c:pt>
                <c:pt idx="1928">
                  <c:v>All Others</c:v>
                </c:pt>
                <c:pt idx="1929">
                  <c:v>Private Lab</c:v>
                </c:pt>
                <c:pt idx="1930">
                  <c:v>Pave D'Affi</c:v>
                </c:pt>
                <c:pt idx="1931">
                  <c:v>All Others</c:v>
                </c:pt>
                <c:pt idx="1932">
                  <c:v>All Others</c:v>
                </c:pt>
                <c:pt idx="1933">
                  <c:v>All Others</c:v>
                </c:pt>
                <c:pt idx="1934">
                  <c:v>All Others</c:v>
                </c:pt>
                <c:pt idx="1935">
                  <c:v>All Others</c:v>
                </c:pt>
                <c:pt idx="1936">
                  <c:v>All Others</c:v>
                </c:pt>
                <c:pt idx="1937">
                  <c:v>Boursin</c:v>
                </c:pt>
                <c:pt idx="1938">
                  <c:v>All Others</c:v>
                </c:pt>
                <c:pt idx="1939">
                  <c:v>All Others</c:v>
                </c:pt>
                <c:pt idx="1940">
                  <c:v>All Others</c:v>
                </c:pt>
                <c:pt idx="1941">
                  <c:v>All Others</c:v>
                </c:pt>
                <c:pt idx="1942">
                  <c:v>All Others</c:v>
                </c:pt>
                <c:pt idx="1943">
                  <c:v>All Others</c:v>
                </c:pt>
                <c:pt idx="1944">
                  <c:v>All Others</c:v>
                </c:pt>
                <c:pt idx="1945">
                  <c:v>All Others</c:v>
                </c:pt>
                <c:pt idx="1946">
                  <c:v>All Others</c:v>
                </c:pt>
                <c:pt idx="1947">
                  <c:v>All Others</c:v>
                </c:pt>
                <c:pt idx="1948">
                  <c:v>All Others</c:v>
                </c:pt>
                <c:pt idx="1949">
                  <c:v>All Others</c:v>
                </c:pt>
                <c:pt idx="1950">
                  <c:v>Private Lab</c:v>
                </c:pt>
                <c:pt idx="1951">
                  <c:v>Eurial Autr</c:v>
                </c:pt>
                <c:pt idx="1952">
                  <c:v>All Others</c:v>
                </c:pt>
                <c:pt idx="1953">
                  <c:v>All Others</c:v>
                </c:pt>
                <c:pt idx="1954">
                  <c:v>Caprice Des</c:v>
                </c:pt>
                <c:pt idx="1955">
                  <c:v>Apericube</c:v>
                </c:pt>
                <c:pt idx="1956">
                  <c:v>All Others</c:v>
                </c:pt>
                <c:pt idx="1957">
                  <c:v>All Others</c:v>
                </c:pt>
                <c:pt idx="1958">
                  <c:v>All Others</c:v>
                </c:pt>
                <c:pt idx="1959">
                  <c:v>Private Lab</c:v>
                </c:pt>
                <c:pt idx="1960">
                  <c:v>All Others</c:v>
                </c:pt>
                <c:pt idx="1961">
                  <c:v>All Others</c:v>
                </c:pt>
                <c:pt idx="1962">
                  <c:v>All Others</c:v>
                </c:pt>
                <c:pt idx="1963">
                  <c:v>All Others</c:v>
                </c:pt>
                <c:pt idx="1964">
                  <c:v>All Others</c:v>
                </c:pt>
                <c:pt idx="1965">
                  <c:v>Private Lab</c:v>
                </c:pt>
                <c:pt idx="1966">
                  <c:v>All Others</c:v>
                </c:pt>
                <c:pt idx="1967">
                  <c:v>All Others</c:v>
                </c:pt>
                <c:pt idx="1968">
                  <c:v>All Others</c:v>
                </c:pt>
                <c:pt idx="1969">
                  <c:v>Paysan Bret</c:v>
                </c:pt>
                <c:pt idx="1970">
                  <c:v>Private Lab</c:v>
                </c:pt>
                <c:pt idx="1971">
                  <c:v>All Others</c:v>
                </c:pt>
                <c:pt idx="1972">
                  <c:v>All Others</c:v>
                </c:pt>
                <c:pt idx="1973">
                  <c:v>All Others</c:v>
                </c:pt>
                <c:pt idx="1974">
                  <c:v>All Others</c:v>
                </c:pt>
                <c:pt idx="1975">
                  <c:v>Private Lab</c:v>
                </c:pt>
                <c:pt idx="1976">
                  <c:v>All Others</c:v>
                </c:pt>
                <c:pt idx="1977">
                  <c:v>All Others</c:v>
                </c:pt>
                <c:pt idx="1978">
                  <c:v>Savencia: A</c:v>
                </c:pt>
              </c:strCache>
            </c:strRef>
          </c:cat>
          <c:val>
            <c:numRef>
              <c:f>Sheet1!$B$2:$B$1980</c:f>
              <c:numCache>
                <c:formatCode>General</c:formatCode>
                <c:ptCount val="1979"/>
                <c:pt idx="0">
                  <c:v>1.0</c:v>
                </c:pt>
                <c:pt idx="1">
                  <c:v>0.99</c:v>
                </c:pt>
                <c:pt idx="2">
                  <c:v>1.0</c:v>
                </c:pt>
                <c:pt idx="3">
                  <c:v>0.35</c:v>
                </c:pt>
                <c:pt idx="4">
                  <c:v>1.0</c:v>
                </c:pt>
                <c:pt idx="5">
                  <c:v>1.0</c:v>
                </c:pt>
                <c:pt idx="6">
                  <c:v>1.0</c:v>
                </c:pt>
                <c:pt idx="7">
                  <c:v>1.0</c:v>
                </c:pt>
                <c:pt idx="8">
                  <c:v>0.99</c:v>
                </c:pt>
                <c:pt idx="9">
                  <c:v>1.0</c:v>
                </c:pt>
                <c:pt idx="10">
                  <c:v>1.0</c:v>
                </c:pt>
                <c:pt idx="11">
                  <c:v>0.99</c:v>
                </c:pt>
                <c:pt idx="12">
                  <c:v>1.0</c:v>
                </c:pt>
                <c:pt idx="13">
                  <c:v>1.0</c:v>
                </c:pt>
                <c:pt idx="14">
                  <c:v>1.0</c:v>
                </c:pt>
                <c:pt idx="15">
                  <c:v>1.0</c:v>
                </c:pt>
                <c:pt idx="16">
                  <c:v>1.0</c:v>
                </c:pt>
                <c:pt idx="17">
                  <c:v>1.0</c:v>
                </c:pt>
                <c:pt idx="18">
                  <c:v>0.99</c:v>
                </c:pt>
                <c:pt idx="19">
                  <c:v>1.0</c:v>
                </c:pt>
                <c:pt idx="20">
                  <c:v>1.0</c:v>
                </c:pt>
                <c:pt idx="21">
                  <c:v>0.96</c:v>
                </c:pt>
                <c:pt idx="22">
                  <c:v>1.0</c:v>
                </c:pt>
                <c:pt idx="23">
                  <c:v>1.0</c:v>
                </c:pt>
                <c:pt idx="24">
                  <c:v>0.96</c:v>
                </c:pt>
                <c:pt idx="25">
                  <c:v>0.98</c:v>
                </c:pt>
                <c:pt idx="26">
                  <c:v>1.0</c:v>
                </c:pt>
                <c:pt idx="27">
                  <c:v>1.0</c:v>
                </c:pt>
                <c:pt idx="28">
                  <c:v>0.89</c:v>
                </c:pt>
                <c:pt idx="29">
                  <c:v>0.99</c:v>
                </c:pt>
                <c:pt idx="30">
                  <c:v>0.99</c:v>
                </c:pt>
                <c:pt idx="31">
                  <c:v>0.96</c:v>
                </c:pt>
                <c:pt idx="32">
                  <c:v>0.99</c:v>
                </c:pt>
                <c:pt idx="33">
                  <c:v>1.0</c:v>
                </c:pt>
                <c:pt idx="34">
                  <c:v>0.99</c:v>
                </c:pt>
                <c:pt idx="35">
                  <c:v>0.99</c:v>
                </c:pt>
                <c:pt idx="36">
                  <c:v>0.99</c:v>
                </c:pt>
                <c:pt idx="37">
                  <c:v>0.95</c:v>
                </c:pt>
                <c:pt idx="38">
                  <c:v>0.86</c:v>
                </c:pt>
                <c:pt idx="39">
                  <c:v>1.0</c:v>
                </c:pt>
                <c:pt idx="40">
                  <c:v>0.96</c:v>
                </c:pt>
                <c:pt idx="41">
                  <c:v>0.99</c:v>
                </c:pt>
                <c:pt idx="42">
                  <c:v>0.95</c:v>
                </c:pt>
                <c:pt idx="43">
                  <c:v>0.99</c:v>
                </c:pt>
                <c:pt idx="44">
                  <c:v>0.95</c:v>
                </c:pt>
                <c:pt idx="45">
                  <c:v>1.0</c:v>
                </c:pt>
                <c:pt idx="46">
                  <c:v>0.95</c:v>
                </c:pt>
                <c:pt idx="47">
                  <c:v>0.98</c:v>
                </c:pt>
                <c:pt idx="48">
                  <c:v>0.97</c:v>
                </c:pt>
                <c:pt idx="49">
                  <c:v>0.93</c:v>
                </c:pt>
                <c:pt idx="50">
                  <c:v>1.0</c:v>
                </c:pt>
                <c:pt idx="51">
                  <c:v>1.0</c:v>
                </c:pt>
                <c:pt idx="52">
                  <c:v>0.97</c:v>
                </c:pt>
                <c:pt idx="53">
                  <c:v>1.0</c:v>
                </c:pt>
                <c:pt idx="54">
                  <c:v>0.99</c:v>
                </c:pt>
                <c:pt idx="55">
                  <c:v>0.96</c:v>
                </c:pt>
                <c:pt idx="56">
                  <c:v>1.0</c:v>
                </c:pt>
                <c:pt idx="57">
                  <c:v>1.0</c:v>
                </c:pt>
                <c:pt idx="58">
                  <c:v>0.99</c:v>
                </c:pt>
                <c:pt idx="59">
                  <c:v>0.87</c:v>
                </c:pt>
                <c:pt idx="60">
                  <c:v>0.88</c:v>
                </c:pt>
                <c:pt idx="61">
                  <c:v>0.99</c:v>
                </c:pt>
                <c:pt idx="62">
                  <c:v>0.95</c:v>
                </c:pt>
                <c:pt idx="63">
                  <c:v>0.99</c:v>
                </c:pt>
                <c:pt idx="64">
                  <c:v>1.0</c:v>
                </c:pt>
                <c:pt idx="65">
                  <c:v>0.95</c:v>
                </c:pt>
                <c:pt idx="66">
                  <c:v>0.99</c:v>
                </c:pt>
                <c:pt idx="67">
                  <c:v>1.0</c:v>
                </c:pt>
                <c:pt idx="68">
                  <c:v>0.97</c:v>
                </c:pt>
                <c:pt idx="69">
                  <c:v>0.98</c:v>
                </c:pt>
                <c:pt idx="70">
                  <c:v>0.99</c:v>
                </c:pt>
                <c:pt idx="71">
                  <c:v>0.93</c:v>
                </c:pt>
                <c:pt idx="72">
                  <c:v>0.97</c:v>
                </c:pt>
                <c:pt idx="73">
                  <c:v>0.99</c:v>
                </c:pt>
                <c:pt idx="74">
                  <c:v>1.0</c:v>
                </c:pt>
                <c:pt idx="75">
                  <c:v>0.99</c:v>
                </c:pt>
                <c:pt idx="76">
                  <c:v>0.95</c:v>
                </c:pt>
                <c:pt idx="77">
                  <c:v>0.98</c:v>
                </c:pt>
                <c:pt idx="78">
                  <c:v>0.98</c:v>
                </c:pt>
                <c:pt idx="79">
                  <c:v>0.95</c:v>
                </c:pt>
                <c:pt idx="80">
                  <c:v>0.9</c:v>
                </c:pt>
                <c:pt idx="81">
                  <c:v>0.98</c:v>
                </c:pt>
                <c:pt idx="82">
                  <c:v>1.0</c:v>
                </c:pt>
                <c:pt idx="83">
                  <c:v>0.99</c:v>
                </c:pt>
                <c:pt idx="84">
                  <c:v>1.0</c:v>
                </c:pt>
                <c:pt idx="85">
                  <c:v>1.0</c:v>
                </c:pt>
                <c:pt idx="86">
                  <c:v>0.97</c:v>
                </c:pt>
                <c:pt idx="87">
                  <c:v>0.98</c:v>
                </c:pt>
                <c:pt idx="88">
                  <c:v>0.94</c:v>
                </c:pt>
                <c:pt idx="89">
                  <c:v>0.89</c:v>
                </c:pt>
                <c:pt idx="90">
                  <c:v>0.98</c:v>
                </c:pt>
                <c:pt idx="91">
                  <c:v>0.97</c:v>
                </c:pt>
                <c:pt idx="92">
                  <c:v>0.97</c:v>
                </c:pt>
                <c:pt idx="93">
                  <c:v>1.0</c:v>
                </c:pt>
                <c:pt idx="94">
                  <c:v>0.98</c:v>
                </c:pt>
                <c:pt idx="95">
                  <c:v>0.99</c:v>
                </c:pt>
                <c:pt idx="96">
                  <c:v>1.0</c:v>
                </c:pt>
                <c:pt idx="97">
                  <c:v>0.99</c:v>
                </c:pt>
                <c:pt idx="98">
                  <c:v>0.84</c:v>
                </c:pt>
                <c:pt idx="99">
                  <c:v>0.97</c:v>
                </c:pt>
                <c:pt idx="100">
                  <c:v>0.99</c:v>
                </c:pt>
                <c:pt idx="101">
                  <c:v>0.98</c:v>
                </c:pt>
                <c:pt idx="102">
                  <c:v>0.97</c:v>
                </c:pt>
                <c:pt idx="103">
                  <c:v>0.9</c:v>
                </c:pt>
                <c:pt idx="104">
                  <c:v>0.98</c:v>
                </c:pt>
                <c:pt idx="105">
                  <c:v>0.95</c:v>
                </c:pt>
                <c:pt idx="106">
                  <c:v>0.91</c:v>
                </c:pt>
                <c:pt idx="107">
                  <c:v>0.98</c:v>
                </c:pt>
                <c:pt idx="108">
                  <c:v>0.95</c:v>
                </c:pt>
                <c:pt idx="109">
                  <c:v>0.91</c:v>
                </c:pt>
                <c:pt idx="110">
                  <c:v>1.0</c:v>
                </c:pt>
                <c:pt idx="111">
                  <c:v>0.88</c:v>
                </c:pt>
                <c:pt idx="112">
                  <c:v>0.99</c:v>
                </c:pt>
                <c:pt idx="113">
                  <c:v>0.93</c:v>
                </c:pt>
                <c:pt idx="114">
                  <c:v>0.97</c:v>
                </c:pt>
                <c:pt idx="115">
                  <c:v>0.94</c:v>
                </c:pt>
                <c:pt idx="116">
                  <c:v>0.96</c:v>
                </c:pt>
                <c:pt idx="117">
                  <c:v>0.91</c:v>
                </c:pt>
                <c:pt idx="118">
                  <c:v>0.78</c:v>
                </c:pt>
                <c:pt idx="119">
                  <c:v>1.0</c:v>
                </c:pt>
                <c:pt idx="120">
                  <c:v>0.83</c:v>
                </c:pt>
                <c:pt idx="121">
                  <c:v>0.99</c:v>
                </c:pt>
                <c:pt idx="122">
                  <c:v>0.83</c:v>
                </c:pt>
                <c:pt idx="123">
                  <c:v>0.96</c:v>
                </c:pt>
                <c:pt idx="124">
                  <c:v>0.94</c:v>
                </c:pt>
                <c:pt idx="125">
                  <c:v>1.0</c:v>
                </c:pt>
                <c:pt idx="126">
                  <c:v>0.96</c:v>
                </c:pt>
                <c:pt idx="127">
                  <c:v>0.94</c:v>
                </c:pt>
                <c:pt idx="128">
                  <c:v>1.0</c:v>
                </c:pt>
                <c:pt idx="129">
                  <c:v>0.98</c:v>
                </c:pt>
                <c:pt idx="130">
                  <c:v>0.93</c:v>
                </c:pt>
                <c:pt idx="131">
                  <c:v>0.97</c:v>
                </c:pt>
                <c:pt idx="132">
                  <c:v>0.85</c:v>
                </c:pt>
                <c:pt idx="133">
                  <c:v>0.91</c:v>
                </c:pt>
                <c:pt idx="134">
                  <c:v>0.92</c:v>
                </c:pt>
                <c:pt idx="135">
                  <c:v>0.99</c:v>
                </c:pt>
                <c:pt idx="136">
                  <c:v>1.0</c:v>
                </c:pt>
                <c:pt idx="137">
                  <c:v>0.92</c:v>
                </c:pt>
                <c:pt idx="138">
                  <c:v>0.99</c:v>
                </c:pt>
                <c:pt idx="139">
                  <c:v>0.99</c:v>
                </c:pt>
                <c:pt idx="140">
                  <c:v>0.89</c:v>
                </c:pt>
                <c:pt idx="141">
                  <c:v>0.89</c:v>
                </c:pt>
                <c:pt idx="142">
                  <c:v>0.94</c:v>
                </c:pt>
                <c:pt idx="143">
                  <c:v>0.93</c:v>
                </c:pt>
                <c:pt idx="144">
                  <c:v>0.99</c:v>
                </c:pt>
                <c:pt idx="145">
                  <c:v>0.96</c:v>
                </c:pt>
                <c:pt idx="146">
                  <c:v>0.97</c:v>
                </c:pt>
                <c:pt idx="147">
                  <c:v>0.83</c:v>
                </c:pt>
                <c:pt idx="148">
                  <c:v>0.99</c:v>
                </c:pt>
                <c:pt idx="149">
                  <c:v>1.0</c:v>
                </c:pt>
                <c:pt idx="150">
                  <c:v>0.97</c:v>
                </c:pt>
                <c:pt idx="151">
                  <c:v>0.95</c:v>
                </c:pt>
                <c:pt idx="152">
                  <c:v>0.91</c:v>
                </c:pt>
                <c:pt idx="153">
                  <c:v>0.95</c:v>
                </c:pt>
                <c:pt idx="154">
                  <c:v>0.93</c:v>
                </c:pt>
                <c:pt idx="155">
                  <c:v>0.88</c:v>
                </c:pt>
                <c:pt idx="156">
                  <c:v>0.92</c:v>
                </c:pt>
                <c:pt idx="157">
                  <c:v>0.73</c:v>
                </c:pt>
                <c:pt idx="158">
                  <c:v>0.99</c:v>
                </c:pt>
                <c:pt idx="159">
                  <c:v>0.88</c:v>
                </c:pt>
                <c:pt idx="160">
                  <c:v>0.99</c:v>
                </c:pt>
                <c:pt idx="161">
                  <c:v>0.98</c:v>
                </c:pt>
                <c:pt idx="162">
                  <c:v>0.95</c:v>
                </c:pt>
                <c:pt idx="163">
                  <c:v>0.95</c:v>
                </c:pt>
                <c:pt idx="164">
                  <c:v>1.0</c:v>
                </c:pt>
                <c:pt idx="165">
                  <c:v>0.96</c:v>
                </c:pt>
                <c:pt idx="166">
                  <c:v>0.96</c:v>
                </c:pt>
                <c:pt idx="167">
                  <c:v>0.99</c:v>
                </c:pt>
                <c:pt idx="168">
                  <c:v>0.92</c:v>
                </c:pt>
                <c:pt idx="169">
                  <c:v>0.86</c:v>
                </c:pt>
                <c:pt idx="170">
                  <c:v>0.91</c:v>
                </c:pt>
                <c:pt idx="171">
                  <c:v>0.91</c:v>
                </c:pt>
                <c:pt idx="172">
                  <c:v>0.82</c:v>
                </c:pt>
                <c:pt idx="173">
                  <c:v>0.67</c:v>
                </c:pt>
                <c:pt idx="174">
                  <c:v>0.96</c:v>
                </c:pt>
                <c:pt idx="175">
                  <c:v>0.93</c:v>
                </c:pt>
                <c:pt idx="176">
                  <c:v>1.0</c:v>
                </c:pt>
                <c:pt idx="177">
                  <c:v>0.83</c:v>
                </c:pt>
                <c:pt idx="178">
                  <c:v>0.93</c:v>
                </c:pt>
                <c:pt idx="179">
                  <c:v>0.96</c:v>
                </c:pt>
                <c:pt idx="180">
                  <c:v>0.87</c:v>
                </c:pt>
                <c:pt idx="181">
                  <c:v>0.66</c:v>
                </c:pt>
                <c:pt idx="182">
                  <c:v>0.98</c:v>
                </c:pt>
                <c:pt idx="183">
                  <c:v>1.0</c:v>
                </c:pt>
                <c:pt idx="184">
                  <c:v>0.94</c:v>
                </c:pt>
                <c:pt idx="185">
                  <c:v>0.75</c:v>
                </c:pt>
                <c:pt idx="186">
                  <c:v>0.99</c:v>
                </c:pt>
                <c:pt idx="187">
                  <c:v>0.97</c:v>
                </c:pt>
                <c:pt idx="188">
                  <c:v>1.0</c:v>
                </c:pt>
                <c:pt idx="189">
                  <c:v>0.87</c:v>
                </c:pt>
                <c:pt idx="190">
                  <c:v>0.92</c:v>
                </c:pt>
                <c:pt idx="191">
                  <c:v>0.88</c:v>
                </c:pt>
                <c:pt idx="192">
                  <c:v>0.91</c:v>
                </c:pt>
                <c:pt idx="193">
                  <c:v>0.98</c:v>
                </c:pt>
                <c:pt idx="194">
                  <c:v>0.96</c:v>
                </c:pt>
                <c:pt idx="195">
                  <c:v>0.99</c:v>
                </c:pt>
                <c:pt idx="196">
                  <c:v>0.93</c:v>
                </c:pt>
                <c:pt idx="197">
                  <c:v>0.83</c:v>
                </c:pt>
                <c:pt idx="198">
                  <c:v>0.72</c:v>
                </c:pt>
                <c:pt idx="199">
                  <c:v>0.9</c:v>
                </c:pt>
                <c:pt idx="200">
                  <c:v>0.96</c:v>
                </c:pt>
                <c:pt idx="201">
                  <c:v>0.85</c:v>
                </c:pt>
                <c:pt idx="202">
                  <c:v>1.0</c:v>
                </c:pt>
                <c:pt idx="203">
                  <c:v>0.99</c:v>
                </c:pt>
                <c:pt idx="204">
                  <c:v>0.98</c:v>
                </c:pt>
                <c:pt idx="205">
                  <c:v>0.98</c:v>
                </c:pt>
                <c:pt idx="206">
                  <c:v>0.84</c:v>
                </c:pt>
                <c:pt idx="207">
                  <c:v>0.86</c:v>
                </c:pt>
                <c:pt idx="208">
                  <c:v>0.61</c:v>
                </c:pt>
                <c:pt idx="209">
                  <c:v>0.78</c:v>
                </c:pt>
                <c:pt idx="210">
                  <c:v>0.98</c:v>
                </c:pt>
                <c:pt idx="211">
                  <c:v>0.46</c:v>
                </c:pt>
                <c:pt idx="212">
                  <c:v>0.96</c:v>
                </c:pt>
                <c:pt idx="213">
                  <c:v>0.91</c:v>
                </c:pt>
                <c:pt idx="214">
                  <c:v>0.72</c:v>
                </c:pt>
                <c:pt idx="215">
                  <c:v>0.96</c:v>
                </c:pt>
                <c:pt idx="216">
                  <c:v>0.76</c:v>
                </c:pt>
                <c:pt idx="217">
                  <c:v>0.96</c:v>
                </c:pt>
                <c:pt idx="218">
                  <c:v>0.94</c:v>
                </c:pt>
                <c:pt idx="219">
                  <c:v>0.99</c:v>
                </c:pt>
                <c:pt idx="220">
                  <c:v>0.94</c:v>
                </c:pt>
                <c:pt idx="221">
                  <c:v>0.79</c:v>
                </c:pt>
                <c:pt idx="222">
                  <c:v>0.68</c:v>
                </c:pt>
                <c:pt idx="223">
                  <c:v>0.89</c:v>
                </c:pt>
                <c:pt idx="224">
                  <c:v>0.69</c:v>
                </c:pt>
                <c:pt idx="225">
                  <c:v>0.91</c:v>
                </c:pt>
                <c:pt idx="226">
                  <c:v>0.77</c:v>
                </c:pt>
                <c:pt idx="227">
                  <c:v>0.87</c:v>
                </c:pt>
                <c:pt idx="228">
                  <c:v>0.94</c:v>
                </c:pt>
                <c:pt idx="229">
                  <c:v>0.97</c:v>
                </c:pt>
                <c:pt idx="230">
                  <c:v>0.95</c:v>
                </c:pt>
                <c:pt idx="231">
                  <c:v>0.86</c:v>
                </c:pt>
                <c:pt idx="232">
                  <c:v>0.78</c:v>
                </c:pt>
                <c:pt idx="233">
                  <c:v>0.67</c:v>
                </c:pt>
                <c:pt idx="234">
                  <c:v>0.73</c:v>
                </c:pt>
                <c:pt idx="235">
                  <c:v>0.75</c:v>
                </c:pt>
                <c:pt idx="236">
                  <c:v>1.0</c:v>
                </c:pt>
                <c:pt idx="237">
                  <c:v>0.71</c:v>
                </c:pt>
                <c:pt idx="238">
                  <c:v>0.81</c:v>
                </c:pt>
                <c:pt idx="239">
                  <c:v>0.72</c:v>
                </c:pt>
                <c:pt idx="240">
                  <c:v>0.94</c:v>
                </c:pt>
                <c:pt idx="241">
                  <c:v>0.77</c:v>
                </c:pt>
                <c:pt idx="242">
                  <c:v>0.97</c:v>
                </c:pt>
                <c:pt idx="243">
                  <c:v>0.94</c:v>
                </c:pt>
                <c:pt idx="244">
                  <c:v>0.82</c:v>
                </c:pt>
                <c:pt idx="245">
                  <c:v>0.79</c:v>
                </c:pt>
                <c:pt idx="246">
                  <c:v>0.99</c:v>
                </c:pt>
                <c:pt idx="247">
                  <c:v>0.92</c:v>
                </c:pt>
                <c:pt idx="248">
                  <c:v>0.84</c:v>
                </c:pt>
                <c:pt idx="249">
                  <c:v>0.92</c:v>
                </c:pt>
                <c:pt idx="250">
                  <c:v>0.89</c:v>
                </c:pt>
                <c:pt idx="251">
                  <c:v>0.82</c:v>
                </c:pt>
                <c:pt idx="252">
                  <c:v>0.95</c:v>
                </c:pt>
                <c:pt idx="253">
                  <c:v>0.75</c:v>
                </c:pt>
                <c:pt idx="254">
                  <c:v>0.71</c:v>
                </c:pt>
                <c:pt idx="255">
                  <c:v>0.57</c:v>
                </c:pt>
                <c:pt idx="256">
                  <c:v>0.44</c:v>
                </c:pt>
                <c:pt idx="257">
                  <c:v>0.44</c:v>
                </c:pt>
                <c:pt idx="258">
                  <c:v>0.89</c:v>
                </c:pt>
                <c:pt idx="259">
                  <c:v>0.63</c:v>
                </c:pt>
                <c:pt idx="260">
                  <c:v>0.97</c:v>
                </c:pt>
                <c:pt idx="261">
                  <c:v>0.91</c:v>
                </c:pt>
                <c:pt idx="262">
                  <c:v>0.78</c:v>
                </c:pt>
                <c:pt idx="263">
                  <c:v>0.94</c:v>
                </c:pt>
                <c:pt idx="264">
                  <c:v>0.83</c:v>
                </c:pt>
                <c:pt idx="265">
                  <c:v>0.96</c:v>
                </c:pt>
                <c:pt idx="266">
                  <c:v>0.71</c:v>
                </c:pt>
                <c:pt idx="267">
                  <c:v>0.9</c:v>
                </c:pt>
                <c:pt idx="268">
                  <c:v>0.85</c:v>
                </c:pt>
                <c:pt idx="269">
                  <c:v>0.87</c:v>
                </c:pt>
                <c:pt idx="270">
                  <c:v>0.81</c:v>
                </c:pt>
                <c:pt idx="271">
                  <c:v>0.75</c:v>
                </c:pt>
                <c:pt idx="272">
                  <c:v>0.93</c:v>
                </c:pt>
                <c:pt idx="273">
                  <c:v>0.85</c:v>
                </c:pt>
                <c:pt idx="274">
                  <c:v>0.91</c:v>
                </c:pt>
                <c:pt idx="275">
                  <c:v>0.65</c:v>
                </c:pt>
                <c:pt idx="276">
                  <c:v>0.66</c:v>
                </c:pt>
                <c:pt idx="277">
                  <c:v>0.75</c:v>
                </c:pt>
                <c:pt idx="278">
                  <c:v>0.75</c:v>
                </c:pt>
                <c:pt idx="279">
                  <c:v>0.52</c:v>
                </c:pt>
                <c:pt idx="280">
                  <c:v>0.6</c:v>
                </c:pt>
                <c:pt idx="281">
                  <c:v>0.74</c:v>
                </c:pt>
                <c:pt idx="282">
                  <c:v>0.6</c:v>
                </c:pt>
                <c:pt idx="283">
                  <c:v>0.86</c:v>
                </c:pt>
                <c:pt idx="284">
                  <c:v>0.97</c:v>
                </c:pt>
                <c:pt idx="285">
                  <c:v>0.96</c:v>
                </c:pt>
                <c:pt idx="286">
                  <c:v>0.99</c:v>
                </c:pt>
                <c:pt idx="287">
                  <c:v>0.99</c:v>
                </c:pt>
                <c:pt idx="288">
                  <c:v>0.75</c:v>
                </c:pt>
                <c:pt idx="289">
                  <c:v>0.94</c:v>
                </c:pt>
                <c:pt idx="290">
                  <c:v>0.27</c:v>
                </c:pt>
                <c:pt idx="291">
                  <c:v>0.97</c:v>
                </c:pt>
                <c:pt idx="292">
                  <c:v>0.58</c:v>
                </c:pt>
                <c:pt idx="293">
                  <c:v>0.77</c:v>
                </c:pt>
                <c:pt idx="294">
                  <c:v>0.71</c:v>
                </c:pt>
                <c:pt idx="295">
                  <c:v>0.71</c:v>
                </c:pt>
                <c:pt idx="296">
                  <c:v>0.9</c:v>
                </c:pt>
                <c:pt idx="297">
                  <c:v>0.95</c:v>
                </c:pt>
                <c:pt idx="298">
                  <c:v>0.82</c:v>
                </c:pt>
                <c:pt idx="299">
                  <c:v>0.85</c:v>
                </c:pt>
                <c:pt idx="300">
                  <c:v>0.92</c:v>
                </c:pt>
                <c:pt idx="301">
                  <c:v>0.9</c:v>
                </c:pt>
                <c:pt idx="302">
                  <c:v>0.67</c:v>
                </c:pt>
                <c:pt idx="303">
                  <c:v>0.85</c:v>
                </c:pt>
                <c:pt idx="304">
                  <c:v>0.76</c:v>
                </c:pt>
                <c:pt idx="305">
                  <c:v>0.92</c:v>
                </c:pt>
                <c:pt idx="306">
                  <c:v>0.96</c:v>
                </c:pt>
                <c:pt idx="307">
                  <c:v>0.84</c:v>
                </c:pt>
                <c:pt idx="308">
                  <c:v>0.97</c:v>
                </c:pt>
                <c:pt idx="309">
                  <c:v>0.55</c:v>
                </c:pt>
                <c:pt idx="310">
                  <c:v>0.96</c:v>
                </c:pt>
                <c:pt idx="311">
                  <c:v>0.68</c:v>
                </c:pt>
                <c:pt idx="312">
                  <c:v>0.6</c:v>
                </c:pt>
                <c:pt idx="313">
                  <c:v>1.0</c:v>
                </c:pt>
                <c:pt idx="314">
                  <c:v>0.93</c:v>
                </c:pt>
                <c:pt idx="315">
                  <c:v>0.99</c:v>
                </c:pt>
                <c:pt idx="316">
                  <c:v>0.76</c:v>
                </c:pt>
                <c:pt idx="317">
                  <c:v>0.8</c:v>
                </c:pt>
                <c:pt idx="318">
                  <c:v>0.72</c:v>
                </c:pt>
                <c:pt idx="319">
                  <c:v>0.8</c:v>
                </c:pt>
                <c:pt idx="320">
                  <c:v>0.87</c:v>
                </c:pt>
                <c:pt idx="321">
                  <c:v>0.75</c:v>
                </c:pt>
                <c:pt idx="322">
                  <c:v>0.93</c:v>
                </c:pt>
                <c:pt idx="323">
                  <c:v>0.92</c:v>
                </c:pt>
                <c:pt idx="324">
                  <c:v>0.96</c:v>
                </c:pt>
                <c:pt idx="325">
                  <c:v>0.81</c:v>
                </c:pt>
                <c:pt idx="326">
                  <c:v>0.87</c:v>
                </c:pt>
                <c:pt idx="327">
                  <c:v>0.96</c:v>
                </c:pt>
                <c:pt idx="328">
                  <c:v>0.77</c:v>
                </c:pt>
                <c:pt idx="329">
                  <c:v>0.85</c:v>
                </c:pt>
                <c:pt idx="330">
                  <c:v>0.64</c:v>
                </c:pt>
                <c:pt idx="331">
                  <c:v>0.8</c:v>
                </c:pt>
                <c:pt idx="332">
                  <c:v>0.59</c:v>
                </c:pt>
                <c:pt idx="333">
                  <c:v>0.96</c:v>
                </c:pt>
                <c:pt idx="334">
                  <c:v>0.64</c:v>
                </c:pt>
                <c:pt idx="335">
                  <c:v>0.97</c:v>
                </c:pt>
                <c:pt idx="336">
                  <c:v>0.75</c:v>
                </c:pt>
                <c:pt idx="337">
                  <c:v>0.67</c:v>
                </c:pt>
                <c:pt idx="338">
                  <c:v>0.56</c:v>
                </c:pt>
                <c:pt idx="339">
                  <c:v>0.89</c:v>
                </c:pt>
                <c:pt idx="340">
                  <c:v>0.88</c:v>
                </c:pt>
                <c:pt idx="341">
                  <c:v>0.92</c:v>
                </c:pt>
                <c:pt idx="342">
                  <c:v>0.98</c:v>
                </c:pt>
                <c:pt idx="343">
                  <c:v>0.79</c:v>
                </c:pt>
                <c:pt idx="344">
                  <c:v>0.82</c:v>
                </c:pt>
                <c:pt idx="345">
                  <c:v>0.77</c:v>
                </c:pt>
                <c:pt idx="346">
                  <c:v>0.61</c:v>
                </c:pt>
                <c:pt idx="347">
                  <c:v>0.98</c:v>
                </c:pt>
                <c:pt idx="348">
                  <c:v>0.4</c:v>
                </c:pt>
                <c:pt idx="349">
                  <c:v>0.82</c:v>
                </c:pt>
                <c:pt idx="350">
                  <c:v>0.8</c:v>
                </c:pt>
                <c:pt idx="351">
                  <c:v>0.94</c:v>
                </c:pt>
                <c:pt idx="352">
                  <c:v>0.92</c:v>
                </c:pt>
                <c:pt idx="353">
                  <c:v>0.99</c:v>
                </c:pt>
                <c:pt idx="354">
                  <c:v>0.69</c:v>
                </c:pt>
                <c:pt idx="355">
                  <c:v>0.56</c:v>
                </c:pt>
                <c:pt idx="356">
                  <c:v>0.94</c:v>
                </c:pt>
                <c:pt idx="357">
                  <c:v>0.96</c:v>
                </c:pt>
                <c:pt idx="358">
                  <c:v>0.4</c:v>
                </c:pt>
                <c:pt idx="359">
                  <c:v>0.91</c:v>
                </c:pt>
                <c:pt idx="360">
                  <c:v>0.88</c:v>
                </c:pt>
                <c:pt idx="361">
                  <c:v>0.97</c:v>
                </c:pt>
                <c:pt idx="362">
                  <c:v>0.82</c:v>
                </c:pt>
                <c:pt idx="363">
                  <c:v>0.9</c:v>
                </c:pt>
                <c:pt idx="364">
                  <c:v>0.41</c:v>
                </c:pt>
                <c:pt idx="365">
                  <c:v>0.58</c:v>
                </c:pt>
                <c:pt idx="366">
                  <c:v>0.79</c:v>
                </c:pt>
                <c:pt idx="367">
                  <c:v>0.56</c:v>
                </c:pt>
                <c:pt idx="368">
                  <c:v>0.49</c:v>
                </c:pt>
                <c:pt idx="369">
                  <c:v>0.93</c:v>
                </c:pt>
                <c:pt idx="370">
                  <c:v>0.86</c:v>
                </c:pt>
                <c:pt idx="371">
                  <c:v>0.61</c:v>
                </c:pt>
                <c:pt idx="372">
                  <c:v>0.79</c:v>
                </c:pt>
                <c:pt idx="373">
                  <c:v>0.82</c:v>
                </c:pt>
                <c:pt idx="374">
                  <c:v>0.84</c:v>
                </c:pt>
                <c:pt idx="375">
                  <c:v>0.81</c:v>
                </c:pt>
                <c:pt idx="376">
                  <c:v>0.77</c:v>
                </c:pt>
                <c:pt idx="377">
                  <c:v>0.73</c:v>
                </c:pt>
                <c:pt idx="378">
                  <c:v>0.95</c:v>
                </c:pt>
                <c:pt idx="379">
                  <c:v>0.9</c:v>
                </c:pt>
                <c:pt idx="380">
                  <c:v>0.88</c:v>
                </c:pt>
                <c:pt idx="381">
                  <c:v>0.91</c:v>
                </c:pt>
                <c:pt idx="382">
                  <c:v>0.67</c:v>
                </c:pt>
                <c:pt idx="383">
                  <c:v>0.67</c:v>
                </c:pt>
                <c:pt idx="384">
                  <c:v>0.6</c:v>
                </c:pt>
                <c:pt idx="385">
                  <c:v>0.77</c:v>
                </c:pt>
                <c:pt idx="386">
                  <c:v>0.69</c:v>
                </c:pt>
                <c:pt idx="387">
                  <c:v>0.67</c:v>
                </c:pt>
                <c:pt idx="388">
                  <c:v>0.77</c:v>
                </c:pt>
                <c:pt idx="389">
                  <c:v>0.97</c:v>
                </c:pt>
                <c:pt idx="390">
                  <c:v>0.68</c:v>
                </c:pt>
                <c:pt idx="391">
                  <c:v>0.96</c:v>
                </c:pt>
                <c:pt idx="392">
                  <c:v>0.84</c:v>
                </c:pt>
                <c:pt idx="393">
                  <c:v>0.81</c:v>
                </c:pt>
                <c:pt idx="394">
                  <c:v>0.53</c:v>
                </c:pt>
                <c:pt idx="395">
                  <c:v>0.63</c:v>
                </c:pt>
                <c:pt idx="396">
                  <c:v>0.61</c:v>
                </c:pt>
                <c:pt idx="397">
                  <c:v>0.31</c:v>
                </c:pt>
                <c:pt idx="398">
                  <c:v>0.8</c:v>
                </c:pt>
                <c:pt idx="399">
                  <c:v>0.75</c:v>
                </c:pt>
                <c:pt idx="400">
                  <c:v>0.72</c:v>
                </c:pt>
                <c:pt idx="401">
                  <c:v>0.32</c:v>
                </c:pt>
                <c:pt idx="402">
                  <c:v>0.65</c:v>
                </c:pt>
                <c:pt idx="403">
                  <c:v>0.39</c:v>
                </c:pt>
                <c:pt idx="404">
                  <c:v>0.83</c:v>
                </c:pt>
                <c:pt idx="405">
                  <c:v>0.48</c:v>
                </c:pt>
                <c:pt idx="406">
                  <c:v>0.85</c:v>
                </c:pt>
                <c:pt idx="407">
                  <c:v>0.61</c:v>
                </c:pt>
                <c:pt idx="408">
                  <c:v>0.42</c:v>
                </c:pt>
                <c:pt idx="409">
                  <c:v>0.9</c:v>
                </c:pt>
                <c:pt idx="410">
                  <c:v>0.62</c:v>
                </c:pt>
                <c:pt idx="411">
                  <c:v>0.63</c:v>
                </c:pt>
                <c:pt idx="412">
                  <c:v>0.69</c:v>
                </c:pt>
                <c:pt idx="413">
                  <c:v>0.83</c:v>
                </c:pt>
                <c:pt idx="414">
                  <c:v>0.55</c:v>
                </c:pt>
                <c:pt idx="415">
                  <c:v>0.36</c:v>
                </c:pt>
                <c:pt idx="416">
                  <c:v>0.81</c:v>
                </c:pt>
                <c:pt idx="417">
                  <c:v>0.58</c:v>
                </c:pt>
                <c:pt idx="418">
                  <c:v>0.63</c:v>
                </c:pt>
                <c:pt idx="419">
                  <c:v>0.5</c:v>
                </c:pt>
                <c:pt idx="420">
                  <c:v>0.15</c:v>
                </c:pt>
                <c:pt idx="421">
                  <c:v>0.63</c:v>
                </c:pt>
                <c:pt idx="422">
                  <c:v>0.84</c:v>
                </c:pt>
                <c:pt idx="423">
                  <c:v>0.82</c:v>
                </c:pt>
                <c:pt idx="424">
                  <c:v>0.02</c:v>
                </c:pt>
                <c:pt idx="425">
                  <c:v>0.54</c:v>
                </c:pt>
                <c:pt idx="426">
                  <c:v>0.74</c:v>
                </c:pt>
                <c:pt idx="427">
                  <c:v>0.78</c:v>
                </c:pt>
                <c:pt idx="428">
                  <c:v>0.64</c:v>
                </c:pt>
                <c:pt idx="429">
                  <c:v>0.67</c:v>
                </c:pt>
                <c:pt idx="430">
                  <c:v>0.36</c:v>
                </c:pt>
                <c:pt idx="431">
                  <c:v>0.94</c:v>
                </c:pt>
                <c:pt idx="432">
                  <c:v>0.87</c:v>
                </c:pt>
                <c:pt idx="433">
                  <c:v>0.62</c:v>
                </c:pt>
                <c:pt idx="434">
                  <c:v>0.53</c:v>
                </c:pt>
                <c:pt idx="435">
                  <c:v>0.69</c:v>
                </c:pt>
                <c:pt idx="436">
                  <c:v>0.69</c:v>
                </c:pt>
                <c:pt idx="437">
                  <c:v>0.37</c:v>
                </c:pt>
                <c:pt idx="438">
                  <c:v>0.64</c:v>
                </c:pt>
                <c:pt idx="439">
                  <c:v>0.5</c:v>
                </c:pt>
                <c:pt idx="440">
                  <c:v>0.36</c:v>
                </c:pt>
                <c:pt idx="441">
                  <c:v>0.67</c:v>
                </c:pt>
                <c:pt idx="442">
                  <c:v>0.58</c:v>
                </c:pt>
                <c:pt idx="443">
                  <c:v>0.45</c:v>
                </c:pt>
                <c:pt idx="444">
                  <c:v>0.92</c:v>
                </c:pt>
                <c:pt idx="445">
                  <c:v>0.74</c:v>
                </c:pt>
                <c:pt idx="446">
                  <c:v>0.72</c:v>
                </c:pt>
                <c:pt idx="447">
                  <c:v>0.75</c:v>
                </c:pt>
                <c:pt idx="448">
                  <c:v>0.61</c:v>
                </c:pt>
                <c:pt idx="449">
                  <c:v>0.86</c:v>
                </c:pt>
                <c:pt idx="450">
                  <c:v>0.68</c:v>
                </c:pt>
                <c:pt idx="451">
                  <c:v>0.77</c:v>
                </c:pt>
                <c:pt idx="452">
                  <c:v>0.94</c:v>
                </c:pt>
                <c:pt idx="453">
                  <c:v>0.65</c:v>
                </c:pt>
                <c:pt idx="454">
                  <c:v>0.83</c:v>
                </c:pt>
                <c:pt idx="455">
                  <c:v>0.85</c:v>
                </c:pt>
                <c:pt idx="456">
                  <c:v>0.91</c:v>
                </c:pt>
                <c:pt idx="457">
                  <c:v>0.61</c:v>
                </c:pt>
                <c:pt idx="458">
                  <c:v>0.55</c:v>
                </c:pt>
                <c:pt idx="459">
                  <c:v>0.97</c:v>
                </c:pt>
                <c:pt idx="460">
                  <c:v>0.93</c:v>
                </c:pt>
                <c:pt idx="461">
                  <c:v>0.56</c:v>
                </c:pt>
                <c:pt idx="462">
                  <c:v>0.86</c:v>
                </c:pt>
                <c:pt idx="463">
                  <c:v>0.94</c:v>
                </c:pt>
                <c:pt idx="464">
                  <c:v>0.44</c:v>
                </c:pt>
                <c:pt idx="465">
                  <c:v>0.51</c:v>
                </c:pt>
                <c:pt idx="466">
                  <c:v>0.4</c:v>
                </c:pt>
                <c:pt idx="467">
                  <c:v>0.95</c:v>
                </c:pt>
                <c:pt idx="468">
                  <c:v>0.11</c:v>
                </c:pt>
                <c:pt idx="469">
                  <c:v>0.61</c:v>
                </c:pt>
                <c:pt idx="470">
                  <c:v>0.93</c:v>
                </c:pt>
                <c:pt idx="471">
                  <c:v>0.87</c:v>
                </c:pt>
                <c:pt idx="472">
                  <c:v>0.39</c:v>
                </c:pt>
                <c:pt idx="473">
                  <c:v>0.52</c:v>
                </c:pt>
                <c:pt idx="474">
                  <c:v>0.53</c:v>
                </c:pt>
                <c:pt idx="475">
                  <c:v>0.81</c:v>
                </c:pt>
                <c:pt idx="476">
                  <c:v>0.45</c:v>
                </c:pt>
                <c:pt idx="477">
                  <c:v>0.51</c:v>
                </c:pt>
                <c:pt idx="478">
                  <c:v>0.63</c:v>
                </c:pt>
                <c:pt idx="479">
                  <c:v>0.63</c:v>
                </c:pt>
                <c:pt idx="480">
                  <c:v>0.5</c:v>
                </c:pt>
                <c:pt idx="481">
                  <c:v>0.65</c:v>
                </c:pt>
                <c:pt idx="482">
                  <c:v>0.65</c:v>
                </c:pt>
                <c:pt idx="483">
                  <c:v>0.79</c:v>
                </c:pt>
                <c:pt idx="484">
                  <c:v>0.72</c:v>
                </c:pt>
                <c:pt idx="485">
                  <c:v>0.74</c:v>
                </c:pt>
                <c:pt idx="486">
                  <c:v>0.33</c:v>
                </c:pt>
                <c:pt idx="487">
                  <c:v>0.71</c:v>
                </c:pt>
                <c:pt idx="488">
                  <c:v>0.58</c:v>
                </c:pt>
                <c:pt idx="489">
                  <c:v>0.42</c:v>
                </c:pt>
                <c:pt idx="490">
                  <c:v>0.14</c:v>
                </c:pt>
                <c:pt idx="491">
                  <c:v>0.5</c:v>
                </c:pt>
                <c:pt idx="492">
                  <c:v>0.78</c:v>
                </c:pt>
                <c:pt idx="493">
                  <c:v>0.48</c:v>
                </c:pt>
                <c:pt idx="494">
                  <c:v>0.81</c:v>
                </c:pt>
                <c:pt idx="495">
                  <c:v>0.9</c:v>
                </c:pt>
                <c:pt idx="496">
                  <c:v>0.67</c:v>
                </c:pt>
                <c:pt idx="497">
                  <c:v>0.35</c:v>
                </c:pt>
                <c:pt idx="498">
                  <c:v>0.62</c:v>
                </c:pt>
                <c:pt idx="499">
                  <c:v>0.87</c:v>
                </c:pt>
                <c:pt idx="500">
                  <c:v>0.23</c:v>
                </c:pt>
                <c:pt idx="501">
                  <c:v>0.63</c:v>
                </c:pt>
                <c:pt idx="502">
                  <c:v>0.33</c:v>
                </c:pt>
                <c:pt idx="503">
                  <c:v>0.7</c:v>
                </c:pt>
                <c:pt idx="504">
                  <c:v>0.71</c:v>
                </c:pt>
                <c:pt idx="505">
                  <c:v>0.58</c:v>
                </c:pt>
                <c:pt idx="506">
                  <c:v>0.49</c:v>
                </c:pt>
                <c:pt idx="507">
                  <c:v>0.53</c:v>
                </c:pt>
                <c:pt idx="508">
                  <c:v>0.52</c:v>
                </c:pt>
                <c:pt idx="509">
                  <c:v>0.63</c:v>
                </c:pt>
                <c:pt idx="510">
                  <c:v>0.54</c:v>
                </c:pt>
                <c:pt idx="511">
                  <c:v>0.87</c:v>
                </c:pt>
                <c:pt idx="512">
                  <c:v>0.86</c:v>
                </c:pt>
                <c:pt idx="513">
                  <c:v>0.51</c:v>
                </c:pt>
                <c:pt idx="514">
                  <c:v>0.62</c:v>
                </c:pt>
                <c:pt idx="515">
                  <c:v>0.75</c:v>
                </c:pt>
                <c:pt idx="516">
                  <c:v>0.46</c:v>
                </c:pt>
                <c:pt idx="517">
                  <c:v>0.8</c:v>
                </c:pt>
                <c:pt idx="518">
                  <c:v>0.83</c:v>
                </c:pt>
                <c:pt idx="519">
                  <c:v>0.55</c:v>
                </c:pt>
                <c:pt idx="520">
                  <c:v>0.6</c:v>
                </c:pt>
                <c:pt idx="521">
                  <c:v>0.06</c:v>
                </c:pt>
                <c:pt idx="522">
                  <c:v>0.85</c:v>
                </c:pt>
                <c:pt idx="523">
                  <c:v>0.73</c:v>
                </c:pt>
                <c:pt idx="524">
                  <c:v>0.55</c:v>
                </c:pt>
                <c:pt idx="525">
                  <c:v>0.87</c:v>
                </c:pt>
                <c:pt idx="526">
                  <c:v>0.65</c:v>
                </c:pt>
                <c:pt idx="527">
                  <c:v>0.7</c:v>
                </c:pt>
                <c:pt idx="528">
                  <c:v>0.25</c:v>
                </c:pt>
                <c:pt idx="529">
                  <c:v>0.35</c:v>
                </c:pt>
                <c:pt idx="530">
                  <c:v>0.49</c:v>
                </c:pt>
                <c:pt idx="531">
                  <c:v>0.36</c:v>
                </c:pt>
                <c:pt idx="532">
                  <c:v>0.14</c:v>
                </c:pt>
                <c:pt idx="533">
                  <c:v>0.56</c:v>
                </c:pt>
                <c:pt idx="534">
                  <c:v>0.55</c:v>
                </c:pt>
                <c:pt idx="535">
                  <c:v>0.56</c:v>
                </c:pt>
                <c:pt idx="536">
                  <c:v>0.79</c:v>
                </c:pt>
                <c:pt idx="537">
                  <c:v>0.08</c:v>
                </c:pt>
                <c:pt idx="538">
                  <c:v>0.82</c:v>
                </c:pt>
                <c:pt idx="539">
                  <c:v>0.89</c:v>
                </c:pt>
                <c:pt idx="540">
                  <c:v>0.62</c:v>
                </c:pt>
                <c:pt idx="541">
                  <c:v>0.41</c:v>
                </c:pt>
                <c:pt idx="542">
                  <c:v>0.42</c:v>
                </c:pt>
                <c:pt idx="543">
                  <c:v>0.43</c:v>
                </c:pt>
                <c:pt idx="544">
                  <c:v>0.15</c:v>
                </c:pt>
                <c:pt idx="545">
                  <c:v>0.45</c:v>
                </c:pt>
                <c:pt idx="546">
                  <c:v>0.25</c:v>
                </c:pt>
                <c:pt idx="547">
                  <c:v>0.56</c:v>
                </c:pt>
                <c:pt idx="548">
                  <c:v>0.69</c:v>
                </c:pt>
                <c:pt idx="549">
                  <c:v>0.52</c:v>
                </c:pt>
                <c:pt idx="550">
                  <c:v>0.39</c:v>
                </c:pt>
                <c:pt idx="551">
                  <c:v>0.66</c:v>
                </c:pt>
                <c:pt idx="552">
                  <c:v>0.7</c:v>
                </c:pt>
                <c:pt idx="553">
                  <c:v>0.58</c:v>
                </c:pt>
                <c:pt idx="554">
                  <c:v>0.69</c:v>
                </c:pt>
                <c:pt idx="555">
                  <c:v>0.28</c:v>
                </c:pt>
                <c:pt idx="556">
                  <c:v>0.61</c:v>
                </c:pt>
                <c:pt idx="557">
                  <c:v>0.07</c:v>
                </c:pt>
                <c:pt idx="558">
                  <c:v>0.49</c:v>
                </c:pt>
                <c:pt idx="559">
                  <c:v>0.6</c:v>
                </c:pt>
                <c:pt idx="560">
                  <c:v>0.56</c:v>
                </c:pt>
                <c:pt idx="561">
                  <c:v>0.71</c:v>
                </c:pt>
                <c:pt idx="562">
                  <c:v>0.48</c:v>
                </c:pt>
                <c:pt idx="563">
                  <c:v>0.61</c:v>
                </c:pt>
                <c:pt idx="564">
                  <c:v>0.03</c:v>
                </c:pt>
                <c:pt idx="565">
                  <c:v>0.62</c:v>
                </c:pt>
                <c:pt idx="566">
                  <c:v>0.81</c:v>
                </c:pt>
                <c:pt idx="567">
                  <c:v>0.44</c:v>
                </c:pt>
                <c:pt idx="568">
                  <c:v>0.41</c:v>
                </c:pt>
                <c:pt idx="569">
                  <c:v>0.58</c:v>
                </c:pt>
                <c:pt idx="570">
                  <c:v>0.72</c:v>
                </c:pt>
                <c:pt idx="571">
                  <c:v>0.62</c:v>
                </c:pt>
                <c:pt idx="572">
                  <c:v>0.5</c:v>
                </c:pt>
                <c:pt idx="573">
                  <c:v>0.52</c:v>
                </c:pt>
                <c:pt idx="574">
                  <c:v>0.39</c:v>
                </c:pt>
                <c:pt idx="575">
                  <c:v>0.46</c:v>
                </c:pt>
                <c:pt idx="576">
                  <c:v>0.21</c:v>
                </c:pt>
                <c:pt idx="577">
                  <c:v>0.49</c:v>
                </c:pt>
                <c:pt idx="578">
                  <c:v>0.48</c:v>
                </c:pt>
                <c:pt idx="579">
                  <c:v>0.44</c:v>
                </c:pt>
                <c:pt idx="580">
                  <c:v>0.29</c:v>
                </c:pt>
                <c:pt idx="581">
                  <c:v>0.04</c:v>
                </c:pt>
                <c:pt idx="582">
                  <c:v>0.68</c:v>
                </c:pt>
                <c:pt idx="583">
                  <c:v>0.24</c:v>
                </c:pt>
                <c:pt idx="584">
                  <c:v>0.6</c:v>
                </c:pt>
                <c:pt idx="585">
                  <c:v>0.18</c:v>
                </c:pt>
                <c:pt idx="586">
                  <c:v>0.93</c:v>
                </c:pt>
                <c:pt idx="587">
                  <c:v>0.6</c:v>
                </c:pt>
                <c:pt idx="588">
                  <c:v>0.17</c:v>
                </c:pt>
                <c:pt idx="589">
                  <c:v>0.66</c:v>
                </c:pt>
                <c:pt idx="590">
                  <c:v>0.19</c:v>
                </c:pt>
                <c:pt idx="591">
                  <c:v>0.63</c:v>
                </c:pt>
                <c:pt idx="592">
                  <c:v>0.59</c:v>
                </c:pt>
                <c:pt idx="593">
                  <c:v>0.07</c:v>
                </c:pt>
                <c:pt idx="594">
                  <c:v>0.64</c:v>
                </c:pt>
                <c:pt idx="595">
                  <c:v>0.49</c:v>
                </c:pt>
                <c:pt idx="596">
                  <c:v>0.64</c:v>
                </c:pt>
                <c:pt idx="597">
                  <c:v>0.62</c:v>
                </c:pt>
                <c:pt idx="598">
                  <c:v>0.11</c:v>
                </c:pt>
                <c:pt idx="599">
                  <c:v>0.69</c:v>
                </c:pt>
                <c:pt idx="600">
                  <c:v>0.77</c:v>
                </c:pt>
                <c:pt idx="601">
                  <c:v>0.27</c:v>
                </c:pt>
                <c:pt idx="602">
                  <c:v>0.51</c:v>
                </c:pt>
                <c:pt idx="603">
                  <c:v>0.85</c:v>
                </c:pt>
                <c:pt idx="604">
                  <c:v>0.57</c:v>
                </c:pt>
                <c:pt idx="605">
                  <c:v>0.77</c:v>
                </c:pt>
                <c:pt idx="606">
                  <c:v>0.49</c:v>
                </c:pt>
                <c:pt idx="607">
                  <c:v>0.55</c:v>
                </c:pt>
                <c:pt idx="608">
                  <c:v>0.52</c:v>
                </c:pt>
                <c:pt idx="609">
                  <c:v>0.67</c:v>
                </c:pt>
                <c:pt idx="610">
                  <c:v>0.21</c:v>
                </c:pt>
                <c:pt idx="611">
                  <c:v>0.5</c:v>
                </c:pt>
                <c:pt idx="612">
                  <c:v>0.42</c:v>
                </c:pt>
                <c:pt idx="613">
                  <c:v>0.72</c:v>
                </c:pt>
                <c:pt idx="614">
                  <c:v>0.79</c:v>
                </c:pt>
                <c:pt idx="615">
                  <c:v>0.45</c:v>
                </c:pt>
                <c:pt idx="616">
                  <c:v>0.28</c:v>
                </c:pt>
                <c:pt idx="617">
                  <c:v>0.58</c:v>
                </c:pt>
                <c:pt idx="618">
                  <c:v>0.17</c:v>
                </c:pt>
                <c:pt idx="619">
                  <c:v>0.02</c:v>
                </c:pt>
                <c:pt idx="620">
                  <c:v>0.37</c:v>
                </c:pt>
                <c:pt idx="621">
                  <c:v>0.51</c:v>
                </c:pt>
                <c:pt idx="622">
                  <c:v>0.4</c:v>
                </c:pt>
                <c:pt idx="623">
                  <c:v>0.46</c:v>
                </c:pt>
                <c:pt idx="624">
                  <c:v>0.33</c:v>
                </c:pt>
                <c:pt idx="625">
                  <c:v>0.56</c:v>
                </c:pt>
                <c:pt idx="626">
                  <c:v>0.11</c:v>
                </c:pt>
                <c:pt idx="627">
                  <c:v>0.43</c:v>
                </c:pt>
                <c:pt idx="628">
                  <c:v>0.49</c:v>
                </c:pt>
                <c:pt idx="629">
                  <c:v>0.36</c:v>
                </c:pt>
                <c:pt idx="630">
                  <c:v>0.23</c:v>
                </c:pt>
                <c:pt idx="631">
                  <c:v>0.22</c:v>
                </c:pt>
                <c:pt idx="632">
                  <c:v>0.71</c:v>
                </c:pt>
                <c:pt idx="633">
                  <c:v>0.75</c:v>
                </c:pt>
                <c:pt idx="634">
                  <c:v>0.72</c:v>
                </c:pt>
                <c:pt idx="635">
                  <c:v>0.53</c:v>
                </c:pt>
                <c:pt idx="636">
                  <c:v>0.04</c:v>
                </c:pt>
                <c:pt idx="637">
                  <c:v>0.43</c:v>
                </c:pt>
                <c:pt idx="638">
                  <c:v>0.32</c:v>
                </c:pt>
                <c:pt idx="639">
                  <c:v>0.19</c:v>
                </c:pt>
                <c:pt idx="640">
                  <c:v>0.5</c:v>
                </c:pt>
                <c:pt idx="641">
                  <c:v>0.76</c:v>
                </c:pt>
                <c:pt idx="642">
                  <c:v>0.37</c:v>
                </c:pt>
                <c:pt idx="643">
                  <c:v>0.44</c:v>
                </c:pt>
                <c:pt idx="644">
                  <c:v>0.3</c:v>
                </c:pt>
                <c:pt idx="645">
                  <c:v>0.1</c:v>
                </c:pt>
                <c:pt idx="646">
                  <c:v>0.35</c:v>
                </c:pt>
                <c:pt idx="647">
                  <c:v>0.19</c:v>
                </c:pt>
                <c:pt idx="648">
                  <c:v>0.5</c:v>
                </c:pt>
                <c:pt idx="649">
                  <c:v>0.02</c:v>
                </c:pt>
                <c:pt idx="650">
                  <c:v>0.11</c:v>
                </c:pt>
                <c:pt idx="651">
                  <c:v>0.45</c:v>
                </c:pt>
                <c:pt idx="652">
                  <c:v>0.41</c:v>
                </c:pt>
                <c:pt idx="653">
                  <c:v>0.51</c:v>
                </c:pt>
                <c:pt idx="654">
                  <c:v>0.07</c:v>
                </c:pt>
                <c:pt idx="655">
                  <c:v>0.51</c:v>
                </c:pt>
                <c:pt idx="656">
                  <c:v>0.14</c:v>
                </c:pt>
                <c:pt idx="657">
                  <c:v>0.39</c:v>
                </c:pt>
                <c:pt idx="658">
                  <c:v>0.72</c:v>
                </c:pt>
                <c:pt idx="659">
                  <c:v>0.66</c:v>
                </c:pt>
                <c:pt idx="660">
                  <c:v>0.36</c:v>
                </c:pt>
                <c:pt idx="661">
                  <c:v>0.11</c:v>
                </c:pt>
                <c:pt idx="662">
                  <c:v>0.31</c:v>
                </c:pt>
                <c:pt idx="663">
                  <c:v>0.59</c:v>
                </c:pt>
                <c:pt idx="664">
                  <c:v>0.25</c:v>
                </c:pt>
                <c:pt idx="665">
                  <c:v>0.07</c:v>
                </c:pt>
                <c:pt idx="666">
                  <c:v>0.56</c:v>
                </c:pt>
                <c:pt idx="667">
                  <c:v>0.65</c:v>
                </c:pt>
                <c:pt idx="668">
                  <c:v>0.59</c:v>
                </c:pt>
                <c:pt idx="669">
                  <c:v>0.36</c:v>
                </c:pt>
                <c:pt idx="670">
                  <c:v>0.43</c:v>
                </c:pt>
                <c:pt idx="671">
                  <c:v>0.12</c:v>
                </c:pt>
                <c:pt idx="672">
                  <c:v>0.12</c:v>
                </c:pt>
                <c:pt idx="673">
                  <c:v>0.6</c:v>
                </c:pt>
                <c:pt idx="674">
                  <c:v>0.19</c:v>
                </c:pt>
                <c:pt idx="675">
                  <c:v>0.18</c:v>
                </c:pt>
                <c:pt idx="676">
                  <c:v>0.78</c:v>
                </c:pt>
                <c:pt idx="677">
                  <c:v>0.07</c:v>
                </c:pt>
                <c:pt idx="678">
                  <c:v>0.64</c:v>
                </c:pt>
                <c:pt idx="679">
                  <c:v>0.21</c:v>
                </c:pt>
                <c:pt idx="680">
                  <c:v>0.01</c:v>
                </c:pt>
                <c:pt idx="681">
                  <c:v>0.01</c:v>
                </c:pt>
                <c:pt idx="682">
                  <c:v>0.76</c:v>
                </c:pt>
                <c:pt idx="683">
                  <c:v>0.14</c:v>
                </c:pt>
                <c:pt idx="684">
                  <c:v>0.19</c:v>
                </c:pt>
                <c:pt idx="685">
                  <c:v>0.84</c:v>
                </c:pt>
                <c:pt idx="686">
                  <c:v>0.55</c:v>
                </c:pt>
                <c:pt idx="687">
                  <c:v>0.11</c:v>
                </c:pt>
                <c:pt idx="688">
                  <c:v>0.01</c:v>
                </c:pt>
                <c:pt idx="689">
                  <c:v>0.43</c:v>
                </c:pt>
                <c:pt idx="690">
                  <c:v>0.72</c:v>
                </c:pt>
                <c:pt idx="691">
                  <c:v>0.28</c:v>
                </c:pt>
                <c:pt idx="692">
                  <c:v>0.28</c:v>
                </c:pt>
                <c:pt idx="693">
                  <c:v>0.64</c:v>
                </c:pt>
                <c:pt idx="694">
                  <c:v>0.02</c:v>
                </c:pt>
                <c:pt idx="695">
                  <c:v>0.02</c:v>
                </c:pt>
                <c:pt idx="696">
                  <c:v>0.3</c:v>
                </c:pt>
                <c:pt idx="697">
                  <c:v>0.53</c:v>
                </c:pt>
                <c:pt idx="698">
                  <c:v>0.17</c:v>
                </c:pt>
                <c:pt idx="699">
                  <c:v>0.43</c:v>
                </c:pt>
                <c:pt idx="700">
                  <c:v>0.21</c:v>
                </c:pt>
                <c:pt idx="701">
                  <c:v>0.05</c:v>
                </c:pt>
                <c:pt idx="702">
                  <c:v>0.34</c:v>
                </c:pt>
                <c:pt idx="703">
                  <c:v>0.15</c:v>
                </c:pt>
                <c:pt idx="704">
                  <c:v>0.03</c:v>
                </c:pt>
                <c:pt idx="705">
                  <c:v>0.71</c:v>
                </c:pt>
                <c:pt idx="706">
                  <c:v>0.01</c:v>
                </c:pt>
                <c:pt idx="707">
                  <c:v>0.67</c:v>
                </c:pt>
                <c:pt idx="708">
                  <c:v>0.47</c:v>
                </c:pt>
                <c:pt idx="709">
                  <c:v>0.03</c:v>
                </c:pt>
                <c:pt idx="710">
                  <c:v>0.34</c:v>
                </c:pt>
                <c:pt idx="711">
                  <c:v>0.42</c:v>
                </c:pt>
                <c:pt idx="712">
                  <c:v>0.3</c:v>
                </c:pt>
                <c:pt idx="713">
                  <c:v>0.12</c:v>
                </c:pt>
                <c:pt idx="714">
                  <c:v>0.59</c:v>
                </c:pt>
                <c:pt idx="715">
                  <c:v>0.48</c:v>
                </c:pt>
                <c:pt idx="716">
                  <c:v>0.52</c:v>
                </c:pt>
                <c:pt idx="717">
                  <c:v>0.48</c:v>
                </c:pt>
                <c:pt idx="718">
                  <c:v>0.79</c:v>
                </c:pt>
                <c:pt idx="719">
                  <c:v>0.01</c:v>
                </c:pt>
                <c:pt idx="720">
                  <c:v>0.15</c:v>
                </c:pt>
                <c:pt idx="721">
                  <c:v>0.02</c:v>
                </c:pt>
                <c:pt idx="722">
                  <c:v>0.14</c:v>
                </c:pt>
                <c:pt idx="723">
                  <c:v>0.33</c:v>
                </c:pt>
                <c:pt idx="724">
                  <c:v>0.71</c:v>
                </c:pt>
                <c:pt idx="725">
                  <c:v>0.16</c:v>
                </c:pt>
                <c:pt idx="726">
                  <c:v>0.67</c:v>
                </c:pt>
                <c:pt idx="727">
                  <c:v>0.63</c:v>
                </c:pt>
                <c:pt idx="728">
                  <c:v>0.5</c:v>
                </c:pt>
                <c:pt idx="729">
                  <c:v>0.14</c:v>
                </c:pt>
                <c:pt idx="730">
                  <c:v>0.47</c:v>
                </c:pt>
                <c:pt idx="731">
                  <c:v>0.41</c:v>
                </c:pt>
                <c:pt idx="732">
                  <c:v>0.06</c:v>
                </c:pt>
                <c:pt idx="733">
                  <c:v>0.57</c:v>
                </c:pt>
                <c:pt idx="734">
                  <c:v>0.69</c:v>
                </c:pt>
                <c:pt idx="735">
                  <c:v>0.38</c:v>
                </c:pt>
                <c:pt idx="736">
                  <c:v>0.49</c:v>
                </c:pt>
                <c:pt idx="737">
                  <c:v>0.17</c:v>
                </c:pt>
                <c:pt idx="738">
                  <c:v>0.29</c:v>
                </c:pt>
                <c:pt idx="739">
                  <c:v>0.14</c:v>
                </c:pt>
                <c:pt idx="740">
                  <c:v>0.44</c:v>
                </c:pt>
                <c:pt idx="741">
                  <c:v>0.62</c:v>
                </c:pt>
                <c:pt idx="742">
                  <c:v>0.22</c:v>
                </c:pt>
                <c:pt idx="743">
                  <c:v>0.76</c:v>
                </c:pt>
                <c:pt idx="744">
                  <c:v>0.12</c:v>
                </c:pt>
                <c:pt idx="745">
                  <c:v>0.5</c:v>
                </c:pt>
                <c:pt idx="746">
                  <c:v>0.21</c:v>
                </c:pt>
                <c:pt idx="747">
                  <c:v>0.11</c:v>
                </c:pt>
                <c:pt idx="748">
                  <c:v>0.14</c:v>
                </c:pt>
                <c:pt idx="749">
                  <c:v>0.16</c:v>
                </c:pt>
                <c:pt idx="750">
                  <c:v>0.07</c:v>
                </c:pt>
                <c:pt idx="751">
                  <c:v>0.01</c:v>
                </c:pt>
                <c:pt idx="752">
                  <c:v>0.04</c:v>
                </c:pt>
                <c:pt idx="753">
                  <c:v>0.05</c:v>
                </c:pt>
                <c:pt idx="754">
                  <c:v>0.15</c:v>
                </c:pt>
                <c:pt idx="755">
                  <c:v>0.02</c:v>
                </c:pt>
                <c:pt idx="756">
                  <c:v>0.5</c:v>
                </c:pt>
                <c:pt idx="757">
                  <c:v>0.03</c:v>
                </c:pt>
                <c:pt idx="758">
                  <c:v>0.04</c:v>
                </c:pt>
                <c:pt idx="759">
                  <c:v>0.16</c:v>
                </c:pt>
                <c:pt idx="760">
                  <c:v>0.22</c:v>
                </c:pt>
                <c:pt idx="761">
                  <c:v>0.42</c:v>
                </c:pt>
                <c:pt idx="762">
                  <c:v>0.42</c:v>
                </c:pt>
                <c:pt idx="763">
                  <c:v>0.13</c:v>
                </c:pt>
                <c:pt idx="764">
                  <c:v>0.64</c:v>
                </c:pt>
                <c:pt idx="765">
                  <c:v>0.09</c:v>
                </c:pt>
                <c:pt idx="766">
                  <c:v>0.07</c:v>
                </c:pt>
                <c:pt idx="767">
                  <c:v>0.09</c:v>
                </c:pt>
                <c:pt idx="768">
                  <c:v>0.56</c:v>
                </c:pt>
                <c:pt idx="769">
                  <c:v>0.27</c:v>
                </c:pt>
                <c:pt idx="770">
                  <c:v>0.2</c:v>
                </c:pt>
                <c:pt idx="771">
                  <c:v>0.28</c:v>
                </c:pt>
                <c:pt idx="772">
                  <c:v>0.27</c:v>
                </c:pt>
                <c:pt idx="773">
                  <c:v>0.15</c:v>
                </c:pt>
                <c:pt idx="774">
                  <c:v>0.57</c:v>
                </c:pt>
                <c:pt idx="775">
                  <c:v>0.64</c:v>
                </c:pt>
                <c:pt idx="776">
                  <c:v>0.09</c:v>
                </c:pt>
                <c:pt idx="777">
                  <c:v>0.17</c:v>
                </c:pt>
                <c:pt idx="778">
                  <c:v>0.25</c:v>
                </c:pt>
                <c:pt idx="779">
                  <c:v>0.51</c:v>
                </c:pt>
                <c:pt idx="780">
                  <c:v>0.6</c:v>
                </c:pt>
                <c:pt idx="781">
                  <c:v>0.02</c:v>
                </c:pt>
                <c:pt idx="782">
                  <c:v>0.09</c:v>
                </c:pt>
                <c:pt idx="783">
                  <c:v>0.07</c:v>
                </c:pt>
                <c:pt idx="784">
                  <c:v>0.13</c:v>
                </c:pt>
                <c:pt idx="785">
                  <c:v>0.07</c:v>
                </c:pt>
                <c:pt idx="786">
                  <c:v>0.31</c:v>
                </c:pt>
                <c:pt idx="787">
                  <c:v>0.41</c:v>
                </c:pt>
                <c:pt idx="788">
                  <c:v>0.06</c:v>
                </c:pt>
                <c:pt idx="789">
                  <c:v>0.48</c:v>
                </c:pt>
                <c:pt idx="790">
                  <c:v>0.49</c:v>
                </c:pt>
                <c:pt idx="791">
                  <c:v>0.13</c:v>
                </c:pt>
                <c:pt idx="792">
                  <c:v>0.26</c:v>
                </c:pt>
                <c:pt idx="793">
                  <c:v>0.11</c:v>
                </c:pt>
                <c:pt idx="794">
                  <c:v>0.45</c:v>
                </c:pt>
                <c:pt idx="795">
                  <c:v>0.37</c:v>
                </c:pt>
                <c:pt idx="796">
                  <c:v>0.03</c:v>
                </c:pt>
                <c:pt idx="797">
                  <c:v>0.04</c:v>
                </c:pt>
                <c:pt idx="798">
                  <c:v>0.16</c:v>
                </c:pt>
                <c:pt idx="799">
                  <c:v>0.36</c:v>
                </c:pt>
                <c:pt idx="800">
                  <c:v>0.65</c:v>
                </c:pt>
                <c:pt idx="801">
                  <c:v>0.11</c:v>
                </c:pt>
                <c:pt idx="802">
                  <c:v>0.65</c:v>
                </c:pt>
                <c:pt idx="803">
                  <c:v>0.52</c:v>
                </c:pt>
                <c:pt idx="804">
                  <c:v>0.1</c:v>
                </c:pt>
                <c:pt idx="805">
                  <c:v>0.11</c:v>
                </c:pt>
                <c:pt idx="806">
                  <c:v>0.34</c:v>
                </c:pt>
                <c:pt idx="807">
                  <c:v>0.35</c:v>
                </c:pt>
                <c:pt idx="808">
                  <c:v>0.06</c:v>
                </c:pt>
                <c:pt idx="809">
                  <c:v>0.05</c:v>
                </c:pt>
                <c:pt idx="810">
                  <c:v>0.16</c:v>
                </c:pt>
                <c:pt idx="811">
                  <c:v>0.31</c:v>
                </c:pt>
                <c:pt idx="812">
                  <c:v>0.12</c:v>
                </c:pt>
                <c:pt idx="813">
                  <c:v>0.39</c:v>
                </c:pt>
                <c:pt idx="814">
                  <c:v>0.07</c:v>
                </c:pt>
                <c:pt idx="815">
                  <c:v>0.09</c:v>
                </c:pt>
                <c:pt idx="816">
                  <c:v>0.03</c:v>
                </c:pt>
                <c:pt idx="817">
                  <c:v>0.14</c:v>
                </c:pt>
                <c:pt idx="818">
                  <c:v>0.64</c:v>
                </c:pt>
                <c:pt idx="819">
                  <c:v>0.01</c:v>
                </c:pt>
                <c:pt idx="820">
                  <c:v>0.16</c:v>
                </c:pt>
                <c:pt idx="821">
                  <c:v>0.06</c:v>
                </c:pt>
                <c:pt idx="822">
                  <c:v>0.07</c:v>
                </c:pt>
                <c:pt idx="823">
                  <c:v>0.29</c:v>
                </c:pt>
                <c:pt idx="824">
                  <c:v>0.04</c:v>
                </c:pt>
                <c:pt idx="825">
                  <c:v>0.12</c:v>
                </c:pt>
                <c:pt idx="826">
                  <c:v>0.25</c:v>
                </c:pt>
                <c:pt idx="827">
                  <c:v>0.81</c:v>
                </c:pt>
                <c:pt idx="828">
                  <c:v>0.44</c:v>
                </c:pt>
                <c:pt idx="829">
                  <c:v>0.04</c:v>
                </c:pt>
                <c:pt idx="830">
                  <c:v>0.12</c:v>
                </c:pt>
                <c:pt idx="831">
                  <c:v>0.39</c:v>
                </c:pt>
                <c:pt idx="832">
                  <c:v>0.56</c:v>
                </c:pt>
                <c:pt idx="833">
                  <c:v>0.02</c:v>
                </c:pt>
                <c:pt idx="834">
                  <c:v>0.08</c:v>
                </c:pt>
                <c:pt idx="835">
                  <c:v>0.61</c:v>
                </c:pt>
                <c:pt idx="836">
                  <c:v>0.66</c:v>
                </c:pt>
                <c:pt idx="837">
                  <c:v>0.03</c:v>
                </c:pt>
                <c:pt idx="838">
                  <c:v>0.06</c:v>
                </c:pt>
                <c:pt idx="839">
                  <c:v>0.22</c:v>
                </c:pt>
                <c:pt idx="840">
                  <c:v>0.34</c:v>
                </c:pt>
                <c:pt idx="841">
                  <c:v>0.26</c:v>
                </c:pt>
                <c:pt idx="842">
                  <c:v>0.03</c:v>
                </c:pt>
                <c:pt idx="843">
                  <c:v>0.11</c:v>
                </c:pt>
                <c:pt idx="844">
                  <c:v>0.12</c:v>
                </c:pt>
                <c:pt idx="845">
                  <c:v>0.02</c:v>
                </c:pt>
                <c:pt idx="846">
                  <c:v>0.05</c:v>
                </c:pt>
                <c:pt idx="847">
                  <c:v>0.49</c:v>
                </c:pt>
                <c:pt idx="848">
                  <c:v>0.14</c:v>
                </c:pt>
                <c:pt idx="849">
                  <c:v>0.56</c:v>
                </c:pt>
                <c:pt idx="850">
                  <c:v>0.08</c:v>
                </c:pt>
                <c:pt idx="851">
                  <c:v>0.09</c:v>
                </c:pt>
                <c:pt idx="852">
                  <c:v>0.72</c:v>
                </c:pt>
                <c:pt idx="853">
                  <c:v>0.25</c:v>
                </c:pt>
                <c:pt idx="854">
                  <c:v>0.5</c:v>
                </c:pt>
                <c:pt idx="855">
                  <c:v>0.1</c:v>
                </c:pt>
                <c:pt idx="856">
                  <c:v>0.24</c:v>
                </c:pt>
                <c:pt idx="857">
                  <c:v>0.46</c:v>
                </c:pt>
                <c:pt idx="858">
                  <c:v>0.34</c:v>
                </c:pt>
                <c:pt idx="859">
                  <c:v>0.05</c:v>
                </c:pt>
                <c:pt idx="860">
                  <c:v>0.01</c:v>
                </c:pt>
                <c:pt idx="861">
                  <c:v>0.33</c:v>
                </c:pt>
                <c:pt idx="862">
                  <c:v>0.22</c:v>
                </c:pt>
                <c:pt idx="863">
                  <c:v>0.27</c:v>
                </c:pt>
                <c:pt idx="864">
                  <c:v>0.25</c:v>
                </c:pt>
                <c:pt idx="865">
                  <c:v>0.53</c:v>
                </c:pt>
                <c:pt idx="866">
                  <c:v>0.04</c:v>
                </c:pt>
                <c:pt idx="867">
                  <c:v>0.08</c:v>
                </c:pt>
                <c:pt idx="868">
                  <c:v>0.61</c:v>
                </c:pt>
                <c:pt idx="869">
                  <c:v>0.47</c:v>
                </c:pt>
                <c:pt idx="870">
                  <c:v>0.09</c:v>
                </c:pt>
                <c:pt idx="871">
                  <c:v>0.05</c:v>
                </c:pt>
                <c:pt idx="872">
                  <c:v>0.5</c:v>
                </c:pt>
                <c:pt idx="873">
                  <c:v>0.66</c:v>
                </c:pt>
                <c:pt idx="874">
                  <c:v>0.02</c:v>
                </c:pt>
                <c:pt idx="875">
                  <c:v>0.09</c:v>
                </c:pt>
                <c:pt idx="876">
                  <c:v>0.06</c:v>
                </c:pt>
                <c:pt idx="877">
                  <c:v>0.1</c:v>
                </c:pt>
                <c:pt idx="878">
                  <c:v>0.81</c:v>
                </c:pt>
                <c:pt idx="879">
                  <c:v>0.01</c:v>
                </c:pt>
                <c:pt idx="880">
                  <c:v>0.02</c:v>
                </c:pt>
                <c:pt idx="881">
                  <c:v>0.41</c:v>
                </c:pt>
                <c:pt idx="882">
                  <c:v>0.32</c:v>
                </c:pt>
                <c:pt idx="883">
                  <c:v>0.01</c:v>
                </c:pt>
                <c:pt idx="884">
                  <c:v>0.76</c:v>
                </c:pt>
                <c:pt idx="885">
                  <c:v>0.36</c:v>
                </c:pt>
                <c:pt idx="886">
                  <c:v>0.01</c:v>
                </c:pt>
                <c:pt idx="887">
                  <c:v>0.28</c:v>
                </c:pt>
                <c:pt idx="888">
                  <c:v>0.08</c:v>
                </c:pt>
                <c:pt idx="889">
                  <c:v>0.03</c:v>
                </c:pt>
                <c:pt idx="890">
                  <c:v>0.42</c:v>
                </c:pt>
                <c:pt idx="891">
                  <c:v>0.06</c:v>
                </c:pt>
                <c:pt idx="892">
                  <c:v>0.4</c:v>
                </c:pt>
                <c:pt idx="893">
                  <c:v>0.41</c:v>
                </c:pt>
                <c:pt idx="894">
                  <c:v>0.24</c:v>
                </c:pt>
                <c:pt idx="895">
                  <c:v>0.72</c:v>
                </c:pt>
                <c:pt idx="896">
                  <c:v>0.15</c:v>
                </c:pt>
                <c:pt idx="897">
                  <c:v>0.11</c:v>
                </c:pt>
                <c:pt idx="898">
                  <c:v>0.02</c:v>
                </c:pt>
                <c:pt idx="899">
                  <c:v>0.14</c:v>
                </c:pt>
                <c:pt idx="900">
                  <c:v>0.18</c:v>
                </c:pt>
                <c:pt idx="901">
                  <c:v>0.49</c:v>
                </c:pt>
                <c:pt idx="902">
                  <c:v>0.09</c:v>
                </c:pt>
                <c:pt idx="903">
                  <c:v>0.74</c:v>
                </c:pt>
                <c:pt idx="904">
                  <c:v>0.24</c:v>
                </c:pt>
                <c:pt idx="905">
                  <c:v>0.07</c:v>
                </c:pt>
                <c:pt idx="906">
                  <c:v>0.47</c:v>
                </c:pt>
                <c:pt idx="907">
                  <c:v>0.56</c:v>
                </c:pt>
                <c:pt idx="908">
                  <c:v>0.2</c:v>
                </c:pt>
                <c:pt idx="909">
                  <c:v>0.06</c:v>
                </c:pt>
                <c:pt idx="910">
                  <c:v>0.07</c:v>
                </c:pt>
                <c:pt idx="911">
                  <c:v>0.34</c:v>
                </c:pt>
                <c:pt idx="912">
                  <c:v>0.12</c:v>
                </c:pt>
                <c:pt idx="913">
                  <c:v>0.2</c:v>
                </c:pt>
                <c:pt idx="914">
                  <c:v>0.16</c:v>
                </c:pt>
                <c:pt idx="915">
                  <c:v>0.05</c:v>
                </c:pt>
                <c:pt idx="916">
                  <c:v>0.14</c:v>
                </c:pt>
                <c:pt idx="917">
                  <c:v>0.17</c:v>
                </c:pt>
                <c:pt idx="918">
                  <c:v>0.46</c:v>
                </c:pt>
                <c:pt idx="919">
                  <c:v>0.1</c:v>
                </c:pt>
                <c:pt idx="920">
                  <c:v>0.01</c:v>
                </c:pt>
                <c:pt idx="921">
                  <c:v>0.01</c:v>
                </c:pt>
                <c:pt idx="922">
                  <c:v>0.24</c:v>
                </c:pt>
                <c:pt idx="923">
                  <c:v>0.4</c:v>
                </c:pt>
                <c:pt idx="924">
                  <c:v>0.14</c:v>
                </c:pt>
                <c:pt idx="925">
                  <c:v>0.09</c:v>
                </c:pt>
                <c:pt idx="926">
                  <c:v>0.06</c:v>
                </c:pt>
                <c:pt idx="927">
                  <c:v>0.3</c:v>
                </c:pt>
                <c:pt idx="928">
                  <c:v>0.09</c:v>
                </c:pt>
                <c:pt idx="929">
                  <c:v>0.5</c:v>
                </c:pt>
                <c:pt idx="930">
                  <c:v>0.08</c:v>
                </c:pt>
                <c:pt idx="931">
                  <c:v>0.15</c:v>
                </c:pt>
                <c:pt idx="932">
                  <c:v>0.61</c:v>
                </c:pt>
                <c:pt idx="933">
                  <c:v>0.39</c:v>
                </c:pt>
                <c:pt idx="934">
                  <c:v>0.16</c:v>
                </c:pt>
                <c:pt idx="935">
                  <c:v>0.01</c:v>
                </c:pt>
                <c:pt idx="936">
                  <c:v>0.05</c:v>
                </c:pt>
                <c:pt idx="937">
                  <c:v>0.1</c:v>
                </c:pt>
                <c:pt idx="938">
                  <c:v>0.64</c:v>
                </c:pt>
                <c:pt idx="939">
                  <c:v>0.14</c:v>
                </c:pt>
                <c:pt idx="940">
                  <c:v>0.01</c:v>
                </c:pt>
                <c:pt idx="941">
                  <c:v>0.48</c:v>
                </c:pt>
                <c:pt idx="942">
                  <c:v>0.2</c:v>
                </c:pt>
                <c:pt idx="943">
                  <c:v>0.71</c:v>
                </c:pt>
                <c:pt idx="944">
                  <c:v>0.16</c:v>
                </c:pt>
                <c:pt idx="945">
                  <c:v>0.05</c:v>
                </c:pt>
                <c:pt idx="946">
                  <c:v>0.16</c:v>
                </c:pt>
                <c:pt idx="947">
                  <c:v>0.02</c:v>
                </c:pt>
                <c:pt idx="948">
                  <c:v>0.37</c:v>
                </c:pt>
                <c:pt idx="949">
                  <c:v>0.02</c:v>
                </c:pt>
                <c:pt idx="950">
                  <c:v>0.23</c:v>
                </c:pt>
                <c:pt idx="951">
                  <c:v>0.06</c:v>
                </c:pt>
                <c:pt idx="952">
                  <c:v>0.38</c:v>
                </c:pt>
                <c:pt idx="953">
                  <c:v>0.09</c:v>
                </c:pt>
                <c:pt idx="954">
                  <c:v>0.54</c:v>
                </c:pt>
                <c:pt idx="955">
                  <c:v>0.01</c:v>
                </c:pt>
                <c:pt idx="956">
                  <c:v>0.31</c:v>
                </c:pt>
                <c:pt idx="957">
                  <c:v>0.48</c:v>
                </c:pt>
                <c:pt idx="958">
                  <c:v>0.03</c:v>
                </c:pt>
                <c:pt idx="959">
                  <c:v>0.05</c:v>
                </c:pt>
                <c:pt idx="960">
                  <c:v>0.22</c:v>
                </c:pt>
                <c:pt idx="961">
                  <c:v>0.07</c:v>
                </c:pt>
                <c:pt idx="962">
                  <c:v>0.39</c:v>
                </c:pt>
                <c:pt idx="963">
                  <c:v>0.37</c:v>
                </c:pt>
                <c:pt idx="964">
                  <c:v>0.04</c:v>
                </c:pt>
                <c:pt idx="965">
                  <c:v>0.02</c:v>
                </c:pt>
                <c:pt idx="966">
                  <c:v>0.02</c:v>
                </c:pt>
                <c:pt idx="967">
                  <c:v>0.08</c:v>
                </c:pt>
                <c:pt idx="968">
                  <c:v>0.32</c:v>
                </c:pt>
                <c:pt idx="969">
                  <c:v>0.12</c:v>
                </c:pt>
                <c:pt idx="970">
                  <c:v>0.3</c:v>
                </c:pt>
                <c:pt idx="971">
                  <c:v>0.04</c:v>
                </c:pt>
                <c:pt idx="972">
                  <c:v>0.53</c:v>
                </c:pt>
                <c:pt idx="973">
                  <c:v>0.17</c:v>
                </c:pt>
                <c:pt idx="974">
                  <c:v>0.01</c:v>
                </c:pt>
                <c:pt idx="975">
                  <c:v>0.09</c:v>
                </c:pt>
                <c:pt idx="976">
                  <c:v>0.17</c:v>
                </c:pt>
                <c:pt idx="977">
                  <c:v>0.13</c:v>
                </c:pt>
                <c:pt idx="978">
                  <c:v>0.09</c:v>
                </c:pt>
                <c:pt idx="979">
                  <c:v>0.08</c:v>
                </c:pt>
                <c:pt idx="980">
                  <c:v>0.56</c:v>
                </c:pt>
                <c:pt idx="981">
                  <c:v>0.07</c:v>
                </c:pt>
                <c:pt idx="982">
                  <c:v>0.03</c:v>
                </c:pt>
                <c:pt idx="983">
                  <c:v>0.44</c:v>
                </c:pt>
                <c:pt idx="984">
                  <c:v>0.04</c:v>
                </c:pt>
                <c:pt idx="985">
                  <c:v>0.2</c:v>
                </c:pt>
                <c:pt idx="986">
                  <c:v>0.08</c:v>
                </c:pt>
                <c:pt idx="987">
                  <c:v>0.63</c:v>
                </c:pt>
                <c:pt idx="988">
                  <c:v>0.13</c:v>
                </c:pt>
                <c:pt idx="989">
                  <c:v>0.42</c:v>
                </c:pt>
                <c:pt idx="990">
                  <c:v>0.02</c:v>
                </c:pt>
                <c:pt idx="991">
                  <c:v>0.04</c:v>
                </c:pt>
                <c:pt idx="992">
                  <c:v>0.44</c:v>
                </c:pt>
                <c:pt idx="993">
                  <c:v>0.03</c:v>
                </c:pt>
                <c:pt idx="994">
                  <c:v>0.29</c:v>
                </c:pt>
                <c:pt idx="995">
                  <c:v>0.36</c:v>
                </c:pt>
                <c:pt idx="996">
                  <c:v>0.05</c:v>
                </c:pt>
                <c:pt idx="997">
                  <c:v>0.01</c:v>
                </c:pt>
                <c:pt idx="998">
                  <c:v>0.05</c:v>
                </c:pt>
                <c:pt idx="999">
                  <c:v>0.05</c:v>
                </c:pt>
                <c:pt idx="1000">
                  <c:v>0.36</c:v>
                </c:pt>
                <c:pt idx="1001">
                  <c:v>0.04</c:v>
                </c:pt>
                <c:pt idx="1002">
                  <c:v>0.13</c:v>
                </c:pt>
                <c:pt idx="1003">
                  <c:v>0.35</c:v>
                </c:pt>
                <c:pt idx="1004">
                  <c:v>0.04</c:v>
                </c:pt>
                <c:pt idx="1005">
                  <c:v>0.04</c:v>
                </c:pt>
                <c:pt idx="1006">
                  <c:v>0.15</c:v>
                </c:pt>
                <c:pt idx="1007">
                  <c:v>0.01</c:v>
                </c:pt>
                <c:pt idx="1008">
                  <c:v>0.66</c:v>
                </c:pt>
                <c:pt idx="1009">
                  <c:v>0.22</c:v>
                </c:pt>
                <c:pt idx="1010">
                  <c:v>0.05</c:v>
                </c:pt>
                <c:pt idx="1011">
                  <c:v>0.06</c:v>
                </c:pt>
                <c:pt idx="1012">
                  <c:v>0.07</c:v>
                </c:pt>
                <c:pt idx="1013">
                  <c:v>0.03</c:v>
                </c:pt>
                <c:pt idx="1014">
                  <c:v>0.08</c:v>
                </c:pt>
                <c:pt idx="1015">
                  <c:v>0.29</c:v>
                </c:pt>
                <c:pt idx="1016">
                  <c:v>0.41</c:v>
                </c:pt>
                <c:pt idx="1017">
                  <c:v>0.37</c:v>
                </c:pt>
                <c:pt idx="1018">
                  <c:v>0.01</c:v>
                </c:pt>
                <c:pt idx="1019">
                  <c:v>0.13</c:v>
                </c:pt>
                <c:pt idx="1020">
                  <c:v>0.06</c:v>
                </c:pt>
                <c:pt idx="1021">
                  <c:v>0.06</c:v>
                </c:pt>
                <c:pt idx="1022">
                  <c:v>0.42</c:v>
                </c:pt>
                <c:pt idx="1023">
                  <c:v>0.01</c:v>
                </c:pt>
                <c:pt idx="1024">
                  <c:v>0.06</c:v>
                </c:pt>
                <c:pt idx="1025">
                  <c:v>0.01</c:v>
                </c:pt>
                <c:pt idx="1026">
                  <c:v>0.05</c:v>
                </c:pt>
                <c:pt idx="1027">
                  <c:v>0.14</c:v>
                </c:pt>
                <c:pt idx="1028">
                  <c:v>0.02</c:v>
                </c:pt>
                <c:pt idx="1029">
                  <c:v>0.23</c:v>
                </c:pt>
                <c:pt idx="1030">
                  <c:v>0.03</c:v>
                </c:pt>
                <c:pt idx="1031">
                  <c:v>0.07</c:v>
                </c:pt>
                <c:pt idx="1032">
                  <c:v>0.14</c:v>
                </c:pt>
                <c:pt idx="1033">
                  <c:v>0.37</c:v>
                </c:pt>
                <c:pt idx="1034">
                  <c:v>0.02</c:v>
                </c:pt>
                <c:pt idx="1035">
                  <c:v>0.25</c:v>
                </c:pt>
                <c:pt idx="1036">
                  <c:v>0.29</c:v>
                </c:pt>
                <c:pt idx="1037">
                  <c:v>0.07</c:v>
                </c:pt>
                <c:pt idx="1038">
                  <c:v>0.19</c:v>
                </c:pt>
                <c:pt idx="1039">
                  <c:v>0.08</c:v>
                </c:pt>
                <c:pt idx="1040">
                  <c:v>0.02</c:v>
                </c:pt>
                <c:pt idx="1041">
                  <c:v>0.01</c:v>
                </c:pt>
                <c:pt idx="1042">
                  <c:v>0.6</c:v>
                </c:pt>
                <c:pt idx="1043">
                  <c:v>0.06</c:v>
                </c:pt>
                <c:pt idx="1044">
                  <c:v>0.07</c:v>
                </c:pt>
                <c:pt idx="1045">
                  <c:v>0.05</c:v>
                </c:pt>
                <c:pt idx="1046">
                  <c:v>0.14</c:v>
                </c:pt>
                <c:pt idx="1047">
                  <c:v>0.03</c:v>
                </c:pt>
                <c:pt idx="1048">
                  <c:v>0.01</c:v>
                </c:pt>
                <c:pt idx="1049">
                  <c:v>0.14</c:v>
                </c:pt>
                <c:pt idx="1050">
                  <c:v>0.04</c:v>
                </c:pt>
                <c:pt idx="1051">
                  <c:v>0.03</c:v>
                </c:pt>
                <c:pt idx="1052">
                  <c:v>0.07</c:v>
                </c:pt>
                <c:pt idx="1053">
                  <c:v>0.01</c:v>
                </c:pt>
                <c:pt idx="1054">
                  <c:v>0.01</c:v>
                </c:pt>
                <c:pt idx="1055">
                  <c:v>0.03</c:v>
                </c:pt>
                <c:pt idx="1056">
                  <c:v>0.31</c:v>
                </c:pt>
                <c:pt idx="1057">
                  <c:v>0.07</c:v>
                </c:pt>
                <c:pt idx="1058">
                  <c:v>0.36</c:v>
                </c:pt>
                <c:pt idx="1059">
                  <c:v>0.26</c:v>
                </c:pt>
                <c:pt idx="1060">
                  <c:v>0.02</c:v>
                </c:pt>
                <c:pt idx="1061">
                  <c:v>0.06</c:v>
                </c:pt>
                <c:pt idx="1062">
                  <c:v>0.02</c:v>
                </c:pt>
                <c:pt idx="1063">
                  <c:v>0.03</c:v>
                </c:pt>
                <c:pt idx="1064">
                  <c:v>0.04</c:v>
                </c:pt>
                <c:pt idx="1065">
                  <c:v>0.02</c:v>
                </c:pt>
                <c:pt idx="1066">
                  <c:v>0.13</c:v>
                </c:pt>
                <c:pt idx="1067">
                  <c:v>0.02</c:v>
                </c:pt>
                <c:pt idx="1068">
                  <c:v>0.18</c:v>
                </c:pt>
                <c:pt idx="1069">
                  <c:v>0.03</c:v>
                </c:pt>
                <c:pt idx="1070">
                  <c:v>0.25</c:v>
                </c:pt>
                <c:pt idx="1071">
                  <c:v>0.07</c:v>
                </c:pt>
                <c:pt idx="1072">
                  <c:v>0.11</c:v>
                </c:pt>
                <c:pt idx="1073">
                  <c:v>0.06</c:v>
                </c:pt>
                <c:pt idx="1074">
                  <c:v>0.03</c:v>
                </c:pt>
                <c:pt idx="1075">
                  <c:v>0.07</c:v>
                </c:pt>
                <c:pt idx="1076">
                  <c:v>0.01</c:v>
                </c:pt>
                <c:pt idx="1077">
                  <c:v>0.09</c:v>
                </c:pt>
                <c:pt idx="1078">
                  <c:v>0.01</c:v>
                </c:pt>
                <c:pt idx="1079">
                  <c:v>0.07</c:v>
                </c:pt>
                <c:pt idx="1080">
                  <c:v>0.03</c:v>
                </c:pt>
                <c:pt idx="1081">
                  <c:v>0.04</c:v>
                </c:pt>
                <c:pt idx="1082">
                  <c:v>0.01</c:v>
                </c:pt>
                <c:pt idx="1083">
                  <c:v>0.02</c:v>
                </c:pt>
                <c:pt idx="1084">
                  <c:v>0.53</c:v>
                </c:pt>
                <c:pt idx="1085">
                  <c:v>0.08</c:v>
                </c:pt>
                <c:pt idx="1086">
                  <c:v>0.34</c:v>
                </c:pt>
                <c:pt idx="1087">
                  <c:v>0.01</c:v>
                </c:pt>
                <c:pt idx="1088">
                  <c:v>0.01</c:v>
                </c:pt>
                <c:pt idx="1089">
                  <c:v>0.52</c:v>
                </c:pt>
                <c:pt idx="1090">
                  <c:v>0.05</c:v>
                </c:pt>
                <c:pt idx="1091">
                  <c:v>0.02</c:v>
                </c:pt>
                <c:pt idx="1092">
                  <c:v>0.32</c:v>
                </c:pt>
                <c:pt idx="1093">
                  <c:v>0.01</c:v>
                </c:pt>
                <c:pt idx="1094">
                  <c:v>0.01</c:v>
                </c:pt>
                <c:pt idx="1095">
                  <c:v>0.01</c:v>
                </c:pt>
                <c:pt idx="1096">
                  <c:v>0.04</c:v>
                </c:pt>
                <c:pt idx="1097">
                  <c:v>0.03</c:v>
                </c:pt>
                <c:pt idx="1098">
                  <c:v>0.2</c:v>
                </c:pt>
                <c:pt idx="1099">
                  <c:v>0.02</c:v>
                </c:pt>
                <c:pt idx="1100">
                  <c:v>0.04</c:v>
                </c:pt>
                <c:pt idx="1101">
                  <c:v>0.07</c:v>
                </c:pt>
                <c:pt idx="1102">
                  <c:v>0.02</c:v>
                </c:pt>
                <c:pt idx="1103">
                  <c:v>0.01</c:v>
                </c:pt>
                <c:pt idx="1104">
                  <c:v>0.02</c:v>
                </c:pt>
                <c:pt idx="1105">
                  <c:v>0.01</c:v>
                </c:pt>
                <c:pt idx="1106">
                  <c:v>0.02</c:v>
                </c:pt>
                <c:pt idx="1107">
                  <c:v>0.02</c:v>
                </c:pt>
                <c:pt idx="1108">
                  <c:v>0.06</c:v>
                </c:pt>
                <c:pt idx="1109">
                  <c:v>0.01</c:v>
                </c:pt>
                <c:pt idx="1110">
                  <c:v>0.03</c:v>
                </c:pt>
                <c:pt idx="1111">
                  <c:v>0.05</c:v>
                </c:pt>
                <c:pt idx="1112">
                  <c:v>0.09</c:v>
                </c:pt>
                <c:pt idx="1113">
                  <c:v>0.02</c:v>
                </c:pt>
                <c:pt idx="1114">
                  <c:v>0.39</c:v>
                </c:pt>
                <c:pt idx="1115">
                  <c:v>0.03</c:v>
                </c:pt>
                <c:pt idx="1116">
                  <c:v>0.01</c:v>
                </c:pt>
                <c:pt idx="1117">
                  <c:v>0.29</c:v>
                </c:pt>
                <c:pt idx="1118">
                  <c:v>0.03</c:v>
                </c:pt>
                <c:pt idx="1119">
                  <c:v>0.02</c:v>
                </c:pt>
                <c:pt idx="1120">
                  <c:v>0.18</c:v>
                </c:pt>
                <c:pt idx="1121">
                  <c:v>0.06</c:v>
                </c:pt>
                <c:pt idx="1122">
                  <c:v>0.18</c:v>
                </c:pt>
                <c:pt idx="1123">
                  <c:v>0.01</c:v>
                </c:pt>
                <c:pt idx="1124">
                  <c:v>0.01</c:v>
                </c:pt>
                <c:pt idx="1125">
                  <c:v>0.05</c:v>
                </c:pt>
                <c:pt idx="1126">
                  <c:v>0.03</c:v>
                </c:pt>
                <c:pt idx="1127">
                  <c:v>0.06</c:v>
                </c:pt>
                <c:pt idx="1128">
                  <c:v>0.01</c:v>
                </c:pt>
                <c:pt idx="1129">
                  <c:v>0.05</c:v>
                </c:pt>
                <c:pt idx="1130">
                  <c:v>0.01</c:v>
                </c:pt>
                <c:pt idx="1131">
                  <c:v>0.03</c:v>
                </c:pt>
                <c:pt idx="1132">
                  <c:v>0.01</c:v>
                </c:pt>
                <c:pt idx="1133">
                  <c:v>0.51</c:v>
                </c:pt>
                <c:pt idx="1134">
                  <c:v>0.03</c:v>
                </c:pt>
                <c:pt idx="1135">
                  <c:v>0.06</c:v>
                </c:pt>
                <c:pt idx="1136">
                  <c:v>0.02</c:v>
                </c:pt>
                <c:pt idx="1137">
                  <c:v>0.01</c:v>
                </c:pt>
                <c:pt idx="1138">
                  <c:v>0.04</c:v>
                </c:pt>
                <c:pt idx="1139">
                  <c:v>0.04</c:v>
                </c:pt>
                <c:pt idx="1140">
                  <c:v>0.06</c:v>
                </c:pt>
                <c:pt idx="1141">
                  <c:v>0.08</c:v>
                </c:pt>
                <c:pt idx="1142">
                  <c:v>0.04</c:v>
                </c:pt>
                <c:pt idx="1143">
                  <c:v>0.02</c:v>
                </c:pt>
                <c:pt idx="1144">
                  <c:v>0.05</c:v>
                </c:pt>
                <c:pt idx="1145">
                  <c:v>0.01</c:v>
                </c:pt>
                <c:pt idx="1146">
                  <c:v>0.52</c:v>
                </c:pt>
                <c:pt idx="1147">
                  <c:v>0.06</c:v>
                </c:pt>
                <c:pt idx="1148">
                  <c:v>0.02</c:v>
                </c:pt>
                <c:pt idx="1149">
                  <c:v>0.01</c:v>
                </c:pt>
                <c:pt idx="1150">
                  <c:v>0.02</c:v>
                </c:pt>
                <c:pt idx="1151">
                  <c:v>0.04</c:v>
                </c:pt>
                <c:pt idx="1152">
                  <c:v>0.01</c:v>
                </c:pt>
                <c:pt idx="1153">
                  <c:v>0.06</c:v>
                </c:pt>
                <c:pt idx="1154">
                  <c:v>0.12</c:v>
                </c:pt>
                <c:pt idx="1155">
                  <c:v>0.03</c:v>
                </c:pt>
                <c:pt idx="1156">
                  <c:v>0.01</c:v>
                </c:pt>
                <c:pt idx="1157">
                  <c:v>0.03</c:v>
                </c:pt>
                <c:pt idx="1158">
                  <c:v>0.33</c:v>
                </c:pt>
                <c:pt idx="1159">
                  <c:v>0.01</c:v>
                </c:pt>
                <c:pt idx="1160">
                  <c:v>0.04</c:v>
                </c:pt>
                <c:pt idx="1161">
                  <c:v>0.09</c:v>
                </c:pt>
                <c:pt idx="1162">
                  <c:v>0.02</c:v>
                </c:pt>
                <c:pt idx="1163">
                  <c:v>0.08</c:v>
                </c:pt>
                <c:pt idx="1164">
                  <c:v>0.49</c:v>
                </c:pt>
                <c:pt idx="1165">
                  <c:v>0.03</c:v>
                </c:pt>
                <c:pt idx="1166">
                  <c:v>0.02</c:v>
                </c:pt>
                <c:pt idx="1167">
                  <c:v>0.01</c:v>
                </c:pt>
                <c:pt idx="1168">
                  <c:v>0.04</c:v>
                </c:pt>
                <c:pt idx="1169">
                  <c:v>0.02</c:v>
                </c:pt>
                <c:pt idx="1170">
                  <c:v>0.02</c:v>
                </c:pt>
                <c:pt idx="1171">
                  <c:v>0.07</c:v>
                </c:pt>
                <c:pt idx="1172">
                  <c:v>0.04</c:v>
                </c:pt>
                <c:pt idx="1173">
                  <c:v>0.03</c:v>
                </c:pt>
                <c:pt idx="1174">
                  <c:v>0.01</c:v>
                </c:pt>
                <c:pt idx="1175">
                  <c:v>0.31</c:v>
                </c:pt>
                <c:pt idx="1176">
                  <c:v>0.01</c:v>
                </c:pt>
                <c:pt idx="1177">
                  <c:v>0.01</c:v>
                </c:pt>
                <c:pt idx="1178">
                  <c:v>0.01</c:v>
                </c:pt>
                <c:pt idx="1179">
                  <c:v>0.22</c:v>
                </c:pt>
                <c:pt idx="1180">
                  <c:v>0.01</c:v>
                </c:pt>
                <c:pt idx="1181">
                  <c:v>0.01</c:v>
                </c:pt>
                <c:pt idx="1182">
                  <c:v>0.02</c:v>
                </c:pt>
                <c:pt idx="1183">
                  <c:v>0.01</c:v>
                </c:pt>
                <c:pt idx="1184">
                  <c:v>0.01</c:v>
                </c:pt>
                <c:pt idx="1185">
                  <c:v>0.03</c:v>
                </c:pt>
                <c:pt idx="1186">
                  <c:v>0.08</c:v>
                </c:pt>
                <c:pt idx="1187">
                  <c:v>0.01</c:v>
                </c:pt>
                <c:pt idx="1188">
                  <c:v>0.06</c:v>
                </c:pt>
                <c:pt idx="1189">
                  <c:v>0.51</c:v>
                </c:pt>
                <c:pt idx="1190">
                  <c:v>0.27</c:v>
                </c:pt>
                <c:pt idx="1191">
                  <c:v>0.11</c:v>
                </c:pt>
                <c:pt idx="1192">
                  <c:v>0.01</c:v>
                </c:pt>
                <c:pt idx="1193">
                  <c:v>0.09</c:v>
                </c:pt>
                <c:pt idx="1194">
                  <c:v>0.01</c:v>
                </c:pt>
                <c:pt idx="1195">
                  <c:v>0.01</c:v>
                </c:pt>
                <c:pt idx="1196">
                  <c:v>0.02</c:v>
                </c:pt>
                <c:pt idx="1197">
                  <c:v>0.02</c:v>
                </c:pt>
                <c:pt idx="1198">
                  <c:v>0.01</c:v>
                </c:pt>
                <c:pt idx="1199">
                  <c:v>0.06</c:v>
                </c:pt>
                <c:pt idx="1200">
                  <c:v>0.05</c:v>
                </c:pt>
                <c:pt idx="1201">
                  <c:v>0.02</c:v>
                </c:pt>
                <c:pt idx="1202">
                  <c:v>0.01</c:v>
                </c:pt>
                <c:pt idx="1203">
                  <c:v>0.02</c:v>
                </c:pt>
                <c:pt idx="1204">
                  <c:v>0.02</c:v>
                </c:pt>
                <c:pt idx="1205">
                  <c:v>0.04</c:v>
                </c:pt>
                <c:pt idx="1206">
                  <c:v>0.03</c:v>
                </c:pt>
                <c:pt idx="1207">
                  <c:v>0.01</c:v>
                </c:pt>
                <c:pt idx="1208">
                  <c:v>0.02</c:v>
                </c:pt>
                <c:pt idx="1209">
                  <c:v>0.05</c:v>
                </c:pt>
                <c:pt idx="1210">
                  <c:v>0.01</c:v>
                </c:pt>
                <c:pt idx="1211">
                  <c:v>0.11</c:v>
                </c:pt>
                <c:pt idx="1212">
                  <c:v>0.01</c:v>
                </c:pt>
                <c:pt idx="1213">
                  <c:v>0.04</c:v>
                </c:pt>
                <c:pt idx="1214">
                  <c:v>0.03</c:v>
                </c:pt>
                <c:pt idx="1215">
                  <c:v>0.02</c:v>
                </c:pt>
                <c:pt idx="1216">
                  <c:v>0.01</c:v>
                </c:pt>
                <c:pt idx="1217">
                  <c:v>0.02</c:v>
                </c:pt>
                <c:pt idx="1218">
                  <c:v>0.01</c:v>
                </c:pt>
                <c:pt idx="1219">
                  <c:v>0.01</c:v>
                </c:pt>
                <c:pt idx="1220">
                  <c:v>0.01</c:v>
                </c:pt>
                <c:pt idx="1221">
                  <c:v>0.05</c:v>
                </c:pt>
                <c:pt idx="1222">
                  <c:v>0.01</c:v>
                </c:pt>
                <c:pt idx="1223">
                  <c:v>0.01</c:v>
                </c:pt>
                <c:pt idx="1224">
                  <c:v>0.02</c:v>
                </c:pt>
                <c:pt idx="1225">
                  <c:v>0.01</c:v>
                </c:pt>
                <c:pt idx="1226">
                  <c:v>0.01</c:v>
                </c:pt>
                <c:pt idx="1227">
                  <c:v>0.04</c:v>
                </c:pt>
                <c:pt idx="1228">
                  <c:v>0.02</c:v>
                </c:pt>
                <c:pt idx="1229">
                  <c:v>0.01</c:v>
                </c:pt>
                <c:pt idx="1230">
                  <c:v>0.05</c:v>
                </c:pt>
                <c:pt idx="1231">
                  <c:v>0.01</c:v>
                </c:pt>
                <c:pt idx="1232">
                  <c:v>0.01</c:v>
                </c:pt>
                <c:pt idx="1233">
                  <c:v>0.04</c:v>
                </c:pt>
                <c:pt idx="1234">
                  <c:v>0.04</c:v>
                </c:pt>
                <c:pt idx="1235">
                  <c:v>0.02</c:v>
                </c:pt>
                <c:pt idx="1236">
                  <c:v>0.04</c:v>
                </c:pt>
                <c:pt idx="1237">
                  <c:v>0.04</c:v>
                </c:pt>
                <c:pt idx="1238">
                  <c:v>0.05</c:v>
                </c:pt>
                <c:pt idx="1239">
                  <c:v>0.01</c:v>
                </c:pt>
                <c:pt idx="1240">
                  <c:v>0.04</c:v>
                </c:pt>
                <c:pt idx="1241">
                  <c:v>0.03</c:v>
                </c:pt>
                <c:pt idx="1242">
                  <c:v>0.07</c:v>
                </c:pt>
                <c:pt idx="1243">
                  <c:v>0.01</c:v>
                </c:pt>
                <c:pt idx="1244">
                  <c:v>0.04</c:v>
                </c:pt>
                <c:pt idx="1245">
                  <c:v>0.01</c:v>
                </c:pt>
                <c:pt idx="1246">
                  <c:v>0.04</c:v>
                </c:pt>
                <c:pt idx="1247">
                  <c:v>0.01</c:v>
                </c:pt>
                <c:pt idx="1248">
                  <c:v>0.25</c:v>
                </c:pt>
                <c:pt idx="1249">
                  <c:v>0.05</c:v>
                </c:pt>
                <c:pt idx="1250">
                  <c:v>0.03</c:v>
                </c:pt>
                <c:pt idx="1251">
                  <c:v>0.02</c:v>
                </c:pt>
                <c:pt idx="1252">
                  <c:v>0.01</c:v>
                </c:pt>
                <c:pt idx="1253">
                  <c:v>0.25</c:v>
                </c:pt>
                <c:pt idx="1254">
                  <c:v>0.05</c:v>
                </c:pt>
                <c:pt idx="1255">
                  <c:v>0.01</c:v>
                </c:pt>
                <c:pt idx="1256">
                  <c:v>0.01</c:v>
                </c:pt>
                <c:pt idx="1257">
                  <c:v>0.48</c:v>
                </c:pt>
                <c:pt idx="1258">
                  <c:v>0.07</c:v>
                </c:pt>
                <c:pt idx="1259">
                  <c:v>0.01</c:v>
                </c:pt>
                <c:pt idx="1260">
                  <c:v>0.04</c:v>
                </c:pt>
                <c:pt idx="1261">
                  <c:v>0.06</c:v>
                </c:pt>
                <c:pt idx="1262">
                  <c:v>0.03</c:v>
                </c:pt>
                <c:pt idx="1263">
                  <c:v>0.04</c:v>
                </c:pt>
                <c:pt idx="1264">
                  <c:v>0.08</c:v>
                </c:pt>
                <c:pt idx="1265">
                  <c:v>0.23</c:v>
                </c:pt>
                <c:pt idx="1266">
                  <c:v>0.12</c:v>
                </c:pt>
                <c:pt idx="1267">
                  <c:v>0.01</c:v>
                </c:pt>
                <c:pt idx="1268">
                  <c:v>0.01</c:v>
                </c:pt>
                <c:pt idx="1269">
                  <c:v>0.02</c:v>
                </c:pt>
                <c:pt idx="1270">
                  <c:v>0.08</c:v>
                </c:pt>
                <c:pt idx="1271">
                  <c:v>0.1</c:v>
                </c:pt>
                <c:pt idx="1272">
                  <c:v>0.02</c:v>
                </c:pt>
                <c:pt idx="1273">
                  <c:v>0.37</c:v>
                </c:pt>
                <c:pt idx="1274">
                  <c:v>0.03</c:v>
                </c:pt>
                <c:pt idx="1275">
                  <c:v>0.01</c:v>
                </c:pt>
                <c:pt idx="1276">
                  <c:v>0.02</c:v>
                </c:pt>
                <c:pt idx="1277">
                  <c:v>0.05</c:v>
                </c:pt>
                <c:pt idx="1278">
                  <c:v>0.01</c:v>
                </c:pt>
                <c:pt idx="1279">
                  <c:v>0.07</c:v>
                </c:pt>
                <c:pt idx="1280">
                  <c:v>0.01</c:v>
                </c:pt>
                <c:pt idx="1281">
                  <c:v>0.02</c:v>
                </c:pt>
                <c:pt idx="1282">
                  <c:v>0.01</c:v>
                </c:pt>
                <c:pt idx="1283">
                  <c:v>0.08</c:v>
                </c:pt>
                <c:pt idx="1284">
                  <c:v>0.41</c:v>
                </c:pt>
                <c:pt idx="1285">
                  <c:v>0.05</c:v>
                </c:pt>
                <c:pt idx="1286">
                  <c:v>0.01</c:v>
                </c:pt>
                <c:pt idx="1287">
                  <c:v>0.01</c:v>
                </c:pt>
                <c:pt idx="1288">
                  <c:v>0.01</c:v>
                </c:pt>
                <c:pt idx="1289">
                  <c:v>0.06</c:v>
                </c:pt>
                <c:pt idx="1290">
                  <c:v>0.06</c:v>
                </c:pt>
                <c:pt idx="1291">
                  <c:v>0.06</c:v>
                </c:pt>
                <c:pt idx="1292">
                  <c:v>0.02</c:v>
                </c:pt>
                <c:pt idx="1293">
                  <c:v>0.03</c:v>
                </c:pt>
                <c:pt idx="1294">
                  <c:v>0.02</c:v>
                </c:pt>
                <c:pt idx="1295">
                  <c:v>0.02</c:v>
                </c:pt>
                <c:pt idx="1296">
                  <c:v>0.01</c:v>
                </c:pt>
                <c:pt idx="1297">
                  <c:v>0.35</c:v>
                </c:pt>
                <c:pt idx="1298">
                  <c:v>0.04</c:v>
                </c:pt>
                <c:pt idx="1299">
                  <c:v>0.02</c:v>
                </c:pt>
                <c:pt idx="1300">
                  <c:v>0.02</c:v>
                </c:pt>
                <c:pt idx="1301">
                  <c:v>0.12</c:v>
                </c:pt>
                <c:pt idx="1302">
                  <c:v>0.02</c:v>
                </c:pt>
                <c:pt idx="1303">
                  <c:v>0.04</c:v>
                </c:pt>
                <c:pt idx="1304">
                  <c:v>0.01</c:v>
                </c:pt>
                <c:pt idx="1305">
                  <c:v>0.06</c:v>
                </c:pt>
                <c:pt idx="1306">
                  <c:v>0.02</c:v>
                </c:pt>
                <c:pt idx="1307">
                  <c:v>0.02</c:v>
                </c:pt>
                <c:pt idx="1308">
                  <c:v>0.11</c:v>
                </c:pt>
                <c:pt idx="1309">
                  <c:v>0.01</c:v>
                </c:pt>
                <c:pt idx="1310">
                  <c:v>0.11</c:v>
                </c:pt>
                <c:pt idx="1311">
                  <c:v>0.17</c:v>
                </c:pt>
                <c:pt idx="1312">
                  <c:v>0.01</c:v>
                </c:pt>
                <c:pt idx="1313">
                  <c:v>0.02</c:v>
                </c:pt>
                <c:pt idx="1314">
                  <c:v>0.03</c:v>
                </c:pt>
                <c:pt idx="1315">
                  <c:v>0.18</c:v>
                </c:pt>
                <c:pt idx="1316">
                  <c:v>0.05</c:v>
                </c:pt>
                <c:pt idx="1317">
                  <c:v>0.01</c:v>
                </c:pt>
                <c:pt idx="1318">
                  <c:v>0.06</c:v>
                </c:pt>
                <c:pt idx="1319">
                  <c:v>0.05</c:v>
                </c:pt>
                <c:pt idx="1320">
                  <c:v>0.01</c:v>
                </c:pt>
                <c:pt idx="1321">
                  <c:v>0.01</c:v>
                </c:pt>
                <c:pt idx="1322">
                  <c:v>0.02</c:v>
                </c:pt>
                <c:pt idx="1323">
                  <c:v>0.01</c:v>
                </c:pt>
                <c:pt idx="1324">
                  <c:v>0.02</c:v>
                </c:pt>
                <c:pt idx="1325">
                  <c:v>0.01</c:v>
                </c:pt>
                <c:pt idx="1326">
                  <c:v>0.05</c:v>
                </c:pt>
                <c:pt idx="1327">
                  <c:v>0.01</c:v>
                </c:pt>
                <c:pt idx="1328">
                  <c:v>0.01</c:v>
                </c:pt>
                <c:pt idx="1329">
                  <c:v>0.01</c:v>
                </c:pt>
                <c:pt idx="1330">
                  <c:v>0.02</c:v>
                </c:pt>
                <c:pt idx="1331">
                  <c:v>0.01</c:v>
                </c:pt>
                <c:pt idx="1332">
                  <c:v>0.01</c:v>
                </c:pt>
                <c:pt idx="1333">
                  <c:v>0.02</c:v>
                </c:pt>
                <c:pt idx="1334">
                  <c:v>0.01</c:v>
                </c:pt>
                <c:pt idx="1335">
                  <c:v>0.01</c:v>
                </c:pt>
                <c:pt idx="1336">
                  <c:v>0.04</c:v>
                </c:pt>
                <c:pt idx="1337">
                  <c:v>0.12</c:v>
                </c:pt>
                <c:pt idx="1338">
                  <c:v>0.03</c:v>
                </c:pt>
                <c:pt idx="1339">
                  <c:v>0.03</c:v>
                </c:pt>
                <c:pt idx="1340">
                  <c:v>0.01</c:v>
                </c:pt>
                <c:pt idx="1341">
                  <c:v>0.02</c:v>
                </c:pt>
                <c:pt idx="1342">
                  <c:v>0.04</c:v>
                </c:pt>
                <c:pt idx="1343">
                  <c:v>0.06</c:v>
                </c:pt>
                <c:pt idx="1344">
                  <c:v>0.01</c:v>
                </c:pt>
                <c:pt idx="1345">
                  <c:v>0.02</c:v>
                </c:pt>
                <c:pt idx="1346">
                  <c:v>0.02</c:v>
                </c:pt>
                <c:pt idx="1347">
                  <c:v>0.16</c:v>
                </c:pt>
                <c:pt idx="1348">
                  <c:v>0.01</c:v>
                </c:pt>
                <c:pt idx="1349">
                  <c:v>0.01</c:v>
                </c:pt>
                <c:pt idx="1350">
                  <c:v>0.02</c:v>
                </c:pt>
                <c:pt idx="1351">
                  <c:v>0.01</c:v>
                </c:pt>
                <c:pt idx="1352">
                  <c:v>0.01</c:v>
                </c:pt>
                <c:pt idx="1353">
                  <c:v>0.02</c:v>
                </c:pt>
                <c:pt idx="1354">
                  <c:v>0.01</c:v>
                </c:pt>
                <c:pt idx="1355">
                  <c:v>0.02</c:v>
                </c:pt>
                <c:pt idx="1356">
                  <c:v>0.02</c:v>
                </c:pt>
                <c:pt idx="1357">
                  <c:v>0.08</c:v>
                </c:pt>
                <c:pt idx="1358">
                  <c:v>0.19</c:v>
                </c:pt>
                <c:pt idx="1359">
                  <c:v>0.06</c:v>
                </c:pt>
                <c:pt idx="1360">
                  <c:v>0.01</c:v>
                </c:pt>
                <c:pt idx="1361">
                  <c:v>0.05</c:v>
                </c:pt>
                <c:pt idx="1362">
                  <c:v>0.34</c:v>
                </c:pt>
                <c:pt idx="1363">
                  <c:v>0.13</c:v>
                </c:pt>
                <c:pt idx="1364">
                  <c:v>0.02</c:v>
                </c:pt>
                <c:pt idx="1365">
                  <c:v>0.11</c:v>
                </c:pt>
                <c:pt idx="1366">
                  <c:v>0.01</c:v>
                </c:pt>
                <c:pt idx="1367">
                  <c:v>0.03</c:v>
                </c:pt>
                <c:pt idx="1368">
                  <c:v>0.01</c:v>
                </c:pt>
                <c:pt idx="1369">
                  <c:v>0.01</c:v>
                </c:pt>
                <c:pt idx="1370">
                  <c:v>0.04</c:v>
                </c:pt>
                <c:pt idx="1371">
                  <c:v>0.04</c:v>
                </c:pt>
                <c:pt idx="1372">
                  <c:v>0.01</c:v>
                </c:pt>
                <c:pt idx="1373">
                  <c:v>0.01</c:v>
                </c:pt>
                <c:pt idx="1374">
                  <c:v>0.01</c:v>
                </c:pt>
                <c:pt idx="1375">
                  <c:v>0.01</c:v>
                </c:pt>
                <c:pt idx="1376">
                  <c:v>0.03</c:v>
                </c:pt>
                <c:pt idx="1377">
                  <c:v>0.01</c:v>
                </c:pt>
                <c:pt idx="1378">
                  <c:v>0.01</c:v>
                </c:pt>
                <c:pt idx="1379">
                  <c:v>0.01</c:v>
                </c:pt>
                <c:pt idx="1380">
                  <c:v>0.01</c:v>
                </c:pt>
                <c:pt idx="1381">
                  <c:v>0.02</c:v>
                </c:pt>
                <c:pt idx="1382">
                  <c:v>0.02</c:v>
                </c:pt>
                <c:pt idx="1383">
                  <c:v>0.02</c:v>
                </c:pt>
                <c:pt idx="1384">
                  <c:v>0.02</c:v>
                </c:pt>
                <c:pt idx="1385">
                  <c:v>0.02</c:v>
                </c:pt>
                <c:pt idx="1386">
                  <c:v>0.01</c:v>
                </c:pt>
                <c:pt idx="1387">
                  <c:v>0.01</c:v>
                </c:pt>
                <c:pt idx="1388">
                  <c:v>0.01</c:v>
                </c:pt>
                <c:pt idx="1389">
                  <c:v>0.02</c:v>
                </c:pt>
                <c:pt idx="1390">
                  <c:v>0.04</c:v>
                </c:pt>
                <c:pt idx="1391">
                  <c:v>0.03</c:v>
                </c:pt>
                <c:pt idx="1392">
                  <c:v>0.01</c:v>
                </c:pt>
                <c:pt idx="1393">
                  <c:v>0.01</c:v>
                </c:pt>
                <c:pt idx="1394">
                  <c:v>0.03</c:v>
                </c:pt>
                <c:pt idx="1395">
                  <c:v>0.04</c:v>
                </c:pt>
                <c:pt idx="1396">
                  <c:v>0.05</c:v>
                </c:pt>
                <c:pt idx="1397">
                  <c:v>0.09</c:v>
                </c:pt>
                <c:pt idx="1398">
                  <c:v>0.01</c:v>
                </c:pt>
                <c:pt idx="1399">
                  <c:v>0.02</c:v>
                </c:pt>
                <c:pt idx="1400">
                  <c:v>0.01</c:v>
                </c:pt>
                <c:pt idx="1401">
                  <c:v>0.02</c:v>
                </c:pt>
                <c:pt idx="1402">
                  <c:v>0.01</c:v>
                </c:pt>
                <c:pt idx="1403">
                  <c:v>0.01</c:v>
                </c:pt>
                <c:pt idx="1404">
                  <c:v>0.03</c:v>
                </c:pt>
                <c:pt idx="1405">
                  <c:v>0.04</c:v>
                </c:pt>
                <c:pt idx="1406">
                  <c:v>0.05</c:v>
                </c:pt>
                <c:pt idx="1407">
                  <c:v>0.01</c:v>
                </c:pt>
                <c:pt idx="1408">
                  <c:v>0.01</c:v>
                </c:pt>
                <c:pt idx="1409">
                  <c:v>0.01</c:v>
                </c:pt>
                <c:pt idx="1410">
                  <c:v>0.03</c:v>
                </c:pt>
                <c:pt idx="1411">
                  <c:v>0.01</c:v>
                </c:pt>
                <c:pt idx="1412">
                  <c:v>0.01</c:v>
                </c:pt>
                <c:pt idx="1413">
                  <c:v>0.03</c:v>
                </c:pt>
                <c:pt idx="1414">
                  <c:v>0.02</c:v>
                </c:pt>
                <c:pt idx="1415">
                  <c:v>0.01</c:v>
                </c:pt>
                <c:pt idx="1416">
                  <c:v>0.02</c:v>
                </c:pt>
                <c:pt idx="1417">
                  <c:v>0.01</c:v>
                </c:pt>
                <c:pt idx="1418">
                  <c:v>0.02</c:v>
                </c:pt>
                <c:pt idx="1419">
                  <c:v>0.02</c:v>
                </c:pt>
                <c:pt idx="1420">
                  <c:v>0.11</c:v>
                </c:pt>
                <c:pt idx="1421">
                  <c:v>0.02</c:v>
                </c:pt>
                <c:pt idx="1422">
                  <c:v>0.02</c:v>
                </c:pt>
                <c:pt idx="1423">
                  <c:v>0.05</c:v>
                </c:pt>
                <c:pt idx="1424">
                  <c:v>0.01</c:v>
                </c:pt>
                <c:pt idx="1425">
                  <c:v>0.01</c:v>
                </c:pt>
                <c:pt idx="1426">
                  <c:v>0.01</c:v>
                </c:pt>
                <c:pt idx="1427">
                  <c:v>0.01</c:v>
                </c:pt>
                <c:pt idx="1428">
                  <c:v>0.02</c:v>
                </c:pt>
                <c:pt idx="1429">
                  <c:v>0.01</c:v>
                </c:pt>
                <c:pt idx="1430">
                  <c:v>0.02</c:v>
                </c:pt>
                <c:pt idx="1431">
                  <c:v>0.02</c:v>
                </c:pt>
                <c:pt idx="1432">
                  <c:v>0.01</c:v>
                </c:pt>
                <c:pt idx="1433">
                  <c:v>0.07</c:v>
                </c:pt>
                <c:pt idx="1434">
                  <c:v>0.05</c:v>
                </c:pt>
                <c:pt idx="1435">
                  <c:v>0.01</c:v>
                </c:pt>
                <c:pt idx="1436">
                  <c:v>0.02</c:v>
                </c:pt>
                <c:pt idx="1437">
                  <c:v>0.01</c:v>
                </c:pt>
                <c:pt idx="1438">
                  <c:v>0.02</c:v>
                </c:pt>
                <c:pt idx="1439">
                  <c:v>0.02</c:v>
                </c:pt>
                <c:pt idx="1440">
                  <c:v>0.01</c:v>
                </c:pt>
                <c:pt idx="1441">
                  <c:v>0.01</c:v>
                </c:pt>
                <c:pt idx="1442">
                  <c:v>0.01</c:v>
                </c:pt>
                <c:pt idx="1443">
                  <c:v>0.01</c:v>
                </c:pt>
                <c:pt idx="1444">
                  <c:v>0.04</c:v>
                </c:pt>
                <c:pt idx="1445">
                  <c:v>0.01</c:v>
                </c:pt>
                <c:pt idx="1446">
                  <c:v>0.02</c:v>
                </c:pt>
                <c:pt idx="1447">
                  <c:v>0.01</c:v>
                </c:pt>
                <c:pt idx="1448">
                  <c:v>0.01</c:v>
                </c:pt>
                <c:pt idx="1449">
                  <c:v>0.04</c:v>
                </c:pt>
                <c:pt idx="1450">
                  <c:v>0.02</c:v>
                </c:pt>
                <c:pt idx="1451">
                  <c:v>0.01</c:v>
                </c:pt>
                <c:pt idx="1452">
                  <c:v>0.08</c:v>
                </c:pt>
                <c:pt idx="1453">
                  <c:v>0.01</c:v>
                </c:pt>
                <c:pt idx="1454">
                  <c:v>0.02</c:v>
                </c:pt>
                <c:pt idx="1455">
                  <c:v>0.01</c:v>
                </c:pt>
                <c:pt idx="1456">
                  <c:v>0.06</c:v>
                </c:pt>
                <c:pt idx="1457">
                  <c:v>0.01</c:v>
                </c:pt>
                <c:pt idx="1458">
                  <c:v>0.03</c:v>
                </c:pt>
                <c:pt idx="1459">
                  <c:v>0.04</c:v>
                </c:pt>
                <c:pt idx="1460">
                  <c:v>0.03</c:v>
                </c:pt>
                <c:pt idx="1461">
                  <c:v>0.01</c:v>
                </c:pt>
                <c:pt idx="1462">
                  <c:v>0.07</c:v>
                </c:pt>
                <c:pt idx="1463">
                  <c:v>0.02</c:v>
                </c:pt>
                <c:pt idx="1464">
                  <c:v>0.02</c:v>
                </c:pt>
                <c:pt idx="1465">
                  <c:v>0.01</c:v>
                </c:pt>
                <c:pt idx="1466">
                  <c:v>0.02</c:v>
                </c:pt>
                <c:pt idx="1467">
                  <c:v>0.03</c:v>
                </c:pt>
                <c:pt idx="1468">
                  <c:v>0.01</c:v>
                </c:pt>
                <c:pt idx="1469">
                  <c:v>0.01</c:v>
                </c:pt>
                <c:pt idx="1470">
                  <c:v>0.01</c:v>
                </c:pt>
                <c:pt idx="1471">
                  <c:v>0.01</c:v>
                </c:pt>
                <c:pt idx="1472">
                  <c:v>0.11</c:v>
                </c:pt>
                <c:pt idx="1473">
                  <c:v>0.05</c:v>
                </c:pt>
                <c:pt idx="1474">
                  <c:v>0.01</c:v>
                </c:pt>
                <c:pt idx="1475">
                  <c:v>0.01</c:v>
                </c:pt>
                <c:pt idx="1476">
                  <c:v>0.02</c:v>
                </c:pt>
                <c:pt idx="1477">
                  <c:v>0.01</c:v>
                </c:pt>
                <c:pt idx="1478">
                  <c:v>0.04</c:v>
                </c:pt>
                <c:pt idx="1479">
                  <c:v>0.01</c:v>
                </c:pt>
                <c:pt idx="1480">
                  <c:v>0.02</c:v>
                </c:pt>
                <c:pt idx="1481">
                  <c:v>0.01</c:v>
                </c:pt>
                <c:pt idx="1482">
                  <c:v>0.01</c:v>
                </c:pt>
                <c:pt idx="1483">
                  <c:v>0.01</c:v>
                </c:pt>
                <c:pt idx="1484">
                  <c:v>0.01</c:v>
                </c:pt>
                <c:pt idx="1485">
                  <c:v>0.02</c:v>
                </c:pt>
                <c:pt idx="1486">
                  <c:v>0.01</c:v>
                </c:pt>
                <c:pt idx="1487">
                  <c:v>0.04</c:v>
                </c:pt>
                <c:pt idx="1488">
                  <c:v>0.01</c:v>
                </c:pt>
                <c:pt idx="1489">
                  <c:v>0.06</c:v>
                </c:pt>
                <c:pt idx="1490">
                  <c:v>0.02</c:v>
                </c:pt>
                <c:pt idx="1491">
                  <c:v>0.03</c:v>
                </c:pt>
                <c:pt idx="1492">
                  <c:v>0.01</c:v>
                </c:pt>
                <c:pt idx="1493">
                  <c:v>0.01</c:v>
                </c:pt>
                <c:pt idx="1494">
                  <c:v>0.01</c:v>
                </c:pt>
                <c:pt idx="1495">
                  <c:v>0.02</c:v>
                </c:pt>
                <c:pt idx="1496">
                  <c:v>0.01</c:v>
                </c:pt>
                <c:pt idx="1497">
                  <c:v>0.04</c:v>
                </c:pt>
                <c:pt idx="1498">
                  <c:v>0.01</c:v>
                </c:pt>
                <c:pt idx="1499">
                  <c:v>0.01</c:v>
                </c:pt>
                <c:pt idx="1500">
                  <c:v>0.03</c:v>
                </c:pt>
                <c:pt idx="1501">
                  <c:v>0.01</c:v>
                </c:pt>
                <c:pt idx="1502">
                  <c:v>0.01</c:v>
                </c:pt>
                <c:pt idx="1503">
                  <c:v>0.01</c:v>
                </c:pt>
                <c:pt idx="1504">
                  <c:v>0.01</c:v>
                </c:pt>
                <c:pt idx="1505">
                  <c:v>0.02</c:v>
                </c:pt>
                <c:pt idx="1506">
                  <c:v>0.01</c:v>
                </c:pt>
                <c:pt idx="1507">
                  <c:v>0.01</c:v>
                </c:pt>
                <c:pt idx="1508">
                  <c:v>0.06</c:v>
                </c:pt>
                <c:pt idx="1509">
                  <c:v>0.01</c:v>
                </c:pt>
                <c:pt idx="1510">
                  <c:v>0.01</c:v>
                </c:pt>
                <c:pt idx="1511">
                  <c:v>0.01</c:v>
                </c:pt>
                <c:pt idx="1512">
                  <c:v>0.02</c:v>
                </c:pt>
                <c:pt idx="1513">
                  <c:v>0.02</c:v>
                </c:pt>
                <c:pt idx="1514">
                  <c:v>0.01</c:v>
                </c:pt>
                <c:pt idx="1515">
                  <c:v>0.01</c:v>
                </c:pt>
                <c:pt idx="1516">
                  <c:v>0.03</c:v>
                </c:pt>
                <c:pt idx="1517">
                  <c:v>0.01</c:v>
                </c:pt>
                <c:pt idx="1518">
                  <c:v>0.01</c:v>
                </c:pt>
                <c:pt idx="1519">
                  <c:v>0.01</c:v>
                </c:pt>
                <c:pt idx="1520">
                  <c:v>0.02</c:v>
                </c:pt>
                <c:pt idx="1521">
                  <c:v>0.04</c:v>
                </c:pt>
                <c:pt idx="1522">
                  <c:v>0.02</c:v>
                </c:pt>
                <c:pt idx="1523">
                  <c:v>0.01</c:v>
                </c:pt>
                <c:pt idx="1524">
                  <c:v>0.01</c:v>
                </c:pt>
                <c:pt idx="1525">
                  <c:v>0.02</c:v>
                </c:pt>
                <c:pt idx="1526">
                  <c:v>0.03</c:v>
                </c:pt>
                <c:pt idx="1527">
                  <c:v>0.01</c:v>
                </c:pt>
                <c:pt idx="1528">
                  <c:v>0.05</c:v>
                </c:pt>
                <c:pt idx="1529">
                  <c:v>0.01</c:v>
                </c:pt>
                <c:pt idx="1530">
                  <c:v>0.02</c:v>
                </c:pt>
                <c:pt idx="1531">
                  <c:v>0.01</c:v>
                </c:pt>
                <c:pt idx="1532">
                  <c:v>0.02</c:v>
                </c:pt>
                <c:pt idx="1533">
                  <c:v>0.02</c:v>
                </c:pt>
                <c:pt idx="1534">
                  <c:v>0.01</c:v>
                </c:pt>
                <c:pt idx="1535">
                  <c:v>0.01</c:v>
                </c:pt>
                <c:pt idx="1536">
                  <c:v>0.03</c:v>
                </c:pt>
                <c:pt idx="1537">
                  <c:v>0.02</c:v>
                </c:pt>
                <c:pt idx="1538">
                  <c:v>0.04</c:v>
                </c:pt>
                <c:pt idx="1539">
                  <c:v>0.01</c:v>
                </c:pt>
                <c:pt idx="1540">
                  <c:v>0.08</c:v>
                </c:pt>
                <c:pt idx="1541">
                  <c:v>0.01</c:v>
                </c:pt>
                <c:pt idx="1542">
                  <c:v>0.02</c:v>
                </c:pt>
                <c:pt idx="1543">
                  <c:v>0.02</c:v>
                </c:pt>
                <c:pt idx="1544">
                  <c:v>0.01</c:v>
                </c:pt>
                <c:pt idx="1545">
                  <c:v>0.03</c:v>
                </c:pt>
                <c:pt idx="1546">
                  <c:v>0.01</c:v>
                </c:pt>
                <c:pt idx="1547">
                  <c:v>0.01</c:v>
                </c:pt>
                <c:pt idx="1548">
                  <c:v>0.06</c:v>
                </c:pt>
                <c:pt idx="1549">
                  <c:v>0.01</c:v>
                </c:pt>
                <c:pt idx="1550">
                  <c:v>0.01</c:v>
                </c:pt>
                <c:pt idx="1551">
                  <c:v>0.02</c:v>
                </c:pt>
                <c:pt idx="1552">
                  <c:v>0.04</c:v>
                </c:pt>
                <c:pt idx="1553">
                  <c:v>0.01</c:v>
                </c:pt>
                <c:pt idx="1554">
                  <c:v>0.01</c:v>
                </c:pt>
                <c:pt idx="1555">
                  <c:v>0.01</c:v>
                </c:pt>
                <c:pt idx="1556">
                  <c:v>0.04</c:v>
                </c:pt>
                <c:pt idx="1557">
                  <c:v>0.04</c:v>
                </c:pt>
                <c:pt idx="1558">
                  <c:v>0.02</c:v>
                </c:pt>
                <c:pt idx="1559">
                  <c:v>0.03</c:v>
                </c:pt>
                <c:pt idx="1560">
                  <c:v>0.02</c:v>
                </c:pt>
                <c:pt idx="1561">
                  <c:v>0.02</c:v>
                </c:pt>
                <c:pt idx="1562">
                  <c:v>0.01</c:v>
                </c:pt>
                <c:pt idx="1563">
                  <c:v>0.01</c:v>
                </c:pt>
                <c:pt idx="1564">
                  <c:v>0.01</c:v>
                </c:pt>
                <c:pt idx="1565">
                  <c:v>0.08</c:v>
                </c:pt>
                <c:pt idx="1566">
                  <c:v>0.01</c:v>
                </c:pt>
                <c:pt idx="1567">
                  <c:v>0.01</c:v>
                </c:pt>
                <c:pt idx="1568">
                  <c:v>0.09</c:v>
                </c:pt>
                <c:pt idx="1569">
                  <c:v>0.01</c:v>
                </c:pt>
                <c:pt idx="1570">
                  <c:v>0.04</c:v>
                </c:pt>
                <c:pt idx="1571">
                  <c:v>0.01</c:v>
                </c:pt>
                <c:pt idx="1572">
                  <c:v>0.01</c:v>
                </c:pt>
                <c:pt idx="1573">
                  <c:v>0.01</c:v>
                </c:pt>
                <c:pt idx="1574">
                  <c:v>0.01</c:v>
                </c:pt>
                <c:pt idx="1575">
                  <c:v>0.01</c:v>
                </c:pt>
                <c:pt idx="1576">
                  <c:v>0.03</c:v>
                </c:pt>
                <c:pt idx="1577">
                  <c:v>0.01</c:v>
                </c:pt>
                <c:pt idx="1578">
                  <c:v>0.03</c:v>
                </c:pt>
                <c:pt idx="1579">
                  <c:v>0.01</c:v>
                </c:pt>
                <c:pt idx="1580">
                  <c:v>0.01</c:v>
                </c:pt>
                <c:pt idx="1581">
                  <c:v>0.02</c:v>
                </c:pt>
                <c:pt idx="1582">
                  <c:v>0.01</c:v>
                </c:pt>
                <c:pt idx="1583">
                  <c:v>0.01</c:v>
                </c:pt>
                <c:pt idx="1584">
                  <c:v>0.01</c:v>
                </c:pt>
                <c:pt idx="1585">
                  <c:v>0.01</c:v>
                </c:pt>
                <c:pt idx="1586">
                  <c:v>0.03</c:v>
                </c:pt>
                <c:pt idx="1587">
                  <c:v>0.01</c:v>
                </c:pt>
                <c:pt idx="1588">
                  <c:v>0.01</c:v>
                </c:pt>
                <c:pt idx="1589">
                  <c:v>0.02</c:v>
                </c:pt>
                <c:pt idx="1590">
                  <c:v>0.01</c:v>
                </c:pt>
                <c:pt idx="1591">
                  <c:v>0.01</c:v>
                </c:pt>
                <c:pt idx="1592">
                  <c:v>0.01</c:v>
                </c:pt>
                <c:pt idx="1593">
                  <c:v>0.01</c:v>
                </c:pt>
                <c:pt idx="1594">
                  <c:v>0.01</c:v>
                </c:pt>
                <c:pt idx="1595">
                  <c:v>0.01</c:v>
                </c:pt>
                <c:pt idx="1596">
                  <c:v>0.01</c:v>
                </c:pt>
                <c:pt idx="1597">
                  <c:v>0.02</c:v>
                </c:pt>
                <c:pt idx="1598">
                  <c:v>0.01</c:v>
                </c:pt>
                <c:pt idx="1599">
                  <c:v>0.03</c:v>
                </c:pt>
                <c:pt idx="1600">
                  <c:v>0.01</c:v>
                </c:pt>
                <c:pt idx="1601">
                  <c:v>0.01</c:v>
                </c:pt>
                <c:pt idx="1602">
                  <c:v>0.01</c:v>
                </c:pt>
                <c:pt idx="1603">
                  <c:v>0.02</c:v>
                </c:pt>
                <c:pt idx="1604">
                  <c:v>0.01</c:v>
                </c:pt>
                <c:pt idx="1605">
                  <c:v>0.02</c:v>
                </c:pt>
                <c:pt idx="1606">
                  <c:v>0.01</c:v>
                </c:pt>
                <c:pt idx="1607">
                  <c:v>0.01</c:v>
                </c:pt>
                <c:pt idx="1608">
                  <c:v>0.01</c:v>
                </c:pt>
                <c:pt idx="1609">
                  <c:v>0.04</c:v>
                </c:pt>
                <c:pt idx="1610">
                  <c:v>0.02</c:v>
                </c:pt>
                <c:pt idx="1611">
                  <c:v>0.01</c:v>
                </c:pt>
                <c:pt idx="1612">
                  <c:v>0.02</c:v>
                </c:pt>
                <c:pt idx="1613">
                  <c:v>0.01</c:v>
                </c:pt>
                <c:pt idx="1614">
                  <c:v>0.04</c:v>
                </c:pt>
                <c:pt idx="1615">
                  <c:v>0.01</c:v>
                </c:pt>
                <c:pt idx="1616">
                  <c:v>0.07</c:v>
                </c:pt>
                <c:pt idx="1617">
                  <c:v>0.01</c:v>
                </c:pt>
                <c:pt idx="1618">
                  <c:v>0.01</c:v>
                </c:pt>
                <c:pt idx="1619">
                  <c:v>0.01</c:v>
                </c:pt>
                <c:pt idx="1620">
                  <c:v>0.01</c:v>
                </c:pt>
                <c:pt idx="1621">
                  <c:v>0.02</c:v>
                </c:pt>
                <c:pt idx="1622">
                  <c:v>0.05</c:v>
                </c:pt>
                <c:pt idx="1623">
                  <c:v>0.01</c:v>
                </c:pt>
                <c:pt idx="1624">
                  <c:v>0.08</c:v>
                </c:pt>
                <c:pt idx="1625">
                  <c:v>0.01</c:v>
                </c:pt>
                <c:pt idx="1626">
                  <c:v>0.01</c:v>
                </c:pt>
                <c:pt idx="1627">
                  <c:v>0.03</c:v>
                </c:pt>
                <c:pt idx="1628">
                  <c:v>0.06</c:v>
                </c:pt>
                <c:pt idx="1629">
                  <c:v>0.01</c:v>
                </c:pt>
                <c:pt idx="1630">
                  <c:v>0.02</c:v>
                </c:pt>
                <c:pt idx="1631">
                  <c:v>0.01</c:v>
                </c:pt>
                <c:pt idx="1632">
                  <c:v>0.01</c:v>
                </c:pt>
                <c:pt idx="1633">
                  <c:v>0.1</c:v>
                </c:pt>
                <c:pt idx="1634">
                  <c:v>0.01</c:v>
                </c:pt>
                <c:pt idx="1635">
                  <c:v>0.01</c:v>
                </c:pt>
                <c:pt idx="1636">
                  <c:v>0.01</c:v>
                </c:pt>
                <c:pt idx="1637">
                  <c:v>0.01</c:v>
                </c:pt>
                <c:pt idx="1638">
                  <c:v>0.01</c:v>
                </c:pt>
                <c:pt idx="1639">
                  <c:v>0.03</c:v>
                </c:pt>
                <c:pt idx="1640">
                  <c:v>0.01</c:v>
                </c:pt>
                <c:pt idx="1641">
                  <c:v>0.01</c:v>
                </c:pt>
                <c:pt idx="1642">
                  <c:v>0.01</c:v>
                </c:pt>
                <c:pt idx="1643">
                  <c:v>0.03</c:v>
                </c:pt>
                <c:pt idx="1644">
                  <c:v>0.01</c:v>
                </c:pt>
                <c:pt idx="1645">
                  <c:v>0.01</c:v>
                </c:pt>
                <c:pt idx="1646">
                  <c:v>0.02</c:v>
                </c:pt>
                <c:pt idx="1647">
                  <c:v>0.03</c:v>
                </c:pt>
                <c:pt idx="1648">
                  <c:v>0.01</c:v>
                </c:pt>
                <c:pt idx="1649">
                  <c:v>0.01</c:v>
                </c:pt>
                <c:pt idx="1650">
                  <c:v>0.01</c:v>
                </c:pt>
                <c:pt idx="1651">
                  <c:v>0.01</c:v>
                </c:pt>
                <c:pt idx="1652">
                  <c:v>0.04</c:v>
                </c:pt>
                <c:pt idx="1653">
                  <c:v>0.01</c:v>
                </c:pt>
                <c:pt idx="1654">
                  <c:v>0.02</c:v>
                </c:pt>
                <c:pt idx="1655">
                  <c:v>0.01</c:v>
                </c:pt>
                <c:pt idx="1656">
                  <c:v>0.01</c:v>
                </c:pt>
                <c:pt idx="1657">
                  <c:v>0.01</c:v>
                </c:pt>
                <c:pt idx="1658">
                  <c:v>0.01</c:v>
                </c:pt>
                <c:pt idx="1659">
                  <c:v>0.01</c:v>
                </c:pt>
                <c:pt idx="1660">
                  <c:v>0.02</c:v>
                </c:pt>
                <c:pt idx="1661">
                  <c:v>0.01</c:v>
                </c:pt>
                <c:pt idx="1662">
                  <c:v>0.03</c:v>
                </c:pt>
                <c:pt idx="1663">
                  <c:v>0.02</c:v>
                </c:pt>
                <c:pt idx="1664">
                  <c:v>0.06</c:v>
                </c:pt>
                <c:pt idx="1665">
                  <c:v>0.01</c:v>
                </c:pt>
                <c:pt idx="1666">
                  <c:v>0.03</c:v>
                </c:pt>
                <c:pt idx="1667">
                  <c:v>0.01</c:v>
                </c:pt>
                <c:pt idx="1668">
                  <c:v>0.03</c:v>
                </c:pt>
                <c:pt idx="1669">
                  <c:v>0.01</c:v>
                </c:pt>
                <c:pt idx="1670">
                  <c:v>0.01</c:v>
                </c:pt>
                <c:pt idx="1671">
                  <c:v>0.03</c:v>
                </c:pt>
                <c:pt idx="1672">
                  <c:v>0.01</c:v>
                </c:pt>
                <c:pt idx="1673">
                  <c:v>0.01</c:v>
                </c:pt>
                <c:pt idx="1674">
                  <c:v>0.01</c:v>
                </c:pt>
                <c:pt idx="1675">
                  <c:v>0.01</c:v>
                </c:pt>
                <c:pt idx="1676">
                  <c:v>0.01</c:v>
                </c:pt>
                <c:pt idx="1677">
                  <c:v>0.01</c:v>
                </c:pt>
                <c:pt idx="1678">
                  <c:v>0.01</c:v>
                </c:pt>
                <c:pt idx="1679">
                  <c:v>0.01</c:v>
                </c:pt>
                <c:pt idx="1680">
                  <c:v>0.01</c:v>
                </c:pt>
                <c:pt idx="1681">
                  <c:v>0.01</c:v>
                </c:pt>
                <c:pt idx="1682">
                  <c:v>0.01</c:v>
                </c:pt>
                <c:pt idx="1683">
                  <c:v>0.01</c:v>
                </c:pt>
                <c:pt idx="1684">
                  <c:v>0.03</c:v>
                </c:pt>
                <c:pt idx="1685">
                  <c:v>0.01</c:v>
                </c:pt>
                <c:pt idx="1686">
                  <c:v>0.03</c:v>
                </c:pt>
                <c:pt idx="1687">
                  <c:v>0.01</c:v>
                </c:pt>
                <c:pt idx="1688">
                  <c:v>0.03</c:v>
                </c:pt>
                <c:pt idx="1689">
                  <c:v>0.01</c:v>
                </c:pt>
                <c:pt idx="1690">
                  <c:v>0.01</c:v>
                </c:pt>
                <c:pt idx="1691">
                  <c:v>0.01</c:v>
                </c:pt>
                <c:pt idx="1692">
                  <c:v>0.01</c:v>
                </c:pt>
                <c:pt idx="1693">
                  <c:v>0.01</c:v>
                </c:pt>
                <c:pt idx="1694">
                  <c:v>0.01</c:v>
                </c:pt>
                <c:pt idx="1695">
                  <c:v>0.01</c:v>
                </c:pt>
                <c:pt idx="1696">
                  <c:v>0.01</c:v>
                </c:pt>
                <c:pt idx="1697">
                  <c:v>0.03</c:v>
                </c:pt>
                <c:pt idx="1698">
                  <c:v>0.01</c:v>
                </c:pt>
                <c:pt idx="1699">
                  <c:v>0.03</c:v>
                </c:pt>
                <c:pt idx="1700">
                  <c:v>0.01</c:v>
                </c:pt>
                <c:pt idx="1701">
                  <c:v>0.01</c:v>
                </c:pt>
                <c:pt idx="1702">
                  <c:v>0.01</c:v>
                </c:pt>
                <c:pt idx="1703">
                  <c:v>0.01</c:v>
                </c:pt>
                <c:pt idx="1704">
                  <c:v>0.01</c:v>
                </c:pt>
                <c:pt idx="1705">
                  <c:v>0.02</c:v>
                </c:pt>
                <c:pt idx="1706">
                  <c:v>0.01</c:v>
                </c:pt>
                <c:pt idx="1707">
                  <c:v>0.01</c:v>
                </c:pt>
                <c:pt idx="1708">
                  <c:v>0.04</c:v>
                </c:pt>
                <c:pt idx="1709">
                  <c:v>0.01</c:v>
                </c:pt>
                <c:pt idx="1710">
                  <c:v>0.01</c:v>
                </c:pt>
                <c:pt idx="1711">
                  <c:v>0.01</c:v>
                </c:pt>
                <c:pt idx="1712">
                  <c:v>0.01</c:v>
                </c:pt>
                <c:pt idx="1713">
                  <c:v>0.02</c:v>
                </c:pt>
                <c:pt idx="1714">
                  <c:v>0.01</c:v>
                </c:pt>
                <c:pt idx="1715">
                  <c:v>0.01</c:v>
                </c:pt>
                <c:pt idx="1716">
                  <c:v>0.01</c:v>
                </c:pt>
                <c:pt idx="1717">
                  <c:v>0.02</c:v>
                </c:pt>
                <c:pt idx="1718">
                  <c:v>0.01</c:v>
                </c:pt>
                <c:pt idx="1719">
                  <c:v>0.01</c:v>
                </c:pt>
                <c:pt idx="1720">
                  <c:v>0.02</c:v>
                </c:pt>
                <c:pt idx="1721">
                  <c:v>0.01</c:v>
                </c:pt>
                <c:pt idx="1722">
                  <c:v>0.02</c:v>
                </c:pt>
                <c:pt idx="1723">
                  <c:v>0.01</c:v>
                </c:pt>
                <c:pt idx="1724">
                  <c:v>0.01</c:v>
                </c:pt>
                <c:pt idx="1725">
                  <c:v>0.02</c:v>
                </c:pt>
                <c:pt idx="1726">
                  <c:v>0.01</c:v>
                </c:pt>
                <c:pt idx="1727">
                  <c:v>0.01</c:v>
                </c:pt>
                <c:pt idx="1728">
                  <c:v>0.01</c:v>
                </c:pt>
                <c:pt idx="1729">
                  <c:v>0.04</c:v>
                </c:pt>
                <c:pt idx="1730">
                  <c:v>0.01</c:v>
                </c:pt>
                <c:pt idx="1731">
                  <c:v>0.01</c:v>
                </c:pt>
                <c:pt idx="1732">
                  <c:v>0.01</c:v>
                </c:pt>
                <c:pt idx="1733">
                  <c:v>0.02</c:v>
                </c:pt>
                <c:pt idx="1734">
                  <c:v>0.01</c:v>
                </c:pt>
                <c:pt idx="1735">
                  <c:v>0.01</c:v>
                </c:pt>
                <c:pt idx="1736">
                  <c:v>0.02</c:v>
                </c:pt>
                <c:pt idx="1737">
                  <c:v>0.01</c:v>
                </c:pt>
                <c:pt idx="1738">
                  <c:v>0.01</c:v>
                </c:pt>
                <c:pt idx="1739">
                  <c:v>0.03</c:v>
                </c:pt>
                <c:pt idx="1740">
                  <c:v>0.01</c:v>
                </c:pt>
                <c:pt idx="1741">
                  <c:v>0.03</c:v>
                </c:pt>
                <c:pt idx="1742">
                  <c:v>0.01</c:v>
                </c:pt>
                <c:pt idx="1743">
                  <c:v>0.01</c:v>
                </c:pt>
                <c:pt idx="1744">
                  <c:v>0.01</c:v>
                </c:pt>
                <c:pt idx="1745">
                  <c:v>0.01</c:v>
                </c:pt>
                <c:pt idx="1746">
                  <c:v>0.01</c:v>
                </c:pt>
                <c:pt idx="1747">
                  <c:v>0.01</c:v>
                </c:pt>
                <c:pt idx="1748">
                  <c:v>0.03</c:v>
                </c:pt>
                <c:pt idx="1749">
                  <c:v>0.03</c:v>
                </c:pt>
                <c:pt idx="1750">
                  <c:v>0.01</c:v>
                </c:pt>
                <c:pt idx="1751">
                  <c:v>0.01</c:v>
                </c:pt>
                <c:pt idx="1752">
                  <c:v>0.01</c:v>
                </c:pt>
                <c:pt idx="1753">
                  <c:v>0.01</c:v>
                </c:pt>
                <c:pt idx="1754">
                  <c:v>0.01</c:v>
                </c:pt>
                <c:pt idx="1755">
                  <c:v>0.01</c:v>
                </c:pt>
                <c:pt idx="1756">
                  <c:v>0.01</c:v>
                </c:pt>
                <c:pt idx="1757">
                  <c:v>0.01</c:v>
                </c:pt>
                <c:pt idx="1758">
                  <c:v>0.01</c:v>
                </c:pt>
                <c:pt idx="1759">
                  <c:v>0.01</c:v>
                </c:pt>
                <c:pt idx="1760">
                  <c:v>0.01</c:v>
                </c:pt>
                <c:pt idx="1761">
                  <c:v>0.01</c:v>
                </c:pt>
                <c:pt idx="1762">
                  <c:v>0.01</c:v>
                </c:pt>
                <c:pt idx="1763">
                  <c:v>0.03</c:v>
                </c:pt>
                <c:pt idx="1764">
                  <c:v>0.01</c:v>
                </c:pt>
                <c:pt idx="1765">
                  <c:v>0.01</c:v>
                </c:pt>
                <c:pt idx="1766">
                  <c:v>0.01</c:v>
                </c:pt>
                <c:pt idx="1767">
                  <c:v>0.01</c:v>
                </c:pt>
                <c:pt idx="1768">
                  <c:v>0.01</c:v>
                </c:pt>
                <c:pt idx="1769">
                  <c:v>0.01</c:v>
                </c:pt>
                <c:pt idx="1770">
                  <c:v>0.01</c:v>
                </c:pt>
                <c:pt idx="1771">
                  <c:v>0.01</c:v>
                </c:pt>
                <c:pt idx="1772">
                  <c:v>0.01</c:v>
                </c:pt>
                <c:pt idx="1773">
                  <c:v>0.01</c:v>
                </c:pt>
                <c:pt idx="1774">
                  <c:v>0.01</c:v>
                </c:pt>
                <c:pt idx="1775">
                  <c:v>0.02</c:v>
                </c:pt>
                <c:pt idx="1776">
                  <c:v>0.03</c:v>
                </c:pt>
                <c:pt idx="1777">
                  <c:v>0.05</c:v>
                </c:pt>
                <c:pt idx="1778">
                  <c:v>0.01</c:v>
                </c:pt>
                <c:pt idx="1779">
                  <c:v>0.01</c:v>
                </c:pt>
                <c:pt idx="1780">
                  <c:v>0.01</c:v>
                </c:pt>
                <c:pt idx="1781">
                  <c:v>0.01</c:v>
                </c:pt>
                <c:pt idx="1782">
                  <c:v>0.01</c:v>
                </c:pt>
                <c:pt idx="1783">
                  <c:v>0.01</c:v>
                </c:pt>
                <c:pt idx="1784">
                  <c:v>0.01</c:v>
                </c:pt>
                <c:pt idx="1785">
                  <c:v>0.02</c:v>
                </c:pt>
                <c:pt idx="1786">
                  <c:v>0.01</c:v>
                </c:pt>
                <c:pt idx="1787">
                  <c:v>0.01</c:v>
                </c:pt>
                <c:pt idx="1788">
                  <c:v>0.01</c:v>
                </c:pt>
                <c:pt idx="1789">
                  <c:v>0.01</c:v>
                </c:pt>
                <c:pt idx="1790">
                  <c:v>0.01</c:v>
                </c:pt>
                <c:pt idx="1791">
                  <c:v>0.01</c:v>
                </c:pt>
                <c:pt idx="1792">
                  <c:v>0.01</c:v>
                </c:pt>
                <c:pt idx="1793">
                  <c:v>0.01</c:v>
                </c:pt>
                <c:pt idx="1794">
                  <c:v>0.01</c:v>
                </c:pt>
                <c:pt idx="1795">
                  <c:v>0.01</c:v>
                </c:pt>
                <c:pt idx="1796">
                  <c:v>0.01</c:v>
                </c:pt>
                <c:pt idx="1797">
                  <c:v>0.01</c:v>
                </c:pt>
                <c:pt idx="1798">
                  <c:v>0.01</c:v>
                </c:pt>
                <c:pt idx="1799">
                  <c:v>0.01</c:v>
                </c:pt>
                <c:pt idx="1800">
                  <c:v>0.02</c:v>
                </c:pt>
                <c:pt idx="1801">
                  <c:v>0.03</c:v>
                </c:pt>
                <c:pt idx="1802">
                  <c:v>0.01</c:v>
                </c:pt>
                <c:pt idx="1803">
                  <c:v>0.01</c:v>
                </c:pt>
                <c:pt idx="1804">
                  <c:v>0.05</c:v>
                </c:pt>
                <c:pt idx="1805">
                  <c:v>0.01</c:v>
                </c:pt>
                <c:pt idx="1806">
                  <c:v>0.02</c:v>
                </c:pt>
                <c:pt idx="1807">
                  <c:v>0.01</c:v>
                </c:pt>
                <c:pt idx="1808">
                  <c:v>0.01</c:v>
                </c:pt>
                <c:pt idx="1809">
                  <c:v>0.01</c:v>
                </c:pt>
                <c:pt idx="1810">
                  <c:v>0.01</c:v>
                </c:pt>
                <c:pt idx="1811">
                  <c:v>0.01</c:v>
                </c:pt>
                <c:pt idx="1812">
                  <c:v>0.01</c:v>
                </c:pt>
                <c:pt idx="1813">
                  <c:v>0.01</c:v>
                </c:pt>
                <c:pt idx="1814">
                  <c:v>0.01</c:v>
                </c:pt>
                <c:pt idx="1815">
                  <c:v>0.01</c:v>
                </c:pt>
                <c:pt idx="1816">
                  <c:v>0.01</c:v>
                </c:pt>
                <c:pt idx="1817">
                  <c:v>0.01</c:v>
                </c:pt>
                <c:pt idx="1818">
                  <c:v>0.03</c:v>
                </c:pt>
                <c:pt idx="1819">
                  <c:v>0.01</c:v>
                </c:pt>
                <c:pt idx="1820">
                  <c:v>0.01</c:v>
                </c:pt>
                <c:pt idx="1821">
                  <c:v>0.01</c:v>
                </c:pt>
                <c:pt idx="1822">
                  <c:v>0.03</c:v>
                </c:pt>
                <c:pt idx="1823">
                  <c:v>0.01</c:v>
                </c:pt>
                <c:pt idx="1824">
                  <c:v>0.02</c:v>
                </c:pt>
                <c:pt idx="1825">
                  <c:v>0.01</c:v>
                </c:pt>
                <c:pt idx="1826">
                  <c:v>0.01</c:v>
                </c:pt>
                <c:pt idx="1827">
                  <c:v>0.01</c:v>
                </c:pt>
                <c:pt idx="1828">
                  <c:v>0.02</c:v>
                </c:pt>
                <c:pt idx="1829">
                  <c:v>0.03</c:v>
                </c:pt>
                <c:pt idx="1830">
                  <c:v>0.03</c:v>
                </c:pt>
                <c:pt idx="1831">
                  <c:v>0.01</c:v>
                </c:pt>
                <c:pt idx="1832">
                  <c:v>0.01</c:v>
                </c:pt>
                <c:pt idx="1833">
                  <c:v>0.01</c:v>
                </c:pt>
                <c:pt idx="1834">
                  <c:v>0.01</c:v>
                </c:pt>
                <c:pt idx="1835">
                  <c:v>0.01</c:v>
                </c:pt>
                <c:pt idx="1836">
                  <c:v>0.01</c:v>
                </c:pt>
                <c:pt idx="1837">
                  <c:v>0.01</c:v>
                </c:pt>
                <c:pt idx="1838">
                  <c:v>0.01</c:v>
                </c:pt>
                <c:pt idx="1839">
                  <c:v>0.02</c:v>
                </c:pt>
                <c:pt idx="1840">
                  <c:v>0.01</c:v>
                </c:pt>
                <c:pt idx="1841">
                  <c:v>0.01</c:v>
                </c:pt>
                <c:pt idx="1842">
                  <c:v>0.01</c:v>
                </c:pt>
                <c:pt idx="1843">
                  <c:v>0.02</c:v>
                </c:pt>
                <c:pt idx="1844">
                  <c:v>0.01</c:v>
                </c:pt>
                <c:pt idx="1845">
                  <c:v>0.01</c:v>
                </c:pt>
                <c:pt idx="1846">
                  <c:v>0.01</c:v>
                </c:pt>
                <c:pt idx="1847">
                  <c:v>0.02</c:v>
                </c:pt>
                <c:pt idx="1848">
                  <c:v>0.01</c:v>
                </c:pt>
                <c:pt idx="1849">
                  <c:v>0.01</c:v>
                </c:pt>
                <c:pt idx="1850">
                  <c:v>0.05</c:v>
                </c:pt>
                <c:pt idx="1851">
                  <c:v>0.03</c:v>
                </c:pt>
                <c:pt idx="1852">
                  <c:v>0.01</c:v>
                </c:pt>
                <c:pt idx="1853">
                  <c:v>0.02</c:v>
                </c:pt>
                <c:pt idx="1854">
                  <c:v>0.01</c:v>
                </c:pt>
                <c:pt idx="1855">
                  <c:v>0.01</c:v>
                </c:pt>
                <c:pt idx="1856">
                  <c:v>0.01</c:v>
                </c:pt>
                <c:pt idx="1857">
                  <c:v>0.01</c:v>
                </c:pt>
                <c:pt idx="1858">
                  <c:v>0.01</c:v>
                </c:pt>
                <c:pt idx="1859">
                  <c:v>0.01</c:v>
                </c:pt>
                <c:pt idx="1860">
                  <c:v>0.01</c:v>
                </c:pt>
                <c:pt idx="1861">
                  <c:v>0.01</c:v>
                </c:pt>
                <c:pt idx="1862">
                  <c:v>0.01</c:v>
                </c:pt>
                <c:pt idx="1863">
                  <c:v>0.01</c:v>
                </c:pt>
                <c:pt idx="1864">
                  <c:v>0.01</c:v>
                </c:pt>
                <c:pt idx="1865">
                  <c:v>0.01</c:v>
                </c:pt>
                <c:pt idx="1866">
                  <c:v>0.05</c:v>
                </c:pt>
                <c:pt idx="1867">
                  <c:v>0.02</c:v>
                </c:pt>
                <c:pt idx="1868">
                  <c:v>0.01</c:v>
                </c:pt>
                <c:pt idx="1869">
                  <c:v>0.01</c:v>
                </c:pt>
                <c:pt idx="1870">
                  <c:v>0.01</c:v>
                </c:pt>
                <c:pt idx="1871">
                  <c:v>0.02</c:v>
                </c:pt>
                <c:pt idx="1872">
                  <c:v>0.01</c:v>
                </c:pt>
                <c:pt idx="1873">
                  <c:v>0.01</c:v>
                </c:pt>
                <c:pt idx="1874">
                  <c:v>0.01</c:v>
                </c:pt>
                <c:pt idx="1875">
                  <c:v>0.01</c:v>
                </c:pt>
                <c:pt idx="1876">
                  <c:v>0.01</c:v>
                </c:pt>
                <c:pt idx="1877">
                  <c:v>0.01</c:v>
                </c:pt>
                <c:pt idx="1878">
                  <c:v>0.01</c:v>
                </c:pt>
                <c:pt idx="1879">
                  <c:v>0.01</c:v>
                </c:pt>
                <c:pt idx="1880">
                  <c:v>0.01</c:v>
                </c:pt>
                <c:pt idx="1881">
                  <c:v>0.01</c:v>
                </c:pt>
                <c:pt idx="1882">
                  <c:v>0.02</c:v>
                </c:pt>
                <c:pt idx="1883">
                  <c:v>0.01</c:v>
                </c:pt>
                <c:pt idx="1884">
                  <c:v>0.01</c:v>
                </c:pt>
                <c:pt idx="1885">
                  <c:v>0.01</c:v>
                </c:pt>
                <c:pt idx="1886">
                  <c:v>0.02</c:v>
                </c:pt>
                <c:pt idx="1887">
                  <c:v>0.01</c:v>
                </c:pt>
                <c:pt idx="1888">
                  <c:v>0.01</c:v>
                </c:pt>
                <c:pt idx="1889">
                  <c:v>0.01</c:v>
                </c:pt>
                <c:pt idx="1890">
                  <c:v>0.01</c:v>
                </c:pt>
                <c:pt idx="1891">
                  <c:v>0.01</c:v>
                </c:pt>
                <c:pt idx="1892">
                  <c:v>0.01</c:v>
                </c:pt>
                <c:pt idx="1893">
                  <c:v>0.01</c:v>
                </c:pt>
                <c:pt idx="1894">
                  <c:v>0.01</c:v>
                </c:pt>
                <c:pt idx="1895">
                  <c:v>0.01</c:v>
                </c:pt>
                <c:pt idx="1896">
                  <c:v>0.01</c:v>
                </c:pt>
                <c:pt idx="1897">
                  <c:v>0.01</c:v>
                </c:pt>
                <c:pt idx="1898">
                  <c:v>0.01</c:v>
                </c:pt>
                <c:pt idx="1899">
                  <c:v>0.01</c:v>
                </c:pt>
                <c:pt idx="1900">
                  <c:v>0.01</c:v>
                </c:pt>
                <c:pt idx="1901">
                  <c:v>0.01</c:v>
                </c:pt>
                <c:pt idx="1902">
                  <c:v>0.02</c:v>
                </c:pt>
                <c:pt idx="1903">
                  <c:v>0.02</c:v>
                </c:pt>
                <c:pt idx="1904">
                  <c:v>0.01</c:v>
                </c:pt>
                <c:pt idx="1905">
                  <c:v>0.01</c:v>
                </c:pt>
                <c:pt idx="1906">
                  <c:v>0.01</c:v>
                </c:pt>
                <c:pt idx="1907">
                  <c:v>0.01</c:v>
                </c:pt>
                <c:pt idx="1908">
                  <c:v>0.02</c:v>
                </c:pt>
                <c:pt idx="1909">
                  <c:v>0.01</c:v>
                </c:pt>
                <c:pt idx="1910">
                  <c:v>0.01</c:v>
                </c:pt>
                <c:pt idx="1911">
                  <c:v>0.01</c:v>
                </c:pt>
                <c:pt idx="1912">
                  <c:v>0.01</c:v>
                </c:pt>
                <c:pt idx="1913">
                  <c:v>0.01</c:v>
                </c:pt>
                <c:pt idx="1914">
                  <c:v>0.01</c:v>
                </c:pt>
                <c:pt idx="1915">
                  <c:v>0.01</c:v>
                </c:pt>
                <c:pt idx="1916">
                  <c:v>0.01</c:v>
                </c:pt>
                <c:pt idx="1917">
                  <c:v>0.01</c:v>
                </c:pt>
                <c:pt idx="1918">
                  <c:v>0.02</c:v>
                </c:pt>
                <c:pt idx="1919">
                  <c:v>0.01</c:v>
                </c:pt>
                <c:pt idx="1920">
                  <c:v>0.01</c:v>
                </c:pt>
                <c:pt idx="1921">
                  <c:v>0.01</c:v>
                </c:pt>
                <c:pt idx="1922">
                  <c:v>0.01</c:v>
                </c:pt>
                <c:pt idx="1923">
                  <c:v>0.01</c:v>
                </c:pt>
                <c:pt idx="1924">
                  <c:v>0.01</c:v>
                </c:pt>
                <c:pt idx="1925">
                  <c:v>0.01</c:v>
                </c:pt>
                <c:pt idx="1926">
                  <c:v>0.01</c:v>
                </c:pt>
                <c:pt idx="1927">
                  <c:v>0.01</c:v>
                </c:pt>
                <c:pt idx="1928">
                  <c:v>0.02</c:v>
                </c:pt>
                <c:pt idx="1929">
                  <c:v>0.01</c:v>
                </c:pt>
                <c:pt idx="1930">
                  <c:v>0.02</c:v>
                </c:pt>
                <c:pt idx="1931">
                  <c:v>0.01</c:v>
                </c:pt>
                <c:pt idx="1932">
                  <c:v>0.01</c:v>
                </c:pt>
                <c:pt idx="1933">
                  <c:v>0.01</c:v>
                </c:pt>
                <c:pt idx="1934">
                  <c:v>0.01</c:v>
                </c:pt>
                <c:pt idx="1935">
                  <c:v>0.01</c:v>
                </c:pt>
                <c:pt idx="1936">
                  <c:v>0.01</c:v>
                </c:pt>
                <c:pt idx="1937">
                  <c:v>0.03</c:v>
                </c:pt>
                <c:pt idx="1938">
                  <c:v>0.01</c:v>
                </c:pt>
                <c:pt idx="1939">
                  <c:v>0.01</c:v>
                </c:pt>
                <c:pt idx="1940">
                  <c:v>0.01</c:v>
                </c:pt>
                <c:pt idx="1941">
                  <c:v>0.01</c:v>
                </c:pt>
                <c:pt idx="1942">
                  <c:v>0.01</c:v>
                </c:pt>
                <c:pt idx="1943">
                  <c:v>0.01</c:v>
                </c:pt>
                <c:pt idx="1944">
                  <c:v>0.01</c:v>
                </c:pt>
                <c:pt idx="1945">
                  <c:v>0.01</c:v>
                </c:pt>
                <c:pt idx="1946">
                  <c:v>0.02</c:v>
                </c:pt>
                <c:pt idx="1947">
                  <c:v>0.01</c:v>
                </c:pt>
                <c:pt idx="1948">
                  <c:v>0.01</c:v>
                </c:pt>
                <c:pt idx="1949">
                  <c:v>0.01</c:v>
                </c:pt>
                <c:pt idx="1950">
                  <c:v>0.01</c:v>
                </c:pt>
                <c:pt idx="1951">
                  <c:v>0.02</c:v>
                </c:pt>
                <c:pt idx="1952">
                  <c:v>0.01</c:v>
                </c:pt>
                <c:pt idx="1953">
                  <c:v>0.01</c:v>
                </c:pt>
                <c:pt idx="1954">
                  <c:v>0.04</c:v>
                </c:pt>
                <c:pt idx="1955">
                  <c:v>0.01</c:v>
                </c:pt>
                <c:pt idx="1956">
                  <c:v>0.01</c:v>
                </c:pt>
                <c:pt idx="1957">
                  <c:v>0.01</c:v>
                </c:pt>
                <c:pt idx="1958">
                  <c:v>0.01</c:v>
                </c:pt>
                <c:pt idx="1959">
                  <c:v>0.04</c:v>
                </c:pt>
                <c:pt idx="1960">
                  <c:v>0.01</c:v>
                </c:pt>
                <c:pt idx="1961">
                  <c:v>0.01</c:v>
                </c:pt>
                <c:pt idx="1962">
                  <c:v>0.01</c:v>
                </c:pt>
                <c:pt idx="1963">
                  <c:v>0.01</c:v>
                </c:pt>
                <c:pt idx="1964">
                  <c:v>0.01</c:v>
                </c:pt>
                <c:pt idx="1965">
                  <c:v>0.01</c:v>
                </c:pt>
                <c:pt idx="1966">
                  <c:v>0.01</c:v>
                </c:pt>
                <c:pt idx="1967">
                  <c:v>0.01</c:v>
                </c:pt>
                <c:pt idx="1968">
                  <c:v>0.01</c:v>
                </c:pt>
                <c:pt idx="1969">
                  <c:v>0.01</c:v>
                </c:pt>
                <c:pt idx="1970">
                  <c:v>0.01</c:v>
                </c:pt>
                <c:pt idx="1971">
                  <c:v>0.01</c:v>
                </c:pt>
                <c:pt idx="1972">
                  <c:v>0.01</c:v>
                </c:pt>
                <c:pt idx="1973">
                  <c:v>0.01</c:v>
                </c:pt>
                <c:pt idx="1974">
                  <c:v>0.01</c:v>
                </c:pt>
                <c:pt idx="1975">
                  <c:v>0.01</c:v>
                </c:pt>
                <c:pt idx="1976">
                  <c:v>0.01</c:v>
                </c:pt>
                <c:pt idx="1977">
                  <c:v>0.01</c:v>
                </c:pt>
                <c:pt idx="1978">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Item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00A097"/>
              </a:solidFill>
            </c:spPr>
            <c:extLst>
              <c:ext xmlns:c16="http://schemas.microsoft.com/office/drawing/2014/chart" uri="{C3380CC4-5D6E-409C-BE32-E72D297353CC}">
                <c16:uniqueId val="{000000EB-2993-41DE-A2CB-63102DE87051}"/>
              </c:ext>
            </c:extLst>
          </c:dPt>
          <c:dPt>
            <c:idx val="117"/>
            <c:invertIfNegative val="1"/>
            <c:bubble3D val="0"/>
            <c:spPr>
              <a:solidFill>
                <a:srgbClr val="00A097"/>
              </a:solidFill>
            </c:spPr>
            <c:extLst>
              <c:ext xmlns:c16="http://schemas.microsoft.com/office/drawing/2014/chart" uri="{C3380CC4-5D6E-409C-BE32-E72D297353CC}">
                <c16:uniqueId val="{000000ED-2993-41DE-A2CB-63102DE87051}"/>
              </c:ext>
            </c:extLst>
          </c:dPt>
          <c:dPt>
            <c:idx val="118"/>
            <c:invertIfNegative val="1"/>
            <c:bubble3D val="0"/>
            <c:spPr>
              <a:solidFill>
                <a:srgbClr val="00A097"/>
              </a:solidFill>
            </c:spPr>
            <c:extLst>
              <c:ext xmlns:c16="http://schemas.microsoft.com/office/drawing/2014/chart" uri="{C3380CC4-5D6E-409C-BE32-E72D297353CC}">
                <c16:uniqueId val="{000000EF-2993-41DE-A2CB-63102DE87051}"/>
              </c:ext>
            </c:extLst>
          </c:dPt>
          <c:dPt>
            <c:idx val="119"/>
            <c:invertIfNegative val="1"/>
            <c:bubble3D val="0"/>
            <c:spPr>
              <a:solidFill>
                <a:srgbClr val="00A097"/>
              </a:solidFill>
            </c:spPr>
            <c:extLst>
              <c:ext xmlns:c16="http://schemas.microsoft.com/office/drawing/2014/chart" uri="{C3380CC4-5D6E-409C-BE32-E72D297353CC}">
                <c16:uniqueId val="{000000F1-2993-41DE-A2CB-63102DE87051}"/>
              </c:ext>
            </c:extLst>
          </c:dPt>
          <c:dPt>
            <c:idx val="120"/>
            <c:invertIfNegative val="1"/>
            <c:bubble3D val="0"/>
            <c:spPr>
              <a:solidFill>
                <a:srgbClr val="00A097"/>
              </a:solidFill>
            </c:spPr>
            <c:extLst>
              <c:ext xmlns:c16="http://schemas.microsoft.com/office/drawing/2014/chart" uri="{C3380CC4-5D6E-409C-BE32-E72D297353CC}">
                <c16:uniqueId val="{000000F3-2993-41DE-A2CB-63102DE87051}"/>
              </c:ext>
            </c:extLst>
          </c:dPt>
          <c:dPt>
            <c:idx val="121"/>
            <c:invertIfNegative val="1"/>
            <c:bubble3D val="0"/>
            <c:spPr>
              <a:solidFill>
                <a:srgbClr val="00A097"/>
              </a:solidFill>
            </c:spPr>
            <c:extLst>
              <c:ext xmlns:c16="http://schemas.microsoft.com/office/drawing/2014/chart" uri="{C3380CC4-5D6E-409C-BE32-E72D297353CC}">
                <c16:uniqueId val="{000000F5-2993-41DE-A2CB-63102DE87051}"/>
              </c:ext>
            </c:extLst>
          </c:dPt>
          <c:dPt>
            <c:idx val="122"/>
            <c:invertIfNegative val="1"/>
            <c:bubble3D val="0"/>
            <c:spPr>
              <a:solidFill>
                <a:srgbClr val="00A097"/>
              </a:solidFill>
            </c:spPr>
            <c:extLst>
              <c:ext xmlns:c16="http://schemas.microsoft.com/office/drawing/2014/chart" uri="{C3380CC4-5D6E-409C-BE32-E72D297353CC}">
                <c16:uniqueId val="{000000F7-2993-41DE-A2CB-63102DE87051}"/>
              </c:ext>
            </c:extLst>
          </c:dPt>
          <c:dPt>
            <c:idx val="123"/>
            <c:invertIfNegative val="1"/>
            <c:bubble3D val="0"/>
            <c:spPr>
              <a:solidFill>
                <a:srgbClr val="00A097"/>
              </a:solidFill>
            </c:spPr>
            <c:extLst>
              <c:ext xmlns:c16="http://schemas.microsoft.com/office/drawing/2014/chart" uri="{C3380CC4-5D6E-409C-BE32-E72D297353CC}">
                <c16:uniqueId val="{000000F9-2993-41DE-A2CB-63102DE87051}"/>
              </c:ext>
            </c:extLst>
          </c:dPt>
          <c:dPt>
            <c:idx val="124"/>
            <c:invertIfNegative val="1"/>
            <c:bubble3D val="0"/>
            <c:spPr>
              <a:solidFill>
                <a:srgbClr val="00A097"/>
              </a:solidFill>
            </c:spPr>
            <c:extLst>
              <c:ext xmlns:c16="http://schemas.microsoft.com/office/drawing/2014/chart" uri="{C3380CC4-5D6E-409C-BE32-E72D297353CC}">
                <c16:uniqueId val="{000000FB-2993-41DE-A2CB-63102DE87051}"/>
              </c:ext>
            </c:extLst>
          </c:dPt>
          <c:dPt>
            <c:idx val="125"/>
            <c:invertIfNegative val="1"/>
            <c:bubble3D val="0"/>
            <c:spPr>
              <a:solidFill>
                <a:srgbClr val="00A097"/>
              </a:solidFill>
            </c:spPr>
            <c:extLst>
              <c:ext xmlns:c16="http://schemas.microsoft.com/office/drawing/2014/chart" uri="{C3380CC4-5D6E-409C-BE32-E72D297353CC}">
                <c16:uniqueId val="{000000FD-2993-41DE-A2CB-63102DE87051}"/>
              </c:ext>
            </c:extLst>
          </c:dPt>
          <c:dPt>
            <c:idx val="126"/>
            <c:invertIfNegative val="1"/>
            <c:bubble3D val="0"/>
            <c:spPr>
              <a:solidFill>
                <a:srgbClr val="00A097"/>
              </a:solidFill>
            </c:spPr>
            <c:extLst>
              <c:ext xmlns:c16="http://schemas.microsoft.com/office/drawing/2014/chart" uri="{C3380CC4-5D6E-409C-BE32-E72D297353CC}">
                <c16:uniqueId val="{000000FF-2993-41DE-A2CB-63102DE87051}"/>
              </c:ext>
            </c:extLst>
          </c:dPt>
          <c:dPt>
            <c:idx val="127"/>
            <c:invertIfNegative val="1"/>
            <c:bubble3D val="0"/>
            <c:spPr>
              <a:solidFill>
                <a:srgbClr val="00A097"/>
              </a:solidFill>
            </c:spPr>
            <c:extLst>
              <c:ext xmlns:c16="http://schemas.microsoft.com/office/drawing/2014/chart" uri="{C3380CC4-5D6E-409C-BE32-E72D297353CC}">
                <c16:uniqueId val="{00000101-2993-41DE-A2CB-63102DE87051}"/>
              </c:ext>
            </c:extLst>
          </c:dPt>
          <c:dPt>
            <c:idx val="128"/>
            <c:invertIfNegative val="1"/>
            <c:bubble3D val="0"/>
            <c:spPr>
              <a:solidFill>
                <a:srgbClr val="00A097"/>
              </a:solidFill>
            </c:spPr>
            <c:extLst>
              <c:ext xmlns:c16="http://schemas.microsoft.com/office/drawing/2014/chart" uri="{C3380CC4-5D6E-409C-BE32-E72D297353CC}">
                <c16:uniqueId val="{00000103-2993-41DE-A2CB-63102DE87051}"/>
              </c:ext>
            </c:extLst>
          </c:dPt>
          <c:dPt>
            <c:idx val="129"/>
            <c:invertIfNegative val="1"/>
            <c:bubble3D val="0"/>
            <c:spPr>
              <a:solidFill>
                <a:srgbClr val="00A097"/>
              </a:solidFill>
            </c:spPr>
            <c:extLst>
              <c:ext xmlns:c16="http://schemas.microsoft.com/office/drawing/2014/chart" uri="{C3380CC4-5D6E-409C-BE32-E72D297353CC}">
                <c16:uniqueId val="{00000105-2993-41DE-A2CB-63102DE87051}"/>
              </c:ext>
            </c:extLst>
          </c:dPt>
          <c:dPt>
            <c:idx val="130"/>
            <c:invertIfNegative val="1"/>
            <c:bubble3D val="0"/>
            <c:spPr>
              <a:solidFill>
                <a:srgbClr val="00A097"/>
              </a:solidFill>
            </c:spPr>
            <c:extLst>
              <c:ext xmlns:c16="http://schemas.microsoft.com/office/drawing/2014/chart" uri="{C3380CC4-5D6E-409C-BE32-E72D297353CC}">
                <c16:uniqueId val="{00000107-2993-41DE-A2CB-63102DE87051}"/>
              </c:ext>
            </c:extLst>
          </c:dPt>
          <c:dPt>
            <c:idx val="131"/>
            <c:invertIfNegative val="1"/>
            <c:bubble3D val="0"/>
            <c:spPr>
              <a:solidFill>
                <a:srgbClr val="00A097"/>
              </a:solidFill>
            </c:spPr>
            <c:extLst>
              <c:ext xmlns:c16="http://schemas.microsoft.com/office/drawing/2014/chart" uri="{C3380CC4-5D6E-409C-BE32-E72D297353CC}">
                <c16:uniqueId val="{00000109-2993-41DE-A2CB-63102DE87051}"/>
              </c:ext>
            </c:extLst>
          </c:dPt>
          <c:dPt>
            <c:idx val="132"/>
            <c:invertIfNegative val="1"/>
            <c:bubble3D val="0"/>
            <c:spPr>
              <a:solidFill>
                <a:srgbClr val="00A097"/>
              </a:solidFill>
            </c:spPr>
            <c:extLst>
              <c:ext xmlns:c16="http://schemas.microsoft.com/office/drawing/2014/chart" uri="{C3380CC4-5D6E-409C-BE32-E72D297353CC}">
                <c16:uniqueId val="{0000010B-2993-41DE-A2CB-63102DE87051}"/>
              </c:ext>
            </c:extLst>
          </c:dPt>
          <c:dPt>
            <c:idx val="133"/>
            <c:invertIfNegative val="1"/>
            <c:bubble3D val="0"/>
            <c:spPr>
              <a:solidFill>
                <a:srgbClr val="00A097"/>
              </a:solidFill>
            </c:spPr>
            <c:extLst>
              <c:ext xmlns:c16="http://schemas.microsoft.com/office/drawing/2014/chart" uri="{C3380CC4-5D6E-409C-BE32-E72D297353CC}">
                <c16:uniqueId val="{0000010D-2993-41DE-A2CB-63102DE87051}"/>
              </c:ext>
            </c:extLst>
          </c:dPt>
          <c:dPt>
            <c:idx val="134"/>
            <c:invertIfNegative val="1"/>
            <c:bubble3D val="0"/>
            <c:spPr>
              <a:solidFill>
                <a:srgbClr val="00A097"/>
              </a:solidFill>
            </c:spPr>
            <c:extLst>
              <c:ext xmlns:c16="http://schemas.microsoft.com/office/drawing/2014/chart" uri="{C3380CC4-5D6E-409C-BE32-E72D297353CC}">
                <c16:uniqueId val="{0000010F-2993-41DE-A2CB-63102DE87051}"/>
              </c:ext>
            </c:extLst>
          </c:dPt>
          <c:dPt>
            <c:idx val="135"/>
            <c:invertIfNegative val="1"/>
            <c:bubble3D val="0"/>
            <c:spPr>
              <a:solidFill>
                <a:srgbClr val="00A097"/>
              </a:solidFill>
            </c:spPr>
            <c:extLst>
              <c:ext xmlns:c16="http://schemas.microsoft.com/office/drawing/2014/chart" uri="{C3380CC4-5D6E-409C-BE32-E72D297353CC}">
                <c16:uniqueId val="{00000111-2993-41DE-A2CB-63102DE87051}"/>
              </c:ext>
            </c:extLst>
          </c:dPt>
          <c:dPt>
            <c:idx val="136"/>
            <c:invertIfNegative val="1"/>
            <c:bubble3D val="0"/>
            <c:spPr>
              <a:solidFill>
                <a:srgbClr val="00A097"/>
              </a:solidFill>
            </c:spPr>
            <c:extLst>
              <c:ext xmlns:c16="http://schemas.microsoft.com/office/drawing/2014/chart" uri="{C3380CC4-5D6E-409C-BE32-E72D297353CC}">
                <c16:uniqueId val="{00000113-2993-41DE-A2CB-63102DE87051}"/>
              </c:ext>
            </c:extLst>
          </c:dPt>
          <c:dPt>
            <c:idx val="137"/>
            <c:invertIfNegative val="1"/>
            <c:bubble3D val="0"/>
            <c:spPr>
              <a:solidFill>
                <a:srgbClr val="00A097"/>
              </a:solidFill>
            </c:spPr>
            <c:extLst>
              <c:ext xmlns:c16="http://schemas.microsoft.com/office/drawing/2014/chart" uri="{C3380CC4-5D6E-409C-BE32-E72D297353CC}">
                <c16:uniqueId val="{00000115-2993-41DE-A2CB-63102DE87051}"/>
              </c:ext>
            </c:extLst>
          </c:dPt>
          <c:dPt>
            <c:idx val="138"/>
            <c:invertIfNegative val="1"/>
            <c:bubble3D val="0"/>
            <c:spPr>
              <a:solidFill>
                <a:srgbClr val="00A097"/>
              </a:solidFill>
            </c:spPr>
            <c:extLst>
              <c:ext xmlns:c16="http://schemas.microsoft.com/office/drawing/2014/chart" uri="{C3380CC4-5D6E-409C-BE32-E72D297353CC}">
                <c16:uniqueId val="{00000117-2993-41DE-A2CB-63102DE87051}"/>
              </c:ext>
            </c:extLst>
          </c:dPt>
          <c:dPt>
            <c:idx val="139"/>
            <c:invertIfNegative val="1"/>
            <c:bubble3D val="0"/>
            <c:spPr>
              <a:solidFill>
                <a:srgbClr val="00A097"/>
              </a:solidFill>
            </c:spPr>
            <c:extLst>
              <c:ext xmlns:c16="http://schemas.microsoft.com/office/drawing/2014/chart" uri="{C3380CC4-5D6E-409C-BE32-E72D297353CC}">
                <c16:uniqueId val="{00000119-2993-41DE-A2CB-63102DE87051}"/>
              </c:ext>
            </c:extLst>
          </c:dPt>
          <c:dPt>
            <c:idx val="140"/>
            <c:invertIfNegative val="1"/>
            <c:bubble3D val="0"/>
            <c:spPr>
              <a:solidFill>
                <a:srgbClr val="00A097"/>
              </a:solidFill>
            </c:spPr>
            <c:extLst>
              <c:ext xmlns:c16="http://schemas.microsoft.com/office/drawing/2014/chart" uri="{C3380CC4-5D6E-409C-BE32-E72D297353CC}">
                <c16:uniqueId val="{0000011B-2993-41DE-A2CB-63102DE87051}"/>
              </c:ext>
            </c:extLst>
          </c:dPt>
          <c:dPt>
            <c:idx val="141"/>
            <c:invertIfNegative val="1"/>
            <c:bubble3D val="0"/>
            <c:spPr>
              <a:solidFill>
                <a:srgbClr val="00A097"/>
              </a:solidFill>
            </c:spPr>
            <c:extLst>
              <c:ext xmlns:c16="http://schemas.microsoft.com/office/drawing/2014/chart" uri="{C3380CC4-5D6E-409C-BE32-E72D297353CC}">
                <c16:uniqueId val="{0000011D-2993-41DE-A2CB-63102DE87051}"/>
              </c:ext>
            </c:extLst>
          </c:dPt>
          <c:dPt>
            <c:idx val="142"/>
            <c:invertIfNegative val="1"/>
            <c:bubble3D val="0"/>
            <c:spPr>
              <a:solidFill>
                <a:srgbClr val="00A097"/>
              </a:solidFill>
            </c:spPr>
            <c:extLst>
              <c:ext xmlns:c16="http://schemas.microsoft.com/office/drawing/2014/chart" uri="{C3380CC4-5D6E-409C-BE32-E72D297353CC}">
                <c16:uniqueId val="{0000011F-2993-41DE-A2CB-63102DE87051}"/>
              </c:ext>
            </c:extLst>
          </c:dPt>
          <c:dPt>
            <c:idx val="143"/>
            <c:invertIfNegative val="1"/>
            <c:bubble3D val="0"/>
            <c:spPr>
              <a:solidFill>
                <a:srgbClr val="00A097"/>
              </a:solidFill>
            </c:spPr>
            <c:extLst>
              <c:ext xmlns:c16="http://schemas.microsoft.com/office/drawing/2014/chart" uri="{C3380CC4-5D6E-409C-BE32-E72D297353CC}">
                <c16:uniqueId val="{00000121-2993-41DE-A2CB-63102DE87051}"/>
              </c:ext>
            </c:extLst>
          </c:dPt>
          <c:dPt>
            <c:idx val="144"/>
            <c:invertIfNegative val="1"/>
            <c:bubble3D val="0"/>
            <c:spPr>
              <a:solidFill>
                <a:srgbClr val="00A097"/>
              </a:solidFill>
            </c:spPr>
            <c:extLst>
              <c:ext xmlns:c16="http://schemas.microsoft.com/office/drawing/2014/chart" uri="{C3380CC4-5D6E-409C-BE32-E72D297353CC}">
                <c16:uniqueId val="{00000123-2993-41DE-A2CB-63102DE87051}"/>
              </c:ext>
            </c:extLst>
          </c:dPt>
          <c:dPt>
            <c:idx val="145"/>
            <c:invertIfNegative val="1"/>
            <c:bubble3D val="0"/>
            <c:spPr>
              <a:solidFill>
                <a:srgbClr val="00A097"/>
              </a:solidFill>
            </c:spPr>
            <c:extLst>
              <c:ext xmlns:c16="http://schemas.microsoft.com/office/drawing/2014/chart" uri="{C3380CC4-5D6E-409C-BE32-E72D297353CC}">
                <c16:uniqueId val="{00000125-2993-41DE-A2CB-63102DE87051}"/>
              </c:ext>
            </c:extLst>
          </c:dPt>
          <c:dPt>
            <c:idx val="146"/>
            <c:invertIfNegative val="1"/>
            <c:bubble3D val="0"/>
            <c:spPr>
              <a:solidFill>
                <a:srgbClr val="00A097"/>
              </a:solidFill>
            </c:spPr>
            <c:extLst>
              <c:ext xmlns:c16="http://schemas.microsoft.com/office/drawing/2014/chart" uri="{C3380CC4-5D6E-409C-BE32-E72D297353CC}">
                <c16:uniqueId val="{00000127-2993-41DE-A2CB-63102DE87051}"/>
              </c:ext>
            </c:extLst>
          </c:dPt>
          <c:dPt>
            <c:idx val="147"/>
            <c:invertIfNegative val="1"/>
            <c:bubble3D val="0"/>
            <c:spPr>
              <a:solidFill>
                <a:srgbClr val="00A097"/>
              </a:solidFill>
            </c:spPr>
            <c:extLst>
              <c:ext xmlns:c16="http://schemas.microsoft.com/office/drawing/2014/chart" uri="{C3380CC4-5D6E-409C-BE32-E72D297353CC}">
                <c16:uniqueId val="{00000129-2993-41DE-A2CB-63102DE87051}"/>
              </c:ext>
            </c:extLst>
          </c:dPt>
          <c:dPt>
            <c:idx val="148"/>
            <c:invertIfNegative val="1"/>
            <c:bubble3D val="0"/>
            <c:spPr>
              <a:solidFill>
                <a:srgbClr val="00A097"/>
              </a:solidFill>
            </c:spPr>
            <c:extLst>
              <c:ext xmlns:c16="http://schemas.microsoft.com/office/drawing/2014/chart" uri="{C3380CC4-5D6E-409C-BE32-E72D297353CC}">
                <c16:uniqueId val="{0000012B-2993-41DE-A2CB-63102DE87051}"/>
              </c:ext>
            </c:extLst>
          </c:dPt>
          <c:dPt>
            <c:idx val="149"/>
            <c:invertIfNegative val="1"/>
            <c:bubble3D val="0"/>
            <c:spPr>
              <a:solidFill>
                <a:srgbClr val="00A097"/>
              </a:solidFill>
            </c:spPr>
            <c:extLst>
              <c:ext xmlns:c16="http://schemas.microsoft.com/office/drawing/2014/chart" uri="{C3380CC4-5D6E-409C-BE32-E72D297353CC}">
                <c16:uniqueId val="{0000012D-2993-41DE-A2CB-63102DE87051}"/>
              </c:ext>
            </c:extLst>
          </c:dPt>
          <c:dPt>
            <c:idx val="150"/>
            <c:invertIfNegative val="1"/>
            <c:bubble3D val="0"/>
            <c:spPr>
              <a:solidFill>
                <a:srgbClr val="00A097"/>
              </a:solidFill>
            </c:spPr>
            <c:extLst>
              <c:ext xmlns:c16="http://schemas.microsoft.com/office/drawing/2014/chart" uri="{C3380CC4-5D6E-409C-BE32-E72D297353CC}">
                <c16:uniqueId val="{0000012F-2993-41DE-A2CB-63102DE87051}"/>
              </c:ext>
            </c:extLst>
          </c:dPt>
          <c:dPt>
            <c:idx val="151"/>
            <c:invertIfNegative val="1"/>
            <c:bubble3D val="0"/>
            <c:spPr>
              <a:solidFill>
                <a:srgbClr val="00A097"/>
              </a:solidFill>
            </c:spPr>
            <c:extLst>
              <c:ext xmlns:c16="http://schemas.microsoft.com/office/drawing/2014/chart" uri="{C3380CC4-5D6E-409C-BE32-E72D297353CC}">
                <c16:uniqueId val="{00000131-2993-41DE-A2CB-63102DE87051}"/>
              </c:ext>
            </c:extLst>
          </c:dPt>
          <c:dPt>
            <c:idx val="152"/>
            <c:invertIfNegative val="1"/>
            <c:bubble3D val="0"/>
            <c:spPr>
              <a:solidFill>
                <a:srgbClr val="00A097"/>
              </a:solidFill>
            </c:spPr>
            <c:extLst>
              <c:ext xmlns:c16="http://schemas.microsoft.com/office/drawing/2014/chart" uri="{C3380CC4-5D6E-409C-BE32-E72D297353CC}">
                <c16:uniqueId val="{00000133-2993-41DE-A2CB-63102DE87051}"/>
              </c:ext>
            </c:extLst>
          </c:dPt>
          <c:dPt>
            <c:idx val="153"/>
            <c:invertIfNegative val="1"/>
            <c:bubble3D val="0"/>
            <c:spPr>
              <a:solidFill>
                <a:srgbClr val="00A097"/>
              </a:solidFill>
            </c:spPr>
            <c:extLst>
              <c:ext xmlns:c16="http://schemas.microsoft.com/office/drawing/2014/chart" uri="{C3380CC4-5D6E-409C-BE32-E72D297353CC}">
                <c16:uniqueId val="{00000135-2993-41DE-A2CB-63102DE87051}"/>
              </c:ext>
            </c:extLst>
          </c:dPt>
          <c:dPt>
            <c:idx val="154"/>
            <c:invertIfNegative val="1"/>
            <c:bubble3D val="0"/>
            <c:spPr>
              <a:solidFill>
                <a:srgbClr val="00A097"/>
              </a:solidFill>
            </c:spPr>
            <c:extLst>
              <c:ext xmlns:c16="http://schemas.microsoft.com/office/drawing/2014/chart" uri="{C3380CC4-5D6E-409C-BE32-E72D297353CC}">
                <c16:uniqueId val="{00000137-2993-41DE-A2CB-63102DE87051}"/>
              </c:ext>
            </c:extLst>
          </c:dPt>
          <c:dPt>
            <c:idx val="155"/>
            <c:invertIfNegative val="1"/>
            <c:bubble3D val="0"/>
            <c:spPr>
              <a:solidFill>
                <a:srgbClr val="00A097"/>
              </a:solidFill>
            </c:spPr>
            <c:extLst>
              <c:ext xmlns:c16="http://schemas.microsoft.com/office/drawing/2014/chart" uri="{C3380CC4-5D6E-409C-BE32-E72D297353CC}">
                <c16:uniqueId val="{00000139-2993-41DE-A2CB-63102DE87051}"/>
              </c:ext>
            </c:extLst>
          </c:dPt>
          <c:dPt>
            <c:idx val="156"/>
            <c:invertIfNegative val="1"/>
            <c:bubble3D val="0"/>
            <c:spPr>
              <a:solidFill>
                <a:srgbClr val="00A097"/>
              </a:solidFill>
            </c:spPr>
            <c:extLst>
              <c:ext xmlns:c16="http://schemas.microsoft.com/office/drawing/2014/chart" uri="{C3380CC4-5D6E-409C-BE32-E72D297353CC}">
                <c16:uniqueId val="{0000013B-2993-41DE-A2CB-63102DE87051}"/>
              </c:ext>
            </c:extLst>
          </c:dPt>
          <c:dPt>
            <c:idx val="157"/>
            <c:invertIfNegative val="1"/>
            <c:bubble3D val="0"/>
            <c:spPr>
              <a:solidFill>
                <a:srgbClr val="00A097"/>
              </a:solidFill>
            </c:spPr>
            <c:extLst>
              <c:ext xmlns:c16="http://schemas.microsoft.com/office/drawing/2014/chart" uri="{C3380CC4-5D6E-409C-BE32-E72D297353CC}">
                <c16:uniqueId val="{0000013D-2993-41DE-A2CB-63102DE87051}"/>
              </c:ext>
            </c:extLst>
          </c:dPt>
          <c:dPt>
            <c:idx val="158"/>
            <c:invertIfNegative val="1"/>
            <c:bubble3D val="0"/>
            <c:spPr>
              <a:solidFill>
                <a:srgbClr val="00A097"/>
              </a:solidFill>
            </c:spPr>
            <c:extLst>
              <c:ext xmlns:c16="http://schemas.microsoft.com/office/drawing/2014/chart" uri="{C3380CC4-5D6E-409C-BE32-E72D297353CC}">
                <c16:uniqueId val="{0000013F-2993-41DE-A2CB-63102DE87051}"/>
              </c:ext>
            </c:extLst>
          </c:dPt>
          <c:dPt>
            <c:idx val="159"/>
            <c:invertIfNegative val="1"/>
            <c:bubble3D val="0"/>
            <c:spPr>
              <a:solidFill>
                <a:srgbClr val="00A097"/>
              </a:solidFill>
            </c:spPr>
            <c:extLst>
              <c:ext xmlns:c16="http://schemas.microsoft.com/office/drawing/2014/chart" uri="{C3380CC4-5D6E-409C-BE32-E72D297353CC}">
                <c16:uniqueId val="{00000141-2993-41DE-A2CB-63102DE87051}"/>
              </c:ext>
            </c:extLst>
          </c:dPt>
          <c:dPt>
            <c:idx val="160"/>
            <c:invertIfNegative val="1"/>
            <c:bubble3D val="0"/>
            <c:spPr>
              <a:solidFill>
                <a:srgbClr val="00A097"/>
              </a:solidFill>
            </c:spPr>
            <c:extLst>
              <c:ext xmlns:c16="http://schemas.microsoft.com/office/drawing/2014/chart" uri="{C3380CC4-5D6E-409C-BE32-E72D297353CC}">
                <c16:uniqueId val="{00000143-2993-41DE-A2CB-63102DE87051}"/>
              </c:ext>
            </c:extLst>
          </c:dPt>
          <c:dPt>
            <c:idx val="161"/>
            <c:invertIfNegative val="1"/>
            <c:bubble3D val="0"/>
            <c:spPr>
              <a:solidFill>
                <a:srgbClr val="00A097"/>
              </a:solidFill>
            </c:spPr>
            <c:extLst>
              <c:ext xmlns:c16="http://schemas.microsoft.com/office/drawing/2014/chart" uri="{C3380CC4-5D6E-409C-BE32-E72D297353CC}">
                <c16:uniqueId val="{00000145-2993-41DE-A2CB-63102DE87051}"/>
              </c:ext>
            </c:extLst>
          </c:dPt>
          <c:dPt>
            <c:idx val="162"/>
            <c:invertIfNegative val="1"/>
            <c:bubble3D val="0"/>
            <c:spPr>
              <a:solidFill>
                <a:srgbClr val="00A097"/>
              </a:solidFill>
            </c:spPr>
            <c:extLst>
              <c:ext xmlns:c16="http://schemas.microsoft.com/office/drawing/2014/chart" uri="{C3380CC4-5D6E-409C-BE32-E72D297353CC}">
                <c16:uniqueId val="{00000147-2993-41DE-A2CB-63102DE87051}"/>
              </c:ext>
            </c:extLst>
          </c:dPt>
          <c:dPt>
            <c:idx val="163"/>
            <c:invertIfNegative val="1"/>
            <c:bubble3D val="0"/>
            <c:spPr>
              <a:solidFill>
                <a:srgbClr val="00A097"/>
              </a:solidFill>
            </c:spPr>
            <c:extLst>
              <c:ext xmlns:c16="http://schemas.microsoft.com/office/drawing/2014/chart" uri="{C3380CC4-5D6E-409C-BE32-E72D297353CC}">
                <c16:uniqueId val="{00000149-2993-41DE-A2CB-63102DE87051}"/>
              </c:ext>
            </c:extLst>
          </c:dPt>
          <c:dPt>
            <c:idx val="164"/>
            <c:invertIfNegative val="1"/>
            <c:bubble3D val="0"/>
            <c:spPr>
              <a:solidFill>
                <a:srgbClr val="00A097"/>
              </a:solidFill>
            </c:spPr>
            <c:extLst>
              <c:ext xmlns:c16="http://schemas.microsoft.com/office/drawing/2014/chart" uri="{C3380CC4-5D6E-409C-BE32-E72D297353CC}">
                <c16:uniqueId val="{0000014B-2993-41DE-A2CB-63102DE87051}"/>
              </c:ext>
            </c:extLst>
          </c:dPt>
          <c:dPt>
            <c:idx val="165"/>
            <c:invertIfNegative val="1"/>
            <c:bubble3D val="0"/>
            <c:spPr>
              <a:solidFill>
                <a:srgbClr val="00A097"/>
              </a:solidFill>
            </c:spPr>
            <c:extLst>
              <c:ext xmlns:c16="http://schemas.microsoft.com/office/drawing/2014/chart" uri="{C3380CC4-5D6E-409C-BE32-E72D297353CC}">
                <c16:uniqueId val="{0000014D-2993-41DE-A2CB-63102DE87051}"/>
              </c:ext>
            </c:extLst>
          </c:dPt>
          <c:dPt>
            <c:idx val="166"/>
            <c:invertIfNegative val="1"/>
            <c:bubble3D val="0"/>
            <c:spPr>
              <a:solidFill>
                <a:srgbClr val="00A097"/>
              </a:solidFill>
            </c:spPr>
            <c:extLst>
              <c:ext xmlns:c16="http://schemas.microsoft.com/office/drawing/2014/chart" uri="{C3380CC4-5D6E-409C-BE32-E72D297353CC}">
                <c16:uniqueId val="{0000014F-2993-41DE-A2CB-63102DE87051}"/>
              </c:ext>
            </c:extLst>
          </c:dPt>
          <c:dPt>
            <c:idx val="167"/>
            <c:invertIfNegative val="1"/>
            <c:bubble3D val="0"/>
            <c:spPr>
              <a:solidFill>
                <a:srgbClr val="00A097"/>
              </a:solidFill>
            </c:spPr>
            <c:extLst>
              <c:ext xmlns:c16="http://schemas.microsoft.com/office/drawing/2014/chart" uri="{C3380CC4-5D6E-409C-BE32-E72D297353CC}">
                <c16:uniqueId val="{00000151-2993-41DE-A2CB-63102DE87051}"/>
              </c:ext>
            </c:extLst>
          </c:dPt>
          <c:dPt>
            <c:idx val="168"/>
            <c:invertIfNegative val="1"/>
            <c:bubble3D val="0"/>
            <c:spPr>
              <a:solidFill>
                <a:srgbClr val="00A097"/>
              </a:solidFill>
            </c:spPr>
            <c:extLst>
              <c:ext xmlns:c16="http://schemas.microsoft.com/office/drawing/2014/chart" uri="{C3380CC4-5D6E-409C-BE32-E72D297353CC}">
                <c16:uniqueId val="{00000153-2993-41DE-A2CB-63102DE87051}"/>
              </c:ext>
            </c:extLst>
          </c:dPt>
          <c:dPt>
            <c:idx val="169"/>
            <c:invertIfNegative val="1"/>
            <c:bubble3D val="0"/>
            <c:spPr>
              <a:solidFill>
                <a:srgbClr val="00A097"/>
              </a:solidFill>
            </c:spPr>
            <c:extLst>
              <c:ext xmlns:c16="http://schemas.microsoft.com/office/drawing/2014/chart" uri="{C3380CC4-5D6E-409C-BE32-E72D297353CC}">
                <c16:uniqueId val="{00000155-2993-41DE-A2CB-63102DE87051}"/>
              </c:ext>
            </c:extLst>
          </c:dPt>
          <c:dPt>
            <c:idx val="170"/>
            <c:invertIfNegative val="1"/>
            <c:bubble3D val="0"/>
            <c:spPr>
              <a:solidFill>
                <a:srgbClr val="00A097"/>
              </a:solidFill>
            </c:spPr>
            <c:extLst>
              <c:ext xmlns:c16="http://schemas.microsoft.com/office/drawing/2014/chart" uri="{C3380CC4-5D6E-409C-BE32-E72D297353CC}">
                <c16:uniqueId val="{00000157-2993-41DE-A2CB-63102DE87051}"/>
              </c:ext>
            </c:extLst>
          </c:dPt>
          <c:dPt>
            <c:idx val="171"/>
            <c:invertIfNegative val="1"/>
            <c:bubble3D val="0"/>
            <c:spPr>
              <a:solidFill>
                <a:srgbClr val="00A097"/>
              </a:solidFill>
            </c:spPr>
            <c:extLst>
              <c:ext xmlns:c16="http://schemas.microsoft.com/office/drawing/2014/chart" uri="{C3380CC4-5D6E-409C-BE32-E72D297353CC}">
                <c16:uniqueId val="{00000159-2993-41DE-A2CB-63102DE87051}"/>
              </c:ext>
            </c:extLst>
          </c:dPt>
          <c:dPt>
            <c:idx val="172"/>
            <c:invertIfNegative val="1"/>
            <c:bubble3D val="0"/>
            <c:spPr>
              <a:solidFill>
                <a:srgbClr val="00A097"/>
              </a:solidFill>
            </c:spPr>
            <c:extLst>
              <c:ext xmlns:c16="http://schemas.microsoft.com/office/drawing/2014/chart" uri="{C3380CC4-5D6E-409C-BE32-E72D297353CC}">
                <c16:uniqueId val="{0000015B-2993-41DE-A2CB-63102DE87051}"/>
              </c:ext>
            </c:extLst>
          </c:dPt>
          <c:dPt>
            <c:idx val="173"/>
            <c:invertIfNegative val="1"/>
            <c:bubble3D val="0"/>
            <c:spPr>
              <a:solidFill>
                <a:srgbClr val="00A097"/>
              </a:solidFill>
            </c:spPr>
            <c:extLst>
              <c:ext xmlns:c16="http://schemas.microsoft.com/office/drawing/2014/chart" uri="{C3380CC4-5D6E-409C-BE32-E72D297353CC}">
                <c16:uniqueId val="{0000015D-2993-41DE-A2CB-63102DE87051}"/>
              </c:ext>
            </c:extLst>
          </c:dPt>
          <c:dPt>
            <c:idx val="174"/>
            <c:invertIfNegative val="1"/>
            <c:bubble3D val="0"/>
            <c:spPr>
              <a:solidFill>
                <a:srgbClr val="00A097"/>
              </a:solidFill>
            </c:spPr>
            <c:extLst>
              <c:ext xmlns:c16="http://schemas.microsoft.com/office/drawing/2014/chart" uri="{C3380CC4-5D6E-409C-BE32-E72D297353CC}">
                <c16:uniqueId val="{0000015F-2993-41DE-A2CB-63102DE87051}"/>
              </c:ext>
            </c:extLst>
          </c:dPt>
          <c:dPt>
            <c:idx val="175"/>
            <c:invertIfNegative val="1"/>
            <c:bubble3D val="0"/>
            <c:spPr>
              <a:solidFill>
                <a:srgbClr val="00A097"/>
              </a:solidFill>
            </c:spPr>
            <c:extLst>
              <c:ext xmlns:c16="http://schemas.microsoft.com/office/drawing/2014/chart" uri="{C3380CC4-5D6E-409C-BE32-E72D297353CC}">
                <c16:uniqueId val="{00000161-2993-41DE-A2CB-63102DE87051}"/>
              </c:ext>
            </c:extLst>
          </c:dPt>
          <c:dPt>
            <c:idx val="176"/>
            <c:invertIfNegative val="1"/>
            <c:bubble3D val="0"/>
            <c:spPr>
              <a:solidFill>
                <a:srgbClr val="00A097"/>
              </a:solidFill>
            </c:spPr>
            <c:extLst>
              <c:ext xmlns:c16="http://schemas.microsoft.com/office/drawing/2014/chart" uri="{C3380CC4-5D6E-409C-BE32-E72D297353CC}">
                <c16:uniqueId val="{00000163-2993-41DE-A2CB-63102DE87051}"/>
              </c:ext>
            </c:extLst>
          </c:dPt>
          <c:dPt>
            <c:idx val="177"/>
            <c:invertIfNegative val="1"/>
            <c:bubble3D val="0"/>
            <c:spPr>
              <a:solidFill>
                <a:srgbClr val="00A097"/>
              </a:solidFill>
            </c:spPr>
            <c:extLst>
              <c:ext xmlns:c16="http://schemas.microsoft.com/office/drawing/2014/chart" uri="{C3380CC4-5D6E-409C-BE32-E72D297353CC}">
                <c16:uniqueId val="{00000165-2993-41DE-A2CB-63102DE87051}"/>
              </c:ext>
            </c:extLst>
          </c:dPt>
          <c:dPt>
            <c:idx val="178"/>
            <c:invertIfNegative val="1"/>
            <c:bubble3D val="0"/>
            <c:spPr>
              <a:solidFill>
                <a:srgbClr val="00A097"/>
              </a:solidFill>
            </c:spPr>
            <c:extLst>
              <c:ext xmlns:c16="http://schemas.microsoft.com/office/drawing/2014/chart" uri="{C3380CC4-5D6E-409C-BE32-E72D297353CC}">
                <c16:uniqueId val="{00000167-2993-41DE-A2CB-63102DE87051}"/>
              </c:ext>
            </c:extLst>
          </c:dPt>
          <c:dPt>
            <c:idx val="179"/>
            <c:invertIfNegative val="1"/>
            <c:bubble3D val="0"/>
            <c:spPr>
              <a:solidFill>
                <a:srgbClr val="00A097"/>
              </a:solidFill>
            </c:spPr>
            <c:extLst>
              <c:ext xmlns:c16="http://schemas.microsoft.com/office/drawing/2014/chart" uri="{C3380CC4-5D6E-409C-BE32-E72D297353CC}">
                <c16:uniqueId val="{00000169-2993-41DE-A2CB-63102DE87051}"/>
              </c:ext>
            </c:extLst>
          </c:dPt>
          <c:dPt>
            <c:idx val="180"/>
            <c:invertIfNegative val="1"/>
            <c:bubble3D val="0"/>
            <c:spPr>
              <a:solidFill>
                <a:srgbClr val="00A097"/>
              </a:solidFill>
            </c:spPr>
            <c:extLst>
              <c:ext xmlns:c16="http://schemas.microsoft.com/office/drawing/2014/chart" uri="{C3380CC4-5D6E-409C-BE32-E72D297353CC}">
                <c16:uniqueId val="{0000016B-2993-41DE-A2CB-63102DE87051}"/>
              </c:ext>
            </c:extLst>
          </c:dPt>
          <c:dPt>
            <c:idx val="181"/>
            <c:invertIfNegative val="1"/>
            <c:bubble3D val="0"/>
            <c:spPr>
              <a:solidFill>
                <a:srgbClr val="00A097"/>
              </a:solidFill>
            </c:spPr>
            <c:extLst>
              <c:ext xmlns:c16="http://schemas.microsoft.com/office/drawing/2014/chart" uri="{C3380CC4-5D6E-409C-BE32-E72D297353CC}">
                <c16:uniqueId val="{0000016D-2993-41DE-A2CB-63102DE87051}"/>
              </c:ext>
            </c:extLst>
          </c:dPt>
          <c:dPt>
            <c:idx val="182"/>
            <c:invertIfNegative val="1"/>
            <c:bubble3D val="0"/>
            <c:spPr>
              <a:solidFill>
                <a:srgbClr val="00A097"/>
              </a:solidFill>
            </c:spPr>
            <c:extLst>
              <c:ext xmlns:c16="http://schemas.microsoft.com/office/drawing/2014/chart" uri="{C3380CC4-5D6E-409C-BE32-E72D297353CC}">
                <c16:uniqueId val="{0000016F-2993-41DE-A2CB-63102DE87051}"/>
              </c:ext>
            </c:extLst>
          </c:dPt>
          <c:dPt>
            <c:idx val="183"/>
            <c:invertIfNegative val="1"/>
            <c:bubble3D val="0"/>
            <c:spPr>
              <a:solidFill>
                <a:srgbClr val="00A097"/>
              </a:solidFill>
            </c:spPr>
            <c:extLst>
              <c:ext xmlns:c16="http://schemas.microsoft.com/office/drawing/2014/chart" uri="{C3380CC4-5D6E-409C-BE32-E72D297353CC}">
                <c16:uniqueId val="{00000171-2993-41DE-A2CB-63102DE87051}"/>
              </c:ext>
            </c:extLst>
          </c:dPt>
          <c:dPt>
            <c:idx val="184"/>
            <c:invertIfNegative val="1"/>
            <c:bubble3D val="0"/>
            <c:spPr>
              <a:solidFill>
                <a:srgbClr val="00A097"/>
              </a:solidFill>
            </c:spPr>
            <c:extLst>
              <c:ext xmlns:c16="http://schemas.microsoft.com/office/drawing/2014/chart" uri="{C3380CC4-5D6E-409C-BE32-E72D297353CC}">
                <c16:uniqueId val="{00000173-2993-41DE-A2CB-63102DE87051}"/>
              </c:ext>
            </c:extLst>
          </c:dPt>
          <c:dPt>
            <c:idx val="185"/>
            <c:invertIfNegative val="1"/>
            <c:bubble3D val="0"/>
            <c:spPr>
              <a:solidFill>
                <a:srgbClr val="00A097"/>
              </a:solidFill>
            </c:spPr>
            <c:extLst>
              <c:ext xmlns:c16="http://schemas.microsoft.com/office/drawing/2014/chart" uri="{C3380CC4-5D6E-409C-BE32-E72D297353CC}">
                <c16:uniqueId val="{00000175-2993-41DE-A2CB-63102DE87051}"/>
              </c:ext>
            </c:extLst>
          </c:dPt>
          <c:dPt>
            <c:idx val="186"/>
            <c:invertIfNegative val="1"/>
            <c:bubble3D val="0"/>
            <c:spPr>
              <a:solidFill>
                <a:srgbClr val="00A097"/>
              </a:solidFill>
            </c:spPr>
            <c:extLst>
              <c:ext xmlns:c16="http://schemas.microsoft.com/office/drawing/2014/chart" uri="{C3380CC4-5D6E-409C-BE32-E72D297353CC}">
                <c16:uniqueId val="{00000177-2993-41DE-A2CB-63102DE87051}"/>
              </c:ext>
            </c:extLst>
          </c:dPt>
          <c:dPt>
            <c:idx val="187"/>
            <c:invertIfNegative val="1"/>
            <c:bubble3D val="0"/>
            <c:spPr>
              <a:solidFill>
                <a:srgbClr val="00A097"/>
              </a:solidFill>
            </c:spPr>
            <c:extLst>
              <c:ext xmlns:c16="http://schemas.microsoft.com/office/drawing/2014/chart" uri="{C3380CC4-5D6E-409C-BE32-E72D297353CC}">
                <c16:uniqueId val="{00000179-2993-41DE-A2CB-63102DE87051}"/>
              </c:ext>
            </c:extLst>
          </c:dPt>
          <c:dPt>
            <c:idx val="188"/>
            <c:invertIfNegative val="1"/>
            <c:bubble3D val="0"/>
            <c:spPr>
              <a:solidFill>
                <a:srgbClr val="00A097"/>
              </a:solidFill>
            </c:spPr>
            <c:extLst>
              <c:ext xmlns:c16="http://schemas.microsoft.com/office/drawing/2014/chart" uri="{C3380CC4-5D6E-409C-BE32-E72D297353CC}">
                <c16:uniqueId val="{0000017B-2993-41DE-A2CB-63102DE87051}"/>
              </c:ext>
            </c:extLst>
          </c:dPt>
          <c:dPt>
            <c:idx val="189"/>
            <c:invertIfNegative val="1"/>
            <c:bubble3D val="0"/>
            <c:spPr>
              <a:solidFill>
                <a:srgbClr val="00A097"/>
              </a:solidFill>
            </c:spPr>
            <c:extLst>
              <c:ext xmlns:c16="http://schemas.microsoft.com/office/drawing/2014/chart" uri="{C3380CC4-5D6E-409C-BE32-E72D297353CC}">
                <c16:uniqueId val="{0000017D-2993-41DE-A2CB-63102DE87051}"/>
              </c:ext>
            </c:extLst>
          </c:dPt>
          <c:dPt>
            <c:idx val="190"/>
            <c:invertIfNegative val="1"/>
            <c:bubble3D val="0"/>
            <c:spPr>
              <a:solidFill>
                <a:srgbClr val="00A097"/>
              </a:solidFill>
            </c:spPr>
            <c:extLst>
              <c:ext xmlns:c16="http://schemas.microsoft.com/office/drawing/2014/chart" uri="{C3380CC4-5D6E-409C-BE32-E72D297353CC}">
                <c16:uniqueId val="{0000017F-2993-41DE-A2CB-63102DE87051}"/>
              </c:ext>
            </c:extLst>
          </c:dPt>
          <c:dPt>
            <c:idx val="191"/>
            <c:invertIfNegative val="1"/>
            <c:bubble3D val="0"/>
            <c:spPr>
              <a:solidFill>
                <a:srgbClr val="00A097"/>
              </a:solidFill>
            </c:spPr>
            <c:extLst>
              <c:ext xmlns:c16="http://schemas.microsoft.com/office/drawing/2014/chart" uri="{C3380CC4-5D6E-409C-BE32-E72D297353CC}">
                <c16:uniqueId val="{00000181-2993-41DE-A2CB-63102DE87051}"/>
              </c:ext>
            </c:extLst>
          </c:dPt>
          <c:dPt>
            <c:idx val="192"/>
            <c:invertIfNegative val="1"/>
            <c:bubble3D val="0"/>
            <c:spPr>
              <a:solidFill>
                <a:srgbClr val="00A097"/>
              </a:solidFill>
            </c:spPr>
            <c:extLst>
              <c:ext xmlns:c16="http://schemas.microsoft.com/office/drawing/2014/chart" uri="{C3380CC4-5D6E-409C-BE32-E72D297353CC}">
                <c16:uniqueId val="{00000183-2993-41DE-A2CB-63102DE87051}"/>
              </c:ext>
            </c:extLst>
          </c:dPt>
          <c:dPt>
            <c:idx val="193"/>
            <c:invertIfNegative val="1"/>
            <c:bubble3D val="0"/>
            <c:spPr>
              <a:solidFill>
                <a:srgbClr val="00A097"/>
              </a:solidFill>
            </c:spPr>
            <c:extLst>
              <c:ext xmlns:c16="http://schemas.microsoft.com/office/drawing/2014/chart" uri="{C3380CC4-5D6E-409C-BE32-E72D297353CC}">
                <c16:uniqueId val="{00000185-2993-41DE-A2CB-63102DE87051}"/>
              </c:ext>
            </c:extLst>
          </c:dPt>
          <c:dPt>
            <c:idx val="194"/>
            <c:invertIfNegative val="1"/>
            <c:bubble3D val="0"/>
            <c:spPr>
              <a:solidFill>
                <a:srgbClr val="00A097"/>
              </a:solidFill>
            </c:spPr>
            <c:extLst>
              <c:ext xmlns:c16="http://schemas.microsoft.com/office/drawing/2014/chart" uri="{C3380CC4-5D6E-409C-BE32-E72D297353CC}">
                <c16:uniqueId val="{00000187-2993-41DE-A2CB-63102DE87051}"/>
              </c:ext>
            </c:extLst>
          </c:dPt>
          <c:dPt>
            <c:idx val="195"/>
            <c:invertIfNegative val="1"/>
            <c:bubble3D val="0"/>
            <c:spPr>
              <a:solidFill>
                <a:srgbClr val="00A097"/>
              </a:solidFill>
            </c:spPr>
            <c:extLst>
              <c:ext xmlns:c16="http://schemas.microsoft.com/office/drawing/2014/chart" uri="{C3380CC4-5D6E-409C-BE32-E72D297353CC}">
                <c16:uniqueId val="{00000189-2993-41DE-A2CB-63102DE87051}"/>
              </c:ext>
            </c:extLst>
          </c:dPt>
          <c:dPt>
            <c:idx val="196"/>
            <c:invertIfNegative val="1"/>
            <c:bubble3D val="0"/>
            <c:spPr>
              <a:solidFill>
                <a:srgbClr val="00A097"/>
              </a:solidFill>
            </c:spPr>
            <c:extLst>
              <c:ext xmlns:c16="http://schemas.microsoft.com/office/drawing/2014/chart" uri="{C3380CC4-5D6E-409C-BE32-E72D297353CC}">
                <c16:uniqueId val="{0000018B-2993-41DE-A2CB-63102DE87051}"/>
              </c:ext>
            </c:extLst>
          </c:dPt>
          <c:dPt>
            <c:idx val="197"/>
            <c:invertIfNegative val="1"/>
            <c:bubble3D val="0"/>
            <c:spPr>
              <a:solidFill>
                <a:srgbClr val="00A097"/>
              </a:solidFill>
            </c:spPr>
            <c:extLst>
              <c:ext xmlns:c16="http://schemas.microsoft.com/office/drawing/2014/chart" uri="{C3380CC4-5D6E-409C-BE32-E72D297353CC}">
                <c16:uniqueId val="{0000018D-2993-41DE-A2CB-63102DE87051}"/>
              </c:ext>
            </c:extLst>
          </c:dPt>
          <c:dPt>
            <c:idx val="198"/>
            <c:invertIfNegative val="1"/>
            <c:bubble3D val="0"/>
            <c:spPr>
              <a:solidFill>
                <a:srgbClr val="00A097"/>
              </a:solidFill>
            </c:spPr>
            <c:extLst>
              <c:ext xmlns:c16="http://schemas.microsoft.com/office/drawing/2014/chart" uri="{C3380CC4-5D6E-409C-BE32-E72D297353CC}">
                <c16:uniqueId val="{0000018F-2993-41DE-A2CB-63102DE87051}"/>
              </c:ext>
            </c:extLst>
          </c:dPt>
          <c:dPt>
            <c:idx val="199"/>
            <c:invertIfNegative val="1"/>
            <c:bubble3D val="0"/>
            <c:spPr>
              <a:solidFill>
                <a:srgbClr val="00A097"/>
              </a:solidFill>
            </c:spPr>
            <c:extLst>
              <c:ext xmlns:c16="http://schemas.microsoft.com/office/drawing/2014/chart" uri="{C3380CC4-5D6E-409C-BE32-E72D297353CC}">
                <c16:uniqueId val="{00000191-2993-41DE-A2CB-63102DE87051}"/>
              </c:ext>
            </c:extLst>
          </c:dPt>
          <c:dPt>
            <c:idx val="200"/>
            <c:invertIfNegative val="1"/>
            <c:bubble3D val="0"/>
            <c:spPr>
              <a:solidFill>
                <a:srgbClr val="00A097"/>
              </a:solidFill>
            </c:spPr>
            <c:extLst>
              <c:ext xmlns:c16="http://schemas.microsoft.com/office/drawing/2014/chart" uri="{C3380CC4-5D6E-409C-BE32-E72D297353CC}">
                <c16:uniqueId val="{00000193-2993-41DE-A2CB-63102DE87051}"/>
              </c:ext>
            </c:extLst>
          </c:dPt>
          <c:dPt>
            <c:idx val="201"/>
            <c:invertIfNegative val="1"/>
            <c:bubble3D val="0"/>
            <c:spPr>
              <a:solidFill>
                <a:srgbClr val="00A097"/>
              </a:solidFill>
            </c:spPr>
            <c:extLst>
              <c:ext xmlns:c16="http://schemas.microsoft.com/office/drawing/2014/chart" uri="{C3380CC4-5D6E-409C-BE32-E72D297353CC}">
                <c16:uniqueId val="{00000195-2993-41DE-A2CB-63102DE87051}"/>
              </c:ext>
            </c:extLst>
          </c:dPt>
          <c:dPt>
            <c:idx val="202"/>
            <c:invertIfNegative val="1"/>
            <c:bubble3D val="0"/>
            <c:spPr>
              <a:solidFill>
                <a:srgbClr val="00A097"/>
              </a:solidFill>
            </c:spPr>
            <c:extLst>
              <c:ext xmlns:c16="http://schemas.microsoft.com/office/drawing/2014/chart" uri="{C3380CC4-5D6E-409C-BE32-E72D297353CC}">
                <c16:uniqueId val="{00000197-2993-41DE-A2CB-63102DE87051}"/>
              </c:ext>
            </c:extLst>
          </c:dPt>
          <c:dPt>
            <c:idx val="203"/>
            <c:invertIfNegative val="1"/>
            <c:bubble3D val="0"/>
            <c:spPr>
              <a:solidFill>
                <a:srgbClr val="00A097"/>
              </a:solidFill>
            </c:spPr>
            <c:extLst>
              <c:ext xmlns:c16="http://schemas.microsoft.com/office/drawing/2014/chart" uri="{C3380CC4-5D6E-409C-BE32-E72D297353CC}">
                <c16:uniqueId val="{00000199-2993-41DE-A2CB-63102DE87051}"/>
              </c:ext>
            </c:extLst>
          </c:dPt>
          <c:dPt>
            <c:idx val="204"/>
            <c:invertIfNegative val="1"/>
            <c:bubble3D val="0"/>
            <c:spPr>
              <a:solidFill>
                <a:srgbClr val="00A097"/>
              </a:solidFill>
            </c:spPr>
            <c:extLst>
              <c:ext xmlns:c16="http://schemas.microsoft.com/office/drawing/2014/chart" uri="{C3380CC4-5D6E-409C-BE32-E72D297353CC}">
                <c16:uniqueId val="{0000019B-2993-41DE-A2CB-63102DE87051}"/>
              </c:ext>
            </c:extLst>
          </c:dPt>
          <c:dPt>
            <c:idx val="205"/>
            <c:invertIfNegative val="1"/>
            <c:bubble3D val="0"/>
            <c:spPr>
              <a:solidFill>
                <a:srgbClr val="00A097"/>
              </a:solidFill>
            </c:spPr>
            <c:extLst>
              <c:ext xmlns:c16="http://schemas.microsoft.com/office/drawing/2014/chart" uri="{C3380CC4-5D6E-409C-BE32-E72D297353CC}">
                <c16:uniqueId val="{0000019D-2993-41DE-A2CB-63102DE87051}"/>
              </c:ext>
            </c:extLst>
          </c:dPt>
          <c:dPt>
            <c:idx val="206"/>
            <c:invertIfNegative val="1"/>
            <c:bubble3D val="0"/>
            <c:spPr>
              <a:solidFill>
                <a:srgbClr val="00A097"/>
              </a:solidFill>
            </c:spPr>
            <c:extLst>
              <c:ext xmlns:c16="http://schemas.microsoft.com/office/drawing/2014/chart" uri="{C3380CC4-5D6E-409C-BE32-E72D297353CC}">
                <c16:uniqueId val="{0000019F-2993-41DE-A2CB-63102DE87051}"/>
              </c:ext>
            </c:extLst>
          </c:dPt>
          <c:dPt>
            <c:idx val="207"/>
            <c:invertIfNegative val="1"/>
            <c:bubble3D val="0"/>
            <c:spPr>
              <a:solidFill>
                <a:srgbClr val="00A097"/>
              </a:solidFill>
            </c:spPr>
            <c:extLst>
              <c:ext xmlns:c16="http://schemas.microsoft.com/office/drawing/2014/chart" uri="{C3380CC4-5D6E-409C-BE32-E72D297353CC}">
                <c16:uniqueId val="{000001A1-2993-41DE-A2CB-63102DE87051}"/>
              </c:ext>
            </c:extLst>
          </c:dPt>
          <c:dPt>
            <c:idx val="208"/>
            <c:invertIfNegative val="1"/>
            <c:bubble3D val="0"/>
            <c:spPr>
              <a:solidFill>
                <a:srgbClr val="00A097"/>
              </a:solidFill>
            </c:spPr>
            <c:extLst>
              <c:ext xmlns:c16="http://schemas.microsoft.com/office/drawing/2014/chart" uri="{C3380CC4-5D6E-409C-BE32-E72D297353CC}">
                <c16:uniqueId val="{000001A3-2993-41DE-A2CB-63102DE87051}"/>
              </c:ext>
            </c:extLst>
          </c:dPt>
          <c:dPt>
            <c:idx val="209"/>
            <c:invertIfNegative val="1"/>
            <c:bubble3D val="0"/>
            <c:spPr>
              <a:solidFill>
                <a:srgbClr val="00A097"/>
              </a:solidFill>
            </c:spPr>
            <c:extLst>
              <c:ext xmlns:c16="http://schemas.microsoft.com/office/drawing/2014/chart" uri="{C3380CC4-5D6E-409C-BE32-E72D297353CC}">
                <c16:uniqueId val="{000001A5-2993-41DE-A2CB-63102DE87051}"/>
              </c:ext>
            </c:extLst>
          </c:dPt>
          <c:dPt>
            <c:idx val="210"/>
            <c:spPr>
              <a:solidFill>
                <a:srgbClr val="00A097"/>
              </a:solidFill>
            </c:spPr>
          </c:dPt>
          <c:dPt>
            <c:idx val="211"/>
            <c:spPr>
              <a:solidFill>
                <a:srgbClr val="00A097"/>
              </a:solidFill>
            </c:spPr>
          </c:dPt>
          <c:dPt>
            <c:idx val="212"/>
            <c:spPr>
              <a:solidFill>
                <a:srgbClr val="00A097"/>
              </a:solidFill>
            </c:spPr>
          </c:dPt>
          <c:dPt>
            <c:idx val="213"/>
            <c:spPr>
              <a:solidFill>
                <a:srgbClr val="00A097"/>
              </a:solidFill>
            </c:spPr>
          </c:dPt>
          <c:dPt>
            <c:idx val="214"/>
            <c:spPr>
              <a:solidFill>
                <a:srgbClr val="00A097"/>
              </a:solidFill>
            </c:spPr>
          </c:dPt>
          <c:dPt>
            <c:idx val="215"/>
            <c:spPr>
              <a:solidFill>
                <a:srgbClr val="00A097"/>
              </a:solidFill>
            </c:spPr>
          </c:dPt>
          <c:dPt>
            <c:idx val="216"/>
            <c:spPr>
              <a:solidFill>
                <a:srgbClr val="00A097"/>
              </a:solidFill>
            </c:spPr>
          </c:dPt>
          <c:dPt>
            <c:idx val="217"/>
            <c:spPr>
              <a:solidFill>
                <a:srgbClr val="00A097"/>
              </a:solidFill>
            </c:spPr>
          </c:dPt>
          <c:dPt>
            <c:idx val="218"/>
            <c:spPr>
              <a:solidFill>
                <a:srgbClr val="00A097"/>
              </a:solidFill>
            </c:spPr>
          </c:dPt>
          <c:dPt>
            <c:idx val="219"/>
            <c:spPr>
              <a:solidFill>
                <a:srgbClr val="00A097"/>
              </a:solidFill>
            </c:spPr>
          </c:dPt>
          <c:dPt>
            <c:idx val="220"/>
            <c:spPr>
              <a:solidFill>
                <a:srgbClr val="00A097"/>
              </a:solidFill>
            </c:spPr>
          </c:dPt>
          <c:dPt>
            <c:idx val="221"/>
            <c:spPr>
              <a:solidFill>
                <a:srgbClr val="00A097"/>
              </a:solidFill>
            </c:spPr>
          </c:dPt>
          <c:dPt>
            <c:idx val="222"/>
            <c:spPr>
              <a:solidFill>
                <a:srgbClr val="00A097"/>
              </a:solidFill>
            </c:spPr>
          </c:dPt>
          <c:dPt>
            <c:idx val="223"/>
            <c:spPr>
              <a:solidFill>
                <a:srgbClr val="00A097"/>
              </a:solidFill>
            </c:spPr>
          </c:dPt>
          <c:dPt>
            <c:idx val="224"/>
            <c:spPr>
              <a:solidFill>
                <a:srgbClr val="00A097"/>
              </a:solidFill>
            </c:spPr>
          </c:dPt>
          <c:dPt>
            <c:idx val="225"/>
            <c:spPr>
              <a:solidFill>
                <a:srgbClr val="00A097"/>
              </a:solidFill>
            </c:spPr>
          </c:dPt>
          <c:dPt>
            <c:idx val="226"/>
            <c:spPr>
              <a:solidFill>
                <a:srgbClr val="00A097"/>
              </a:solidFill>
            </c:spPr>
          </c:dPt>
          <c:dPt>
            <c:idx val="227"/>
            <c:spPr>
              <a:solidFill>
                <a:srgbClr val="00A097"/>
              </a:solidFill>
            </c:spPr>
          </c:dPt>
          <c:dPt>
            <c:idx val="228"/>
            <c:spPr>
              <a:solidFill>
                <a:srgbClr val="00A097"/>
              </a:solidFill>
            </c:spPr>
          </c:dPt>
          <c:dPt>
            <c:idx val="229"/>
            <c:spPr>
              <a:solidFill>
                <a:srgbClr val="00A097"/>
              </a:solidFill>
            </c:spPr>
          </c:dPt>
          <c:dPt>
            <c:idx val="230"/>
            <c:spPr>
              <a:solidFill>
                <a:srgbClr val="00A097"/>
              </a:solidFill>
            </c:spPr>
          </c:dPt>
          <c:dPt>
            <c:idx val="231"/>
            <c:spPr>
              <a:solidFill>
                <a:srgbClr val="00A097"/>
              </a:solidFill>
            </c:spPr>
          </c:dPt>
          <c:dPt>
            <c:idx val="232"/>
            <c:spPr>
              <a:solidFill>
                <a:srgbClr val="00A097"/>
              </a:solidFill>
            </c:spPr>
          </c:dPt>
          <c:dPt>
            <c:idx val="233"/>
            <c:spPr>
              <a:solidFill>
                <a:srgbClr val="00A097"/>
              </a:solidFill>
            </c:spPr>
          </c:dPt>
          <c:dPt>
            <c:idx val="234"/>
            <c:spPr>
              <a:solidFill>
                <a:srgbClr val="00A097"/>
              </a:solidFill>
            </c:spPr>
          </c:dPt>
          <c:dPt>
            <c:idx val="235"/>
            <c:spPr>
              <a:solidFill>
                <a:srgbClr val="00A097"/>
              </a:solidFill>
            </c:spPr>
          </c:dPt>
          <c:dPt>
            <c:idx val="236"/>
            <c:spPr>
              <a:solidFill>
                <a:srgbClr val="00A097"/>
              </a:solidFill>
            </c:spPr>
          </c:dPt>
          <c:dPt>
            <c:idx val="237"/>
            <c:spPr>
              <a:solidFill>
                <a:srgbClr val="00A097"/>
              </a:solidFill>
            </c:spPr>
          </c:dPt>
          <c:dPt>
            <c:idx val="238"/>
            <c:spPr>
              <a:solidFill>
                <a:srgbClr val="00A097"/>
              </a:solidFill>
            </c:spPr>
          </c:dPt>
          <c:dPt>
            <c:idx val="239"/>
            <c:spPr>
              <a:solidFill>
                <a:srgbClr val="00A097"/>
              </a:solidFill>
            </c:spPr>
          </c:dPt>
          <c:dPt>
            <c:idx val="240"/>
            <c:spPr>
              <a:solidFill>
                <a:srgbClr val="00A097"/>
              </a:solidFill>
            </c:spPr>
          </c:dPt>
          <c:dPt>
            <c:idx val="241"/>
            <c:spPr>
              <a:solidFill>
                <a:srgbClr val="00A097"/>
              </a:solidFill>
            </c:spPr>
          </c:dPt>
          <c:dPt>
            <c:idx val="242"/>
            <c:spPr>
              <a:solidFill>
                <a:srgbClr val="00A097"/>
              </a:solidFill>
            </c:spPr>
          </c:dPt>
          <c:dPt>
            <c:idx val="243"/>
            <c:spPr>
              <a:solidFill>
                <a:srgbClr val="00A097"/>
              </a:solidFill>
            </c:spPr>
          </c:dPt>
          <c:dPt>
            <c:idx val="244"/>
            <c:spPr>
              <a:solidFill>
                <a:srgbClr val="00A097"/>
              </a:solidFill>
            </c:spPr>
          </c:dPt>
          <c:dPt>
            <c:idx val="245"/>
            <c:spPr>
              <a:solidFill>
                <a:srgbClr val="00A097"/>
              </a:solidFill>
            </c:spPr>
          </c:dPt>
          <c:dPt>
            <c:idx val="246"/>
            <c:spPr>
              <a:solidFill>
                <a:srgbClr val="00A097"/>
              </a:solidFill>
            </c:spPr>
          </c:dPt>
          <c:dPt>
            <c:idx val="247"/>
            <c:spPr>
              <a:solidFill>
                <a:srgbClr val="00A097"/>
              </a:solidFill>
            </c:spPr>
          </c:dPt>
          <c:dPt>
            <c:idx val="248"/>
            <c:spPr>
              <a:solidFill>
                <a:srgbClr val="00A097"/>
              </a:solidFill>
            </c:spPr>
          </c:dPt>
          <c:dPt>
            <c:idx val="249"/>
            <c:spPr>
              <a:solidFill>
                <a:srgbClr val="00A097"/>
              </a:solidFill>
            </c:spPr>
          </c:dPt>
          <c:dPt>
            <c:idx val="250"/>
            <c:spPr>
              <a:solidFill>
                <a:srgbClr val="00A097"/>
              </a:solidFill>
            </c:spPr>
          </c:dPt>
          <c:dPt>
            <c:idx val="251"/>
            <c:spPr>
              <a:solidFill>
                <a:srgbClr val="00A097"/>
              </a:solidFill>
            </c:spPr>
          </c:dPt>
          <c:dPt>
            <c:idx val="252"/>
            <c:spPr>
              <a:solidFill>
                <a:srgbClr val="00A097"/>
              </a:solidFill>
            </c:spPr>
          </c:dPt>
          <c:dPt>
            <c:idx val="253"/>
            <c:spPr>
              <a:solidFill>
                <a:srgbClr val="00A097"/>
              </a:solidFill>
            </c:spPr>
          </c:dPt>
          <c:dPt>
            <c:idx val="254"/>
            <c:spPr>
              <a:solidFill>
                <a:srgbClr val="00A097"/>
              </a:solidFill>
            </c:spPr>
          </c:dPt>
          <c:dPt>
            <c:idx val="255"/>
            <c:spPr>
              <a:solidFill>
                <a:srgbClr val="00A097"/>
              </a:solidFill>
            </c:spPr>
          </c:dPt>
          <c:dPt>
            <c:idx val="256"/>
            <c:spPr>
              <a:solidFill>
                <a:srgbClr val="00A097"/>
              </a:solidFill>
            </c:spPr>
          </c:dPt>
          <c:dPt>
            <c:idx val="257"/>
            <c:spPr>
              <a:solidFill>
                <a:srgbClr val="00A097"/>
              </a:solidFill>
            </c:spPr>
          </c:dPt>
          <c:dPt>
            <c:idx val="258"/>
            <c:spPr>
              <a:solidFill>
                <a:srgbClr val="00A097"/>
              </a:solidFill>
            </c:spPr>
          </c:dPt>
          <c:dPt>
            <c:idx val="259"/>
            <c:spPr>
              <a:solidFill>
                <a:srgbClr val="00A097"/>
              </a:solidFill>
            </c:spPr>
          </c:dPt>
          <c:dPt>
            <c:idx val="260"/>
            <c:spPr>
              <a:solidFill>
                <a:srgbClr val="00A097"/>
              </a:solidFill>
            </c:spPr>
          </c:dPt>
          <c:dPt>
            <c:idx val="261"/>
            <c:spPr>
              <a:solidFill>
                <a:srgbClr val="00A097"/>
              </a:solidFill>
            </c:spPr>
          </c:dPt>
          <c:dPt>
            <c:idx val="262"/>
            <c:spPr>
              <a:solidFill>
                <a:srgbClr val="00A097"/>
              </a:solidFill>
            </c:spPr>
          </c:dPt>
          <c:dPt>
            <c:idx val="263"/>
            <c:spPr>
              <a:solidFill>
                <a:srgbClr val="00A097"/>
              </a:solidFill>
            </c:spPr>
          </c:dPt>
          <c:dPt>
            <c:idx val="264"/>
            <c:spPr>
              <a:solidFill>
                <a:srgbClr val="00A097"/>
              </a:solidFill>
            </c:spPr>
          </c:dPt>
          <c:dPt>
            <c:idx val="265"/>
            <c:spPr>
              <a:solidFill>
                <a:srgbClr val="00A097"/>
              </a:solidFill>
            </c:spPr>
          </c:dPt>
          <c:dPt>
            <c:idx val="266"/>
            <c:spPr>
              <a:solidFill>
                <a:srgbClr val="00A097"/>
              </a:solidFill>
            </c:spPr>
          </c:dPt>
          <c:dPt>
            <c:idx val="267"/>
            <c:spPr>
              <a:solidFill>
                <a:srgbClr val="00A097"/>
              </a:solidFill>
            </c:spPr>
          </c:dPt>
          <c:dPt>
            <c:idx val="268"/>
            <c:spPr>
              <a:solidFill>
                <a:srgbClr val="00A097"/>
              </a:solidFill>
            </c:spPr>
          </c:dPt>
          <c:dPt>
            <c:idx val="269"/>
            <c:spPr>
              <a:solidFill>
                <a:srgbClr val="00A097"/>
              </a:solidFill>
            </c:spPr>
          </c:dPt>
          <c:dPt>
            <c:idx val="270"/>
            <c:spPr>
              <a:solidFill>
                <a:srgbClr val="00A097"/>
              </a:solidFill>
            </c:spPr>
          </c:dPt>
          <c:dPt>
            <c:idx val="271"/>
            <c:spPr>
              <a:solidFill>
                <a:srgbClr val="00A097"/>
              </a:solidFill>
            </c:spPr>
          </c:dPt>
          <c:dPt>
            <c:idx val="272"/>
            <c:spPr>
              <a:solidFill>
                <a:srgbClr val="00A097"/>
              </a:solidFill>
            </c:spPr>
          </c:dPt>
          <c:dPt>
            <c:idx val="273"/>
            <c:spPr>
              <a:solidFill>
                <a:srgbClr val="00A097"/>
              </a:solidFill>
            </c:spPr>
          </c:dPt>
          <c:dPt>
            <c:idx val="274"/>
            <c:spPr>
              <a:solidFill>
                <a:srgbClr val="00A097"/>
              </a:solidFill>
            </c:spPr>
          </c:dPt>
          <c:dPt>
            <c:idx val="275"/>
            <c:spPr>
              <a:solidFill>
                <a:srgbClr val="00A097"/>
              </a:solidFill>
            </c:spPr>
          </c:dPt>
          <c:dPt>
            <c:idx val="276"/>
            <c:spPr>
              <a:solidFill>
                <a:srgbClr val="00A097"/>
              </a:solidFill>
            </c:spPr>
          </c:dPt>
          <c:dPt>
            <c:idx val="277"/>
            <c:spPr>
              <a:solidFill>
                <a:srgbClr val="00A097"/>
              </a:solidFill>
            </c:spPr>
          </c:dPt>
          <c:dPt>
            <c:idx val="278"/>
            <c:spPr>
              <a:solidFill>
                <a:srgbClr val="00A097"/>
              </a:solidFill>
            </c:spPr>
          </c:dPt>
          <c:dPt>
            <c:idx val="279"/>
            <c:spPr>
              <a:solidFill>
                <a:srgbClr val="00A097"/>
              </a:solidFill>
            </c:spPr>
          </c:dPt>
          <c:dPt>
            <c:idx val="280"/>
            <c:spPr>
              <a:solidFill>
                <a:srgbClr val="00A097"/>
              </a:solidFill>
            </c:spPr>
          </c:dPt>
          <c:dPt>
            <c:idx val="281"/>
            <c:spPr>
              <a:solidFill>
                <a:srgbClr val="00A097"/>
              </a:solidFill>
            </c:spPr>
          </c:dPt>
          <c:dPt>
            <c:idx val="282"/>
            <c:spPr>
              <a:solidFill>
                <a:srgbClr val="00A097"/>
              </a:solidFill>
            </c:spPr>
          </c:dPt>
          <c:dPt>
            <c:idx val="283"/>
            <c:spPr>
              <a:solidFill>
                <a:srgbClr val="00A097"/>
              </a:solidFill>
            </c:spPr>
          </c:dPt>
          <c:dPt>
            <c:idx val="284"/>
            <c:spPr>
              <a:solidFill>
                <a:srgbClr val="00A097"/>
              </a:solidFill>
            </c:spPr>
          </c:dPt>
          <c:dPt>
            <c:idx val="285"/>
            <c:spPr>
              <a:solidFill>
                <a:srgbClr val="00A097"/>
              </a:solidFill>
            </c:spPr>
          </c:dPt>
          <c:dPt>
            <c:idx val="286"/>
            <c:spPr>
              <a:solidFill>
                <a:srgbClr val="00A097"/>
              </a:solidFill>
            </c:spPr>
          </c:dPt>
          <c:dPt>
            <c:idx val="287"/>
            <c:spPr>
              <a:solidFill>
                <a:srgbClr val="00A097"/>
              </a:solidFill>
            </c:spPr>
          </c:dPt>
          <c:dPt>
            <c:idx val="288"/>
            <c:spPr>
              <a:solidFill>
                <a:srgbClr val="00A097"/>
              </a:solidFill>
            </c:spPr>
          </c:dPt>
          <c:dPt>
            <c:idx val="289"/>
            <c:spPr>
              <a:solidFill>
                <a:srgbClr val="00A097"/>
              </a:solidFill>
            </c:spPr>
          </c:dPt>
          <c:dPt>
            <c:idx val="290"/>
            <c:spPr>
              <a:solidFill>
                <a:srgbClr val="00A097"/>
              </a:solidFill>
            </c:spPr>
          </c:dPt>
          <c:dPt>
            <c:idx val="291"/>
            <c:spPr>
              <a:solidFill>
                <a:srgbClr val="00A097"/>
              </a:solidFill>
            </c:spPr>
          </c:dPt>
          <c:dPt>
            <c:idx val="292"/>
            <c:spPr>
              <a:solidFill>
                <a:srgbClr val="00A097"/>
              </a:solidFill>
            </c:spPr>
          </c:dPt>
          <c:dPt>
            <c:idx val="293"/>
            <c:spPr>
              <a:solidFill>
                <a:srgbClr val="00A097"/>
              </a:solidFill>
            </c:spPr>
          </c:dPt>
          <c:dPt>
            <c:idx val="294"/>
            <c:spPr>
              <a:solidFill>
                <a:srgbClr val="00A097"/>
              </a:solidFill>
            </c:spPr>
          </c:dPt>
          <c:dPt>
            <c:idx val="295"/>
            <c:spPr>
              <a:solidFill>
                <a:srgbClr val="00A097"/>
              </a:solidFill>
            </c:spPr>
          </c:dPt>
          <c:dPt>
            <c:idx val="296"/>
            <c:spPr>
              <a:solidFill>
                <a:srgbClr val="00A097"/>
              </a:solidFill>
            </c:spPr>
          </c:dPt>
          <c:dPt>
            <c:idx val="297"/>
            <c:spPr>
              <a:solidFill>
                <a:srgbClr val="00A097"/>
              </a:solidFill>
            </c:spPr>
          </c:dPt>
          <c:dPt>
            <c:idx val="298"/>
            <c:spPr>
              <a:solidFill>
                <a:srgbClr val="7ECAC4"/>
              </a:solidFill>
            </c:spPr>
          </c:dPt>
          <c:dPt>
            <c:idx val="299"/>
            <c:spPr>
              <a:solidFill>
                <a:srgbClr val="7ECAC4"/>
              </a:solidFill>
            </c:spPr>
          </c:dPt>
          <c:dPt>
            <c:idx val="300"/>
            <c:spPr>
              <a:solidFill>
                <a:srgbClr val="7ECAC4"/>
              </a:solidFill>
            </c:spPr>
          </c:dPt>
          <c:dPt>
            <c:idx val="301"/>
            <c:spPr>
              <a:solidFill>
                <a:srgbClr val="7ECAC4"/>
              </a:solidFill>
            </c:spPr>
          </c:dPt>
          <c:dPt>
            <c:idx val="302"/>
            <c:spPr>
              <a:solidFill>
                <a:srgbClr val="7ECAC4"/>
              </a:solidFill>
            </c:spPr>
          </c:dPt>
          <c:dPt>
            <c:idx val="303"/>
            <c:spPr>
              <a:solidFill>
                <a:srgbClr val="7ECAC4"/>
              </a:solidFill>
            </c:spPr>
          </c:dPt>
          <c:dPt>
            <c:idx val="304"/>
            <c:spPr>
              <a:solidFill>
                <a:srgbClr val="7ECAC4"/>
              </a:solidFill>
            </c:spPr>
          </c:dPt>
          <c:dPt>
            <c:idx val="305"/>
            <c:spPr>
              <a:solidFill>
                <a:srgbClr val="7ECAC4"/>
              </a:solidFill>
            </c:spPr>
          </c:dPt>
          <c:dPt>
            <c:idx val="306"/>
            <c:spPr>
              <a:solidFill>
                <a:srgbClr val="7ECAC4"/>
              </a:solidFill>
            </c:spPr>
          </c:dPt>
          <c:dPt>
            <c:idx val="307"/>
            <c:spPr>
              <a:solidFill>
                <a:srgbClr val="7ECAC4"/>
              </a:solidFill>
            </c:spPr>
          </c:dPt>
          <c:dPt>
            <c:idx val="308"/>
            <c:spPr>
              <a:solidFill>
                <a:srgbClr val="7ECAC4"/>
              </a:solidFill>
            </c:spPr>
          </c:dPt>
          <c:dPt>
            <c:idx val="309"/>
            <c:spPr>
              <a:solidFill>
                <a:srgbClr val="7ECAC4"/>
              </a:solidFill>
            </c:spPr>
          </c:dPt>
          <c:dPt>
            <c:idx val="310"/>
            <c:spPr>
              <a:solidFill>
                <a:srgbClr val="7ECAC4"/>
              </a:solidFill>
            </c:spPr>
          </c:dPt>
          <c:dPt>
            <c:idx val="311"/>
            <c:spPr>
              <a:solidFill>
                <a:srgbClr val="7ECAC4"/>
              </a:solidFill>
            </c:spPr>
          </c:dPt>
          <c:dPt>
            <c:idx val="312"/>
            <c:spPr>
              <a:solidFill>
                <a:srgbClr val="7ECAC4"/>
              </a:solidFill>
            </c:spPr>
          </c:dPt>
          <c:dPt>
            <c:idx val="313"/>
            <c:spPr>
              <a:solidFill>
                <a:srgbClr val="7ECAC4"/>
              </a:solidFill>
            </c:spPr>
          </c:dPt>
          <c:dPt>
            <c:idx val="314"/>
            <c:spPr>
              <a:solidFill>
                <a:srgbClr val="7ECAC4"/>
              </a:solidFill>
            </c:spPr>
          </c:dPt>
          <c:dPt>
            <c:idx val="315"/>
            <c:spPr>
              <a:solidFill>
                <a:srgbClr val="7ECAC4"/>
              </a:solidFill>
            </c:spPr>
          </c:dPt>
          <c:dPt>
            <c:idx val="316"/>
            <c:spPr>
              <a:solidFill>
                <a:srgbClr val="7ECAC4"/>
              </a:solidFill>
            </c:spPr>
          </c:dPt>
          <c:dPt>
            <c:idx val="317"/>
            <c:spPr>
              <a:solidFill>
                <a:srgbClr val="7ECAC4"/>
              </a:solidFill>
            </c:spPr>
          </c:dPt>
          <c:dPt>
            <c:idx val="318"/>
            <c:spPr>
              <a:solidFill>
                <a:srgbClr val="7ECAC4"/>
              </a:solidFill>
            </c:spPr>
          </c:dPt>
          <c:dPt>
            <c:idx val="319"/>
            <c:spPr>
              <a:solidFill>
                <a:srgbClr val="7ECAC4"/>
              </a:solidFill>
            </c:spPr>
          </c:dPt>
          <c:dPt>
            <c:idx val="320"/>
            <c:spPr>
              <a:solidFill>
                <a:srgbClr val="7ECAC4"/>
              </a:solidFill>
            </c:spPr>
          </c:dPt>
          <c:dPt>
            <c:idx val="321"/>
            <c:spPr>
              <a:solidFill>
                <a:srgbClr val="7ECAC4"/>
              </a:solidFill>
            </c:spPr>
          </c:dPt>
          <c:dPt>
            <c:idx val="322"/>
            <c:spPr>
              <a:solidFill>
                <a:srgbClr val="7ECAC4"/>
              </a:solidFill>
            </c:spPr>
          </c:dPt>
          <c:dPt>
            <c:idx val="323"/>
            <c:spPr>
              <a:solidFill>
                <a:srgbClr val="7ECAC4"/>
              </a:solidFill>
            </c:spPr>
          </c:dPt>
          <c:dPt>
            <c:idx val="324"/>
            <c:spPr>
              <a:solidFill>
                <a:srgbClr val="7ECAC4"/>
              </a:solidFill>
            </c:spPr>
          </c:dPt>
          <c:dPt>
            <c:idx val="325"/>
            <c:spPr>
              <a:solidFill>
                <a:srgbClr val="7ECAC4"/>
              </a:solidFill>
            </c:spPr>
          </c:dPt>
          <c:dPt>
            <c:idx val="326"/>
            <c:spPr>
              <a:solidFill>
                <a:srgbClr val="7ECAC4"/>
              </a:solidFill>
            </c:spPr>
          </c:dPt>
          <c:dPt>
            <c:idx val="327"/>
            <c:spPr>
              <a:solidFill>
                <a:srgbClr val="7ECAC4"/>
              </a:solidFill>
            </c:spPr>
          </c:dPt>
          <c:dPt>
            <c:idx val="328"/>
            <c:spPr>
              <a:solidFill>
                <a:srgbClr val="7ECAC4"/>
              </a:solidFill>
            </c:spPr>
          </c:dPt>
          <c:dPt>
            <c:idx val="329"/>
            <c:spPr>
              <a:solidFill>
                <a:srgbClr val="7ECAC4"/>
              </a:solidFill>
            </c:spPr>
          </c:dPt>
          <c:dPt>
            <c:idx val="330"/>
            <c:spPr>
              <a:solidFill>
                <a:srgbClr val="7ECAC4"/>
              </a:solidFill>
            </c:spPr>
          </c:dPt>
          <c:dPt>
            <c:idx val="331"/>
            <c:spPr>
              <a:solidFill>
                <a:srgbClr val="7ECAC4"/>
              </a:solidFill>
            </c:spPr>
          </c:dPt>
          <c:dPt>
            <c:idx val="332"/>
            <c:spPr>
              <a:solidFill>
                <a:srgbClr val="7ECAC4"/>
              </a:solidFill>
            </c:spPr>
          </c:dPt>
          <c:dPt>
            <c:idx val="333"/>
            <c:spPr>
              <a:solidFill>
                <a:srgbClr val="7ECAC4"/>
              </a:solidFill>
            </c:spPr>
          </c:dPt>
          <c:dPt>
            <c:idx val="334"/>
            <c:spPr>
              <a:solidFill>
                <a:srgbClr val="7ECAC4"/>
              </a:solidFill>
            </c:spPr>
          </c:dPt>
          <c:dPt>
            <c:idx val="335"/>
            <c:spPr>
              <a:solidFill>
                <a:srgbClr val="7ECAC4"/>
              </a:solidFill>
            </c:spPr>
          </c:dPt>
          <c:dPt>
            <c:idx val="336"/>
            <c:spPr>
              <a:solidFill>
                <a:srgbClr val="7ECAC4"/>
              </a:solidFill>
            </c:spPr>
          </c:dPt>
          <c:dPt>
            <c:idx val="337"/>
            <c:spPr>
              <a:solidFill>
                <a:srgbClr val="7ECAC4"/>
              </a:solidFill>
            </c:spPr>
          </c:dPt>
          <c:dPt>
            <c:idx val="338"/>
            <c:spPr>
              <a:solidFill>
                <a:srgbClr val="7ECAC4"/>
              </a:solidFill>
            </c:spPr>
          </c:dPt>
          <c:dPt>
            <c:idx val="339"/>
            <c:spPr>
              <a:solidFill>
                <a:srgbClr val="7ECAC4"/>
              </a:solidFill>
            </c:spPr>
          </c:dPt>
          <c:dPt>
            <c:idx val="340"/>
            <c:spPr>
              <a:solidFill>
                <a:srgbClr val="7ECAC4"/>
              </a:solidFill>
            </c:spPr>
          </c:dPt>
          <c:dPt>
            <c:idx val="341"/>
            <c:spPr>
              <a:solidFill>
                <a:srgbClr val="7ECAC4"/>
              </a:solidFill>
            </c:spPr>
          </c:dPt>
          <c:dPt>
            <c:idx val="342"/>
            <c:spPr>
              <a:solidFill>
                <a:srgbClr val="7ECAC4"/>
              </a:solidFill>
            </c:spPr>
          </c:dPt>
          <c:dPt>
            <c:idx val="343"/>
            <c:spPr>
              <a:solidFill>
                <a:srgbClr val="7ECAC4"/>
              </a:solidFill>
            </c:spPr>
          </c:dPt>
          <c:dPt>
            <c:idx val="344"/>
            <c:spPr>
              <a:solidFill>
                <a:srgbClr val="7ECAC4"/>
              </a:solidFill>
            </c:spPr>
          </c:dPt>
          <c:dPt>
            <c:idx val="345"/>
            <c:spPr>
              <a:solidFill>
                <a:srgbClr val="7ECAC4"/>
              </a:solidFill>
            </c:spPr>
          </c:dPt>
          <c:dPt>
            <c:idx val="346"/>
            <c:spPr>
              <a:solidFill>
                <a:srgbClr val="7ECAC4"/>
              </a:solidFill>
            </c:spPr>
          </c:dPt>
          <c:dPt>
            <c:idx val="347"/>
            <c:spPr>
              <a:solidFill>
                <a:srgbClr val="7ECAC4"/>
              </a:solidFill>
            </c:spPr>
          </c:dPt>
          <c:dPt>
            <c:idx val="348"/>
            <c:spPr>
              <a:solidFill>
                <a:srgbClr val="7ECAC4"/>
              </a:solidFill>
            </c:spPr>
          </c:dPt>
          <c:dPt>
            <c:idx val="349"/>
            <c:spPr>
              <a:solidFill>
                <a:srgbClr val="7ECAC4"/>
              </a:solidFill>
            </c:spPr>
          </c:dPt>
          <c:dPt>
            <c:idx val="350"/>
            <c:spPr>
              <a:solidFill>
                <a:srgbClr val="7ECAC4"/>
              </a:solidFill>
            </c:spPr>
          </c:dPt>
          <c:dPt>
            <c:idx val="351"/>
            <c:spPr>
              <a:solidFill>
                <a:srgbClr val="7ECAC4"/>
              </a:solidFill>
            </c:spPr>
          </c:dPt>
          <c:dPt>
            <c:idx val="352"/>
            <c:spPr>
              <a:solidFill>
                <a:srgbClr val="7ECAC4"/>
              </a:solidFill>
            </c:spPr>
          </c:dPt>
          <c:dPt>
            <c:idx val="353"/>
            <c:spPr>
              <a:solidFill>
                <a:srgbClr val="7ECAC4"/>
              </a:solidFill>
            </c:spPr>
          </c:dPt>
          <c:dPt>
            <c:idx val="354"/>
            <c:spPr>
              <a:solidFill>
                <a:srgbClr val="7ECAC4"/>
              </a:solidFill>
            </c:spPr>
          </c:dPt>
          <c:dPt>
            <c:idx val="355"/>
            <c:spPr>
              <a:solidFill>
                <a:srgbClr val="7ECAC4"/>
              </a:solidFill>
            </c:spPr>
          </c:dPt>
          <c:dPt>
            <c:idx val="356"/>
            <c:spPr>
              <a:solidFill>
                <a:srgbClr val="7ECAC4"/>
              </a:solidFill>
            </c:spPr>
          </c:dPt>
          <c:dPt>
            <c:idx val="357"/>
            <c:spPr>
              <a:solidFill>
                <a:srgbClr val="7ECAC4"/>
              </a:solidFill>
            </c:spPr>
          </c:dPt>
          <c:dPt>
            <c:idx val="358"/>
            <c:spPr>
              <a:solidFill>
                <a:srgbClr val="7ECAC4"/>
              </a:solidFill>
            </c:spPr>
          </c:dPt>
          <c:dPt>
            <c:idx val="359"/>
            <c:spPr>
              <a:solidFill>
                <a:srgbClr val="7ECAC4"/>
              </a:solidFill>
            </c:spPr>
          </c:dPt>
          <c:dPt>
            <c:idx val="360"/>
            <c:spPr>
              <a:solidFill>
                <a:srgbClr val="7ECAC4"/>
              </a:solidFill>
            </c:spPr>
          </c:dPt>
          <c:dPt>
            <c:idx val="361"/>
            <c:spPr>
              <a:solidFill>
                <a:srgbClr val="7ECAC4"/>
              </a:solidFill>
            </c:spPr>
          </c:dPt>
          <c:dPt>
            <c:idx val="362"/>
            <c:spPr>
              <a:solidFill>
                <a:srgbClr val="7ECAC4"/>
              </a:solidFill>
            </c:spPr>
          </c:dPt>
          <c:dPt>
            <c:idx val="363"/>
            <c:spPr>
              <a:solidFill>
                <a:srgbClr val="7ECAC4"/>
              </a:solidFill>
            </c:spPr>
          </c:dPt>
          <c:dPt>
            <c:idx val="364"/>
            <c:spPr>
              <a:solidFill>
                <a:srgbClr val="7ECAC4"/>
              </a:solidFill>
            </c:spPr>
          </c:dPt>
          <c:dPt>
            <c:idx val="365"/>
            <c:spPr>
              <a:solidFill>
                <a:srgbClr val="7ECAC4"/>
              </a:solidFill>
            </c:spPr>
          </c:dPt>
          <c:dPt>
            <c:idx val="366"/>
            <c:spPr>
              <a:solidFill>
                <a:srgbClr val="7ECAC4"/>
              </a:solidFill>
            </c:spPr>
          </c:dPt>
          <c:dPt>
            <c:idx val="367"/>
            <c:spPr>
              <a:solidFill>
                <a:srgbClr val="7ECAC4"/>
              </a:solidFill>
            </c:spPr>
          </c:dPt>
          <c:dPt>
            <c:idx val="368"/>
            <c:spPr>
              <a:solidFill>
                <a:srgbClr val="7ECAC4"/>
              </a:solidFill>
            </c:spPr>
          </c:dPt>
          <c:dPt>
            <c:idx val="369"/>
            <c:spPr>
              <a:solidFill>
                <a:srgbClr val="7ECAC4"/>
              </a:solidFill>
            </c:spPr>
          </c:dPt>
          <c:dPt>
            <c:idx val="370"/>
            <c:spPr>
              <a:solidFill>
                <a:srgbClr val="7ECAC4"/>
              </a:solidFill>
            </c:spPr>
          </c:dPt>
          <c:dPt>
            <c:idx val="371"/>
            <c:spPr>
              <a:solidFill>
                <a:srgbClr val="7ECAC4"/>
              </a:solidFill>
            </c:spPr>
          </c:dPt>
          <c:dPt>
            <c:idx val="372"/>
            <c:spPr>
              <a:solidFill>
                <a:srgbClr val="7ECAC4"/>
              </a:solidFill>
            </c:spPr>
          </c:dPt>
          <c:dPt>
            <c:idx val="373"/>
            <c:spPr>
              <a:solidFill>
                <a:srgbClr val="7ECAC4"/>
              </a:solidFill>
            </c:spPr>
          </c:dPt>
          <c:dPt>
            <c:idx val="374"/>
            <c:spPr>
              <a:solidFill>
                <a:srgbClr val="7ECAC4"/>
              </a:solidFill>
            </c:spPr>
          </c:dPt>
          <c:dPt>
            <c:idx val="375"/>
            <c:spPr>
              <a:solidFill>
                <a:srgbClr val="7ECAC4"/>
              </a:solidFill>
            </c:spPr>
          </c:dPt>
          <c:dPt>
            <c:idx val="376"/>
            <c:spPr>
              <a:solidFill>
                <a:srgbClr val="7ECAC4"/>
              </a:solidFill>
            </c:spPr>
          </c:dPt>
          <c:dPt>
            <c:idx val="377"/>
            <c:spPr>
              <a:solidFill>
                <a:srgbClr val="7ECAC4"/>
              </a:solidFill>
            </c:spPr>
          </c:dPt>
          <c:dPt>
            <c:idx val="378"/>
            <c:spPr>
              <a:solidFill>
                <a:srgbClr val="7ECAC4"/>
              </a:solidFill>
            </c:spPr>
          </c:dPt>
          <c:dPt>
            <c:idx val="379"/>
            <c:spPr>
              <a:solidFill>
                <a:srgbClr val="7ECAC4"/>
              </a:solidFill>
            </c:spPr>
          </c:dPt>
          <c:dPt>
            <c:idx val="380"/>
            <c:spPr>
              <a:solidFill>
                <a:srgbClr val="7ECAC4"/>
              </a:solidFill>
            </c:spPr>
          </c:dPt>
          <c:dPt>
            <c:idx val="381"/>
            <c:spPr>
              <a:solidFill>
                <a:srgbClr val="7ECAC4"/>
              </a:solidFill>
            </c:spPr>
          </c:dPt>
          <c:dPt>
            <c:idx val="382"/>
            <c:spPr>
              <a:solidFill>
                <a:srgbClr val="7ECAC4"/>
              </a:solidFill>
            </c:spPr>
          </c:dPt>
          <c:dPt>
            <c:idx val="383"/>
            <c:spPr>
              <a:solidFill>
                <a:srgbClr val="7ECAC4"/>
              </a:solidFill>
            </c:spPr>
          </c:dPt>
          <c:dPt>
            <c:idx val="384"/>
            <c:spPr>
              <a:solidFill>
                <a:srgbClr val="7ECAC4"/>
              </a:solidFill>
            </c:spPr>
          </c:dPt>
          <c:dPt>
            <c:idx val="385"/>
            <c:spPr>
              <a:solidFill>
                <a:srgbClr val="7ECAC4"/>
              </a:solidFill>
            </c:spPr>
          </c:dPt>
          <c:dPt>
            <c:idx val="386"/>
            <c:spPr>
              <a:solidFill>
                <a:srgbClr val="7ECAC4"/>
              </a:solidFill>
            </c:spPr>
          </c:dPt>
          <c:dPt>
            <c:idx val="387"/>
            <c:spPr>
              <a:solidFill>
                <a:srgbClr val="7ECAC4"/>
              </a:solidFill>
            </c:spPr>
          </c:dPt>
          <c:dPt>
            <c:idx val="388"/>
            <c:spPr>
              <a:solidFill>
                <a:srgbClr val="7ECAC4"/>
              </a:solidFill>
            </c:spPr>
          </c:dPt>
          <c:dPt>
            <c:idx val="389"/>
            <c:spPr>
              <a:solidFill>
                <a:srgbClr val="7ECAC4"/>
              </a:solidFill>
            </c:spPr>
          </c:dPt>
          <c:dPt>
            <c:idx val="390"/>
            <c:spPr>
              <a:solidFill>
                <a:srgbClr val="7ECAC4"/>
              </a:solidFill>
            </c:spPr>
          </c:dPt>
          <c:dPt>
            <c:idx val="391"/>
            <c:spPr>
              <a:solidFill>
                <a:srgbClr val="7ECAC4"/>
              </a:solidFill>
            </c:spPr>
          </c:dPt>
          <c:dPt>
            <c:idx val="392"/>
            <c:spPr>
              <a:solidFill>
                <a:srgbClr val="7ECAC4"/>
              </a:solidFill>
            </c:spPr>
          </c:dPt>
          <c:dPt>
            <c:idx val="393"/>
            <c:spPr>
              <a:solidFill>
                <a:srgbClr val="7ECAC4"/>
              </a:solidFill>
            </c:spPr>
          </c:dPt>
          <c:dPt>
            <c:idx val="394"/>
            <c:spPr>
              <a:solidFill>
                <a:srgbClr val="7ECAC4"/>
              </a:solidFill>
            </c:spPr>
          </c:dPt>
          <c:dPt>
            <c:idx val="395"/>
            <c:spPr>
              <a:solidFill>
                <a:srgbClr val="7ECAC4"/>
              </a:solidFill>
            </c:spPr>
          </c:dPt>
          <c:dPt>
            <c:idx val="396"/>
            <c:spPr>
              <a:solidFill>
                <a:srgbClr val="7ECAC4"/>
              </a:solidFill>
            </c:spPr>
          </c:dPt>
          <c:dPt>
            <c:idx val="397"/>
            <c:spPr>
              <a:solidFill>
                <a:srgbClr val="7ECAC4"/>
              </a:solidFill>
            </c:spPr>
          </c:dPt>
          <c:dPt>
            <c:idx val="398"/>
            <c:spPr>
              <a:solidFill>
                <a:srgbClr val="7ECAC4"/>
              </a:solidFill>
            </c:spPr>
          </c:dPt>
          <c:dPt>
            <c:idx val="399"/>
            <c:spPr>
              <a:solidFill>
                <a:srgbClr val="7ECAC4"/>
              </a:solidFill>
            </c:spPr>
          </c:dPt>
          <c:dPt>
            <c:idx val="400"/>
            <c:spPr>
              <a:solidFill>
                <a:srgbClr val="7ECAC4"/>
              </a:solidFill>
            </c:spPr>
          </c:dPt>
          <c:dPt>
            <c:idx val="401"/>
            <c:spPr>
              <a:solidFill>
                <a:srgbClr val="7ECAC4"/>
              </a:solidFill>
            </c:spPr>
          </c:dPt>
          <c:dPt>
            <c:idx val="402"/>
            <c:spPr>
              <a:solidFill>
                <a:srgbClr val="7ECAC4"/>
              </a:solidFill>
            </c:spPr>
          </c:dPt>
          <c:dPt>
            <c:idx val="403"/>
            <c:spPr>
              <a:solidFill>
                <a:srgbClr val="7ECAC4"/>
              </a:solidFill>
            </c:spPr>
          </c:dPt>
          <c:dPt>
            <c:idx val="404"/>
            <c:spPr>
              <a:solidFill>
                <a:srgbClr val="7ECAC4"/>
              </a:solidFill>
            </c:spPr>
          </c:dPt>
          <c:dPt>
            <c:idx val="405"/>
            <c:spPr>
              <a:solidFill>
                <a:srgbClr val="7ECAC4"/>
              </a:solidFill>
            </c:spPr>
          </c:dPt>
          <c:dPt>
            <c:idx val="406"/>
            <c:spPr>
              <a:solidFill>
                <a:srgbClr val="7ECAC4"/>
              </a:solidFill>
            </c:spPr>
          </c:dPt>
          <c:dPt>
            <c:idx val="407"/>
            <c:spPr>
              <a:solidFill>
                <a:srgbClr val="7ECAC4"/>
              </a:solidFill>
            </c:spPr>
          </c:dPt>
          <c:dPt>
            <c:idx val="408"/>
            <c:spPr>
              <a:solidFill>
                <a:srgbClr val="7ECAC4"/>
              </a:solidFill>
            </c:spPr>
          </c:dPt>
          <c:dPt>
            <c:idx val="409"/>
            <c:spPr>
              <a:solidFill>
                <a:srgbClr val="7ECAC4"/>
              </a:solidFill>
            </c:spPr>
          </c:dPt>
          <c:dPt>
            <c:idx val="410"/>
            <c:spPr>
              <a:solidFill>
                <a:srgbClr val="7ECAC4"/>
              </a:solidFill>
            </c:spPr>
          </c:dPt>
          <c:dPt>
            <c:idx val="411"/>
            <c:spPr>
              <a:solidFill>
                <a:srgbClr val="7ECAC4"/>
              </a:solidFill>
            </c:spPr>
          </c:dPt>
          <c:dPt>
            <c:idx val="412"/>
            <c:spPr>
              <a:solidFill>
                <a:srgbClr val="7ECAC4"/>
              </a:solidFill>
            </c:spPr>
          </c:dPt>
          <c:dPt>
            <c:idx val="413"/>
            <c:spPr>
              <a:solidFill>
                <a:srgbClr val="7ECAC4"/>
              </a:solidFill>
            </c:spPr>
          </c:dPt>
          <c:dPt>
            <c:idx val="414"/>
            <c:spPr>
              <a:solidFill>
                <a:srgbClr val="7ECAC4"/>
              </a:solidFill>
            </c:spPr>
          </c:dPt>
          <c:dPt>
            <c:idx val="415"/>
            <c:spPr>
              <a:solidFill>
                <a:srgbClr val="7ECAC4"/>
              </a:solidFill>
            </c:spPr>
          </c:dPt>
          <c:dPt>
            <c:idx val="416"/>
            <c:spPr>
              <a:solidFill>
                <a:srgbClr val="7ECAC4"/>
              </a:solidFill>
            </c:spPr>
          </c:dPt>
          <c:dPt>
            <c:idx val="417"/>
            <c:spPr>
              <a:solidFill>
                <a:srgbClr val="7ECAC4"/>
              </a:solidFill>
            </c:spPr>
          </c:dPt>
          <c:dPt>
            <c:idx val="418"/>
            <c:spPr>
              <a:solidFill>
                <a:srgbClr val="7ECAC4"/>
              </a:solidFill>
            </c:spPr>
          </c:dPt>
          <c:dPt>
            <c:idx val="419"/>
            <c:spPr>
              <a:solidFill>
                <a:srgbClr val="7ECAC4"/>
              </a:solidFill>
            </c:spPr>
          </c:dPt>
          <c:dPt>
            <c:idx val="420"/>
            <c:spPr>
              <a:solidFill>
                <a:srgbClr val="7ECAC4"/>
              </a:solidFill>
            </c:spPr>
          </c:dPt>
          <c:dPt>
            <c:idx val="421"/>
            <c:spPr>
              <a:solidFill>
                <a:srgbClr val="7ECAC4"/>
              </a:solidFill>
            </c:spPr>
          </c:dPt>
          <c:dPt>
            <c:idx val="422"/>
            <c:spPr>
              <a:solidFill>
                <a:srgbClr val="7ECAC4"/>
              </a:solidFill>
            </c:spPr>
          </c:dPt>
          <c:dPt>
            <c:idx val="423"/>
            <c:spPr>
              <a:solidFill>
                <a:srgbClr val="7ECAC4"/>
              </a:solidFill>
            </c:spPr>
          </c:dPt>
          <c:dPt>
            <c:idx val="424"/>
            <c:spPr>
              <a:solidFill>
                <a:srgbClr val="7ECAC4"/>
              </a:solidFill>
            </c:spPr>
          </c:dPt>
          <c:dPt>
            <c:idx val="425"/>
            <c:spPr>
              <a:solidFill>
                <a:srgbClr val="7ECAC4"/>
              </a:solidFill>
            </c:spPr>
          </c:dPt>
          <c:dPt>
            <c:idx val="426"/>
            <c:spPr>
              <a:solidFill>
                <a:srgbClr val="7ECAC4"/>
              </a:solidFill>
            </c:spPr>
          </c:dPt>
          <c:dPt>
            <c:idx val="427"/>
            <c:spPr>
              <a:solidFill>
                <a:srgbClr val="7ECAC4"/>
              </a:solidFill>
            </c:spPr>
          </c:dPt>
          <c:dPt>
            <c:idx val="428"/>
            <c:spPr>
              <a:solidFill>
                <a:srgbClr val="7ECAC4"/>
              </a:solidFill>
            </c:spPr>
          </c:dPt>
          <c:dPt>
            <c:idx val="429"/>
            <c:spPr>
              <a:solidFill>
                <a:srgbClr val="7ECAC4"/>
              </a:solidFill>
            </c:spPr>
          </c:dPt>
          <c:dPt>
            <c:idx val="430"/>
            <c:spPr>
              <a:solidFill>
                <a:srgbClr val="7ECAC4"/>
              </a:solidFill>
            </c:spPr>
          </c:dPt>
          <c:dPt>
            <c:idx val="431"/>
            <c:spPr>
              <a:solidFill>
                <a:srgbClr val="7ECAC4"/>
              </a:solidFill>
            </c:spPr>
          </c:dPt>
          <c:dPt>
            <c:idx val="432"/>
            <c:spPr>
              <a:solidFill>
                <a:srgbClr val="7ECAC4"/>
              </a:solidFill>
            </c:spPr>
          </c:dPt>
          <c:dPt>
            <c:idx val="433"/>
            <c:spPr>
              <a:solidFill>
                <a:srgbClr val="7ECAC4"/>
              </a:solidFill>
            </c:spPr>
          </c:dPt>
          <c:dPt>
            <c:idx val="434"/>
            <c:spPr>
              <a:solidFill>
                <a:srgbClr val="7ECAC4"/>
              </a:solidFill>
            </c:spPr>
          </c:dPt>
          <c:dPt>
            <c:idx val="435"/>
            <c:spPr>
              <a:solidFill>
                <a:srgbClr val="7ECAC4"/>
              </a:solidFill>
            </c:spPr>
          </c:dPt>
          <c:dPt>
            <c:idx val="436"/>
            <c:spPr>
              <a:solidFill>
                <a:srgbClr val="7ECAC4"/>
              </a:solidFill>
            </c:spPr>
          </c:dPt>
          <c:dPt>
            <c:idx val="437"/>
            <c:spPr>
              <a:solidFill>
                <a:srgbClr val="7ECAC4"/>
              </a:solidFill>
            </c:spPr>
          </c:dPt>
          <c:dPt>
            <c:idx val="438"/>
            <c:spPr>
              <a:solidFill>
                <a:srgbClr val="7ECAC4"/>
              </a:solidFill>
            </c:spPr>
          </c:dPt>
          <c:dPt>
            <c:idx val="439"/>
            <c:spPr>
              <a:solidFill>
                <a:srgbClr val="7ECAC4"/>
              </a:solidFill>
            </c:spPr>
          </c:dPt>
          <c:dPt>
            <c:idx val="440"/>
            <c:spPr>
              <a:solidFill>
                <a:srgbClr val="7ECAC4"/>
              </a:solidFill>
            </c:spPr>
          </c:dPt>
          <c:dPt>
            <c:idx val="441"/>
            <c:spPr>
              <a:solidFill>
                <a:srgbClr val="7ECAC4"/>
              </a:solidFill>
            </c:spPr>
          </c:dPt>
          <c:dPt>
            <c:idx val="442"/>
            <c:spPr>
              <a:solidFill>
                <a:srgbClr val="7ECAC4"/>
              </a:solidFill>
            </c:spPr>
          </c:dPt>
          <c:dPt>
            <c:idx val="443"/>
            <c:spPr>
              <a:solidFill>
                <a:srgbClr val="7ECAC4"/>
              </a:solidFill>
            </c:spPr>
          </c:dPt>
          <c:dPt>
            <c:idx val="444"/>
            <c:spPr>
              <a:solidFill>
                <a:srgbClr val="7ECAC4"/>
              </a:solidFill>
            </c:spPr>
          </c:dPt>
          <c:dPt>
            <c:idx val="445"/>
            <c:spPr>
              <a:solidFill>
                <a:srgbClr val="7ECAC4"/>
              </a:solidFill>
            </c:spPr>
          </c:dPt>
          <c:dPt>
            <c:idx val="446"/>
            <c:spPr>
              <a:solidFill>
                <a:srgbClr val="7ECAC4"/>
              </a:solidFill>
            </c:spPr>
          </c:dPt>
          <c:dPt>
            <c:idx val="447"/>
            <c:spPr>
              <a:solidFill>
                <a:srgbClr val="7ECAC4"/>
              </a:solidFill>
            </c:spPr>
          </c:dPt>
          <c:dPt>
            <c:idx val="448"/>
            <c:spPr>
              <a:solidFill>
                <a:srgbClr val="7ECAC4"/>
              </a:solidFill>
            </c:spPr>
          </c:dPt>
          <c:dPt>
            <c:idx val="449"/>
            <c:spPr>
              <a:solidFill>
                <a:srgbClr val="7ECAC4"/>
              </a:solidFill>
            </c:spPr>
          </c:dPt>
          <c:dPt>
            <c:idx val="450"/>
            <c:spPr>
              <a:solidFill>
                <a:srgbClr val="7ECAC4"/>
              </a:solidFill>
            </c:spPr>
          </c:dPt>
          <c:dPt>
            <c:idx val="451"/>
            <c:spPr>
              <a:solidFill>
                <a:srgbClr val="7ECAC4"/>
              </a:solidFill>
            </c:spPr>
          </c:dPt>
          <c:dPt>
            <c:idx val="452"/>
            <c:spPr>
              <a:solidFill>
                <a:srgbClr val="7ECAC4"/>
              </a:solidFill>
            </c:spPr>
          </c:dPt>
          <c:dPt>
            <c:idx val="453"/>
            <c:spPr>
              <a:solidFill>
                <a:srgbClr val="7ECAC4"/>
              </a:solidFill>
            </c:spPr>
          </c:dPt>
          <c:dPt>
            <c:idx val="454"/>
            <c:spPr>
              <a:solidFill>
                <a:srgbClr val="7ECAC4"/>
              </a:solidFill>
            </c:spPr>
          </c:dPt>
          <c:dPt>
            <c:idx val="455"/>
            <c:spPr>
              <a:solidFill>
                <a:srgbClr val="7ECAC4"/>
              </a:solidFill>
            </c:spPr>
          </c:dPt>
          <c:dPt>
            <c:idx val="456"/>
            <c:spPr>
              <a:solidFill>
                <a:srgbClr val="7ECAC4"/>
              </a:solidFill>
            </c:spPr>
          </c:dPt>
          <c:dPt>
            <c:idx val="457"/>
            <c:spPr>
              <a:solidFill>
                <a:srgbClr val="7ECAC4"/>
              </a:solidFill>
            </c:spPr>
          </c:dPt>
          <c:dPt>
            <c:idx val="458"/>
            <c:spPr>
              <a:solidFill>
                <a:srgbClr val="7ECAC4"/>
              </a:solidFill>
            </c:spPr>
          </c:dPt>
          <c:dPt>
            <c:idx val="459"/>
            <c:spPr>
              <a:solidFill>
                <a:srgbClr val="7ECAC4"/>
              </a:solidFill>
            </c:spPr>
          </c:dPt>
          <c:dPt>
            <c:idx val="460"/>
            <c:spPr>
              <a:solidFill>
                <a:srgbClr val="7ECAC4"/>
              </a:solidFill>
            </c:spPr>
          </c:dPt>
          <c:dPt>
            <c:idx val="461"/>
            <c:spPr>
              <a:solidFill>
                <a:srgbClr val="7ECAC4"/>
              </a:solidFill>
            </c:spPr>
          </c:dPt>
          <c:dPt>
            <c:idx val="462"/>
            <c:spPr>
              <a:solidFill>
                <a:srgbClr val="7ECAC4"/>
              </a:solidFill>
            </c:spPr>
          </c:dPt>
          <c:dPt>
            <c:idx val="463"/>
            <c:spPr>
              <a:solidFill>
                <a:srgbClr val="7ECAC4"/>
              </a:solidFill>
            </c:spPr>
          </c:dPt>
          <c:dPt>
            <c:idx val="464"/>
            <c:spPr>
              <a:solidFill>
                <a:srgbClr val="7ECAC4"/>
              </a:solidFill>
            </c:spPr>
          </c:dPt>
          <c:dPt>
            <c:idx val="465"/>
            <c:spPr>
              <a:solidFill>
                <a:srgbClr val="7ECAC4"/>
              </a:solidFill>
            </c:spPr>
          </c:dPt>
          <c:dPt>
            <c:idx val="466"/>
            <c:spPr>
              <a:solidFill>
                <a:srgbClr val="7ECAC4"/>
              </a:solidFill>
            </c:spPr>
          </c:dPt>
          <c:dPt>
            <c:idx val="467"/>
            <c:spPr>
              <a:solidFill>
                <a:srgbClr val="7ECAC4"/>
              </a:solidFill>
            </c:spPr>
          </c:dPt>
          <c:dPt>
            <c:idx val="468"/>
            <c:spPr>
              <a:solidFill>
                <a:srgbClr val="7ECAC4"/>
              </a:solidFill>
            </c:spPr>
          </c:dPt>
          <c:dPt>
            <c:idx val="469"/>
            <c:spPr>
              <a:solidFill>
                <a:srgbClr val="7ECAC4"/>
              </a:solidFill>
            </c:spPr>
          </c:dPt>
          <c:dPt>
            <c:idx val="470"/>
            <c:spPr>
              <a:solidFill>
                <a:srgbClr val="7ECAC4"/>
              </a:solidFill>
            </c:spPr>
          </c:dPt>
          <c:dPt>
            <c:idx val="471"/>
            <c:spPr>
              <a:solidFill>
                <a:srgbClr val="7ECAC4"/>
              </a:solidFill>
            </c:spPr>
          </c:dPt>
          <c:dPt>
            <c:idx val="472"/>
            <c:spPr>
              <a:solidFill>
                <a:srgbClr val="7ECAC4"/>
              </a:solidFill>
            </c:spPr>
          </c:dPt>
          <c:dPt>
            <c:idx val="473"/>
            <c:spPr>
              <a:solidFill>
                <a:srgbClr val="7ECAC4"/>
              </a:solidFill>
            </c:spPr>
          </c:dPt>
          <c:dPt>
            <c:idx val="474"/>
            <c:spPr>
              <a:solidFill>
                <a:srgbClr val="7ECAC4"/>
              </a:solidFill>
            </c:spPr>
          </c:dPt>
          <c:dPt>
            <c:idx val="475"/>
            <c:spPr>
              <a:solidFill>
                <a:srgbClr val="7ECAC4"/>
              </a:solidFill>
            </c:spPr>
          </c:dPt>
          <c:dPt>
            <c:idx val="476"/>
            <c:spPr>
              <a:solidFill>
                <a:srgbClr val="7ECAC4"/>
              </a:solidFill>
            </c:spPr>
          </c:dPt>
          <c:dPt>
            <c:idx val="477"/>
            <c:spPr>
              <a:solidFill>
                <a:srgbClr val="7ECAC4"/>
              </a:solidFill>
            </c:spPr>
          </c:dPt>
          <c:dPt>
            <c:idx val="478"/>
            <c:spPr>
              <a:solidFill>
                <a:srgbClr val="7ECAC4"/>
              </a:solidFill>
            </c:spPr>
          </c:dPt>
          <c:dPt>
            <c:idx val="479"/>
            <c:spPr>
              <a:solidFill>
                <a:srgbClr val="7ECAC4"/>
              </a:solidFill>
            </c:spPr>
          </c:dPt>
          <c:dPt>
            <c:idx val="480"/>
            <c:spPr>
              <a:solidFill>
                <a:srgbClr val="7ECAC4"/>
              </a:solidFill>
            </c:spPr>
          </c:dPt>
          <c:dPt>
            <c:idx val="481"/>
            <c:spPr>
              <a:solidFill>
                <a:srgbClr val="7ECAC4"/>
              </a:solidFill>
            </c:spPr>
          </c:dPt>
          <c:dPt>
            <c:idx val="482"/>
            <c:spPr>
              <a:solidFill>
                <a:srgbClr val="7ECAC4"/>
              </a:solidFill>
            </c:spPr>
          </c:dPt>
          <c:dPt>
            <c:idx val="483"/>
            <c:spPr>
              <a:solidFill>
                <a:srgbClr val="7ECAC4"/>
              </a:solidFill>
            </c:spPr>
          </c:dPt>
          <c:dPt>
            <c:idx val="484"/>
            <c:spPr>
              <a:solidFill>
                <a:srgbClr val="7ECAC4"/>
              </a:solidFill>
            </c:spPr>
          </c:dPt>
          <c:dPt>
            <c:idx val="485"/>
            <c:spPr>
              <a:solidFill>
                <a:srgbClr val="7ECAC4"/>
              </a:solidFill>
            </c:spPr>
          </c:dPt>
          <c:dPt>
            <c:idx val="486"/>
            <c:spPr>
              <a:solidFill>
                <a:srgbClr val="7ECAC4"/>
              </a:solidFill>
            </c:spPr>
          </c:dPt>
          <c:dPt>
            <c:idx val="487"/>
            <c:spPr>
              <a:solidFill>
                <a:srgbClr val="7ECAC4"/>
              </a:solidFill>
            </c:spPr>
          </c:dPt>
          <c:dPt>
            <c:idx val="488"/>
            <c:spPr>
              <a:solidFill>
                <a:srgbClr val="7ECAC4"/>
              </a:solidFill>
            </c:spPr>
          </c:dPt>
          <c:dPt>
            <c:idx val="489"/>
            <c:spPr>
              <a:solidFill>
                <a:srgbClr val="7ECAC4"/>
              </a:solidFill>
            </c:spPr>
          </c:dPt>
          <c:dPt>
            <c:idx val="490"/>
            <c:spPr>
              <a:solidFill>
                <a:srgbClr val="7ECAC4"/>
              </a:solidFill>
            </c:spPr>
          </c:dPt>
          <c:dPt>
            <c:idx val="491"/>
            <c:spPr>
              <a:solidFill>
                <a:srgbClr val="7ECAC4"/>
              </a:solidFill>
            </c:spPr>
          </c:dPt>
          <c:dPt>
            <c:idx val="492"/>
            <c:spPr>
              <a:solidFill>
                <a:srgbClr val="7ECAC4"/>
              </a:solidFill>
            </c:spPr>
          </c:dPt>
          <c:dPt>
            <c:idx val="493"/>
            <c:spPr>
              <a:solidFill>
                <a:srgbClr val="7ECAC4"/>
              </a:solidFill>
            </c:spPr>
          </c:dPt>
          <c:dPt>
            <c:idx val="494"/>
            <c:spPr>
              <a:solidFill>
                <a:srgbClr val="7ECAC4"/>
              </a:solidFill>
            </c:spPr>
          </c:dPt>
          <c:dPt>
            <c:idx val="495"/>
            <c:spPr>
              <a:solidFill>
                <a:srgbClr val="7ECAC4"/>
              </a:solidFill>
            </c:spPr>
          </c:dPt>
          <c:dPt>
            <c:idx val="496"/>
            <c:spPr>
              <a:solidFill>
                <a:srgbClr val="7ECAC4"/>
              </a:solidFill>
            </c:spPr>
          </c:dPt>
          <c:dPt>
            <c:idx val="497"/>
            <c:spPr>
              <a:solidFill>
                <a:srgbClr val="7ECAC4"/>
              </a:solidFill>
            </c:spPr>
          </c:dPt>
          <c:dPt>
            <c:idx val="498"/>
            <c:spPr>
              <a:solidFill>
                <a:srgbClr val="7ECAC4"/>
              </a:solidFill>
            </c:spPr>
          </c:dPt>
          <c:dPt>
            <c:idx val="499"/>
            <c:spPr>
              <a:solidFill>
                <a:srgbClr val="7ECAC4"/>
              </a:solidFill>
            </c:spPr>
          </c:dPt>
          <c:dPt>
            <c:idx val="500"/>
            <c:spPr>
              <a:solidFill>
                <a:srgbClr val="7ECAC4"/>
              </a:solidFill>
            </c:spPr>
          </c:dPt>
          <c:dPt>
            <c:idx val="501"/>
            <c:spPr>
              <a:solidFill>
                <a:srgbClr val="7ECAC4"/>
              </a:solidFill>
            </c:spPr>
          </c:dPt>
          <c:dPt>
            <c:idx val="502"/>
            <c:spPr>
              <a:solidFill>
                <a:srgbClr val="7ECAC4"/>
              </a:solidFill>
            </c:spPr>
          </c:dPt>
          <c:dPt>
            <c:idx val="503"/>
            <c:spPr>
              <a:solidFill>
                <a:srgbClr val="7ECAC4"/>
              </a:solidFill>
            </c:spPr>
          </c:dPt>
          <c:dPt>
            <c:idx val="504"/>
            <c:spPr>
              <a:solidFill>
                <a:srgbClr val="7ECAC4"/>
              </a:solidFill>
            </c:spPr>
          </c:dPt>
          <c:dPt>
            <c:idx val="505"/>
            <c:spPr>
              <a:solidFill>
                <a:srgbClr val="7ECAC4"/>
              </a:solidFill>
            </c:spPr>
          </c:dPt>
          <c:dPt>
            <c:idx val="506"/>
            <c:spPr>
              <a:solidFill>
                <a:srgbClr val="7ECAC4"/>
              </a:solidFill>
            </c:spPr>
          </c:dPt>
          <c:dPt>
            <c:idx val="507"/>
            <c:spPr>
              <a:solidFill>
                <a:srgbClr val="7ECAC4"/>
              </a:solidFill>
            </c:spPr>
          </c:dPt>
          <c:dPt>
            <c:idx val="508"/>
            <c:spPr>
              <a:solidFill>
                <a:srgbClr val="7ECAC4"/>
              </a:solidFill>
            </c:spPr>
          </c:dPt>
          <c:dPt>
            <c:idx val="509"/>
            <c:spPr>
              <a:solidFill>
                <a:srgbClr val="7ECAC4"/>
              </a:solidFill>
            </c:spPr>
          </c:dPt>
          <c:dPt>
            <c:idx val="510"/>
            <c:spPr>
              <a:solidFill>
                <a:srgbClr val="7ECAC4"/>
              </a:solidFill>
            </c:spPr>
          </c:dPt>
          <c:dPt>
            <c:idx val="511"/>
            <c:spPr>
              <a:solidFill>
                <a:srgbClr val="7ECAC4"/>
              </a:solidFill>
            </c:spPr>
          </c:dPt>
          <c:dPt>
            <c:idx val="512"/>
            <c:spPr>
              <a:solidFill>
                <a:srgbClr val="7ECAC4"/>
              </a:solidFill>
            </c:spPr>
          </c:dPt>
          <c:dPt>
            <c:idx val="513"/>
            <c:spPr>
              <a:solidFill>
                <a:srgbClr val="7ECAC4"/>
              </a:solidFill>
            </c:spPr>
          </c:dPt>
          <c:dPt>
            <c:idx val="514"/>
            <c:spPr>
              <a:solidFill>
                <a:srgbClr val="7ECAC4"/>
              </a:solidFill>
            </c:spPr>
          </c:dPt>
          <c:dPt>
            <c:idx val="515"/>
            <c:spPr>
              <a:solidFill>
                <a:srgbClr val="7ECAC4"/>
              </a:solidFill>
            </c:spPr>
          </c:dPt>
          <c:dPt>
            <c:idx val="516"/>
            <c:spPr>
              <a:solidFill>
                <a:srgbClr val="7ECAC4"/>
              </a:solidFill>
            </c:spPr>
          </c:dPt>
          <c:dPt>
            <c:idx val="517"/>
            <c:spPr>
              <a:solidFill>
                <a:srgbClr val="7ECAC4"/>
              </a:solidFill>
            </c:spPr>
          </c:dPt>
          <c:dPt>
            <c:idx val="518"/>
            <c:spPr>
              <a:solidFill>
                <a:srgbClr val="7ECAC4"/>
              </a:solidFill>
            </c:spPr>
          </c:dPt>
          <c:dPt>
            <c:idx val="519"/>
            <c:spPr>
              <a:solidFill>
                <a:srgbClr val="7ECAC4"/>
              </a:solidFill>
            </c:spPr>
          </c:dPt>
          <c:dPt>
            <c:idx val="520"/>
            <c:spPr>
              <a:solidFill>
                <a:srgbClr val="7ECAC4"/>
              </a:solidFill>
            </c:spPr>
          </c:dPt>
          <c:dPt>
            <c:idx val="521"/>
            <c:spPr>
              <a:solidFill>
                <a:srgbClr val="7ECAC4"/>
              </a:solidFill>
            </c:spPr>
          </c:dPt>
          <c:dPt>
            <c:idx val="522"/>
            <c:spPr>
              <a:solidFill>
                <a:srgbClr val="7ECAC4"/>
              </a:solidFill>
            </c:spPr>
          </c:dPt>
          <c:dPt>
            <c:idx val="523"/>
            <c:spPr>
              <a:solidFill>
                <a:srgbClr val="7ECAC4"/>
              </a:solidFill>
            </c:spPr>
          </c:dPt>
          <c:dPt>
            <c:idx val="524"/>
            <c:spPr>
              <a:solidFill>
                <a:srgbClr val="7ECAC4"/>
              </a:solidFill>
            </c:spPr>
          </c:dPt>
          <c:dPt>
            <c:idx val="525"/>
            <c:spPr>
              <a:solidFill>
                <a:srgbClr val="7ECAC4"/>
              </a:solidFill>
            </c:spPr>
          </c:dPt>
          <c:dPt>
            <c:idx val="526"/>
            <c:spPr>
              <a:solidFill>
                <a:srgbClr val="7ECAC4"/>
              </a:solidFill>
            </c:spPr>
          </c:dPt>
          <c:dPt>
            <c:idx val="527"/>
            <c:spPr>
              <a:solidFill>
                <a:srgbClr val="7ECAC4"/>
              </a:solidFill>
            </c:spPr>
          </c:dPt>
          <c:dPt>
            <c:idx val="528"/>
            <c:spPr>
              <a:solidFill>
                <a:srgbClr val="7ECAC4"/>
              </a:solidFill>
            </c:spPr>
          </c:dPt>
          <c:dPt>
            <c:idx val="529"/>
            <c:spPr>
              <a:solidFill>
                <a:srgbClr val="7ECAC4"/>
              </a:solidFill>
            </c:spPr>
          </c:dPt>
          <c:dPt>
            <c:idx val="530"/>
            <c:spPr>
              <a:solidFill>
                <a:srgbClr val="7ECAC4"/>
              </a:solidFill>
            </c:spPr>
          </c:dPt>
          <c:dPt>
            <c:idx val="531"/>
            <c:spPr>
              <a:solidFill>
                <a:srgbClr val="7ECAC4"/>
              </a:solidFill>
            </c:spPr>
          </c:dPt>
          <c:dPt>
            <c:idx val="532"/>
            <c:spPr>
              <a:solidFill>
                <a:srgbClr val="7ECAC4"/>
              </a:solidFill>
            </c:spPr>
          </c:dPt>
          <c:dPt>
            <c:idx val="533"/>
            <c:spPr>
              <a:solidFill>
                <a:srgbClr val="7ECAC4"/>
              </a:solidFill>
            </c:spPr>
          </c:dPt>
          <c:dPt>
            <c:idx val="534"/>
            <c:spPr>
              <a:solidFill>
                <a:srgbClr val="7ECAC4"/>
              </a:solidFill>
            </c:spPr>
          </c:dPt>
          <c:dPt>
            <c:idx val="535"/>
            <c:spPr>
              <a:solidFill>
                <a:srgbClr val="7ECAC4"/>
              </a:solidFill>
            </c:spPr>
          </c:dPt>
          <c:dPt>
            <c:idx val="536"/>
            <c:spPr>
              <a:solidFill>
                <a:srgbClr val="7ECAC4"/>
              </a:solidFill>
            </c:spPr>
          </c:dPt>
          <c:dPt>
            <c:idx val="537"/>
            <c:spPr>
              <a:solidFill>
                <a:srgbClr val="7ECAC4"/>
              </a:solidFill>
            </c:spPr>
          </c:dPt>
          <c:dPt>
            <c:idx val="538"/>
            <c:spPr>
              <a:solidFill>
                <a:srgbClr val="7ECAC4"/>
              </a:solidFill>
            </c:spPr>
          </c:dPt>
          <c:dPt>
            <c:idx val="539"/>
            <c:spPr>
              <a:solidFill>
                <a:srgbClr val="7ECAC4"/>
              </a:solidFill>
            </c:spPr>
          </c:dPt>
          <c:dPt>
            <c:idx val="540"/>
            <c:spPr>
              <a:solidFill>
                <a:srgbClr val="7ECAC4"/>
              </a:solidFill>
            </c:spPr>
          </c:dPt>
          <c:dPt>
            <c:idx val="541"/>
            <c:spPr>
              <a:solidFill>
                <a:srgbClr val="7ECAC4"/>
              </a:solidFill>
            </c:spPr>
          </c:dPt>
          <c:dPt>
            <c:idx val="542"/>
            <c:spPr>
              <a:solidFill>
                <a:srgbClr val="7ECAC4"/>
              </a:solidFill>
            </c:spPr>
          </c:dPt>
          <c:dPt>
            <c:idx val="543"/>
            <c:spPr>
              <a:solidFill>
                <a:srgbClr val="7ECAC4"/>
              </a:solidFill>
            </c:spPr>
          </c:dPt>
          <c:dPt>
            <c:idx val="544"/>
            <c:spPr>
              <a:solidFill>
                <a:srgbClr val="7ECAC4"/>
              </a:solidFill>
            </c:spPr>
          </c:dPt>
          <c:dPt>
            <c:idx val="545"/>
            <c:spPr>
              <a:solidFill>
                <a:srgbClr val="7ECAC4"/>
              </a:solidFill>
            </c:spPr>
          </c:dPt>
          <c:dPt>
            <c:idx val="546"/>
            <c:spPr>
              <a:solidFill>
                <a:srgbClr val="7ECAC4"/>
              </a:solidFill>
            </c:spPr>
          </c:dPt>
          <c:dPt>
            <c:idx val="547"/>
            <c:spPr>
              <a:solidFill>
                <a:srgbClr val="7ECAC4"/>
              </a:solidFill>
            </c:spPr>
          </c:dPt>
          <c:dPt>
            <c:idx val="548"/>
            <c:spPr>
              <a:solidFill>
                <a:srgbClr val="7ECAC4"/>
              </a:solidFill>
            </c:spPr>
          </c:dPt>
          <c:dPt>
            <c:idx val="549"/>
            <c:spPr>
              <a:solidFill>
                <a:srgbClr val="7ECAC4"/>
              </a:solidFill>
            </c:spPr>
          </c:dPt>
          <c:dPt>
            <c:idx val="550"/>
            <c:spPr>
              <a:solidFill>
                <a:srgbClr val="7ECAC4"/>
              </a:solidFill>
            </c:spPr>
          </c:dPt>
          <c:dPt>
            <c:idx val="551"/>
            <c:spPr>
              <a:solidFill>
                <a:srgbClr val="7ECAC4"/>
              </a:solidFill>
            </c:spPr>
          </c:dPt>
          <c:dPt>
            <c:idx val="552"/>
            <c:spPr>
              <a:solidFill>
                <a:srgbClr val="7ECAC4"/>
              </a:solidFill>
            </c:spPr>
          </c:dPt>
          <c:dPt>
            <c:idx val="553"/>
            <c:spPr>
              <a:solidFill>
                <a:srgbClr val="7ECAC4"/>
              </a:solidFill>
            </c:spPr>
          </c:dPt>
          <c:dPt>
            <c:idx val="554"/>
            <c:spPr>
              <a:solidFill>
                <a:srgbClr val="7ECAC4"/>
              </a:solidFill>
            </c:spPr>
          </c:dPt>
          <c:dPt>
            <c:idx val="555"/>
            <c:spPr>
              <a:solidFill>
                <a:srgbClr val="7ECAC4"/>
              </a:solidFill>
            </c:spPr>
          </c:dPt>
          <c:dPt>
            <c:idx val="556"/>
            <c:spPr>
              <a:solidFill>
                <a:srgbClr val="7ECAC4"/>
              </a:solidFill>
            </c:spPr>
          </c:dPt>
          <c:dPt>
            <c:idx val="557"/>
            <c:spPr>
              <a:solidFill>
                <a:srgbClr val="7ECAC4"/>
              </a:solidFill>
            </c:spPr>
          </c:dPt>
          <c:dPt>
            <c:idx val="558"/>
            <c:spPr>
              <a:solidFill>
                <a:srgbClr val="7ECAC4"/>
              </a:solidFill>
            </c:spPr>
          </c:dPt>
          <c:dPt>
            <c:idx val="559"/>
            <c:spPr>
              <a:solidFill>
                <a:srgbClr val="7ECAC4"/>
              </a:solidFill>
            </c:spPr>
          </c:dPt>
          <c:dPt>
            <c:idx val="560"/>
            <c:spPr>
              <a:solidFill>
                <a:srgbClr val="7ECAC4"/>
              </a:solidFill>
            </c:spPr>
          </c:dPt>
          <c:dPt>
            <c:idx val="561"/>
            <c:spPr>
              <a:solidFill>
                <a:srgbClr val="7ECAC4"/>
              </a:solidFill>
            </c:spPr>
          </c:dPt>
          <c:dPt>
            <c:idx val="562"/>
            <c:spPr>
              <a:solidFill>
                <a:srgbClr val="7ECAC4"/>
              </a:solidFill>
            </c:spPr>
          </c:dPt>
          <c:dPt>
            <c:idx val="563"/>
            <c:spPr>
              <a:solidFill>
                <a:srgbClr val="7ECAC4"/>
              </a:solidFill>
            </c:spPr>
          </c:dPt>
          <c:dPt>
            <c:idx val="564"/>
            <c:spPr>
              <a:solidFill>
                <a:srgbClr val="7ECAC4"/>
              </a:solidFill>
            </c:spPr>
          </c:dPt>
          <c:dPt>
            <c:idx val="565"/>
            <c:spPr>
              <a:solidFill>
                <a:srgbClr val="7ECAC4"/>
              </a:solidFill>
            </c:spPr>
          </c:dPt>
          <c:dPt>
            <c:idx val="566"/>
            <c:spPr>
              <a:solidFill>
                <a:srgbClr val="7ECAC4"/>
              </a:solidFill>
            </c:spPr>
          </c:dPt>
          <c:dPt>
            <c:idx val="567"/>
            <c:spPr>
              <a:solidFill>
                <a:srgbClr val="7ECAC4"/>
              </a:solidFill>
            </c:spPr>
          </c:dPt>
          <c:dPt>
            <c:idx val="568"/>
            <c:spPr>
              <a:solidFill>
                <a:srgbClr val="7ECAC4"/>
              </a:solidFill>
            </c:spPr>
          </c:dPt>
          <c:dPt>
            <c:idx val="569"/>
            <c:spPr>
              <a:solidFill>
                <a:srgbClr val="7ECAC4"/>
              </a:solidFill>
            </c:spPr>
          </c:dPt>
          <c:dPt>
            <c:idx val="570"/>
            <c:spPr>
              <a:solidFill>
                <a:srgbClr val="7ECAC4"/>
              </a:solidFill>
            </c:spPr>
          </c:dPt>
          <c:dPt>
            <c:idx val="571"/>
            <c:spPr>
              <a:solidFill>
                <a:srgbClr val="7ECAC4"/>
              </a:solidFill>
            </c:spPr>
          </c:dPt>
          <c:dPt>
            <c:idx val="572"/>
            <c:spPr>
              <a:solidFill>
                <a:srgbClr val="7ECAC4"/>
              </a:solidFill>
            </c:spPr>
          </c:dPt>
          <c:dPt>
            <c:idx val="573"/>
            <c:spPr>
              <a:solidFill>
                <a:srgbClr val="7ECAC4"/>
              </a:solidFill>
            </c:spPr>
          </c:dPt>
          <c:dPt>
            <c:idx val="574"/>
            <c:spPr>
              <a:solidFill>
                <a:srgbClr val="7ECAC4"/>
              </a:solidFill>
            </c:spPr>
          </c:dPt>
          <c:dPt>
            <c:idx val="575"/>
            <c:spPr>
              <a:solidFill>
                <a:srgbClr val="7ECAC4"/>
              </a:solidFill>
            </c:spPr>
          </c:dPt>
          <c:dPt>
            <c:idx val="576"/>
            <c:spPr>
              <a:solidFill>
                <a:srgbClr val="7ECAC4"/>
              </a:solidFill>
            </c:spPr>
          </c:dPt>
          <c:dPt>
            <c:idx val="577"/>
            <c:spPr>
              <a:solidFill>
                <a:srgbClr val="7ECAC4"/>
              </a:solidFill>
            </c:spPr>
          </c:dPt>
          <c:dPt>
            <c:idx val="578"/>
            <c:spPr>
              <a:solidFill>
                <a:srgbClr val="7ECAC4"/>
              </a:solidFill>
            </c:spPr>
          </c:dPt>
          <c:dPt>
            <c:idx val="579"/>
            <c:spPr>
              <a:solidFill>
                <a:srgbClr val="7ECAC4"/>
              </a:solidFill>
            </c:spPr>
          </c:dPt>
          <c:dPt>
            <c:idx val="580"/>
            <c:spPr>
              <a:solidFill>
                <a:srgbClr val="7ECAC4"/>
              </a:solidFill>
            </c:spPr>
          </c:dPt>
          <c:dPt>
            <c:idx val="581"/>
            <c:spPr>
              <a:solidFill>
                <a:srgbClr val="7ECAC4"/>
              </a:solidFill>
            </c:spPr>
          </c:dPt>
          <c:dPt>
            <c:idx val="582"/>
            <c:spPr>
              <a:solidFill>
                <a:srgbClr val="7ECAC4"/>
              </a:solidFill>
            </c:spPr>
          </c:dPt>
          <c:dPt>
            <c:idx val="583"/>
            <c:spPr>
              <a:solidFill>
                <a:srgbClr val="7ECAC4"/>
              </a:solidFill>
            </c:spPr>
          </c:dPt>
          <c:dPt>
            <c:idx val="584"/>
            <c:spPr>
              <a:solidFill>
                <a:srgbClr val="7ECAC4"/>
              </a:solidFill>
            </c:spPr>
          </c:dPt>
          <c:dPt>
            <c:idx val="585"/>
            <c:spPr>
              <a:solidFill>
                <a:srgbClr val="7ECAC4"/>
              </a:solidFill>
            </c:spPr>
          </c:dPt>
          <c:dPt>
            <c:idx val="586"/>
            <c:spPr>
              <a:solidFill>
                <a:srgbClr val="7ECAC4"/>
              </a:solidFill>
            </c:spPr>
          </c:dPt>
          <c:dPt>
            <c:idx val="587"/>
            <c:spPr>
              <a:solidFill>
                <a:srgbClr val="7ECAC4"/>
              </a:solidFill>
            </c:spPr>
          </c:dPt>
          <c:dPt>
            <c:idx val="588"/>
            <c:spPr>
              <a:solidFill>
                <a:srgbClr val="7ECAC4"/>
              </a:solidFill>
            </c:spPr>
          </c:dPt>
          <c:dPt>
            <c:idx val="589"/>
            <c:spPr>
              <a:solidFill>
                <a:srgbClr val="7ECAC4"/>
              </a:solidFill>
            </c:spPr>
          </c:dPt>
          <c:dPt>
            <c:idx val="590"/>
            <c:spPr>
              <a:solidFill>
                <a:srgbClr val="7ECAC4"/>
              </a:solidFill>
            </c:spPr>
          </c:dPt>
          <c:dPt>
            <c:idx val="591"/>
            <c:spPr>
              <a:solidFill>
                <a:srgbClr val="7ECAC4"/>
              </a:solidFill>
            </c:spPr>
          </c:dPt>
          <c:dPt>
            <c:idx val="592"/>
            <c:spPr>
              <a:solidFill>
                <a:srgbClr val="7ECAC4"/>
              </a:solidFill>
            </c:spPr>
          </c:dPt>
          <c:dPt>
            <c:idx val="593"/>
            <c:spPr>
              <a:solidFill>
                <a:srgbClr val="7ECAC4"/>
              </a:solidFill>
            </c:spPr>
          </c:dPt>
          <c:dPt>
            <c:idx val="594"/>
            <c:spPr>
              <a:solidFill>
                <a:srgbClr val="7ECAC4"/>
              </a:solidFill>
            </c:spPr>
          </c:dPt>
          <c:dPt>
            <c:idx val="595"/>
            <c:spPr>
              <a:solidFill>
                <a:srgbClr val="7ECAC4"/>
              </a:solidFill>
            </c:spPr>
          </c:dPt>
          <c:dPt>
            <c:idx val="596"/>
            <c:spPr>
              <a:solidFill>
                <a:srgbClr val="7ECAC4"/>
              </a:solidFill>
            </c:spPr>
          </c:dPt>
          <c:dPt>
            <c:idx val="597"/>
            <c:spPr>
              <a:solidFill>
                <a:srgbClr val="7ECAC4"/>
              </a:solidFill>
            </c:spPr>
          </c:dPt>
          <c:dPt>
            <c:idx val="598"/>
            <c:spPr>
              <a:solidFill>
                <a:srgbClr val="7ECAC4"/>
              </a:solidFill>
            </c:spPr>
          </c:dPt>
          <c:dPt>
            <c:idx val="599"/>
            <c:spPr>
              <a:solidFill>
                <a:srgbClr val="7ECAC4"/>
              </a:solidFill>
            </c:spPr>
          </c:dPt>
          <c:dPt>
            <c:idx val="600"/>
            <c:spPr>
              <a:solidFill>
                <a:srgbClr val="7ECAC4"/>
              </a:solidFill>
            </c:spPr>
          </c:dPt>
          <c:dPt>
            <c:idx val="601"/>
            <c:spPr>
              <a:solidFill>
                <a:srgbClr val="7ECAC4"/>
              </a:solidFill>
            </c:spPr>
          </c:dPt>
          <c:dPt>
            <c:idx val="602"/>
            <c:spPr>
              <a:solidFill>
                <a:srgbClr val="7ECAC4"/>
              </a:solidFill>
            </c:spPr>
          </c:dPt>
          <c:dPt>
            <c:idx val="603"/>
            <c:spPr>
              <a:solidFill>
                <a:srgbClr val="7ECAC4"/>
              </a:solidFill>
            </c:spPr>
          </c:dPt>
          <c:dPt>
            <c:idx val="604"/>
            <c:spPr>
              <a:solidFill>
                <a:srgbClr val="7ECAC4"/>
              </a:solidFill>
            </c:spPr>
          </c:dPt>
          <c:dPt>
            <c:idx val="605"/>
            <c:spPr>
              <a:solidFill>
                <a:srgbClr val="7ECAC4"/>
              </a:solidFill>
            </c:spPr>
          </c:dPt>
          <c:dPt>
            <c:idx val="606"/>
            <c:spPr>
              <a:solidFill>
                <a:srgbClr val="7ECAC4"/>
              </a:solidFill>
            </c:spPr>
          </c:dPt>
          <c:dPt>
            <c:idx val="607"/>
            <c:spPr>
              <a:solidFill>
                <a:srgbClr val="7ECAC4"/>
              </a:solidFill>
            </c:spPr>
          </c:dPt>
          <c:dPt>
            <c:idx val="608"/>
            <c:spPr>
              <a:solidFill>
                <a:srgbClr val="7ECAC4"/>
              </a:solidFill>
            </c:spPr>
          </c:dPt>
          <c:dPt>
            <c:idx val="609"/>
            <c:spPr>
              <a:solidFill>
                <a:srgbClr val="7ECAC4"/>
              </a:solidFill>
            </c:spPr>
          </c:dPt>
          <c:dPt>
            <c:idx val="610"/>
            <c:spPr>
              <a:solidFill>
                <a:srgbClr val="7ECAC4"/>
              </a:solidFill>
            </c:spPr>
          </c:dPt>
          <c:dPt>
            <c:idx val="611"/>
            <c:spPr>
              <a:solidFill>
                <a:srgbClr val="7ECAC4"/>
              </a:solidFill>
            </c:spPr>
          </c:dPt>
          <c:dPt>
            <c:idx val="612"/>
            <c:spPr>
              <a:solidFill>
                <a:srgbClr val="7ECAC4"/>
              </a:solidFill>
            </c:spPr>
          </c:dPt>
          <c:dPt>
            <c:idx val="613"/>
            <c:spPr>
              <a:solidFill>
                <a:srgbClr val="7ECAC4"/>
              </a:solidFill>
            </c:spPr>
          </c:dPt>
          <c:dPt>
            <c:idx val="614"/>
            <c:spPr>
              <a:solidFill>
                <a:srgbClr val="7ECAC4"/>
              </a:solidFill>
            </c:spPr>
          </c:dPt>
          <c:dPt>
            <c:idx val="615"/>
            <c:spPr>
              <a:solidFill>
                <a:srgbClr val="7ECAC4"/>
              </a:solidFill>
            </c:spPr>
          </c:dPt>
          <c:dPt>
            <c:idx val="616"/>
            <c:spPr>
              <a:solidFill>
                <a:srgbClr val="7ECAC4"/>
              </a:solidFill>
            </c:spPr>
          </c:dPt>
          <c:dPt>
            <c:idx val="617"/>
            <c:spPr>
              <a:solidFill>
                <a:srgbClr val="7ECAC4"/>
              </a:solidFill>
            </c:spPr>
          </c:dPt>
          <c:dPt>
            <c:idx val="618"/>
            <c:spPr>
              <a:solidFill>
                <a:srgbClr val="7ECAC4"/>
              </a:solidFill>
            </c:spPr>
          </c:dPt>
          <c:dPt>
            <c:idx val="619"/>
            <c:spPr>
              <a:solidFill>
                <a:srgbClr val="7ECAC4"/>
              </a:solidFill>
            </c:spPr>
          </c:dPt>
          <c:dPt>
            <c:idx val="620"/>
            <c:spPr>
              <a:solidFill>
                <a:srgbClr val="7ECAC4"/>
              </a:solidFill>
            </c:spPr>
          </c:dPt>
          <c:dPt>
            <c:idx val="621"/>
            <c:spPr>
              <a:solidFill>
                <a:srgbClr val="7ECAC4"/>
              </a:solidFill>
            </c:spPr>
          </c:dPt>
          <c:dPt>
            <c:idx val="622"/>
            <c:spPr>
              <a:solidFill>
                <a:srgbClr val="7ECAC4"/>
              </a:solidFill>
            </c:spPr>
          </c:dPt>
          <c:dPt>
            <c:idx val="623"/>
            <c:spPr>
              <a:solidFill>
                <a:srgbClr val="7ECAC4"/>
              </a:solidFill>
            </c:spPr>
          </c:dPt>
          <c:dPt>
            <c:idx val="624"/>
            <c:spPr>
              <a:solidFill>
                <a:srgbClr val="7ECAC4"/>
              </a:solidFill>
            </c:spPr>
          </c:dPt>
          <c:dPt>
            <c:idx val="625"/>
            <c:spPr>
              <a:solidFill>
                <a:srgbClr val="7ECAC4"/>
              </a:solidFill>
            </c:spPr>
          </c:dPt>
          <c:dPt>
            <c:idx val="626"/>
            <c:spPr>
              <a:solidFill>
                <a:srgbClr val="7ECAC4"/>
              </a:solidFill>
            </c:spPr>
          </c:dPt>
          <c:dPt>
            <c:idx val="627"/>
            <c:spPr>
              <a:solidFill>
                <a:srgbClr val="7ECAC4"/>
              </a:solidFill>
            </c:spPr>
          </c:dPt>
          <c:dPt>
            <c:idx val="628"/>
            <c:spPr>
              <a:solidFill>
                <a:srgbClr val="7ECAC4"/>
              </a:solidFill>
            </c:spPr>
          </c:dPt>
          <c:dPt>
            <c:idx val="629"/>
            <c:spPr>
              <a:solidFill>
                <a:srgbClr val="7ECAC4"/>
              </a:solidFill>
            </c:spPr>
          </c:dPt>
          <c:dPt>
            <c:idx val="630"/>
            <c:spPr>
              <a:solidFill>
                <a:srgbClr val="7ECAC4"/>
              </a:solidFill>
            </c:spPr>
          </c:dPt>
          <c:dPt>
            <c:idx val="631"/>
            <c:spPr>
              <a:solidFill>
                <a:srgbClr val="7ECAC4"/>
              </a:solidFill>
            </c:spPr>
          </c:dPt>
          <c:dPt>
            <c:idx val="632"/>
            <c:spPr>
              <a:solidFill>
                <a:srgbClr val="7ECAC4"/>
              </a:solidFill>
            </c:spPr>
          </c:dPt>
          <c:dPt>
            <c:idx val="633"/>
            <c:spPr>
              <a:solidFill>
                <a:srgbClr val="7ECAC4"/>
              </a:solidFill>
            </c:spPr>
          </c:dPt>
          <c:dPt>
            <c:idx val="634"/>
            <c:spPr>
              <a:solidFill>
                <a:srgbClr val="7ECAC4"/>
              </a:solidFill>
            </c:spPr>
          </c:dPt>
          <c:dPt>
            <c:idx val="635"/>
            <c:spPr>
              <a:solidFill>
                <a:srgbClr val="7ECAC4"/>
              </a:solidFill>
            </c:spPr>
          </c:dPt>
          <c:dPt>
            <c:idx val="636"/>
            <c:spPr>
              <a:solidFill>
                <a:srgbClr val="7ECAC4"/>
              </a:solidFill>
            </c:spPr>
          </c:dPt>
          <c:dPt>
            <c:idx val="637"/>
            <c:spPr>
              <a:solidFill>
                <a:srgbClr val="7ECAC4"/>
              </a:solidFill>
            </c:spPr>
          </c:dPt>
          <c:dPt>
            <c:idx val="638"/>
            <c:spPr>
              <a:solidFill>
                <a:srgbClr val="7ECAC4"/>
              </a:solidFill>
            </c:spPr>
          </c:dPt>
          <c:dPt>
            <c:idx val="639"/>
            <c:spPr>
              <a:solidFill>
                <a:srgbClr val="7ECAC4"/>
              </a:solidFill>
            </c:spPr>
          </c:dPt>
          <c:dPt>
            <c:idx val="640"/>
            <c:spPr>
              <a:solidFill>
                <a:srgbClr val="7ECAC4"/>
              </a:solidFill>
            </c:spPr>
          </c:dPt>
          <c:dPt>
            <c:idx val="641"/>
            <c:spPr>
              <a:solidFill>
                <a:srgbClr val="7ECAC4"/>
              </a:solidFill>
            </c:spPr>
          </c:dPt>
          <c:dPt>
            <c:idx val="642"/>
            <c:spPr>
              <a:solidFill>
                <a:srgbClr val="7ECAC4"/>
              </a:solidFill>
            </c:spPr>
          </c:dPt>
          <c:dPt>
            <c:idx val="643"/>
            <c:spPr>
              <a:solidFill>
                <a:srgbClr val="7ECAC4"/>
              </a:solidFill>
            </c:spPr>
          </c:dPt>
          <c:dPt>
            <c:idx val="644"/>
            <c:spPr>
              <a:solidFill>
                <a:srgbClr val="7ECAC4"/>
              </a:solidFill>
            </c:spPr>
          </c:dPt>
          <c:dPt>
            <c:idx val="645"/>
            <c:spPr>
              <a:solidFill>
                <a:srgbClr val="7ECAC4"/>
              </a:solidFill>
            </c:spPr>
          </c:dPt>
          <c:dPt>
            <c:idx val="646"/>
            <c:spPr>
              <a:solidFill>
                <a:srgbClr val="7ECAC4"/>
              </a:solidFill>
            </c:spPr>
          </c:dPt>
          <c:dPt>
            <c:idx val="647"/>
            <c:spPr>
              <a:solidFill>
                <a:srgbClr val="7ECAC4"/>
              </a:solidFill>
            </c:spPr>
          </c:dPt>
          <c:dPt>
            <c:idx val="648"/>
            <c:spPr>
              <a:solidFill>
                <a:srgbClr val="AEABAB"/>
              </a:solidFill>
            </c:spPr>
          </c:dPt>
          <c:dPt>
            <c:idx val="649"/>
            <c:spPr>
              <a:solidFill>
                <a:srgbClr val="AEABAB"/>
              </a:solidFill>
            </c:spPr>
          </c:dPt>
          <c:dPt>
            <c:idx val="650"/>
            <c:spPr>
              <a:solidFill>
                <a:srgbClr val="AEABAB"/>
              </a:solidFill>
            </c:spPr>
          </c:dPt>
          <c:dPt>
            <c:idx val="651"/>
            <c:spPr>
              <a:solidFill>
                <a:srgbClr val="AEABAB"/>
              </a:solidFill>
            </c:spPr>
          </c:dPt>
          <c:dPt>
            <c:idx val="652"/>
            <c:spPr>
              <a:solidFill>
                <a:srgbClr val="AEABAB"/>
              </a:solidFill>
            </c:spPr>
          </c:dPt>
          <c:dPt>
            <c:idx val="653"/>
            <c:spPr>
              <a:solidFill>
                <a:srgbClr val="AEABAB"/>
              </a:solidFill>
            </c:spPr>
          </c:dPt>
          <c:dPt>
            <c:idx val="654"/>
            <c:spPr>
              <a:solidFill>
                <a:srgbClr val="AEABAB"/>
              </a:solidFill>
            </c:spPr>
          </c:dPt>
          <c:dPt>
            <c:idx val="655"/>
            <c:spPr>
              <a:solidFill>
                <a:srgbClr val="AEABAB"/>
              </a:solidFill>
            </c:spPr>
          </c:dPt>
          <c:dPt>
            <c:idx val="656"/>
            <c:spPr>
              <a:solidFill>
                <a:srgbClr val="AEABAB"/>
              </a:solidFill>
            </c:spPr>
          </c:dPt>
          <c:dPt>
            <c:idx val="657"/>
            <c:spPr>
              <a:solidFill>
                <a:srgbClr val="AEABAB"/>
              </a:solidFill>
            </c:spPr>
          </c:dPt>
          <c:dPt>
            <c:idx val="658"/>
            <c:spPr>
              <a:solidFill>
                <a:srgbClr val="AEABAB"/>
              </a:solidFill>
            </c:spPr>
          </c:dPt>
          <c:dPt>
            <c:idx val="659"/>
            <c:spPr>
              <a:solidFill>
                <a:srgbClr val="AEABAB"/>
              </a:solidFill>
            </c:spPr>
          </c:dPt>
          <c:dPt>
            <c:idx val="660"/>
            <c:spPr>
              <a:solidFill>
                <a:srgbClr val="AEABAB"/>
              </a:solidFill>
            </c:spPr>
          </c:dPt>
          <c:dPt>
            <c:idx val="661"/>
            <c:spPr>
              <a:solidFill>
                <a:srgbClr val="AEABAB"/>
              </a:solidFill>
            </c:spPr>
          </c:dPt>
          <c:dPt>
            <c:idx val="662"/>
            <c:spPr>
              <a:solidFill>
                <a:srgbClr val="AEABAB"/>
              </a:solidFill>
            </c:spPr>
          </c:dPt>
          <c:dPt>
            <c:idx val="663"/>
            <c:spPr>
              <a:solidFill>
                <a:srgbClr val="AEABAB"/>
              </a:solidFill>
            </c:spPr>
          </c:dPt>
          <c:dPt>
            <c:idx val="664"/>
            <c:spPr>
              <a:solidFill>
                <a:srgbClr val="AEABAB"/>
              </a:solidFill>
            </c:spPr>
          </c:dPt>
          <c:dPt>
            <c:idx val="665"/>
            <c:spPr>
              <a:solidFill>
                <a:srgbClr val="AEABAB"/>
              </a:solidFill>
            </c:spPr>
          </c:dPt>
          <c:dPt>
            <c:idx val="666"/>
            <c:spPr>
              <a:solidFill>
                <a:srgbClr val="AEABAB"/>
              </a:solidFill>
            </c:spPr>
          </c:dPt>
          <c:dPt>
            <c:idx val="667"/>
            <c:spPr>
              <a:solidFill>
                <a:srgbClr val="AEABAB"/>
              </a:solidFill>
            </c:spPr>
          </c:dPt>
          <c:dPt>
            <c:idx val="668"/>
            <c:spPr>
              <a:solidFill>
                <a:srgbClr val="AEABAB"/>
              </a:solidFill>
            </c:spPr>
          </c:dPt>
          <c:dPt>
            <c:idx val="669"/>
            <c:spPr>
              <a:solidFill>
                <a:srgbClr val="AEABAB"/>
              </a:solidFill>
            </c:spPr>
          </c:dPt>
          <c:dPt>
            <c:idx val="670"/>
            <c:spPr>
              <a:solidFill>
                <a:srgbClr val="AEABAB"/>
              </a:solidFill>
            </c:spPr>
          </c:dPt>
          <c:dPt>
            <c:idx val="671"/>
            <c:spPr>
              <a:solidFill>
                <a:srgbClr val="AEABAB"/>
              </a:solidFill>
            </c:spPr>
          </c:dPt>
          <c:dPt>
            <c:idx val="672"/>
            <c:spPr>
              <a:solidFill>
                <a:srgbClr val="AEABAB"/>
              </a:solidFill>
            </c:spPr>
          </c:dPt>
          <c:dPt>
            <c:idx val="673"/>
            <c:spPr>
              <a:solidFill>
                <a:srgbClr val="AEABAB"/>
              </a:solidFill>
            </c:spPr>
          </c:dPt>
          <c:dPt>
            <c:idx val="674"/>
            <c:spPr>
              <a:solidFill>
                <a:srgbClr val="AEABAB"/>
              </a:solidFill>
            </c:spPr>
          </c:dPt>
          <c:dPt>
            <c:idx val="675"/>
            <c:spPr>
              <a:solidFill>
                <a:srgbClr val="AEABAB"/>
              </a:solidFill>
            </c:spPr>
          </c:dPt>
          <c:dPt>
            <c:idx val="676"/>
            <c:spPr>
              <a:solidFill>
                <a:srgbClr val="AEABAB"/>
              </a:solidFill>
            </c:spPr>
          </c:dPt>
          <c:dPt>
            <c:idx val="677"/>
            <c:spPr>
              <a:solidFill>
                <a:srgbClr val="AEABAB"/>
              </a:solidFill>
            </c:spPr>
          </c:dPt>
          <c:dPt>
            <c:idx val="678"/>
            <c:spPr>
              <a:solidFill>
                <a:srgbClr val="AEABAB"/>
              </a:solidFill>
            </c:spPr>
          </c:dPt>
          <c:dPt>
            <c:idx val="679"/>
            <c:spPr>
              <a:solidFill>
                <a:srgbClr val="AEABAB"/>
              </a:solidFill>
            </c:spPr>
          </c:dPt>
          <c:dPt>
            <c:idx val="680"/>
            <c:spPr>
              <a:solidFill>
                <a:srgbClr val="AEABAB"/>
              </a:solidFill>
            </c:spPr>
          </c:dPt>
          <c:dPt>
            <c:idx val="681"/>
            <c:spPr>
              <a:solidFill>
                <a:srgbClr val="AEABAB"/>
              </a:solidFill>
            </c:spPr>
          </c:dPt>
          <c:dPt>
            <c:idx val="682"/>
            <c:spPr>
              <a:solidFill>
                <a:srgbClr val="AEABAB"/>
              </a:solidFill>
            </c:spPr>
          </c:dPt>
          <c:dPt>
            <c:idx val="683"/>
            <c:spPr>
              <a:solidFill>
                <a:srgbClr val="AEABAB"/>
              </a:solidFill>
            </c:spPr>
          </c:dPt>
          <c:dPt>
            <c:idx val="684"/>
            <c:spPr>
              <a:solidFill>
                <a:srgbClr val="AEABAB"/>
              </a:solidFill>
            </c:spPr>
          </c:dPt>
          <c:dPt>
            <c:idx val="685"/>
            <c:spPr>
              <a:solidFill>
                <a:srgbClr val="AEABAB"/>
              </a:solidFill>
            </c:spPr>
          </c:dPt>
          <c:dPt>
            <c:idx val="686"/>
            <c:spPr>
              <a:solidFill>
                <a:srgbClr val="AEABAB"/>
              </a:solidFill>
            </c:spPr>
          </c:dPt>
          <c:dPt>
            <c:idx val="687"/>
            <c:spPr>
              <a:solidFill>
                <a:srgbClr val="AEABAB"/>
              </a:solidFill>
            </c:spPr>
          </c:dPt>
          <c:dPt>
            <c:idx val="688"/>
            <c:spPr>
              <a:solidFill>
                <a:srgbClr val="AEABAB"/>
              </a:solidFill>
            </c:spPr>
          </c:dPt>
          <c:dPt>
            <c:idx val="689"/>
            <c:spPr>
              <a:solidFill>
                <a:srgbClr val="AEABAB"/>
              </a:solidFill>
            </c:spPr>
          </c:dPt>
          <c:dPt>
            <c:idx val="690"/>
            <c:spPr>
              <a:solidFill>
                <a:srgbClr val="AEABAB"/>
              </a:solidFill>
            </c:spPr>
          </c:dPt>
          <c:dPt>
            <c:idx val="691"/>
            <c:spPr>
              <a:solidFill>
                <a:srgbClr val="AEABAB"/>
              </a:solidFill>
            </c:spPr>
          </c:dPt>
          <c:dPt>
            <c:idx val="692"/>
            <c:spPr>
              <a:solidFill>
                <a:srgbClr val="AEABAB"/>
              </a:solidFill>
            </c:spPr>
          </c:dPt>
          <c:dPt>
            <c:idx val="693"/>
            <c:spPr>
              <a:solidFill>
                <a:srgbClr val="AEABAB"/>
              </a:solidFill>
            </c:spPr>
          </c:dPt>
          <c:dPt>
            <c:idx val="694"/>
            <c:spPr>
              <a:solidFill>
                <a:srgbClr val="AEABAB"/>
              </a:solidFill>
            </c:spPr>
          </c:dPt>
          <c:dPt>
            <c:idx val="695"/>
            <c:spPr>
              <a:solidFill>
                <a:srgbClr val="AEABAB"/>
              </a:solidFill>
            </c:spPr>
          </c:dPt>
          <c:dPt>
            <c:idx val="696"/>
            <c:spPr>
              <a:solidFill>
                <a:srgbClr val="AEABAB"/>
              </a:solidFill>
            </c:spPr>
          </c:dPt>
          <c:dPt>
            <c:idx val="697"/>
            <c:spPr>
              <a:solidFill>
                <a:srgbClr val="AEABAB"/>
              </a:solidFill>
            </c:spPr>
          </c:dPt>
          <c:dPt>
            <c:idx val="698"/>
            <c:spPr>
              <a:solidFill>
                <a:srgbClr val="AEABAB"/>
              </a:solidFill>
            </c:spPr>
          </c:dPt>
          <c:dPt>
            <c:idx val="699"/>
            <c:spPr>
              <a:solidFill>
                <a:srgbClr val="AEABAB"/>
              </a:solidFill>
            </c:spPr>
          </c:dPt>
          <c:dPt>
            <c:idx val="700"/>
            <c:spPr>
              <a:solidFill>
                <a:srgbClr val="AEABAB"/>
              </a:solidFill>
            </c:spPr>
          </c:dPt>
          <c:dPt>
            <c:idx val="701"/>
            <c:spPr>
              <a:solidFill>
                <a:srgbClr val="AEABAB"/>
              </a:solidFill>
            </c:spPr>
          </c:dPt>
          <c:dPt>
            <c:idx val="702"/>
            <c:spPr>
              <a:solidFill>
                <a:srgbClr val="AEABAB"/>
              </a:solidFill>
            </c:spPr>
          </c:dPt>
          <c:dPt>
            <c:idx val="703"/>
            <c:spPr>
              <a:solidFill>
                <a:srgbClr val="AEABAB"/>
              </a:solidFill>
            </c:spPr>
          </c:dPt>
          <c:dPt>
            <c:idx val="704"/>
            <c:spPr>
              <a:solidFill>
                <a:srgbClr val="AEABAB"/>
              </a:solidFill>
            </c:spPr>
          </c:dPt>
          <c:dPt>
            <c:idx val="705"/>
            <c:spPr>
              <a:solidFill>
                <a:srgbClr val="AEABAB"/>
              </a:solidFill>
            </c:spPr>
          </c:dPt>
          <c:dPt>
            <c:idx val="706"/>
            <c:spPr>
              <a:solidFill>
                <a:srgbClr val="AEABAB"/>
              </a:solidFill>
            </c:spPr>
          </c:dPt>
          <c:dPt>
            <c:idx val="707"/>
            <c:spPr>
              <a:solidFill>
                <a:srgbClr val="AEABAB"/>
              </a:solidFill>
            </c:spPr>
          </c:dPt>
          <c:dPt>
            <c:idx val="708"/>
            <c:spPr>
              <a:solidFill>
                <a:srgbClr val="AEABAB"/>
              </a:solidFill>
            </c:spPr>
          </c:dPt>
          <c:dPt>
            <c:idx val="709"/>
            <c:spPr>
              <a:solidFill>
                <a:srgbClr val="AEABAB"/>
              </a:solidFill>
            </c:spPr>
          </c:dPt>
          <c:dPt>
            <c:idx val="710"/>
            <c:spPr>
              <a:solidFill>
                <a:srgbClr val="AEABAB"/>
              </a:solidFill>
            </c:spPr>
          </c:dPt>
          <c:dPt>
            <c:idx val="711"/>
            <c:spPr>
              <a:solidFill>
                <a:srgbClr val="AEABAB"/>
              </a:solidFill>
            </c:spPr>
          </c:dPt>
          <c:dPt>
            <c:idx val="712"/>
            <c:spPr>
              <a:solidFill>
                <a:srgbClr val="AEABAB"/>
              </a:solidFill>
            </c:spPr>
          </c:dPt>
          <c:dPt>
            <c:idx val="713"/>
            <c:spPr>
              <a:solidFill>
                <a:srgbClr val="AEABAB"/>
              </a:solidFill>
            </c:spPr>
          </c:dPt>
          <c:dPt>
            <c:idx val="714"/>
            <c:spPr>
              <a:solidFill>
                <a:srgbClr val="AEABAB"/>
              </a:solidFill>
            </c:spPr>
          </c:dPt>
          <c:dPt>
            <c:idx val="715"/>
            <c:spPr>
              <a:solidFill>
                <a:srgbClr val="AEABAB"/>
              </a:solidFill>
            </c:spPr>
          </c:dPt>
          <c:dPt>
            <c:idx val="716"/>
            <c:spPr>
              <a:solidFill>
                <a:srgbClr val="AEABAB"/>
              </a:solidFill>
            </c:spPr>
          </c:dPt>
          <c:dPt>
            <c:idx val="717"/>
            <c:spPr>
              <a:solidFill>
                <a:srgbClr val="AEABAB"/>
              </a:solidFill>
            </c:spPr>
          </c:dPt>
          <c:dPt>
            <c:idx val="718"/>
            <c:spPr>
              <a:solidFill>
                <a:srgbClr val="AEABAB"/>
              </a:solidFill>
            </c:spPr>
          </c:dPt>
          <c:dPt>
            <c:idx val="719"/>
            <c:spPr>
              <a:solidFill>
                <a:srgbClr val="AEABAB"/>
              </a:solidFill>
            </c:spPr>
          </c:dPt>
          <c:dPt>
            <c:idx val="720"/>
            <c:spPr>
              <a:solidFill>
                <a:srgbClr val="AEABAB"/>
              </a:solidFill>
            </c:spPr>
          </c:dPt>
          <c:dPt>
            <c:idx val="721"/>
            <c:spPr>
              <a:solidFill>
                <a:srgbClr val="AEABAB"/>
              </a:solidFill>
            </c:spPr>
          </c:dPt>
          <c:dPt>
            <c:idx val="722"/>
            <c:spPr>
              <a:solidFill>
                <a:srgbClr val="AEABAB"/>
              </a:solidFill>
            </c:spPr>
          </c:dPt>
          <c:dPt>
            <c:idx val="723"/>
            <c:spPr>
              <a:solidFill>
                <a:srgbClr val="AEABAB"/>
              </a:solidFill>
            </c:spPr>
          </c:dPt>
          <c:dPt>
            <c:idx val="724"/>
            <c:spPr>
              <a:solidFill>
                <a:srgbClr val="AEABAB"/>
              </a:solidFill>
            </c:spPr>
          </c:dPt>
          <c:dPt>
            <c:idx val="725"/>
            <c:spPr>
              <a:solidFill>
                <a:srgbClr val="AEABAB"/>
              </a:solidFill>
            </c:spPr>
          </c:dPt>
          <c:dPt>
            <c:idx val="726"/>
            <c:spPr>
              <a:solidFill>
                <a:srgbClr val="AEABAB"/>
              </a:solidFill>
            </c:spPr>
          </c:dPt>
          <c:dPt>
            <c:idx val="727"/>
            <c:spPr>
              <a:solidFill>
                <a:srgbClr val="AEABAB"/>
              </a:solidFill>
            </c:spPr>
          </c:dPt>
          <c:dPt>
            <c:idx val="728"/>
            <c:spPr>
              <a:solidFill>
                <a:srgbClr val="AEABAB"/>
              </a:solidFill>
            </c:spPr>
          </c:dPt>
          <c:dPt>
            <c:idx val="729"/>
            <c:spPr>
              <a:solidFill>
                <a:srgbClr val="AEABAB"/>
              </a:solidFill>
            </c:spPr>
          </c:dPt>
          <c:dPt>
            <c:idx val="730"/>
            <c:spPr>
              <a:solidFill>
                <a:srgbClr val="AEABAB"/>
              </a:solidFill>
            </c:spPr>
          </c:dPt>
          <c:dPt>
            <c:idx val="731"/>
            <c:spPr>
              <a:solidFill>
                <a:srgbClr val="AEABAB"/>
              </a:solidFill>
            </c:spPr>
          </c:dPt>
          <c:dPt>
            <c:idx val="732"/>
            <c:spPr>
              <a:solidFill>
                <a:srgbClr val="AEABAB"/>
              </a:solidFill>
            </c:spPr>
          </c:dPt>
          <c:dPt>
            <c:idx val="733"/>
            <c:spPr>
              <a:solidFill>
                <a:srgbClr val="AEABAB"/>
              </a:solidFill>
            </c:spPr>
          </c:dPt>
          <c:dPt>
            <c:idx val="734"/>
            <c:spPr>
              <a:solidFill>
                <a:srgbClr val="AEABAB"/>
              </a:solidFill>
            </c:spPr>
          </c:dPt>
          <c:dPt>
            <c:idx val="735"/>
            <c:spPr>
              <a:solidFill>
                <a:srgbClr val="AEABAB"/>
              </a:solidFill>
            </c:spPr>
          </c:dPt>
          <c:dPt>
            <c:idx val="736"/>
            <c:spPr>
              <a:solidFill>
                <a:srgbClr val="AEABAB"/>
              </a:solidFill>
            </c:spPr>
          </c:dPt>
          <c:dPt>
            <c:idx val="737"/>
            <c:spPr>
              <a:solidFill>
                <a:srgbClr val="AEABAB"/>
              </a:solidFill>
            </c:spPr>
          </c:dPt>
          <c:dPt>
            <c:idx val="738"/>
            <c:spPr>
              <a:solidFill>
                <a:srgbClr val="AEABAB"/>
              </a:solidFill>
            </c:spPr>
          </c:dPt>
          <c:dPt>
            <c:idx val="739"/>
            <c:spPr>
              <a:solidFill>
                <a:srgbClr val="AEABAB"/>
              </a:solidFill>
            </c:spPr>
          </c:dPt>
          <c:dPt>
            <c:idx val="740"/>
            <c:spPr>
              <a:solidFill>
                <a:srgbClr val="AEABAB"/>
              </a:solidFill>
            </c:spPr>
          </c:dPt>
          <c:dPt>
            <c:idx val="741"/>
            <c:spPr>
              <a:solidFill>
                <a:srgbClr val="AEABAB"/>
              </a:solidFill>
            </c:spPr>
          </c:dPt>
          <c:dPt>
            <c:idx val="742"/>
            <c:spPr>
              <a:solidFill>
                <a:srgbClr val="AEABAB"/>
              </a:solidFill>
            </c:spPr>
          </c:dPt>
          <c:dPt>
            <c:idx val="743"/>
            <c:spPr>
              <a:solidFill>
                <a:srgbClr val="AEABAB"/>
              </a:solidFill>
            </c:spPr>
          </c:dPt>
          <c:dPt>
            <c:idx val="744"/>
            <c:spPr>
              <a:solidFill>
                <a:srgbClr val="AEABAB"/>
              </a:solidFill>
            </c:spPr>
          </c:dPt>
          <c:dPt>
            <c:idx val="745"/>
            <c:spPr>
              <a:solidFill>
                <a:srgbClr val="AEABAB"/>
              </a:solidFill>
            </c:spPr>
          </c:dPt>
          <c:dPt>
            <c:idx val="746"/>
            <c:spPr>
              <a:solidFill>
                <a:srgbClr val="AEABAB"/>
              </a:solidFill>
            </c:spPr>
          </c:dPt>
          <c:dPt>
            <c:idx val="747"/>
            <c:spPr>
              <a:solidFill>
                <a:srgbClr val="AEABAB"/>
              </a:solidFill>
            </c:spPr>
          </c:dPt>
          <c:dPt>
            <c:idx val="748"/>
            <c:spPr>
              <a:solidFill>
                <a:srgbClr val="AEABAB"/>
              </a:solidFill>
            </c:spPr>
          </c:dPt>
          <c:dPt>
            <c:idx val="749"/>
            <c:spPr>
              <a:solidFill>
                <a:srgbClr val="AEABAB"/>
              </a:solidFill>
            </c:spPr>
          </c:dPt>
          <c:dPt>
            <c:idx val="750"/>
            <c:spPr>
              <a:solidFill>
                <a:srgbClr val="AEABAB"/>
              </a:solidFill>
            </c:spPr>
          </c:dPt>
          <c:dPt>
            <c:idx val="751"/>
            <c:spPr>
              <a:solidFill>
                <a:srgbClr val="AEABAB"/>
              </a:solidFill>
            </c:spPr>
          </c:dPt>
          <c:dPt>
            <c:idx val="752"/>
            <c:spPr>
              <a:solidFill>
                <a:srgbClr val="AEABAB"/>
              </a:solidFill>
            </c:spPr>
          </c:dPt>
          <c:dPt>
            <c:idx val="753"/>
            <c:spPr>
              <a:solidFill>
                <a:srgbClr val="AEABAB"/>
              </a:solidFill>
            </c:spPr>
          </c:dPt>
          <c:dPt>
            <c:idx val="754"/>
            <c:spPr>
              <a:solidFill>
                <a:srgbClr val="AEABAB"/>
              </a:solidFill>
            </c:spPr>
          </c:dPt>
          <c:dPt>
            <c:idx val="755"/>
            <c:spPr>
              <a:solidFill>
                <a:srgbClr val="AEABAB"/>
              </a:solidFill>
            </c:spPr>
          </c:dPt>
          <c:dPt>
            <c:idx val="756"/>
            <c:spPr>
              <a:solidFill>
                <a:srgbClr val="AEABAB"/>
              </a:solidFill>
            </c:spPr>
          </c:dPt>
          <c:dPt>
            <c:idx val="757"/>
            <c:spPr>
              <a:solidFill>
                <a:srgbClr val="AEABAB"/>
              </a:solidFill>
            </c:spPr>
          </c:dPt>
          <c:dPt>
            <c:idx val="758"/>
            <c:spPr>
              <a:solidFill>
                <a:srgbClr val="AEABAB"/>
              </a:solidFill>
            </c:spPr>
          </c:dPt>
          <c:dPt>
            <c:idx val="759"/>
            <c:spPr>
              <a:solidFill>
                <a:srgbClr val="AEABAB"/>
              </a:solidFill>
            </c:spPr>
          </c:dPt>
          <c:dPt>
            <c:idx val="760"/>
            <c:spPr>
              <a:solidFill>
                <a:srgbClr val="AEABAB"/>
              </a:solidFill>
            </c:spPr>
          </c:dPt>
          <c:dPt>
            <c:idx val="761"/>
            <c:spPr>
              <a:solidFill>
                <a:srgbClr val="AEABAB"/>
              </a:solidFill>
            </c:spPr>
          </c:dPt>
          <c:dPt>
            <c:idx val="762"/>
            <c:spPr>
              <a:solidFill>
                <a:srgbClr val="AEABAB"/>
              </a:solidFill>
            </c:spPr>
          </c:dPt>
          <c:dPt>
            <c:idx val="763"/>
            <c:spPr>
              <a:solidFill>
                <a:srgbClr val="AEABAB"/>
              </a:solidFill>
            </c:spPr>
          </c:dPt>
          <c:dPt>
            <c:idx val="764"/>
            <c:spPr>
              <a:solidFill>
                <a:srgbClr val="AEABAB"/>
              </a:solidFill>
            </c:spPr>
          </c:dPt>
          <c:dPt>
            <c:idx val="765"/>
            <c:spPr>
              <a:solidFill>
                <a:srgbClr val="AEABAB"/>
              </a:solidFill>
            </c:spPr>
          </c:dPt>
          <c:dPt>
            <c:idx val="766"/>
            <c:spPr>
              <a:solidFill>
                <a:srgbClr val="AEABAB"/>
              </a:solidFill>
            </c:spPr>
          </c:dPt>
          <c:dPt>
            <c:idx val="767"/>
            <c:spPr>
              <a:solidFill>
                <a:srgbClr val="AEABAB"/>
              </a:solidFill>
            </c:spPr>
          </c:dPt>
          <c:dPt>
            <c:idx val="768"/>
            <c:spPr>
              <a:solidFill>
                <a:srgbClr val="AEABAB"/>
              </a:solidFill>
            </c:spPr>
          </c:dPt>
          <c:dPt>
            <c:idx val="769"/>
            <c:spPr>
              <a:solidFill>
                <a:srgbClr val="AEABAB"/>
              </a:solidFill>
            </c:spPr>
          </c:dPt>
          <c:dPt>
            <c:idx val="770"/>
            <c:spPr>
              <a:solidFill>
                <a:srgbClr val="AEABAB"/>
              </a:solidFill>
            </c:spPr>
          </c:dPt>
          <c:dPt>
            <c:idx val="771"/>
            <c:spPr>
              <a:solidFill>
                <a:srgbClr val="AEABAB"/>
              </a:solidFill>
            </c:spPr>
          </c:dPt>
          <c:dPt>
            <c:idx val="772"/>
            <c:spPr>
              <a:solidFill>
                <a:srgbClr val="AEABAB"/>
              </a:solidFill>
            </c:spPr>
          </c:dPt>
          <c:dPt>
            <c:idx val="773"/>
            <c:spPr>
              <a:solidFill>
                <a:srgbClr val="AEABAB"/>
              </a:solidFill>
            </c:spPr>
          </c:dPt>
          <c:dPt>
            <c:idx val="774"/>
            <c:spPr>
              <a:solidFill>
                <a:srgbClr val="AEABAB"/>
              </a:solidFill>
            </c:spPr>
          </c:dPt>
          <c:dPt>
            <c:idx val="775"/>
            <c:spPr>
              <a:solidFill>
                <a:srgbClr val="AEABAB"/>
              </a:solidFill>
            </c:spPr>
          </c:dPt>
          <c:dPt>
            <c:idx val="776"/>
            <c:spPr>
              <a:solidFill>
                <a:srgbClr val="AEABAB"/>
              </a:solidFill>
            </c:spPr>
          </c:dPt>
          <c:dPt>
            <c:idx val="777"/>
            <c:spPr>
              <a:solidFill>
                <a:srgbClr val="AEABAB"/>
              </a:solidFill>
            </c:spPr>
          </c:dPt>
          <c:dPt>
            <c:idx val="778"/>
            <c:spPr>
              <a:solidFill>
                <a:srgbClr val="AEABAB"/>
              </a:solidFill>
            </c:spPr>
          </c:dPt>
          <c:dPt>
            <c:idx val="779"/>
            <c:spPr>
              <a:solidFill>
                <a:srgbClr val="AEABAB"/>
              </a:solidFill>
            </c:spPr>
          </c:dPt>
          <c:dPt>
            <c:idx val="780"/>
            <c:spPr>
              <a:solidFill>
                <a:srgbClr val="AEABAB"/>
              </a:solidFill>
            </c:spPr>
          </c:dPt>
          <c:dPt>
            <c:idx val="781"/>
            <c:spPr>
              <a:solidFill>
                <a:srgbClr val="AEABAB"/>
              </a:solidFill>
            </c:spPr>
          </c:dPt>
          <c:dPt>
            <c:idx val="782"/>
            <c:spPr>
              <a:solidFill>
                <a:srgbClr val="AEABAB"/>
              </a:solidFill>
            </c:spPr>
          </c:dPt>
          <c:dPt>
            <c:idx val="783"/>
            <c:spPr>
              <a:solidFill>
                <a:srgbClr val="AEABAB"/>
              </a:solidFill>
            </c:spPr>
          </c:dPt>
          <c:dPt>
            <c:idx val="784"/>
            <c:spPr>
              <a:solidFill>
                <a:srgbClr val="AEABAB"/>
              </a:solidFill>
            </c:spPr>
          </c:dPt>
          <c:dPt>
            <c:idx val="785"/>
            <c:spPr>
              <a:solidFill>
                <a:srgbClr val="AEABAB"/>
              </a:solidFill>
            </c:spPr>
          </c:dPt>
          <c:dPt>
            <c:idx val="786"/>
            <c:spPr>
              <a:solidFill>
                <a:srgbClr val="AEABAB"/>
              </a:solidFill>
            </c:spPr>
          </c:dPt>
          <c:dPt>
            <c:idx val="787"/>
            <c:spPr>
              <a:solidFill>
                <a:srgbClr val="AEABAB"/>
              </a:solidFill>
            </c:spPr>
          </c:dPt>
          <c:dPt>
            <c:idx val="788"/>
            <c:spPr>
              <a:solidFill>
                <a:srgbClr val="AEABAB"/>
              </a:solidFill>
            </c:spPr>
          </c:dPt>
          <c:dPt>
            <c:idx val="789"/>
            <c:spPr>
              <a:solidFill>
                <a:srgbClr val="AEABAB"/>
              </a:solidFill>
            </c:spPr>
          </c:dPt>
          <c:dPt>
            <c:idx val="790"/>
            <c:spPr>
              <a:solidFill>
                <a:srgbClr val="AEABAB"/>
              </a:solidFill>
            </c:spPr>
          </c:dPt>
          <c:dPt>
            <c:idx val="791"/>
            <c:spPr>
              <a:solidFill>
                <a:srgbClr val="AEABAB"/>
              </a:solidFill>
            </c:spPr>
          </c:dPt>
          <c:dPt>
            <c:idx val="792"/>
            <c:spPr>
              <a:solidFill>
                <a:srgbClr val="AEABAB"/>
              </a:solidFill>
            </c:spPr>
          </c:dPt>
          <c:dPt>
            <c:idx val="793"/>
            <c:spPr>
              <a:solidFill>
                <a:srgbClr val="AEABAB"/>
              </a:solidFill>
            </c:spPr>
          </c:dPt>
          <c:dPt>
            <c:idx val="794"/>
            <c:spPr>
              <a:solidFill>
                <a:srgbClr val="AEABAB"/>
              </a:solidFill>
            </c:spPr>
          </c:dPt>
          <c:dPt>
            <c:idx val="795"/>
            <c:spPr>
              <a:solidFill>
                <a:srgbClr val="AEABAB"/>
              </a:solidFill>
            </c:spPr>
          </c:dPt>
          <c:dPt>
            <c:idx val="796"/>
            <c:spPr>
              <a:solidFill>
                <a:srgbClr val="AEABAB"/>
              </a:solidFill>
            </c:spPr>
          </c:dPt>
          <c:dPt>
            <c:idx val="797"/>
            <c:spPr>
              <a:solidFill>
                <a:srgbClr val="AEABAB"/>
              </a:solidFill>
            </c:spPr>
          </c:dPt>
          <c:dPt>
            <c:idx val="798"/>
            <c:spPr>
              <a:solidFill>
                <a:srgbClr val="AEABAB"/>
              </a:solidFill>
            </c:spPr>
          </c:dPt>
          <c:dPt>
            <c:idx val="799"/>
            <c:spPr>
              <a:solidFill>
                <a:srgbClr val="AEABAB"/>
              </a:solidFill>
            </c:spPr>
          </c:dPt>
          <c:dPt>
            <c:idx val="800"/>
            <c:spPr>
              <a:solidFill>
                <a:srgbClr val="AEABAB"/>
              </a:solidFill>
            </c:spPr>
          </c:dPt>
          <c:dPt>
            <c:idx val="801"/>
            <c:spPr>
              <a:solidFill>
                <a:srgbClr val="AEABAB"/>
              </a:solidFill>
            </c:spPr>
          </c:dPt>
          <c:dPt>
            <c:idx val="802"/>
            <c:spPr>
              <a:solidFill>
                <a:srgbClr val="AEABAB"/>
              </a:solidFill>
            </c:spPr>
          </c:dPt>
          <c:dPt>
            <c:idx val="803"/>
            <c:spPr>
              <a:solidFill>
                <a:srgbClr val="AEABAB"/>
              </a:solidFill>
            </c:spPr>
          </c:dPt>
          <c:dPt>
            <c:idx val="804"/>
            <c:spPr>
              <a:solidFill>
                <a:srgbClr val="AEABAB"/>
              </a:solidFill>
            </c:spPr>
          </c:dPt>
          <c:dPt>
            <c:idx val="805"/>
            <c:spPr>
              <a:solidFill>
                <a:srgbClr val="AEABAB"/>
              </a:solidFill>
            </c:spPr>
          </c:dPt>
          <c:dPt>
            <c:idx val="806"/>
            <c:spPr>
              <a:solidFill>
                <a:srgbClr val="AEABAB"/>
              </a:solidFill>
            </c:spPr>
          </c:dPt>
          <c:dPt>
            <c:idx val="807"/>
            <c:spPr>
              <a:solidFill>
                <a:srgbClr val="AEABAB"/>
              </a:solidFill>
            </c:spPr>
          </c:dPt>
          <c:dPt>
            <c:idx val="808"/>
            <c:spPr>
              <a:solidFill>
                <a:srgbClr val="AEABAB"/>
              </a:solidFill>
            </c:spPr>
          </c:dPt>
          <c:dPt>
            <c:idx val="809"/>
            <c:spPr>
              <a:solidFill>
                <a:srgbClr val="AEABAB"/>
              </a:solidFill>
            </c:spPr>
          </c:dPt>
          <c:dPt>
            <c:idx val="810"/>
            <c:spPr>
              <a:solidFill>
                <a:srgbClr val="AEABAB"/>
              </a:solidFill>
            </c:spPr>
          </c:dPt>
          <c:dPt>
            <c:idx val="811"/>
            <c:spPr>
              <a:solidFill>
                <a:srgbClr val="AEABAB"/>
              </a:solidFill>
            </c:spPr>
          </c:dPt>
          <c:dPt>
            <c:idx val="812"/>
            <c:spPr>
              <a:solidFill>
                <a:srgbClr val="AEABAB"/>
              </a:solidFill>
            </c:spPr>
          </c:dPt>
          <c:dPt>
            <c:idx val="813"/>
            <c:spPr>
              <a:solidFill>
                <a:srgbClr val="AEABAB"/>
              </a:solidFill>
            </c:spPr>
          </c:dPt>
          <c:dPt>
            <c:idx val="814"/>
            <c:spPr>
              <a:solidFill>
                <a:srgbClr val="AEABAB"/>
              </a:solidFill>
            </c:spPr>
          </c:dPt>
          <c:dPt>
            <c:idx val="815"/>
            <c:spPr>
              <a:solidFill>
                <a:srgbClr val="AEABAB"/>
              </a:solidFill>
            </c:spPr>
          </c:dPt>
          <c:dPt>
            <c:idx val="816"/>
            <c:spPr>
              <a:solidFill>
                <a:srgbClr val="AEABAB"/>
              </a:solidFill>
            </c:spPr>
          </c:dPt>
          <c:dPt>
            <c:idx val="817"/>
            <c:spPr>
              <a:solidFill>
                <a:srgbClr val="AEABAB"/>
              </a:solidFill>
            </c:spPr>
          </c:dPt>
          <c:dPt>
            <c:idx val="818"/>
            <c:spPr>
              <a:solidFill>
                <a:srgbClr val="AEABAB"/>
              </a:solidFill>
            </c:spPr>
          </c:dPt>
          <c:dPt>
            <c:idx val="819"/>
            <c:spPr>
              <a:solidFill>
                <a:srgbClr val="AEABAB"/>
              </a:solidFill>
            </c:spPr>
          </c:dPt>
          <c:dPt>
            <c:idx val="820"/>
            <c:spPr>
              <a:solidFill>
                <a:srgbClr val="AEABAB"/>
              </a:solidFill>
            </c:spPr>
          </c:dPt>
          <c:dPt>
            <c:idx val="821"/>
            <c:spPr>
              <a:solidFill>
                <a:srgbClr val="AEABAB"/>
              </a:solidFill>
            </c:spPr>
          </c:dPt>
          <c:dPt>
            <c:idx val="822"/>
            <c:spPr>
              <a:solidFill>
                <a:srgbClr val="AEABAB"/>
              </a:solidFill>
            </c:spPr>
          </c:dPt>
          <c:dPt>
            <c:idx val="823"/>
            <c:spPr>
              <a:solidFill>
                <a:srgbClr val="AEABAB"/>
              </a:solidFill>
            </c:spPr>
          </c:dPt>
          <c:dPt>
            <c:idx val="824"/>
            <c:spPr>
              <a:solidFill>
                <a:srgbClr val="AEABAB"/>
              </a:solidFill>
            </c:spPr>
          </c:dPt>
          <c:dPt>
            <c:idx val="825"/>
            <c:spPr>
              <a:solidFill>
                <a:srgbClr val="AEABAB"/>
              </a:solidFill>
            </c:spPr>
          </c:dPt>
          <c:dPt>
            <c:idx val="826"/>
            <c:spPr>
              <a:solidFill>
                <a:srgbClr val="AEABAB"/>
              </a:solidFill>
            </c:spPr>
          </c:dPt>
          <c:dPt>
            <c:idx val="827"/>
            <c:spPr>
              <a:solidFill>
                <a:srgbClr val="AEABAB"/>
              </a:solidFill>
            </c:spPr>
          </c:dPt>
          <c:dPt>
            <c:idx val="828"/>
            <c:spPr>
              <a:solidFill>
                <a:srgbClr val="AEABAB"/>
              </a:solidFill>
            </c:spPr>
          </c:dPt>
          <c:dPt>
            <c:idx val="829"/>
            <c:spPr>
              <a:solidFill>
                <a:srgbClr val="AEABAB"/>
              </a:solidFill>
            </c:spPr>
          </c:dPt>
          <c:dPt>
            <c:idx val="830"/>
            <c:spPr>
              <a:solidFill>
                <a:srgbClr val="AEABAB"/>
              </a:solidFill>
            </c:spPr>
          </c:dPt>
          <c:dPt>
            <c:idx val="831"/>
            <c:spPr>
              <a:solidFill>
                <a:srgbClr val="AEABAB"/>
              </a:solidFill>
            </c:spPr>
          </c:dPt>
          <c:dPt>
            <c:idx val="832"/>
            <c:spPr>
              <a:solidFill>
                <a:srgbClr val="AEABAB"/>
              </a:solidFill>
            </c:spPr>
          </c:dPt>
          <c:dPt>
            <c:idx val="833"/>
            <c:spPr>
              <a:solidFill>
                <a:srgbClr val="AEABAB"/>
              </a:solidFill>
            </c:spPr>
          </c:dPt>
          <c:dPt>
            <c:idx val="834"/>
            <c:spPr>
              <a:solidFill>
                <a:srgbClr val="AEABAB"/>
              </a:solidFill>
            </c:spPr>
          </c:dPt>
          <c:dPt>
            <c:idx val="835"/>
            <c:spPr>
              <a:solidFill>
                <a:srgbClr val="AEABAB"/>
              </a:solidFill>
            </c:spPr>
          </c:dPt>
          <c:dPt>
            <c:idx val="836"/>
            <c:spPr>
              <a:solidFill>
                <a:srgbClr val="AEABAB"/>
              </a:solidFill>
            </c:spPr>
          </c:dPt>
          <c:dPt>
            <c:idx val="837"/>
            <c:spPr>
              <a:solidFill>
                <a:srgbClr val="AEABAB"/>
              </a:solidFill>
            </c:spPr>
          </c:dPt>
          <c:dPt>
            <c:idx val="838"/>
            <c:spPr>
              <a:solidFill>
                <a:srgbClr val="AEABAB"/>
              </a:solidFill>
            </c:spPr>
          </c:dPt>
          <c:dPt>
            <c:idx val="839"/>
            <c:spPr>
              <a:solidFill>
                <a:srgbClr val="AEABAB"/>
              </a:solidFill>
            </c:spPr>
          </c:dPt>
          <c:dPt>
            <c:idx val="840"/>
            <c:spPr>
              <a:solidFill>
                <a:srgbClr val="AEABAB"/>
              </a:solidFill>
            </c:spPr>
          </c:dPt>
          <c:dPt>
            <c:idx val="841"/>
            <c:spPr>
              <a:solidFill>
                <a:srgbClr val="AEABAB"/>
              </a:solidFill>
            </c:spPr>
          </c:dPt>
          <c:dPt>
            <c:idx val="842"/>
            <c:spPr>
              <a:solidFill>
                <a:srgbClr val="AEABAB"/>
              </a:solidFill>
            </c:spPr>
          </c:dPt>
          <c:dPt>
            <c:idx val="843"/>
            <c:spPr>
              <a:solidFill>
                <a:srgbClr val="AEABAB"/>
              </a:solidFill>
            </c:spPr>
          </c:dPt>
          <c:dPt>
            <c:idx val="844"/>
            <c:spPr>
              <a:solidFill>
                <a:srgbClr val="AEABAB"/>
              </a:solidFill>
            </c:spPr>
          </c:dPt>
          <c:dPt>
            <c:idx val="845"/>
            <c:spPr>
              <a:solidFill>
                <a:srgbClr val="AEABAB"/>
              </a:solidFill>
            </c:spPr>
          </c:dPt>
          <c:dPt>
            <c:idx val="846"/>
            <c:spPr>
              <a:solidFill>
                <a:srgbClr val="AEABAB"/>
              </a:solidFill>
            </c:spPr>
          </c:dPt>
          <c:dPt>
            <c:idx val="847"/>
            <c:spPr>
              <a:solidFill>
                <a:srgbClr val="AEABAB"/>
              </a:solidFill>
            </c:spPr>
          </c:dPt>
          <c:dPt>
            <c:idx val="848"/>
            <c:spPr>
              <a:solidFill>
                <a:srgbClr val="AEABAB"/>
              </a:solidFill>
            </c:spPr>
          </c:dPt>
          <c:dPt>
            <c:idx val="849"/>
            <c:spPr>
              <a:solidFill>
                <a:srgbClr val="AEABAB"/>
              </a:solidFill>
            </c:spPr>
          </c:dPt>
          <c:dPt>
            <c:idx val="850"/>
            <c:spPr>
              <a:solidFill>
                <a:srgbClr val="AEABAB"/>
              </a:solidFill>
            </c:spPr>
          </c:dPt>
          <c:dPt>
            <c:idx val="851"/>
            <c:spPr>
              <a:solidFill>
                <a:srgbClr val="AEABAB"/>
              </a:solidFill>
            </c:spPr>
          </c:dPt>
          <c:dPt>
            <c:idx val="852"/>
            <c:spPr>
              <a:solidFill>
                <a:srgbClr val="AEABAB"/>
              </a:solidFill>
            </c:spPr>
          </c:dPt>
          <c:dPt>
            <c:idx val="853"/>
            <c:spPr>
              <a:solidFill>
                <a:srgbClr val="AEABAB"/>
              </a:solidFill>
            </c:spPr>
          </c:dPt>
          <c:dPt>
            <c:idx val="854"/>
            <c:spPr>
              <a:solidFill>
                <a:srgbClr val="AEABAB"/>
              </a:solidFill>
            </c:spPr>
          </c:dPt>
          <c:dPt>
            <c:idx val="855"/>
            <c:spPr>
              <a:solidFill>
                <a:srgbClr val="AEABAB"/>
              </a:solidFill>
            </c:spPr>
          </c:dPt>
          <c:dPt>
            <c:idx val="856"/>
            <c:spPr>
              <a:solidFill>
                <a:srgbClr val="AEABAB"/>
              </a:solidFill>
            </c:spPr>
          </c:dPt>
          <c:dPt>
            <c:idx val="857"/>
            <c:spPr>
              <a:solidFill>
                <a:srgbClr val="AEABAB"/>
              </a:solidFill>
            </c:spPr>
          </c:dPt>
          <c:dPt>
            <c:idx val="858"/>
            <c:spPr>
              <a:solidFill>
                <a:srgbClr val="AEABAB"/>
              </a:solidFill>
            </c:spPr>
          </c:dPt>
          <c:dPt>
            <c:idx val="859"/>
            <c:spPr>
              <a:solidFill>
                <a:srgbClr val="AEABAB"/>
              </a:solidFill>
            </c:spPr>
          </c:dPt>
          <c:dPt>
            <c:idx val="860"/>
            <c:spPr>
              <a:solidFill>
                <a:srgbClr val="AEABAB"/>
              </a:solidFill>
            </c:spPr>
          </c:dPt>
          <c:dPt>
            <c:idx val="861"/>
            <c:spPr>
              <a:solidFill>
                <a:srgbClr val="AEABAB"/>
              </a:solidFill>
            </c:spPr>
          </c:dPt>
          <c:dPt>
            <c:idx val="862"/>
            <c:spPr>
              <a:solidFill>
                <a:srgbClr val="AEABAB"/>
              </a:solidFill>
            </c:spPr>
          </c:dPt>
          <c:dPt>
            <c:idx val="863"/>
            <c:spPr>
              <a:solidFill>
                <a:srgbClr val="AEABAB"/>
              </a:solidFill>
            </c:spPr>
          </c:dPt>
          <c:dPt>
            <c:idx val="864"/>
            <c:spPr>
              <a:solidFill>
                <a:srgbClr val="AEABAB"/>
              </a:solidFill>
            </c:spPr>
          </c:dPt>
          <c:dPt>
            <c:idx val="865"/>
            <c:spPr>
              <a:solidFill>
                <a:srgbClr val="AEABAB"/>
              </a:solidFill>
            </c:spPr>
          </c:dPt>
          <c:dPt>
            <c:idx val="866"/>
            <c:spPr>
              <a:solidFill>
                <a:srgbClr val="AEABAB"/>
              </a:solidFill>
            </c:spPr>
          </c:dPt>
          <c:dPt>
            <c:idx val="867"/>
            <c:spPr>
              <a:solidFill>
                <a:srgbClr val="AEABAB"/>
              </a:solidFill>
            </c:spPr>
          </c:dPt>
          <c:dPt>
            <c:idx val="868"/>
            <c:spPr>
              <a:solidFill>
                <a:srgbClr val="AEABAB"/>
              </a:solidFill>
            </c:spPr>
          </c:dPt>
          <c:dPt>
            <c:idx val="869"/>
            <c:spPr>
              <a:solidFill>
                <a:srgbClr val="AEABAB"/>
              </a:solidFill>
            </c:spPr>
          </c:dPt>
          <c:dPt>
            <c:idx val="870"/>
            <c:spPr>
              <a:solidFill>
                <a:srgbClr val="AEABAB"/>
              </a:solidFill>
            </c:spPr>
          </c:dPt>
          <c:dPt>
            <c:idx val="871"/>
            <c:spPr>
              <a:solidFill>
                <a:srgbClr val="AEABAB"/>
              </a:solidFill>
            </c:spPr>
          </c:dPt>
          <c:dPt>
            <c:idx val="872"/>
            <c:spPr>
              <a:solidFill>
                <a:srgbClr val="AEABAB"/>
              </a:solidFill>
            </c:spPr>
          </c:dPt>
          <c:dPt>
            <c:idx val="873"/>
            <c:spPr>
              <a:solidFill>
                <a:srgbClr val="AEABAB"/>
              </a:solidFill>
            </c:spPr>
          </c:dPt>
          <c:dPt>
            <c:idx val="874"/>
            <c:spPr>
              <a:solidFill>
                <a:srgbClr val="AEABAB"/>
              </a:solidFill>
            </c:spPr>
          </c:dPt>
          <c:dPt>
            <c:idx val="875"/>
            <c:spPr>
              <a:solidFill>
                <a:srgbClr val="AEABAB"/>
              </a:solidFill>
            </c:spPr>
          </c:dPt>
          <c:dPt>
            <c:idx val="876"/>
            <c:spPr>
              <a:solidFill>
                <a:srgbClr val="AEABAB"/>
              </a:solidFill>
            </c:spPr>
          </c:dPt>
          <c:dPt>
            <c:idx val="877"/>
            <c:spPr>
              <a:solidFill>
                <a:srgbClr val="AEABAB"/>
              </a:solidFill>
            </c:spPr>
          </c:dPt>
          <c:dPt>
            <c:idx val="878"/>
            <c:spPr>
              <a:solidFill>
                <a:srgbClr val="AEABAB"/>
              </a:solidFill>
            </c:spPr>
          </c:dPt>
          <c:dPt>
            <c:idx val="879"/>
            <c:spPr>
              <a:solidFill>
                <a:srgbClr val="AEABAB"/>
              </a:solidFill>
            </c:spPr>
          </c:dPt>
          <c:dPt>
            <c:idx val="880"/>
            <c:spPr>
              <a:solidFill>
                <a:srgbClr val="AEABAB"/>
              </a:solidFill>
            </c:spPr>
          </c:dPt>
          <c:dPt>
            <c:idx val="881"/>
            <c:spPr>
              <a:solidFill>
                <a:srgbClr val="AEABAB"/>
              </a:solidFill>
            </c:spPr>
          </c:dPt>
          <c:dPt>
            <c:idx val="882"/>
            <c:spPr>
              <a:solidFill>
                <a:srgbClr val="AEABAB"/>
              </a:solidFill>
            </c:spPr>
          </c:dPt>
          <c:dPt>
            <c:idx val="883"/>
            <c:spPr>
              <a:solidFill>
                <a:srgbClr val="AEABAB"/>
              </a:solidFill>
            </c:spPr>
          </c:dPt>
          <c:dPt>
            <c:idx val="884"/>
            <c:spPr>
              <a:solidFill>
                <a:srgbClr val="AEABAB"/>
              </a:solidFill>
            </c:spPr>
          </c:dPt>
          <c:dPt>
            <c:idx val="885"/>
            <c:spPr>
              <a:solidFill>
                <a:srgbClr val="AEABAB"/>
              </a:solidFill>
            </c:spPr>
          </c:dPt>
          <c:dPt>
            <c:idx val="886"/>
            <c:spPr>
              <a:solidFill>
                <a:srgbClr val="AEABAB"/>
              </a:solidFill>
            </c:spPr>
          </c:dPt>
          <c:dPt>
            <c:idx val="887"/>
            <c:spPr>
              <a:solidFill>
                <a:srgbClr val="AEABAB"/>
              </a:solidFill>
            </c:spPr>
          </c:dPt>
          <c:dPt>
            <c:idx val="888"/>
            <c:spPr>
              <a:solidFill>
                <a:srgbClr val="AEABAB"/>
              </a:solidFill>
            </c:spPr>
          </c:dPt>
          <c:dPt>
            <c:idx val="889"/>
            <c:spPr>
              <a:solidFill>
                <a:srgbClr val="AEABAB"/>
              </a:solidFill>
            </c:spPr>
          </c:dPt>
          <c:dPt>
            <c:idx val="890"/>
            <c:spPr>
              <a:solidFill>
                <a:srgbClr val="AEABAB"/>
              </a:solidFill>
            </c:spPr>
          </c:dPt>
          <c:dPt>
            <c:idx val="891"/>
            <c:spPr>
              <a:solidFill>
                <a:srgbClr val="AEABAB"/>
              </a:solidFill>
            </c:spPr>
          </c:dPt>
          <c:dPt>
            <c:idx val="892"/>
            <c:spPr>
              <a:solidFill>
                <a:srgbClr val="AEABAB"/>
              </a:solidFill>
            </c:spPr>
          </c:dPt>
          <c:dPt>
            <c:idx val="893"/>
            <c:spPr>
              <a:solidFill>
                <a:srgbClr val="AEABAB"/>
              </a:solidFill>
            </c:spPr>
          </c:dPt>
          <c:dPt>
            <c:idx val="894"/>
            <c:spPr>
              <a:solidFill>
                <a:srgbClr val="AEABAB"/>
              </a:solidFill>
            </c:spPr>
          </c:dPt>
          <c:dPt>
            <c:idx val="895"/>
            <c:spPr>
              <a:solidFill>
                <a:srgbClr val="AEABAB"/>
              </a:solidFill>
            </c:spPr>
          </c:dPt>
          <c:dPt>
            <c:idx val="896"/>
            <c:spPr>
              <a:solidFill>
                <a:srgbClr val="AEABAB"/>
              </a:solidFill>
            </c:spPr>
          </c:dPt>
          <c:dPt>
            <c:idx val="897"/>
            <c:spPr>
              <a:solidFill>
                <a:srgbClr val="AEABAB"/>
              </a:solidFill>
            </c:spPr>
          </c:dPt>
          <c:dPt>
            <c:idx val="898"/>
            <c:spPr>
              <a:solidFill>
                <a:srgbClr val="AEABAB"/>
              </a:solidFill>
            </c:spPr>
          </c:dPt>
          <c:dPt>
            <c:idx val="899"/>
            <c:spPr>
              <a:solidFill>
                <a:srgbClr val="AEABAB"/>
              </a:solidFill>
            </c:spPr>
          </c:dPt>
          <c:dPt>
            <c:idx val="900"/>
            <c:spPr>
              <a:solidFill>
                <a:srgbClr val="AEABAB"/>
              </a:solidFill>
            </c:spPr>
          </c:dPt>
          <c:dPt>
            <c:idx val="901"/>
            <c:spPr>
              <a:solidFill>
                <a:srgbClr val="AEABAB"/>
              </a:solidFill>
            </c:spPr>
          </c:dPt>
          <c:dPt>
            <c:idx val="902"/>
            <c:spPr>
              <a:solidFill>
                <a:srgbClr val="AEABAB"/>
              </a:solidFill>
            </c:spPr>
          </c:dPt>
          <c:dPt>
            <c:idx val="903"/>
            <c:spPr>
              <a:solidFill>
                <a:srgbClr val="AEABAB"/>
              </a:solidFill>
            </c:spPr>
          </c:dPt>
          <c:dPt>
            <c:idx val="904"/>
            <c:spPr>
              <a:solidFill>
                <a:srgbClr val="AEABAB"/>
              </a:solidFill>
            </c:spPr>
          </c:dPt>
          <c:dPt>
            <c:idx val="905"/>
            <c:spPr>
              <a:solidFill>
                <a:srgbClr val="AEABAB"/>
              </a:solidFill>
            </c:spPr>
          </c:dPt>
          <c:dPt>
            <c:idx val="906"/>
            <c:spPr>
              <a:solidFill>
                <a:srgbClr val="AEABAB"/>
              </a:solidFill>
            </c:spPr>
          </c:dPt>
          <c:dPt>
            <c:idx val="907"/>
            <c:spPr>
              <a:solidFill>
                <a:srgbClr val="AEABAB"/>
              </a:solidFill>
            </c:spPr>
          </c:dPt>
          <c:dPt>
            <c:idx val="908"/>
            <c:spPr>
              <a:solidFill>
                <a:srgbClr val="AEABAB"/>
              </a:solidFill>
            </c:spPr>
          </c:dPt>
          <c:dPt>
            <c:idx val="909"/>
            <c:spPr>
              <a:solidFill>
                <a:srgbClr val="AEABAB"/>
              </a:solidFill>
            </c:spPr>
          </c:dPt>
          <c:dPt>
            <c:idx val="910"/>
            <c:spPr>
              <a:solidFill>
                <a:srgbClr val="AEABAB"/>
              </a:solidFill>
            </c:spPr>
          </c:dPt>
          <c:dPt>
            <c:idx val="911"/>
            <c:spPr>
              <a:solidFill>
                <a:srgbClr val="AEABAB"/>
              </a:solidFill>
            </c:spPr>
          </c:dPt>
          <c:dPt>
            <c:idx val="912"/>
            <c:spPr>
              <a:solidFill>
                <a:srgbClr val="AEABAB"/>
              </a:solidFill>
            </c:spPr>
          </c:dPt>
          <c:dPt>
            <c:idx val="913"/>
            <c:spPr>
              <a:solidFill>
                <a:srgbClr val="AEABAB"/>
              </a:solidFill>
            </c:spPr>
          </c:dPt>
          <c:dPt>
            <c:idx val="914"/>
            <c:spPr>
              <a:solidFill>
                <a:srgbClr val="AEABAB"/>
              </a:solidFill>
            </c:spPr>
          </c:dPt>
          <c:dPt>
            <c:idx val="915"/>
            <c:spPr>
              <a:solidFill>
                <a:srgbClr val="AEABAB"/>
              </a:solidFill>
            </c:spPr>
          </c:dPt>
          <c:dPt>
            <c:idx val="916"/>
            <c:spPr>
              <a:solidFill>
                <a:srgbClr val="AEABAB"/>
              </a:solidFill>
            </c:spPr>
          </c:dPt>
          <c:dPt>
            <c:idx val="917"/>
            <c:spPr>
              <a:solidFill>
                <a:srgbClr val="AEABAB"/>
              </a:solidFill>
            </c:spPr>
          </c:dPt>
          <c:dPt>
            <c:idx val="918"/>
            <c:spPr>
              <a:solidFill>
                <a:srgbClr val="AEABAB"/>
              </a:solidFill>
            </c:spPr>
          </c:dPt>
          <c:dPt>
            <c:idx val="919"/>
            <c:spPr>
              <a:solidFill>
                <a:srgbClr val="AEABAB"/>
              </a:solidFill>
            </c:spPr>
          </c:dPt>
          <c:dPt>
            <c:idx val="920"/>
            <c:spPr>
              <a:solidFill>
                <a:srgbClr val="AEABAB"/>
              </a:solidFill>
            </c:spPr>
          </c:dPt>
          <c:dPt>
            <c:idx val="921"/>
            <c:spPr>
              <a:solidFill>
                <a:srgbClr val="AEABAB"/>
              </a:solidFill>
            </c:spPr>
          </c:dPt>
          <c:dPt>
            <c:idx val="922"/>
            <c:spPr>
              <a:solidFill>
                <a:srgbClr val="AEABAB"/>
              </a:solidFill>
            </c:spPr>
          </c:dPt>
          <c:dPt>
            <c:idx val="923"/>
            <c:spPr>
              <a:solidFill>
                <a:srgbClr val="AEABAB"/>
              </a:solidFill>
            </c:spPr>
          </c:dPt>
          <c:dPt>
            <c:idx val="924"/>
            <c:spPr>
              <a:solidFill>
                <a:srgbClr val="AEABAB"/>
              </a:solidFill>
            </c:spPr>
          </c:dPt>
          <c:dPt>
            <c:idx val="925"/>
            <c:spPr>
              <a:solidFill>
                <a:srgbClr val="AEABAB"/>
              </a:solidFill>
            </c:spPr>
          </c:dPt>
          <c:dPt>
            <c:idx val="926"/>
            <c:spPr>
              <a:solidFill>
                <a:srgbClr val="AEABAB"/>
              </a:solidFill>
            </c:spPr>
          </c:dPt>
          <c:dPt>
            <c:idx val="927"/>
            <c:spPr>
              <a:solidFill>
                <a:srgbClr val="AEABAB"/>
              </a:solidFill>
            </c:spPr>
          </c:dPt>
          <c:dPt>
            <c:idx val="928"/>
            <c:spPr>
              <a:solidFill>
                <a:srgbClr val="AEABAB"/>
              </a:solidFill>
            </c:spPr>
          </c:dPt>
          <c:dPt>
            <c:idx val="929"/>
            <c:spPr>
              <a:solidFill>
                <a:srgbClr val="AEABAB"/>
              </a:solidFill>
            </c:spPr>
          </c:dPt>
          <c:dPt>
            <c:idx val="930"/>
            <c:spPr>
              <a:solidFill>
                <a:srgbClr val="AEABAB"/>
              </a:solidFill>
            </c:spPr>
          </c:dPt>
          <c:dPt>
            <c:idx val="931"/>
            <c:spPr>
              <a:solidFill>
                <a:srgbClr val="AEABAB"/>
              </a:solidFill>
            </c:spPr>
          </c:dPt>
          <c:dPt>
            <c:idx val="932"/>
            <c:spPr>
              <a:solidFill>
                <a:srgbClr val="AEABAB"/>
              </a:solidFill>
            </c:spPr>
          </c:dPt>
          <c:dPt>
            <c:idx val="933"/>
            <c:spPr>
              <a:solidFill>
                <a:srgbClr val="AEABAB"/>
              </a:solidFill>
            </c:spPr>
          </c:dPt>
          <c:dPt>
            <c:idx val="934"/>
            <c:spPr>
              <a:solidFill>
                <a:srgbClr val="AEABAB"/>
              </a:solidFill>
            </c:spPr>
          </c:dPt>
          <c:dPt>
            <c:idx val="935"/>
            <c:spPr>
              <a:solidFill>
                <a:srgbClr val="AEABAB"/>
              </a:solidFill>
            </c:spPr>
          </c:dPt>
          <c:dPt>
            <c:idx val="936"/>
            <c:spPr>
              <a:solidFill>
                <a:srgbClr val="AEABAB"/>
              </a:solidFill>
            </c:spPr>
          </c:dPt>
          <c:dPt>
            <c:idx val="937"/>
            <c:spPr>
              <a:solidFill>
                <a:srgbClr val="AEABAB"/>
              </a:solidFill>
            </c:spPr>
          </c:dPt>
          <c:dPt>
            <c:idx val="938"/>
            <c:spPr>
              <a:solidFill>
                <a:srgbClr val="AEABAB"/>
              </a:solidFill>
            </c:spPr>
          </c:dPt>
          <c:dPt>
            <c:idx val="939"/>
            <c:spPr>
              <a:solidFill>
                <a:srgbClr val="AEABAB"/>
              </a:solidFill>
            </c:spPr>
          </c:dPt>
          <c:dPt>
            <c:idx val="940"/>
            <c:spPr>
              <a:solidFill>
                <a:srgbClr val="AEABAB"/>
              </a:solidFill>
            </c:spPr>
          </c:dPt>
          <c:dPt>
            <c:idx val="941"/>
            <c:spPr>
              <a:solidFill>
                <a:srgbClr val="AEABAB"/>
              </a:solidFill>
            </c:spPr>
          </c:dPt>
          <c:dPt>
            <c:idx val="942"/>
            <c:spPr>
              <a:solidFill>
                <a:srgbClr val="AEABAB"/>
              </a:solidFill>
            </c:spPr>
          </c:dPt>
          <c:dPt>
            <c:idx val="943"/>
            <c:spPr>
              <a:solidFill>
                <a:srgbClr val="AEABAB"/>
              </a:solidFill>
            </c:spPr>
          </c:dPt>
          <c:dPt>
            <c:idx val="944"/>
            <c:spPr>
              <a:solidFill>
                <a:srgbClr val="AEABAB"/>
              </a:solidFill>
            </c:spPr>
          </c:dPt>
          <c:dPt>
            <c:idx val="945"/>
            <c:spPr>
              <a:solidFill>
                <a:srgbClr val="AEABAB"/>
              </a:solidFill>
            </c:spPr>
          </c:dPt>
          <c:dPt>
            <c:idx val="946"/>
            <c:spPr>
              <a:solidFill>
                <a:srgbClr val="AEABAB"/>
              </a:solidFill>
            </c:spPr>
          </c:dPt>
          <c:dPt>
            <c:idx val="947"/>
            <c:spPr>
              <a:solidFill>
                <a:srgbClr val="AEABAB"/>
              </a:solidFill>
            </c:spPr>
          </c:dPt>
          <c:dPt>
            <c:idx val="948"/>
            <c:spPr>
              <a:solidFill>
                <a:srgbClr val="AEABAB"/>
              </a:solidFill>
            </c:spPr>
          </c:dPt>
          <c:dPt>
            <c:idx val="949"/>
            <c:spPr>
              <a:solidFill>
                <a:srgbClr val="AEABAB"/>
              </a:solidFill>
            </c:spPr>
          </c:dPt>
          <c:dPt>
            <c:idx val="950"/>
            <c:spPr>
              <a:solidFill>
                <a:srgbClr val="AEABAB"/>
              </a:solidFill>
            </c:spPr>
          </c:dPt>
          <c:dPt>
            <c:idx val="951"/>
            <c:spPr>
              <a:solidFill>
                <a:srgbClr val="AEABAB"/>
              </a:solidFill>
            </c:spPr>
          </c:dPt>
          <c:dPt>
            <c:idx val="952"/>
            <c:spPr>
              <a:solidFill>
                <a:srgbClr val="AEABAB"/>
              </a:solidFill>
            </c:spPr>
          </c:dPt>
          <c:dPt>
            <c:idx val="953"/>
            <c:spPr>
              <a:solidFill>
                <a:srgbClr val="AEABAB"/>
              </a:solidFill>
            </c:spPr>
          </c:dPt>
          <c:dPt>
            <c:idx val="954"/>
            <c:spPr>
              <a:solidFill>
                <a:srgbClr val="AEABAB"/>
              </a:solidFill>
            </c:spPr>
          </c:dPt>
          <c:dPt>
            <c:idx val="955"/>
            <c:spPr>
              <a:solidFill>
                <a:srgbClr val="AEABAB"/>
              </a:solidFill>
            </c:spPr>
          </c:dPt>
          <c:dPt>
            <c:idx val="956"/>
            <c:spPr>
              <a:solidFill>
                <a:srgbClr val="AEABAB"/>
              </a:solidFill>
            </c:spPr>
          </c:dPt>
          <c:dPt>
            <c:idx val="957"/>
            <c:spPr>
              <a:solidFill>
                <a:srgbClr val="AEABAB"/>
              </a:solidFill>
            </c:spPr>
          </c:dPt>
          <c:dPt>
            <c:idx val="958"/>
            <c:spPr>
              <a:solidFill>
                <a:srgbClr val="AEABAB"/>
              </a:solidFill>
            </c:spPr>
          </c:dPt>
          <c:dPt>
            <c:idx val="959"/>
            <c:spPr>
              <a:solidFill>
                <a:srgbClr val="AEABAB"/>
              </a:solidFill>
            </c:spPr>
          </c:dPt>
          <c:dPt>
            <c:idx val="960"/>
            <c:spPr>
              <a:solidFill>
                <a:srgbClr val="AEABAB"/>
              </a:solidFill>
            </c:spPr>
          </c:dPt>
          <c:dPt>
            <c:idx val="961"/>
            <c:spPr>
              <a:solidFill>
                <a:srgbClr val="AEABAB"/>
              </a:solidFill>
            </c:spPr>
          </c:dPt>
          <c:dPt>
            <c:idx val="962"/>
            <c:spPr>
              <a:solidFill>
                <a:srgbClr val="AEABAB"/>
              </a:solidFill>
            </c:spPr>
          </c:dPt>
          <c:dPt>
            <c:idx val="963"/>
            <c:spPr>
              <a:solidFill>
                <a:srgbClr val="AEABAB"/>
              </a:solidFill>
            </c:spPr>
          </c:dPt>
          <c:dPt>
            <c:idx val="964"/>
            <c:spPr>
              <a:solidFill>
                <a:srgbClr val="AEABAB"/>
              </a:solidFill>
            </c:spPr>
          </c:dPt>
          <c:dPt>
            <c:idx val="965"/>
            <c:spPr>
              <a:solidFill>
                <a:srgbClr val="AEABAB"/>
              </a:solidFill>
            </c:spPr>
          </c:dPt>
          <c:dPt>
            <c:idx val="966"/>
            <c:spPr>
              <a:solidFill>
                <a:srgbClr val="AEABAB"/>
              </a:solidFill>
            </c:spPr>
          </c:dPt>
          <c:dPt>
            <c:idx val="967"/>
            <c:spPr>
              <a:solidFill>
                <a:srgbClr val="AEABAB"/>
              </a:solidFill>
            </c:spPr>
          </c:dPt>
          <c:dPt>
            <c:idx val="968"/>
            <c:spPr>
              <a:solidFill>
                <a:srgbClr val="AEABAB"/>
              </a:solidFill>
            </c:spPr>
          </c:dPt>
          <c:dPt>
            <c:idx val="969"/>
            <c:spPr>
              <a:solidFill>
                <a:srgbClr val="AEABAB"/>
              </a:solidFill>
            </c:spPr>
          </c:dPt>
          <c:dPt>
            <c:idx val="970"/>
            <c:spPr>
              <a:solidFill>
                <a:srgbClr val="AEABAB"/>
              </a:solidFill>
            </c:spPr>
          </c:dPt>
          <c:dPt>
            <c:idx val="971"/>
            <c:spPr>
              <a:solidFill>
                <a:srgbClr val="AEABAB"/>
              </a:solidFill>
            </c:spPr>
          </c:dPt>
          <c:dPt>
            <c:idx val="972"/>
            <c:spPr>
              <a:solidFill>
                <a:srgbClr val="AEABAB"/>
              </a:solidFill>
            </c:spPr>
          </c:dPt>
          <c:dPt>
            <c:idx val="973"/>
            <c:spPr>
              <a:solidFill>
                <a:srgbClr val="AEABAB"/>
              </a:solidFill>
            </c:spPr>
          </c:dPt>
          <c:dPt>
            <c:idx val="974"/>
            <c:spPr>
              <a:solidFill>
                <a:srgbClr val="AEABAB"/>
              </a:solidFill>
            </c:spPr>
          </c:dPt>
          <c:dPt>
            <c:idx val="975"/>
            <c:spPr>
              <a:solidFill>
                <a:srgbClr val="AEABAB"/>
              </a:solidFill>
            </c:spPr>
          </c:dPt>
          <c:dPt>
            <c:idx val="976"/>
            <c:spPr>
              <a:solidFill>
                <a:srgbClr val="AEABAB"/>
              </a:solidFill>
            </c:spPr>
          </c:dPt>
          <c:dPt>
            <c:idx val="977"/>
            <c:spPr>
              <a:solidFill>
                <a:srgbClr val="AEABAB"/>
              </a:solidFill>
            </c:spPr>
          </c:dPt>
          <c:dPt>
            <c:idx val="978"/>
            <c:spPr>
              <a:solidFill>
                <a:srgbClr val="AEABAB"/>
              </a:solidFill>
            </c:spPr>
          </c:dPt>
          <c:dPt>
            <c:idx val="979"/>
            <c:spPr>
              <a:solidFill>
                <a:srgbClr val="AEABAB"/>
              </a:solidFill>
            </c:spPr>
          </c:dPt>
          <c:dPt>
            <c:idx val="980"/>
            <c:spPr>
              <a:solidFill>
                <a:srgbClr val="AEABAB"/>
              </a:solidFill>
            </c:spPr>
          </c:dPt>
          <c:dPt>
            <c:idx val="981"/>
            <c:spPr>
              <a:solidFill>
                <a:srgbClr val="AEABAB"/>
              </a:solidFill>
            </c:spPr>
          </c:dPt>
          <c:dPt>
            <c:idx val="982"/>
            <c:spPr>
              <a:solidFill>
                <a:srgbClr val="AEABAB"/>
              </a:solidFill>
            </c:spPr>
          </c:dPt>
          <c:dPt>
            <c:idx val="983"/>
            <c:spPr>
              <a:solidFill>
                <a:srgbClr val="AEABAB"/>
              </a:solidFill>
            </c:spPr>
          </c:dPt>
          <c:dPt>
            <c:idx val="984"/>
            <c:spPr>
              <a:solidFill>
                <a:srgbClr val="AEABAB"/>
              </a:solidFill>
            </c:spPr>
          </c:dPt>
          <c:dPt>
            <c:idx val="985"/>
            <c:spPr>
              <a:solidFill>
                <a:srgbClr val="AEABAB"/>
              </a:solidFill>
            </c:spPr>
          </c:dPt>
          <c:dPt>
            <c:idx val="986"/>
            <c:spPr>
              <a:solidFill>
                <a:srgbClr val="AEABAB"/>
              </a:solidFill>
            </c:spPr>
          </c:dPt>
          <c:dPt>
            <c:idx val="987"/>
            <c:spPr>
              <a:solidFill>
                <a:srgbClr val="AEABAB"/>
              </a:solidFill>
            </c:spPr>
          </c:dPt>
          <c:dPt>
            <c:idx val="988"/>
            <c:spPr>
              <a:solidFill>
                <a:srgbClr val="AEABAB"/>
              </a:solidFill>
            </c:spPr>
          </c:dPt>
          <c:dPt>
            <c:idx val="989"/>
            <c:spPr>
              <a:solidFill>
                <a:srgbClr val="AEABAB"/>
              </a:solidFill>
            </c:spPr>
          </c:dPt>
          <c:dPt>
            <c:idx val="990"/>
            <c:spPr>
              <a:solidFill>
                <a:srgbClr val="AEABAB"/>
              </a:solidFill>
            </c:spPr>
          </c:dPt>
          <c:dPt>
            <c:idx val="991"/>
            <c:spPr>
              <a:solidFill>
                <a:srgbClr val="AEABAB"/>
              </a:solidFill>
            </c:spPr>
          </c:dPt>
          <c:dPt>
            <c:idx val="992"/>
            <c:spPr>
              <a:solidFill>
                <a:srgbClr val="AEABAB"/>
              </a:solidFill>
            </c:spPr>
          </c:dPt>
          <c:dPt>
            <c:idx val="993"/>
            <c:spPr>
              <a:solidFill>
                <a:srgbClr val="AEABAB"/>
              </a:solidFill>
            </c:spPr>
          </c:dPt>
          <c:dPt>
            <c:idx val="994"/>
            <c:spPr>
              <a:solidFill>
                <a:srgbClr val="AEABAB"/>
              </a:solidFill>
            </c:spPr>
          </c:dPt>
          <c:dPt>
            <c:idx val="995"/>
            <c:spPr>
              <a:solidFill>
                <a:srgbClr val="AEABAB"/>
              </a:solidFill>
            </c:spPr>
          </c:dPt>
          <c:dPt>
            <c:idx val="996"/>
            <c:spPr>
              <a:solidFill>
                <a:srgbClr val="AEABAB"/>
              </a:solidFill>
            </c:spPr>
          </c:dPt>
          <c:dPt>
            <c:idx val="997"/>
            <c:spPr>
              <a:solidFill>
                <a:srgbClr val="AEABAB"/>
              </a:solidFill>
            </c:spPr>
          </c:dPt>
          <c:dPt>
            <c:idx val="998"/>
            <c:spPr>
              <a:solidFill>
                <a:srgbClr val="AEABAB"/>
              </a:solidFill>
            </c:spPr>
          </c:dPt>
          <c:dPt>
            <c:idx val="999"/>
            <c:spPr>
              <a:solidFill>
                <a:srgbClr val="AEABAB"/>
              </a:solidFill>
            </c:spPr>
          </c:dPt>
          <c:dPt>
            <c:idx val="1000"/>
            <c:spPr>
              <a:solidFill>
                <a:srgbClr val="AEABAB"/>
              </a:solidFill>
            </c:spPr>
          </c:dPt>
          <c:dPt>
            <c:idx val="1001"/>
            <c:spPr>
              <a:solidFill>
                <a:srgbClr val="AEABAB"/>
              </a:solidFill>
            </c:spPr>
          </c:dPt>
          <c:dPt>
            <c:idx val="1002"/>
            <c:spPr>
              <a:solidFill>
                <a:srgbClr val="AEABAB"/>
              </a:solidFill>
            </c:spPr>
          </c:dPt>
          <c:dPt>
            <c:idx val="1003"/>
            <c:spPr>
              <a:solidFill>
                <a:srgbClr val="AEABAB"/>
              </a:solidFill>
            </c:spPr>
          </c:dPt>
          <c:dPt>
            <c:idx val="1004"/>
            <c:spPr>
              <a:solidFill>
                <a:srgbClr val="AEABAB"/>
              </a:solidFill>
            </c:spPr>
          </c:dPt>
          <c:dPt>
            <c:idx val="1005"/>
            <c:spPr>
              <a:solidFill>
                <a:srgbClr val="AEABAB"/>
              </a:solidFill>
            </c:spPr>
          </c:dPt>
          <c:dPt>
            <c:idx val="1006"/>
            <c:spPr>
              <a:solidFill>
                <a:srgbClr val="AEABAB"/>
              </a:solidFill>
            </c:spPr>
          </c:dPt>
          <c:dPt>
            <c:idx val="1007"/>
            <c:spPr>
              <a:solidFill>
                <a:srgbClr val="AEABAB"/>
              </a:solidFill>
            </c:spPr>
          </c:dPt>
          <c:dPt>
            <c:idx val="1008"/>
            <c:spPr>
              <a:solidFill>
                <a:srgbClr val="AEABAB"/>
              </a:solidFill>
            </c:spPr>
          </c:dPt>
          <c:dPt>
            <c:idx val="1009"/>
            <c:spPr>
              <a:solidFill>
                <a:srgbClr val="AEABAB"/>
              </a:solidFill>
            </c:spPr>
          </c:dPt>
          <c:dPt>
            <c:idx val="1010"/>
            <c:spPr>
              <a:solidFill>
                <a:srgbClr val="AEABAB"/>
              </a:solidFill>
            </c:spPr>
          </c:dPt>
          <c:dPt>
            <c:idx val="1011"/>
            <c:spPr>
              <a:solidFill>
                <a:srgbClr val="AEABAB"/>
              </a:solidFill>
            </c:spPr>
          </c:dPt>
          <c:dPt>
            <c:idx val="1012"/>
            <c:spPr>
              <a:solidFill>
                <a:srgbClr val="AEABAB"/>
              </a:solidFill>
            </c:spPr>
          </c:dPt>
          <c:dPt>
            <c:idx val="1013"/>
            <c:spPr>
              <a:solidFill>
                <a:srgbClr val="AEABAB"/>
              </a:solidFill>
            </c:spPr>
          </c:dPt>
          <c:dPt>
            <c:idx val="1014"/>
            <c:spPr>
              <a:solidFill>
                <a:srgbClr val="AEABAB"/>
              </a:solidFill>
            </c:spPr>
          </c:dPt>
          <c:dPt>
            <c:idx val="1015"/>
            <c:spPr>
              <a:solidFill>
                <a:srgbClr val="AEABAB"/>
              </a:solidFill>
            </c:spPr>
          </c:dPt>
          <c:dPt>
            <c:idx val="1016"/>
            <c:spPr>
              <a:solidFill>
                <a:srgbClr val="AEABAB"/>
              </a:solidFill>
            </c:spPr>
          </c:dPt>
          <c:dPt>
            <c:idx val="1017"/>
            <c:spPr>
              <a:solidFill>
                <a:srgbClr val="AEABAB"/>
              </a:solidFill>
            </c:spPr>
          </c:dPt>
          <c:dPt>
            <c:idx val="1018"/>
            <c:spPr>
              <a:solidFill>
                <a:srgbClr val="AEABAB"/>
              </a:solidFill>
            </c:spPr>
          </c:dPt>
          <c:dPt>
            <c:idx val="1019"/>
            <c:spPr>
              <a:solidFill>
                <a:srgbClr val="AEABAB"/>
              </a:solidFill>
            </c:spPr>
          </c:dPt>
          <c:dPt>
            <c:idx val="1020"/>
            <c:spPr>
              <a:solidFill>
                <a:srgbClr val="AEABAB"/>
              </a:solidFill>
            </c:spPr>
          </c:dPt>
          <c:dPt>
            <c:idx val="1021"/>
            <c:spPr>
              <a:solidFill>
                <a:srgbClr val="AEABAB"/>
              </a:solidFill>
            </c:spPr>
          </c:dPt>
          <c:dPt>
            <c:idx val="1022"/>
            <c:spPr>
              <a:solidFill>
                <a:srgbClr val="AEABAB"/>
              </a:solidFill>
            </c:spPr>
          </c:dPt>
          <c:dPt>
            <c:idx val="1023"/>
            <c:spPr>
              <a:solidFill>
                <a:srgbClr val="AEABAB"/>
              </a:solidFill>
            </c:spPr>
          </c:dPt>
          <c:dPt>
            <c:idx val="1024"/>
            <c:spPr>
              <a:solidFill>
                <a:srgbClr val="AEABAB"/>
              </a:solidFill>
            </c:spPr>
          </c:dPt>
          <c:dPt>
            <c:idx val="1025"/>
            <c:spPr>
              <a:solidFill>
                <a:srgbClr val="AEABAB"/>
              </a:solidFill>
            </c:spPr>
          </c:dPt>
          <c:dPt>
            <c:idx val="1026"/>
            <c:spPr>
              <a:solidFill>
                <a:srgbClr val="AEABAB"/>
              </a:solidFill>
            </c:spPr>
          </c:dPt>
          <c:dPt>
            <c:idx val="1027"/>
            <c:spPr>
              <a:solidFill>
                <a:srgbClr val="AEABAB"/>
              </a:solidFill>
            </c:spPr>
          </c:dPt>
          <c:dPt>
            <c:idx val="1028"/>
            <c:spPr>
              <a:solidFill>
                <a:srgbClr val="AEABAB"/>
              </a:solidFill>
            </c:spPr>
          </c:dPt>
          <c:dPt>
            <c:idx val="1029"/>
            <c:spPr>
              <a:solidFill>
                <a:srgbClr val="AEABAB"/>
              </a:solidFill>
            </c:spPr>
          </c:dPt>
          <c:dPt>
            <c:idx val="1030"/>
            <c:spPr>
              <a:solidFill>
                <a:srgbClr val="AEABAB"/>
              </a:solidFill>
            </c:spPr>
          </c:dPt>
          <c:dPt>
            <c:idx val="1031"/>
            <c:spPr>
              <a:solidFill>
                <a:srgbClr val="AEABAB"/>
              </a:solidFill>
            </c:spPr>
          </c:dPt>
          <c:dPt>
            <c:idx val="1032"/>
            <c:spPr>
              <a:solidFill>
                <a:srgbClr val="AEABAB"/>
              </a:solidFill>
            </c:spPr>
          </c:dPt>
          <c:dPt>
            <c:idx val="1033"/>
            <c:spPr>
              <a:solidFill>
                <a:srgbClr val="AEABAB"/>
              </a:solidFill>
            </c:spPr>
          </c:dPt>
          <c:dPt>
            <c:idx val="1034"/>
            <c:spPr>
              <a:solidFill>
                <a:srgbClr val="AEABAB"/>
              </a:solidFill>
            </c:spPr>
          </c:dPt>
          <c:dPt>
            <c:idx val="1035"/>
            <c:spPr>
              <a:solidFill>
                <a:srgbClr val="AEABAB"/>
              </a:solidFill>
            </c:spPr>
          </c:dPt>
          <c:dPt>
            <c:idx val="1036"/>
            <c:spPr>
              <a:solidFill>
                <a:srgbClr val="AEABAB"/>
              </a:solidFill>
            </c:spPr>
          </c:dPt>
          <c:dPt>
            <c:idx val="1037"/>
            <c:spPr>
              <a:solidFill>
                <a:srgbClr val="AEABAB"/>
              </a:solidFill>
            </c:spPr>
          </c:dPt>
          <c:dPt>
            <c:idx val="1038"/>
            <c:spPr>
              <a:solidFill>
                <a:srgbClr val="AEABAB"/>
              </a:solidFill>
            </c:spPr>
          </c:dPt>
          <c:dPt>
            <c:idx val="1039"/>
            <c:spPr>
              <a:solidFill>
                <a:srgbClr val="AEABAB"/>
              </a:solidFill>
            </c:spPr>
          </c:dPt>
          <c:dPt>
            <c:idx val="1040"/>
            <c:spPr>
              <a:solidFill>
                <a:srgbClr val="AEABAB"/>
              </a:solidFill>
            </c:spPr>
          </c:dPt>
          <c:dPt>
            <c:idx val="1041"/>
            <c:spPr>
              <a:solidFill>
                <a:srgbClr val="AEABAB"/>
              </a:solidFill>
            </c:spPr>
          </c:dPt>
          <c:dPt>
            <c:idx val="1042"/>
            <c:spPr>
              <a:solidFill>
                <a:srgbClr val="AEABAB"/>
              </a:solidFill>
            </c:spPr>
          </c:dPt>
          <c:dPt>
            <c:idx val="1043"/>
            <c:spPr>
              <a:solidFill>
                <a:srgbClr val="AEABAB"/>
              </a:solidFill>
            </c:spPr>
          </c:dPt>
          <c:dPt>
            <c:idx val="1044"/>
            <c:spPr>
              <a:solidFill>
                <a:srgbClr val="AEABAB"/>
              </a:solidFill>
            </c:spPr>
          </c:dPt>
          <c:dPt>
            <c:idx val="1045"/>
            <c:spPr>
              <a:solidFill>
                <a:srgbClr val="AEABAB"/>
              </a:solidFill>
            </c:spPr>
          </c:dPt>
          <c:dPt>
            <c:idx val="1046"/>
            <c:spPr>
              <a:solidFill>
                <a:srgbClr val="AEABAB"/>
              </a:solidFill>
            </c:spPr>
          </c:dPt>
          <c:dPt>
            <c:idx val="1047"/>
            <c:spPr>
              <a:solidFill>
                <a:srgbClr val="AEABAB"/>
              </a:solidFill>
            </c:spPr>
          </c:dPt>
          <c:dPt>
            <c:idx val="1048"/>
            <c:spPr>
              <a:solidFill>
                <a:srgbClr val="AEABAB"/>
              </a:solidFill>
            </c:spPr>
          </c:dPt>
          <c:dPt>
            <c:idx val="1049"/>
            <c:spPr>
              <a:solidFill>
                <a:srgbClr val="AEABAB"/>
              </a:solidFill>
            </c:spPr>
          </c:dPt>
          <c:dPt>
            <c:idx val="1050"/>
            <c:spPr>
              <a:solidFill>
                <a:srgbClr val="AEABAB"/>
              </a:solidFill>
            </c:spPr>
          </c:dPt>
          <c:dPt>
            <c:idx val="1051"/>
            <c:spPr>
              <a:solidFill>
                <a:srgbClr val="AEABAB"/>
              </a:solidFill>
            </c:spPr>
          </c:dPt>
          <c:dPt>
            <c:idx val="1052"/>
            <c:spPr>
              <a:solidFill>
                <a:srgbClr val="AEABAB"/>
              </a:solidFill>
            </c:spPr>
          </c:dPt>
          <c:dPt>
            <c:idx val="1053"/>
            <c:spPr>
              <a:solidFill>
                <a:srgbClr val="AEABAB"/>
              </a:solidFill>
            </c:spPr>
          </c:dPt>
          <c:dPt>
            <c:idx val="1054"/>
            <c:spPr>
              <a:solidFill>
                <a:srgbClr val="AEABAB"/>
              </a:solidFill>
            </c:spPr>
          </c:dPt>
          <c:dPt>
            <c:idx val="1055"/>
            <c:spPr>
              <a:solidFill>
                <a:srgbClr val="AEABAB"/>
              </a:solidFill>
            </c:spPr>
          </c:dPt>
          <c:dPt>
            <c:idx val="1056"/>
            <c:spPr>
              <a:solidFill>
                <a:srgbClr val="AEABAB"/>
              </a:solidFill>
            </c:spPr>
          </c:dPt>
          <c:dPt>
            <c:idx val="1057"/>
            <c:spPr>
              <a:solidFill>
                <a:srgbClr val="AEABAB"/>
              </a:solidFill>
            </c:spPr>
          </c:dPt>
          <c:dPt>
            <c:idx val="1058"/>
            <c:spPr>
              <a:solidFill>
                <a:srgbClr val="AEABAB"/>
              </a:solidFill>
            </c:spPr>
          </c:dPt>
          <c:dPt>
            <c:idx val="1059"/>
            <c:spPr>
              <a:solidFill>
                <a:srgbClr val="AEABAB"/>
              </a:solidFill>
            </c:spPr>
          </c:dPt>
          <c:dPt>
            <c:idx val="1060"/>
            <c:spPr>
              <a:solidFill>
                <a:srgbClr val="AEABAB"/>
              </a:solidFill>
            </c:spPr>
          </c:dPt>
          <c:dPt>
            <c:idx val="1061"/>
            <c:spPr>
              <a:solidFill>
                <a:srgbClr val="AEABAB"/>
              </a:solidFill>
            </c:spPr>
          </c:dPt>
          <c:dPt>
            <c:idx val="1062"/>
            <c:spPr>
              <a:solidFill>
                <a:srgbClr val="AEABAB"/>
              </a:solidFill>
            </c:spPr>
          </c:dPt>
          <c:dPt>
            <c:idx val="1063"/>
            <c:spPr>
              <a:solidFill>
                <a:srgbClr val="AEABAB"/>
              </a:solidFill>
            </c:spPr>
          </c:dPt>
          <c:dPt>
            <c:idx val="1064"/>
            <c:spPr>
              <a:solidFill>
                <a:srgbClr val="AEABAB"/>
              </a:solidFill>
            </c:spPr>
          </c:dPt>
          <c:dPt>
            <c:idx val="1065"/>
            <c:spPr>
              <a:solidFill>
                <a:srgbClr val="AEABAB"/>
              </a:solidFill>
            </c:spPr>
          </c:dPt>
          <c:dPt>
            <c:idx val="1066"/>
            <c:spPr>
              <a:solidFill>
                <a:srgbClr val="AEABAB"/>
              </a:solidFill>
            </c:spPr>
          </c:dPt>
          <c:dPt>
            <c:idx val="1067"/>
            <c:spPr>
              <a:solidFill>
                <a:srgbClr val="AEABAB"/>
              </a:solidFill>
            </c:spPr>
          </c:dPt>
          <c:dPt>
            <c:idx val="1068"/>
            <c:spPr>
              <a:solidFill>
                <a:srgbClr val="AEABAB"/>
              </a:solidFill>
            </c:spPr>
          </c:dPt>
          <c:dPt>
            <c:idx val="1069"/>
            <c:spPr>
              <a:solidFill>
                <a:srgbClr val="AEABAB"/>
              </a:solidFill>
            </c:spPr>
          </c:dPt>
          <c:dPt>
            <c:idx val="1070"/>
            <c:spPr>
              <a:solidFill>
                <a:srgbClr val="AEABAB"/>
              </a:solidFill>
            </c:spPr>
          </c:dPt>
          <c:dPt>
            <c:idx val="1071"/>
            <c:spPr>
              <a:solidFill>
                <a:srgbClr val="AEABAB"/>
              </a:solidFill>
            </c:spPr>
          </c:dPt>
          <c:dPt>
            <c:idx val="1072"/>
            <c:spPr>
              <a:solidFill>
                <a:srgbClr val="AEABAB"/>
              </a:solidFill>
            </c:spPr>
          </c:dPt>
          <c:dPt>
            <c:idx val="1073"/>
            <c:spPr>
              <a:solidFill>
                <a:srgbClr val="AEABAB"/>
              </a:solidFill>
            </c:spPr>
          </c:dPt>
          <c:dPt>
            <c:idx val="1074"/>
            <c:spPr>
              <a:solidFill>
                <a:srgbClr val="AEABAB"/>
              </a:solidFill>
            </c:spPr>
          </c:dPt>
          <c:dPt>
            <c:idx val="1075"/>
            <c:spPr>
              <a:solidFill>
                <a:srgbClr val="AEABAB"/>
              </a:solidFill>
            </c:spPr>
          </c:dPt>
          <c:dPt>
            <c:idx val="1076"/>
            <c:spPr>
              <a:solidFill>
                <a:srgbClr val="AEABAB"/>
              </a:solidFill>
            </c:spPr>
          </c:dPt>
          <c:dPt>
            <c:idx val="1077"/>
            <c:spPr>
              <a:solidFill>
                <a:srgbClr val="AEABAB"/>
              </a:solidFill>
            </c:spPr>
          </c:dPt>
          <c:dPt>
            <c:idx val="1078"/>
            <c:spPr>
              <a:solidFill>
                <a:srgbClr val="AEABAB"/>
              </a:solidFill>
            </c:spPr>
          </c:dPt>
          <c:dPt>
            <c:idx val="1079"/>
            <c:spPr>
              <a:solidFill>
                <a:srgbClr val="AEABAB"/>
              </a:solidFill>
            </c:spPr>
          </c:dPt>
          <c:dPt>
            <c:idx val="1080"/>
            <c:spPr>
              <a:solidFill>
                <a:srgbClr val="AEABAB"/>
              </a:solidFill>
            </c:spPr>
          </c:dPt>
          <c:dPt>
            <c:idx val="1081"/>
            <c:spPr>
              <a:solidFill>
                <a:srgbClr val="AEABAB"/>
              </a:solidFill>
            </c:spPr>
          </c:dPt>
          <c:dPt>
            <c:idx val="1082"/>
            <c:spPr>
              <a:solidFill>
                <a:srgbClr val="AEABAB"/>
              </a:solidFill>
            </c:spPr>
          </c:dPt>
          <c:dPt>
            <c:idx val="1083"/>
            <c:spPr>
              <a:solidFill>
                <a:srgbClr val="AEABAB"/>
              </a:solidFill>
            </c:spPr>
          </c:dPt>
          <c:dPt>
            <c:idx val="1084"/>
            <c:spPr>
              <a:solidFill>
                <a:srgbClr val="AEABAB"/>
              </a:solidFill>
            </c:spPr>
          </c:dPt>
          <c:dPt>
            <c:idx val="1085"/>
            <c:spPr>
              <a:solidFill>
                <a:srgbClr val="AEABAB"/>
              </a:solidFill>
            </c:spPr>
          </c:dPt>
          <c:dPt>
            <c:idx val="1086"/>
            <c:spPr>
              <a:solidFill>
                <a:srgbClr val="AEABAB"/>
              </a:solidFill>
            </c:spPr>
          </c:dPt>
          <c:dPt>
            <c:idx val="1087"/>
            <c:spPr>
              <a:solidFill>
                <a:srgbClr val="AEABAB"/>
              </a:solidFill>
            </c:spPr>
          </c:dPt>
          <c:dPt>
            <c:idx val="1088"/>
            <c:spPr>
              <a:solidFill>
                <a:srgbClr val="AEABAB"/>
              </a:solidFill>
            </c:spPr>
          </c:dPt>
          <c:dPt>
            <c:idx val="1089"/>
            <c:spPr>
              <a:solidFill>
                <a:srgbClr val="AEABAB"/>
              </a:solidFill>
            </c:spPr>
          </c:dPt>
          <c:dPt>
            <c:idx val="1090"/>
            <c:spPr>
              <a:solidFill>
                <a:srgbClr val="AEABAB"/>
              </a:solidFill>
            </c:spPr>
          </c:dPt>
          <c:dPt>
            <c:idx val="1091"/>
            <c:spPr>
              <a:solidFill>
                <a:srgbClr val="AEABAB"/>
              </a:solidFill>
            </c:spPr>
          </c:dPt>
          <c:dPt>
            <c:idx val="1092"/>
            <c:spPr>
              <a:solidFill>
                <a:srgbClr val="AEABAB"/>
              </a:solidFill>
            </c:spPr>
          </c:dPt>
          <c:dPt>
            <c:idx val="1093"/>
            <c:spPr>
              <a:solidFill>
                <a:srgbClr val="AEABAB"/>
              </a:solidFill>
            </c:spPr>
          </c:dPt>
          <c:dPt>
            <c:idx val="1094"/>
            <c:spPr>
              <a:solidFill>
                <a:srgbClr val="AEABAB"/>
              </a:solidFill>
            </c:spPr>
          </c:dPt>
          <c:dPt>
            <c:idx val="1095"/>
            <c:spPr>
              <a:solidFill>
                <a:srgbClr val="AEABAB"/>
              </a:solidFill>
            </c:spPr>
          </c:dPt>
          <c:dPt>
            <c:idx val="1096"/>
            <c:spPr>
              <a:solidFill>
                <a:srgbClr val="AEABAB"/>
              </a:solidFill>
            </c:spPr>
          </c:dPt>
          <c:dPt>
            <c:idx val="1097"/>
            <c:spPr>
              <a:solidFill>
                <a:srgbClr val="AEABAB"/>
              </a:solidFill>
            </c:spPr>
          </c:dPt>
          <c:dPt>
            <c:idx val="1098"/>
            <c:spPr>
              <a:solidFill>
                <a:srgbClr val="AEABAB"/>
              </a:solidFill>
            </c:spPr>
          </c:dPt>
          <c:dPt>
            <c:idx val="1099"/>
            <c:spPr>
              <a:solidFill>
                <a:srgbClr val="AEABAB"/>
              </a:solidFill>
            </c:spPr>
          </c:dPt>
          <c:dPt>
            <c:idx val="1100"/>
            <c:spPr>
              <a:solidFill>
                <a:srgbClr val="AEABAB"/>
              </a:solidFill>
            </c:spPr>
          </c:dPt>
          <c:dPt>
            <c:idx val="1101"/>
            <c:spPr>
              <a:solidFill>
                <a:srgbClr val="AEABAB"/>
              </a:solidFill>
            </c:spPr>
          </c:dPt>
          <c:dPt>
            <c:idx val="1102"/>
            <c:spPr>
              <a:solidFill>
                <a:srgbClr val="AEABAB"/>
              </a:solidFill>
            </c:spPr>
          </c:dPt>
          <c:dPt>
            <c:idx val="1103"/>
            <c:spPr>
              <a:solidFill>
                <a:srgbClr val="AEABAB"/>
              </a:solidFill>
            </c:spPr>
          </c:dPt>
          <c:dPt>
            <c:idx val="1104"/>
            <c:spPr>
              <a:solidFill>
                <a:srgbClr val="AEABAB"/>
              </a:solidFill>
            </c:spPr>
          </c:dPt>
          <c:dPt>
            <c:idx val="1105"/>
            <c:spPr>
              <a:solidFill>
                <a:srgbClr val="AEABAB"/>
              </a:solidFill>
            </c:spPr>
          </c:dPt>
          <c:dPt>
            <c:idx val="1106"/>
            <c:spPr>
              <a:solidFill>
                <a:srgbClr val="AEABAB"/>
              </a:solidFill>
            </c:spPr>
          </c:dPt>
          <c:dPt>
            <c:idx val="1107"/>
            <c:spPr>
              <a:solidFill>
                <a:srgbClr val="AEABAB"/>
              </a:solidFill>
            </c:spPr>
          </c:dPt>
          <c:dPt>
            <c:idx val="1108"/>
            <c:spPr>
              <a:solidFill>
                <a:srgbClr val="AEABAB"/>
              </a:solidFill>
            </c:spPr>
          </c:dPt>
          <c:dPt>
            <c:idx val="1109"/>
            <c:spPr>
              <a:solidFill>
                <a:srgbClr val="AEABAB"/>
              </a:solidFill>
            </c:spPr>
          </c:dPt>
          <c:dPt>
            <c:idx val="1110"/>
            <c:spPr>
              <a:solidFill>
                <a:srgbClr val="AEABAB"/>
              </a:solidFill>
            </c:spPr>
          </c:dPt>
          <c:dPt>
            <c:idx val="1111"/>
            <c:spPr>
              <a:solidFill>
                <a:srgbClr val="AEABAB"/>
              </a:solidFill>
            </c:spPr>
          </c:dPt>
          <c:dPt>
            <c:idx val="1112"/>
            <c:spPr>
              <a:solidFill>
                <a:srgbClr val="AEABAB"/>
              </a:solidFill>
            </c:spPr>
          </c:dPt>
          <c:dPt>
            <c:idx val="1113"/>
            <c:spPr>
              <a:solidFill>
                <a:srgbClr val="AEABAB"/>
              </a:solidFill>
            </c:spPr>
          </c:dPt>
          <c:dPt>
            <c:idx val="1114"/>
            <c:spPr>
              <a:solidFill>
                <a:srgbClr val="AEABAB"/>
              </a:solidFill>
            </c:spPr>
          </c:dPt>
          <c:dPt>
            <c:idx val="1115"/>
            <c:spPr>
              <a:solidFill>
                <a:srgbClr val="AEABAB"/>
              </a:solidFill>
            </c:spPr>
          </c:dPt>
          <c:dPt>
            <c:idx val="1116"/>
            <c:spPr>
              <a:solidFill>
                <a:srgbClr val="AEABAB"/>
              </a:solidFill>
            </c:spPr>
          </c:dPt>
          <c:dPt>
            <c:idx val="1117"/>
            <c:spPr>
              <a:solidFill>
                <a:srgbClr val="AEABAB"/>
              </a:solidFill>
            </c:spPr>
          </c:dPt>
          <c:dPt>
            <c:idx val="1118"/>
            <c:spPr>
              <a:solidFill>
                <a:srgbClr val="AEABAB"/>
              </a:solidFill>
            </c:spPr>
          </c:dPt>
          <c:dPt>
            <c:idx val="1119"/>
            <c:spPr>
              <a:solidFill>
                <a:srgbClr val="AEABAB"/>
              </a:solidFill>
            </c:spPr>
          </c:dPt>
          <c:dPt>
            <c:idx val="1120"/>
            <c:spPr>
              <a:solidFill>
                <a:srgbClr val="AEABAB"/>
              </a:solidFill>
            </c:spPr>
          </c:dPt>
          <c:dPt>
            <c:idx val="1121"/>
            <c:spPr>
              <a:solidFill>
                <a:srgbClr val="AEABAB"/>
              </a:solidFill>
            </c:spPr>
          </c:dPt>
          <c:dPt>
            <c:idx val="1122"/>
            <c:spPr>
              <a:solidFill>
                <a:srgbClr val="AEABAB"/>
              </a:solidFill>
            </c:spPr>
          </c:dPt>
          <c:dPt>
            <c:idx val="1123"/>
            <c:spPr>
              <a:solidFill>
                <a:srgbClr val="AEABAB"/>
              </a:solidFill>
            </c:spPr>
          </c:dPt>
          <c:dPt>
            <c:idx val="1124"/>
            <c:spPr>
              <a:solidFill>
                <a:srgbClr val="AEABAB"/>
              </a:solidFill>
            </c:spPr>
          </c:dPt>
          <c:dPt>
            <c:idx val="1125"/>
            <c:spPr>
              <a:solidFill>
                <a:srgbClr val="AEABAB"/>
              </a:solidFill>
            </c:spPr>
          </c:dPt>
          <c:dPt>
            <c:idx val="1126"/>
            <c:spPr>
              <a:solidFill>
                <a:srgbClr val="AEABAB"/>
              </a:solidFill>
            </c:spPr>
          </c:dPt>
          <c:dPt>
            <c:idx val="1127"/>
            <c:spPr>
              <a:solidFill>
                <a:srgbClr val="AEABAB"/>
              </a:solidFill>
            </c:spPr>
          </c:dPt>
          <c:dPt>
            <c:idx val="1128"/>
            <c:spPr>
              <a:solidFill>
                <a:srgbClr val="AEABAB"/>
              </a:solidFill>
            </c:spPr>
          </c:dPt>
          <c:dPt>
            <c:idx val="1129"/>
            <c:spPr>
              <a:solidFill>
                <a:srgbClr val="AEABAB"/>
              </a:solidFill>
            </c:spPr>
          </c:dPt>
          <c:dPt>
            <c:idx val="1130"/>
            <c:spPr>
              <a:solidFill>
                <a:srgbClr val="AEABAB"/>
              </a:solidFill>
            </c:spPr>
          </c:dPt>
          <c:dPt>
            <c:idx val="1131"/>
            <c:spPr>
              <a:solidFill>
                <a:srgbClr val="AEABAB"/>
              </a:solidFill>
            </c:spPr>
          </c:dPt>
          <c:dPt>
            <c:idx val="1132"/>
            <c:spPr>
              <a:solidFill>
                <a:srgbClr val="AEABAB"/>
              </a:solidFill>
            </c:spPr>
          </c:dPt>
          <c:dPt>
            <c:idx val="1133"/>
            <c:spPr>
              <a:solidFill>
                <a:srgbClr val="AEABAB"/>
              </a:solidFill>
            </c:spPr>
          </c:dPt>
          <c:dPt>
            <c:idx val="1134"/>
            <c:spPr>
              <a:solidFill>
                <a:srgbClr val="AEABAB"/>
              </a:solidFill>
            </c:spPr>
          </c:dPt>
          <c:dPt>
            <c:idx val="1135"/>
            <c:spPr>
              <a:solidFill>
                <a:srgbClr val="AEABAB"/>
              </a:solidFill>
            </c:spPr>
          </c:dPt>
          <c:dPt>
            <c:idx val="1136"/>
            <c:spPr>
              <a:solidFill>
                <a:srgbClr val="AEABAB"/>
              </a:solidFill>
            </c:spPr>
          </c:dPt>
          <c:dPt>
            <c:idx val="1137"/>
            <c:spPr>
              <a:solidFill>
                <a:srgbClr val="AEABAB"/>
              </a:solidFill>
            </c:spPr>
          </c:dPt>
          <c:dPt>
            <c:idx val="1138"/>
            <c:spPr>
              <a:solidFill>
                <a:srgbClr val="AEABAB"/>
              </a:solidFill>
            </c:spPr>
          </c:dPt>
          <c:dPt>
            <c:idx val="1139"/>
            <c:spPr>
              <a:solidFill>
                <a:srgbClr val="AEABAB"/>
              </a:solidFill>
            </c:spPr>
          </c:dPt>
          <c:dPt>
            <c:idx val="1140"/>
            <c:spPr>
              <a:solidFill>
                <a:srgbClr val="AEABAB"/>
              </a:solidFill>
            </c:spPr>
          </c:dPt>
          <c:dPt>
            <c:idx val="1141"/>
            <c:spPr>
              <a:solidFill>
                <a:srgbClr val="AEABAB"/>
              </a:solidFill>
            </c:spPr>
          </c:dPt>
          <c:dPt>
            <c:idx val="1142"/>
            <c:spPr>
              <a:solidFill>
                <a:srgbClr val="AEABAB"/>
              </a:solidFill>
            </c:spPr>
          </c:dPt>
          <c:dPt>
            <c:idx val="1143"/>
            <c:spPr>
              <a:solidFill>
                <a:srgbClr val="AEABAB"/>
              </a:solidFill>
            </c:spPr>
          </c:dPt>
          <c:dPt>
            <c:idx val="1144"/>
            <c:spPr>
              <a:solidFill>
                <a:srgbClr val="AEABAB"/>
              </a:solidFill>
            </c:spPr>
          </c:dPt>
          <c:dPt>
            <c:idx val="1145"/>
            <c:spPr>
              <a:solidFill>
                <a:srgbClr val="AEABAB"/>
              </a:solidFill>
            </c:spPr>
          </c:dPt>
          <c:dPt>
            <c:idx val="1146"/>
            <c:spPr>
              <a:solidFill>
                <a:srgbClr val="AEABAB"/>
              </a:solidFill>
            </c:spPr>
          </c:dPt>
          <c:dPt>
            <c:idx val="1147"/>
            <c:spPr>
              <a:solidFill>
                <a:srgbClr val="AEABAB"/>
              </a:solidFill>
            </c:spPr>
          </c:dPt>
          <c:dPt>
            <c:idx val="1148"/>
            <c:spPr>
              <a:solidFill>
                <a:srgbClr val="AEABAB"/>
              </a:solidFill>
            </c:spPr>
          </c:dPt>
          <c:dPt>
            <c:idx val="1149"/>
            <c:spPr>
              <a:solidFill>
                <a:srgbClr val="AEABAB"/>
              </a:solidFill>
            </c:spPr>
          </c:dPt>
          <c:dPt>
            <c:idx val="1150"/>
            <c:spPr>
              <a:solidFill>
                <a:srgbClr val="AEABAB"/>
              </a:solidFill>
            </c:spPr>
          </c:dPt>
          <c:dPt>
            <c:idx val="1151"/>
            <c:spPr>
              <a:solidFill>
                <a:srgbClr val="AEABAB"/>
              </a:solidFill>
            </c:spPr>
          </c:dPt>
          <c:dPt>
            <c:idx val="1152"/>
            <c:spPr>
              <a:solidFill>
                <a:srgbClr val="AEABAB"/>
              </a:solidFill>
            </c:spPr>
          </c:dPt>
          <c:dPt>
            <c:idx val="1153"/>
            <c:spPr>
              <a:solidFill>
                <a:srgbClr val="AEABAB"/>
              </a:solidFill>
            </c:spPr>
          </c:dPt>
          <c:dPt>
            <c:idx val="1154"/>
            <c:spPr>
              <a:solidFill>
                <a:srgbClr val="AEABAB"/>
              </a:solidFill>
            </c:spPr>
          </c:dPt>
          <c:dPt>
            <c:idx val="1155"/>
            <c:spPr>
              <a:solidFill>
                <a:srgbClr val="AEABAB"/>
              </a:solidFill>
            </c:spPr>
          </c:dPt>
          <c:dPt>
            <c:idx val="1156"/>
            <c:spPr>
              <a:solidFill>
                <a:srgbClr val="AEABAB"/>
              </a:solidFill>
            </c:spPr>
          </c:dPt>
          <c:dPt>
            <c:idx val="1157"/>
            <c:spPr>
              <a:solidFill>
                <a:srgbClr val="AEABAB"/>
              </a:solidFill>
            </c:spPr>
          </c:dPt>
          <c:dPt>
            <c:idx val="1158"/>
            <c:spPr>
              <a:solidFill>
                <a:srgbClr val="AEABAB"/>
              </a:solidFill>
            </c:spPr>
          </c:dPt>
          <c:dPt>
            <c:idx val="1159"/>
            <c:spPr>
              <a:solidFill>
                <a:srgbClr val="AEABAB"/>
              </a:solidFill>
            </c:spPr>
          </c:dPt>
          <c:dPt>
            <c:idx val="1160"/>
            <c:spPr>
              <a:solidFill>
                <a:srgbClr val="AEABAB"/>
              </a:solidFill>
            </c:spPr>
          </c:dPt>
          <c:dPt>
            <c:idx val="1161"/>
            <c:spPr>
              <a:solidFill>
                <a:srgbClr val="AEABAB"/>
              </a:solidFill>
            </c:spPr>
          </c:dPt>
          <c:dPt>
            <c:idx val="1162"/>
            <c:spPr>
              <a:solidFill>
                <a:srgbClr val="AEABAB"/>
              </a:solidFill>
            </c:spPr>
          </c:dPt>
          <c:dPt>
            <c:idx val="1163"/>
            <c:spPr>
              <a:solidFill>
                <a:srgbClr val="AEABAB"/>
              </a:solidFill>
            </c:spPr>
          </c:dPt>
          <c:dPt>
            <c:idx val="1164"/>
            <c:spPr>
              <a:solidFill>
                <a:srgbClr val="AEABAB"/>
              </a:solidFill>
            </c:spPr>
          </c:dPt>
          <c:dPt>
            <c:idx val="1165"/>
            <c:spPr>
              <a:solidFill>
                <a:srgbClr val="AEABAB"/>
              </a:solidFill>
            </c:spPr>
          </c:dPt>
          <c:dPt>
            <c:idx val="1166"/>
            <c:spPr>
              <a:solidFill>
                <a:srgbClr val="AEABAB"/>
              </a:solidFill>
            </c:spPr>
          </c:dPt>
          <c:dPt>
            <c:idx val="1167"/>
            <c:spPr>
              <a:solidFill>
                <a:srgbClr val="AEABAB"/>
              </a:solidFill>
            </c:spPr>
          </c:dPt>
          <c:dPt>
            <c:idx val="1168"/>
            <c:spPr>
              <a:solidFill>
                <a:srgbClr val="AEABAB"/>
              </a:solidFill>
            </c:spPr>
          </c:dPt>
          <c:dPt>
            <c:idx val="1169"/>
            <c:spPr>
              <a:solidFill>
                <a:srgbClr val="AEABAB"/>
              </a:solidFill>
            </c:spPr>
          </c:dPt>
          <c:dPt>
            <c:idx val="1170"/>
            <c:spPr>
              <a:solidFill>
                <a:srgbClr val="AEABAB"/>
              </a:solidFill>
            </c:spPr>
          </c:dPt>
          <c:dPt>
            <c:idx val="1171"/>
            <c:spPr>
              <a:solidFill>
                <a:srgbClr val="AEABAB"/>
              </a:solidFill>
            </c:spPr>
          </c:dPt>
          <c:dPt>
            <c:idx val="1172"/>
            <c:spPr>
              <a:solidFill>
                <a:srgbClr val="AEABAB"/>
              </a:solidFill>
            </c:spPr>
          </c:dPt>
          <c:dPt>
            <c:idx val="1173"/>
            <c:spPr>
              <a:solidFill>
                <a:srgbClr val="AEABAB"/>
              </a:solidFill>
            </c:spPr>
          </c:dPt>
          <c:dPt>
            <c:idx val="1174"/>
            <c:spPr>
              <a:solidFill>
                <a:srgbClr val="AEABAB"/>
              </a:solidFill>
            </c:spPr>
          </c:dPt>
          <c:dPt>
            <c:idx val="1175"/>
            <c:spPr>
              <a:solidFill>
                <a:srgbClr val="AEABAB"/>
              </a:solidFill>
            </c:spPr>
          </c:dPt>
          <c:dPt>
            <c:idx val="1176"/>
            <c:spPr>
              <a:solidFill>
                <a:srgbClr val="AEABAB"/>
              </a:solidFill>
            </c:spPr>
          </c:dPt>
          <c:dPt>
            <c:idx val="1177"/>
            <c:spPr>
              <a:solidFill>
                <a:srgbClr val="AEABAB"/>
              </a:solidFill>
            </c:spPr>
          </c:dPt>
          <c:dPt>
            <c:idx val="1178"/>
            <c:spPr>
              <a:solidFill>
                <a:srgbClr val="AEABAB"/>
              </a:solidFill>
            </c:spPr>
          </c:dPt>
          <c:dPt>
            <c:idx val="1179"/>
            <c:spPr>
              <a:solidFill>
                <a:srgbClr val="AEABAB"/>
              </a:solidFill>
            </c:spPr>
          </c:dPt>
          <c:dPt>
            <c:idx val="1180"/>
            <c:spPr>
              <a:solidFill>
                <a:srgbClr val="AEABAB"/>
              </a:solidFill>
            </c:spPr>
          </c:dPt>
          <c:dPt>
            <c:idx val="1181"/>
            <c:spPr>
              <a:solidFill>
                <a:srgbClr val="AEABAB"/>
              </a:solidFill>
            </c:spPr>
          </c:dPt>
          <c:dPt>
            <c:idx val="1182"/>
            <c:spPr>
              <a:solidFill>
                <a:srgbClr val="AEABAB"/>
              </a:solidFill>
            </c:spPr>
          </c:dPt>
          <c:dPt>
            <c:idx val="1183"/>
            <c:spPr>
              <a:solidFill>
                <a:srgbClr val="AEABAB"/>
              </a:solidFill>
            </c:spPr>
          </c:dPt>
          <c:dPt>
            <c:idx val="1184"/>
            <c:spPr>
              <a:solidFill>
                <a:srgbClr val="AEABAB"/>
              </a:solidFill>
            </c:spPr>
          </c:dPt>
          <c:dPt>
            <c:idx val="1185"/>
            <c:spPr>
              <a:solidFill>
                <a:srgbClr val="AEABAB"/>
              </a:solidFill>
            </c:spPr>
          </c:dPt>
          <c:dPt>
            <c:idx val="1186"/>
            <c:spPr>
              <a:solidFill>
                <a:srgbClr val="AEABAB"/>
              </a:solidFill>
            </c:spPr>
          </c:dPt>
          <c:dPt>
            <c:idx val="1187"/>
            <c:spPr>
              <a:solidFill>
                <a:srgbClr val="AEABAB"/>
              </a:solidFill>
            </c:spPr>
          </c:dPt>
          <c:dPt>
            <c:idx val="1188"/>
            <c:spPr>
              <a:solidFill>
                <a:srgbClr val="AEABAB"/>
              </a:solidFill>
            </c:spPr>
          </c:dPt>
          <c:dPt>
            <c:idx val="1189"/>
            <c:spPr>
              <a:solidFill>
                <a:srgbClr val="AEABAB"/>
              </a:solidFill>
            </c:spPr>
          </c:dPt>
          <c:dPt>
            <c:idx val="1190"/>
            <c:spPr>
              <a:solidFill>
                <a:srgbClr val="AEABAB"/>
              </a:solidFill>
            </c:spPr>
          </c:dPt>
          <c:dPt>
            <c:idx val="1191"/>
            <c:spPr>
              <a:solidFill>
                <a:srgbClr val="AEABAB"/>
              </a:solidFill>
            </c:spPr>
          </c:dPt>
          <c:dPt>
            <c:idx val="1192"/>
            <c:spPr>
              <a:solidFill>
                <a:srgbClr val="AEABAB"/>
              </a:solidFill>
            </c:spPr>
          </c:dPt>
          <c:dPt>
            <c:idx val="1193"/>
            <c:spPr>
              <a:solidFill>
                <a:srgbClr val="AEABAB"/>
              </a:solidFill>
            </c:spPr>
          </c:dPt>
          <c:dPt>
            <c:idx val="1194"/>
            <c:spPr>
              <a:solidFill>
                <a:srgbClr val="AEABAB"/>
              </a:solidFill>
            </c:spPr>
          </c:dPt>
          <c:dPt>
            <c:idx val="1195"/>
            <c:spPr>
              <a:solidFill>
                <a:srgbClr val="AEABAB"/>
              </a:solidFill>
            </c:spPr>
          </c:dPt>
          <c:dPt>
            <c:idx val="1196"/>
            <c:spPr>
              <a:solidFill>
                <a:srgbClr val="AEABAB"/>
              </a:solidFill>
            </c:spPr>
          </c:dPt>
          <c:dPt>
            <c:idx val="1197"/>
            <c:spPr>
              <a:solidFill>
                <a:srgbClr val="AEABAB"/>
              </a:solidFill>
            </c:spPr>
          </c:dPt>
          <c:dPt>
            <c:idx val="1198"/>
            <c:spPr>
              <a:solidFill>
                <a:srgbClr val="AEABAB"/>
              </a:solidFill>
            </c:spPr>
          </c:dPt>
          <c:dPt>
            <c:idx val="1199"/>
            <c:spPr>
              <a:solidFill>
                <a:srgbClr val="AEABAB"/>
              </a:solidFill>
            </c:spPr>
          </c:dPt>
          <c:dPt>
            <c:idx val="1200"/>
            <c:spPr>
              <a:solidFill>
                <a:srgbClr val="AEABAB"/>
              </a:solidFill>
            </c:spPr>
          </c:dPt>
          <c:dPt>
            <c:idx val="1201"/>
            <c:spPr>
              <a:solidFill>
                <a:srgbClr val="AEABAB"/>
              </a:solidFill>
            </c:spPr>
          </c:dPt>
          <c:dPt>
            <c:idx val="1202"/>
            <c:spPr>
              <a:solidFill>
                <a:srgbClr val="AEABAB"/>
              </a:solidFill>
            </c:spPr>
          </c:dPt>
          <c:dPt>
            <c:idx val="1203"/>
            <c:spPr>
              <a:solidFill>
                <a:srgbClr val="AEABAB"/>
              </a:solidFill>
            </c:spPr>
          </c:dPt>
          <c:dPt>
            <c:idx val="1204"/>
            <c:spPr>
              <a:solidFill>
                <a:srgbClr val="AEABAB"/>
              </a:solidFill>
            </c:spPr>
          </c:dPt>
          <c:dPt>
            <c:idx val="1205"/>
            <c:spPr>
              <a:solidFill>
                <a:srgbClr val="AEABAB"/>
              </a:solidFill>
            </c:spPr>
          </c:dPt>
          <c:dPt>
            <c:idx val="1206"/>
            <c:spPr>
              <a:solidFill>
                <a:srgbClr val="AEABAB"/>
              </a:solidFill>
            </c:spPr>
          </c:dPt>
          <c:dPt>
            <c:idx val="1207"/>
            <c:spPr>
              <a:solidFill>
                <a:srgbClr val="AEABAB"/>
              </a:solidFill>
            </c:spPr>
          </c:dPt>
          <c:dPt>
            <c:idx val="1208"/>
            <c:spPr>
              <a:solidFill>
                <a:srgbClr val="AEABAB"/>
              </a:solidFill>
            </c:spPr>
          </c:dPt>
          <c:dPt>
            <c:idx val="1209"/>
            <c:spPr>
              <a:solidFill>
                <a:srgbClr val="AEABAB"/>
              </a:solidFill>
            </c:spPr>
          </c:dPt>
          <c:dPt>
            <c:idx val="1210"/>
            <c:spPr>
              <a:solidFill>
                <a:srgbClr val="AEABAB"/>
              </a:solidFill>
            </c:spPr>
          </c:dPt>
          <c:dPt>
            <c:idx val="1211"/>
            <c:spPr>
              <a:solidFill>
                <a:srgbClr val="AEABAB"/>
              </a:solidFill>
            </c:spPr>
          </c:dPt>
          <c:dPt>
            <c:idx val="1212"/>
            <c:spPr>
              <a:solidFill>
                <a:srgbClr val="AEABAB"/>
              </a:solidFill>
            </c:spPr>
          </c:dPt>
          <c:dPt>
            <c:idx val="1213"/>
            <c:spPr>
              <a:solidFill>
                <a:srgbClr val="AEABAB"/>
              </a:solidFill>
            </c:spPr>
          </c:dPt>
          <c:dPt>
            <c:idx val="1214"/>
            <c:spPr>
              <a:solidFill>
                <a:srgbClr val="AEABAB"/>
              </a:solidFill>
            </c:spPr>
          </c:dPt>
          <c:dPt>
            <c:idx val="1215"/>
            <c:spPr>
              <a:solidFill>
                <a:srgbClr val="AEABAB"/>
              </a:solidFill>
            </c:spPr>
          </c:dPt>
          <c:dPt>
            <c:idx val="1216"/>
            <c:spPr>
              <a:solidFill>
                <a:srgbClr val="AEABAB"/>
              </a:solidFill>
            </c:spPr>
          </c:dPt>
          <c:dPt>
            <c:idx val="1217"/>
            <c:spPr>
              <a:solidFill>
                <a:srgbClr val="AEABAB"/>
              </a:solidFill>
            </c:spPr>
          </c:dPt>
          <c:dPt>
            <c:idx val="1218"/>
            <c:spPr>
              <a:solidFill>
                <a:srgbClr val="AEABAB"/>
              </a:solidFill>
            </c:spPr>
          </c:dPt>
          <c:dPt>
            <c:idx val="1219"/>
            <c:spPr>
              <a:solidFill>
                <a:srgbClr val="AEABAB"/>
              </a:solidFill>
            </c:spPr>
          </c:dPt>
          <c:dPt>
            <c:idx val="1220"/>
            <c:spPr>
              <a:solidFill>
                <a:srgbClr val="AEABAB"/>
              </a:solidFill>
            </c:spPr>
          </c:dPt>
          <c:dPt>
            <c:idx val="1221"/>
            <c:spPr>
              <a:solidFill>
                <a:srgbClr val="AEABAB"/>
              </a:solidFill>
            </c:spPr>
          </c:dPt>
          <c:dPt>
            <c:idx val="1222"/>
            <c:spPr>
              <a:solidFill>
                <a:srgbClr val="AEABAB"/>
              </a:solidFill>
            </c:spPr>
          </c:dPt>
          <c:dPt>
            <c:idx val="1223"/>
            <c:spPr>
              <a:solidFill>
                <a:srgbClr val="AEABAB"/>
              </a:solidFill>
            </c:spPr>
          </c:dPt>
          <c:dPt>
            <c:idx val="1224"/>
            <c:spPr>
              <a:solidFill>
                <a:srgbClr val="AEABAB"/>
              </a:solidFill>
            </c:spPr>
          </c:dPt>
          <c:dPt>
            <c:idx val="1225"/>
            <c:spPr>
              <a:solidFill>
                <a:srgbClr val="AEABAB"/>
              </a:solidFill>
            </c:spPr>
          </c:dPt>
          <c:dPt>
            <c:idx val="1226"/>
            <c:spPr>
              <a:solidFill>
                <a:srgbClr val="AEABAB"/>
              </a:solidFill>
            </c:spPr>
          </c:dPt>
          <c:dPt>
            <c:idx val="1227"/>
            <c:spPr>
              <a:solidFill>
                <a:srgbClr val="AEABAB"/>
              </a:solidFill>
            </c:spPr>
          </c:dPt>
          <c:dPt>
            <c:idx val="1228"/>
            <c:spPr>
              <a:solidFill>
                <a:srgbClr val="AEABAB"/>
              </a:solidFill>
            </c:spPr>
          </c:dPt>
          <c:dPt>
            <c:idx val="1229"/>
            <c:spPr>
              <a:solidFill>
                <a:srgbClr val="AEABAB"/>
              </a:solidFill>
            </c:spPr>
          </c:dPt>
          <c:dPt>
            <c:idx val="1230"/>
            <c:spPr>
              <a:solidFill>
                <a:srgbClr val="AEABAB"/>
              </a:solidFill>
            </c:spPr>
          </c:dPt>
          <c:dPt>
            <c:idx val="1231"/>
            <c:spPr>
              <a:solidFill>
                <a:srgbClr val="AEABAB"/>
              </a:solidFill>
            </c:spPr>
          </c:dPt>
          <c:dPt>
            <c:idx val="1232"/>
            <c:spPr>
              <a:solidFill>
                <a:srgbClr val="AEABAB"/>
              </a:solidFill>
            </c:spPr>
          </c:dPt>
          <c:dPt>
            <c:idx val="1233"/>
            <c:spPr>
              <a:solidFill>
                <a:srgbClr val="AEABAB"/>
              </a:solidFill>
            </c:spPr>
          </c:dPt>
          <c:dPt>
            <c:idx val="1234"/>
            <c:spPr>
              <a:solidFill>
                <a:srgbClr val="AEABAB"/>
              </a:solidFill>
            </c:spPr>
          </c:dPt>
          <c:dPt>
            <c:idx val="1235"/>
            <c:spPr>
              <a:solidFill>
                <a:srgbClr val="AEABAB"/>
              </a:solidFill>
            </c:spPr>
          </c:dPt>
          <c:dPt>
            <c:idx val="1236"/>
            <c:spPr>
              <a:solidFill>
                <a:srgbClr val="AEABAB"/>
              </a:solidFill>
            </c:spPr>
          </c:dPt>
          <c:dPt>
            <c:idx val="1237"/>
            <c:spPr>
              <a:solidFill>
                <a:srgbClr val="AEABAB"/>
              </a:solidFill>
            </c:spPr>
          </c:dPt>
          <c:dPt>
            <c:idx val="1238"/>
            <c:spPr>
              <a:solidFill>
                <a:srgbClr val="AEABAB"/>
              </a:solidFill>
            </c:spPr>
          </c:dPt>
          <c:dPt>
            <c:idx val="1239"/>
            <c:spPr>
              <a:solidFill>
                <a:srgbClr val="AEABAB"/>
              </a:solidFill>
            </c:spPr>
          </c:dPt>
          <c:dPt>
            <c:idx val="1240"/>
            <c:spPr>
              <a:solidFill>
                <a:srgbClr val="AEABAB"/>
              </a:solidFill>
            </c:spPr>
          </c:dPt>
          <c:dPt>
            <c:idx val="1241"/>
            <c:spPr>
              <a:solidFill>
                <a:srgbClr val="AEABAB"/>
              </a:solidFill>
            </c:spPr>
          </c:dPt>
          <c:dPt>
            <c:idx val="1242"/>
            <c:spPr>
              <a:solidFill>
                <a:srgbClr val="AEABAB"/>
              </a:solidFill>
            </c:spPr>
          </c:dPt>
          <c:dPt>
            <c:idx val="1243"/>
            <c:spPr>
              <a:solidFill>
                <a:srgbClr val="AEABAB"/>
              </a:solidFill>
            </c:spPr>
          </c:dPt>
          <c:dPt>
            <c:idx val="1244"/>
            <c:spPr>
              <a:solidFill>
                <a:srgbClr val="AEABAB"/>
              </a:solidFill>
            </c:spPr>
          </c:dPt>
          <c:dPt>
            <c:idx val="1245"/>
            <c:spPr>
              <a:solidFill>
                <a:srgbClr val="AEABAB"/>
              </a:solidFill>
            </c:spPr>
          </c:dPt>
          <c:dPt>
            <c:idx val="1246"/>
            <c:spPr>
              <a:solidFill>
                <a:srgbClr val="AEABAB"/>
              </a:solidFill>
            </c:spPr>
          </c:dPt>
          <c:dPt>
            <c:idx val="1247"/>
            <c:spPr>
              <a:solidFill>
                <a:srgbClr val="AEABAB"/>
              </a:solidFill>
            </c:spPr>
          </c:dPt>
          <c:dPt>
            <c:idx val="1248"/>
            <c:spPr>
              <a:solidFill>
                <a:srgbClr val="AEABAB"/>
              </a:solidFill>
            </c:spPr>
          </c:dPt>
          <c:dPt>
            <c:idx val="1249"/>
            <c:spPr>
              <a:solidFill>
                <a:srgbClr val="AEABAB"/>
              </a:solidFill>
            </c:spPr>
          </c:dPt>
          <c:dPt>
            <c:idx val="1250"/>
            <c:spPr>
              <a:solidFill>
                <a:srgbClr val="AEABAB"/>
              </a:solidFill>
            </c:spPr>
          </c:dPt>
          <c:dPt>
            <c:idx val="1251"/>
            <c:spPr>
              <a:solidFill>
                <a:srgbClr val="AEABAB"/>
              </a:solidFill>
            </c:spPr>
          </c:dPt>
          <c:dPt>
            <c:idx val="1252"/>
            <c:spPr>
              <a:solidFill>
                <a:srgbClr val="AEABAB"/>
              </a:solidFill>
            </c:spPr>
          </c:dPt>
          <c:dPt>
            <c:idx val="1253"/>
            <c:spPr>
              <a:solidFill>
                <a:srgbClr val="AEABAB"/>
              </a:solidFill>
            </c:spPr>
          </c:dPt>
          <c:dPt>
            <c:idx val="1254"/>
            <c:spPr>
              <a:solidFill>
                <a:srgbClr val="AEABAB"/>
              </a:solidFill>
            </c:spPr>
          </c:dPt>
          <c:dPt>
            <c:idx val="1255"/>
            <c:spPr>
              <a:solidFill>
                <a:srgbClr val="AEABAB"/>
              </a:solidFill>
            </c:spPr>
          </c:dPt>
          <c:dPt>
            <c:idx val="1256"/>
            <c:spPr>
              <a:solidFill>
                <a:srgbClr val="AEABAB"/>
              </a:solidFill>
            </c:spPr>
          </c:dPt>
          <c:dPt>
            <c:idx val="1257"/>
            <c:spPr>
              <a:solidFill>
                <a:srgbClr val="AEABAB"/>
              </a:solidFill>
            </c:spPr>
          </c:dPt>
          <c:dPt>
            <c:idx val="1258"/>
            <c:spPr>
              <a:solidFill>
                <a:srgbClr val="AEABAB"/>
              </a:solidFill>
            </c:spPr>
          </c:dPt>
          <c:dPt>
            <c:idx val="1259"/>
            <c:spPr>
              <a:solidFill>
                <a:srgbClr val="AEABAB"/>
              </a:solidFill>
            </c:spPr>
          </c:dPt>
          <c:dPt>
            <c:idx val="1260"/>
            <c:spPr>
              <a:solidFill>
                <a:srgbClr val="AEABAB"/>
              </a:solidFill>
            </c:spPr>
          </c:dPt>
          <c:dPt>
            <c:idx val="1261"/>
            <c:spPr>
              <a:solidFill>
                <a:srgbClr val="AEABAB"/>
              </a:solidFill>
            </c:spPr>
          </c:dPt>
          <c:dPt>
            <c:idx val="1262"/>
            <c:spPr>
              <a:solidFill>
                <a:srgbClr val="AEABAB"/>
              </a:solidFill>
            </c:spPr>
          </c:dPt>
          <c:dPt>
            <c:idx val="1263"/>
            <c:spPr>
              <a:solidFill>
                <a:srgbClr val="AEABAB"/>
              </a:solidFill>
            </c:spPr>
          </c:dPt>
          <c:dPt>
            <c:idx val="1264"/>
            <c:spPr>
              <a:solidFill>
                <a:srgbClr val="AEABAB"/>
              </a:solidFill>
            </c:spPr>
          </c:dPt>
          <c:dPt>
            <c:idx val="1265"/>
            <c:spPr>
              <a:solidFill>
                <a:srgbClr val="AEABAB"/>
              </a:solidFill>
            </c:spPr>
          </c:dPt>
          <c:dPt>
            <c:idx val="1266"/>
            <c:spPr>
              <a:solidFill>
                <a:srgbClr val="AEABAB"/>
              </a:solidFill>
            </c:spPr>
          </c:dPt>
          <c:dPt>
            <c:idx val="1267"/>
            <c:spPr>
              <a:solidFill>
                <a:srgbClr val="AEABAB"/>
              </a:solidFill>
            </c:spPr>
          </c:dPt>
          <c:dPt>
            <c:idx val="1268"/>
            <c:spPr>
              <a:solidFill>
                <a:srgbClr val="AEABAB"/>
              </a:solidFill>
            </c:spPr>
          </c:dPt>
          <c:dPt>
            <c:idx val="1269"/>
            <c:spPr>
              <a:solidFill>
                <a:srgbClr val="AEABAB"/>
              </a:solidFill>
            </c:spPr>
          </c:dPt>
          <c:dPt>
            <c:idx val="1270"/>
            <c:spPr>
              <a:solidFill>
                <a:srgbClr val="AEABAB"/>
              </a:solidFill>
            </c:spPr>
          </c:dPt>
          <c:dPt>
            <c:idx val="1271"/>
            <c:spPr>
              <a:solidFill>
                <a:srgbClr val="AEABAB"/>
              </a:solidFill>
            </c:spPr>
          </c:dPt>
          <c:dPt>
            <c:idx val="1272"/>
            <c:spPr>
              <a:solidFill>
                <a:srgbClr val="AEABAB"/>
              </a:solidFill>
            </c:spPr>
          </c:dPt>
          <c:dPt>
            <c:idx val="1273"/>
            <c:spPr>
              <a:solidFill>
                <a:srgbClr val="AEABAB"/>
              </a:solidFill>
            </c:spPr>
          </c:dPt>
          <c:dPt>
            <c:idx val="1274"/>
            <c:spPr>
              <a:solidFill>
                <a:srgbClr val="AEABAB"/>
              </a:solidFill>
            </c:spPr>
          </c:dPt>
          <c:dPt>
            <c:idx val="1275"/>
            <c:spPr>
              <a:solidFill>
                <a:srgbClr val="AEABAB"/>
              </a:solidFill>
            </c:spPr>
          </c:dPt>
          <c:dPt>
            <c:idx val="1276"/>
            <c:spPr>
              <a:solidFill>
                <a:srgbClr val="AEABAB"/>
              </a:solidFill>
            </c:spPr>
          </c:dPt>
          <c:dPt>
            <c:idx val="1277"/>
            <c:spPr>
              <a:solidFill>
                <a:srgbClr val="AEABAB"/>
              </a:solidFill>
            </c:spPr>
          </c:dPt>
          <c:dPt>
            <c:idx val="1278"/>
            <c:spPr>
              <a:solidFill>
                <a:srgbClr val="AEABAB"/>
              </a:solidFill>
            </c:spPr>
          </c:dPt>
          <c:dPt>
            <c:idx val="1279"/>
            <c:spPr>
              <a:solidFill>
                <a:srgbClr val="AEABAB"/>
              </a:solidFill>
            </c:spPr>
          </c:dPt>
          <c:dPt>
            <c:idx val="1280"/>
            <c:spPr>
              <a:solidFill>
                <a:srgbClr val="AEABAB"/>
              </a:solidFill>
            </c:spPr>
          </c:dPt>
          <c:dPt>
            <c:idx val="1281"/>
            <c:spPr>
              <a:solidFill>
                <a:srgbClr val="AEABAB"/>
              </a:solidFill>
            </c:spPr>
          </c:dPt>
          <c:dPt>
            <c:idx val="1282"/>
            <c:spPr>
              <a:solidFill>
                <a:srgbClr val="AEABAB"/>
              </a:solidFill>
            </c:spPr>
          </c:dPt>
          <c:dPt>
            <c:idx val="1283"/>
            <c:spPr>
              <a:solidFill>
                <a:srgbClr val="AEABAB"/>
              </a:solidFill>
            </c:spPr>
          </c:dPt>
          <c:dPt>
            <c:idx val="1284"/>
            <c:spPr>
              <a:solidFill>
                <a:srgbClr val="AEABAB"/>
              </a:solidFill>
            </c:spPr>
          </c:dPt>
          <c:dPt>
            <c:idx val="1285"/>
            <c:spPr>
              <a:solidFill>
                <a:srgbClr val="AEABAB"/>
              </a:solidFill>
            </c:spPr>
          </c:dPt>
          <c:dPt>
            <c:idx val="1286"/>
            <c:spPr>
              <a:solidFill>
                <a:srgbClr val="AEABAB"/>
              </a:solidFill>
            </c:spPr>
          </c:dPt>
          <c:dPt>
            <c:idx val="1287"/>
            <c:spPr>
              <a:solidFill>
                <a:srgbClr val="AEABAB"/>
              </a:solidFill>
            </c:spPr>
          </c:dPt>
          <c:dPt>
            <c:idx val="1288"/>
            <c:spPr>
              <a:solidFill>
                <a:srgbClr val="AEABAB"/>
              </a:solidFill>
            </c:spPr>
          </c:dPt>
          <c:dPt>
            <c:idx val="1289"/>
            <c:spPr>
              <a:solidFill>
                <a:srgbClr val="AEABAB"/>
              </a:solidFill>
            </c:spPr>
          </c:dPt>
          <c:dPt>
            <c:idx val="1290"/>
            <c:spPr>
              <a:solidFill>
                <a:srgbClr val="AEABAB"/>
              </a:solidFill>
            </c:spPr>
          </c:dPt>
          <c:dPt>
            <c:idx val="1291"/>
            <c:spPr>
              <a:solidFill>
                <a:srgbClr val="AEABAB"/>
              </a:solidFill>
            </c:spPr>
          </c:dPt>
          <c:dPt>
            <c:idx val="1292"/>
            <c:spPr>
              <a:solidFill>
                <a:srgbClr val="AEABAB"/>
              </a:solidFill>
            </c:spPr>
          </c:dPt>
          <c:dPt>
            <c:idx val="1293"/>
            <c:spPr>
              <a:solidFill>
                <a:srgbClr val="AEABAB"/>
              </a:solidFill>
            </c:spPr>
          </c:dPt>
          <c:dPt>
            <c:idx val="1294"/>
            <c:spPr>
              <a:solidFill>
                <a:srgbClr val="AEABAB"/>
              </a:solidFill>
            </c:spPr>
          </c:dPt>
          <c:dPt>
            <c:idx val="1295"/>
            <c:spPr>
              <a:solidFill>
                <a:srgbClr val="AEABAB"/>
              </a:solidFill>
            </c:spPr>
          </c:dPt>
          <c:dPt>
            <c:idx val="1296"/>
            <c:spPr>
              <a:solidFill>
                <a:srgbClr val="AEABAB"/>
              </a:solidFill>
            </c:spPr>
          </c:dPt>
          <c:dPt>
            <c:idx val="1297"/>
            <c:spPr>
              <a:solidFill>
                <a:srgbClr val="AEABAB"/>
              </a:solidFill>
            </c:spPr>
          </c:dPt>
          <c:dPt>
            <c:idx val="1298"/>
            <c:spPr>
              <a:solidFill>
                <a:srgbClr val="AEABAB"/>
              </a:solidFill>
            </c:spPr>
          </c:dPt>
          <c:dPt>
            <c:idx val="1299"/>
            <c:spPr>
              <a:solidFill>
                <a:srgbClr val="AEABAB"/>
              </a:solidFill>
            </c:spPr>
          </c:dPt>
          <c:dPt>
            <c:idx val="1300"/>
            <c:spPr>
              <a:solidFill>
                <a:srgbClr val="AEABAB"/>
              </a:solidFill>
            </c:spPr>
          </c:dPt>
          <c:dPt>
            <c:idx val="1301"/>
            <c:spPr>
              <a:solidFill>
                <a:srgbClr val="AEABAB"/>
              </a:solidFill>
            </c:spPr>
          </c:dPt>
          <c:dPt>
            <c:idx val="1302"/>
            <c:spPr>
              <a:solidFill>
                <a:srgbClr val="AEABAB"/>
              </a:solidFill>
            </c:spPr>
          </c:dPt>
          <c:dPt>
            <c:idx val="1303"/>
            <c:spPr>
              <a:solidFill>
                <a:srgbClr val="AEABAB"/>
              </a:solidFill>
            </c:spPr>
          </c:dPt>
          <c:dPt>
            <c:idx val="1304"/>
            <c:spPr>
              <a:solidFill>
                <a:srgbClr val="AEABAB"/>
              </a:solidFill>
            </c:spPr>
          </c:dPt>
          <c:dPt>
            <c:idx val="1305"/>
            <c:spPr>
              <a:solidFill>
                <a:srgbClr val="AEABAB"/>
              </a:solidFill>
            </c:spPr>
          </c:dPt>
          <c:dPt>
            <c:idx val="1306"/>
            <c:spPr>
              <a:solidFill>
                <a:srgbClr val="AEABAB"/>
              </a:solidFill>
            </c:spPr>
          </c:dPt>
          <c:dPt>
            <c:idx val="1307"/>
            <c:spPr>
              <a:solidFill>
                <a:srgbClr val="AEABAB"/>
              </a:solidFill>
            </c:spPr>
          </c:dPt>
          <c:dPt>
            <c:idx val="1308"/>
            <c:spPr>
              <a:solidFill>
                <a:srgbClr val="AEABAB"/>
              </a:solidFill>
            </c:spPr>
          </c:dPt>
          <c:dPt>
            <c:idx val="1309"/>
            <c:spPr>
              <a:solidFill>
                <a:srgbClr val="AEABAB"/>
              </a:solidFill>
            </c:spPr>
          </c:dPt>
          <c:dPt>
            <c:idx val="1310"/>
            <c:spPr>
              <a:solidFill>
                <a:srgbClr val="AEABAB"/>
              </a:solidFill>
            </c:spPr>
          </c:dPt>
          <c:dPt>
            <c:idx val="1311"/>
            <c:spPr>
              <a:solidFill>
                <a:srgbClr val="AEABAB"/>
              </a:solidFill>
            </c:spPr>
          </c:dPt>
          <c:dPt>
            <c:idx val="1312"/>
            <c:spPr>
              <a:solidFill>
                <a:srgbClr val="AEABAB"/>
              </a:solidFill>
            </c:spPr>
          </c:dPt>
          <c:dPt>
            <c:idx val="1313"/>
            <c:spPr>
              <a:solidFill>
                <a:srgbClr val="AEABAB"/>
              </a:solidFill>
            </c:spPr>
          </c:dPt>
          <c:dPt>
            <c:idx val="1314"/>
            <c:spPr>
              <a:solidFill>
                <a:srgbClr val="AEABAB"/>
              </a:solidFill>
            </c:spPr>
          </c:dPt>
          <c:dPt>
            <c:idx val="1315"/>
            <c:spPr>
              <a:solidFill>
                <a:srgbClr val="AEABAB"/>
              </a:solidFill>
            </c:spPr>
          </c:dPt>
          <c:dPt>
            <c:idx val="1316"/>
            <c:spPr>
              <a:solidFill>
                <a:srgbClr val="AEABAB"/>
              </a:solidFill>
            </c:spPr>
          </c:dPt>
          <c:dPt>
            <c:idx val="1317"/>
            <c:spPr>
              <a:solidFill>
                <a:srgbClr val="AEABAB"/>
              </a:solidFill>
            </c:spPr>
          </c:dPt>
          <c:dPt>
            <c:idx val="1318"/>
            <c:spPr>
              <a:solidFill>
                <a:srgbClr val="AEABAB"/>
              </a:solidFill>
            </c:spPr>
          </c:dPt>
          <c:dPt>
            <c:idx val="1319"/>
            <c:spPr>
              <a:solidFill>
                <a:srgbClr val="AEABAB"/>
              </a:solidFill>
            </c:spPr>
          </c:dPt>
          <c:dPt>
            <c:idx val="1320"/>
            <c:spPr>
              <a:solidFill>
                <a:srgbClr val="AEABAB"/>
              </a:solidFill>
            </c:spPr>
          </c:dPt>
          <c:dPt>
            <c:idx val="1321"/>
            <c:spPr>
              <a:solidFill>
                <a:srgbClr val="AEABAB"/>
              </a:solidFill>
            </c:spPr>
          </c:dPt>
          <c:dPt>
            <c:idx val="1322"/>
            <c:spPr>
              <a:solidFill>
                <a:srgbClr val="AEABAB"/>
              </a:solidFill>
            </c:spPr>
          </c:dPt>
          <c:dPt>
            <c:idx val="1323"/>
            <c:spPr>
              <a:solidFill>
                <a:srgbClr val="AEABAB"/>
              </a:solidFill>
            </c:spPr>
          </c:dPt>
          <c:dPt>
            <c:idx val="1324"/>
            <c:spPr>
              <a:solidFill>
                <a:srgbClr val="AEABAB"/>
              </a:solidFill>
            </c:spPr>
          </c:dPt>
          <c:dPt>
            <c:idx val="1325"/>
            <c:spPr>
              <a:solidFill>
                <a:srgbClr val="AEABAB"/>
              </a:solidFill>
            </c:spPr>
          </c:dPt>
          <c:dPt>
            <c:idx val="1326"/>
            <c:spPr>
              <a:solidFill>
                <a:srgbClr val="AEABAB"/>
              </a:solidFill>
            </c:spPr>
          </c:dPt>
          <c:dPt>
            <c:idx val="1327"/>
            <c:spPr>
              <a:solidFill>
                <a:srgbClr val="AEABAB"/>
              </a:solidFill>
            </c:spPr>
          </c:dPt>
          <c:dPt>
            <c:idx val="1328"/>
            <c:spPr>
              <a:solidFill>
                <a:srgbClr val="AEABAB"/>
              </a:solidFill>
            </c:spPr>
          </c:dPt>
          <c:dPt>
            <c:idx val="1329"/>
            <c:spPr>
              <a:solidFill>
                <a:srgbClr val="AEABAB"/>
              </a:solidFill>
            </c:spPr>
          </c:dPt>
          <c:dPt>
            <c:idx val="1330"/>
            <c:spPr>
              <a:solidFill>
                <a:srgbClr val="AEABAB"/>
              </a:solidFill>
            </c:spPr>
          </c:dPt>
          <c:dPt>
            <c:idx val="1331"/>
            <c:spPr>
              <a:solidFill>
                <a:srgbClr val="AEABAB"/>
              </a:solidFill>
            </c:spPr>
          </c:dPt>
          <c:dPt>
            <c:idx val="1332"/>
            <c:spPr>
              <a:solidFill>
                <a:srgbClr val="AEABAB"/>
              </a:solidFill>
            </c:spPr>
          </c:dPt>
          <c:dPt>
            <c:idx val="1333"/>
            <c:spPr>
              <a:solidFill>
                <a:srgbClr val="AEABAB"/>
              </a:solidFill>
            </c:spPr>
          </c:dPt>
          <c:dPt>
            <c:idx val="1334"/>
            <c:spPr>
              <a:solidFill>
                <a:srgbClr val="AEABAB"/>
              </a:solidFill>
            </c:spPr>
          </c:dPt>
          <c:dPt>
            <c:idx val="1335"/>
            <c:spPr>
              <a:solidFill>
                <a:srgbClr val="AEABAB"/>
              </a:solidFill>
            </c:spPr>
          </c:dPt>
          <c:dPt>
            <c:idx val="1336"/>
            <c:spPr>
              <a:solidFill>
                <a:srgbClr val="AEABAB"/>
              </a:solidFill>
            </c:spPr>
          </c:dPt>
          <c:dPt>
            <c:idx val="1337"/>
            <c:spPr>
              <a:solidFill>
                <a:srgbClr val="AEABAB"/>
              </a:solidFill>
            </c:spPr>
          </c:dPt>
          <c:dPt>
            <c:idx val="1338"/>
            <c:spPr>
              <a:solidFill>
                <a:srgbClr val="AEABAB"/>
              </a:solidFill>
            </c:spPr>
          </c:dPt>
          <c:dPt>
            <c:idx val="1339"/>
            <c:spPr>
              <a:solidFill>
                <a:srgbClr val="AEABAB"/>
              </a:solidFill>
            </c:spPr>
          </c:dPt>
          <c:dPt>
            <c:idx val="1340"/>
            <c:spPr>
              <a:solidFill>
                <a:srgbClr val="AEABAB"/>
              </a:solidFill>
            </c:spPr>
          </c:dPt>
          <c:dPt>
            <c:idx val="1341"/>
            <c:spPr>
              <a:solidFill>
                <a:srgbClr val="AEABAB"/>
              </a:solidFill>
            </c:spPr>
          </c:dPt>
          <c:dPt>
            <c:idx val="1342"/>
            <c:spPr>
              <a:solidFill>
                <a:srgbClr val="AEABAB"/>
              </a:solidFill>
            </c:spPr>
          </c:dPt>
          <c:dPt>
            <c:idx val="1343"/>
            <c:spPr>
              <a:solidFill>
                <a:srgbClr val="AEABAB"/>
              </a:solidFill>
            </c:spPr>
          </c:dPt>
          <c:dPt>
            <c:idx val="1344"/>
            <c:spPr>
              <a:solidFill>
                <a:srgbClr val="AEABAB"/>
              </a:solidFill>
            </c:spPr>
          </c:dPt>
          <c:dPt>
            <c:idx val="1345"/>
            <c:spPr>
              <a:solidFill>
                <a:srgbClr val="AEABAB"/>
              </a:solidFill>
            </c:spPr>
          </c:dPt>
          <c:dPt>
            <c:idx val="1346"/>
            <c:spPr>
              <a:solidFill>
                <a:srgbClr val="AEABAB"/>
              </a:solidFill>
            </c:spPr>
          </c:dPt>
          <c:dPt>
            <c:idx val="1347"/>
            <c:spPr>
              <a:solidFill>
                <a:srgbClr val="AEABAB"/>
              </a:solidFill>
            </c:spPr>
          </c:dPt>
          <c:dPt>
            <c:idx val="1348"/>
            <c:spPr>
              <a:solidFill>
                <a:srgbClr val="AEABAB"/>
              </a:solidFill>
            </c:spPr>
          </c:dPt>
          <c:dPt>
            <c:idx val="1349"/>
            <c:spPr>
              <a:solidFill>
                <a:srgbClr val="AEABAB"/>
              </a:solidFill>
            </c:spPr>
          </c:dPt>
          <c:dPt>
            <c:idx val="1350"/>
            <c:spPr>
              <a:solidFill>
                <a:srgbClr val="AEABAB"/>
              </a:solidFill>
            </c:spPr>
          </c:dPt>
          <c:dPt>
            <c:idx val="1351"/>
            <c:spPr>
              <a:solidFill>
                <a:srgbClr val="AEABAB"/>
              </a:solidFill>
            </c:spPr>
          </c:dPt>
          <c:dPt>
            <c:idx val="1352"/>
            <c:spPr>
              <a:solidFill>
                <a:srgbClr val="AEABAB"/>
              </a:solidFill>
            </c:spPr>
          </c:dPt>
          <c:dPt>
            <c:idx val="1353"/>
            <c:spPr>
              <a:solidFill>
                <a:srgbClr val="AEABAB"/>
              </a:solidFill>
            </c:spPr>
          </c:dPt>
          <c:dPt>
            <c:idx val="1354"/>
            <c:spPr>
              <a:solidFill>
                <a:srgbClr val="AEABAB"/>
              </a:solidFill>
            </c:spPr>
          </c:dPt>
          <c:dPt>
            <c:idx val="1355"/>
            <c:spPr>
              <a:solidFill>
                <a:srgbClr val="AEABAB"/>
              </a:solidFill>
            </c:spPr>
          </c:dPt>
          <c:dPt>
            <c:idx val="1356"/>
            <c:spPr>
              <a:solidFill>
                <a:srgbClr val="AEABAB"/>
              </a:solidFill>
            </c:spPr>
          </c:dPt>
          <c:dPt>
            <c:idx val="1357"/>
            <c:spPr>
              <a:solidFill>
                <a:srgbClr val="AEABAB"/>
              </a:solidFill>
            </c:spPr>
          </c:dPt>
          <c:dPt>
            <c:idx val="1358"/>
            <c:spPr>
              <a:solidFill>
                <a:srgbClr val="AEABAB"/>
              </a:solidFill>
            </c:spPr>
          </c:dPt>
          <c:dPt>
            <c:idx val="1359"/>
            <c:spPr>
              <a:solidFill>
                <a:srgbClr val="AEABAB"/>
              </a:solidFill>
            </c:spPr>
          </c:dPt>
          <c:dPt>
            <c:idx val="1360"/>
            <c:spPr>
              <a:solidFill>
                <a:srgbClr val="AEABAB"/>
              </a:solidFill>
            </c:spPr>
          </c:dPt>
          <c:dPt>
            <c:idx val="1361"/>
            <c:spPr>
              <a:solidFill>
                <a:srgbClr val="AEABAB"/>
              </a:solidFill>
            </c:spPr>
          </c:dPt>
          <c:dPt>
            <c:idx val="1362"/>
            <c:spPr>
              <a:solidFill>
                <a:srgbClr val="AEABAB"/>
              </a:solidFill>
            </c:spPr>
          </c:dPt>
          <c:dPt>
            <c:idx val="1363"/>
            <c:spPr>
              <a:solidFill>
                <a:srgbClr val="AEABAB"/>
              </a:solidFill>
            </c:spPr>
          </c:dPt>
          <c:dPt>
            <c:idx val="1364"/>
            <c:spPr>
              <a:solidFill>
                <a:srgbClr val="AEABAB"/>
              </a:solidFill>
            </c:spPr>
          </c:dPt>
          <c:dPt>
            <c:idx val="1365"/>
            <c:spPr>
              <a:solidFill>
                <a:srgbClr val="AEABAB"/>
              </a:solidFill>
            </c:spPr>
          </c:dPt>
          <c:dPt>
            <c:idx val="1366"/>
            <c:spPr>
              <a:solidFill>
                <a:srgbClr val="AEABAB"/>
              </a:solidFill>
            </c:spPr>
          </c:dPt>
          <c:dPt>
            <c:idx val="1367"/>
            <c:spPr>
              <a:solidFill>
                <a:srgbClr val="AEABAB"/>
              </a:solidFill>
            </c:spPr>
          </c:dPt>
          <c:dPt>
            <c:idx val="1368"/>
            <c:spPr>
              <a:solidFill>
                <a:srgbClr val="AEABAB"/>
              </a:solidFill>
            </c:spPr>
          </c:dPt>
          <c:dPt>
            <c:idx val="1369"/>
            <c:spPr>
              <a:solidFill>
                <a:srgbClr val="AEABAB"/>
              </a:solidFill>
            </c:spPr>
          </c:dPt>
          <c:dPt>
            <c:idx val="1370"/>
            <c:spPr>
              <a:solidFill>
                <a:srgbClr val="AEABAB"/>
              </a:solidFill>
            </c:spPr>
          </c:dPt>
          <c:dPt>
            <c:idx val="1371"/>
            <c:spPr>
              <a:solidFill>
                <a:srgbClr val="AEABAB"/>
              </a:solidFill>
            </c:spPr>
          </c:dPt>
          <c:dPt>
            <c:idx val="1372"/>
            <c:spPr>
              <a:solidFill>
                <a:srgbClr val="AEABAB"/>
              </a:solidFill>
            </c:spPr>
          </c:dPt>
          <c:dPt>
            <c:idx val="1373"/>
            <c:spPr>
              <a:solidFill>
                <a:srgbClr val="AEABAB"/>
              </a:solidFill>
            </c:spPr>
          </c:dPt>
          <c:dPt>
            <c:idx val="1374"/>
            <c:spPr>
              <a:solidFill>
                <a:srgbClr val="AEABAB"/>
              </a:solidFill>
            </c:spPr>
          </c:dPt>
          <c:dPt>
            <c:idx val="1375"/>
            <c:spPr>
              <a:solidFill>
                <a:srgbClr val="AEABAB"/>
              </a:solidFill>
            </c:spPr>
          </c:dPt>
          <c:dPt>
            <c:idx val="1376"/>
            <c:spPr>
              <a:solidFill>
                <a:srgbClr val="AEABAB"/>
              </a:solidFill>
            </c:spPr>
          </c:dPt>
          <c:dPt>
            <c:idx val="1377"/>
            <c:spPr>
              <a:solidFill>
                <a:srgbClr val="AEABAB"/>
              </a:solidFill>
            </c:spPr>
          </c:dPt>
          <c:dPt>
            <c:idx val="1378"/>
            <c:spPr>
              <a:solidFill>
                <a:srgbClr val="AEABAB"/>
              </a:solidFill>
            </c:spPr>
          </c:dPt>
          <c:dPt>
            <c:idx val="1379"/>
            <c:spPr>
              <a:solidFill>
                <a:srgbClr val="AEABAB"/>
              </a:solidFill>
            </c:spPr>
          </c:dPt>
          <c:dPt>
            <c:idx val="1380"/>
            <c:spPr>
              <a:solidFill>
                <a:srgbClr val="AEABAB"/>
              </a:solidFill>
            </c:spPr>
          </c:dPt>
          <c:dPt>
            <c:idx val="1381"/>
            <c:spPr>
              <a:solidFill>
                <a:srgbClr val="AEABAB"/>
              </a:solidFill>
            </c:spPr>
          </c:dPt>
          <c:dPt>
            <c:idx val="1382"/>
            <c:spPr>
              <a:solidFill>
                <a:srgbClr val="AEABAB"/>
              </a:solidFill>
            </c:spPr>
          </c:dPt>
          <c:dPt>
            <c:idx val="1383"/>
            <c:spPr>
              <a:solidFill>
                <a:srgbClr val="AEABAB"/>
              </a:solidFill>
            </c:spPr>
          </c:dPt>
          <c:dPt>
            <c:idx val="1384"/>
            <c:spPr>
              <a:solidFill>
                <a:srgbClr val="AEABAB"/>
              </a:solidFill>
            </c:spPr>
          </c:dPt>
          <c:dPt>
            <c:idx val="1385"/>
            <c:spPr>
              <a:solidFill>
                <a:srgbClr val="AEABAB"/>
              </a:solidFill>
            </c:spPr>
          </c:dPt>
          <c:dPt>
            <c:idx val="1386"/>
            <c:spPr>
              <a:solidFill>
                <a:srgbClr val="AEABAB"/>
              </a:solidFill>
            </c:spPr>
          </c:dPt>
          <c:dPt>
            <c:idx val="1387"/>
            <c:spPr>
              <a:solidFill>
                <a:srgbClr val="AEABAB"/>
              </a:solidFill>
            </c:spPr>
          </c:dPt>
          <c:dPt>
            <c:idx val="1388"/>
            <c:spPr>
              <a:solidFill>
                <a:srgbClr val="AEABAB"/>
              </a:solidFill>
            </c:spPr>
          </c:dPt>
          <c:dPt>
            <c:idx val="1389"/>
            <c:spPr>
              <a:solidFill>
                <a:srgbClr val="AEABAB"/>
              </a:solidFill>
            </c:spPr>
          </c:dPt>
          <c:dPt>
            <c:idx val="1390"/>
            <c:spPr>
              <a:solidFill>
                <a:srgbClr val="AEABAB"/>
              </a:solidFill>
            </c:spPr>
          </c:dPt>
          <c:dPt>
            <c:idx val="1391"/>
            <c:spPr>
              <a:solidFill>
                <a:srgbClr val="AEABAB"/>
              </a:solidFill>
            </c:spPr>
          </c:dPt>
          <c:dPt>
            <c:idx val="1392"/>
            <c:spPr>
              <a:solidFill>
                <a:srgbClr val="AEABAB"/>
              </a:solidFill>
            </c:spPr>
          </c:dPt>
          <c:dPt>
            <c:idx val="1393"/>
            <c:spPr>
              <a:solidFill>
                <a:srgbClr val="AEABAB"/>
              </a:solidFill>
            </c:spPr>
          </c:dPt>
          <c:dPt>
            <c:idx val="1394"/>
            <c:spPr>
              <a:solidFill>
                <a:srgbClr val="AEABAB"/>
              </a:solidFill>
            </c:spPr>
          </c:dPt>
          <c:dPt>
            <c:idx val="1395"/>
            <c:spPr>
              <a:solidFill>
                <a:srgbClr val="AEABAB"/>
              </a:solidFill>
            </c:spPr>
          </c:dPt>
          <c:dPt>
            <c:idx val="1396"/>
            <c:spPr>
              <a:solidFill>
                <a:srgbClr val="AEABAB"/>
              </a:solidFill>
            </c:spPr>
          </c:dPt>
          <c:dPt>
            <c:idx val="1397"/>
            <c:spPr>
              <a:solidFill>
                <a:srgbClr val="AEABAB"/>
              </a:solidFill>
            </c:spPr>
          </c:dPt>
          <c:dPt>
            <c:idx val="1398"/>
            <c:spPr>
              <a:solidFill>
                <a:srgbClr val="AEABAB"/>
              </a:solidFill>
            </c:spPr>
          </c:dPt>
          <c:dPt>
            <c:idx val="1399"/>
            <c:spPr>
              <a:solidFill>
                <a:srgbClr val="AEABAB"/>
              </a:solidFill>
            </c:spPr>
          </c:dPt>
          <c:dPt>
            <c:idx val="1400"/>
            <c:spPr>
              <a:solidFill>
                <a:srgbClr val="AEABAB"/>
              </a:solidFill>
            </c:spPr>
          </c:dPt>
          <c:dPt>
            <c:idx val="1401"/>
            <c:spPr>
              <a:solidFill>
                <a:srgbClr val="AEABAB"/>
              </a:solidFill>
            </c:spPr>
          </c:dPt>
          <c:dPt>
            <c:idx val="1402"/>
            <c:spPr>
              <a:solidFill>
                <a:srgbClr val="AEABAB"/>
              </a:solidFill>
            </c:spPr>
          </c:dPt>
          <c:dPt>
            <c:idx val="1403"/>
            <c:spPr>
              <a:solidFill>
                <a:srgbClr val="AEABAB"/>
              </a:solidFill>
            </c:spPr>
          </c:dPt>
          <c:dPt>
            <c:idx val="1404"/>
            <c:spPr>
              <a:solidFill>
                <a:srgbClr val="AEABAB"/>
              </a:solidFill>
            </c:spPr>
          </c:dPt>
          <c:dPt>
            <c:idx val="1405"/>
            <c:spPr>
              <a:solidFill>
                <a:srgbClr val="AEABAB"/>
              </a:solidFill>
            </c:spPr>
          </c:dPt>
          <c:dPt>
            <c:idx val="1406"/>
            <c:spPr>
              <a:solidFill>
                <a:srgbClr val="AEABAB"/>
              </a:solidFill>
            </c:spPr>
          </c:dPt>
          <c:dPt>
            <c:idx val="1407"/>
            <c:spPr>
              <a:solidFill>
                <a:srgbClr val="AEABAB"/>
              </a:solidFill>
            </c:spPr>
          </c:dPt>
          <c:dPt>
            <c:idx val="1408"/>
            <c:spPr>
              <a:solidFill>
                <a:srgbClr val="AEABAB"/>
              </a:solidFill>
            </c:spPr>
          </c:dPt>
          <c:dPt>
            <c:idx val="1409"/>
            <c:spPr>
              <a:solidFill>
                <a:srgbClr val="AEABAB"/>
              </a:solidFill>
            </c:spPr>
          </c:dPt>
          <c:dPt>
            <c:idx val="1410"/>
            <c:spPr>
              <a:solidFill>
                <a:srgbClr val="AEABAB"/>
              </a:solidFill>
            </c:spPr>
          </c:dPt>
          <c:dPt>
            <c:idx val="1411"/>
            <c:spPr>
              <a:solidFill>
                <a:srgbClr val="AEABAB"/>
              </a:solidFill>
            </c:spPr>
          </c:dPt>
          <c:dPt>
            <c:idx val="1412"/>
            <c:spPr>
              <a:solidFill>
                <a:srgbClr val="AEABAB"/>
              </a:solidFill>
            </c:spPr>
          </c:dPt>
          <c:dPt>
            <c:idx val="1413"/>
            <c:spPr>
              <a:solidFill>
                <a:srgbClr val="AEABAB"/>
              </a:solidFill>
            </c:spPr>
          </c:dPt>
          <c:dPt>
            <c:idx val="1414"/>
            <c:spPr>
              <a:solidFill>
                <a:srgbClr val="AEABAB"/>
              </a:solidFill>
            </c:spPr>
          </c:dPt>
          <c:dPt>
            <c:idx val="1415"/>
            <c:spPr>
              <a:solidFill>
                <a:srgbClr val="AEABAB"/>
              </a:solidFill>
            </c:spPr>
          </c:dPt>
          <c:dPt>
            <c:idx val="1416"/>
            <c:spPr>
              <a:solidFill>
                <a:srgbClr val="AEABAB"/>
              </a:solidFill>
            </c:spPr>
          </c:dPt>
          <c:dPt>
            <c:idx val="1417"/>
            <c:spPr>
              <a:solidFill>
                <a:srgbClr val="AEABAB"/>
              </a:solidFill>
            </c:spPr>
          </c:dPt>
          <c:dPt>
            <c:idx val="1418"/>
            <c:spPr>
              <a:solidFill>
                <a:srgbClr val="AEABAB"/>
              </a:solidFill>
            </c:spPr>
          </c:dPt>
          <c:dPt>
            <c:idx val="1419"/>
            <c:spPr>
              <a:solidFill>
                <a:srgbClr val="AEABAB"/>
              </a:solidFill>
            </c:spPr>
          </c:dPt>
          <c:dPt>
            <c:idx val="1420"/>
            <c:spPr>
              <a:solidFill>
                <a:srgbClr val="AEABAB"/>
              </a:solidFill>
            </c:spPr>
          </c:dPt>
          <c:dPt>
            <c:idx val="1421"/>
            <c:spPr>
              <a:solidFill>
                <a:srgbClr val="AEABAB"/>
              </a:solidFill>
            </c:spPr>
          </c:dPt>
          <c:dPt>
            <c:idx val="1422"/>
            <c:spPr>
              <a:solidFill>
                <a:srgbClr val="AEABAB"/>
              </a:solidFill>
            </c:spPr>
          </c:dPt>
          <c:dPt>
            <c:idx val="1423"/>
            <c:spPr>
              <a:solidFill>
                <a:srgbClr val="AEABAB"/>
              </a:solidFill>
            </c:spPr>
          </c:dPt>
          <c:dPt>
            <c:idx val="1424"/>
            <c:spPr>
              <a:solidFill>
                <a:srgbClr val="AEABAB"/>
              </a:solidFill>
            </c:spPr>
          </c:dPt>
          <c:dPt>
            <c:idx val="1425"/>
            <c:spPr>
              <a:solidFill>
                <a:srgbClr val="AEABAB"/>
              </a:solidFill>
            </c:spPr>
          </c:dPt>
          <c:dPt>
            <c:idx val="1426"/>
            <c:spPr>
              <a:solidFill>
                <a:srgbClr val="AEABAB"/>
              </a:solidFill>
            </c:spPr>
          </c:dPt>
          <c:dPt>
            <c:idx val="1427"/>
            <c:spPr>
              <a:solidFill>
                <a:srgbClr val="AEABAB"/>
              </a:solidFill>
            </c:spPr>
          </c:dPt>
          <c:dPt>
            <c:idx val="1428"/>
            <c:spPr>
              <a:solidFill>
                <a:srgbClr val="AEABAB"/>
              </a:solidFill>
            </c:spPr>
          </c:dPt>
          <c:dPt>
            <c:idx val="1429"/>
            <c:spPr>
              <a:solidFill>
                <a:srgbClr val="AEABAB"/>
              </a:solidFill>
            </c:spPr>
          </c:dPt>
          <c:dPt>
            <c:idx val="1430"/>
            <c:spPr>
              <a:solidFill>
                <a:srgbClr val="AEABAB"/>
              </a:solidFill>
            </c:spPr>
          </c:dPt>
          <c:dPt>
            <c:idx val="1431"/>
            <c:spPr>
              <a:solidFill>
                <a:srgbClr val="AEABAB"/>
              </a:solidFill>
            </c:spPr>
          </c:dPt>
          <c:dPt>
            <c:idx val="1432"/>
            <c:spPr>
              <a:solidFill>
                <a:srgbClr val="AEABAB"/>
              </a:solidFill>
            </c:spPr>
          </c:dPt>
          <c:dPt>
            <c:idx val="1433"/>
            <c:spPr>
              <a:solidFill>
                <a:srgbClr val="AEABAB"/>
              </a:solidFill>
            </c:spPr>
          </c:dPt>
          <c:dPt>
            <c:idx val="1434"/>
            <c:spPr>
              <a:solidFill>
                <a:srgbClr val="AEABAB"/>
              </a:solidFill>
            </c:spPr>
          </c:dPt>
          <c:dPt>
            <c:idx val="1435"/>
            <c:spPr>
              <a:solidFill>
                <a:srgbClr val="AEABAB"/>
              </a:solidFill>
            </c:spPr>
          </c:dPt>
          <c:dPt>
            <c:idx val="1436"/>
            <c:spPr>
              <a:solidFill>
                <a:srgbClr val="AEABAB"/>
              </a:solidFill>
            </c:spPr>
          </c:dPt>
          <c:dPt>
            <c:idx val="1437"/>
            <c:spPr>
              <a:solidFill>
                <a:srgbClr val="AEABAB"/>
              </a:solidFill>
            </c:spPr>
          </c:dPt>
          <c:dPt>
            <c:idx val="1438"/>
            <c:spPr>
              <a:solidFill>
                <a:srgbClr val="AEABAB"/>
              </a:solidFill>
            </c:spPr>
          </c:dPt>
          <c:dPt>
            <c:idx val="1439"/>
            <c:spPr>
              <a:solidFill>
                <a:srgbClr val="AEABAB"/>
              </a:solidFill>
            </c:spPr>
          </c:dPt>
          <c:dPt>
            <c:idx val="1440"/>
            <c:spPr>
              <a:solidFill>
                <a:srgbClr val="AEABAB"/>
              </a:solidFill>
            </c:spPr>
          </c:dPt>
          <c:dPt>
            <c:idx val="1441"/>
            <c:spPr>
              <a:solidFill>
                <a:srgbClr val="AEABAB"/>
              </a:solidFill>
            </c:spPr>
          </c:dPt>
          <c:dPt>
            <c:idx val="1442"/>
            <c:spPr>
              <a:solidFill>
                <a:srgbClr val="AEABAB"/>
              </a:solidFill>
            </c:spPr>
          </c:dPt>
          <c:dPt>
            <c:idx val="1443"/>
            <c:spPr>
              <a:solidFill>
                <a:srgbClr val="AEABAB"/>
              </a:solidFill>
            </c:spPr>
          </c:dPt>
          <c:dPt>
            <c:idx val="1444"/>
            <c:spPr>
              <a:solidFill>
                <a:srgbClr val="AEABAB"/>
              </a:solidFill>
            </c:spPr>
          </c:dPt>
          <c:dPt>
            <c:idx val="1445"/>
            <c:spPr>
              <a:solidFill>
                <a:srgbClr val="AEABAB"/>
              </a:solidFill>
            </c:spPr>
          </c:dPt>
          <c:dPt>
            <c:idx val="1446"/>
            <c:spPr>
              <a:solidFill>
                <a:srgbClr val="AEABAB"/>
              </a:solidFill>
            </c:spPr>
          </c:dPt>
          <c:dPt>
            <c:idx val="1447"/>
            <c:spPr>
              <a:solidFill>
                <a:srgbClr val="AEABAB"/>
              </a:solidFill>
            </c:spPr>
          </c:dPt>
          <c:dPt>
            <c:idx val="1448"/>
            <c:spPr>
              <a:solidFill>
                <a:srgbClr val="AEABAB"/>
              </a:solidFill>
            </c:spPr>
          </c:dPt>
          <c:dPt>
            <c:idx val="1449"/>
            <c:spPr>
              <a:solidFill>
                <a:srgbClr val="AEABAB"/>
              </a:solidFill>
            </c:spPr>
          </c:dPt>
          <c:dPt>
            <c:idx val="1450"/>
            <c:spPr>
              <a:solidFill>
                <a:srgbClr val="AEABAB"/>
              </a:solidFill>
            </c:spPr>
          </c:dPt>
          <c:dPt>
            <c:idx val="1451"/>
            <c:spPr>
              <a:solidFill>
                <a:srgbClr val="AEABAB"/>
              </a:solidFill>
            </c:spPr>
          </c:dPt>
          <c:dPt>
            <c:idx val="1452"/>
            <c:spPr>
              <a:solidFill>
                <a:srgbClr val="AEABAB"/>
              </a:solidFill>
            </c:spPr>
          </c:dPt>
          <c:dPt>
            <c:idx val="1453"/>
            <c:spPr>
              <a:solidFill>
                <a:srgbClr val="AEABAB"/>
              </a:solidFill>
            </c:spPr>
          </c:dPt>
          <c:dPt>
            <c:idx val="1454"/>
            <c:spPr>
              <a:solidFill>
                <a:srgbClr val="AEABAB"/>
              </a:solidFill>
            </c:spPr>
          </c:dPt>
          <c:dPt>
            <c:idx val="1455"/>
            <c:spPr>
              <a:solidFill>
                <a:srgbClr val="AEABAB"/>
              </a:solidFill>
            </c:spPr>
          </c:dPt>
          <c:dPt>
            <c:idx val="1456"/>
            <c:spPr>
              <a:solidFill>
                <a:srgbClr val="AEABAB"/>
              </a:solidFill>
            </c:spPr>
          </c:dPt>
          <c:dPt>
            <c:idx val="1457"/>
            <c:spPr>
              <a:solidFill>
                <a:srgbClr val="AEABAB"/>
              </a:solidFill>
            </c:spPr>
          </c:dPt>
          <c:dPt>
            <c:idx val="1458"/>
            <c:spPr>
              <a:solidFill>
                <a:srgbClr val="AEABAB"/>
              </a:solidFill>
            </c:spPr>
          </c:dPt>
          <c:dPt>
            <c:idx val="1459"/>
            <c:spPr>
              <a:solidFill>
                <a:srgbClr val="AEABAB"/>
              </a:solidFill>
            </c:spPr>
          </c:dPt>
          <c:dPt>
            <c:idx val="1460"/>
            <c:spPr>
              <a:solidFill>
                <a:srgbClr val="AEABAB"/>
              </a:solidFill>
            </c:spPr>
          </c:dPt>
          <c:dPt>
            <c:idx val="1461"/>
            <c:spPr>
              <a:solidFill>
                <a:srgbClr val="AEABAB"/>
              </a:solidFill>
            </c:spPr>
          </c:dPt>
          <c:dPt>
            <c:idx val="1462"/>
            <c:spPr>
              <a:solidFill>
                <a:srgbClr val="AEABAB"/>
              </a:solidFill>
            </c:spPr>
          </c:dPt>
          <c:dPt>
            <c:idx val="1463"/>
            <c:spPr>
              <a:solidFill>
                <a:srgbClr val="AEABAB"/>
              </a:solidFill>
            </c:spPr>
          </c:dPt>
          <c:dPt>
            <c:idx val="1464"/>
            <c:spPr>
              <a:solidFill>
                <a:srgbClr val="AEABAB"/>
              </a:solidFill>
            </c:spPr>
          </c:dPt>
          <c:dPt>
            <c:idx val="1465"/>
            <c:spPr>
              <a:solidFill>
                <a:srgbClr val="AEABAB"/>
              </a:solidFill>
            </c:spPr>
          </c:dPt>
          <c:dPt>
            <c:idx val="1466"/>
            <c:spPr>
              <a:solidFill>
                <a:srgbClr val="AEABAB"/>
              </a:solidFill>
            </c:spPr>
          </c:dPt>
          <c:dPt>
            <c:idx val="1467"/>
            <c:spPr>
              <a:solidFill>
                <a:srgbClr val="AEABAB"/>
              </a:solidFill>
            </c:spPr>
          </c:dPt>
          <c:dPt>
            <c:idx val="1468"/>
            <c:spPr>
              <a:solidFill>
                <a:srgbClr val="AEABAB"/>
              </a:solidFill>
            </c:spPr>
          </c:dPt>
          <c:dPt>
            <c:idx val="1469"/>
            <c:spPr>
              <a:solidFill>
                <a:srgbClr val="AEABAB"/>
              </a:solidFill>
            </c:spPr>
          </c:dPt>
          <c:dPt>
            <c:idx val="1470"/>
            <c:spPr>
              <a:solidFill>
                <a:srgbClr val="AEABAB"/>
              </a:solidFill>
            </c:spPr>
          </c:dPt>
          <c:dPt>
            <c:idx val="1471"/>
            <c:spPr>
              <a:solidFill>
                <a:srgbClr val="AEABAB"/>
              </a:solidFill>
            </c:spPr>
          </c:dPt>
          <c:dPt>
            <c:idx val="1472"/>
            <c:spPr>
              <a:solidFill>
                <a:srgbClr val="AEABAB"/>
              </a:solidFill>
            </c:spPr>
          </c:dPt>
          <c:dPt>
            <c:idx val="1473"/>
            <c:spPr>
              <a:solidFill>
                <a:srgbClr val="AEABAB"/>
              </a:solidFill>
            </c:spPr>
          </c:dPt>
          <c:dPt>
            <c:idx val="1474"/>
            <c:spPr>
              <a:solidFill>
                <a:srgbClr val="AEABAB"/>
              </a:solidFill>
            </c:spPr>
          </c:dPt>
          <c:dPt>
            <c:idx val="1475"/>
            <c:spPr>
              <a:solidFill>
                <a:srgbClr val="AEABAB"/>
              </a:solidFill>
            </c:spPr>
          </c:dPt>
          <c:dPt>
            <c:idx val="1476"/>
            <c:spPr>
              <a:solidFill>
                <a:srgbClr val="AEABAB"/>
              </a:solidFill>
            </c:spPr>
          </c:dPt>
          <c:dPt>
            <c:idx val="1477"/>
            <c:spPr>
              <a:solidFill>
                <a:srgbClr val="AEABAB"/>
              </a:solidFill>
            </c:spPr>
          </c:dPt>
          <c:dPt>
            <c:idx val="1478"/>
            <c:spPr>
              <a:solidFill>
                <a:srgbClr val="AEABAB"/>
              </a:solidFill>
            </c:spPr>
          </c:dPt>
          <c:dPt>
            <c:idx val="1479"/>
            <c:spPr>
              <a:solidFill>
                <a:srgbClr val="AEABAB"/>
              </a:solidFill>
            </c:spPr>
          </c:dPt>
          <c:dPt>
            <c:idx val="1480"/>
            <c:spPr>
              <a:solidFill>
                <a:srgbClr val="AEABAB"/>
              </a:solidFill>
            </c:spPr>
          </c:dPt>
          <c:dPt>
            <c:idx val="1481"/>
            <c:spPr>
              <a:solidFill>
                <a:srgbClr val="AEABAB"/>
              </a:solidFill>
            </c:spPr>
          </c:dPt>
          <c:dPt>
            <c:idx val="1482"/>
            <c:spPr>
              <a:solidFill>
                <a:srgbClr val="AEABAB"/>
              </a:solidFill>
            </c:spPr>
          </c:dPt>
          <c:dPt>
            <c:idx val="1483"/>
            <c:spPr>
              <a:solidFill>
                <a:srgbClr val="AEABAB"/>
              </a:solidFill>
            </c:spPr>
          </c:dPt>
          <c:dPt>
            <c:idx val="1484"/>
            <c:spPr>
              <a:solidFill>
                <a:srgbClr val="AEABAB"/>
              </a:solidFill>
            </c:spPr>
          </c:dPt>
          <c:dPt>
            <c:idx val="1485"/>
            <c:spPr>
              <a:solidFill>
                <a:srgbClr val="AEABAB"/>
              </a:solidFill>
            </c:spPr>
          </c:dPt>
          <c:dPt>
            <c:idx val="1486"/>
            <c:spPr>
              <a:solidFill>
                <a:srgbClr val="AEABAB"/>
              </a:solidFill>
            </c:spPr>
          </c:dPt>
          <c:dPt>
            <c:idx val="1487"/>
            <c:spPr>
              <a:solidFill>
                <a:srgbClr val="AEABAB"/>
              </a:solidFill>
            </c:spPr>
          </c:dPt>
          <c:dPt>
            <c:idx val="1488"/>
            <c:spPr>
              <a:solidFill>
                <a:srgbClr val="AEABAB"/>
              </a:solidFill>
            </c:spPr>
          </c:dPt>
          <c:dPt>
            <c:idx val="1489"/>
            <c:spPr>
              <a:solidFill>
                <a:srgbClr val="AEABAB"/>
              </a:solidFill>
            </c:spPr>
          </c:dPt>
          <c:dPt>
            <c:idx val="1490"/>
            <c:spPr>
              <a:solidFill>
                <a:srgbClr val="AEABAB"/>
              </a:solidFill>
            </c:spPr>
          </c:dPt>
          <c:dPt>
            <c:idx val="1491"/>
            <c:spPr>
              <a:solidFill>
                <a:srgbClr val="AEABAB"/>
              </a:solidFill>
            </c:spPr>
          </c:dPt>
          <c:dPt>
            <c:idx val="1492"/>
            <c:spPr>
              <a:solidFill>
                <a:srgbClr val="AEABAB"/>
              </a:solidFill>
            </c:spPr>
          </c:dPt>
          <c:dPt>
            <c:idx val="1493"/>
            <c:spPr>
              <a:solidFill>
                <a:srgbClr val="AEABAB"/>
              </a:solidFill>
            </c:spPr>
          </c:dPt>
          <c:dPt>
            <c:idx val="1494"/>
            <c:spPr>
              <a:solidFill>
                <a:srgbClr val="AEABAB"/>
              </a:solidFill>
            </c:spPr>
          </c:dPt>
          <c:dPt>
            <c:idx val="1495"/>
            <c:spPr>
              <a:solidFill>
                <a:srgbClr val="AEABAB"/>
              </a:solidFill>
            </c:spPr>
          </c:dPt>
          <c:dPt>
            <c:idx val="1496"/>
            <c:spPr>
              <a:solidFill>
                <a:srgbClr val="AEABAB"/>
              </a:solidFill>
            </c:spPr>
          </c:dPt>
          <c:dPt>
            <c:idx val="1497"/>
            <c:spPr>
              <a:solidFill>
                <a:srgbClr val="AEABAB"/>
              </a:solidFill>
            </c:spPr>
          </c:dPt>
          <c:dPt>
            <c:idx val="1498"/>
            <c:spPr>
              <a:solidFill>
                <a:srgbClr val="AEABAB"/>
              </a:solidFill>
            </c:spPr>
          </c:dPt>
          <c:dPt>
            <c:idx val="1499"/>
            <c:spPr>
              <a:solidFill>
                <a:srgbClr val="AEABAB"/>
              </a:solidFill>
            </c:spPr>
          </c:dPt>
          <c:dPt>
            <c:idx val="1500"/>
            <c:spPr>
              <a:solidFill>
                <a:srgbClr val="AEABAB"/>
              </a:solidFill>
            </c:spPr>
          </c:dPt>
          <c:dPt>
            <c:idx val="1501"/>
            <c:spPr>
              <a:solidFill>
                <a:srgbClr val="AEABAB"/>
              </a:solidFill>
            </c:spPr>
          </c:dPt>
          <c:dPt>
            <c:idx val="1502"/>
            <c:spPr>
              <a:solidFill>
                <a:srgbClr val="AEABAB"/>
              </a:solidFill>
            </c:spPr>
          </c:dPt>
          <c:dPt>
            <c:idx val="1503"/>
            <c:spPr>
              <a:solidFill>
                <a:srgbClr val="AEABAB"/>
              </a:solidFill>
            </c:spPr>
          </c:dPt>
          <c:dPt>
            <c:idx val="1504"/>
            <c:spPr>
              <a:solidFill>
                <a:srgbClr val="AEABAB"/>
              </a:solidFill>
            </c:spPr>
          </c:dPt>
          <c:dPt>
            <c:idx val="1505"/>
            <c:spPr>
              <a:solidFill>
                <a:srgbClr val="AEABAB"/>
              </a:solidFill>
            </c:spPr>
          </c:dPt>
          <c:dPt>
            <c:idx val="1506"/>
            <c:spPr>
              <a:solidFill>
                <a:srgbClr val="AEABAB"/>
              </a:solidFill>
            </c:spPr>
          </c:dPt>
          <c:dPt>
            <c:idx val="1507"/>
            <c:spPr>
              <a:solidFill>
                <a:srgbClr val="AEABAB"/>
              </a:solidFill>
            </c:spPr>
          </c:dPt>
          <c:dPt>
            <c:idx val="1508"/>
            <c:spPr>
              <a:solidFill>
                <a:srgbClr val="AEABAB"/>
              </a:solidFill>
            </c:spPr>
          </c:dPt>
          <c:dPt>
            <c:idx val="1509"/>
            <c:spPr>
              <a:solidFill>
                <a:srgbClr val="AEABAB"/>
              </a:solidFill>
            </c:spPr>
          </c:dPt>
          <c:dPt>
            <c:idx val="1510"/>
            <c:spPr>
              <a:solidFill>
                <a:srgbClr val="AEABAB"/>
              </a:solidFill>
            </c:spPr>
          </c:dPt>
          <c:dPt>
            <c:idx val="1511"/>
            <c:spPr>
              <a:solidFill>
                <a:srgbClr val="AEABAB"/>
              </a:solidFill>
            </c:spPr>
          </c:dPt>
          <c:dPt>
            <c:idx val="1512"/>
            <c:spPr>
              <a:solidFill>
                <a:srgbClr val="AEABAB"/>
              </a:solidFill>
            </c:spPr>
          </c:dPt>
          <c:dPt>
            <c:idx val="1513"/>
            <c:spPr>
              <a:solidFill>
                <a:srgbClr val="AEABAB"/>
              </a:solidFill>
            </c:spPr>
          </c:dPt>
          <c:dPt>
            <c:idx val="1514"/>
            <c:spPr>
              <a:solidFill>
                <a:srgbClr val="AEABAB"/>
              </a:solidFill>
            </c:spPr>
          </c:dPt>
          <c:dPt>
            <c:idx val="1515"/>
            <c:spPr>
              <a:solidFill>
                <a:srgbClr val="AEABAB"/>
              </a:solidFill>
            </c:spPr>
          </c:dPt>
          <c:dPt>
            <c:idx val="1516"/>
            <c:spPr>
              <a:solidFill>
                <a:srgbClr val="AEABAB"/>
              </a:solidFill>
            </c:spPr>
          </c:dPt>
          <c:dPt>
            <c:idx val="1517"/>
            <c:spPr>
              <a:solidFill>
                <a:srgbClr val="AEABAB"/>
              </a:solidFill>
            </c:spPr>
          </c:dPt>
          <c:dPt>
            <c:idx val="1518"/>
            <c:spPr>
              <a:solidFill>
                <a:srgbClr val="AEABAB"/>
              </a:solidFill>
            </c:spPr>
          </c:dPt>
          <c:dPt>
            <c:idx val="1519"/>
            <c:spPr>
              <a:solidFill>
                <a:srgbClr val="AEABAB"/>
              </a:solidFill>
            </c:spPr>
          </c:dPt>
          <c:dPt>
            <c:idx val="1520"/>
            <c:spPr>
              <a:solidFill>
                <a:srgbClr val="AEABAB"/>
              </a:solidFill>
            </c:spPr>
          </c:dPt>
          <c:dPt>
            <c:idx val="1521"/>
            <c:spPr>
              <a:solidFill>
                <a:srgbClr val="AEABAB"/>
              </a:solidFill>
            </c:spPr>
          </c:dPt>
          <c:dPt>
            <c:idx val="1522"/>
            <c:spPr>
              <a:solidFill>
                <a:srgbClr val="AEABAB"/>
              </a:solidFill>
            </c:spPr>
          </c:dPt>
          <c:dPt>
            <c:idx val="1523"/>
            <c:spPr>
              <a:solidFill>
                <a:srgbClr val="AEABAB"/>
              </a:solidFill>
            </c:spPr>
          </c:dPt>
          <c:dPt>
            <c:idx val="1524"/>
            <c:spPr>
              <a:solidFill>
                <a:srgbClr val="AEABAB"/>
              </a:solidFill>
            </c:spPr>
          </c:dPt>
          <c:dPt>
            <c:idx val="1525"/>
            <c:spPr>
              <a:solidFill>
                <a:srgbClr val="AEABAB"/>
              </a:solidFill>
            </c:spPr>
          </c:dPt>
          <c:dPt>
            <c:idx val="1526"/>
            <c:spPr>
              <a:solidFill>
                <a:srgbClr val="AEABAB"/>
              </a:solidFill>
            </c:spPr>
          </c:dPt>
          <c:dPt>
            <c:idx val="1527"/>
            <c:spPr>
              <a:solidFill>
                <a:srgbClr val="AEABAB"/>
              </a:solidFill>
            </c:spPr>
          </c:dPt>
          <c:dPt>
            <c:idx val="1528"/>
            <c:spPr>
              <a:solidFill>
                <a:srgbClr val="AEABAB"/>
              </a:solidFill>
            </c:spPr>
          </c:dPt>
          <c:dPt>
            <c:idx val="1529"/>
            <c:spPr>
              <a:solidFill>
                <a:srgbClr val="AEABAB"/>
              </a:solidFill>
            </c:spPr>
          </c:dPt>
          <c:dPt>
            <c:idx val="1530"/>
            <c:spPr>
              <a:solidFill>
                <a:srgbClr val="AEABAB"/>
              </a:solidFill>
            </c:spPr>
          </c:dPt>
          <c:dPt>
            <c:idx val="1531"/>
            <c:spPr>
              <a:solidFill>
                <a:srgbClr val="AEABAB"/>
              </a:solidFill>
            </c:spPr>
          </c:dPt>
          <c:dPt>
            <c:idx val="1532"/>
            <c:spPr>
              <a:solidFill>
                <a:srgbClr val="AEABAB"/>
              </a:solidFill>
            </c:spPr>
          </c:dPt>
          <c:dPt>
            <c:idx val="1533"/>
            <c:spPr>
              <a:solidFill>
                <a:srgbClr val="AEABAB"/>
              </a:solidFill>
            </c:spPr>
          </c:dPt>
          <c:dPt>
            <c:idx val="1534"/>
            <c:spPr>
              <a:solidFill>
                <a:srgbClr val="AEABAB"/>
              </a:solidFill>
            </c:spPr>
          </c:dPt>
          <c:dPt>
            <c:idx val="1535"/>
            <c:spPr>
              <a:solidFill>
                <a:srgbClr val="AEABAB"/>
              </a:solidFill>
            </c:spPr>
          </c:dPt>
          <c:dPt>
            <c:idx val="1536"/>
            <c:spPr>
              <a:solidFill>
                <a:srgbClr val="AEABAB"/>
              </a:solidFill>
            </c:spPr>
          </c:dPt>
          <c:dPt>
            <c:idx val="1537"/>
            <c:spPr>
              <a:solidFill>
                <a:srgbClr val="AEABAB"/>
              </a:solidFill>
            </c:spPr>
          </c:dPt>
          <c:dPt>
            <c:idx val="1538"/>
            <c:spPr>
              <a:solidFill>
                <a:srgbClr val="AEABAB"/>
              </a:solidFill>
            </c:spPr>
          </c:dPt>
          <c:dPt>
            <c:idx val="1539"/>
            <c:spPr>
              <a:solidFill>
                <a:srgbClr val="AEABAB"/>
              </a:solidFill>
            </c:spPr>
          </c:dPt>
          <c:dPt>
            <c:idx val="1540"/>
            <c:spPr>
              <a:solidFill>
                <a:srgbClr val="AEABAB"/>
              </a:solidFill>
            </c:spPr>
          </c:dPt>
          <c:dPt>
            <c:idx val="1541"/>
            <c:spPr>
              <a:solidFill>
                <a:srgbClr val="AEABAB"/>
              </a:solidFill>
            </c:spPr>
          </c:dPt>
          <c:dPt>
            <c:idx val="1542"/>
            <c:spPr>
              <a:solidFill>
                <a:srgbClr val="AEABAB"/>
              </a:solidFill>
            </c:spPr>
          </c:dPt>
          <c:dPt>
            <c:idx val="1543"/>
            <c:spPr>
              <a:solidFill>
                <a:srgbClr val="AEABAB"/>
              </a:solidFill>
            </c:spPr>
          </c:dPt>
          <c:dPt>
            <c:idx val="1544"/>
            <c:spPr>
              <a:solidFill>
                <a:srgbClr val="AEABAB"/>
              </a:solidFill>
            </c:spPr>
          </c:dPt>
          <c:dPt>
            <c:idx val="1545"/>
            <c:spPr>
              <a:solidFill>
                <a:srgbClr val="AEABAB"/>
              </a:solidFill>
            </c:spPr>
          </c:dPt>
          <c:dPt>
            <c:idx val="1546"/>
            <c:spPr>
              <a:solidFill>
                <a:srgbClr val="AEABAB"/>
              </a:solidFill>
            </c:spPr>
          </c:dPt>
          <c:dPt>
            <c:idx val="1547"/>
            <c:spPr>
              <a:solidFill>
                <a:srgbClr val="AEABAB"/>
              </a:solidFill>
            </c:spPr>
          </c:dPt>
          <c:dPt>
            <c:idx val="1548"/>
            <c:spPr>
              <a:solidFill>
                <a:srgbClr val="AEABAB"/>
              </a:solidFill>
            </c:spPr>
          </c:dPt>
          <c:dPt>
            <c:idx val="1549"/>
            <c:spPr>
              <a:solidFill>
                <a:srgbClr val="AEABAB"/>
              </a:solidFill>
            </c:spPr>
          </c:dPt>
          <c:dPt>
            <c:idx val="1550"/>
            <c:spPr>
              <a:solidFill>
                <a:srgbClr val="AEABAB"/>
              </a:solidFill>
            </c:spPr>
          </c:dPt>
          <c:dPt>
            <c:idx val="1551"/>
            <c:spPr>
              <a:solidFill>
                <a:srgbClr val="AEABAB"/>
              </a:solidFill>
            </c:spPr>
          </c:dPt>
          <c:dPt>
            <c:idx val="1552"/>
            <c:spPr>
              <a:solidFill>
                <a:srgbClr val="AEABAB"/>
              </a:solidFill>
            </c:spPr>
          </c:dPt>
          <c:dPt>
            <c:idx val="1553"/>
            <c:spPr>
              <a:solidFill>
                <a:srgbClr val="AEABAB"/>
              </a:solidFill>
            </c:spPr>
          </c:dPt>
          <c:dPt>
            <c:idx val="1554"/>
            <c:spPr>
              <a:solidFill>
                <a:srgbClr val="AEABAB"/>
              </a:solidFill>
            </c:spPr>
          </c:dPt>
          <c:dPt>
            <c:idx val="1555"/>
            <c:spPr>
              <a:solidFill>
                <a:srgbClr val="AEABAB"/>
              </a:solidFill>
            </c:spPr>
          </c:dPt>
          <c:dPt>
            <c:idx val="1556"/>
            <c:spPr>
              <a:solidFill>
                <a:srgbClr val="AEABAB"/>
              </a:solidFill>
            </c:spPr>
          </c:dPt>
          <c:dPt>
            <c:idx val="1557"/>
            <c:spPr>
              <a:solidFill>
                <a:srgbClr val="AEABAB"/>
              </a:solidFill>
            </c:spPr>
          </c:dPt>
          <c:dPt>
            <c:idx val="1558"/>
            <c:spPr>
              <a:solidFill>
                <a:srgbClr val="AEABAB"/>
              </a:solidFill>
            </c:spPr>
          </c:dPt>
          <c:dPt>
            <c:idx val="1559"/>
            <c:spPr>
              <a:solidFill>
                <a:srgbClr val="AEABAB"/>
              </a:solidFill>
            </c:spPr>
          </c:dPt>
          <c:dPt>
            <c:idx val="1560"/>
            <c:spPr>
              <a:solidFill>
                <a:srgbClr val="AEABAB"/>
              </a:solidFill>
            </c:spPr>
          </c:dPt>
          <c:dPt>
            <c:idx val="1561"/>
            <c:spPr>
              <a:solidFill>
                <a:srgbClr val="AEABAB"/>
              </a:solidFill>
            </c:spPr>
          </c:dPt>
          <c:dPt>
            <c:idx val="1562"/>
            <c:spPr>
              <a:solidFill>
                <a:srgbClr val="AEABAB"/>
              </a:solidFill>
            </c:spPr>
          </c:dPt>
          <c:dPt>
            <c:idx val="1563"/>
            <c:spPr>
              <a:solidFill>
                <a:srgbClr val="AEABAB"/>
              </a:solidFill>
            </c:spPr>
          </c:dPt>
          <c:dPt>
            <c:idx val="1564"/>
            <c:spPr>
              <a:solidFill>
                <a:srgbClr val="AEABAB"/>
              </a:solidFill>
            </c:spPr>
          </c:dPt>
          <c:dPt>
            <c:idx val="1565"/>
            <c:spPr>
              <a:solidFill>
                <a:srgbClr val="AEABAB"/>
              </a:solidFill>
            </c:spPr>
          </c:dPt>
          <c:dPt>
            <c:idx val="1566"/>
            <c:spPr>
              <a:solidFill>
                <a:srgbClr val="AEABAB"/>
              </a:solidFill>
            </c:spPr>
          </c:dPt>
          <c:dPt>
            <c:idx val="1567"/>
            <c:spPr>
              <a:solidFill>
                <a:srgbClr val="AEABAB"/>
              </a:solidFill>
            </c:spPr>
          </c:dPt>
          <c:dPt>
            <c:idx val="1568"/>
            <c:spPr>
              <a:solidFill>
                <a:srgbClr val="AEABAB"/>
              </a:solidFill>
            </c:spPr>
          </c:dPt>
          <c:dPt>
            <c:idx val="1569"/>
            <c:spPr>
              <a:solidFill>
                <a:srgbClr val="AEABAB"/>
              </a:solidFill>
            </c:spPr>
          </c:dPt>
          <c:dPt>
            <c:idx val="1570"/>
            <c:spPr>
              <a:solidFill>
                <a:srgbClr val="AEABAB"/>
              </a:solidFill>
            </c:spPr>
          </c:dPt>
          <c:dPt>
            <c:idx val="1571"/>
            <c:spPr>
              <a:solidFill>
                <a:srgbClr val="AEABAB"/>
              </a:solidFill>
            </c:spPr>
          </c:dPt>
          <c:dPt>
            <c:idx val="1572"/>
            <c:spPr>
              <a:solidFill>
                <a:srgbClr val="AEABAB"/>
              </a:solidFill>
            </c:spPr>
          </c:dPt>
          <c:dPt>
            <c:idx val="1573"/>
            <c:spPr>
              <a:solidFill>
                <a:srgbClr val="AEABAB"/>
              </a:solidFill>
            </c:spPr>
          </c:dPt>
          <c:dPt>
            <c:idx val="1574"/>
            <c:spPr>
              <a:solidFill>
                <a:srgbClr val="AEABAB"/>
              </a:solidFill>
            </c:spPr>
          </c:dPt>
          <c:dPt>
            <c:idx val="1575"/>
            <c:spPr>
              <a:solidFill>
                <a:srgbClr val="AEABAB"/>
              </a:solidFill>
            </c:spPr>
          </c:dPt>
          <c:dPt>
            <c:idx val="1576"/>
            <c:spPr>
              <a:solidFill>
                <a:srgbClr val="AEABAB"/>
              </a:solidFill>
            </c:spPr>
          </c:dPt>
          <c:dPt>
            <c:idx val="1577"/>
            <c:spPr>
              <a:solidFill>
                <a:srgbClr val="AEABAB"/>
              </a:solidFill>
            </c:spPr>
          </c:dPt>
          <c:dPt>
            <c:idx val="1578"/>
            <c:spPr>
              <a:solidFill>
                <a:srgbClr val="AEABAB"/>
              </a:solidFill>
            </c:spPr>
          </c:dPt>
          <c:dPt>
            <c:idx val="1579"/>
            <c:spPr>
              <a:solidFill>
                <a:srgbClr val="AEABAB"/>
              </a:solidFill>
            </c:spPr>
          </c:dPt>
          <c:dPt>
            <c:idx val="1580"/>
            <c:spPr>
              <a:solidFill>
                <a:srgbClr val="AEABAB"/>
              </a:solidFill>
            </c:spPr>
          </c:dPt>
          <c:dPt>
            <c:idx val="1581"/>
            <c:spPr>
              <a:solidFill>
                <a:srgbClr val="AEABAB"/>
              </a:solidFill>
            </c:spPr>
          </c:dPt>
          <c:dPt>
            <c:idx val="1582"/>
            <c:spPr>
              <a:solidFill>
                <a:srgbClr val="AEABAB"/>
              </a:solidFill>
            </c:spPr>
          </c:dPt>
          <c:dPt>
            <c:idx val="1583"/>
            <c:spPr>
              <a:solidFill>
                <a:srgbClr val="AEABAB"/>
              </a:solidFill>
            </c:spPr>
          </c:dPt>
          <c:dPt>
            <c:idx val="1584"/>
            <c:spPr>
              <a:solidFill>
                <a:srgbClr val="AEABAB"/>
              </a:solidFill>
            </c:spPr>
          </c:dPt>
          <c:dPt>
            <c:idx val="1585"/>
            <c:spPr>
              <a:solidFill>
                <a:srgbClr val="AEABAB"/>
              </a:solidFill>
            </c:spPr>
          </c:dPt>
          <c:dPt>
            <c:idx val="1586"/>
            <c:spPr>
              <a:solidFill>
                <a:srgbClr val="AEABAB"/>
              </a:solidFill>
            </c:spPr>
          </c:dPt>
          <c:dPt>
            <c:idx val="1587"/>
            <c:spPr>
              <a:solidFill>
                <a:srgbClr val="AEABAB"/>
              </a:solidFill>
            </c:spPr>
          </c:dPt>
          <c:dPt>
            <c:idx val="1588"/>
            <c:spPr>
              <a:solidFill>
                <a:srgbClr val="AEABAB"/>
              </a:solidFill>
            </c:spPr>
          </c:dPt>
          <c:dPt>
            <c:idx val="1589"/>
            <c:spPr>
              <a:solidFill>
                <a:srgbClr val="AEABAB"/>
              </a:solidFill>
            </c:spPr>
          </c:dPt>
          <c:dPt>
            <c:idx val="1590"/>
            <c:spPr>
              <a:solidFill>
                <a:srgbClr val="AEABAB"/>
              </a:solidFill>
            </c:spPr>
          </c:dPt>
          <c:dPt>
            <c:idx val="1591"/>
            <c:spPr>
              <a:solidFill>
                <a:srgbClr val="AEABAB"/>
              </a:solidFill>
            </c:spPr>
          </c:dPt>
          <c:dPt>
            <c:idx val="1592"/>
            <c:spPr>
              <a:solidFill>
                <a:srgbClr val="AEABAB"/>
              </a:solidFill>
            </c:spPr>
          </c:dPt>
          <c:dPt>
            <c:idx val="1593"/>
            <c:spPr>
              <a:solidFill>
                <a:srgbClr val="AEABAB"/>
              </a:solidFill>
            </c:spPr>
          </c:dPt>
          <c:dPt>
            <c:idx val="1594"/>
            <c:spPr>
              <a:solidFill>
                <a:srgbClr val="AEABAB"/>
              </a:solidFill>
            </c:spPr>
          </c:dPt>
          <c:dPt>
            <c:idx val="1595"/>
            <c:spPr>
              <a:solidFill>
                <a:srgbClr val="AEABAB"/>
              </a:solidFill>
            </c:spPr>
          </c:dPt>
          <c:dPt>
            <c:idx val="1596"/>
            <c:spPr>
              <a:solidFill>
                <a:srgbClr val="AEABAB"/>
              </a:solidFill>
            </c:spPr>
          </c:dPt>
          <c:dPt>
            <c:idx val="1597"/>
            <c:spPr>
              <a:solidFill>
                <a:srgbClr val="AEABAB"/>
              </a:solidFill>
            </c:spPr>
          </c:dPt>
          <c:dPt>
            <c:idx val="1598"/>
            <c:spPr>
              <a:solidFill>
                <a:srgbClr val="AEABAB"/>
              </a:solidFill>
            </c:spPr>
          </c:dPt>
          <c:dPt>
            <c:idx val="1599"/>
            <c:spPr>
              <a:solidFill>
                <a:srgbClr val="AEABAB"/>
              </a:solidFill>
            </c:spPr>
          </c:dPt>
          <c:dPt>
            <c:idx val="1600"/>
            <c:spPr>
              <a:solidFill>
                <a:srgbClr val="AEABAB"/>
              </a:solidFill>
            </c:spPr>
          </c:dPt>
          <c:dPt>
            <c:idx val="1601"/>
            <c:spPr>
              <a:solidFill>
                <a:srgbClr val="AEABAB"/>
              </a:solidFill>
            </c:spPr>
          </c:dPt>
          <c:dPt>
            <c:idx val="1602"/>
            <c:spPr>
              <a:solidFill>
                <a:srgbClr val="AEABAB"/>
              </a:solidFill>
            </c:spPr>
          </c:dPt>
          <c:dPt>
            <c:idx val="1603"/>
            <c:spPr>
              <a:solidFill>
                <a:srgbClr val="AEABAB"/>
              </a:solidFill>
            </c:spPr>
          </c:dPt>
          <c:dPt>
            <c:idx val="1604"/>
            <c:spPr>
              <a:solidFill>
                <a:srgbClr val="AEABAB"/>
              </a:solidFill>
            </c:spPr>
          </c:dPt>
          <c:dPt>
            <c:idx val="1605"/>
            <c:spPr>
              <a:solidFill>
                <a:srgbClr val="AEABAB"/>
              </a:solidFill>
            </c:spPr>
          </c:dPt>
          <c:dPt>
            <c:idx val="1606"/>
            <c:spPr>
              <a:solidFill>
                <a:srgbClr val="AEABAB"/>
              </a:solidFill>
            </c:spPr>
          </c:dPt>
          <c:dPt>
            <c:idx val="1607"/>
            <c:spPr>
              <a:solidFill>
                <a:srgbClr val="AEABAB"/>
              </a:solidFill>
            </c:spPr>
          </c:dPt>
          <c:dPt>
            <c:idx val="1608"/>
            <c:spPr>
              <a:solidFill>
                <a:srgbClr val="AEABAB"/>
              </a:solidFill>
            </c:spPr>
          </c:dPt>
          <c:dPt>
            <c:idx val="1609"/>
            <c:spPr>
              <a:solidFill>
                <a:srgbClr val="AEABAB"/>
              </a:solidFill>
            </c:spPr>
          </c:dPt>
          <c:dPt>
            <c:idx val="1610"/>
            <c:spPr>
              <a:solidFill>
                <a:srgbClr val="AEABAB"/>
              </a:solidFill>
            </c:spPr>
          </c:dPt>
          <c:dPt>
            <c:idx val="1611"/>
            <c:spPr>
              <a:solidFill>
                <a:srgbClr val="AEABAB"/>
              </a:solidFill>
            </c:spPr>
          </c:dPt>
          <c:dPt>
            <c:idx val="1612"/>
            <c:spPr>
              <a:solidFill>
                <a:srgbClr val="AEABAB"/>
              </a:solidFill>
            </c:spPr>
          </c:dPt>
          <c:dPt>
            <c:idx val="1613"/>
            <c:spPr>
              <a:solidFill>
                <a:srgbClr val="AEABAB"/>
              </a:solidFill>
            </c:spPr>
          </c:dPt>
          <c:dPt>
            <c:idx val="1614"/>
            <c:spPr>
              <a:solidFill>
                <a:srgbClr val="AEABAB"/>
              </a:solidFill>
            </c:spPr>
          </c:dPt>
          <c:dPt>
            <c:idx val="1615"/>
            <c:spPr>
              <a:solidFill>
                <a:srgbClr val="AEABAB"/>
              </a:solidFill>
            </c:spPr>
          </c:dPt>
          <c:dPt>
            <c:idx val="1616"/>
            <c:spPr>
              <a:solidFill>
                <a:srgbClr val="AEABAB"/>
              </a:solidFill>
            </c:spPr>
          </c:dPt>
          <c:dPt>
            <c:idx val="1617"/>
            <c:spPr>
              <a:solidFill>
                <a:srgbClr val="AEABAB"/>
              </a:solidFill>
            </c:spPr>
          </c:dPt>
          <c:dPt>
            <c:idx val="1618"/>
            <c:spPr>
              <a:solidFill>
                <a:srgbClr val="AEABAB"/>
              </a:solidFill>
            </c:spPr>
          </c:dPt>
          <c:dPt>
            <c:idx val="1619"/>
            <c:spPr>
              <a:solidFill>
                <a:srgbClr val="AEABAB"/>
              </a:solidFill>
            </c:spPr>
          </c:dPt>
          <c:dPt>
            <c:idx val="1620"/>
            <c:spPr>
              <a:solidFill>
                <a:srgbClr val="AEABAB"/>
              </a:solidFill>
            </c:spPr>
          </c:dPt>
          <c:dPt>
            <c:idx val="1621"/>
            <c:spPr>
              <a:solidFill>
                <a:srgbClr val="AEABAB"/>
              </a:solidFill>
            </c:spPr>
          </c:dPt>
          <c:dPt>
            <c:idx val="1622"/>
            <c:spPr>
              <a:solidFill>
                <a:srgbClr val="AEABAB"/>
              </a:solidFill>
            </c:spPr>
          </c:dPt>
          <c:dPt>
            <c:idx val="1623"/>
            <c:spPr>
              <a:solidFill>
                <a:srgbClr val="AEABAB"/>
              </a:solidFill>
            </c:spPr>
          </c:dPt>
          <c:dPt>
            <c:idx val="1624"/>
            <c:spPr>
              <a:solidFill>
                <a:srgbClr val="AEABAB"/>
              </a:solidFill>
            </c:spPr>
          </c:dPt>
          <c:dPt>
            <c:idx val="1625"/>
            <c:spPr>
              <a:solidFill>
                <a:srgbClr val="AEABAB"/>
              </a:solidFill>
            </c:spPr>
          </c:dPt>
          <c:dPt>
            <c:idx val="1626"/>
            <c:spPr>
              <a:solidFill>
                <a:srgbClr val="AEABAB"/>
              </a:solidFill>
            </c:spPr>
          </c:dPt>
          <c:dPt>
            <c:idx val="1627"/>
            <c:spPr>
              <a:solidFill>
                <a:srgbClr val="AEABAB"/>
              </a:solidFill>
            </c:spPr>
          </c:dPt>
          <c:dPt>
            <c:idx val="1628"/>
            <c:spPr>
              <a:solidFill>
                <a:srgbClr val="AEABAB"/>
              </a:solidFill>
            </c:spPr>
          </c:dPt>
          <c:dPt>
            <c:idx val="1629"/>
            <c:spPr>
              <a:solidFill>
                <a:srgbClr val="AEABAB"/>
              </a:solidFill>
            </c:spPr>
          </c:dPt>
          <c:dPt>
            <c:idx val="1630"/>
            <c:spPr>
              <a:solidFill>
                <a:srgbClr val="AEABAB"/>
              </a:solidFill>
            </c:spPr>
          </c:dPt>
          <c:dPt>
            <c:idx val="1631"/>
            <c:spPr>
              <a:solidFill>
                <a:srgbClr val="AEABAB"/>
              </a:solidFill>
            </c:spPr>
          </c:dPt>
          <c:dPt>
            <c:idx val="1632"/>
            <c:spPr>
              <a:solidFill>
                <a:srgbClr val="AEABAB"/>
              </a:solidFill>
            </c:spPr>
          </c:dPt>
          <c:dPt>
            <c:idx val="1633"/>
            <c:spPr>
              <a:solidFill>
                <a:srgbClr val="AEABAB"/>
              </a:solidFill>
            </c:spPr>
          </c:dPt>
          <c:dPt>
            <c:idx val="1634"/>
            <c:spPr>
              <a:solidFill>
                <a:srgbClr val="AEABAB"/>
              </a:solidFill>
            </c:spPr>
          </c:dPt>
          <c:dPt>
            <c:idx val="1635"/>
            <c:spPr>
              <a:solidFill>
                <a:srgbClr val="AEABAB"/>
              </a:solidFill>
            </c:spPr>
          </c:dPt>
          <c:dPt>
            <c:idx val="1636"/>
            <c:spPr>
              <a:solidFill>
                <a:srgbClr val="AEABAB"/>
              </a:solidFill>
            </c:spPr>
          </c:dPt>
          <c:dPt>
            <c:idx val="1637"/>
            <c:spPr>
              <a:solidFill>
                <a:srgbClr val="AEABAB"/>
              </a:solidFill>
            </c:spPr>
          </c:dPt>
          <c:dPt>
            <c:idx val="1638"/>
            <c:spPr>
              <a:solidFill>
                <a:srgbClr val="AEABAB"/>
              </a:solidFill>
            </c:spPr>
          </c:dPt>
          <c:dPt>
            <c:idx val="1639"/>
            <c:spPr>
              <a:solidFill>
                <a:srgbClr val="AEABAB"/>
              </a:solidFill>
            </c:spPr>
          </c:dPt>
          <c:dPt>
            <c:idx val="1640"/>
            <c:spPr>
              <a:solidFill>
                <a:srgbClr val="AEABAB"/>
              </a:solidFill>
            </c:spPr>
          </c:dPt>
          <c:dPt>
            <c:idx val="1641"/>
            <c:spPr>
              <a:solidFill>
                <a:srgbClr val="AEABAB"/>
              </a:solidFill>
            </c:spPr>
          </c:dPt>
          <c:dPt>
            <c:idx val="1642"/>
            <c:spPr>
              <a:solidFill>
                <a:srgbClr val="AEABAB"/>
              </a:solidFill>
            </c:spPr>
          </c:dPt>
          <c:dPt>
            <c:idx val="1643"/>
            <c:spPr>
              <a:solidFill>
                <a:srgbClr val="AEABAB"/>
              </a:solidFill>
            </c:spPr>
          </c:dPt>
          <c:dPt>
            <c:idx val="1644"/>
            <c:spPr>
              <a:solidFill>
                <a:srgbClr val="AEABAB"/>
              </a:solidFill>
            </c:spPr>
          </c:dPt>
          <c:dPt>
            <c:idx val="1645"/>
            <c:spPr>
              <a:solidFill>
                <a:srgbClr val="AEABAB"/>
              </a:solidFill>
            </c:spPr>
          </c:dPt>
          <c:dPt>
            <c:idx val="1646"/>
            <c:spPr>
              <a:solidFill>
                <a:srgbClr val="AEABAB"/>
              </a:solidFill>
            </c:spPr>
          </c:dPt>
          <c:dPt>
            <c:idx val="1647"/>
            <c:spPr>
              <a:solidFill>
                <a:srgbClr val="AEABAB"/>
              </a:solidFill>
            </c:spPr>
          </c:dPt>
          <c:dPt>
            <c:idx val="1648"/>
            <c:spPr>
              <a:solidFill>
                <a:srgbClr val="AEABAB"/>
              </a:solidFill>
            </c:spPr>
          </c:dPt>
          <c:dPt>
            <c:idx val="1649"/>
            <c:spPr>
              <a:solidFill>
                <a:srgbClr val="AEABAB"/>
              </a:solidFill>
            </c:spPr>
          </c:dPt>
          <c:dPt>
            <c:idx val="1650"/>
            <c:spPr>
              <a:solidFill>
                <a:srgbClr val="AEABAB"/>
              </a:solidFill>
            </c:spPr>
          </c:dPt>
          <c:dPt>
            <c:idx val="1651"/>
            <c:spPr>
              <a:solidFill>
                <a:srgbClr val="AEABAB"/>
              </a:solidFill>
            </c:spPr>
          </c:dPt>
          <c:dPt>
            <c:idx val="1652"/>
            <c:spPr>
              <a:solidFill>
                <a:srgbClr val="AEABAB"/>
              </a:solidFill>
            </c:spPr>
          </c:dPt>
          <c:dPt>
            <c:idx val="1653"/>
            <c:spPr>
              <a:solidFill>
                <a:srgbClr val="AEABAB"/>
              </a:solidFill>
            </c:spPr>
          </c:dPt>
          <c:dPt>
            <c:idx val="1654"/>
            <c:spPr>
              <a:solidFill>
                <a:srgbClr val="AEABAB"/>
              </a:solidFill>
            </c:spPr>
          </c:dPt>
          <c:dPt>
            <c:idx val="1655"/>
            <c:spPr>
              <a:solidFill>
                <a:srgbClr val="AEABAB"/>
              </a:solidFill>
            </c:spPr>
          </c:dPt>
          <c:dPt>
            <c:idx val="1656"/>
            <c:spPr>
              <a:solidFill>
                <a:srgbClr val="AEABAB"/>
              </a:solidFill>
            </c:spPr>
          </c:dPt>
          <c:dPt>
            <c:idx val="1657"/>
            <c:spPr>
              <a:solidFill>
                <a:srgbClr val="AEABAB"/>
              </a:solidFill>
            </c:spPr>
          </c:dPt>
          <c:dPt>
            <c:idx val="1658"/>
            <c:spPr>
              <a:solidFill>
                <a:srgbClr val="AEABAB"/>
              </a:solidFill>
            </c:spPr>
          </c:dPt>
          <c:dPt>
            <c:idx val="1659"/>
            <c:spPr>
              <a:solidFill>
                <a:srgbClr val="AEABAB"/>
              </a:solidFill>
            </c:spPr>
          </c:dPt>
          <c:dPt>
            <c:idx val="1660"/>
            <c:spPr>
              <a:solidFill>
                <a:srgbClr val="AEABAB"/>
              </a:solidFill>
            </c:spPr>
          </c:dPt>
          <c:dPt>
            <c:idx val="1661"/>
            <c:spPr>
              <a:solidFill>
                <a:srgbClr val="AEABAB"/>
              </a:solidFill>
            </c:spPr>
          </c:dPt>
          <c:dPt>
            <c:idx val="1662"/>
            <c:spPr>
              <a:solidFill>
                <a:srgbClr val="AEABAB"/>
              </a:solidFill>
            </c:spPr>
          </c:dPt>
          <c:dPt>
            <c:idx val="1663"/>
            <c:spPr>
              <a:solidFill>
                <a:srgbClr val="AEABAB"/>
              </a:solidFill>
            </c:spPr>
          </c:dPt>
          <c:dPt>
            <c:idx val="1664"/>
            <c:spPr>
              <a:solidFill>
                <a:srgbClr val="AEABAB"/>
              </a:solidFill>
            </c:spPr>
          </c:dPt>
          <c:dPt>
            <c:idx val="1665"/>
            <c:spPr>
              <a:solidFill>
                <a:srgbClr val="AEABAB"/>
              </a:solidFill>
            </c:spPr>
          </c:dPt>
          <c:dPt>
            <c:idx val="1666"/>
            <c:spPr>
              <a:solidFill>
                <a:srgbClr val="AEABAB"/>
              </a:solidFill>
            </c:spPr>
          </c:dPt>
          <c:dPt>
            <c:idx val="1667"/>
            <c:spPr>
              <a:solidFill>
                <a:srgbClr val="AEABAB"/>
              </a:solidFill>
            </c:spPr>
          </c:dPt>
          <c:dPt>
            <c:idx val="1668"/>
            <c:spPr>
              <a:solidFill>
                <a:srgbClr val="AEABAB"/>
              </a:solidFill>
            </c:spPr>
          </c:dPt>
          <c:dPt>
            <c:idx val="1669"/>
            <c:spPr>
              <a:solidFill>
                <a:srgbClr val="AEABAB"/>
              </a:solidFill>
            </c:spPr>
          </c:dPt>
          <c:dPt>
            <c:idx val="1670"/>
            <c:spPr>
              <a:solidFill>
                <a:srgbClr val="AEABAB"/>
              </a:solidFill>
            </c:spPr>
          </c:dPt>
          <c:dPt>
            <c:idx val="1671"/>
            <c:spPr>
              <a:solidFill>
                <a:srgbClr val="AEABAB"/>
              </a:solidFill>
            </c:spPr>
          </c:dPt>
          <c:dPt>
            <c:idx val="1672"/>
            <c:spPr>
              <a:solidFill>
                <a:srgbClr val="AEABAB"/>
              </a:solidFill>
            </c:spPr>
          </c:dPt>
          <c:dPt>
            <c:idx val="1673"/>
            <c:spPr>
              <a:solidFill>
                <a:srgbClr val="AEABAB"/>
              </a:solidFill>
            </c:spPr>
          </c:dPt>
          <c:dPt>
            <c:idx val="1674"/>
            <c:spPr>
              <a:solidFill>
                <a:srgbClr val="AEABAB"/>
              </a:solidFill>
            </c:spPr>
          </c:dPt>
          <c:dPt>
            <c:idx val="1675"/>
            <c:spPr>
              <a:solidFill>
                <a:srgbClr val="AEABAB"/>
              </a:solidFill>
            </c:spPr>
          </c:dPt>
          <c:dPt>
            <c:idx val="1676"/>
            <c:spPr>
              <a:solidFill>
                <a:srgbClr val="AEABAB"/>
              </a:solidFill>
            </c:spPr>
          </c:dPt>
          <c:dPt>
            <c:idx val="1677"/>
            <c:spPr>
              <a:solidFill>
                <a:srgbClr val="AEABAB"/>
              </a:solidFill>
            </c:spPr>
          </c:dPt>
          <c:dPt>
            <c:idx val="1678"/>
            <c:spPr>
              <a:solidFill>
                <a:srgbClr val="AEABAB"/>
              </a:solidFill>
            </c:spPr>
          </c:dPt>
          <c:dPt>
            <c:idx val="1679"/>
            <c:spPr>
              <a:solidFill>
                <a:srgbClr val="AEABAB"/>
              </a:solidFill>
            </c:spPr>
          </c:dPt>
          <c:dPt>
            <c:idx val="1680"/>
            <c:spPr>
              <a:solidFill>
                <a:srgbClr val="AEABAB"/>
              </a:solidFill>
            </c:spPr>
          </c:dPt>
          <c:dPt>
            <c:idx val="1681"/>
            <c:spPr>
              <a:solidFill>
                <a:srgbClr val="AEABAB"/>
              </a:solidFill>
            </c:spPr>
          </c:dPt>
          <c:dPt>
            <c:idx val="1682"/>
            <c:spPr>
              <a:solidFill>
                <a:srgbClr val="AEABAB"/>
              </a:solidFill>
            </c:spPr>
          </c:dPt>
          <c:dPt>
            <c:idx val="1683"/>
            <c:spPr>
              <a:solidFill>
                <a:srgbClr val="AEABAB"/>
              </a:solidFill>
            </c:spPr>
          </c:dPt>
          <c:dPt>
            <c:idx val="1684"/>
            <c:spPr>
              <a:solidFill>
                <a:srgbClr val="AEABAB"/>
              </a:solidFill>
            </c:spPr>
          </c:dPt>
          <c:dPt>
            <c:idx val="1685"/>
            <c:spPr>
              <a:solidFill>
                <a:srgbClr val="AEABAB"/>
              </a:solidFill>
            </c:spPr>
          </c:dPt>
          <c:dPt>
            <c:idx val="1686"/>
            <c:spPr>
              <a:solidFill>
                <a:srgbClr val="AEABAB"/>
              </a:solidFill>
            </c:spPr>
          </c:dPt>
          <c:dPt>
            <c:idx val="1687"/>
            <c:spPr>
              <a:solidFill>
                <a:srgbClr val="AEABAB"/>
              </a:solidFill>
            </c:spPr>
          </c:dPt>
          <c:dPt>
            <c:idx val="1688"/>
            <c:spPr>
              <a:solidFill>
                <a:srgbClr val="AEABAB"/>
              </a:solidFill>
            </c:spPr>
          </c:dPt>
          <c:dPt>
            <c:idx val="1689"/>
            <c:spPr>
              <a:solidFill>
                <a:srgbClr val="AEABAB"/>
              </a:solidFill>
            </c:spPr>
          </c:dPt>
          <c:dPt>
            <c:idx val="1690"/>
            <c:spPr>
              <a:solidFill>
                <a:srgbClr val="AEABAB"/>
              </a:solidFill>
            </c:spPr>
          </c:dPt>
          <c:dPt>
            <c:idx val="1691"/>
            <c:spPr>
              <a:solidFill>
                <a:srgbClr val="AEABAB"/>
              </a:solidFill>
            </c:spPr>
          </c:dPt>
          <c:dPt>
            <c:idx val="1692"/>
            <c:spPr>
              <a:solidFill>
                <a:srgbClr val="AEABAB"/>
              </a:solidFill>
            </c:spPr>
          </c:dPt>
          <c:dPt>
            <c:idx val="1693"/>
            <c:spPr>
              <a:solidFill>
                <a:srgbClr val="AEABAB"/>
              </a:solidFill>
            </c:spPr>
          </c:dPt>
          <c:dPt>
            <c:idx val="1694"/>
            <c:spPr>
              <a:solidFill>
                <a:srgbClr val="AEABAB"/>
              </a:solidFill>
            </c:spPr>
          </c:dPt>
          <c:dPt>
            <c:idx val="1695"/>
            <c:spPr>
              <a:solidFill>
                <a:srgbClr val="AEABAB"/>
              </a:solidFill>
            </c:spPr>
          </c:dPt>
          <c:dPt>
            <c:idx val="1696"/>
            <c:spPr>
              <a:solidFill>
                <a:srgbClr val="AEABAB"/>
              </a:solidFill>
            </c:spPr>
          </c:dPt>
          <c:dPt>
            <c:idx val="1697"/>
            <c:spPr>
              <a:solidFill>
                <a:srgbClr val="AEABAB"/>
              </a:solidFill>
            </c:spPr>
          </c:dPt>
          <c:dPt>
            <c:idx val="1698"/>
            <c:spPr>
              <a:solidFill>
                <a:srgbClr val="AEABAB"/>
              </a:solidFill>
            </c:spPr>
          </c:dPt>
          <c:dPt>
            <c:idx val="1699"/>
            <c:spPr>
              <a:solidFill>
                <a:srgbClr val="AEABAB"/>
              </a:solidFill>
            </c:spPr>
          </c:dPt>
          <c:dPt>
            <c:idx val="1700"/>
            <c:spPr>
              <a:solidFill>
                <a:srgbClr val="AEABAB"/>
              </a:solidFill>
            </c:spPr>
          </c:dPt>
          <c:dPt>
            <c:idx val="1701"/>
            <c:spPr>
              <a:solidFill>
                <a:srgbClr val="AEABAB"/>
              </a:solidFill>
            </c:spPr>
          </c:dPt>
          <c:dPt>
            <c:idx val="1702"/>
            <c:spPr>
              <a:solidFill>
                <a:srgbClr val="AEABAB"/>
              </a:solidFill>
            </c:spPr>
          </c:dPt>
          <c:dPt>
            <c:idx val="1703"/>
            <c:spPr>
              <a:solidFill>
                <a:srgbClr val="AEABAB"/>
              </a:solidFill>
            </c:spPr>
          </c:dPt>
          <c:dPt>
            <c:idx val="1704"/>
            <c:spPr>
              <a:solidFill>
                <a:srgbClr val="AEABAB"/>
              </a:solidFill>
            </c:spPr>
          </c:dPt>
          <c:dPt>
            <c:idx val="1705"/>
            <c:spPr>
              <a:solidFill>
                <a:srgbClr val="AEABAB"/>
              </a:solidFill>
            </c:spPr>
          </c:dPt>
          <c:dPt>
            <c:idx val="1706"/>
            <c:spPr>
              <a:solidFill>
                <a:srgbClr val="AEABAB"/>
              </a:solidFill>
            </c:spPr>
          </c:dPt>
          <c:dPt>
            <c:idx val="1707"/>
            <c:spPr>
              <a:solidFill>
                <a:srgbClr val="AEABAB"/>
              </a:solidFill>
            </c:spPr>
          </c:dPt>
          <c:dPt>
            <c:idx val="1708"/>
            <c:spPr>
              <a:solidFill>
                <a:srgbClr val="AEABAB"/>
              </a:solidFill>
            </c:spPr>
          </c:dPt>
          <c:dPt>
            <c:idx val="1709"/>
            <c:spPr>
              <a:solidFill>
                <a:srgbClr val="AEABAB"/>
              </a:solidFill>
            </c:spPr>
          </c:dPt>
          <c:dPt>
            <c:idx val="1710"/>
            <c:spPr>
              <a:solidFill>
                <a:srgbClr val="AEABAB"/>
              </a:solidFill>
            </c:spPr>
          </c:dPt>
          <c:dPt>
            <c:idx val="1711"/>
            <c:spPr>
              <a:solidFill>
                <a:srgbClr val="AEABAB"/>
              </a:solidFill>
            </c:spPr>
          </c:dPt>
          <c:dPt>
            <c:idx val="1712"/>
            <c:spPr>
              <a:solidFill>
                <a:srgbClr val="AEABAB"/>
              </a:solidFill>
            </c:spPr>
          </c:dPt>
          <c:dPt>
            <c:idx val="1713"/>
            <c:spPr>
              <a:solidFill>
                <a:srgbClr val="AEABAB"/>
              </a:solidFill>
            </c:spPr>
          </c:dPt>
          <c:dPt>
            <c:idx val="1714"/>
            <c:spPr>
              <a:solidFill>
                <a:srgbClr val="AEABAB"/>
              </a:solidFill>
            </c:spPr>
          </c:dPt>
          <c:dPt>
            <c:idx val="1715"/>
            <c:spPr>
              <a:solidFill>
                <a:srgbClr val="AEABAB"/>
              </a:solidFill>
            </c:spPr>
          </c:dPt>
          <c:dPt>
            <c:idx val="1716"/>
            <c:spPr>
              <a:solidFill>
                <a:srgbClr val="AEABAB"/>
              </a:solidFill>
            </c:spPr>
          </c:dPt>
          <c:dPt>
            <c:idx val="1717"/>
            <c:spPr>
              <a:solidFill>
                <a:srgbClr val="AEABAB"/>
              </a:solidFill>
            </c:spPr>
          </c:dPt>
          <c:dPt>
            <c:idx val="1718"/>
            <c:spPr>
              <a:solidFill>
                <a:srgbClr val="AEABAB"/>
              </a:solidFill>
            </c:spPr>
          </c:dPt>
          <c:dPt>
            <c:idx val="1719"/>
            <c:spPr>
              <a:solidFill>
                <a:srgbClr val="AEABAB"/>
              </a:solidFill>
            </c:spPr>
          </c:dPt>
          <c:dPt>
            <c:idx val="1720"/>
            <c:spPr>
              <a:solidFill>
                <a:srgbClr val="AEABAB"/>
              </a:solidFill>
            </c:spPr>
          </c:dPt>
          <c:dPt>
            <c:idx val="1721"/>
            <c:spPr>
              <a:solidFill>
                <a:srgbClr val="AEABAB"/>
              </a:solidFill>
            </c:spPr>
          </c:dPt>
          <c:dPt>
            <c:idx val="1722"/>
            <c:spPr>
              <a:solidFill>
                <a:srgbClr val="AEABAB"/>
              </a:solidFill>
            </c:spPr>
          </c:dPt>
          <c:dPt>
            <c:idx val="1723"/>
            <c:spPr>
              <a:solidFill>
                <a:srgbClr val="AEABAB"/>
              </a:solidFill>
            </c:spPr>
          </c:dPt>
          <c:dPt>
            <c:idx val="1724"/>
            <c:spPr>
              <a:solidFill>
                <a:srgbClr val="AEABAB"/>
              </a:solidFill>
            </c:spPr>
          </c:dPt>
          <c:dPt>
            <c:idx val="1725"/>
            <c:spPr>
              <a:solidFill>
                <a:srgbClr val="AEABAB"/>
              </a:solidFill>
            </c:spPr>
          </c:dPt>
          <c:dPt>
            <c:idx val="1726"/>
            <c:spPr>
              <a:solidFill>
                <a:srgbClr val="AEABAB"/>
              </a:solidFill>
            </c:spPr>
          </c:dPt>
          <c:dPt>
            <c:idx val="1727"/>
            <c:spPr>
              <a:solidFill>
                <a:srgbClr val="AEABAB"/>
              </a:solidFill>
            </c:spPr>
          </c:dPt>
          <c:dPt>
            <c:idx val="1728"/>
            <c:spPr>
              <a:solidFill>
                <a:srgbClr val="AEABAB"/>
              </a:solidFill>
            </c:spPr>
          </c:dPt>
          <c:dPt>
            <c:idx val="1729"/>
            <c:spPr>
              <a:solidFill>
                <a:srgbClr val="AEABAB"/>
              </a:solidFill>
            </c:spPr>
          </c:dPt>
          <c:dPt>
            <c:idx val="1730"/>
            <c:spPr>
              <a:solidFill>
                <a:srgbClr val="AEABAB"/>
              </a:solidFill>
            </c:spPr>
          </c:dPt>
          <c:dPt>
            <c:idx val="1731"/>
            <c:spPr>
              <a:solidFill>
                <a:srgbClr val="AEABAB"/>
              </a:solidFill>
            </c:spPr>
          </c:dPt>
          <c:dPt>
            <c:idx val="1732"/>
            <c:spPr>
              <a:solidFill>
                <a:srgbClr val="AEABAB"/>
              </a:solidFill>
            </c:spPr>
          </c:dPt>
          <c:dPt>
            <c:idx val="1733"/>
            <c:spPr>
              <a:solidFill>
                <a:srgbClr val="AEABAB"/>
              </a:solidFill>
            </c:spPr>
          </c:dPt>
          <c:dPt>
            <c:idx val="1734"/>
            <c:spPr>
              <a:solidFill>
                <a:srgbClr val="AEABAB"/>
              </a:solidFill>
            </c:spPr>
          </c:dPt>
          <c:dPt>
            <c:idx val="1735"/>
            <c:spPr>
              <a:solidFill>
                <a:srgbClr val="AEABAB"/>
              </a:solidFill>
            </c:spPr>
          </c:dPt>
          <c:dPt>
            <c:idx val="1736"/>
            <c:spPr>
              <a:solidFill>
                <a:srgbClr val="AEABAB"/>
              </a:solidFill>
            </c:spPr>
          </c:dPt>
          <c:dPt>
            <c:idx val="1737"/>
            <c:spPr>
              <a:solidFill>
                <a:srgbClr val="AEABAB"/>
              </a:solidFill>
            </c:spPr>
          </c:dPt>
          <c:dPt>
            <c:idx val="1738"/>
            <c:spPr>
              <a:solidFill>
                <a:srgbClr val="AEABAB"/>
              </a:solidFill>
            </c:spPr>
          </c:dPt>
          <c:dPt>
            <c:idx val="1739"/>
            <c:spPr>
              <a:solidFill>
                <a:srgbClr val="AEABAB"/>
              </a:solidFill>
            </c:spPr>
          </c:dPt>
          <c:dPt>
            <c:idx val="1740"/>
            <c:spPr>
              <a:solidFill>
                <a:srgbClr val="AEABAB"/>
              </a:solidFill>
            </c:spPr>
          </c:dPt>
          <c:dPt>
            <c:idx val="1741"/>
            <c:spPr>
              <a:solidFill>
                <a:srgbClr val="AEABAB"/>
              </a:solidFill>
            </c:spPr>
          </c:dPt>
          <c:dPt>
            <c:idx val="1742"/>
            <c:spPr>
              <a:solidFill>
                <a:srgbClr val="AEABAB"/>
              </a:solidFill>
            </c:spPr>
          </c:dPt>
          <c:dPt>
            <c:idx val="1743"/>
            <c:spPr>
              <a:solidFill>
                <a:srgbClr val="AEABAB"/>
              </a:solidFill>
            </c:spPr>
          </c:dPt>
          <c:dPt>
            <c:idx val="1744"/>
            <c:spPr>
              <a:solidFill>
                <a:srgbClr val="AEABAB"/>
              </a:solidFill>
            </c:spPr>
          </c:dPt>
          <c:dPt>
            <c:idx val="1745"/>
            <c:spPr>
              <a:solidFill>
                <a:srgbClr val="AEABAB"/>
              </a:solidFill>
            </c:spPr>
          </c:dPt>
          <c:dPt>
            <c:idx val="1746"/>
            <c:spPr>
              <a:solidFill>
                <a:srgbClr val="AEABAB"/>
              </a:solidFill>
            </c:spPr>
          </c:dPt>
          <c:dPt>
            <c:idx val="1747"/>
            <c:spPr>
              <a:solidFill>
                <a:srgbClr val="AEABAB"/>
              </a:solidFill>
            </c:spPr>
          </c:dPt>
          <c:dPt>
            <c:idx val="1748"/>
            <c:spPr>
              <a:solidFill>
                <a:srgbClr val="AEABAB"/>
              </a:solidFill>
            </c:spPr>
          </c:dPt>
          <c:dPt>
            <c:idx val="1749"/>
            <c:spPr>
              <a:solidFill>
                <a:srgbClr val="AEABAB"/>
              </a:solidFill>
            </c:spPr>
          </c:dPt>
          <c:dPt>
            <c:idx val="1750"/>
            <c:spPr>
              <a:solidFill>
                <a:srgbClr val="AEABAB"/>
              </a:solidFill>
            </c:spPr>
          </c:dPt>
          <c:dPt>
            <c:idx val="1751"/>
            <c:spPr>
              <a:solidFill>
                <a:srgbClr val="AEABAB"/>
              </a:solidFill>
            </c:spPr>
          </c:dPt>
          <c:dPt>
            <c:idx val="1752"/>
            <c:spPr>
              <a:solidFill>
                <a:srgbClr val="AEABAB"/>
              </a:solidFill>
            </c:spPr>
          </c:dPt>
          <c:dPt>
            <c:idx val="1753"/>
            <c:spPr>
              <a:solidFill>
                <a:srgbClr val="AEABAB"/>
              </a:solidFill>
            </c:spPr>
          </c:dPt>
          <c:dPt>
            <c:idx val="1754"/>
            <c:spPr>
              <a:solidFill>
                <a:srgbClr val="AEABAB"/>
              </a:solidFill>
            </c:spPr>
          </c:dPt>
          <c:dPt>
            <c:idx val="1755"/>
            <c:spPr>
              <a:solidFill>
                <a:srgbClr val="AEABAB"/>
              </a:solidFill>
            </c:spPr>
          </c:dPt>
          <c:dPt>
            <c:idx val="1756"/>
            <c:spPr>
              <a:solidFill>
                <a:srgbClr val="AEABAB"/>
              </a:solidFill>
            </c:spPr>
          </c:dPt>
          <c:dPt>
            <c:idx val="1757"/>
            <c:spPr>
              <a:solidFill>
                <a:srgbClr val="AEABAB"/>
              </a:solidFill>
            </c:spPr>
          </c:dPt>
          <c:dPt>
            <c:idx val="1758"/>
            <c:spPr>
              <a:solidFill>
                <a:srgbClr val="AEABAB"/>
              </a:solidFill>
            </c:spPr>
          </c:dPt>
          <c:dPt>
            <c:idx val="1759"/>
            <c:spPr>
              <a:solidFill>
                <a:srgbClr val="AEABAB"/>
              </a:solidFill>
            </c:spPr>
          </c:dPt>
          <c:dPt>
            <c:idx val="1760"/>
            <c:spPr>
              <a:solidFill>
                <a:srgbClr val="AEABAB"/>
              </a:solidFill>
            </c:spPr>
          </c:dPt>
          <c:dPt>
            <c:idx val="1761"/>
            <c:spPr>
              <a:solidFill>
                <a:srgbClr val="AEABAB"/>
              </a:solidFill>
            </c:spPr>
          </c:dPt>
          <c:dPt>
            <c:idx val="1762"/>
            <c:spPr>
              <a:solidFill>
                <a:srgbClr val="AEABAB"/>
              </a:solidFill>
            </c:spPr>
          </c:dPt>
          <c:dPt>
            <c:idx val="1763"/>
            <c:spPr>
              <a:solidFill>
                <a:srgbClr val="AEABAB"/>
              </a:solidFill>
            </c:spPr>
          </c:dPt>
          <c:dPt>
            <c:idx val="1764"/>
            <c:spPr>
              <a:solidFill>
                <a:srgbClr val="AEABAB"/>
              </a:solidFill>
            </c:spPr>
          </c:dPt>
          <c:dPt>
            <c:idx val="1765"/>
            <c:spPr>
              <a:solidFill>
                <a:srgbClr val="AEABAB"/>
              </a:solidFill>
            </c:spPr>
          </c:dPt>
          <c:dPt>
            <c:idx val="1766"/>
            <c:spPr>
              <a:solidFill>
                <a:srgbClr val="AEABAB"/>
              </a:solidFill>
            </c:spPr>
          </c:dPt>
          <c:dPt>
            <c:idx val="1767"/>
            <c:spPr>
              <a:solidFill>
                <a:srgbClr val="AEABAB"/>
              </a:solidFill>
            </c:spPr>
          </c:dPt>
          <c:dPt>
            <c:idx val="1768"/>
            <c:spPr>
              <a:solidFill>
                <a:srgbClr val="AEABAB"/>
              </a:solidFill>
            </c:spPr>
          </c:dPt>
          <c:dPt>
            <c:idx val="1769"/>
            <c:spPr>
              <a:solidFill>
                <a:srgbClr val="AEABAB"/>
              </a:solidFill>
            </c:spPr>
          </c:dPt>
          <c:dPt>
            <c:idx val="1770"/>
            <c:spPr>
              <a:solidFill>
                <a:srgbClr val="AEABAB"/>
              </a:solidFill>
            </c:spPr>
          </c:dPt>
          <c:dPt>
            <c:idx val="1771"/>
            <c:spPr>
              <a:solidFill>
                <a:srgbClr val="AEABAB"/>
              </a:solidFill>
            </c:spPr>
          </c:dPt>
          <c:dPt>
            <c:idx val="1772"/>
            <c:spPr>
              <a:solidFill>
                <a:srgbClr val="AEABAB"/>
              </a:solidFill>
            </c:spPr>
          </c:dPt>
          <c:dPt>
            <c:idx val="1773"/>
            <c:spPr>
              <a:solidFill>
                <a:srgbClr val="AEABAB"/>
              </a:solidFill>
            </c:spPr>
          </c:dPt>
          <c:dPt>
            <c:idx val="1774"/>
            <c:spPr>
              <a:solidFill>
                <a:srgbClr val="AEABAB"/>
              </a:solidFill>
            </c:spPr>
          </c:dPt>
          <c:dPt>
            <c:idx val="1775"/>
            <c:spPr>
              <a:solidFill>
                <a:srgbClr val="AEABAB"/>
              </a:solidFill>
            </c:spPr>
          </c:dPt>
          <c:dPt>
            <c:idx val="1776"/>
            <c:spPr>
              <a:solidFill>
                <a:srgbClr val="AEABAB"/>
              </a:solidFill>
            </c:spPr>
          </c:dPt>
          <c:dPt>
            <c:idx val="1777"/>
            <c:spPr>
              <a:solidFill>
                <a:srgbClr val="AEABAB"/>
              </a:solidFill>
            </c:spPr>
          </c:dPt>
          <c:dPt>
            <c:idx val="1778"/>
            <c:spPr>
              <a:solidFill>
                <a:srgbClr val="AEABAB"/>
              </a:solidFill>
            </c:spPr>
          </c:dPt>
          <c:dPt>
            <c:idx val="1779"/>
            <c:spPr>
              <a:solidFill>
                <a:srgbClr val="AEABAB"/>
              </a:solidFill>
            </c:spPr>
          </c:dPt>
          <c:dPt>
            <c:idx val="1780"/>
            <c:spPr>
              <a:solidFill>
                <a:srgbClr val="AEABAB"/>
              </a:solidFill>
            </c:spPr>
          </c:dPt>
          <c:dPt>
            <c:idx val="1781"/>
            <c:spPr>
              <a:solidFill>
                <a:srgbClr val="AEABAB"/>
              </a:solidFill>
            </c:spPr>
          </c:dPt>
          <c:dPt>
            <c:idx val="1782"/>
            <c:spPr>
              <a:solidFill>
                <a:srgbClr val="AEABAB"/>
              </a:solidFill>
            </c:spPr>
          </c:dPt>
          <c:dPt>
            <c:idx val="1783"/>
            <c:spPr>
              <a:solidFill>
                <a:srgbClr val="AEABAB"/>
              </a:solidFill>
            </c:spPr>
          </c:dPt>
          <c:dPt>
            <c:idx val="1784"/>
            <c:spPr>
              <a:solidFill>
                <a:srgbClr val="AEABAB"/>
              </a:solidFill>
            </c:spPr>
          </c:dPt>
          <c:dPt>
            <c:idx val="1785"/>
            <c:spPr>
              <a:solidFill>
                <a:srgbClr val="AEABAB"/>
              </a:solidFill>
            </c:spPr>
          </c:dPt>
          <c:dPt>
            <c:idx val="1786"/>
            <c:spPr>
              <a:solidFill>
                <a:srgbClr val="AEABAB"/>
              </a:solidFill>
            </c:spPr>
          </c:dPt>
          <c:dPt>
            <c:idx val="1787"/>
            <c:spPr>
              <a:solidFill>
                <a:srgbClr val="AEABAB"/>
              </a:solidFill>
            </c:spPr>
          </c:dPt>
          <c:dPt>
            <c:idx val="1788"/>
            <c:spPr>
              <a:solidFill>
                <a:srgbClr val="AEABAB"/>
              </a:solidFill>
            </c:spPr>
          </c:dPt>
          <c:dPt>
            <c:idx val="1789"/>
            <c:spPr>
              <a:solidFill>
                <a:srgbClr val="AEABAB"/>
              </a:solidFill>
            </c:spPr>
          </c:dPt>
          <c:dPt>
            <c:idx val="1790"/>
            <c:spPr>
              <a:solidFill>
                <a:srgbClr val="AEABAB"/>
              </a:solidFill>
            </c:spPr>
          </c:dPt>
          <c:dPt>
            <c:idx val="1791"/>
            <c:spPr>
              <a:solidFill>
                <a:srgbClr val="AEABAB"/>
              </a:solidFill>
            </c:spPr>
          </c:dPt>
          <c:dPt>
            <c:idx val="1792"/>
            <c:spPr>
              <a:solidFill>
                <a:srgbClr val="AEABAB"/>
              </a:solidFill>
            </c:spPr>
          </c:dPt>
          <c:dPt>
            <c:idx val="1793"/>
            <c:spPr>
              <a:solidFill>
                <a:srgbClr val="AEABAB"/>
              </a:solidFill>
            </c:spPr>
          </c:dPt>
          <c:dPt>
            <c:idx val="1794"/>
            <c:spPr>
              <a:solidFill>
                <a:srgbClr val="AEABAB"/>
              </a:solidFill>
            </c:spPr>
          </c:dPt>
          <c:dPt>
            <c:idx val="1795"/>
            <c:spPr>
              <a:solidFill>
                <a:srgbClr val="AEABAB"/>
              </a:solidFill>
            </c:spPr>
          </c:dPt>
          <c:dPt>
            <c:idx val="1796"/>
            <c:spPr>
              <a:solidFill>
                <a:srgbClr val="AEABAB"/>
              </a:solidFill>
            </c:spPr>
          </c:dPt>
          <c:dPt>
            <c:idx val="1797"/>
            <c:spPr>
              <a:solidFill>
                <a:srgbClr val="AEABAB"/>
              </a:solidFill>
            </c:spPr>
          </c:dPt>
          <c:dPt>
            <c:idx val="1798"/>
            <c:spPr>
              <a:solidFill>
                <a:srgbClr val="AEABAB"/>
              </a:solidFill>
            </c:spPr>
          </c:dPt>
          <c:dPt>
            <c:idx val="1799"/>
            <c:spPr>
              <a:solidFill>
                <a:srgbClr val="AEABAB"/>
              </a:solidFill>
            </c:spPr>
          </c:dPt>
          <c:dPt>
            <c:idx val="1800"/>
            <c:spPr>
              <a:solidFill>
                <a:srgbClr val="AEABAB"/>
              </a:solidFill>
            </c:spPr>
          </c:dPt>
          <c:dPt>
            <c:idx val="1801"/>
            <c:spPr>
              <a:solidFill>
                <a:srgbClr val="AEABAB"/>
              </a:solidFill>
            </c:spPr>
          </c:dPt>
          <c:dPt>
            <c:idx val="1802"/>
            <c:spPr>
              <a:solidFill>
                <a:srgbClr val="AEABAB"/>
              </a:solidFill>
            </c:spPr>
          </c:dPt>
          <c:dPt>
            <c:idx val="1803"/>
            <c:spPr>
              <a:solidFill>
                <a:srgbClr val="AEABAB"/>
              </a:solidFill>
            </c:spPr>
          </c:dPt>
          <c:dPt>
            <c:idx val="1804"/>
            <c:spPr>
              <a:solidFill>
                <a:srgbClr val="AEABAB"/>
              </a:solidFill>
            </c:spPr>
          </c:dPt>
          <c:dPt>
            <c:idx val="1805"/>
            <c:spPr>
              <a:solidFill>
                <a:srgbClr val="AEABAB"/>
              </a:solidFill>
            </c:spPr>
          </c:dPt>
          <c:dPt>
            <c:idx val="1806"/>
            <c:spPr>
              <a:solidFill>
                <a:srgbClr val="AEABAB"/>
              </a:solidFill>
            </c:spPr>
          </c:dPt>
          <c:dPt>
            <c:idx val="1807"/>
            <c:spPr>
              <a:solidFill>
                <a:srgbClr val="AEABAB"/>
              </a:solidFill>
            </c:spPr>
          </c:dPt>
          <c:dPt>
            <c:idx val="1808"/>
            <c:spPr>
              <a:solidFill>
                <a:srgbClr val="AEABAB"/>
              </a:solidFill>
            </c:spPr>
          </c:dPt>
          <c:dPt>
            <c:idx val="1809"/>
            <c:spPr>
              <a:solidFill>
                <a:srgbClr val="AEABAB"/>
              </a:solidFill>
            </c:spPr>
          </c:dPt>
          <c:dPt>
            <c:idx val="1810"/>
            <c:spPr>
              <a:solidFill>
                <a:srgbClr val="AEABAB"/>
              </a:solidFill>
            </c:spPr>
          </c:dPt>
          <c:dPt>
            <c:idx val="1811"/>
            <c:spPr>
              <a:solidFill>
                <a:srgbClr val="AEABAB"/>
              </a:solidFill>
            </c:spPr>
          </c:dPt>
          <c:dPt>
            <c:idx val="1812"/>
            <c:spPr>
              <a:solidFill>
                <a:srgbClr val="AEABAB"/>
              </a:solidFill>
            </c:spPr>
          </c:dPt>
          <c:dPt>
            <c:idx val="1813"/>
            <c:spPr>
              <a:solidFill>
                <a:srgbClr val="AEABAB"/>
              </a:solidFill>
            </c:spPr>
          </c:dPt>
          <c:dPt>
            <c:idx val="1814"/>
            <c:spPr>
              <a:solidFill>
                <a:srgbClr val="AEABAB"/>
              </a:solidFill>
            </c:spPr>
          </c:dPt>
          <c:dPt>
            <c:idx val="1815"/>
            <c:spPr>
              <a:solidFill>
                <a:srgbClr val="AEABAB"/>
              </a:solidFill>
            </c:spPr>
          </c:dPt>
          <c:dPt>
            <c:idx val="1816"/>
            <c:spPr>
              <a:solidFill>
                <a:srgbClr val="AEABAB"/>
              </a:solidFill>
            </c:spPr>
          </c:dPt>
          <c:dPt>
            <c:idx val="1817"/>
            <c:spPr>
              <a:solidFill>
                <a:srgbClr val="AEABAB"/>
              </a:solidFill>
            </c:spPr>
          </c:dPt>
          <c:dPt>
            <c:idx val="1818"/>
            <c:spPr>
              <a:solidFill>
                <a:srgbClr val="AEABAB"/>
              </a:solidFill>
            </c:spPr>
          </c:dPt>
          <c:dPt>
            <c:idx val="1819"/>
            <c:spPr>
              <a:solidFill>
                <a:srgbClr val="AEABAB"/>
              </a:solidFill>
            </c:spPr>
          </c:dPt>
          <c:dPt>
            <c:idx val="1820"/>
            <c:spPr>
              <a:solidFill>
                <a:srgbClr val="AEABAB"/>
              </a:solidFill>
            </c:spPr>
          </c:dPt>
          <c:dPt>
            <c:idx val="1821"/>
            <c:spPr>
              <a:solidFill>
                <a:srgbClr val="AEABAB"/>
              </a:solidFill>
            </c:spPr>
          </c:dPt>
          <c:dPt>
            <c:idx val="1822"/>
            <c:spPr>
              <a:solidFill>
                <a:srgbClr val="AEABAB"/>
              </a:solidFill>
            </c:spPr>
          </c:dPt>
          <c:dPt>
            <c:idx val="1823"/>
            <c:spPr>
              <a:solidFill>
                <a:srgbClr val="AEABAB"/>
              </a:solidFill>
            </c:spPr>
          </c:dPt>
          <c:dPt>
            <c:idx val="1824"/>
            <c:spPr>
              <a:solidFill>
                <a:srgbClr val="AEABAB"/>
              </a:solidFill>
            </c:spPr>
          </c:dPt>
          <c:dPt>
            <c:idx val="1825"/>
            <c:spPr>
              <a:solidFill>
                <a:srgbClr val="AEABAB"/>
              </a:solidFill>
            </c:spPr>
          </c:dPt>
          <c:dPt>
            <c:idx val="1826"/>
            <c:spPr>
              <a:solidFill>
                <a:srgbClr val="AEABAB"/>
              </a:solidFill>
            </c:spPr>
          </c:dPt>
          <c:dPt>
            <c:idx val="1827"/>
            <c:spPr>
              <a:solidFill>
                <a:srgbClr val="AEABAB"/>
              </a:solidFill>
            </c:spPr>
          </c:dPt>
          <c:dPt>
            <c:idx val="1828"/>
            <c:spPr>
              <a:solidFill>
                <a:srgbClr val="AEABAB"/>
              </a:solidFill>
            </c:spPr>
          </c:dPt>
          <c:dPt>
            <c:idx val="1829"/>
            <c:spPr>
              <a:solidFill>
                <a:srgbClr val="AEABAB"/>
              </a:solidFill>
            </c:spPr>
          </c:dPt>
          <c:dPt>
            <c:idx val="1830"/>
            <c:spPr>
              <a:solidFill>
                <a:srgbClr val="AEABAB"/>
              </a:solidFill>
            </c:spPr>
          </c:dPt>
          <c:dPt>
            <c:idx val="1831"/>
            <c:spPr>
              <a:solidFill>
                <a:srgbClr val="AEABAB"/>
              </a:solidFill>
            </c:spPr>
          </c:dPt>
          <c:dPt>
            <c:idx val="1832"/>
            <c:spPr>
              <a:solidFill>
                <a:srgbClr val="AEABAB"/>
              </a:solidFill>
            </c:spPr>
          </c:dPt>
          <c:dPt>
            <c:idx val="1833"/>
            <c:spPr>
              <a:solidFill>
                <a:srgbClr val="AEABAB"/>
              </a:solidFill>
            </c:spPr>
          </c:dPt>
          <c:dPt>
            <c:idx val="1834"/>
            <c:spPr>
              <a:solidFill>
                <a:srgbClr val="AEABAB"/>
              </a:solidFill>
            </c:spPr>
          </c:dPt>
          <c:dPt>
            <c:idx val="1835"/>
            <c:spPr>
              <a:solidFill>
                <a:srgbClr val="AEABAB"/>
              </a:solidFill>
            </c:spPr>
          </c:dPt>
          <c:dPt>
            <c:idx val="1836"/>
            <c:spPr>
              <a:solidFill>
                <a:srgbClr val="AEABAB"/>
              </a:solidFill>
            </c:spPr>
          </c:dPt>
          <c:dPt>
            <c:idx val="1837"/>
            <c:spPr>
              <a:solidFill>
                <a:srgbClr val="AEABAB"/>
              </a:solidFill>
            </c:spPr>
          </c:dPt>
          <c:dPt>
            <c:idx val="1838"/>
            <c:spPr>
              <a:solidFill>
                <a:srgbClr val="AEABAB"/>
              </a:solidFill>
            </c:spPr>
          </c:dPt>
          <c:dPt>
            <c:idx val="1839"/>
            <c:spPr>
              <a:solidFill>
                <a:srgbClr val="AEABAB"/>
              </a:solidFill>
            </c:spPr>
          </c:dPt>
          <c:dPt>
            <c:idx val="1840"/>
            <c:spPr>
              <a:solidFill>
                <a:srgbClr val="AEABAB"/>
              </a:solidFill>
            </c:spPr>
          </c:dPt>
          <c:dPt>
            <c:idx val="1841"/>
            <c:spPr>
              <a:solidFill>
                <a:srgbClr val="AEABAB"/>
              </a:solidFill>
            </c:spPr>
          </c:dPt>
          <c:dPt>
            <c:idx val="1842"/>
            <c:spPr>
              <a:solidFill>
                <a:srgbClr val="AEABAB"/>
              </a:solidFill>
            </c:spPr>
          </c:dPt>
          <c:dPt>
            <c:idx val="1843"/>
            <c:spPr>
              <a:solidFill>
                <a:srgbClr val="AEABAB"/>
              </a:solidFill>
            </c:spPr>
          </c:dPt>
          <c:dPt>
            <c:idx val="1844"/>
            <c:spPr>
              <a:solidFill>
                <a:srgbClr val="AEABAB"/>
              </a:solidFill>
            </c:spPr>
          </c:dPt>
          <c:dPt>
            <c:idx val="1845"/>
            <c:spPr>
              <a:solidFill>
                <a:srgbClr val="AEABAB"/>
              </a:solidFill>
            </c:spPr>
          </c:dPt>
          <c:dPt>
            <c:idx val="1846"/>
            <c:spPr>
              <a:solidFill>
                <a:srgbClr val="AEABAB"/>
              </a:solidFill>
            </c:spPr>
          </c:dPt>
          <c:dPt>
            <c:idx val="1847"/>
            <c:spPr>
              <a:solidFill>
                <a:srgbClr val="AEABAB"/>
              </a:solidFill>
            </c:spPr>
          </c:dPt>
          <c:dPt>
            <c:idx val="1848"/>
            <c:spPr>
              <a:solidFill>
                <a:srgbClr val="AEABAB"/>
              </a:solidFill>
            </c:spPr>
          </c:dPt>
          <c:dPt>
            <c:idx val="1849"/>
            <c:spPr>
              <a:solidFill>
                <a:srgbClr val="AEABAB"/>
              </a:solidFill>
            </c:spPr>
          </c:dPt>
          <c:dPt>
            <c:idx val="1850"/>
            <c:spPr>
              <a:solidFill>
                <a:srgbClr val="AEABAB"/>
              </a:solidFill>
            </c:spPr>
          </c:dPt>
          <c:dPt>
            <c:idx val="1851"/>
            <c:spPr>
              <a:solidFill>
                <a:srgbClr val="AEABAB"/>
              </a:solidFill>
            </c:spPr>
          </c:dPt>
          <c:dPt>
            <c:idx val="1852"/>
            <c:spPr>
              <a:solidFill>
                <a:srgbClr val="AEABAB"/>
              </a:solidFill>
            </c:spPr>
          </c:dPt>
          <c:dPt>
            <c:idx val="1853"/>
            <c:spPr>
              <a:solidFill>
                <a:srgbClr val="AEABAB"/>
              </a:solidFill>
            </c:spPr>
          </c:dPt>
          <c:dPt>
            <c:idx val="1854"/>
            <c:spPr>
              <a:solidFill>
                <a:srgbClr val="AEABAB"/>
              </a:solidFill>
            </c:spPr>
          </c:dPt>
          <c:dPt>
            <c:idx val="1855"/>
            <c:spPr>
              <a:solidFill>
                <a:srgbClr val="AEABAB"/>
              </a:solidFill>
            </c:spPr>
          </c:dPt>
          <c:dPt>
            <c:idx val="1856"/>
            <c:spPr>
              <a:solidFill>
                <a:srgbClr val="AEABAB"/>
              </a:solidFill>
            </c:spPr>
          </c:dPt>
          <c:dPt>
            <c:idx val="1857"/>
            <c:spPr>
              <a:solidFill>
                <a:srgbClr val="AEABAB"/>
              </a:solidFill>
            </c:spPr>
          </c:dPt>
          <c:dPt>
            <c:idx val="1858"/>
            <c:spPr>
              <a:solidFill>
                <a:srgbClr val="AEABAB"/>
              </a:solidFill>
            </c:spPr>
          </c:dPt>
          <c:dPt>
            <c:idx val="1859"/>
            <c:spPr>
              <a:solidFill>
                <a:srgbClr val="AEABAB"/>
              </a:solidFill>
            </c:spPr>
          </c:dPt>
          <c:dPt>
            <c:idx val="1860"/>
            <c:spPr>
              <a:solidFill>
                <a:srgbClr val="AEABAB"/>
              </a:solidFill>
            </c:spPr>
          </c:dPt>
          <c:dPt>
            <c:idx val="1861"/>
            <c:spPr>
              <a:solidFill>
                <a:srgbClr val="AEABAB"/>
              </a:solidFill>
            </c:spPr>
          </c:dPt>
          <c:dPt>
            <c:idx val="1862"/>
            <c:spPr>
              <a:solidFill>
                <a:srgbClr val="AEABAB"/>
              </a:solidFill>
            </c:spPr>
          </c:dPt>
          <c:dPt>
            <c:idx val="1863"/>
            <c:spPr>
              <a:solidFill>
                <a:srgbClr val="AEABAB"/>
              </a:solidFill>
            </c:spPr>
          </c:dPt>
          <c:dPt>
            <c:idx val="1864"/>
            <c:spPr>
              <a:solidFill>
                <a:srgbClr val="AEABAB"/>
              </a:solidFill>
            </c:spPr>
          </c:dPt>
          <c:dPt>
            <c:idx val="1865"/>
            <c:spPr>
              <a:solidFill>
                <a:srgbClr val="AEABAB"/>
              </a:solidFill>
            </c:spPr>
          </c:dPt>
          <c:dPt>
            <c:idx val="1866"/>
            <c:spPr>
              <a:solidFill>
                <a:srgbClr val="AEABAB"/>
              </a:solidFill>
            </c:spPr>
          </c:dPt>
          <c:dPt>
            <c:idx val="1867"/>
            <c:spPr>
              <a:solidFill>
                <a:srgbClr val="AEABAB"/>
              </a:solidFill>
            </c:spPr>
          </c:dPt>
          <c:dPt>
            <c:idx val="1868"/>
            <c:spPr>
              <a:solidFill>
                <a:srgbClr val="AEABAB"/>
              </a:solidFill>
            </c:spPr>
          </c:dPt>
          <c:dPt>
            <c:idx val="1869"/>
            <c:spPr>
              <a:solidFill>
                <a:srgbClr val="AEABAB"/>
              </a:solidFill>
            </c:spPr>
          </c:dPt>
          <c:dPt>
            <c:idx val="1870"/>
            <c:spPr>
              <a:solidFill>
                <a:srgbClr val="AEABAB"/>
              </a:solidFill>
            </c:spPr>
          </c:dPt>
          <c:dPt>
            <c:idx val="1871"/>
            <c:spPr>
              <a:solidFill>
                <a:srgbClr val="AEABAB"/>
              </a:solidFill>
            </c:spPr>
          </c:dPt>
          <c:dPt>
            <c:idx val="1872"/>
            <c:spPr>
              <a:solidFill>
                <a:srgbClr val="AEABAB"/>
              </a:solidFill>
            </c:spPr>
          </c:dPt>
          <c:dPt>
            <c:idx val="1873"/>
            <c:spPr>
              <a:solidFill>
                <a:srgbClr val="AEABAB"/>
              </a:solidFill>
            </c:spPr>
          </c:dPt>
          <c:dPt>
            <c:idx val="1874"/>
            <c:spPr>
              <a:solidFill>
                <a:srgbClr val="AEABAB"/>
              </a:solidFill>
            </c:spPr>
          </c:dPt>
          <c:dPt>
            <c:idx val="1875"/>
            <c:spPr>
              <a:solidFill>
                <a:srgbClr val="AEABAB"/>
              </a:solidFill>
            </c:spPr>
          </c:dPt>
          <c:dPt>
            <c:idx val="1876"/>
            <c:spPr>
              <a:solidFill>
                <a:srgbClr val="AEABAB"/>
              </a:solidFill>
            </c:spPr>
          </c:dPt>
          <c:dPt>
            <c:idx val="1877"/>
            <c:spPr>
              <a:solidFill>
                <a:srgbClr val="AEABAB"/>
              </a:solidFill>
            </c:spPr>
          </c:dPt>
          <c:dPt>
            <c:idx val="1878"/>
            <c:spPr>
              <a:solidFill>
                <a:srgbClr val="AEABAB"/>
              </a:solidFill>
            </c:spPr>
          </c:dPt>
          <c:dPt>
            <c:idx val="1879"/>
            <c:spPr>
              <a:solidFill>
                <a:srgbClr val="AEABAB"/>
              </a:solidFill>
            </c:spPr>
          </c:dPt>
          <c:dPt>
            <c:idx val="1880"/>
            <c:spPr>
              <a:solidFill>
                <a:srgbClr val="AEABAB"/>
              </a:solidFill>
            </c:spPr>
          </c:dPt>
          <c:dPt>
            <c:idx val="1881"/>
            <c:spPr>
              <a:solidFill>
                <a:srgbClr val="AEABAB"/>
              </a:solidFill>
            </c:spPr>
          </c:dPt>
          <c:dPt>
            <c:idx val="1882"/>
            <c:spPr>
              <a:solidFill>
                <a:srgbClr val="AEABAB"/>
              </a:solidFill>
            </c:spPr>
          </c:dPt>
          <c:dPt>
            <c:idx val="1883"/>
            <c:spPr>
              <a:solidFill>
                <a:srgbClr val="AEABAB"/>
              </a:solidFill>
            </c:spPr>
          </c:dPt>
          <c:dPt>
            <c:idx val="1884"/>
            <c:spPr>
              <a:solidFill>
                <a:srgbClr val="AEABAB"/>
              </a:solidFill>
            </c:spPr>
          </c:dPt>
          <c:dPt>
            <c:idx val="1885"/>
            <c:spPr>
              <a:solidFill>
                <a:srgbClr val="AEABAB"/>
              </a:solidFill>
            </c:spPr>
          </c:dPt>
          <c:dPt>
            <c:idx val="1886"/>
            <c:spPr>
              <a:solidFill>
                <a:srgbClr val="AEABAB"/>
              </a:solidFill>
            </c:spPr>
          </c:dPt>
          <c:dPt>
            <c:idx val="1887"/>
            <c:spPr>
              <a:solidFill>
                <a:srgbClr val="AEABAB"/>
              </a:solidFill>
            </c:spPr>
          </c:dPt>
          <c:dPt>
            <c:idx val="1888"/>
            <c:spPr>
              <a:solidFill>
                <a:srgbClr val="AEABAB"/>
              </a:solidFill>
            </c:spPr>
          </c:dPt>
          <c:dPt>
            <c:idx val="1889"/>
            <c:spPr>
              <a:solidFill>
                <a:srgbClr val="AEABAB"/>
              </a:solidFill>
            </c:spPr>
          </c:dPt>
          <c:dPt>
            <c:idx val="1890"/>
            <c:spPr>
              <a:solidFill>
                <a:srgbClr val="AEABAB"/>
              </a:solidFill>
            </c:spPr>
          </c:dPt>
          <c:dPt>
            <c:idx val="1891"/>
            <c:spPr>
              <a:solidFill>
                <a:srgbClr val="AEABAB"/>
              </a:solidFill>
            </c:spPr>
          </c:dPt>
          <c:dPt>
            <c:idx val="1892"/>
            <c:spPr>
              <a:solidFill>
                <a:srgbClr val="AEABAB"/>
              </a:solidFill>
            </c:spPr>
          </c:dPt>
          <c:dPt>
            <c:idx val="1893"/>
            <c:spPr>
              <a:solidFill>
                <a:srgbClr val="AEABAB"/>
              </a:solidFill>
            </c:spPr>
          </c:dPt>
          <c:dPt>
            <c:idx val="1894"/>
            <c:spPr>
              <a:solidFill>
                <a:srgbClr val="AEABAB"/>
              </a:solidFill>
            </c:spPr>
          </c:dPt>
          <c:dPt>
            <c:idx val="1895"/>
            <c:spPr>
              <a:solidFill>
                <a:srgbClr val="AEABAB"/>
              </a:solidFill>
            </c:spPr>
          </c:dPt>
          <c:dPt>
            <c:idx val="1896"/>
            <c:spPr>
              <a:solidFill>
                <a:srgbClr val="AEABAB"/>
              </a:solidFill>
            </c:spPr>
          </c:dPt>
          <c:dPt>
            <c:idx val="1897"/>
            <c:spPr>
              <a:solidFill>
                <a:srgbClr val="AEABAB"/>
              </a:solidFill>
            </c:spPr>
          </c:dPt>
          <c:dPt>
            <c:idx val="1898"/>
            <c:spPr>
              <a:solidFill>
                <a:srgbClr val="AEABAB"/>
              </a:solidFill>
            </c:spPr>
          </c:dPt>
          <c:dPt>
            <c:idx val="1899"/>
            <c:spPr>
              <a:solidFill>
                <a:srgbClr val="AEABAB"/>
              </a:solidFill>
            </c:spPr>
          </c:dPt>
          <c:dPt>
            <c:idx val="1900"/>
            <c:spPr>
              <a:solidFill>
                <a:srgbClr val="AEABAB"/>
              </a:solidFill>
            </c:spPr>
          </c:dPt>
          <c:dPt>
            <c:idx val="1901"/>
            <c:spPr>
              <a:solidFill>
                <a:srgbClr val="AEABAB"/>
              </a:solidFill>
            </c:spPr>
          </c:dPt>
          <c:dPt>
            <c:idx val="1902"/>
            <c:spPr>
              <a:solidFill>
                <a:srgbClr val="AEABAB"/>
              </a:solidFill>
            </c:spPr>
          </c:dPt>
          <c:dPt>
            <c:idx val="1903"/>
            <c:spPr>
              <a:solidFill>
                <a:srgbClr val="AEABAB"/>
              </a:solidFill>
            </c:spPr>
          </c:dPt>
          <c:dPt>
            <c:idx val="1904"/>
            <c:spPr>
              <a:solidFill>
                <a:srgbClr val="AEABAB"/>
              </a:solidFill>
            </c:spPr>
          </c:dPt>
          <c:dPt>
            <c:idx val="1905"/>
            <c:spPr>
              <a:solidFill>
                <a:srgbClr val="AEABAB"/>
              </a:solidFill>
            </c:spPr>
          </c:dPt>
          <c:dPt>
            <c:idx val="1906"/>
            <c:spPr>
              <a:solidFill>
                <a:srgbClr val="AEABAB"/>
              </a:solidFill>
            </c:spPr>
          </c:dPt>
          <c:dPt>
            <c:idx val="1907"/>
            <c:spPr>
              <a:solidFill>
                <a:srgbClr val="AEABAB"/>
              </a:solidFill>
            </c:spPr>
          </c:dPt>
          <c:dPt>
            <c:idx val="1908"/>
            <c:spPr>
              <a:solidFill>
                <a:srgbClr val="AEABAB"/>
              </a:solidFill>
            </c:spPr>
          </c:dPt>
          <c:dPt>
            <c:idx val="1909"/>
            <c:spPr>
              <a:solidFill>
                <a:srgbClr val="AEABAB"/>
              </a:solidFill>
            </c:spPr>
          </c:dPt>
          <c:dPt>
            <c:idx val="1910"/>
            <c:spPr>
              <a:solidFill>
                <a:srgbClr val="AEABAB"/>
              </a:solidFill>
            </c:spPr>
          </c:dPt>
          <c:dPt>
            <c:idx val="1911"/>
            <c:spPr>
              <a:solidFill>
                <a:srgbClr val="AEABAB"/>
              </a:solidFill>
            </c:spPr>
          </c:dPt>
          <c:dPt>
            <c:idx val="1912"/>
            <c:spPr>
              <a:solidFill>
                <a:srgbClr val="AEABAB"/>
              </a:solidFill>
            </c:spPr>
          </c:dPt>
          <c:dPt>
            <c:idx val="1913"/>
            <c:spPr>
              <a:solidFill>
                <a:srgbClr val="AEABAB"/>
              </a:solidFill>
            </c:spPr>
          </c:dPt>
          <c:dPt>
            <c:idx val="1914"/>
            <c:spPr>
              <a:solidFill>
                <a:srgbClr val="AEABAB"/>
              </a:solidFill>
            </c:spPr>
          </c:dPt>
          <c:dPt>
            <c:idx val="1915"/>
            <c:spPr>
              <a:solidFill>
                <a:srgbClr val="AEABAB"/>
              </a:solidFill>
            </c:spPr>
          </c:dPt>
          <c:dPt>
            <c:idx val="1916"/>
            <c:spPr>
              <a:solidFill>
                <a:srgbClr val="AEABAB"/>
              </a:solidFill>
            </c:spPr>
          </c:dPt>
          <c:dPt>
            <c:idx val="1917"/>
            <c:spPr>
              <a:solidFill>
                <a:srgbClr val="AEABAB"/>
              </a:solidFill>
            </c:spPr>
          </c:dPt>
          <c:dPt>
            <c:idx val="1918"/>
            <c:spPr>
              <a:solidFill>
                <a:srgbClr val="AEABAB"/>
              </a:solidFill>
            </c:spPr>
          </c:dPt>
          <c:dPt>
            <c:idx val="1919"/>
            <c:spPr>
              <a:solidFill>
                <a:srgbClr val="AEABAB"/>
              </a:solidFill>
            </c:spPr>
          </c:dPt>
          <c:dPt>
            <c:idx val="1920"/>
            <c:spPr>
              <a:solidFill>
                <a:srgbClr val="AEABAB"/>
              </a:solidFill>
            </c:spPr>
          </c:dPt>
          <c:dPt>
            <c:idx val="1921"/>
            <c:spPr>
              <a:solidFill>
                <a:srgbClr val="AEABAB"/>
              </a:solidFill>
            </c:spPr>
          </c:dPt>
          <c:dPt>
            <c:idx val="1922"/>
            <c:spPr>
              <a:solidFill>
                <a:srgbClr val="AEABAB"/>
              </a:solidFill>
            </c:spPr>
          </c:dPt>
          <c:dPt>
            <c:idx val="1923"/>
            <c:spPr>
              <a:solidFill>
                <a:srgbClr val="AEABAB"/>
              </a:solidFill>
            </c:spPr>
          </c:dPt>
          <c:dPt>
            <c:idx val="1924"/>
            <c:spPr>
              <a:solidFill>
                <a:srgbClr val="AEABAB"/>
              </a:solidFill>
            </c:spPr>
          </c:dPt>
          <c:dPt>
            <c:idx val="1925"/>
            <c:spPr>
              <a:solidFill>
                <a:srgbClr val="AEABAB"/>
              </a:solidFill>
            </c:spPr>
          </c:dPt>
          <c:dPt>
            <c:idx val="1926"/>
            <c:spPr>
              <a:solidFill>
                <a:srgbClr val="AEABAB"/>
              </a:solidFill>
            </c:spPr>
          </c:dPt>
          <c:dPt>
            <c:idx val="1927"/>
            <c:spPr>
              <a:solidFill>
                <a:srgbClr val="AEABAB"/>
              </a:solidFill>
            </c:spPr>
          </c:dPt>
          <c:dPt>
            <c:idx val="1928"/>
            <c:spPr>
              <a:solidFill>
                <a:srgbClr val="AEABAB"/>
              </a:solidFill>
            </c:spPr>
          </c:dPt>
          <c:dPt>
            <c:idx val="1929"/>
            <c:spPr>
              <a:solidFill>
                <a:srgbClr val="AEABAB"/>
              </a:solidFill>
            </c:spPr>
          </c:dPt>
          <c:dPt>
            <c:idx val="1930"/>
            <c:spPr>
              <a:solidFill>
                <a:srgbClr val="AEABAB"/>
              </a:solidFill>
            </c:spPr>
          </c:dPt>
          <c:dPt>
            <c:idx val="1931"/>
            <c:spPr>
              <a:solidFill>
                <a:srgbClr val="AEABAB"/>
              </a:solidFill>
            </c:spPr>
          </c:dPt>
          <c:dPt>
            <c:idx val="1932"/>
            <c:spPr>
              <a:solidFill>
                <a:srgbClr val="AEABAB"/>
              </a:solidFill>
            </c:spPr>
          </c:dPt>
          <c:dPt>
            <c:idx val="1933"/>
            <c:spPr>
              <a:solidFill>
                <a:srgbClr val="AEABAB"/>
              </a:solidFill>
            </c:spPr>
          </c:dPt>
          <c:dPt>
            <c:idx val="1934"/>
            <c:spPr>
              <a:solidFill>
                <a:srgbClr val="AEABAB"/>
              </a:solidFill>
            </c:spPr>
          </c:dPt>
          <c:dPt>
            <c:idx val="1935"/>
            <c:spPr>
              <a:solidFill>
                <a:srgbClr val="AEABAB"/>
              </a:solidFill>
            </c:spPr>
          </c:dPt>
          <c:dPt>
            <c:idx val="1936"/>
            <c:spPr>
              <a:solidFill>
                <a:srgbClr val="AEABAB"/>
              </a:solidFill>
            </c:spPr>
          </c:dPt>
          <c:dPt>
            <c:idx val="1937"/>
            <c:spPr>
              <a:solidFill>
                <a:srgbClr val="AEABAB"/>
              </a:solidFill>
            </c:spPr>
          </c:dPt>
          <c:dPt>
            <c:idx val="1938"/>
            <c:spPr>
              <a:solidFill>
                <a:srgbClr val="AEABAB"/>
              </a:solidFill>
            </c:spPr>
          </c:dPt>
          <c:dPt>
            <c:idx val="1939"/>
            <c:spPr>
              <a:solidFill>
                <a:srgbClr val="AEABAB"/>
              </a:solidFill>
            </c:spPr>
          </c:dPt>
          <c:dPt>
            <c:idx val="1940"/>
            <c:spPr>
              <a:solidFill>
                <a:srgbClr val="AEABAB"/>
              </a:solidFill>
            </c:spPr>
          </c:dPt>
          <c:dPt>
            <c:idx val="1941"/>
            <c:spPr>
              <a:solidFill>
                <a:srgbClr val="AEABAB"/>
              </a:solidFill>
            </c:spPr>
          </c:dPt>
          <c:dPt>
            <c:idx val="1942"/>
            <c:spPr>
              <a:solidFill>
                <a:srgbClr val="AEABAB"/>
              </a:solidFill>
            </c:spPr>
          </c:dPt>
          <c:dPt>
            <c:idx val="1943"/>
            <c:spPr>
              <a:solidFill>
                <a:srgbClr val="AEABAB"/>
              </a:solidFill>
            </c:spPr>
          </c:dPt>
          <c:dPt>
            <c:idx val="1944"/>
            <c:spPr>
              <a:solidFill>
                <a:srgbClr val="AEABAB"/>
              </a:solidFill>
            </c:spPr>
          </c:dPt>
          <c:dPt>
            <c:idx val="1945"/>
            <c:spPr>
              <a:solidFill>
                <a:srgbClr val="AEABAB"/>
              </a:solidFill>
            </c:spPr>
          </c:dPt>
          <c:dPt>
            <c:idx val="1946"/>
            <c:spPr>
              <a:solidFill>
                <a:srgbClr val="AEABAB"/>
              </a:solidFill>
            </c:spPr>
          </c:dPt>
          <c:dPt>
            <c:idx val="1947"/>
            <c:spPr>
              <a:solidFill>
                <a:srgbClr val="AEABAB"/>
              </a:solidFill>
            </c:spPr>
          </c:dPt>
          <c:dPt>
            <c:idx val="1948"/>
            <c:spPr>
              <a:solidFill>
                <a:srgbClr val="AEABAB"/>
              </a:solidFill>
            </c:spPr>
          </c:dPt>
          <c:dPt>
            <c:idx val="1949"/>
            <c:spPr>
              <a:solidFill>
                <a:srgbClr val="AEABAB"/>
              </a:solidFill>
            </c:spPr>
          </c:dPt>
          <c:dPt>
            <c:idx val="1950"/>
            <c:spPr>
              <a:solidFill>
                <a:srgbClr val="AEABAB"/>
              </a:solidFill>
            </c:spPr>
          </c:dPt>
          <c:dPt>
            <c:idx val="1951"/>
            <c:spPr>
              <a:solidFill>
                <a:srgbClr val="AEABAB"/>
              </a:solidFill>
            </c:spPr>
          </c:dPt>
          <c:dPt>
            <c:idx val="1952"/>
            <c:spPr>
              <a:solidFill>
                <a:srgbClr val="AEABAB"/>
              </a:solidFill>
            </c:spPr>
          </c:dPt>
          <c:dPt>
            <c:idx val="1953"/>
            <c:spPr>
              <a:solidFill>
                <a:srgbClr val="AEABAB"/>
              </a:solidFill>
            </c:spPr>
          </c:dPt>
          <c:dPt>
            <c:idx val="1954"/>
            <c:spPr>
              <a:solidFill>
                <a:srgbClr val="AEABAB"/>
              </a:solidFill>
            </c:spPr>
          </c:dPt>
          <c:dPt>
            <c:idx val="1955"/>
            <c:spPr>
              <a:solidFill>
                <a:srgbClr val="AEABAB"/>
              </a:solidFill>
            </c:spPr>
          </c:dPt>
          <c:dPt>
            <c:idx val="1956"/>
            <c:spPr>
              <a:solidFill>
                <a:srgbClr val="AEABAB"/>
              </a:solidFill>
            </c:spPr>
          </c:dPt>
          <c:dPt>
            <c:idx val="1957"/>
            <c:spPr>
              <a:solidFill>
                <a:srgbClr val="AEABAB"/>
              </a:solidFill>
            </c:spPr>
          </c:dPt>
          <c:dPt>
            <c:idx val="1958"/>
            <c:spPr>
              <a:solidFill>
                <a:srgbClr val="AEABAB"/>
              </a:solidFill>
            </c:spPr>
          </c:dPt>
          <c:dPt>
            <c:idx val="1959"/>
            <c:spPr>
              <a:solidFill>
                <a:srgbClr val="AEABAB"/>
              </a:solidFill>
            </c:spPr>
          </c:dPt>
          <c:dPt>
            <c:idx val="1960"/>
            <c:spPr>
              <a:solidFill>
                <a:srgbClr val="AEABAB"/>
              </a:solidFill>
            </c:spPr>
          </c:dPt>
          <c:dPt>
            <c:idx val="1961"/>
            <c:spPr>
              <a:solidFill>
                <a:srgbClr val="AEABAB"/>
              </a:solidFill>
            </c:spPr>
          </c:dPt>
          <c:dPt>
            <c:idx val="1962"/>
            <c:spPr>
              <a:solidFill>
                <a:srgbClr val="AEABAB"/>
              </a:solidFill>
            </c:spPr>
          </c:dPt>
          <c:dPt>
            <c:idx val="1963"/>
            <c:spPr>
              <a:solidFill>
                <a:srgbClr val="AEABAB"/>
              </a:solidFill>
            </c:spPr>
          </c:dPt>
          <c:dPt>
            <c:idx val="1964"/>
            <c:spPr>
              <a:solidFill>
                <a:srgbClr val="AEABAB"/>
              </a:solidFill>
            </c:spPr>
          </c:dPt>
          <c:dPt>
            <c:idx val="1965"/>
            <c:spPr>
              <a:solidFill>
                <a:srgbClr val="AEABAB"/>
              </a:solidFill>
            </c:spPr>
          </c:dPt>
          <c:dPt>
            <c:idx val="1966"/>
            <c:spPr>
              <a:solidFill>
                <a:srgbClr val="AEABAB"/>
              </a:solidFill>
            </c:spPr>
          </c:dPt>
          <c:dPt>
            <c:idx val="1967"/>
            <c:spPr>
              <a:solidFill>
                <a:srgbClr val="AEABAB"/>
              </a:solidFill>
            </c:spPr>
          </c:dPt>
          <c:dPt>
            <c:idx val="1968"/>
            <c:spPr>
              <a:solidFill>
                <a:srgbClr val="AEABAB"/>
              </a:solidFill>
            </c:spPr>
          </c:dPt>
          <c:dPt>
            <c:idx val="1969"/>
            <c:spPr>
              <a:solidFill>
                <a:srgbClr val="AEABAB"/>
              </a:solidFill>
            </c:spPr>
          </c:dPt>
          <c:dPt>
            <c:idx val="1970"/>
            <c:spPr>
              <a:solidFill>
                <a:srgbClr val="AEABAB"/>
              </a:solidFill>
            </c:spPr>
          </c:dPt>
          <c:dPt>
            <c:idx val="1971"/>
            <c:spPr>
              <a:solidFill>
                <a:srgbClr val="AEABAB"/>
              </a:solidFill>
            </c:spPr>
          </c:dPt>
          <c:dPt>
            <c:idx val="1972"/>
            <c:spPr>
              <a:solidFill>
                <a:srgbClr val="AEABAB"/>
              </a:solidFill>
            </c:spPr>
          </c:dPt>
          <c:dPt>
            <c:idx val="1973"/>
            <c:spPr>
              <a:solidFill>
                <a:srgbClr val="AEABAB"/>
              </a:solidFill>
            </c:spPr>
          </c:dPt>
          <c:dPt>
            <c:idx val="1974"/>
            <c:spPr>
              <a:solidFill>
                <a:srgbClr val="AEABAB"/>
              </a:solidFill>
            </c:spPr>
          </c:dPt>
          <c:dPt>
            <c:idx val="1975"/>
            <c:spPr>
              <a:solidFill>
                <a:srgbClr val="AEABAB"/>
              </a:solidFill>
            </c:spPr>
          </c:dPt>
          <c:dPt>
            <c:idx val="1976"/>
            <c:spPr>
              <a:solidFill>
                <a:srgbClr val="AEABAB"/>
              </a:solidFill>
            </c:spPr>
          </c:dPt>
          <c:dPt>
            <c:idx val="1977"/>
            <c:spPr>
              <a:solidFill>
                <a:srgbClr val="AEABAB"/>
              </a:solidFill>
            </c:spPr>
          </c:dPt>
          <c:dPt>
            <c:idx val="1978"/>
            <c:spPr>
              <a:solidFill>
                <a:srgbClr val="AEABAB"/>
              </a:solidFill>
            </c:spPr>
          </c:dPt>
          <c:cat>
            <c:strRef>
              <c:f>Sheet1!$A$2:$A$1980</c:f>
              <c:strCache>
                <c:ptCount val="1979"/>
                <c:pt idx="0">
                  <c:v>Private Lab</c:v>
                </c:pt>
                <c:pt idx="1">
                  <c:v>Caprice Des</c:v>
                </c:pt>
                <c:pt idx="2">
                  <c:v>Private Lab</c:v>
                </c:pt>
                <c:pt idx="3">
                  <c:v>Private Lab</c:v>
                </c:pt>
                <c:pt idx="4">
                  <c:v>Private Lab</c:v>
                </c:pt>
                <c:pt idx="5">
                  <c:v>Coeur De Li</c:v>
                </c:pt>
                <c:pt idx="6">
                  <c:v>Private Lab</c:v>
                </c:pt>
                <c:pt idx="7">
                  <c:v>President</c:v>
                </c:pt>
                <c:pt idx="8">
                  <c:v>La Vache Qu</c:v>
                </c:pt>
                <c:pt idx="9">
                  <c:v>Mini Babybe</c:v>
                </c:pt>
                <c:pt idx="10">
                  <c:v>Private Lab</c:v>
                </c:pt>
                <c:pt idx="11">
                  <c:v>Caprice Des</c:v>
                </c:pt>
                <c:pt idx="12">
                  <c:v>Private Lab</c:v>
                </c:pt>
                <c:pt idx="13">
                  <c:v>Soignon</c:v>
                </c:pt>
                <c:pt idx="14">
                  <c:v>Private Lab</c:v>
                </c:pt>
                <c:pt idx="15">
                  <c:v>Private Lab</c:v>
                </c:pt>
                <c:pt idx="16">
                  <c:v>Private Lab</c:v>
                </c:pt>
                <c:pt idx="17">
                  <c:v>Coeur De Li</c:v>
                </c:pt>
                <c:pt idx="18">
                  <c:v>Galbani</c:v>
                </c:pt>
                <c:pt idx="19">
                  <c:v>Soignon</c:v>
                </c:pt>
                <c:pt idx="20">
                  <c:v>Le Rustique</c:v>
                </c:pt>
                <c:pt idx="21">
                  <c:v>St Moret</c:v>
                </c:pt>
                <c:pt idx="22">
                  <c:v>Private Lab</c:v>
                </c:pt>
                <c:pt idx="23">
                  <c:v>Private Lab</c:v>
                </c:pt>
                <c:pt idx="24">
                  <c:v>La Vache Qu</c:v>
                </c:pt>
                <c:pt idx="25">
                  <c:v>Soignon</c:v>
                </c:pt>
                <c:pt idx="26">
                  <c:v>President</c:v>
                </c:pt>
                <c:pt idx="27">
                  <c:v>Tartare</c:v>
                </c:pt>
                <c:pt idx="28">
                  <c:v>All Others</c:v>
                </c:pt>
                <c:pt idx="29">
                  <c:v>Salakis</c:v>
                </c:pt>
                <c:pt idx="30">
                  <c:v>President</c:v>
                </c:pt>
                <c:pt idx="31">
                  <c:v>Apericube</c:v>
                </c:pt>
                <c:pt idx="32">
                  <c:v>Ficello</c:v>
                </c:pt>
                <c:pt idx="33">
                  <c:v>Private Lab</c:v>
                </c:pt>
                <c:pt idx="34">
                  <c:v>La Vache Qu</c:v>
                </c:pt>
                <c:pt idx="35">
                  <c:v>Mini Babybe</c:v>
                </c:pt>
                <c:pt idx="36">
                  <c:v>St Moret</c:v>
                </c:pt>
                <c:pt idx="37">
                  <c:v>All Others</c:v>
                </c:pt>
                <c:pt idx="38">
                  <c:v>Kiri</c:v>
                </c:pt>
                <c:pt idx="39">
                  <c:v>Private Lab</c:v>
                </c:pt>
                <c:pt idx="40">
                  <c:v>Apericube</c:v>
                </c:pt>
                <c:pt idx="41">
                  <c:v>Private Lab</c:v>
                </c:pt>
                <c:pt idx="42">
                  <c:v>Paysan Bret</c:v>
                </c:pt>
                <c:pt idx="43">
                  <c:v>Private Lab</c:v>
                </c:pt>
                <c:pt idx="44">
                  <c:v>Apericube</c:v>
                </c:pt>
                <c:pt idx="45">
                  <c:v>St Moret</c:v>
                </c:pt>
                <c:pt idx="46">
                  <c:v>Islos</c:v>
                </c:pt>
                <c:pt idx="47">
                  <c:v>Carre Frais</c:v>
                </c:pt>
                <c:pt idx="48">
                  <c:v>Kiri</c:v>
                </c:pt>
                <c:pt idx="49">
                  <c:v>Richesmonts</c:v>
                </c:pt>
                <c:pt idx="50">
                  <c:v>Private Lab</c:v>
                </c:pt>
                <c:pt idx="51">
                  <c:v>Entremont</c:v>
                </c:pt>
                <c:pt idx="52">
                  <c:v>Philadelphi</c:v>
                </c:pt>
                <c:pt idx="53">
                  <c:v>Paysan Bret</c:v>
                </c:pt>
                <c:pt idx="54">
                  <c:v>President</c:v>
                </c:pt>
                <c:pt idx="55">
                  <c:v>Private Lab</c:v>
                </c:pt>
                <c:pt idx="56">
                  <c:v>Private Lab</c:v>
                </c:pt>
                <c:pt idx="57">
                  <c:v>Private Lab</c:v>
                </c:pt>
                <c:pt idx="58">
                  <c:v>Lepetit</c:v>
                </c:pt>
                <c:pt idx="59">
                  <c:v>All Others</c:v>
                </c:pt>
                <c:pt idx="60">
                  <c:v>St Moret</c:v>
                </c:pt>
                <c:pt idx="61">
                  <c:v>Private Lab</c:v>
                </c:pt>
                <c:pt idx="62">
                  <c:v>Coeur De Li</c:v>
                </c:pt>
                <c:pt idx="63">
                  <c:v>Carre Frais</c:v>
                </c:pt>
                <c:pt idx="64">
                  <c:v>Chaussee Au</c:v>
                </c:pt>
                <c:pt idx="65">
                  <c:v>Caprice Des</c:v>
                </c:pt>
                <c:pt idx="66">
                  <c:v>Tartare</c:v>
                </c:pt>
                <c:pt idx="67">
                  <c:v>Private Lab</c:v>
                </c:pt>
                <c:pt idx="68">
                  <c:v>Private Lab</c:v>
                </c:pt>
                <c:pt idx="69">
                  <c:v>Boursin</c:v>
                </c:pt>
                <c:pt idx="70">
                  <c:v>Kiri</c:v>
                </c:pt>
                <c:pt idx="71">
                  <c:v>Casa Azzurr</c:v>
                </c:pt>
                <c:pt idx="72">
                  <c:v>Istara</c:v>
                </c:pt>
                <c:pt idx="73">
                  <c:v>Entremont</c:v>
                </c:pt>
                <c:pt idx="74">
                  <c:v>President</c:v>
                </c:pt>
                <c:pt idx="75">
                  <c:v>Private Lab</c:v>
                </c:pt>
                <c:pt idx="76">
                  <c:v>Casa Azzurr</c:v>
                </c:pt>
                <c:pt idx="77">
                  <c:v>Private Lab</c:v>
                </c:pt>
                <c:pt idx="78">
                  <c:v>St Moret</c:v>
                </c:pt>
                <c:pt idx="79">
                  <c:v>Galbani</c:v>
                </c:pt>
                <c:pt idx="80">
                  <c:v>Private Lab</c:v>
                </c:pt>
                <c:pt idx="81">
                  <c:v>Private Lab</c:v>
                </c:pt>
                <c:pt idx="82">
                  <c:v>Societe</c:v>
                </c:pt>
                <c:pt idx="83">
                  <c:v>Boursin</c:v>
                </c:pt>
                <c:pt idx="84">
                  <c:v>Private Lab</c:v>
                </c:pt>
                <c:pt idx="85">
                  <c:v>Private Lab</c:v>
                </c:pt>
                <c:pt idx="86">
                  <c:v>All Others</c:v>
                </c:pt>
                <c:pt idx="87">
                  <c:v>President</c:v>
                </c:pt>
                <c:pt idx="88">
                  <c:v>Entremont</c:v>
                </c:pt>
                <c:pt idx="89">
                  <c:v>President</c:v>
                </c:pt>
                <c:pt idx="90">
                  <c:v>Petit Billy</c:v>
                </c:pt>
                <c:pt idx="91">
                  <c:v>Juraflore</c:v>
                </c:pt>
                <c:pt idx="92">
                  <c:v>Entremont</c:v>
                </c:pt>
                <c:pt idx="93">
                  <c:v>Private Lab</c:v>
                </c:pt>
                <c:pt idx="94">
                  <c:v>Lou Perac</c:v>
                </c:pt>
                <c:pt idx="95">
                  <c:v>Private Lab</c:v>
                </c:pt>
                <c:pt idx="96">
                  <c:v>Private Lab</c:v>
                </c:pt>
                <c:pt idx="97">
                  <c:v>Philadelphi</c:v>
                </c:pt>
                <c:pt idx="98">
                  <c:v>Private Lab</c:v>
                </c:pt>
                <c:pt idx="99">
                  <c:v>Private Lab</c:v>
                </c:pt>
                <c:pt idx="100">
                  <c:v>Private Lab</c:v>
                </c:pt>
                <c:pt idx="101">
                  <c:v>Private Lab</c:v>
                </c:pt>
                <c:pt idx="102">
                  <c:v>Private Lab</c:v>
                </c:pt>
                <c:pt idx="103">
                  <c:v>Casa Azzurr</c:v>
                </c:pt>
                <c:pt idx="104">
                  <c:v>Private Lab</c:v>
                </c:pt>
                <c:pt idx="105">
                  <c:v>Boursin</c:v>
                </c:pt>
                <c:pt idx="106">
                  <c:v>President</c:v>
                </c:pt>
                <c:pt idx="107">
                  <c:v>St Moret</c:v>
                </c:pt>
                <c:pt idx="108">
                  <c:v>Private Lab</c:v>
                </c:pt>
                <c:pt idx="109">
                  <c:v>President</c:v>
                </c:pt>
                <c:pt idx="110">
                  <c:v>Private Lab</c:v>
                </c:pt>
                <c:pt idx="111">
                  <c:v>President</c:v>
                </c:pt>
                <c:pt idx="112">
                  <c:v>Kiri</c:v>
                </c:pt>
                <c:pt idx="113">
                  <c:v>St Moret</c:v>
                </c:pt>
                <c:pt idx="114">
                  <c:v>Coeur De Li</c:v>
                </c:pt>
                <c:pt idx="115">
                  <c:v>Boursin</c:v>
                </c:pt>
                <c:pt idx="116">
                  <c:v>Salakis</c:v>
                </c:pt>
                <c:pt idx="117">
                  <c:v>President</c:v>
                </c:pt>
                <c:pt idx="118">
                  <c:v>Pochat</c:v>
                </c:pt>
                <c:pt idx="119">
                  <c:v>Private Lab</c:v>
                </c:pt>
                <c:pt idx="120">
                  <c:v>Apericube</c:v>
                </c:pt>
                <c:pt idx="121">
                  <c:v>Private Lab</c:v>
                </c:pt>
                <c:pt idx="122">
                  <c:v>Apericube</c:v>
                </c:pt>
                <c:pt idx="123">
                  <c:v>Private Lab</c:v>
                </c:pt>
                <c:pt idx="124">
                  <c:v>Galbani</c:v>
                </c:pt>
                <c:pt idx="125">
                  <c:v>Private Lab</c:v>
                </c:pt>
                <c:pt idx="126">
                  <c:v>Apericube</c:v>
                </c:pt>
                <c:pt idx="127">
                  <c:v>Casa Azzurr</c:v>
                </c:pt>
                <c:pt idx="128">
                  <c:v>Private Lab</c:v>
                </c:pt>
                <c:pt idx="129">
                  <c:v>Galbani</c:v>
                </c:pt>
                <c:pt idx="130">
                  <c:v>Le Rustique</c:v>
                </c:pt>
                <c:pt idx="131">
                  <c:v>Chaussee Au</c:v>
                </c:pt>
                <c:pt idx="132">
                  <c:v>All Others</c:v>
                </c:pt>
                <c:pt idx="133">
                  <c:v>President</c:v>
                </c:pt>
                <c:pt idx="134">
                  <c:v>Casa Azzurr</c:v>
                </c:pt>
                <c:pt idx="135">
                  <c:v>Casa Azzurr</c:v>
                </c:pt>
                <c:pt idx="136">
                  <c:v>Private Lab</c:v>
                </c:pt>
                <c:pt idx="137">
                  <c:v>Richesmonts</c:v>
                </c:pt>
                <c:pt idx="138">
                  <c:v>Aperivrais</c:v>
                </c:pt>
                <c:pt idx="139">
                  <c:v>Leerdammer</c:v>
                </c:pt>
                <c:pt idx="140">
                  <c:v>All Others</c:v>
                </c:pt>
                <c:pt idx="141">
                  <c:v>Entremont</c:v>
                </c:pt>
                <c:pt idx="142">
                  <c:v>Mini Babybe</c:v>
                </c:pt>
                <c:pt idx="143">
                  <c:v>Ficello</c:v>
                </c:pt>
                <c:pt idx="144">
                  <c:v>Boursin</c:v>
                </c:pt>
                <c:pt idx="145">
                  <c:v>Mini Babybe</c:v>
                </c:pt>
                <c:pt idx="146">
                  <c:v>Le Brebiou</c:v>
                </c:pt>
                <c:pt idx="147">
                  <c:v>St Moret</c:v>
                </c:pt>
                <c:pt idx="148">
                  <c:v>Private Lab</c:v>
                </c:pt>
                <c:pt idx="149">
                  <c:v>Private Lab</c:v>
                </c:pt>
                <c:pt idx="150">
                  <c:v>Soignon</c:v>
                </c:pt>
                <c:pt idx="151">
                  <c:v>Private Lab</c:v>
                </c:pt>
                <c:pt idx="152">
                  <c:v>Salakis</c:v>
                </c:pt>
                <c:pt idx="153">
                  <c:v>Paysan Bret</c:v>
                </c:pt>
                <c:pt idx="154">
                  <c:v>Le Rustique</c:v>
                </c:pt>
                <c:pt idx="155">
                  <c:v>Richesmonts</c:v>
                </c:pt>
                <c:pt idx="156">
                  <c:v>Coeur De Li</c:v>
                </c:pt>
                <c:pt idx="157">
                  <c:v>Kiri</c:v>
                </c:pt>
                <c:pt idx="158">
                  <c:v>President</c:v>
                </c:pt>
                <c:pt idx="159">
                  <c:v>Lactalis: A</c:v>
                </c:pt>
                <c:pt idx="160">
                  <c:v>Aperivrais</c:v>
                </c:pt>
                <c:pt idx="161">
                  <c:v>Private Lab</c:v>
                </c:pt>
                <c:pt idx="162">
                  <c:v>Leerdammer</c:v>
                </c:pt>
                <c:pt idx="163">
                  <c:v>Private Lab</c:v>
                </c:pt>
                <c:pt idx="164">
                  <c:v>Private Lab</c:v>
                </c:pt>
                <c:pt idx="165">
                  <c:v>Saint Agur</c:v>
                </c:pt>
                <c:pt idx="166">
                  <c:v>Private Lab</c:v>
                </c:pt>
                <c:pt idx="167">
                  <c:v>Private Lab</c:v>
                </c:pt>
                <c:pt idx="168">
                  <c:v>Soignon</c:v>
                </c:pt>
                <c:pt idx="169">
                  <c:v>Casa Azzurr</c:v>
                </c:pt>
                <c:pt idx="170">
                  <c:v>Entremont</c:v>
                </c:pt>
                <c:pt idx="171">
                  <c:v>Etorki</c:v>
                </c:pt>
                <c:pt idx="172">
                  <c:v>All Others</c:v>
                </c:pt>
                <c:pt idx="173">
                  <c:v>Lou Perac</c:v>
                </c:pt>
                <c:pt idx="174">
                  <c:v>Richesmonts</c:v>
                </c:pt>
                <c:pt idx="175">
                  <c:v>President</c:v>
                </c:pt>
                <c:pt idx="176">
                  <c:v>L'Ortolan</c:v>
                </c:pt>
                <c:pt idx="177">
                  <c:v>Casa Azzurr</c:v>
                </c:pt>
                <c:pt idx="178">
                  <c:v>Richesmonts</c:v>
                </c:pt>
                <c:pt idx="179">
                  <c:v>Parmareggio</c:v>
                </c:pt>
                <c:pt idx="180">
                  <c:v>All Others</c:v>
                </c:pt>
                <c:pt idx="181">
                  <c:v>La Vache Qu</c:v>
                </c:pt>
                <c:pt idx="182">
                  <c:v>Chavroux</c:v>
                </c:pt>
                <c:pt idx="183">
                  <c:v>Saint Albra</c:v>
                </c:pt>
                <c:pt idx="184">
                  <c:v>Soignon</c:v>
                </c:pt>
                <c:pt idx="185">
                  <c:v>Caprice Des</c:v>
                </c:pt>
                <c:pt idx="186">
                  <c:v>President</c:v>
                </c:pt>
                <c:pt idx="187">
                  <c:v>La Vache Qu</c:v>
                </c:pt>
                <c:pt idx="188">
                  <c:v>Private Lab</c:v>
                </c:pt>
                <c:pt idx="189">
                  <c:v>All Others</c:v>
                </c:pt>
                <c:pt idx="190">
                  <c:v>Galbani</c:v>
                </c:pt>
                <c:pt idx="191">
                  <c:v>Entremont</c:v>
                </c:pt>
                <c:pt idx="192">
                  <c:v>Private Lab</c:v>
                </c:pt>
                <c:pt idx="193">
                  <c:v>Private Lab</c:v>
                </c:pt>
                <c:pt idx="194">
                  <c:v>Rondele</c:v>
                </c:pt>
                <c:pt idx="195">
                  <c:v>Private Lab</c:v>
                </c:pt>
                <c:pt idx="196">
                  <c:v>Bresse Bleu</c:v>
                </c:pt>
                <c:pt idx="197">
                  <c:v>Private Lab</c:v>
                </c:pt>
                <c:pt idx="198">
                  <c:v>All Others</c:v>
                </c:pt>
                <c:pt idx="199">
                  <c:v>All Others</c:v>
                </c:pt>
                <c:pt idx="200">
                  <c:v>Private Lab</c:v>
                </c:pt>
                <c:pt idx="201">
                  <c:v>Private Lab</c:v>
                </c:pt>
                <c:pt idx="202">
                  <c:v>Private Lab</c:v>
                </c:pt>
                <c:pt idx="203">
                  <c:v>Private Lab</c:v>
                </c:pt>
                <c:pt idx="204">
                  <c:v>Private Lab</c:v>
                </c:pt>
                <c:pt idx="205">
                  <c:v>Galbani</c:v>
                </c:pt>
                <c:pt idx="206">
                  <c:v>Lactalis: A</c:v>
                </c:pt>
                <c:pt idx="207">
                  <c:v>Boursin</c:v>
                </c:pt>
                <c:pt idx="208">
                  <c:v>All Others</c:v>
                </c:pt>
                <c:pt idx="209">
                  <c:v>All Others</c:v>
                </c:pt>
                <c:pt idx="210">
                  <c:v>Entremont</c:v>
                </c:pt>
                <c:pt idx="211">
                  <c:v>Paysan Bret</c:v>
                </c:pt>
                <c:pt idx="212">
                  <c:v>Entremont</c:v>
                </c:pt>
                <c:pt idx="213">
                  <c:v>President</c:v>
                </c:pt>
                <c:pt idx="214">
                  <c:v>Leerdammer</c:v>
                </c:pt>
                <c:pt idx="215">
                  <c:v>Leerdammer</c:v>
                </c:pt>
                <c:pt idx="216">
                  <c:v>Private Lab</c:v>
                </c:pt>
                <c:pt idx="217">
                  <c:v>Saint Agur</c:v>
                </c:pt>
                <c:pt idx="218">
                  <c:v>Saint Agur</c:v>
                </c:pt>
                <c:pt idx="219">
                  <c:v>Private Lab</c:v>
                </c:pt>
                <c:pt idx="220">
                  <c:v>Private Lab</c:v>
                </c:pt>
                <c:pt idx="221">
                  <c:v>Tartare</c:v>
                </c:pt>
                <c:pt idx="222">
                  <c:v>Istara</c:v>
                </c:pt>
                <c:pt idx="223">
                  <c:v>Private Lab</c:v>
                </c:pt>
                <c:pt idx="224">
                  <c:v>Casa Azzurr</c:v>
                </c:pt>
                <c:pt idx="225">
                  <c:v>Boursin</c:v>
                </c:pt>
                <c:pt idx="226">
                  <c:v>All Others</c:v>
                </c:pt>
                <c:pt idx="227">
                  <c:v>Lactalis: A</c:v>
                </c:pt>
                <c:pt idx="228">
                  <c:v>P'Tit Louis</c:v>
                </c:pt>
                <c:pt idx="229">
                  <c:v>Private Lab</c:v>
                </c:pt>
                <c:pt idx="230">
                  <c:v>Private Lab</c:v>
                </c:pt>
                <c:pt idx="231">
                  <c:v>Soignon</c:v>
                </c:pt>
                <c:pt idx="232">
                  <c:v>La Vache Qu</c:v>
                </c:pt>
                <c:pt idx="233">
                  <c:v>All Others</c:v>
                </c:pt>
                <c:pt idx="234">
                  <c:v>Soignon</c:v>
                </c:pt>
                <c:pt idx="235">
                  <c:v>Private Lab</c:v>
                </c:pt>
                <c:pt idx="236">
                  <c:v>Private Lab</c:v>
                </c:pt>
                <c:pt idx="237">
                  <c:v>Soignon</c:v>
                </c:pt>
                <c:pt idx="238">
                  <c:v>Chavroux</c:v>
                </c:pt>
                <c:pt idx="239">
                  <c:v>President</c:v>
                </c:pt>
                <c:pt idx="240">
                  <c:v>Galbani</c:v>
                </c:pt>
                <c:pt idx="241">
                  <c:v>President</c:v>
                </c:pt>
                <c:pt idx="242">
                  <c:v>Richesmonts</c:v>
                </c:pt>
                <c:pt idx="243">
                  <c:v>Private Lab</c:v>
                </c:pt>
                <c:pt idx="244">
                  <c:v>Private Lab</c:v>
                </c:pt>
                <c:pt idx="245">
                  <c:v>Paysan Bret</c:v>
                </c:pt>
                <c:pt idx="246">
                  <c:v>Private Lab</c:v>
                </c:pt>
                <c:pt idx="247">
                  <c:v>Port Salut</c:v>
                </c:pt>
                <c:pt idx="248">
                  <c:v>Galbani</c:v>
                </c:pt>
                <c:pt idx="249">
                  <c:v>Entremont</c:v>
                </c:pt>
                <c:pt idx="250">
                  <c:v>President</c:v>
                </c:pt>
                <c:pt idx="251">
                  <c:v>Apericube</c:v>
                </c:pt>
                <c:pt idx="252">
                  <c:v>Private Lab</c:v>
                </c:pt>
                <c:pt idx="253">
                  <c:v>President</c:v>
                </c:pt>
                <c:pt idx="254">
                  <c:v>All Others</c:v>
                </c:pt>
                <c:pt idx="255">
                  <c:v>Private Lab</c:v>
                </c:pt>
                <c:pt idx="256">
                  <c:v>Entremont</c:v>
                </c:pt>
                <c:pt idx="257">
                  <c:v>All Others</c:v>
                </c:pt>
                <c:pt idx="258">
                  <c:v>Apericube</c:v>
                </c:pt>
                <c:pt idx="259">
                  <c:v>All Others</c:v>
                </c:pt>
                <c:pt idx="260">
                  <c:v>Private Lab</c:v>
                </c:pt>
                <c:pt idx="261">
                  <c:v>Private Lab</c:v>
                </c:pt>
                <c:pt idx="262">
                  <c:v>All Others</c:v>
                </c:pt>
                <c:pt idx="263">
                  <c:v>Private Lab</c:v>
                </c:pt>
                <c:pt idx="264">
                  <c:v>Richesmonts</c:v>
                </c:pt>
                <c:pt idx="265">
                  <c:v>Caprice Des</c:v>
                </c:pt>
                <c:pt idx="266">
                  <c:v>All Others</c:v>
                </c:pt>
                <c:pt idx="267">
                  <c:v>Leerdammer</c:v>
                </c:pt>
                <c:pt idx="268">
                  <c:v>Private Lab</c:v>
                </c:pt>
                <c:pt idx="269">
                  <c:v>All Others</c:v>
                </c:pt>
                <c:pt idx="270">
                  <c:v>Paysan Bret</c:v>
                </c:pt>
                <c:pt idx="271">
                  <c:v>All Others</c:v>
                </c:pt>
                <c:pt idx="272">
                  <c:v>Private Lab</c:v>
                </c:pt>
                <c:pt idx="273">
                  <c:v>All Others</c:v>
                </c:pt>
                <c:pt idx="274">
                  <c:v>Aperivrais</c:v>
                </c:pt>
                <c:pt idx="275">
                  <c:v>Le Rustique</c:v>
                </c:pt>
                <c:pt idx="276">
                  <c:v>All Others</c:v>
                </c:pt>
                <c:pt idx="277">
                  <c:v>All Others</c:v>
                </c:pt>
                <c:pt idx="278">
                  <c:v>All Others</c:v>
                </c:pt>
                <c:pt idx="279">
                  <c:v>All Others</c:v>
                </c:pt>
                <c:pt idx="280">
                  <c:v>Lactalis: A</c:v>
                </c:pt>
                <c:pt idx="281">
                  <c:v>Private Lab</c:v>
                </c:pt>
                <c:pt idx="282">
                  <c:v>All Others</c:v>
                </c:pt>
                <c:pt idx="283">
                  <c:v>Private Lab</c:v>
                </c:pt>
                <c:pt idx="284">
                  <c:v>Societe</c:v>
                </c:pt>
                <c:pt idx="285">
                  <c:v>Bresse Bleu</c:v>
                </c:pt>
                <c:pt idx="286">
                  <c:v>Private Lab</c:v>
                </c:pt>
                <c:pt idx="287">
                  <c:v>Private Lab</c:v>
                </c:pt>
                <c:pt idx="288">
                  <c:v>All Others</c:v>
                </c:pt>
                <c:pt idx="289">
                  <c:v>Private Lab</c:v>
                </c:pt>
                <c:pt idx="290">
                  <c:v>All Others</c:v>
                </c:pt>
                <c:pt idx="291">
                  <c:v>Private Lab</c:v>
                </c:pt>
                <c:pt idx="292">
                  <c:v>Casa Azzurr</c:v>
                </c:pt>
                <c:pt idx="293">
                  <c:v>President</c:v>
                </c:pt>
                <c:pt idx="294">
                  <c:v>Kiri</c:v>
                </c:pt>
                <c:pt idx="295">
                  <c:v>Saint Agur</c:v>
                </c:pt>
                <c:pt idx="296">
                  <c:v>President</c:v>
                </c:pt>
                <c:pt idx="297">
                  <c:v>Private Lab</c:v>
                </c:pt>
                <c:pt idx="298">
                  <c:v>Richesmonts</c:v>
                </c:pt>
                <c:pt idx="299">
                  <c:v>Casa Azzurr</c:v>
                </c:pt>
                <c:pt idx="300">
                  <c:v>Leerdammer</c:v>
                </c:pt>
                <c:pt idx="301">
                  <c:v>Private Lab</c:v>
                </c:pt>
                <c:pt idx="302">
                  <c:v>Entremont</c:v>
                </c:pt>
                <c:pt idx="303">
                  <c:v>Pochat</c:v>
                </c:pt>
                <c:pt idx="304">
                  <c:v>Soignon</c:v>
                </c:pt>
                <c:pt idx="305">
                  <c:v>Soignon</c:v>
                </c:pt>
                <c:pt idx="306">
                  <c:v>Private Lab</c:v>
                </c:pt>
                <c:pt idx="307">
                  <c:v>All Others</c:v>
                </c:pt>
                <c:pt idx="308">
                  <c:v>La Vache Qu</c:v>
                </c:pt>
                <c:pt idx="309">
                  <c:v>Salakis</c:v>
                </c:pt>
                <c:pt idx="310">
                  <c:v>Private Lab</c:v>
                </c:pt>
                <c:pt idx="311">
                  <c:v>All Others</c:v>
                </c:pt>
                <c:pt idx="312">
                  <c:v>Casa Azzurr</c:v>
                </c:pt>
                <c:pt idx="313">
                  <c:v>Private Lab</c:v>
                </c:pt>
                <c:pt idx="314">
                  <c:v>Private Lab</c:v>
                </c:pt>
                <c:pt idx="315">
                  <c:v>Private Lab</c:v>
                </c:pt>
                <c:pt idx="316">
                  <c:v>Entremont</c:v>
                </c:pt>
                <c:pt idx="317">
                  <c:v>All Others</c:v>
                </c:pt>
                <c:pt idx="318">
                  <c:v>Leerdammer</c:v>
                </c:pt>
                <c:pt idx="319">
                  <c:v>Salakis</c:v>
                </c:pt>
                <c:pt idx="320">
                  <c:v>Saint Albra</c:v>
                </c:pt>
                <c:pt idx="321">
                  <c:v>Tartare</c:v>
                </c:pt>
                <c:pt idx="322">
                  <c:v>Fol Epi</c:v>
                </c:pt>
                <c:pt idx="323">
                  <c:v>Savencia: A</c:v>
                </c:pt>
                <c:pt idx="324">
                  <c:v>Societe</c:v>
                </c:pt>
                <c:pt idx="325">
                  <c:v>All Others</c:v>
                </c:pt>
                <c:pt idx="326">
                  <c:v>Paysan Bret</c:v>
                </c:pt>
                <c:pt idx="327">
                  <c:v>Private Lab</c:v>
                </c:pt>
                <c:pt idx="328">
                  <c:v>Private Lab</c:v>
                </c:pt>
                <c:pt idx="329">
                  <c:v>Boursin</c:v>
                </c:pt>
                <c:pt idx="330">
                  <c:v>All Others</c:v>
                </c:pt>
                <c:pt idx="331">
                  <c:v>Richesmonts</c:v>
                </c:pt>
                <c:pt idx="332">
                  <c:v>Salakis</c:v>
                </c:pt>
                <c:pt idx="333">
                  <c:v>Babybel</c:v>
                </c:pt>
                <c:pt idx="334">
                  <c:v>All Others</c:v>
                </c:pt>
                <c:pt idx="335">
                  <c:v>Private Lab</c:v>
                </c:pt>
                <c:pt idx="336">
                  <c:v>Entremont</c:v>
                </c:pt>
                <c:pt idx="337">
                  <c:v>Galbani</c:v>
                </c:pt>
                <c:pt idx="338">
                  <c:v>All Others</c:v>
                </c:pt>
                <c:pt idx="339">
                  <c:v>Boursin</c:v>
                </c:pt>
                <c:pt idx="340">
                  <c:v>Private Lab</c:v>
                </c:pt>
                <c:pt idx="341">
                  <c:v>Private Lab</c:v>
                </c:pt>
                <c:pt idx="342">
                  <c:v>Private Lab</c:v>
                </c:pt>
                <c:pt idx="343">
                  <c:v>Private Lab</c:v>
                </c:pt>
                <c:pt idx="344">
                  <c:v>Private Lab</c:v>
                </c:pt>
                <c:pt idx="345">
                  <c:v>Savencia: A</c:v>
                </c:pt>
                <c:pt idx="346">
                  <c:v>Private Lab</c:v>
                </c:pt>
                <c:pt idx="347">
                  <c:v>Soignon</c:v>
                </c:pt>
                <c:pt idx="348">
                  <c:v>All Others</c:v>
                </c:pt>
                <c:pt idx="349">
                  <c:v>Cousteron</c:v>
                </c:pt>
                <c:pt idx="350">
                  <c:v>All Others</c:v>
                </c:pt>
                <c:pt idx="351">
                  <c:v>Private Lab</c:v>
                </c:pt>
                <c:pt idx="352">
                  <c:v>Private Lab</c:v>
                </c:pt>
                <c:pt idx="353">
                  <c:v>Private Lab</c:v>
                </c:pt>
                <c:pt idx="354">
                  <c:v>Lou Perac</c:v>
                </c:pt>
                <c:pt idx="355">
                  <c:v>Chavroux</c:v>
                </c:pt>
                <c:pt idx="356">
                  <c:v>All Others</c:v>
                </c:pt>
                <c:pt idx="357">
                  <c:v>Private Lab</c:v>
                </c:pt>
                <c:pt idx="358">
                  <c:v>Etoile Du Q</c:v>
                </c:pt>
                <c:pt idx="359">
                  <c:v>Private Lab</c:v>
                </c:pt>
                <c:pt idx="360">
                  <c:v>Private Lab</c:v>
                </c:pt>
                <c:pt idx="361">
                  <c:v>Private Lab</c:v>
                </c:pt>
                <c:pt idx="362">
                  <c:v>Private Lab</c:v>
                </c:pt>
                <c:pt idx="363">
                  <c:v>Societe</c:v>
                </c:pt>
                <c:pt idx="364">
                  <c:v>All Others</c:v>
                </c:pt>
                <c:pt idx="365">
                  <c:v>All Others</c:v>
                </c:pt>
                <c:pt idx="366">
                  <c:v>La Vache Qu</c:v>
                </c:pt>
                <c:pt idx="367">
                  <c:v>All Others</c:v>
                </c:pt>
                <c:pt idx="368">
                  <c:v>All Others</c:v>
                </c:pt>
                <c:pt idx="369">
                  <c:v>Pave D'Affi</c:v>
                </c:pt>
                <c:pt idx="370">
                  <c:v>Richesmonts</c:v>
                </c:pt>
                <c:pt idx="371">
                  <c:v>All Others</c:v>
                </c:pt>
                <c:pt idx="372">
                  <c:v>Galbani</c:v>
                </c:pt>
                <c:pt idx="373">
                  <c:v>Entremont</c:v>
                </c:pt>
                <c:pt idx="374">
                  <c:v>Private Lab</c:v>
                </c:pt>
                <c:pt idx="375">
                  <c:v>Casa Azzurr</c:v>
                </c:pt>
                <c:pt idx="376">
                  <c:v>Apericube</c:v>
                </c:pt>
                <c:pt idx="377">
                  <c:v>All Others</c:v>
                </c:pt>
                <c:pt idx="378">
                  <c:v>Private Lab</c:v>
                </c:pt>
                <c:pt idx="379">
                  <c:v>Private Lab</c:v>
                </c:pt>
                <c:pt idx="380">
                  <c:v>Entremont</c:v>
                </c:pt>
                <c:pt idx="381">
                  <c:v>Private Lab</c:v>
                </c:pt>
                <c:pt idx="382">
                  <c:v>Fauquet</c:v>
                </c:pt>
                <c:pt idx="383">
                  <c:v>All Others</c:v>
                </c:pt>
                <c:pt idx="384">
                  <c:v>President</c:v>
                </c:pt>
                <c:pt idx="385">
                  <c:v>La Pointe P</c:v>
                </c:pt>
                <c:pt idx="386">
                  <c:v>All Others</c:v>
                </c:pt>
                <c:pt idx="387">
                  <c:v>Mini Babybe</c:v>
                </c:pt>
                <c:pt idx="388">
                  <c:v>Private Lab</c:v>
                </c:pt>
                <c:pt idx="389">
                  <c:v>President</c:v>
                </c:pt>
                <c:pt idx="390">
                  <c:v>All Others</c:v>
                </c:pt>
                <c:pt idx="391">
                  <c:v>Private Lab</c:v>
                </c:pt>
                <c:pt idx="392">
                  <c:v>President</c:v>
                </c:pt>
                <c:pt idx="393">
                  <c:v>Mini Babybe</c:v>
                </c:pt>
                <c:pt idx="394">
                  <c:v>All Others</c:v>
                </c:pt>
                <c:pt idx="395">
                  <c:v>La Pointe P</c:v>
                </c:pt>
                <c:pt idx="396">
                  <c:v>Soignon</c:v>
                </c:pt>
                <c:pt idx="397">
                  <c:v>All Others</c:v>
                </c:pt>
                <c:pt idx="398">
                  <c:v>Private Lab</c:v>
                </c:pt>
                <c:pt idx="399">
                  <c:v>Saint Agur</c:v>
                </c:pt>
                <c:pt idx="400">
                  <c:v>All Others</c:v>
                </c:pt>
                <c:pt idx="401">
                  <c:v>Triballat N</c:v>
                </c:pt>
                <c:pt idx="402">
                  <c:v>Private Lab</c:v>
                </c:pt>
                <c:pt idx="403">
                  <c:v>All Others</c:v>
                </c:pt>
                <c:pt idx="404">
                  <c:v>Private Lab</c:v>
                </c:pt>
                <c:pt idx="405">
                  <c:v>La Pointe P</c:v>
                </c:pt>
                <c:pt idx="406">
                  <c:v>Private Lab</c:v>
                </c:pt>
                <c:pt idx="407">
                  <c:v>Etoile Du V</c:v>
                </c:pt>
                <c:pt idx="408">
                  <c:v>All Others</c:v>
                </c:pt>
                <c:pt idx="409">
                  <c:v>Private Lab</c:v>
                </c:pt>
                <c:pt idx="410">
                  <c:v>All Others</c:v>
                </c:pt>
                <c:pt idx="411">
                  <c:v>St Moret</c:v>
                </c:pt>
                <c:pt idx="412">
                  <c:v>Aperivrais</c:v>
                </c:pt>
                <c:pt idx="413">
                  <c:v>Apericube</c:v>
                </c:pt>
                <c:pt idx="414">
                  <c:v>All Others</c:v>
                </c:pt>
                <c:pt idx="415">
                  <c:v>All Others</c:v>
                </c:pt>
                <c:pt idx="416">
                  <c:v>President</c:v>
                </c:pt>
                <c:pt idx="417">
                  <c:v>Pave D'Affi</c:v>
                </c:pt>
                <c:pt idx="418">
                  <c:v>St Moret</c:v>
                </c:pt>
                <c:pt idx="419">
                  <c:v>All Others</c:v>
                </c:pt>
                <c:pt idx="420">
                  <c:v>Fauquet</c:v>
                </c:pt>
                <c:pt idx="421">
                  <c:v>All Others</c:v>
                </c:pt>
                <c:pt idx="422">
                  <c:v>Private Lab</c:v>
                </c:pt>
                <c:pt idx="423">
                  <c:v>Casa Azzurr</c:v>
                </c:pt>
                <c:pt idx="424">
                  <c:v>Private Lab</c:v>
                </c:pt>
                <c:pt idx="425">
                  <c:v>L'Ortolan</c:v>
                </c:pt>
                <c:pt idx="426">
                  <c:v>All Others</c:v>
                </c:pt>
                <c:pt idx="427">
                  <c:v>All Others</c:v>
                </c:pt>
                <c:pt idx="428">
                  <c:v>Savencia: A</c:v>
                </c:pt>
                <c:pt idx="429">
                  <c:v>La Pointe P</c:v>
                </c:pt>
                <c:pt idx="430">
                  <c:v>All Others</c:v>
                </c:pt>
                <c:pt idx="431">
                  <c:v>Vieux Pane</c:v>
                </c:pt>
                <c:pt idx="432">
                  <c:v>Private Lab</c:v>
                </c:pt>
                <c:pt idx="433">
                  <c:v>All Others</c:v>
                </c:pt>
                <c:pt idx="434">
                  <c:v>All Others</c:v>
                </c:pt>
                <c:pt idx="435">
                  <c:v>Chaussee Au</c:v>
                </c:pt>
                <c:pt idx="436">
                  <c:v>Private Lab</c:v>
                </c:pt>
                <c:pt idx="437">
                  <c:v>All Others</c:v>
                </c:pt>
                <c:pt idx="438">
                  <c:v>Private Lab</c:v>
                </c:pt>
                <c:pt idx="439">
                  <c:v>Ficello</c:v>
                </c:pt>
                <c:pt idx="440">
                  <c:v>Savencia: A</c:v>
                </c:pt>
                <c:pt idx="441">
                  <c:v>All Others</c:v>
                </c:pt>
                <c:pt idx="442">
                  <c:v>St Moret</c:v>
                </c:pt>
                <c:pt idx="443">
                  <c:v>Galbani</c:v>
                </c:pt>
                <c:pt idx="444">
                  <c:v>Galbani</c:v>
                </c:pt>
                <c:pt idx="445">
                  <c:v>Private Lab</c:v>
                </c:pt>
                <c:pt idx="446">
                  <c:v>Private Lab</c:v>
                </c:pt>
                <c:pt idx="447">
                  <c:v>Private Lab</c:v>
                </c:pt>
                <c:pt idx="448">
                  <c:v>Soignon</c:v>
                </c:pt>
                <c:pt idx="449">
                  <c:v>Private Lab</c:v>
                </c:pt>
                <c:pt idx="450">
                  <c:v>Casa Azzurr</c:v>
                </c:pt>
                <c:pt idx="451">
                  <c:v>Pave D'Affi</c:v>
                </c:pt>
                <c:pt idx="452">
                  <c:v>Private Lab</c:v>
                </c:pt>
                <c:pt idx="453">
                  <c:v>Entremont</c:v>
                </c:pt>
                <c:pt idx="454">
                  <c:v>Le Rustique</c:v>
                </c:pt>
                <c:pt idx="455">
                  <c:v>Private Lab</c:v>
                </c:pt>
                <c:pt idx="456">
                  <c:v>Boursin</c:v>
                </c:pt>
                <c:pt idx="457">
                  <c:v>All Others</c:v>
                </c:pt>
                <c:pt idx="458">
                  <c:v>All Others</c:v>
                </c:pt>
                <c:pt idx="459">
                  <c:v>Private Lab</c:v>
                </c:pt>
                <c:pt idx="460">
                  <c:v>Galbani</c:v>
                </c:pt>
                <c:pt idx="461">
                  <c:v>All Others</c:v>
                </c:pt>
                <c:pt idx="462">
                  <c:v>Lactalis: A</c:v>
                </c:pt>
                <c:pt idx="463">
                  <c:v>Casa Azzurr</c:v>
                </c:pt>
                <c:pt idx="464">
                  <c:v>All Others</c:v>
                </c:pt>
                <c:pt idx="465">
                  <c:v>Lou Perac</c:v>
                </c:pt>
                <c:pt idx="466">
                  <c:v>All Others</c:v>
                </c:pt>
                <c:pt idx="467">
                  <c:v>Boursin</c:v>
                </c:pt>
                <c:pt idx="468">
                  <c:v>All Others</c:v>
                </c:pt>
                <c:pt idx="469">
                  <c:v>All Others</c:v>
                </c:pt>
                <c:pt idx="470">
                  <c:v>Private Lab</c:v>
                </c:pt>
                <c:pt idx="471">
                  <c:v>Private Lab</c:v>
                </c:pt>
                <c:pt idx="472">
                  <c:v>St Moret</c:v>
                </c:pt>
                <c:pt idx="473">
                  <c:v>All Others</c:v>
                </c:pt>
                <c:pt idx="474">
                  <c:v>All Others</c:v>
                </c:pt>
                <c:pt idx="475">
                  <c:v>Private Lab</c:v>
                </c:pt>
                <c:pt idx="476">
                  <c:v>Mini Babybe</c:v>
                </c:pt>
                <c:pt idx="477">
                  <c:v>Private Lab</c:v>
                </c:pt>
                <c:pt idx="478">
                  <c:v>Private Lab</c:v>
                </c:pt>
                <c:pt idx="479">
                  <c:v>All Others</c:v>
                </c:pt>
                <c:pt idx="480">
                  <c:v>All Others</c:v>
                </c:pt>
                <c:pt idx="481">
                  <c:v>President</c:v>
                </c:pt>
                <c:pt idx="482">
                  <c:v>Tartare</c:v>
                </c:pt>
                <c:pt idx="483">
                  <c:v>Private Lab</c:v>
                </c:pt>
                <c:pt idx="484">
                  <c:v>All Others</c:v>
                </c:pt>
                <c:pt idx="485">
                  <c:v>All Others</c:v>
                </c:pt>
                <c:pt idx="486">
                  <c:v>All Others</c:v>
                </c:pt>
                <c:pt idx="487">
                  <c:v>Private Lab</c:v>
                </c:pt>
                <c:pt idx="488">
                  <c:v>All Others</c:v>
                </c:pt>
                <c:pt idx="489">
                  <c:v>Kiri</c:v>
                </c:pt>
                <c:pt idx="490">
                  <c:v>All Others</c:v>
                </c:pt>
                <c:pt idx="491">
                  <c:v>All Others</c:v>
                </c:pt>
                <c:pt idx="492">
                  <c:v>Societe</c:v>
                </c:pt>
                <c:pt idx="493">
                  <c:v>Soignon</c:v>
                </c:pt>
                <c:pt idx="494">
                  <c:v>President</c:v>
                </c:pt>
                <c:pt idx="495">
                  <c:v>Savencia: A</c:v>
                </c:pt>
                <c:pt idx="496">
                  <c:v>Philadelphi</c:v>
                </c:pt>
                <c:pt idx="497">
                  <c:v>All Others</c:v>
                </c:pt>
                <c:pt idx="498">
                  <c:v>Leerdammer</c:v>
                </c:pt>
                <c:pt idx="499">
                  <c:v>Private Lab</c:v>
                </c:pt>
                <c:pt idx="500">
                  <c:v>Private Lab</c:v>
                </c:pt>
                <c:pt idx="501">
                  <c:v>Pave D'Affi</c:v>
                </c:pt>
                <c:pt idx="502">
                  <c:v>La Pointe P</c:v>
                </c:pt>
                <c:pt idx="503">
                  <c:v>Private Lab</c:v>
                </c:pt>
                <c:pt idx="504">
                  <c:v>All Others</c:v>
                </c:pt>
                <c:pt idx="505">
                  <c:v>All Others</c:v>
                </c:pt>
                <c:pt idx="506">
                  <c:v>Private Lab</c:v>
                </c:pt>
                <c:pt idx="507">
                  <c:v>La Pointe P</c:v>
                </c:pt>
                <c:pt idx="508">
                  <c:v>Etoile Du V</c:v>
                </c:pt>
                <c:pt idx="509">
                  <c:v>Kiri</c:v>
                </c:pt>
                <c:pt idx="510">
                  <c:v>Kiri</c:v>
                </c:pt>
                <c:pt idx="511">
                  <c:v>President</c:v>
                </c:pt>
                <c:pt idx="512">
                  <c:v>Islos</c:v>
                </c:pt>
                <c:pt idx="513">
                  <c:v>Casa Azzurr</c:v>
                </c:pt>
                <c:pt idx="514">
                  <c:v>Kiri</c:v>
                </c:pt>
                <c:pt idx="515">
                  <c:v>President</c:v>
                </c:pt>
                <c:pt idx="516">
                  <c:v>All Others</c:v>
                </c:pt>
                <c:pt idx="517">
                  <c:v>Private Lab</c:v>
                </c:pt>
                <c:pt idx="518">
                  <c:v>Rondele</c:v>
                </c:pt>
                <c:pt idx="519">
                  <c:v>Private Lab</c:v>
                </c:pt>
                <c:pt idx="520">
                  <c:v>All Others</c:v>
                </c:pt>
                <c:pt idx="521">
                  <c:v>All Others</c:v>
                </c:pt>
                <c:pt idx="522">
                  <c:v>Rondele</c:v>
                </c:pt>
                <c:pt idx="523">
                  <c:v>Entremont</c:v>
                </c:pt>
                <c:pt idx="524">
                  <c:v>Leerdammer</c:v>
                </c:pt>
                <c:pt idx="525">
                  <c:v>Leerdammer</c:v>
                </c:pt>
                <c:pt idx="526">
                  <c:v>Galbani</c:v>
                </c:pt>
                <c:pt idx="527">
                  <c:v>Private Lab</c:v>
                </c:pt>
                <c:pt idx="528">
                  <c:v>Fauquet</c:v>
                </c:pt>
                <c:pt idx="529">
                  <c:v>All Others</c:v>
                </c:pt>
                <c:pt idx="530">
                  <c:v>Casa Azzurr</c:v>
                </c:pt>
                <c:pt idx="531">
                  <c:v>All Others</c:v>
                </c:pt>
                <c:pt idx="532">
                  <c:v>All Others</c:v>
                </c:pt>
                <c:pt idx="533">
                  <c:v>All Others</c:v>
                </c:pt>
                <c:pt idx="534">
                  <c:v>Private Lab</c:v>
                </c:pt>
                <c:pt idx="535">
                  <c:v>All Others</c:v>
                </c:pt>
                <c:pt idx="536">
                  <c:v>All Others</c:v>
                </c:pt>
                <c:pt idx="537">
                  <c:v>All Others</c:v>
                </c:pt>
                <c:pt idx="538">
                  <c:v>Entremont</c:v>
                </c:pt>
                <c:pt idx="539">
                  <c:v>Le Coq Crem</c:v>
                </c:pt>
                <c:pt idx="540">
                  <c:v>All Others</c:v>
                </c:pt>
                <c:pt idx="541">
                  <c:v>Violife</c:v>
                </c:pt>
                <c:pt idx="542">
                  <c:v>Private Lab</c:v>
                </c:pt>
                <c:pt idx="543">
                  <c:v>All Others</c:v>
                </c:pt>
                <c:pt idx="544">
                  <c:v>All Others</c:v>
                </c:pt>
                <c:pt idx="545">
                  <c:v>Triballat R</c:v>
                </c:pt>
                <c:pt idx="546">
                  <c:v>Corsica</c:v>
                </c:pt>
                <c:pt idx="547">
                  <c:v>All Others</c:v>
                </c:pt>
                <c:pt idx="548">
                  <c:v>Le Brebiou</c:v>
                </c:pt>
                <c:pt idx="549">
                  <c:v>Juraflore</c:v>
                </c:pt>
                <c:pt idx="550">
                  <c:v>Saint Agur</c:v>
                </c:pt>
                <c:pt idx="551">
                  <c:v>All Others</c:v>
                </c:pt>
                <c:pt idx="552">
                  <c:v>Private Lab</c:v>
                </c:pt>
                <c:pt idx="553">
                  <c:v>President</c:v>
                </c:pt>
                <c:pt idx="554">
                  <c:v>Entremont</c:v>
                </c:pt>
                <c:pt idx="555">
                  <c:v>Private Lab</c:v>
                </c:pt>
                <c:pt idx="556">
                  <c:v>All Others</c:v>
                </c:pt>
                <c:pt idx="557">
                  <c:v>All Others</c:v>
                </c:pt>
                <c:pt idx="558">
                  <c:v>Apericube</c:v>
                </c:pt>
                <c:pt idx="559">
                  <c:v>All Others</c:v>
                </c:pt>
                <c:pt idx="560">
                  <c:v>All Others</c:v>
                </c:pt>
                <c:pt idx="561">
                  <c:v>All Others</c:v>
                </c:pt>
                <c:pt idx="562">
                  <c:v>All Others</c:v>
                </c:pt>
                <c:pt idx="563">
                  <c:v>All Others</c:v>
                </c:pt>
                <c:pt idx="564">
                  <c:v>All Others</c:v>
                </c:pt>
                <c:pt idx="565">
                  <c:v>Private Lab</c:v>
                </c:pt>
                <c:pt idx="566">
                  <c:v>Leerdammer</c:v>
                </c:pt>
                <c:pt idx="567">
                  <c:v>All Others</c:v>
                </c:pt>
                <c:pt idx="568">
                  <c:v>All Others</c:v>
                </c:pt>
                <c:pt idx="569">
                  <c:v>Ficello</c:v>
                </c:pt>
                <c:pt idx="570">
                  <c:v>Boursin</c:v>
                </c:pt>
                <c:pt idx="571">
                  <c:v>Private Lab</c:v>
                </c:pt>
                <c:pt idx="572">
                  <c:v>Savencia: A</c:v>
                </c:pt>
                <c:pt idx="573">
                  <c:v>Apericube</c:v>
                </c:pt>
                <c:pt idx="574">
                  <c:v>P'Tit Louis</c:v>
                </c:pt>
                <c:pt idx="575">
                  <c:v>All Others</c:v>
                </c:pt>
                <c:pt idx="576">
                  <c:v>All Others</c:v>
                </c:pt>
                <c:pt idx="577">
                  <c:v>Apericube</c:v>
                </c:pt>
                <c:pt idx="578">
                  <c:v>All Others</c:v>
                </c:pt>
                <c:pt idx="579">
                  <c:v>All Others</c:v>
                </c:pt>
                <c:pt idx="580">
                  <c:v>Lou Perac</c:v>
                </c:pt>
                <c:pt idx="581">
                  <c:v>All Others</c:v>
                </c:pt>
                <c:pt idx="582">
                  <c:v>All Others</c:v>
                </c:pt>
                <c:pt idx="583">
                  <c:v>Lactalis: A</c:v>
                </c:pt>
                <c:pt idx="584">
                  <c:v>Richesmonts</c:v>
                </c:pt>
                <c:pt idx="585">
                  <c:v>All Others</c:v>
                </c:pt>
                <c:pt idx="586">
                  <c:v>Leerdammer</c:v>
                </c:pt>
                <c:pt idx="587">
                  <c:v>President</c:v>
                </c:pt>
                <c:pt idx="588">
                  <c:v>Eurial Autr</c:v>
                </c:pt>
                <c:pt idx="589">
                  <c:v>Mini Babybe</c:v>
                </c:pt>
                <c:pt idx="590">
                  <c:v>All Others</c:v>
                </c:pt>
                <c:pt idx="591">
                  <c:v>Private Lab</c:v>
                </c:pt>
                <c:pt idx="592">
                  <c:v>Soignon</c:v>
                </c:pt>
                <c:pt idx="593">
                  <c:v>All Others</c:v>
                </c:pt>
                <c:pt idx="594">
                  <c:v>Galbani</c:v>
                </c:pt>
                <c:pt idx="595">
                  <c:v>All Others</c:v>
                </c:pt>
                <c:pt idx="596">
                  <c:v>All Others</c:v>
                </c:pt>
                <c:pt idx="597">
                  <c:v>Pave D'Affi</c:v>
                </c:pt>
                <c:pt idx="598">
                  <c:v>All Others</c:v>
                </c:pt>
                <c:pt idx="599">
                  <c:v>Private Lab</c:v>
                </c:pt>
                <c:pt idx="600">
                  <c:v>Soignon</c:v>
                </c:pt>
                <c:pt idx="601">
                  <c:v>La Vache Qu</c:v>
                </c:pt>
                <c:pt idx="602">
                  <c:v>All Others</c:v>
                </c:pt>
                <c:pt idx="603">
                  <c:v>Private Lab</c:v>
                </c:pt>
                <c:pt idx="604">
                  <c:v>All Others</c:v>
                </c:pt>
                <c:pt idx="605">
                  <c:v>Private Lab</c:v>
                </c:pt>
                <c:pt idx="606">
                  <c:v>Private Lab</c:v>
                </c:pt>
                <c:pt idx="607">
                  <c:v>All Others</c:v>
                </c:pt>
                <c:pt idx="608">
                  <c:v>Casa Azzurr</c:v>
                </c:pt>
                <c:pt idx="609">
                  <c:v>Entremont</c:v>
                </c:pt>
                <c:pt idx="610">
                  <c:v>Etoile Du V</c:v>
                </c:pt>
                <c:pt idx="611">
                  <c:v>Private Lab</c:v>
                </c:pt>
                <c:pt idx="612">
                  <c:v>All Others</c:v>
                </c:pt>
                <c:pt idx="613">
                  <c:v>Boursin</c:v>
                </c:pt>
                <c:pt idx="614">
                  <c:v>Saint Agur</c:v>
                </c:pt>
                <c:pt idx="615">
                  <c:v>Soignon</c:v>
                </c:pt>
                <c:pt idx="616">
                  <c:v>All Others</c:v>
                </c:pt>
                <c:pt idx="617">
                  <c:v>Eurial Autr</c:v>
                </c:pt>
                <c:pt idx="618">
                  <c:v>Triballat R</c:v>
                </c:pt>
                <c:pt idx="619">
                  <c:v>All Others</c:v>
                </c:pt>
                <c:pt idx="620">
                  <c:v>Violife</c:v>
                </c:pt>
                <c:pt idx="621">
                  <c:v>Private Lab</c:v>
                </c:pt>
                <c:pt idx="622">
                  <c:v>All Others</c:v>
                </c:pt>
                <c:pt idx="623">
                  <c:v>Apericube</c:v>
                </c:pt>
                <c:pt idx="624">
                  <c:v>Apericube</c:v>
                </c:pt>
                <c:pt idx="625">
                  <c:v>Richesmonts</c:v>
                </c:pt>
                <c:pt idx="626">
                  <c:v>All Others</c:v>
                </c:pt>
                <c:pt idx="627">
                  <c:v>All Others</c:v>
                </c:pt>
                <c:pt idx="628">
                  <c:v>All Others</c:v>
                </c:pt>
                <c:pt idx="629">
                  <c:v>Pochat</c:v>
                </c:pt>
                <c:pt idx="630">
                  <c:v>All Others</c:v>
                </c:pt>
                <c:pt idx="631">
                  <c:v>Lactalis: A</c:v>
                </c:pt>
                <c:pt idx="632">
                  <c:v>P'Tit Louis</c:v>
                </c:pt>
                <c:pt idx="633">
                  <c:v>Richesmonts</c:v>
                </c:pt>
                <c:pt idx="634">
                  <c:v>All Others</c:v>
                </c:pt>
                <c:pt idx="635">
                  <c:v>Casa Azzurr</c:v>
                </c:pt>
                <c:pt idx="636">
                  <c:v>All Others</c:v>
                </c:pt>
                <c:pt idx="637">
                  <c:v>President</c:v>
                </c:pt>
                <c:pt idx="638">
                  <c:v>Violife</c:v>
                </c:pt>
                <c:pt idx="639">
                  <c:v>All Others</c:v>
                </c:pt>
                <c:pt idx="640">
                  <c:v>All Others</c:v>
                </c:pt>
                <c:pt idx="641">
                  <c:v>Salakis</c:v>
                </c:pt>
                <c:pt idx="642">
                  <c:v>All Others</c:v>
                </c:pt>
                <c:pt idx="643">
                  <c:v>Apericube</c:v>
                </c:pt>
                <c:pt idx="644">
                  <c:v>All Others</c:v>
                </c:pt>
                <c:pt idx="645">
                  <c:v>All Others</c:v>
                </c:pt>
                <c:pt idx="646">
                  <c:v>All Others</c:v>
                </c:pt>
                <c:pt idx="647">
                  <c:v>Private Lab</c:v>
                </c:pt>
                <c:pt idx="648">
                  <c:v>Galbani</c:v>
                </c:pt>
                <c:pt idx="649">
                  <c:v>All Others</c:v>
                </c:pt>
                <c:pt idx="650">
                  <c:v>All Others</c:v>
                </c:pt>
                <c:pt idx="651">
                  <c:v>All Others</c:v>
                </c:pt>
                <c:pt idx="652">
                  <c:v>Apericube</c:v>
                </c:pt>
                <c:pt idx="653">
                  <c:v>Richesmonts</c:v>
                </c:pt>
                <c:pt idx="654">
                  <c:v>All Others</c:v>
                </c:pt>
                <c:pt idx="655">
                  <c:v>Violife</c:v>
                </c:pt>
                <c:pt idx="656">
                  <c:v>All Others</c:v>
                </c:pt>
                <c:pt idx="657">
                  <c:v>Societe</c:v>
                </c:pt>
                <c:pt idx="658">
                  <c:v>Entremont</c:v>
                </c:pt>
                <c:pt idx="659">
                  <c:v>Lactalis: A</c:v>
                </c:pt>
                <c:pt idx="660">
                  <c:v>Private Lab</c:v>
                </c:pt>
                <c:pt idx="661">
                  <c:v>All Others</c:v>
                </c:pt>
                <c:pt idx="662">
                  <c:v>All Others</c:v>
                </c:pt>
                <c:pt idx="663">
                  <c:v>Entremont</c:v>
                </c:pt>
                <c:pt idx="664">
                  <c:v>All Others</c:v>
                </c:pt>
                <c:pt idx="665">
                  <c:v>All Others</c:v>
                </c:pt>
                <c:pt idx="666">
                  <c:v>Eurial Autr</c:v>
                </c:pt>
                <c:pt idx="667">
                  <c:v>Boursin</c:v>
                </c:pt>
                <c:pt idx="668">
                  <c:v>Philadelphi</c:v>
                </c:pt>
                <c:pt idx="669">
                  <c:v>All Others</c:v>
                </c:pt>
                <c:pt idx="670">
                  <c:v>All Others</c:v>
                </c:pt>
                <c:pt idx="671">
                  <c:v>All Others</c:v>
                </c:pt>
                <c:pt idx="672">
                  <c:v>All Others</c:v>
                </c:pt>
                <c:pt idx="673">
                  <c:v>O'Tapas Ape</c:v>
                </c:pt>
                <c:pt idx="674">
                  <c:v>La Pointe P</c:v>
                </c:pt>
                <c:pt idx="675">
                  <c:v>All Others</c:v>
                </c:pt>
                <c:pt idx="676">
                  <c:v>Paysan Bret</c:v>
                </c:pt>
                <c:pt idx="677">
                  <c:v>All Others</c:v>
                </c:pt>
                <c:pt idx="678">
                  <c:v>Lactalis: A</c:v>
                </c:pt>
                <c:pt idx="679">
                  <c:v>Triballat R</c:v>
                </c:pt>
                <c:pt idx="680">
                  <c:v>All Others</c:v>
                </c:pt>
                <c:pt idx="681">
                  <c:v>All Others</c:v>
                </c:pt>
                <c:pt idx="682">
                  <c:v>Leerdammer</c:v>
                </c:pt>
                <c:pt idx="683">
                  <c:v>Savencia: A</c:v>
                </c:pt>
                <c:pt idx="684">
                  <c:v>All Others</c:v>
                </c:pt>
                <c:pt idx="685">
                  <c:v>Private Lab</c:v>
                </c:pt>
                <c:pt idx="686">
                  <c:v>Private Lab</c:v>
                </c:pt>
                <c:pt idx="687">
                  <c:v>Paysan Bret</c:v>
                </c:pt>
                <c:pt idx="688">
                  <c:v>All Others</c:v>
                </c:pt>
                <c:pt idx="689">
                  <c:v>All Others</c:v>
                </c:pt>
                <c:pt idx="690">
                  <c:v>Private Lab</c:v>
                </c:pt>
                <c:pt idx="691">
                  <c:v>Tartare</c:v>
                </c:pt>
                <c:pt idx="692">
                  <c:v>All Others</c:v>
                </c:pt>
                <c:pt idx="693">
                  <c:v>Pave D'Affi</c:v>
                </c:pt>
                <c:pt idx="694">
                  <c:v>All Others</c:v>
                </c:pt>
                <c:pt idx="695">
                  <c:v>All Others</c:v>
                </c:pt>
                <c:pt idx="696">
                  <c:v>Violife</c:v>
                </c:pt>
                <c:pt idx="697">
                  <c:v>Eurial Autr</c:v>
                </c:pt>
                <c:pt idx="698">
                  <c:v>All Others</c:v>
                </c:pt>
                <c:pt idx="699">
                  <c:v>All Others</c:v>
                </c:pt>
                <c:pt idx="700">
                  <c:v>La Pointe P</c:v>
                </c:pt>
                <c:pt idx="701">
                  <c:v>All Others</c:v>
                </c:pt>
                <c:pt idx="702">
                  <c:v>Richesmonts</c:v>
                </c:pt>
                <c:pt idx="703">
                  <c:v>Etoile Du Q</c:v>
                </c:pt>
                <c:pt idx="704">
                  <c:v>All Others</c:v>
                </c:pt>
                <c:pt idx="705">
                  <c:v>Boursin</c:v>
                </c:pt>
                <c:pt idx="706">
                  <c:v>All Others</c:v>
                </c:pt>
                <c:pt idx="707">
                  <c:v>St Moret</c:v>
                </c:pt>
                <c:pt idx="708">
                  <c:v>All Others</c:v>
                </c:pt>
                <c:pt idx="709">
                  <c:v>All Others</c:v>
                </c:pt>
                <c:pt idx="710">
                  <c:v>All Others</c:v>
                </c:pt>
                <c:pt idx="711">
                  <c:v>All Others</c:v>
                </c:pt>
                <c:pt idx="712">
                  <c:v>All Others</c:v>
                </c:pt>
                <c:pt idx="713">
                  <c:v>All Others</c:v>
                </c:pt>
                <c:pt idx="714">
                  <c:v>Private Lab</c:v>
                </c:pt>
                <c:pt idx="715">
                  <c:v>Private Lab</c:v>
                </c:pt>
                <c:pt idx="716">
                  <c:v>Private Lab</c:v>
                </c:pt>
                <c:pt idx="717">
                  <c:v>All Others</c:v>
                </c:pt>
                <c:pt idx="718">
                  <c:v>Boursin</c:v>
                </c:pt>
                <c:pt idx="719">
                  <c:v>All Others</c:v>
                </c:pt>
                <c:pt idx="720">
                  <c:v>All Others</c:v>
                </c:pt>
                <c:pt idx="721">
                  <c:v>All Others</c:v>
                </c:pt>
                <c:pt idx="722">
                  <c:v>All Others</c:v>
                </c:pt>
                <c:pt idx="723">
                  <c:v>All Others</c:v>
                </c:pt>
                <c:pt idx="724">
                  <c:v>Lactalis: A</c:v>
                </c:pt>
                <c:pt idx="725">
                  <c:v>All Others</c:v>
                </c:pt>
                <c:pt idx="726">
                  <c:v>Aperivrais</c:v>
                </c:pt>
                <c:pt idx="727">
                  <c:v>Caprice Des</c:v>
                </c:pt>
                <c:pt idx="728">
                  <c:v>Richesmonts</c:v>
                </c:pt>
                <c:pt idx="729">
                  <c:v>Eurial Autr</c:v>
                </c:pt>
                <c:pt idx="730">
                  <c:v>Violife</c:v>
                </c:pt>
                <c:pt idx="731">
                  <c:v>All Others</c:v>
                </c:pt>
                <c:pt idx="732">
                  <c:v>All Others</c:v>
                </c:pt>
                <c:pt idx="733">
                  <c:v>Mini Babybe</c:v>
                </c:pt>
                <c:pt idx="734">
                  <c:v>Petit Billy</c:v>
                </c:pt>
                <c:pt idx="735">
                  <c:v>All Others</c:v>
                </c:pt>
                <c:pt idx="736">
                  <c:v>All Others</c:v>
                </c:pt>
                <c:pt idx="737">
                  <c:v>All Others</c:v>
                </c:pt>
                <c:pt idx="738">
                  <c:v>All Others</c:v>
                </c:pt>
                <c:pt idx="739">
                  <c:v>Corsica</c:v>
                </c:pt>
                <c:pt idx="740">
                  <c:v>Nurishh</c:v>
                </c:pt>
                <c:pt idx="741">
                  <c:v>Aperivrais</c:v>
                </c:pt>
                <c:pt idx="742">
                  <c:v>Istara</c:v>
                </c:pt>
                <c:pt idx="743">
                  <c:v>President</c:v>
                </c:pt>
                <c:pt idx="744">
                  <c:v>Fauquet</c:v>
                </c:pt>
                <c:pt idx="745">
                  <c:v>All Others</c:v>
                </c:pt>
                <c:pt idx="746">
                  <c:v>Juraflore</c:v>
                </c:pt>
                <c:pt idx="747">
                  <c:v>All Others</c:v>
                </c:pt>
                <c:pt idx="748">
                  <c:v>All Others</c:v>
                </c:pt>
                <c:pt idx="749">
                  <c:v>Private Lab</c:v>
                </c:pt>
                <c:pt idx="750">
                  <c:v>All Others</c:v>
                </c:pt>
                <c:pt idx="751">
                  <c:v>All Others</c:v>
                </c:pt>
                <c:pt idx="752">
                  <c:v>Paysan Bret</c:v>
                </c:pt>
                <c:pt idx="753">
                  <c:v>All Others</c:v>
                </c:pt>
                <c:pt idx="754">
                  <c:v>All Others</c:v>
                </c:pt>
                <c:pt idx="755">
                  <c:v>All Others</c:v>
                </c:pt>
                <c:pt idx="756">
                  <c:v>All Others</c:v>
                </c:pt>
                <c:pt idx="757">
                  <c:v>All Others</c:v>
                </c:pt>
                <c:pt idx="758">
                  <c:v>All Others</c:v>
                </c:pt>
                <c:pt idx="759">
                  <c:v>All Others</c:v>
                </c:pt>
                <c:pt idx="760">
                  <c:v>Lactalis: A</c:v>
                </c:pt>
                <c:pt idx="761">
                  <c:v>Galbani</c:v>
                </c:pt>
                <c:pt idx="762">
                  <c:v>All Others</c:v>
                </c:pt>
                <c:pt idx="763">
                  <c:v>Lactalis: A</c:v>
                </c:pt>
                <c:pt idx="764">
                  <c:v>Eurial Autr</c:v>
                </c:pt>
                <c:pt idx="765">
                  <c:v>All Others</c:v>
                </c:pt>
                <c:pt idx="766">
                  <c:v>All Others</c:v>
                </c:pt>
                <c:pt idx="767">
                  <c:v>All Others</c:v>
                </c:pt>
                <c:pt idx="768">
                  <c:v>All Others</c:v>
                </c:pt>
                <c:pt idx="769">
                  <c:v>Private Lab</c:v>
                </c:pt>
                <c:pt idx="770">
                  <c:v>Lactalis: A</c:v>
                </c:pt>
                <c:pt idx="771">
                  <c:v>Casa Azzurr</c:v>
                </c:pt>
                <c:pt idx="772">
                  <c:v>All Others</c:v>
                </c:pt>
                <c:pt idx="773">
                  <c:v>Lactalis: A</c:v>
                </c:pt>
                <c:pt idx="774">
                  <c:v>All Others</c:v>
                </c:pt>
                <c:pt idx="775">
                  <c:v>All Others</c:v>
                </c:pt>
                <c:pt idx="776">
                  <c:v>Paysan Bret</c:v>
                </c:pt>
                <c:pt idx="777">
                  <c:v>Corsica</c:v>
                </c:pt>
                <c:pt idx="778">
                  <c:v>La Vache Qu</c:v>
                </c:pt>
                <c:pt idx="779">
                  <c:v>All Others</c:v>
                </c:pt>
                <c:pt idx="780">
                  <c:v>St Moret</c:v>
                </c:pt>
                <c:pt idx="781">
                  <c:v>All Others</c:v>
                </c:pt>
                <c:pt idx="782">
                  <c:v>All Others</c:v>
                </c:pt>
                <c:pt idx="783">
                  <c:v>All Others</c:v>
                </c:pt>
                <c:pt idx="784">
                  <c:v>All Others</c:v>
                </c:pt>
                <c:pt idx="785">
                  <c:v>All Others</c:v>
                </c:pt>
                <c:pt idx="786">
                  <c:v>All Others</c:v>
                </c:pt>
                <c:pt idx="787">
                  <c:v>All Others</c:v>
                </c:pt>
                <c:pt idx="788">
                  <c:v>All Others</c:v>
                </c:pt>
                <c:pt idx="789">
                  <c:v>Etoile Du Q</c:v>
                </c:pt>
                <c:pt idx="790">
                  <c:v>All Others</c:v>
                </c:pt>
                <c:pt idx="791">
                  <c:v>All Others</c:v>
                </c:pt>
                <c:pt idx="792">
                  <c:v>Richesmonts</c:v>
                </c:pt>
                <c:pt idx="793">
                  <c:v>Lactalis: A</c:v>
                </c:pt>
                <c:pt idx="794">
                  <c:v>Nurishh</c:v>
                </c:pt>
                <c:pt idx="795">
                  <c:v>Salakis</c:v>
                </c:pt>
                <c:pt idx="796">
                  <c:v>All Others</c:v>
                </c:pt>
                <c:pt idx="797">
                  <c:v>All Others</c:v>
                </c:pt>
                <c:pt idx="798">
                  <c:v>All Others</c:v>
                </c:pt>
                <c:pt idx="799">
                  <c:v>Caprice Des</c:v>
                </c:pt>
                <c:pt idx="800">
                  <c:v>All Others</c:v>
                </c:pt>
                <c:pt idx="801">
                  <c:v>Lactalis: A</c:v>
                </c:pt>
                <c:pt idx="802">
                  <c:v>All Others</c:v>
                </c:pt>
                <c:pt idx="803">
                  <c:v>All Others</c:v>
                </c:pt>
                <c:pt idx="804">
                  <c:v>All Others</c:v>
                </c:pt>
                <c:pt idx="805">
                  <c:v>Milleret: A</c:v>
                </c:pt>
                <c:pt idx="806">
                  <c:v>Violife</c:v>
                </c:pt>
                <c:pt idx="807">
                  <c:v>Saint Agur</c:v>
                </c:pt>
                <c:pt idx="808">
                  <c:v>All Others</c:v>
                </c:pt>
                <c:pt idx="809">
                  <c:v>Apericube</c:v>
                </c:pt>
                <c:pt idx="810">
                  <c:v>Private Lab</c:v>
                </c:pt>
                <c:pt idx="811">
                  <c:v>Tartare</c:v>
                </c:pt>
                <c:pt idx="812">
                  <c:v>All Others</c:v>
                </c:pt>
                <c:pt idx="813">
                  <c:v>Eurial Autr</c:v>
                </c:pt>
                <c:pt idx="814">
                  <c:v>All Others</c:v>
                </c:pt>
                <c:pt idx="815">
                  <c:v>All Others</c:v>
                </c:pt>
                <c:pt idx="816">
                  <c:v>All Others</c:v>
                </c:pt>
                <c:pt idx="817">
                  <c:v>All Others</c:v>
                </c:pt>
                <c:pt idx="818">
                  <c:v>Private Lab</c:v>
                </c:pt>
                <c:pt idx="819">
                  <c:v>Savencia: A</c:v>
                </c:pt>
                <c:pt idx="820">
                  <c:v>All Others</c:v>
                </c:pt>
                <c:pt idx="821">
                  <c:v>Paysan Bret</c:v>
                </c:pt>
                <c:pt idx="822">
                  <c:v>La Belle Et</c:v>
                </c:pt>
                <c:pt idx="823">
                  <c:v>All Others</c:v>
                </c:pt>
                <c:pt idx="824">
                  <c:v>All Others</c:v>
                </c:pt>
                <c:pt idx="825">
                  <c:v>Etoile Du V</c:v>
                </c:pt>
                <c:pt idx="826">
                  <c:v>Lactalis: A</c:v>
                </c:pt>
                <c:pt idx="827">
                  <c:v>Private Lab</c:v>
                </c:pt>
                <c:pt idx="828">
                  <c:v>O'Tapas Ape</c:v>
                </c:pt>
                <c:pt idx="829">
                  <c:v>All Others</c:v>
                </c:pt>
                <c:pt idx="830">
                  <c:v>All Others</c:v>
                </c:pt>
                <c:pt idx="831">
                  <c:v>Savencia: A</c:v>
                </c:pt>
                <c:pt idx="832">
                  <c:v>All Others</c:v>
                </c:pt>
                <c:pt idx="833">
                  <c:v>All Others</c:v>
                </c:pt>
                <c:pt idx="834">
                  <c:v>Lactalis: A</c:v>
                </c:pt>
                <c:pt idx="835">
                  <c:v>Boursin</c:v>
                </c:pt>
                <c:pt idx="836">
                  <c:v>All Others</c:v>
                </c:pt>
                <c:pt idx="837">
                  <c:v>Paysan Bret</c:v>
                </c:pt>
                <c:pt idx="838">
                  <c:v>La Belle Et</c:v>
                </c:pt>
                <c:pt idx="839">
                  <c:v>All Others</c:v>
                </c:pt>
                <c:pt idx="840">
                  <c:v>All Others</c:v>
                </c:pt>
                <c:pt idx="841">
                  <c:v>Nurishh</c:v>
                </c:pt>
                <c:pt idx="842">
                  <c:v>All Others</c:v>
                </c:pt>
                <c:pt idx="843">
                  <c:v>All Others</c:v>
                </c:pt>
                <c:pt idx="844">
                  <c:v>All Others</c:v>
                </c:pt>
                <c:pt idx="845">
                  <c:v>All Others</c:v>
                </c:pt>
                <c:pt idx="846">
                  <c:v>All Others</c:v>
                </c:pt>
                <c:pt idx="847">
                  <c:v>Private Lab</c:v>
                </c:pt>
                <c:pt idx="848">
                  <c:v>All Others</c:v>
                </c:pt>
                <c:pt idx="849">
                  <c:v>All Others</c:v>
                </c:pt>
                <c:pt idx="850">
                  <c:v>Paysan Bret</c:v>
                </c:pt>
                <c:pt idx="851">
                  <c:v>All Others</c:v>
                </c:pt>
                <c:pt idx="852">
                  <c:v>All Others</c:v>
                </c:pt>
                <c:pt idx="853">
                  <c:v>Nurishh</c:v>
                </c:pt>
                <c:pt idx="854">
                  <c:v>Chavroux</c:v>
                </c:pt>
                <c:pt idx="855">
                  <c:v>All Others</c:v>
                </c:pt>
                <c:pt idx="856">
                  <c:v>Etorki</c:v>
                </c:pt>
                <c:pt idx="857">
                  <c:v>All Others</c:v>
                </c:pt>
                <c:pt idx="858">
                  <c:v>All Others</c:v>
                </c:pt>
                <c:pt idx="859">
                  <c:v>All Others</c:v>
                </c:pt>
                <c:pt idx="860">
                  <c:v>All Others</c:v>
                </c:pt>
                <c:pt idx="861">
                  <c:v>Societe</c:v>
                </c:pt>
                <c:pt idx="862">
                  <c:v>Violife</c:v>
                </c:pt>
                <c:pt idx="863">
                  <c:v>Entremont</c:v>
                </c:pt>
                <c:pt idx="864">
                  <c:v>Nurishh</c:v>
                </c:pt>
                <c:pt idx="865">
                  <c:v>Salakis</c:v>
                </c:pt>
                <c:pt idx="866">
                  <c:v>All Others</c:v>
                </c:pt>
                <c:pt idx="867">
                  <c:v>All Others</c:v>
                </c:pt>
                <c:pt idx="868">
                  <c:v>President</c:v>
                </c:pt>
                <c:pt idx="869">
                  <c:v>All Others</c:v>
                </c:pt>
                <c:pt idx="870">
                  <c:v>All Others</c:v>
                </c:pt>
                <c:pt idx="871">
                  <c:v>All Others</c:v>
                </c:pt>
                <c:pt idx="872">
                  <c:v>All Others</c:v>
                </c:pt>
                <c:pt idx="873">
                  <c:v>Leerdammer</c:v>
                </c:pt>
                <c:pt idx="874">
                  <c:v>All Others</c:v>
                </c:pt>
                <c:pt idx="875">
                  <c:v>All Others</c:v>
                </c:pt>
                <c:pt idx="876">
                  <c:v>Port Salut</c:v>
                </c:pt>
                <c:pt idx="877">
                  <c:v>All Others</c:v>
                </c:pt>
                <c:pt idx="878">
                  <c:v>Private Lab</c:v>
                </c:pt>
                <c:pt idx="879">
                  <c:v>All Others</c:v>
                </c:pt>
                <c:pt idx="880">
                  <c:v>All Others</c:v>
                </c:pt>
                <c:pt idx="881">
                  <c:v>Galbani</c:v>
                </c:pt>
                <c:pt idx="882">
                  <c:v>Private Lab</c:v>
                </c:pt>
                <c:pt idx="883">
                  <c:v>All Others</c:v>
                </c:pt>
                <c:pt idx="884">
                  <c:v>All Others</c:v>
                </c:pt>
                <c:pt idx="885">
                  <c:v>Tartare</c:v>
                </c:pt>
                <c:pt idx="886">
                  <c:v>All Others</c:v>
                </c:pt>
                <c:pt idx="887">
                  <c:v>Private Lab</c:v>
                </c:pt>
                <c:pt idx="888">
                  <c:v>All Others</c:v>
                </c:pt>
                <c:pt idx="889">
                  <c:v>All Others</c:v>
                </c:pt>
                <c:pt idx="890">
                  <c:v>All Others</c:v>
                </c:pt>
                <c:pt idx="891">
                  <c:v>All Others</c:v>
                </c:pt>
                <c:pt idx="892">
                  <c:v>Private Lab</c:v>
                </c:pt>
                <c:pt idx="893">
                  <c:v>All Others</c:v>
                </c:pt>
                <c:pt idx="894">
                  <c:v>Private Lab</c:v>
                </c:pt>
                <c:pt idx="895">
                  <c:v>President</c:v>
                </c:pt>
                <c:pt idx="896">
                  <c:v>All Others</c:v>
                </c:pt>
                <c:pt idx="897">
                  <c:v>Savencia: A</c:v>
                </c:pt>
                <c:pt idx="898">
                  <c:v>All Others</c:v>
                </c:pt>
                <c:pt idx="899">
                  <c:v>All Others</c:v>
                </c:pt>
                <c:pt idx="900">
                  <c:v>All Others</c:v>
                </c:pt>
                <c:pt idx="901">
                  <c:v>Private Lab</c:v>
                </c:pt>
                <c:pt idx="902">
                  <c:v>All Others</c:v>
                </c:pt>
                <c:pt idx="903">
                  <c:v>Private Lab</c:v>
                </c:pt>
                <c:pt idx="904">
                  <c:v>All Others</c:v>
                </c:pt>
                <c:pt idx="905">
                  <c:v>All Others</c:v>
                </c:pt>
                <c:pt idx="906">
                  <c:v>All Others</c:v>
                </c:pt>
                <c:pt idx="907">
                  <c:v>Private Lab</c:v>
                </c:pt>
                <c:pt idx="908">
                  <c:v>Pave D'Affi</c:v>
                </c:pt>
                <c:pt idx="909">
                  <c:v>All Others</c:v>
                </c:pt>
                <c:pt idx="910">
                  <c:v>Paysan Bret</c:v>
                </c:pt>
                <c:pt idx="911">
                  <c:v>Tartare</c:v>
                </c:pt>
                <c:pt idx="912">
                  <c:v>Etoile Du V</c:v>
                </c:pt>
                <c:pt idx="913">
                  <c:v>Private Lab</c:v>
                </c:pt>
                <c:pt idx="914">
                  <c:v>Private Lab</c:v>
                </c:pt>
                <c:pt idx="915">
                  <c:v>All Others</c:v>
                </c:pt>
                <c:pt idx="916">
                  <c:v>All Others</c:v>
                </c:pt>
                <c:pt idx="917">
                  <c:v>All Others</c:v>
                </c:pt>
                <c:pt idx="918">
                  <c:v>Leerdammer</c:v>
                </c:pt>
                <c:pt idx="919">
                  <c:v>All Others</c:v>
                </c:pt>
                <c:pt idx="920">
                  <c:v>All Others</c:v>
                </c:pt>
                <c:pt idx="921">
                  <c:v>All Others</c:v>
                </c:pt>
                <c:pt idx="922">
                  <c:v>Boursin</c:v>
                </c:pt>
                <c:pt idx="923">
                  <c:v>All Others</c:v>
                </c:pt>
                <c:pt idx="924">
                  <c:v>Lactalis: A</c:v>
                </c:pt>
                <c:pt idx="925">
                  <c:v>O'Tapas Ape</c:v>
                </c:pt>
                <c:pt idx="926">
                  <c:v>Lactalis: A</c:v>
                </c:pt>
                <c:pt idx="927">
                  <c:v>All Others</c:v>
                </c:pt>
                <c:pt idx="928">
                  <c:v>Savencia: A</c:v>
                </c:pt>
                <c:pt idx="929">
                  <c:v>Boursin</c:v>
                </c:pt>
                <c:pt idx="930">
                  <c:v>All Others</c:v>
                </c:pt>
                <c:pt idx="931">
                  <c:v>Violife</c:v>
                </c:pt>
                <c:pt idx="932">
                  <c:v>All Others</c:v>
                </c:pt>
                <c:pt idx="933">
                  <c:v>All Others</c:v>
                </c:pt>
                <c:pt idx="934">
                  <c:v>All Others</c:v>
                </c:pt>
                <c:pt idx="935">
                  <c:v>All Others</c:v>
                </c:pt>
                <c:pt idx="936">
                  <c:v>All Others</c:v>
                </c:pt>
                <c:pt idx="937">
                  <c:v>All Others</c:v>
                </c:pt>
                <c:pt idx="938">
                  <c:v>P'Tit Louis</c:v>
                </c:pt>
                <c:pt idx="939">
                  <c:v>All Others</c:v>
                </c:pt>
                <c:pt idx="940">
                  <c:v>All Others</c:v>
                </c:pt>
                <c:pt idx="941">
                  <c:v>Private Lab</c:v>
                </c:pt>
                <c:pt idx="942">
                  <c:v>Etoile Du V</c:v>
                </c:pt>
                <c:pt idx="943">
                  <c:v>Lactalis: A</c:v>
                </c:pt>
                <c:pt idx="944">
                  <c:v>All Others</c:v>
                </c:pt>
                <c:pt idx="945">
                  <c:v>All Others</c:v>
                </c:pt>
                <c:pt idx="946">
                  <c:v>Violife</c:v>
                </c:pt>
                <c:pt idx="947">
                  <c:v>All Others</c:v>
                </c:pt>
                <c:pt idx="948">
                  <c:v>All Others</c:v>
                </c:pt>
                <c:pt idx="949">
                  <c:v>All Others</c:v>
                </c:pt>
                <c:pt idx="950">
                  <c:v>Private Lab</c:v>
                </c:pt>
                <c:pt idx="951">
                  <c:v>Eurial Autr</c:v>
                </c:pt>
                <c:pt idx="952">
                  <c:v>All Others</c:v>
                </c:pt>
                <c:pt idx="953">
                  <c:v>All Others</c:v>
                </c:pt>
                <c:pt idx="954">
                  <c:v>Private Lab</c:v>
                </c:pt>
                <c:pt idx="955">
                  <c:v>All Others</c:v>
                </c:pt>
                <c:pt idx="956">
                  <c:v>Nurishh</c:v>
                </c:pt>
                <c:pt idx="957">
                  <c:v>Private Lab</c:v>
                </c:pt>
                <c:pt idx="958">
                  <c:v>All Others</c:v>
                </c:pt>
                <c:pt idx="959">
                  <c:v>All Others</c:v>
                </c:pt>
                <c:pt idx="960">
                  <c:v>All Others</c:v>
                </c:pt>
                <c:pt idx="961">
                  <c:v>All Others</c:v>
                </c:pt>
                <c:pt idx="962">
                  <c:v>Pave D'Affi</c:v>
                </c:pt>
                <c:pt idx="963">
                  <c:v>All Others</c:v>
                </c:pt>
                <c:pt idx="964">
                  <c:v>All Others</c:v>
                </c:pt>
                <c:pt idx="965">
                  <c:v>All Others</c:v>
                </c:pt>
                <c:pt idx="966">
                  <c:v>La Belle Et</c:v>
                </c:pt>
                <c:pt idx="967">
                  <c:v>All Others</c:v>
                </c:pt>
                <c:pt idx="968">
                  <c:v>Islos</c:v>
                </c:pt>
                <c:pt idx="969">
                  <c:v>All Others</c:v>
                </c:pt>
                <c:pt idx="970">
                  <c:v>Tartare</c:v>
                </c:pt>
                <c:pt idx="971">
                  <c:v>All Others</c:v>
                </c:pt>
                <c:pt idx="972">
                  <c:v>Private Lab</c:v>
                </c:pt>
                <c:pt idx="973">
                  <c:v>All Others</c:v>
                </c:pt>
                <c:pt idx="974">
                  <c:v>All Others</c:v>
                </c:pt>
                <c:pt idx="975">
                  <c:v>All Others</c:v>
                </c:pt>
                <c:pt idx="976">
                  <c:v>Etoile Du Q</c:v>
                </c:pt>
                <c:pt idx="977">
                  <c:v>All Others</c:v>
                </c:pt>
                <c:pt idx="978">
                  <c:v>All Others</c:v>
                </c:pt>
                <c:pt idx="979">
                  <c:v>All Others</c:v>
                </c:pt>
                <c:pt idx="980">
                  <c:v>All Others</c:v>
                </c:pt>
                <c:pt idx="981">
                  <c:v>O'Tapas Ape</c:v>
                </c:pt>
                <c:pt idx="982">
                  <c:v>All Others</c:v>
                </c:pt>
                <c:pt idx="983">
                  <c:v>Aperivrais</c:v>
                </c:pt>
                <c:pt idx="984">
                  <c:v>All Others</c:v>
                </c:pt>
                <c:pt idx="985">
                  <c:v>Private Lab</c:v>
                </c:pt>
                <c:pt idx="986">
                  <c:v>All Others</c:v>
                </c:pt>
                <c:pt idx="987">
                  <c:v>Lactalis: A</c:v>
                </c:pt>
                <c:pt idx="988">
                  <c:v>Le Saint Am</c:v>
                </c:pt>
                <c:pt idx="989">
                  <c:v>Lactalis: A</c:v>
                </c:pt>
                <c:pt idx="990">
                  <c:v>All Others</c:v>
                </c:pt>
                <c:pt idx="991">
                  <c:v>All Others</c:v>
                </c:pt>
                <c:pt idx="992">
                  <c:v>All Others</c:v>
                </c:pt>
                <c:pt idx="993">
                  <c:v>All Others</c:v>
                </c:pt>
                <c:pt idx="994">
                  <c:v>Boursin</c:v>
                </c:pt>
                <c:pt idx="995">
                  <c:v>Philadelphi</c:v>
                </c:pt>
                <c:pt idx="996">
                  <c:v>All Others</c:v>
                </c:pt>
                <c:pt idx="997">
                  <c:v>All Others</c:v>
                </c:pt>
                <c:pt idx="998">
                  <c:v>Triballat R</c:v>
                </c:pt>
                <c:pt idx="999">
                  <c:v>All Others</c:v>
                </c:pt>
                <c:pt idx="1000">
                  <c:v>All Others</c:v>
                </c:pt>
                <c:pt idx="1001">
                  <c:v>Savencia: A</c:v>
                </c:pt>
                <c:pt idx="1002">
                  <c:v>Le Saint Am</c:v>
                </c:pt>
                <c:pt idx="1003">
                  <c:v>All Others</c:v>
                </c:pt>
                <c:pt idx="1004">
                  <c:v>All Others</c:v>
                </c:pt>
                <c:pt idx="1005">
                  <c:v>All Others</c:v>
                </c:pt>
                <c:pt idx="1006">
                  <c:v>All Others</c:v>
                </c:pt>
                <c:pt idx="1007">
                  <c:v>All Others</c:v>
                </c:pt>
                <c:pt idx="1008">
                  <c:v>Casa Azzurr</c:v>
                </c:pt>
                <c:pt idx="1009">
                  <c:v>All Others</c:v>
                </c:pt>
                <c:pt idx="1010">
                  <c:v>All Others</c:v>
                </c:pt>
                <c:pt idx="1011">
                  <c:v>All Others</c:v>
                </c:pt>
                <c:pt idx="1012">
                  <c:v>All Others</c:v>
                </c:pt>
                <c:pt idx="1013">
                  <c:v>Lactalis: A</c:v>
                </c:pt>
                <c:pt idx="1014">
                  <c:v>All Others</c:v>
                </c:pt>
                <c:pt idx="1015">
                  <c:v>Private Lab</c:v>
                </c:pt>
                <c:pt idx="1016">
                  <c:v>Boursin</c:v>
                </c:pt>
                <c:pt idx="1017">
                  <c:v>Boursin</c:v>
                </c:pt>
                <c:pt idx="1018">
                  <c:v>All Others</c:v>
                </c:pt>
                <c:pt idx="1019">
                  <c:v>Private Lab</c:v>
                </c:pt>
                <c:pt idx="1020">
                  <c:v>All Others</c:v>
                </c:pt>
                <c:pt idx="1021">
                  <c:v>All Others</c:v>
                </c:pt>
                <c:pt idx="1022">
                  <c:v>All Others</c:v>
                </c:pt>
                <c:pt idx="1023">
                  <c:v>La Belle Et</c:v>
                </c:pt>
                <c:pt idx="1024">
                  <c:v>All Others</c:v>
                </c:pt>
                <c:pt idx="1025">
                  <c:v>All Others</c:v>
                </c:pt>
                <c:pt idx="1026">
                  <c:v>All Others</c:v>
                </c:pt>
                <c:pt idx="1027">
                  <c:v>Private Lab</c:v>
                </c:pt>
                <c:pt idx="1028">
                  <c:v>All Others</c:v>
                </c:pt>
                <c:pt idx="1029">
                  <c:v>All Others</c:v>
                </c:pt>
                <c:pt idx="1030">
                  <c:v>All Others</c:v>
                </c:pt>
                <c:pt idx="1031">
                  <c:v>Private Lab</c:v>
                </c:pt>
                <c:pt idx="1032">
                  <c:v>Private Lab</c:v>
                </c:pt>
                <c:pt idx="1033">
                  <c:v>Parmareggio</c:v>
                </c:pt>
                <c:pt idx="1034">
                  <c:v>All Others</c:v>
                </c:pt>
                <c:pt idx="1035">
                  <c:v>All Others</c:v>
                </c:pt>
                <c:pt idx="1036">
                  <c:v>Chaussee Au</c:v>
                </c:pt>
                <c:pt idx="1037">
                  <c:v>Port Salut</c:v>
                </c:pt>
                <c:pt idx="1038">
                  <c:v>Triballat N</c:v>
                </c:pt>
                <c:pt idx="1039">
                  <c:v>All Others</c:v>
                </c:pt>
                <c:pt idx="1040">
                  <c:v>All Others</c:v>
                </c:pt>
                <c:pt idx="1041">
                  <c:v>All Others</c:v>
                </c:pt>
                <c:pt idx="1042">
                  <c:v>All Others</c:v>
                </c:pt>
                <c:pt idx="1043">
                  <c:v>All Others</c:v>
                </c:pt>
                <c:pt idx="1044">
                  <c:v>All Others</c:v>
                </c:pt>
                <c:pt idx="1045">
                  <c:v>All Others</c:v>
                </c:pt>
                <c:pt idx="1046">
                  <c:v>All Others</c:v>
                </c:pt>
                <c:pt idx="1047">
                  <c:v>All Others</c:v>
                </c:pt>
                <c:pt idx="1048">
                  <c:v>All Others</c:v>
                </c:pt>
                <c:pt idx="1049">
                  <c:v>All Others</c:v>
                </c:pt>
                <c:pt idx="1050">
                  <c:v>All Others</c:v>
                </c:pt>
                <c:pt idx="1051">
                  <c:v>All Others</c:v>
                </c:pt>
                <c:pt idx="1052">
                  <c:v>All Others</c:v>
                </c:pt>
                <c:pt idx="1053">
                  <c:v>All Others</c:v>
                </c:pt>
                <c:pt idx="1054">
                  <c:v>All Others</c:v>
                </c:pt>
                <c:pt idx="1055">
                  <c:v>Etoile Du V</c:v>
                </c:pt>
                <c:pt idx="1056">
                  <c:v>Nurishh</c:v>
                </c:pt>
                <c:pt idx="1057">
                  <c:v>Fauquet</c:v>
                </c:pt>
                <c:pt idx="1058">
                  <c:v>Aperivrais</c:v>
                </c:pt>
                <c:pt idx="1059">
                  <c:v>St Moret</c:v>
                </c:pt>
                <c:pt idx="1060">
                  <c:v>All Others</c:v>
                </c:pt>
                <c:pt idx="1061">
                  <c:v>All Others</c:v>
                </c:pt>
                <c:pt idx="1062">
                  <c:v>Paysan Bret</c:v>
                </c:pt>
                <c:pt idx="1063">
                  <c:v>All Others</c:v>
                </c:pt>
                <c:pt idx="1064">
                  <c:v>Lactalis: A</c:v>
                </c:pt>
                <c:pt idx="1065">
                  <c:v>Laita: All </c:v>
                </c:pt>
                <c:pt idx="1066">
                  <c:v>All Others</c:v>
                </c:pt>
                <c:pt idx="1067">
                  <c:v>All Others</c:v>
                </c:pt>
                <c:pt idx="1068">
                  <c:v>Private Lab</c:v>
                </c:pt>
                <c:pt idx="1069">
                  <c:v>All Others</c:v>
                </c:pt>
                <c:pt idx="1070">
                  <c:v>Boursin</c:v>
                </c:pt>
                <c:pt idx="1071">
                  <c:v>All Others</c:v>
                </c:pt>
                <c:pt idx="1072">
                  <c:v>Entremont</c:v>
                </c:pt>
                <c:pt idx="1073">
                  <c:v>All Others</c:v>
                </c:pt>
                <c:pt idx="1074">
                  <c:v>All Others</c:v>
                </c:pt>
                <c:pt idx="1075">
                  <c:v>All Others</c:v>
                </c:pt>
                <c:pt idx="1076">
                  <c:v>All Others</c:v>
                </c:pt>
                <c:pt idx="1077">
                  <c:v>All Others</c:v>
                </c:pt>
                <c:pt idx="1078">
                  <c:v>All Others</c:v>
                </c:pt>
                <c:pt idx="1079">
                  <c:v>Etoile Du V</c:v>
                </c:pt>
                <c:pt idx="1080">
                  <c:v>All Others</c:v>
                </c:pt>
                <c:pt idx="1081">
                  <c:v>All Others</c:v>
                </c:pt>
                <c:pt idx="1082">
                  <c:v>All Others</c:v>
                </c:pt>
                <c:pt idx="1083">
                  <c:v>All Others</c:v>
                </c:pt>
                <c:pt idx="1084">
                  <c:v>Lactalis: A</c:v>
                </c:pt>
                <c:pt idx="1085">
                  <c:v>O'Tapas Ape</c:v>
                </c:pt>
                <c:pt idx="1086">
                  <c:v>Nurishh</c:v>
                </c:pt>
                <c:pt idx="1087">
                  <c:v>All Others</c:v>
                </c:pt>
                <c:pt idx="1088">
                  <c:v>All Others</c:v>
                </c:pt>
                <c:pt idx="1089">
                  <c:v>Private Lab</c:v>
                </c:pt>
                <c:pt idx="1090">
                  <c:v>Private Lab</c:v>
                </c:pt>
                <c:pt idx="1091">
                  <c:v>All Others</c:v>
                </c:pt>
                <c:pt idx="1092">
                  <c:v>Bresse Bleu</c:v>
                </c:pt>
                <c:pt idx="1093">
                  <c:v>Juraflore</c:v>
                </c:pt>
                <c:pt idx="1094">
                  <c:v>All Others</c:v>
                </c:pt>
                <c:pt idx="1095">
                  <c:v>All Others</c:v>
                </c:pt>
                <c:pt idx="1096">
                  <c:v>All Others</c:v>
                </c:pt>
                <c:pt idx="1097">
                  <c:v>Lactalis: A</c:v>
                </c:pt>
                <c:pt idx="1098">
                  <c:v>All Others</c:v>
                </c:pt>
                <c:pt idx="1099">
                  <c:v>All Others</c:v>
                </c:pt>
                <c:pt idx="1100">
                  <c:v>Lactalis: A</c:v>
                </c:pt>
                <c:pt idx="1101">
                  <c:v>All Others</c:v>
                </c:pt>
                <c:pt idx="1102">
                  <c:v>All Others</c:v>
                </c:pt>
                <c:pt idx="1103">
                  <c:v>All Others</c:v>
                </c:pt>
                <c:pt idx="1104">
                  <c:v>Savencia: A</c:v>
                </c:pt>
                <c:pt idx="1105">
                  <c:v>All Others</c:v>
                </c:pt>
                <c:pt idx="1106">
                  <c:v>All Others</c:v>
                </c:pt>
                <c:pt idx="1107">
                  <c:v>All Others</c:v>
                </c:pt>
                <c:pt idx="1108">
                  <c:v>All Others</c:v>
                </c:pt>
                <c:pt idx="1109">
                  <c:v>All Others</c:v>
                </c:pt>
                <c:pt idx="1110">
                  <c:v>All Others</c:v>
                </c:pt>
                <c:pt idx="1111">
                  <c:v>All Others</c:v>
                </c:pt>
                <c:pt idx="1112">
                  <c:v>Pave D'Affi</c:v>
                </c:pt>
                <c:pt idx="1113">
                  <c:v>All Others</c:v>
                </c:pt>
                <c:pt idx="1114">
                  <c:v>All Others</c:v>
                </c:pt>
                <c:pt idx="1115">
                  <c:v>All Others</c:v>
                </c:pt>
                <c:pt idx="1116">
                  <c:v>Savencia: A</c:v>
                </c:pt>
                <c:pt idx="1117">
                  <c:v>All Others</c:v>
                </c:pt>
                <c:pt idx="1118">
                  <c:v>All Others</c:v>
                </c:pt>
                <c:pt idx="1119">
                  <c:v>All Others</c:v>
                </c:pt>
                <c:pt idx="1120">
                  <c:v>All Others</c:v>
                </c:pt>
                <c:pt idx="1121">
                  <c:v>Societe</c:v>
                </c:pt>
                <c:pt idx="1122">
                  <c:v>All Others</c:v>
                </c:pt>
                <c:pt idx="1123">
                  <c:v>All Others</c:v>
                </c:pt>
                <c:pt idx="1124">
                  <c:v>La Belle Et</c:v>
                </c:pt>
                <c:pt idx="1125">
                  <c:v>All Others</c:v>
                </c:pt>
                <c:pt idx="1126">
                  <c:v>All Others</c:v>
                </c:pt>
                <c:pt idx="1127">
                  <c:v>All Others</c:v>
                </c:pt>
                <c:pt idx="1128">
                  <c:v>All Others</c:v>
                </c:pt>
                <c:pt idx="1129">
                  <c:v>All Others</c:v>
                </c:pt>
                <c:pt idx="1130">
                  <c:v>All Others</c:v>
                </c:pt>
                <c:pt idx="1131">
                  <c:v>All Others</c:v>
                </c:pt>
                <c:pt idx="1132">
                  <c:v>All Others</c:v>
                </c:pt>
                <c:pt idx="1133">
                  <c:v>Boursin</c:v>
                </c:pt>
                <c:pt idx="1134">
                  <c:v>All Others</c:v>
                </c:pt>
                <c:pt idx="1135">
                  <c:v>Lactalis: A</c:v>
                </c:pt>
                <c:pt idx="1136">
                  <c:v>All Others</c:v>
                </c:pt>
                <c:pt idx="1137">
                  <c:v>All Others</c:v>
                </c:pt>
                <c:pt idx="1138">
                  <c:v>All Others</c:v>
                </c:pt>
                <c:pt idx="1139">
                  <c:v>Private Lab</c:v>
                </c:pt>
                <c:pt idx="1140">
                  <c:v>All Others</c:v>
                </c:pt>
                <c:pt idx="1141">
                  <c:v>All Others</c:v>
                </c:pt>
                <c:pt idx="1142">
                  <c:v>All Others</c:v>
                </c:pt>
                <c:pt idx="1143">
                  <c:v>All Others</c:v>
                </c:pt>
                <c:pt idx="1144">
                  <c:v>All Others</c:v>
                </c:pt>
                <c:pt idx="1145">
                  <c:v>All Others</c:v>
                </c:pt>
                <c:pt idx="1146">
                  <c:v>All Others</c:v>
                </c:pt>
                <c:pt idx="1147">
                  <c:v>Milleret: A</c:v>
                </c:pt>
                <c:pt idx="1148">
                  <c:v>All Others</c:v>
                </c:pt>
                <c:pt idx="1149">
                  <c:v>All Others</c:v>
                </c:pt>
                <c:pt idx="1150">
                  <c:v>All Others</c:v>
                </c:pt>
                <c:pt idx="1151">
                  <c:v>All Others</c:v>
                </c:pt>
                <c:pt idx="1152">
                  <c:v>All Others</c:v>
                </c:pt>
                <c:pt idx="1153">
                  <c:v>Pochat</c:v>
                </c:pt>
                <c:pt idx="1154">
                  <c:v>All Others</c:v>
                </c:pt>
                <c:pt idx="1155">
                  <c:v>All Others</c:v>
                </c:pt>
                <c:pt idx="1156">
                  <c:v>All Others</c:v>
                </c:pt>
                <c:pt idx="1157">
                  <c:v>All Others</c:v>
                </c:pt>
                <c:pt idx="1158">
                  <c:v>All Others</c:v>
                </c:pt>
                <c:pt idx="1159">
                  <c:v>All Others</c:v>
                </c:pt>
                <c:pt idx="1160">
                  <c:v>All Others</c:v>
                </c:pt>
                <c:pt idx="1161">
                  <c:v>Apericube</c:v>
                </c:pt>
                <c:pt idx="1162">
                  <c:v>All Others</c:v>
                </c:pt>
                <c:pt idx="1163">
                  <c:v>All Others</c:v>
                </c:pt>
                <c:pt idx="1164">
                  <c:v>Private Lab</c:v>
                </c:pt>
                <c:pt idx="1165">
                  <c:v>All Others</c:v>
                </c:pt>
                <c:pt idx="1166">
                  <c:v>All Others</c:v>
                </c:pt>
                <c:pt idx="1167">
                  <c:v>All Others</c:v>
                </c:pt>
                <c:pt idx="1168">
                  <c:v>All Others</c:v>
                </c:pt>
                <c:pt idx="1169">
                  <c:v>Milleret: A</c:v>
                </c:pt>
                <c:pt idx="1170">
                  <c:v>Triballat R</c:v>
                </c:pt>
                <c:pt idx="1171">
                  <c:v>All Others</c:v>
                </c:pt>
                <c:pt idx="1172">
                  <c:v>All Others</c:v>
                </c:pt>
                <c:pt idx="1173">
                  <c:v>All Others</c:v>
                </c:pt>
                <c:pt idx="1174">
                  <c:v>All Others</c:v>
                </c:pt>
                <c:pt idx="1175">
                  <c:v>All Others</c:v>
                </c:pt>
                <c:pt idx="1176">
                  <c:v>All Others</c:v>
                </c:pt>
                <c:pt idx="1177">
                  <c:v>All Others</c:v>
                </c:pt>
                <c:pt idx="1178">
                  <c:v>All Others</c:v>
                </c:pt>
                <c:pt idx="1179">
                  <c:v>All Others</c:v>
                </c:pt>
                <c:pt idx="1180">
                  <c:v>All Others</c:v>
                </c:pt>
                <c:pt idx="1181">
                  <c:v>All Others</c:v>
                </c:pt>
                <c:pt idx="1182">
                  <c:v>Lactalis: A</c:v>
                </c:pt>
                <c:pt idx="1183">
                  <c:v>All Others</c:v>
                </c:pt>
                <c:pt idx="1184">
                  <c:v>All Others</c:v>
                </c:pt>
                <c:pt idx="1185">
                  <c:v>Istara</c:v>
                </c:pt>
                <c:pt idx="1186">
                  <c:v>All Others</c:v>
                </c:pt>
                <c:pt idx="1187">
                  <c:v>All Others</c:v>
                </c:pt>
                <c:pt idx="1188">
                  <c:v>All Others</c:v>
                </c:pt>
                <c:pt idx="1189">
                  <c:v>Private Lab</c:v>
                </c:pt>
                <c:pt idx="1190">
                  <c:v>All Others</c:v>
                </c:pt>
                <c:pt idx="1191">
                  <c:v>All Others</c:v>
                </c:pt>
                <c:pt idx="1192">
                  <c:v>All Others</c:v>
                </c:pt>
                <c:pt idx="1193">
                  <c:v>All Others</c:v>
                </c:pt>
                <c:pt idx="1194">
                  <c:v>All Others</c:v>
                </c:pt>
                <c:pt idx="1195">
                  <c:v>All Others</c:v>
                </c:pt>
                <c:pt idx="1196">
                  <c:v>Eurial Autr</c:v>
                </c:pt>
                <c:pt idx="1197">
                  <c:v>All Others</c:v>
                </c:pt>
                <c:pt idx="1198">
                  <c:v>All Others</c:v>
                </c:pt>
                <c:pt idx="1199">
                  <c:v>All Others</c:v>
                </c:pt>
                <c:pt idx="1200">
                  <c:v>All Others</c:v>
                </c:pt>
                <c:pt idx="1201">
                  <c:v>All Others</c:v>
                </c:pt>
                <c:pt idx="1202">
                  <c:v>All Others</c:v>
                </c:pt>
                <c:pt idx="1203">
                  <c:v>All Others</c:v>
                </c:pt>
                <c:pt idx="1204">
                  <c:v>All Others</c:v>
                </c:pt>
                <c:pt idx="1205">
                  <c:v>All Others</c:v>
                </c:pt>
                <c:pt idx="1206">
                  <c:v>All Others</c:v>
                </c:pt>
                <c:pt idx="1207">
                  <c:v>All Others</c:v>
                </c:pt>
                <c:pt idx="1208">
                  <c:v>All Others</c:v>
                </c:pt>
                <c:pt idx="1209">
                  <c:v>Etoile Du V</c:v>
                </c:pt>
                <c:pt idx="1210">
                  <c:v>All Others</c:v>
                </c:pt>
                <c:pt idx="1211">
                  <c:v>Private Lab</c:v>
                </c:pt>
                <c:pt idx="1212">
                  <c:v>All Others</c:v>
                </c:pt>
                <c:pt idx="1213">
                  <c:v>Paysan Bret</c:v>
                </c:pt>
                <c:pt idx="1214">
                  <c:v>All Others</c:v>
                </c:pt>
                <c:pt idx="1215">
                  <c:v>All Others</c:v>
                </c:pt>
                <c:pt idx="1216">
                  <c:v>All Others</c:v>
                </c:pt>
                <c:pt idx="1217">
                  <c:v>All Others</c:v>
                </c:pt>
                <c:pt idx="1218">
                  <c:v>Juraflore</c:v>
                </c:pt>
                <c:pt idx="1219">
                  <c:v>All Others</c:v>
                </c:pt>
                <c:pt idx="1220">
                  <c:v>All Others</c:v>
                </c:pt>
                <c:pt idx="1221">
                  <c:v>All Others</c:v>
                </c:pt>
                <c:pt idx="1222">
                  <c:v>All Others</c:v>
                </c:pt>
                <c:pt idx="1223">
                  <c:v>Raguin</c:v>
                </c:pt>
                <c:pt idx="1224">
                  <c:v>All Others</c:v>
                </c:pt>
                <c:pt idx="1225">
                  <c:v>All Others</c:v>
                </c:pt>
                <c:pt idx="1226">
                  <c:v>All Others</c:v>
                </c:pt>
                <c:pt idx="1227">
                  <c:v>All Others</c:v>
                </c:pt>
                <c:pt idx="1228">
                  <c:v>All Others</c:v>
                </c:pt>
                <c:pt idx="1229">
                  <c:v>All Others</c:v>
                </c:pt>
                <c:pt idx="1230">
                  <c:v>All Others</c:v>
                </c:pt>
                <c:pt idx="1231">
                  <c:v>All Others</c:v>
                </c:pt>
                <c:pt idx="1232">
                  <c:v>Juraflore</c:v>
                </c:pt>
                <c:pt idx="1233">
                  <c:v>All Others</c:v>
                </c:pt>
                <c:pt idx="1234">
                  <c:v>All Others</c:v>
                </c:pt>
                <c:pt idx="1235">
                  <c:v>All Others</c:v>
                </c:pt>
                <c:pt idx="1236">
                  <c:v>All Others</c:v>
                </c:pt>
                <c:pt idx="1237">
                  <c:v>All Others</c:v>
                </c:pt>
                <c:pt idx="1238">
                  <c:v>All Others</c:v>
                </c:pt>
                <c:pt idx="1239">
                  <c:v>All Others</c:v>
                </c:pt>
                <c:pt idx="1240">
                  <c:v>All Others</c:v>
                </c:pt>
                <c:pt idx="1241">
                  <c:v>All Others</c:v>
                </c:pt>
                <c:pt idx="1242">
                  <c:v>Apericube</c:v>
                </c:pt>
                <c:pt idx="1243">
                  <c:v>All Others</c:v>
                </c:pt>
                <c:pt idx="1244">
                  <c:v>All Others</c:v>
                </c:pt>
                <c:pt idx="1245">
                  <c:v>All Others</c:v>
                </c:pt>
                <c:pt idx="1246">
                  <c:v>All Others</c:v>
                </c:pt>
                <c:pt idx="1247">
                  <c:v>All Others</c:v>
                </c:pt>
                <c:pt idx="1248">
                  <c:v>Pave D'Affi</c:v>
                </c:pt>
                <c:pt idx="1249">
                  <c:v>All Others</c:v>
                </c:pt>
                <c:pt idx="1250">
                  <c:v>All Others</c:v>
                </c:pt>
                <c:pt idx="1251">
                  <c:v>Eurial Autr</c:v>
                </c:pt>
                <c:pt idx="1252">
                  <c:v>All Others</c:v>
                </c:pt>
                <c:pt idx="1253">
                  <c:v>Carre Frais</c:v>
                </c:pt>
                <c:pt idx="1254">
                  <c:v>Juraflore</c:v>
                </c:pt>
                <c:pt idx="1255">
                  <c:v>All Others</c:v>
                </c:pt>
                <c:pt idx="1256">
                  <c:v>All Others</c:v>
                </c:pt>
                <c:pt idx="1257">
                  <c:v>Private Lab</c:v>
                </c:pt>
                <c:pt idx="1258">
                  <c:v>Etoile Du V</c:v>
                </c:pt>
                <c:pt idx="1259">
                  <c:v>All Others</c:v>
                </c:pt>
                <c:pt idx="1260">
                  <c:v>All Others</c:v>
                </c:pt>
                <c:pt idx="1261">
                  <c:v>Lactalis: A</c:v>
                </c:pt>
                <c:pt idx="1262">
                  <c:v>All Others</c:v>
                </c:pt>
                <c:pt idx="1263">
                  <c:v>All Others</c:v>
                </c:pt>
                <c:pt idx="1264">
                  <c:v>Pave D'Affi</c:v>
                </c:pt>
                <c:pt idx="1265">
                  <c:v>All Others</c:v>
                </c:pt>
                <c:pt idx="1266">
                  <c:v>Private Lab</c:v>
                </c:pt>
                <c:pt idx="1267">
                  <c:v>All Others</c:v>
                </c:pt>
                <c:pt idx="1268">
                  <c:v>All Others</c:v>
                </c:pt>
                <c:pt idx="1269">
                  <c:v>All Others</c:v>
                </c:pt>
                <c:pt idx="1270">
                  <c:v>All Others</c:v>
                </c:pt>
                <c:pt idx="1271">
                  <c:v>Entremont</c:v>
                </c:pt>
                <c:pt idx="1272">
                  <c:v>All Others</c:v>
                </c:pt>
                <c:pt idx="1273">
                  <c:v>All Others</c:v>
                </c:pt>
                <c:pt idx="1274">
                  <c:v>All Others</c:v>
                </c:pt>
                <c:pt idx="1275">
                  <c:v>All Others</c:v>
                </c:pt>
                <c:pt idx="1276">
                  <c:v>All Others</c:v>
                </c:pt>
                <c:pt idx="1277">
                  <c:v>All Others</c:v>
                </c:pt>
                <c:pt idx="1278">
                  <c:v>All Others</c:v>
                </c:pt>
                <c:pt idx="1279">
                  <c:v>Eurial Autr</c:v>
                </c:pt>
                <c:pt idx="1280">
                  <c:v>All Others</c:v>
                </c:pt>
                <c:pt idx="1281">
                  <c:v>All Others</c:v>
                </c:pt>
                <c:pt idx="1282">
                  <c:v>All Others</c:v>
                </c:pt>
                <c:pt idx="1283">
                  <c:v>All Others</c:v>
                </c:pt>
                <c:pt idx="1284">
                  <c:v>Lactalis: A</c:v>
                </c:pt>
                <c:pt idx="1285">
                  <c:v>All Others</c:v>
                </c:pt>
                <c:pt idx="1286">
                  <c:v>All Others</c:v>
                </c:pt>
                <c:pt idx="1287">
                  <c:v>All Others</c:v>
                </c:pt>
                <c:pt idx="1288">
                  <c:v>All Others</c:v>
                </c:pt>
                <c:pt idx="1289">
                  <c:v>All Others</c:v>
                </c:pt>
                <c:pt idx="1290">
                  <c:v>All Others</c:v>
                </c:pt>
                <c:pt idx="1291">
                  <c:v>Apericube</c:v>
                </c:pt>
                <c:pt idx="1292">
                  <c:v>All Others</c:v>
                </c:pt>
                <c:pt idx="1293">
                  <c:v>Etoile Du V</c:v>
                </c:pt>
                <c:pt idx="1294">
                  <c:v>All Others</c:v>
                </c:pt>
                <c:pt idx="1295">
                  <c:v>All Others</c:v>
                </c:pt>
                <c:pt idx="1296">
                  <c:v>All Others</c:v>
                </c:pt>
                <c:pt idx="1297">
                  <c:v>All Others</c:v>
                </c:pt>
                <c:pt idx="1298">
                  <c:v>All Others</c:v>
                </c:pt>
                <c:pt idx="1299">
                  <c:v>Lactalis: A</c:v>
                </c:pt>
                <c:pt idx="1300">
                  <c:v>All Others</c:v>
                </c:pt>
                <c:pt idx="1301">
                  <c:v>All Others</c:v>
                </c:pt>
                <c:pt idx="1302">
                  <c:v>All Others</c:v>
                </c:pt>
                <c:pt idx="1303">
                  <c:v>Etoile Du V</c:v>
                </c:pt>
                <c:pt idx="1304">
                  <c:v>All Others</c:v>
                </c:pt>
                <c:pt idx="1305">
                  <c:v>Casa Azzurr</c:v>
                </c:pt>
                <c:pt idx="1306">
                  <c:v>All Others</c:v>
                </c:pt>
                <c:pt idx="1307">
                  <c:v>All Others</c:v>
                </c:pt>
                <c:pt idx="1308">
                  <c:v>Societe</c:v>
                </c:pt>
                <c:pt idx="1309">
                  <c:v>All Others</c:v>
                </c:pt>
                <c:pt idx="1310">
                  <c:v>All Others</c:v>
                </c:pt>
                <c:pt idx="1311">
                  <c:v>Pave D'Affi</c:v>
                </c:pt>
                <c:pt idx="1312">
                  <c:v>All Others</c:v>
                </c:pt>
                <c:pt idx="1313">
                  <c:v>All Others</c:v>
                </c:pt>
                <c:pt idx="1314">
                  <c:v>All Others</c:v>
                </c:pt>
                <c:pt idx="1315">
                  <c:v>L'Ortolan</c:v>
                </c:pt>
                <c:pt idx="1316">
                  <c:v>All Others</c:v>
                </c:pt>
                <c:pt idx="1317">
                  <c:v>All Others</c:v>
                </c:pt>
                <c:pt idx="1318">
                  <c:v>Mini Babybe</c:v>
                </c:pt>
                <c:pt idx="1319">
                  <c:v>Eurial Autr</c:v>
                </c:pt>
                <c:pt idx="1320">
                  <c:v>All Others</c:v>
                </c:pt>
                <c:pt idx="1321">
                  <c:v>All Others</c:v>
                </c:pt>
                <c:pt idx="1322">
                  <c:v>All Others</c:v>
                </c:pt>
                <c:pt idx="1323">
                  <c:v>Raguin</c:v>
                </c:pt>
                <c:pt idx="1324">
                  <c:v>All Others</c:v>
                </c:pt>
                <c:pt idx="1325">
                  <c:v>All Others</c:v>
                </c:pt>
                <c:pt idx="1326">
                  <c:v>All Others</c:v>
                </c:pt>
                <c:pt idx="1327">
                  <c:v>All Others</c:v>
                </c:pt>
                <c:pt idx="1328">
                  <c:v>All Others</c:v>
                </c:pt>
                <c:pt idx="1329">
                  <c:v>All Others</c:v>
                </c:pt>
                <c:pt idx="1330">
                  <c:v>All Others</c:v>
                </c:pt>
                <c:pt idx="1331">
                  <c:v>All Others</c:v>
                </c:pt>
                <c:pt idx="1332">
                  <c:v>All Others</c:v>
                </c:pt>
                <c:pt idx="1333">
                  <c:v>All Others</c:v>
                </c:pt>
                <c:pt idx="1334">
                  <c:v>All Others</c:v>
                </c:pt>
                <c:pt idx="1335">
                  <c:v>All Others</c:v>
                </c:pt>
                <c:pt idx="1336">
                  <c:v>La Belle Et</c:v>
                </c:pt>
                <c:pt idx="1337">
                  <c:v>Triballat N</c:v>
                </c:pt>
                <c:pt idx="1338">
                  <c:v>All Others</c:v>
                </c:pt>
                <c:pt idx="1339">
                  <c:v>All Others</c:v>
                </c:pt>
                <c:pt idx="1340">
                  <c:v>All Others</c:v>
                </c:pt>
                <c:pt idx="1341">
                  <c:v>All Others</c:v>
                </c:pt>
                <c:pt idx="1342">
                  <c:v>Pochat</c:v>
                </c:pt>
                <c:pt idx="1343">
                  <c:v>All Others</c:v>
                </c:pt>
                <c:pt idx="1344">
                  <c:v>All Others</c:v>
                </c:pt>
                <c:pt idx="1345">
                  <c:v>All Others</c:v>
                </c:pt>
                <c:pt idx="1346">
                  <c:v>All Others</c:v>
                </c:pt>
                <c:pt idx="1347">
                  <c:v>Lactalis: A</c:v>
                </c:pt>
                <c:pt idx="1348">
                  <c:v>All Others</c:v>
                </c:pt>
                <c:pt idx="1349">
                  <c:v>All Others</c:v>
                </c:pt>
                <c:pt idx="1350">
                  <c:v>All Others</c:v>
                </c:pt>
                <c:pt idx="1351">
                  <c:v>All Others</c:v>
                </c:pt>
                <c:pt idx="1352">
                  <c:v>All Others</c:v>
                </c:pt>
                <c:pt idx="1353">
                  <c:v>All Others</c:v>
                </c:pt>
                <c:pt idx="1354">
                  <c:v>All Others</c:v>
                </c:pt>
                <c:pt idx="1355">
                  <c:v>All Others</c:v>
                </c:pt>
                <c:pt idx="1356">
                  <c:v>Lactalis: A</c:v>
                </c:pt>
                <c:pt idx="1357">
                  <c:v>All Others</c:v>
                </c:pt>
                <c:pt idx="1358">
                  <c:v>Private Lab</c:v>
                </c:pt>
                <c:pt idx="1359">
                  <c:v>All Others</c:v>
                </c:pt>
                <c:pt idx="1360">
                  <c:v>All Others</c:v>
                </c:pt>
                <c:pt idx="1361">
                  <c:v>All Others</c:v>
                </c:pt>
                <c:pt idx="1362">
                  <c:v>All Others</c:v>
                </c:pt>
                <c:pt idx="1363">
                  <c:v>Nurishh</c:v>
                </c:pt>
                <c:pt idx="1364">
                  <c:v>Eurial Autr</c:v>
                </c:pt>
                <c:pt idx="1365">
                  <c:v>Triballat R</c:v>
                </c:pt>
                <c:pt idx="1366">
                  <c:v>All Others</c:v>
                </c:pt>
                <c:pt idx="1367">
                  <c:v>All Others</c:v>
                </c:pt>
                <c:pt idx="1368">
                  <c:v>All Others</c:v>
                </c:pt>
                <c:pt idx="1369">
                  <c:v>All Others</c:v>
                </c:pt>
                <c:pt idx="1370">
                  <c:v>All Others</c:v>
                </c:pt>
                <c:pt idx="1371">
                  <c:v>All Others</c:v>
                </c:pt>
                <c:pt idx="1372">
                  <c:v>All Others</c:v>
                </c:pt>
                <c:pt idx="1373">
                  <c:v>All Others</c:v>
                </c:pt>
                <c:pt idx="1374">
                  <c:v>All Others</c:v>
                </c:pt>
                <c:pt idx="1375">
                  <c:v>All Others</c:v>
                </c:pt>
                <c:pt idx="1376">
                  <c:v>Lactalis: A</c:v>
                </c:pt>
                <c:pt idx="1377">
                  <c:v>All Others</c:v>
                </c:pt>
                <c:pt idx="1378">
                  <c:v>All Others</c:v>
                </c:pt>
                <c:pt idx="1379">
                  <c:v>All Others</c:v>
                </c:pt>
                <c:pt idx="1380">
                  <c:v>All Others</c:v>
                </c:pt>
                <c:pt idx="1381">
                  <c:v>All Others</c:v>
                </c:pt>
                <c:pt idx="1382">
                  <c:v>Private Lab</c:v>
                </c:pt>
                <c:pt idx="1383">
                  <c:v>All Others</c:v>
                </c:pt>
                <c:pt idx="1384">
                  <c:v>All Others</c:v>
                </c:pt>
                <c:pt idx="1385">
                  <c:v>La Belle Et</c:v>
                </c:pt>
                <c:pt idx="1386">
                  <c:v>All Others</c:v>
                </c:pt>
                <c:pt idx="1387">
                  <c:v>All Others</c:v>
                </c:pt>
                <c:pt idx="1388">
                  <c:v>All Others</c:v>
                </c:pt>
                <c:pt idx="1389">
                  <c:v>All Others</c:v>
                </c:pt>
                <c:pt idx="1390">
                  <c:v>All Others</c:v>
                </c:pt>
                <c:pt idx="1391">
                  <c:v>All Others</c:v>
                </c:pt>
                <c:pt idx="1392">
                  <c:v>All Others</c:v>
                </c:pt>
                <c:pt idx="1393">
                  <c:v>All Others</c:v>
                </c:pt>
                <c:pt idx="1394">
                  <c:v>Lactalis: A</c:v>
                </c:pt>
                <c:pt idx="1395">
                  <c:v>All Others</c:v>
                </c:pt>
                <c:pt idx="1396">
                  <c:v>All Others</c:v>
                </c:pt>
                <c:pt idx="1397">
                  <c:v>All Others</c:v>
                </c:pt>
                <c:pt idx="1398">
                  <c:v>All Others</c:v>
                </c:pt>
                <c:pt idx="1399">
                  <c:v>All Others</c:v>
                </c:pt>
                <c:pt idx="1400">
                  <c:v>All Others</c:v>
                </c:pt>
                <c:pt idx="1401">
                  <c:v>All Others</c:v>
                </c:pt>
                <c:pt idx="1402">
                  <c:v>All Others</c:v>
                </c:pt>
                <c:pt idx="1403">
                  <c:v>All Others</c:v>
                </c:pt>
                <c:pt idx="1404">
                  <c:v>All Others</c:v>
                </c:pt>
                <c:pt idx="1405">
                  <c:v>Etoile Du Q</c:v>
                </c:pt>
                <c:pt idx="1406">
                  <c:v>All Others</c:v>
                </c:pt>
                <c:pt idx="1407">
                  <c:v>All Others</c:v>
                </c:pt>
                <c:pt idx="1408">
                  <c:v>All Others</c:v>
                </c:pt>
                <c:pt idx="1409">
                  <c:v>All Others</c:v>
                </c:pt>
                <c:pt idx="1410">
                  <c:v>All Others</c:v>
                </c:pt>
                <c:pt idx="1411">
                  <c:v>All Others</c:v>
                </c:pt>
                <c:pt idx="1412">
                  <c:v>All Others</c:v>
                </c:pt>
                <c:pt idx="1413">
                  <c:v>All Others</c:v>
                </c:pt>
                <c:pt idx="1414">
                  <c:v>La Belle Et</c:v>
                </c:pt>
                <c:pt idx="1415">
                  <c:v>Eurial Autr</c:v>
                </c:pt>
                <c:pt idx="1416">
                  <c:v>All Others</c:v>
                </c:pt>
                <c:pt idx="1417">
                  <c:v>All Others</c:v>
                </c:pt>
                <c:pt idx="1418">
                  <c:v>Etoile Du V</c:v>
                </c:pt>
                <c:pt idx="1419">
                  <c:v>Pochat</c:v>
                </c:pt>
                <c:pt idx="1420">
                  <c:v>Nurishh</c:v>
                </c:pt>
                <c:pt idx="1421">
                  <c:v>All Others</c:v>
                </c:pt>
                <c:pt idx="1422">
                  <c:v>Eurial Autr</c:v>
                </c:pt>
                <c:pt idx="1423">
                  <c:v>All Others</c:v>
                </c:pt>
                <c:pt idx="1424">
                  <c:v>All Others</c:v>
                </c:pt>
                <c:pt idx="1425">
                  <c:v>All Others</c:v>
                </c:pt>
                <c:pt idx="1426">
                  <c:v>All Others</c:v>
                </c:pt>
                <c:pt idx="1427">
                  <c:v>All Others</c:v>
                </c:pt>
                <c:pt idx="1428">
                  <c:v>Private Lab</c:v>
                </c:pt>
                <c:pt idx="1429">
                  <c:v>Soignon</c:v>
                </c:pt>
                <c:pt idx="1430">
                  <c:v>All Others</c:v>
                </c:pt>
                <c:pt idx="1431">
                  <c:v>All Others</c:v>
                </c:pt>
                <c:pt idx="1432">
                  <c:v>All Others</c:v>
                </c:pt>
                <c:pt idx="1433">
                  <c:v>All Others</c:v>
                </c:pt>
                <c:pt idx="1434">
                  <c:v>Private Lab</c:v>
                </c:pt>
                <c:pt idx="1435">
                  <c:v>All Others</c:v>
                </c:pt>
                <c:pt idx="1436">
                  <c:v>All Others</c:v>
                </c:pt>
                <c:pt idx="1437">
                  <c:v>All Others</c:v>
                </c:pt>
                <c:pt idx="1438">
                  <c:v>All Others</c:v>
                </c:pt>
                <c:pt idx="1439">
                  <c:v>La Belle Et</c:v>
                </c:pt>
                <c:pt idx="1440">
                  <c:v>All Others</c:v>
                </c:pt>
                <c:pt idx="1441">
                  <c:v>All Others</c:v>
                </c:pt>
                <c:pt idx="1442">
                  <c:v>All Others</c:v>
                </c:pt>
                <c:pt idx="1443">
                  <c:v>La Belle Et</c:v>
                </c:pt>
                <c:pt idx="1444">
                  <c:v>All Others</c:v>
                </c:pt>
                <c:pt idx="1445">
                  <c:v>All Others</c:v>
                </c:pt>
                <c:pt idx="1446">
                  <c:v>All Others</c:v>
                </c:pt>
                <c:pt idx="1447">
                  <c:v>All Others</c:v>
                </c:pt>
                <c:pt idx="1448">
                  <c:v>All Others</c:v>
                </c:pt>
                <c:pt idx="1449">
                  <c:v>All Others</c:v>
                </c:pt>
                <c:pt idx="1450">
                  <c:v>All Others</c:v>
                </c:pt>
                <c:pt idx="1451">
                  <c:v>All Others</c:v>
                </c:pt>
                <c:pt idx="1452">
                  <c:v>All Others</c:v>
                </c:pt>
                <c:pt idx="1453">
                  <c:v>All Others</c:v>
                </c:pt>
                <c:pt idx="1454">
                  <c:v>All Others</c:v>
                </c:pt>
                <c:pt idx="1455">
                  <c:v>All Others</c:v>
                </c:pt>
                <c:pt idx="1456">
                  <c:v>All Others</c:v>
                </c:pt>
                <c:pt idx="1457">
                  <c:v>All Others</c:v>
                </c:pt>
                <c:pt idx="1458">
                  <c:v>Lactalis: A</c:v>
                </c:pt>
                <c:pt idx="1459">
                  <c:v>All Others</c:v>
                </c:pt>
                <c:pt idx="1460">
                  <c:v>Paysan Bret</c:v>
                </c:pt>
                <c:pt idx="1461">
                  <c:v>All Others</c:v>
                </c:pt>
                <c:pt idx="1462">
                  <c:v>All Others</c:v>
                </c:pt>
                <c:pt idx="1463">
                  <c:v>All Others</c:v>
                </c:pt>
                <c:pt idx="1464">
                  <c:v>All Others</c:v>
                </c:pt>
                <c:pt idx="1465">
                  <c:v>All Others</c:v>
                </c:pt>
                <c:pt idx="1466">
                  <c:v>Etoile Du V</c:v>
                </c:pt>
                <c:pt idx="1467">
                  <c:v>All Others</c:v>
                </c:pt>
                <c:pt idx="1468">
                  <c:v>All Others</c:v>
                </c:pt>
                <c:pt idx="1469">
                  <c:v>All Others</c:v>
                </c:pt>
                <c:pt idx="1470">
                  <c:v>All Others</c:v>
                </c:pt>
                <c:pt idx="1471">
                  <c:v>All Others</c:v>
                </c:pt>
                <c:pt idx="1472">
                  <c:v>Nurishh</c:v>
                </c:pt>
                <c:pt idx="1473">
                  <c:v>All Others</c:v>
                </c:pt>
                <c:pt idx="1474">
                  <c:v>Private Lab</c:v>
                </c:pt>
                <c:pt idx="1475">
                  <c:v>All Others</c:v>
                </c:pt>
                <c:pt idx="1476">
                  <c:v>Private Lab</c:v>
                </c:pt>
                <c:pt idx="1477">
                  <c:v>All Others</c:v>
                </c:pt>
                <c:pt idx="1478">
                  <c:v>All Others</c:v>
                </c:pt>
                <c:pt idx="1479">
                  <c:v>All Others</c:v>
                </c:pt>
                <c:pt idx="1480">
                  <c:v>All Others</c:v>
                </c:pt>
                <c:pt idx="1481">
                  <c:v>Private Lab</c:v>
                </c:pt>
                <c:pt idx="1482">
                  <c:v>All Others</c:v>
                </c:pt>
                <c:pt idx="1483">
                  <c:v>All Others</c:v>
                </c:pt>
                <c:pt idx="1484">
                  <c:v>All Others</c:v>
                </c:pt>
                <c:pt idx="1485">
                  <c:v>All Others</c:v>
                </c:pt>
                <c:pt idx="1486">
                  <c:v>La Belle Et</c:v>
                </c:pt>
                <c:pt idx="1487">
                  <c:v>All Others</c:v>
                </c:pt>
                <c:pt idx="1488">
                  <c:v>Lactalis: A</c:v>
                </c:pt>
                <c:pt idx="1489">
                  <c:v>All Others</c:v>
                </c:pt>
                <c:pt idx="1490">
                  <c:v>All Others</c:v>
                </c:pt>
                <c:pt idx="1491">
                  <c:v>Lou Perac</c:v>
                </c:pt>
                <c:pt idx="1492">
                  <c:v>All Others</c:v>
                </c:pt>
                <c:pt idx="1493">
                  <c:v>All Others</c:v>
                </c:pt>
                <c:pt idx="1494">
                  <c:v>All Others</c:v>
                </c:pt>
                <c:pt idx="1495">
                  <c:v>Private Lab</c:v>
                </c:pt>
                <c:pt idx="1496">
                  <c:v>All Others</c:v>
                </c:pt>
                <c:pt idx="1497">
                  <c:v>Etoile Du V</c:v>
                </c:pt>
                <c:pt idx="1498">
                  <c:v>All Others</c:v>
                </c:pt>
                <c:pt idx="1499">
                  <c:v>All Others</c:v>
                </c:pt>
                <c:pt idx="1500">
                  <c:v>All Others</c:v>
                </c:pt>
                <c:pt idx="1501">
                  <c:v>All Others</c:v>
                </c:pt>
                <c:pt idx="1502">
                  <c:v>All Others</c:v>
                </c:pt>
                <c:pt idx="1503">
                  <c:v>All Others</c:v>
                </c:pt>
                <c:pt idx="1504">
                  <c:v>All Others</c:v>
                </c:pt>
                <c:pt idx="1505">
                  <c:v>All Others</c:v>
                </c:pt>
                <c:pt idx="1506">
                  <c:v>All Others</c:v>
                </c:pt>
                <c:pt idx="1507">
                  <c:v>Savencia: A</c:v>
                </c:pt>
                <c:pt idx="1508">
                  <c:v>All Others</c:v>
                </c:pt>
                <c:pt idx="1509">
                  <c:v>All Others</c:v>
                </c:pt>
                <c:pt idx="1510">
                  <c:v>All Others</c:v>
                </c:pt>
                <c:pt idx="1511">
                  <c:v>All Others</c:v>
                </c:pt>
                <c:pt idx="1512">
                  <c:v>All Others</c:v>
                </c:pt>
                <c:pt idx="1513">
                  <c:v>All Others</c:v>
                </c:pt>
                <c:pt idx="1514">
                  <c:v>All Others</c:v>
                </c:pt>
                <c:pt idx="1515">
                  <c:v>All Others</c:v>
                </c:pt>
                <c:pt idx="1516">
                  <c:v>All Others</c:v>
                </c:pt>
                <c:pt idx="1517">
                  <c:v>All Others</c:v>
                </c:pt>
                <c:pt idx="1518">
                  <c:v>All Others</c:v>
                </c:pt>
                <c:pt idx="1519">
                  <c:v>La Belle Et</c:v>
                </c:pt>
                <c:pt idx="1520">
                  <c:v>Pochat</c:v>
                </c:pt>
                <c:pt idx="1521">
                  <c:v>All Others</c:v>
                </c:pt>
                <c:pt idx="1522">
                  <c:v>All Others</c:v>
                </c:pt>
                <c:pt idx="1523">
                  <c:v>Raguin</c:v>
                </c:pt>
                <c:pt idx="1524">
                  <c:v>All Others</c:v>
                </c:pt>
                <c:pt idx="1525">
                  <c:v>Lactalis: A</c:v>
                </c:pt>
                <c:pt idx="1526">
                  <c:v>Etoile Du V</c:v>
                </c:pt>
                <c:pt idx="1527">
                  <c:v>All Others</c:v>
                </c:pt>
                <c:pt idx="1528">
                  <c:v>All Others</c:v>
                </c:pt>
                <c:pt idx="1529">
                  <c:v>All Others</c:v>
                </c:pt>
                <c:pt idx="1530">
                  <c:v>All Others</c:v>
                </c:pt>
                <c:pt idx="1531">
                  <c:v>All Others</c:v>
                </c:pt>
                <c:pt idx="1532">
                  <c:v>All Others</c:v>
                </c:pt>
                <c:pt idx="1533">
                  <c:v>All Others</c:v>
                </c:pt>
                <c:pt idx="1534">
                  <c:v>All Others</c:v>
                </c:pt>
                <c:pt idx="1535">
                  <c:v>All Others</c:v>
                </c:pt>
                <c:pt idx="1536">
                  <c:v>All Others</c:v>
                </c:pt>
                <c:pt idx="1537">
                  <c:v>All Others</c:v>
                </c:pt>
                <c:pt idx="1538">
                  <c:v>La Belle Et</c:v>
                </c:pt>
                <c:pt idx="1539">
                  <c:v>All Others</c:v>
                </c:pt>
                <c:pt idx="1540">
                  <c:v>All Others</c:v>
                </c:pt>
                <c:pt idx="1541">
                  <c:v>All Others</c:v>
                </c:pt>
                <c:pt idx="1542">
                  <c:v>All Others</c:v>
                </c:pt>
                <c:pt idx="1543">
                  <c:v>All Others</c:v>
                </c:pt>
                <c:pt idx="1544">
                  <c:v>All Others</c:v>
                </c:pt>
                <c:pt idx="1545">
                  <c:v>Boursin</c:v>
                </c:pt>
                <c:pt idx="1546">
                  <c:v>All Others</c:v>
                </c:pt>
                <c:pt idx="1547">
                  <c:v>All Others</c:v>
                </c:pt>
                <c:pt idx="1548">
                  <c:v>All Others</c:v>
                </c:pt>
                <c:pt idx="1549">
                  <c:v>All Others</c:v>
                </c:pt>
                <c:pt idx="1550">
                  <c:v>Savencia: A</c:v>
                </c:pt>
                <c:pt idx="1551">
                  <c:v>All Others</c:v>
                </c:pt>
                <c:pt idx="1552">
                  <c:v>Societe</c:v>
                </c:pt>
                <c:pt idx="1553">
                  <c:v>All Others</c:v>
                </c:pt>
                <c:pt idx="1554">
                  <c:v>All Others</c:v>
                </c:pt>
                <c:pt idx="1555">
                  <c:v>All Others</c:v>
                </c:pt>
                <c:pt idx="1556">
                  <c:v>Pochat</c:v>
                </c:pt>
                <c:pt idx="1557">
                  <c:v>All Others</c:v>
                </c:pt>
                <c:pt idx="1558">
                  <c:v>All Others</c:v>
                </c:pt>
                <c:pt idx="1559">
                  <c:v>La Belle Et</c:v>
                </c:pt>
                <c:pt idx="1560">
                  <c:v>La Belle Et</c:v>
                </c:pt>
                <c:pt idx="1561">
                  <c:v>All Others</c:v>
                </c:pt>
                <c:pt idx="1562">
                  <c:v>Private Lab</c:v>
                </c:pt>
                <c:pt idx="1563">
                  <c:v>All Others</c:v>
                </c:pt>
                <c:pt idx="1564">
                  <c:v>All Others</c:v>
                </c:pt>
                <c:pt idx="1565">
                  <c:v>All Others</c:v>
                </c:pt>
                <c:pt idx="1566">
                  <c:v>Lactalis: A</c:v>
                </c:pt>
                <c:pt idx="1567">
                  <c:v>Private Lab</c:v>
                </c:pt>
                <c:pt idx="1568">
                  <c:v>Pave D'Affi</c:v>
                </c:pt>
                <c:pt idx="1569">
                  <c:v>All Others</c:v>
                </c:pt>
                <c:pt idx="1570">
                  <c:v>Etoile Du V</c:v>
                </c:pt>
                <c:pt idx="1571">
                  <c:v>All Others</c:v>
                </c:pt>
                <c:pt idx="1572">
                  <c:v>All Others</c:v>
                </c:pt>
                <c:pt idx="1573">
                  <c:v>All Others</c:v>
                </c:pt>
                <c:pt idx="1574">
                  <c:v>Etoile Du V</c:v>
                </c:pt>
                <c:pt idx="1575">
                  <c:v>All Others</c:v>
                </c:pt>
                <c:pt idx="1576">
                  <c:v>All Others</c:v>
                </c:pt>
                <c:pt idx="1577">
                  <c:v>All Others</c:v>
                </c:pt>
                <c:pt idx="1578">
                  <c:v>All Others</c:v>
                </c:pt>
                <c:pt idx="1579">
                  <c:v>All Others</c:v>
                </c:pt>
                <c:pt idx="1580">
                  <c:v>All Others</c:v>
                </c:pt>
                <c:pt idx="1581">
                  <c:v>All Others</c:v>
                </c:pt>
                <c:pt idx="1582">
                  <c:v>All Others</c:v>
                </c:pt>
                <c:pt idx="1583">
                  <c:v>La Belle Et</c:v>
                </c:pt>
                <c:pt idx="1584">
                  <c:v>All Others</c:v>
                </c:pt>
                <c:pt idx="1585">
                  <c:v>La Belle Et</c:v>
                </c:pt>
                <c:pt idx="1586">
                  <c:v>All Others</c:v>
                </c:pt>
                <c:pt idx="1587">
                  <c:v>All Others</c:v>
                </c:pt>
                <c:pt idx="1588">
                  <c:v>All Others</c:v>
                </c:pt>
                <c:pt idx="1589">
                  <c:v>All Others</c:v>
                </c:pt>
                <c:pt idx="1590">
                  <c:v>All Others</c:v>
                </c:pt>
                <c:pt idx="1591">
                  <c:v>All Others</c:v>
                </c:pt>
                <c:pt idx="1592">
                  <c:v>All Others</c:v>
                </c:pt>
                <c:pt idx="1593">
                  <c:v>All Others</c:v>
                </c:pt>
                <c:pt idx="1594">
                  <c:v>All Others</c:v>
                </c:pt>
                <c:pt idx="1595">
                  <c:v>All Others</c:v>
                </c:pt>
                <c:pt idx="1596">
                  <c:v>Savencia: A</c:v>
                </c:pt>
                <c:pt idx="1597">
                  <c:v>Apericube</c:v>
                </c:pt>
                <c:pt idx="1598">
                  <c:v>All Others</c:v>
                </c:pt>
                <c:pt idx="1599">
                  <c:v>Lactalis: A</c:v>
                </c:pt>
                <c:pt idx="1600">
                  <c:v>All Others</c:v>
                </c:pt>
                <c:pt idx="1601">
                  <c:v>All Others</c:v>
                </c:pt>
                <c:pt idx="1602">
                  <c:v>All Others</c:v>
                </c:pt>
                <c:pt idx="1603">
                  <c:v>All Others</c:v>
                </c:pt>
                <c:pt idx="1604">
                  <c:v>All Others</c:v>
                </c:pt>
                <c:pt idx="1605">
                  <c:v>All Others</c:v>
                </c:pt>
                <c:pt idx="1606">
                  <c:v>All Others</c:v>
                </c:pt>
                <c:pt idx="1607">
                  <c:v>All Others</c:v>
                </c:pt>
                <c:pt idx="1608">
                  <c:v>All Others</c:v>
                </c:pt>
                <c:pt idx="1609">
                  <c:v>All Others</c:v>
                </c:pt>
                <c:pt idx="1610">
                  <c:v>All Others</c:v>
                </c:pt>
                <c:pt idx="1611">
                  <c:v>All Others</c:v>
                </c:pt>
                <c:pt idx="1612">
                  <c:v>All Others</c:v>
                </c:pt>
                <c:pt idx="1613">
                  <c:v>All Others</c:v>
                </c:pt>
                <c:pt idx="1614">
                  <c:v>All Others</c:v>
                </c:pt>
                <c:pt idx="1615">
                  <c:v>All Others</c:v>
                </c:pt>
                <c:pt idx="1616">
                  <c:v>All Others</c:v>
                </c:pt>
                <c:pt idx="1617">
                  <c:v>All Others</c:v>
                </c:pt>
                <c:pt idx="1618">
                  <c:v>All Others</c:v>
                </c:pt>
                <c:pt idx="1619">
                  <c:v>All Others</c:v>
                </c:pt>
                <c:pt idx="1620">
                  <c:v>All Others</c:v>
                </c:pt>
                <c:pt idx="1621">
                  <c:v>All Others</c:v>
                </c:pt>
                <c:pt idx="1622">
                  <c:v>All Others</c:v>
                </c:pt>
                <c:pt idx="1623">
                  <c:v>All Others</c:v>
                </c:pt>
                <c:pt idx="1624">
                  <c:v>All Others</c:v>
                </c:pt>
                <c:pt idx="1625">
                  <c:v>All Others</c:v>
                </c:pt>
                <c:pt idx="1626">
                  <c:v>All Others</c:v>
                </c:pt>
                <c:pt idx="1627">
                  <c:v>All Others</c:v>
                </c:pt>
                <c:pt idx="1628">
                  <c:v>All Others</c:v>
                </c:pt>
                <c:pt idx="1629">
                  <c:v>All Others</c:v>
                </c:pt>
                <c:pt idx="1630">
                  <c:v>All Others</c:v>
                </c:pt>
                <c:pt idx="1631">
                  <c:v>All Others</c:v>
                </c:pt>
                <c:pt idx="1632">
                  <c:v>All Others</c:v>
                </c:pt>
                <c:pt idx="1633">
                  <c:v>Pave D'Affi</c:v>
                </c:pt>
                <c:pt idx="1634">
                  <c:v>All Others</c:v>
                </c:pt>
                <c:pt idx="1635">
                  <c:v>All Others</c:v>
                </c:pt>
                <c:pt idx="1636">
                  <c:v>All Others</c:v>
                </c:pt>
                <c:pt idx="1637">
                  <c:v>All Others</c:v>
                </c:pt>
                <c:pt idx="1638">
                  <c:v>All Others</c:v>
                </c:pt>
                <c:pt idx="1639">
                  <c:v>All Others</c:v>
                </c:pt>
                <c:pt idx="1640">
                  <c:v>All Others</c:v>
                </c:pt>
                <c:pt idx="1641">
                  <c:v>All Others</c:v>
                </c:pt>
                <c:pt idx="1642">
                  <c:v>All Others</c:v>
                </c:pt>
                <c:pt idx="1643">
                  <c:v>Leerdammer</c:v>
                </c:pt>
                <c:pt idx="1644">
                  <c:v>All Others</c:v>
                </c:pt>
                <c:pt idx="1645">
                  <c:v>All Others</c:v>
                </c:pt>
                <c:pt idx="1646">
                  <c:v>All Others</c:v>
                </c:pt>
                <c:pt idx="1647">
                  <c:v>Kiri</c:v>
                </c:pt>
                <c:pt idx="1648">
                  <c:v>All Others</c:v>
                </c:pt>
                <c:pt idx="1649">
                  <c:v>All Others</c:v>
                </c:pt>
                <c:pt idx="1650">
                  <c:v>All Others</c:v>
                </c:pt>
                <c:pt idx="1651">
                  <c:v>All Others</c:v>
                </c:pt>
                <c:pt idx="1652">
                  <c:v>All Others</c:v>
                </c:pt>
                <c:pt idx="1653">
                  <c:v>All Others</c:v>
                </c:pt>
                <c:pt idx="1654">
                  <c:v>All Others</c:v>
                </c:pt>
                <c:pt idx="1655">
                  <c:v>All Others</c:v>
                </c:pt>
                <c:pt idx="1656">
                  <c:v>All Others</c:v>
                </c:pt>
                <c:pt idx="1657">
                  <c:v>Private Lab</c:v>
                </c:pt>
                <c:pt idx="1658">
                  <c:v>All Others</c:v>
                </c:pt>
                <c:pt idx="1659">
                  <c:v>All Others</c:v>
                </c:pt>
                <c:pt idx="1660">
                  <c:v>All Others</c:v>
                </c:pt>
                <c:pt idx="1661">
                  <c:v>All Others</c:v>
                </c:pt>
                <c:pt idx="1662">
                  <c:v>All Others</c:v>
                </c:pt>
                <c:pt idx="1663">
                  <c:v>All Others</c:v>
                </c:pt>
                <c:pt idx="1664">
                  <c:v>All Others</c:v>
                </c:pt>
                <c:pt idx="1665">
                  <c:v>All Others</c:v>
                </c:pt>
                <c:pt idx="1666">
                  <c:v>All Others</c:v>
                </c:pt>
                <c:pt idx="1667">
                  <c:v>All Others</c:v>
                </c:pt>
                <c:pt idx="1668">
                  <c:v>All Others</c:v>
                </c:pt>
                <c:pt idx="1669">
                  <c:v>All Others</c:v>
                </c:pt>
                <c:pt idx="1670">
                  <c:v>All Others</c:v>
                </c:pt>
                <c:pt idx="1671">
                  <c:v>All Others</c:v>
                </c:pt>
                <c:pt idx="1672">
                  <c:v>All Others</c:v>
                </c:pt>
                <c:pt idx="1673">
                  <c:v>All Others</c:v>
                </c:pt>
                <c:pt idx="1674">
                  <c:v>All Others</c:v>
                </c:pt>
                <c:pt idx="1675">
                  <c:v>All Others</c:v>
                </c:pt>
                <c:pt idx="1676">
                  <c:v>All Others</c:v>
                </c:pt>
                <c:pt idx="1677">
                  <c:v>All Others</c:v>
                </c:pt>
                <c:pt idx="1678">
                  <c:v>All Others</c:v>
                </c:pt>
                <c:pt idx="1679">
                  <c:v>All Others</c:v>
                </c:pt>
                <c:pt idx="1680">
                  <c:v>All Others</c:v>
                </c:pt>
                <c:pt idx="1681">
                  <c:v>All Others</c:v>
                </c:pt>
                <c:pt idx="1682">
                  <c:v>All Others</c:v>
                </c:pt>
                <c:pt idx="1683">
                  <c:v>Savencia: A</c:v>
                </c:pt>
                <c:pt idx="1684">
                  <c:v>All Others</c:v>
                </c:pt>
                <c:pt idx="1685">
                  <c:v>All Others</c:v>
                </c:pt>
                <c:pt idx="1686">
                  <c:v>All Others</c:v>
                </c:pt>
                <c:pt idx="1687">
                  <c:v>All Others</c:v>
                </c:pt>
                <c:pt idx="1688">
                  <c:v>All Others</c:v>
                </c:pt>
                <c:pt idx="1689">
                  <c:v>All Others</c:v>
                </c:pt>
                <c:pt idx="1690">
                  <c:v>All Others</c:v>
                </c:pt>
                <c:pt idx="1691">
                  <c:v>All Others</c:v>
                </c:pt>
                <c:pt idx="1692">
                  <c:v>All Others</c:v>
                </c:pt>
                <c:pt idx="1693">
                  <c:v>Lactalis: A</c:v>
                </c:pt>
                <c:pt idx="1694">
                  <c:v>All Others</c:v>
                </c:pt>
                <c:pt idx="1695">
                  <c:v>All Others</c:v>
                </c:pt>
                <c:pt idx="1696">
                  <c:v>All Others</c:v>
                </c:pt>
                <c:pt idx="1697">
                  <c:v>All Others</c:v>
                </c:pt>
                <c:pt idx="1698">
                  <c:v>All Others</c:v>
                </c:pt>
                <c:pt idx="1699">
                  <c:v>All Others</c:v>
                </c:pt>
                <c:pt idx="1700">
                  <c:v>All Others</c:v>
                </c:pt>
                <c:pt idx="1701">
                  <c:v>Soignon</c:v>
                </c:pt>
                <c:pt idx="1702">
                  <c:v>All Others</c:v>
                </c:pt>
                <c:pt idx="1703">
                  <c:v>Private Lab</c:v>
                </c:pt>
                <c:pt idx="1704">
                  <c:v>All Others</c:v>
                </c:pt>
                <c:pt idx="1705">
                  <c:v>Eurial Autr</c:v>
                </c:pt>
                <c:pt idx="1706">
                  <c:v>All Others</c:v>
                </c:pt>
                <c:pt idx="1707">
                  <c:v>Milleret: A</c:v>
                </c:pt>
                <c:pt idx="1708">
                  <c:v>Private Lab</c:v>
                </c:pt>
                <c:pt idx="1709">
                  <c:v>All Others</c:v>
                </c:pt>
                <c:pt idx="1710">
                  <c:v>All Others</c:v>
                </c:pt>
                <c:pt idx="1711">
                  <c:v>All Others</c:v>
                </c:pt>
                <c:pt idx="1712">
                  <c:v>All Others</c:v>
                </c:pt>
                <c:pt idx="1713">
                  <c:v>All Others</c:v>
                </c:pt>
                <c:pt idx="1714">
                  <c:v>All Others</c:v>
                </c:pt>
                <c:pt idx="1715">
                  <c:v>Societe</c:v>
                </c:pt>
                <c:pt idx="1716">
                  <c:v>All Others</c:v>
                </c:pt>
                <c:pt idx="1717">
                  <c:v>All Others</c:v>
                </c:pt>
                <c:pt idx="1718">
                  <c:v>All Others</c:v>
                </c:pt>
                <c:pt idx="1719">
                  <c:v>Milleret: A</c:v>
                </c:pt>
                <c:pt idx="1720">
                  <c:v>Lactalis: A</c:v>
                </c:pt>
                <c:pt idx="1721">
                  <c:v>All Others</c:v>
                </c:pt>
                <c:pt idx="1722">
                  <c:v>All Others</c:v>
                </c:pt>
                <c:pt idx="1723">
                  <c:v>All Others</c:v>
                </c:pt>
                <c:pt idx="1724">
                  <c:v>La Belle Et</c:v>
                </c:pt>
                <c:pt idx="1725">
                  <c:v>Pave D'Affi</c:v>
                </c:pt>
                <c:pt idx="1726">
                  <c:v>Lactalis: A</c:v>
                </c:pt>
                <c:pt idx="1727">
                  <c:v>All Others</c:v>
                </c:pt>
                <c:pt idx="1728">
                  <c:v>All Others</c:v>
                </c:pt>
                <c:pt idx="1729">
                  <c:v>All Others</c:v>
                </c:pt>
                <c:pt idx="1730">
                  <c:v>All Others</c:v>
                </c:pt>
                <c:pt idx="1731">
                  <c:v>All Others</c:v>
                </c:pt>
                <c:pt idx="1732">
                  <c:v>All Others</c:v>
                </c:pt>
                <c:pt idx="1733">
                  <c:v>All Others</c:v>
                </c:pt>
                <c:pt idx="1734">
                  <c:v>All Others</c:v>
                </c:pt>
                <c:pt idx="1735">
                  <c:v>All Others</c:v>
                </c:pt>
                <c:pt idx="1736">
                  <c:v>All Others</c:v>
                </c:pt>
                <c:pt idx="1737">
                  <c:v>All Others</c:v>
                </c:pt>
                <c:pt idx="1738">
                  <c:v>All Others</c:v>
                </c:pt>
                <c:pt idx="1739">
                  <c:v>All Others</c:v>
                </c:pt>
                <c:pt idx="1740">
                  <c:v>All Others</c:v>
                </c:pt>
                <c:pt idx="1741">
                  <c:v>All Others</c:v>
                </c:pt>
                <c:pt idx="1742">
                  <c:v>All Others</c:v>
                </c:pt>
                <c:pt idx="1743">
                  <c:v>All Others</c:v>
                </c:pt>
                <c:pt idx="1744">
                  <c:v>All Others</c:v>
                </c:pt>
                <c:pt idx="1745">
                  <c:v>Private Lab</c:v>
                </c:pt>
                <c:pt idx="1746">
                  <c:v>All Others</c:v>
                </c:pt>
                <c:pt idx="1747">
                  <c:v>All Others</c:v>
                </c:pt>
                <c:pt idx="1748">
                  <c:v>All Others</c:v>
                </c:pt>
                <c:pt idx="1749">
                  <c:v>All Others</c:v>
                </c:pt>
                <c:pt idx="1750">
                  <c:v>All Others</c:v>
                </c:pt>
                <c:pt idx="1751">
                  <c:v>All Others</c:v>
                </c:pt>
                <c:pt idx="1752">
                  <c:v>All Others</c:v>
                </c:pt>
                <c:pt idx="1753">
                  <c:v>All Others</c:v>
                </c:pt>
                <c:pt idx="1754">
                  <c:v>All Others</c:v>
                </c:pt>
                <c:pt idx="1755">
                  <c:v>Eurial Autr</c:v>
                </c:pt>
                <c:pt idx="1756">
                  <c:v>All Others</c:v>
                </c:pt>
                <c:pt idx="1757">
                  <c:v>All Others</c:v>
                </c:pt>
                <c:pt idx="1758">
                  <c:v>All Others</c:v>
                </c:pt>
                <c:pt idx="1759">
                  <c:v>All Others</c:v>
                </c:pt>
                <c:pt idx="1760">
                  <c:v>All Others</c:v>
                </c:pt>
                <c:pt idx="1761">
                  <c:v>Lactalis: A</c:v>
                </c:pt>
                <c:pt idx="1762">
                  <c:v>All Others</c:v>
                </c:pt>
                <c:pt idx="1763">
                  <c:v>All Others</c:v>
                </c:pt>
                <c:pt idx="1764">
                  <c:v>All Others</c:v>
                </c:pt>
                <c:pt idx="1765">
                  <c:v>All Others</c:v>
                </c:pt>
                <c:pt idx="1766">
                  <c:v>All Others</c:v>
                </c:pt>
                <c:pt idx="1767">
                  <c:v>All Others</c:v>
                </c:pt>
                <c:pt idx="1768">
                  <c:v>All Others</c:v>
                </c:pt>
                <c:pt idx="1769">
                  <c:v>All Others</c:v>
                </c:pt>
                <c:pt idx="1770">
                  <c:v>La Belle Et</c:v>
                </c:pt>
                <c:pt idx="1771">
                  <c:v>All Others</c:v>
                </c:pt>
                <c:pt idx="1772">
                  <c:v>All Others</c:v>
                </c:pt>
                <c:pt idx="1773">
                  <c:v>All Others</c:v>
                </c:pt>
                <c:pt idx="1774">
                  <c:v>All Others</c:v>
                </c:pt>
                <c:pt idx="1775">
                  <c:v>All Others</c:v>
                </c:pt>
                <c:pt idx="1776">
                  <c:v>All Others</c:v>
                </c:pt>
                <c:pt idx="1777">
                  <c:v>All Others</c:v>
                </c:pt>
                <c:pt idx="1778">
                  <c:v>Soignon</c:v>
                </c:pt>
                <c:pt idx="1779">
                  <c:v>All Others</c:v>
                </c:pt>
                <c:pt idx="1780">
                  <c:v>All Others</c:v>
                </c:pt>
                <c:pt idx="1781">
                  <c:v>All Others</c:v>
                </c:pt>
                <c:pt idx="1782">
                  <c:v>All Others</c:v>
                </c:pt>
                <c:pt idx="1783">
                  <c:v>Private Lab</c:v>
                </c:pt>
                <c:pt idx="1784">
                  <c:v>All Others</c:v>
                </c:pt>
                <c:pt idx="1785">
                  <c:v>All Others</c:v>
                </c:pt>
                <c:pt idx="1786">
                  <c:v>All Others</c:v>
                </c:pt>
                <c:pt idx="1787">
                  <c:v>All Others</c:v>
                </c:pt>
                <c:pt idx="1788">
                  <c:v>All Others</c:v>
                </c:pt>
                <c:pt idx="1789">
                  <c:v>Eurial Autr</c:v>
                </c:pt>
                <c:pt idx="1790">
                  <c:v>All Others</c:v>
                </c:pt>
                <c:pt idx="1791">
                  <c:v>All Others</c:v>
                </c:pt>
                <c:pt idx="1792">
                  <c:v>All Others</c:v>
                </c:pt>
                <c:pt idx="1793">
                  <c:v>All Others</c:v>
                </c:pt>
                <c:pt idx="1794">
                  <c:v>All Others</c:v>
                </c:pt>
                <c:pt idx="1795">
                  <c:v>Galbani</c:v>
                </c:pt>
                <c:pt idx="1796">
                  <c:v>Lactalis: A</c:v>
                </c:pt>
                <c:pt idx="1797">
                  <c:v>All Others</c:v>
                </c:pt>
                <c:pt idx="1798">
                  <c:v>All Others</c:v>
                </c:pt>
                <c:pt idx="1799">
                  <c:v>All Others</c:v>
                </c:pt>
                <c:pt idx="1800">
                  <c:v>All Others</c:v>
                </c:pt>
                <c:pt idx="1801">
                  <c:v>All Others</c:v>
                </c:pt>
                <c:pt idx="1802">
                  <c:v>Le Saint Am</c:v>
                </c:pt>
                <c:pt idx="1803">
                  <c:v>All Others</c:v>
                </c:pt>
                <c:pt idx="1804">
                  <c:v>Nurishh</c:v>
                </c:pt>
                <c:pt idx="1805">
                  <c:v>Savencia: A</c:v>
                </c:pt>
                <c:pt idx="1806">
                  <c:v>Eurial Autr</c:v>
                </c:pt>
                <c:pt idx="1807">
                  <c:v>All Others</c:v>
                </c:pt>
                <c:pt idx="1808">
                  <c:v>All Others</c:v>
                </c:pt>
                <c:pt idx="1809">
                  <c:v>All Others</c:v>
                </c:pt>
                <c:pt idx="1810">
                  <c:v>All Others</c:v>
                </c:pt>
                <c:pt idx="1811">
                  <c:v>All Others</c:v>
                </c:pt>
                <c:pt idx="1812">
                  <c:v>All Others</c:v>
                </c:pt>
                <c:pt idx="1813">
                  <c:v>Private Lab</c:v>
                </c:pt>
                <c:pt idx="1814">
                  <c:v>Private Lab</c:v>
                </c:pt>
                <c:pt idx="1815">
                  <c:v>All Others</c:v>
                </c:pt>
                <c:pt idx="1816">
                  <c:v>All Others</c:v>
                </c:pt>
                <c:pt idx="1817">
                  <c:v>All Others</c:v>
                </c:pt>
                <c:pt idx="1818">
                  <c:v>Le Saint Am</c:v>
                </c:pt>
                <c:pt idx="1819">
                  <c:v>All Others</c:v>
                </c:pt>
                <c:pt idx="1820">
                  <c:v>All Others</c:v>
                </c:pt>
                <c:pt idx="1821">
                  <c:v>All Others</c:v>
                </c:pt>
                <c:pt idx="1822">
                  <c:v>All Others</c:v>
                </c:pt>
                <c:pt idx="1823">
                  <c:v>All Others</c:v>
                </c:pt>
                <c:pt idx="1824">
                  <c:v>Societe</c:v>
                </c:pt>
                <c:pt idx="1825">
                  <c:v>All Others</c:v>
                </c:pt>
                <c:pt idx="1826">
                  <c:v>All Others</c:v>
                </c:pt>
                <c:pt idx="1827">
                  <c:v>All Others</c:v>
                </c:pt>
                <c:pt idx="1828">
                  <c:v>All Others</c:v>
                </c:pt>
                <c:pt idx="1829">
                  <c:v>Le Saint Am</c:v>
                </c:pt>
                <c:pt idx="1830">
                  <c:v>All Others</c:v>
                </c:pt>
                <c:pt idx="1831">
                  <c:v>Juraflore</c:v>
                </c:pt>
                <c:pt idx="1832">
                  <c:v>All Others</c:v>
                </c:pt>
                <c:pt idx="1833">
                  <c:v>All Others</c:v>
                </c:pt>
                <c:pt idx="1834">
                  <c:v>All Others</c:v>
                </c:pt>
                <c:pt idx="1835">
                  <c:v>All Others</c:v>
                </c:pt>
                <c:pt idx="1836">
                  <c:v>All Others</c:v>
                </c:pt>
                <c:pt idx="1837">
                  <c:v>All Others</c:v>
                </c:pt>
                <c:pt idx="1838">
                  <c:v>All Others</c:v>
                </c:pt>
                <c:pt idx="1839">
                  <c:v>Etoile Du V</c:v>
                </c:pt>
                <c:pt idx="1840">
                  <c:v>All Others</c:v>
                </c:pt>
                <c:pt idx="1841">
                  <c:v>All Others</c:v>
                </c:pt>
                <c:pt idx="1842">
                  <c:v>All Others</c:v>
                </c:pt>
                <c:pt idx="1843">
                  <c:v>All Others</c:v>
                </c:pt>
                <c:pt idx="1844">
                  <c:v>All Others</c:v>
                </c:pt>
                <c:pt idx="1845">
                  <c:v>All Others</c:v>
                </c:pt>
                <c:pt idx="1846">
                  <c:v>All Others</c:v>
                </c:pt>
                <c:pt idx="1847">
                  <c:v>All Others</c:v>
                </c:pt>
                <c:pt idx="1848">
                  <c:v>All Others</c:v>
                </c:pt>
                <c:pt idx="1849">
                  <c:v>All Others</c:v>
                </c:pt>
                <c:pt idx="1850">
                  <c:v>All Others</c:v>
                </c:pt>
                <c:pt idx="1851">
                  <c:v>All Others</c:v>
                </c:pt>
                <c:pt idx="1852">
                  <c:v>All Others</c:v>
                </c:pt>
                <c:pt idx="1853">
                  <c:v>All Others</c:v>
                </c:pt>
                <c:pt idx="1854">
                  <c:v>All Others</c:v>
                </c:pt>
                <c:pt idx="1855">
                  <c:v>All Others</c:v>
                </c:pt>
                <c:pt idx="1856">
                  <c:v>All Others</c:v>
                </c:pt>
                <c:pt idx="1857">
                  <c:v>All Others</c:v>
                </c:pt>
                <c:pt idx="1858">
                  <c:v>All Others</c:v>
                </c:pt>
                <c:pt idx="1859">
                  <c:v>All Others</c:v>
                </c:pt>
                <c:pt idx="1860">
                  <c:v>All Others</c:v>
                </c:pt>
                <c:pt idx="1861">
                  <c:v>All Others</c:v>
                </c:pt>
                <c:pt idx="1862">
                  <c:v>All Others</c:v>
                </c:pt>
                <c:pt idx="1863">
                  <c:v>All Others</c:v>
                </c:pt>
                <c:pt idx="1864">
                  <c:v>All Others</c:v>
                </c:pt>
                <c:pt idx="1865">
                  <c:v>All Others</c:v>
                </c:pt>
                <c:pt idx="1866">
                  <c:v>Fol Epi</c:v>
                </c:pt>
                <c:pt idx="1867">
                  <c:v>Triballat R</c:v>
                </c:pt>
                <c:pt idx="1868">
                  <c:v>All Others</c:v>
                </c:pt>
                <c:pt idx="1869">
                  <c:v>All Others</c:v>
                </c:pt>
                <c:pt idx="1870">
                  <c:v>Private Lab</c:v>
                </c:pt>
                <c:pt idx="1871">
                  <c:v>Violife</c:v>
                </c:pt>
                <c:pt idx="1872">
                  <c:v>All Others</c:v>
                </c:pt>
                <c:pt idx="1873">
                  <c:v>Apericube</c:v>
                </c:pt>
                <c:pt idx="1874">
                  <c:v>All Others</c:v>
                </c:pt>
                <c:pt idx="1875">
                  <c:v>All Others</c:v>
                </c:pt>
                <c:pt idx="1876">
                  <c:v>All Others</c:v>
                </c:pt>
                <c:pt idx="1877">
                  <c:v>All Others</c:v>
                </c:pt>
                <c:pt idx="1878">
                  <c:v>All Others</c:v>
                </c:pt>
                <c:pt idx="1879">
                  <c:v>All Others</c:v>
                </c:pt>
                <c:pt idx="1880">
                  <c:v>All Others</c:v>
                </c:pt>
                <c:pt idx="1881">
                  <c:v>All Others</c:v>
                </c:pt>
                <c:pt idx="1882">
                  <c:v>Islos</c:v>
                </c:pt>
                <c:pt idx="1883">
                  <c:v>All Others</c:v>
                </c:pt>
                <c:pt idx="1884">
                  <c:v>All Others</c:v>
                </c:pt>
                <c:pt idx="1885">
                  <c:v>All Others</c:v>
                </c:pt>
                <c:pt idx="1886">
                  <c:v>President</c:v>
                </c:pt>
                <c:pt idx="1887">
                  <c:v>All Others</c:v>
                </c:pt>
                <c:pt idx="1888">
                  <c:v>All Others</c:v>
                </c:pt>
                <c:pt idx="1889">
                  <c:v>All Others</c:v>
                </c:pt>
                <c:pt idx="1890">
                  <c:v>All Others</c:v>
                </c:pt>
                <c:pt idx="1891">
                  <c:v>All Others</c:v>
                </c:pt>
                <c:pt idx="1892">
                  <c:v>All Others</c:v>
                </c:pt>
                <c:pt idx="1893">
                  <c:v>All Others</c:v>
                </c:pt>
                <c:pt idx="1894">
                  <c:v>All Others</c:v>
                </c:pt>
                <c:pt idx="1895">
                  <c:v>All Others</c:v>
                </c:pt>
                <c:pt idx="1896">
                  <c:v>All Others</c:v>
                </c:pt>
                <c:pt idx="1897">
                  <c:v>All Others</c:v>
                </c:pt>
                <c:pt idx="1898">
                  <c:v>All Others</c:v>
                </c:pt>
                <c:pt idx="1899">
                  <c:v>All Others</c:v>
                </c:pt>
                <c:pt idx="1900">
                  <c:v>All Others</c:v>
                </c:pt>
                <c:pt idx="1901">
                  <c:v>All Others</c:v>
                </c:pt>
                <c:pt idx="1902">
                  <c:v>All Others</c:v>
                </c:pt>
                <c:pt idx="1903">
                  <c:v>All Others</c:v>
                </c:pt>
                <c:pt idx="1904">
                  <c:v>All Others</c:v>
                </c:pt>
                <c:pt idx="1905">
                  <c:v>All Others</c:v>
                </c:pt>
                <c:pt idx="1906">
                  <c:v>All Others</c:v>
                </c:pt>
                <c:pt idx="1907">
                  <c:v>All Others</c:v>
                </c:pt>
                <c:pt idx="1908">
                  <c:v>All Others</c:v>
                </c:pt>
                <c:pt idx="1909">
                  <c:v>All Others</c:v>
                </c:pt>
                <c:pt idx="1910">
                  <c:v>All Others</c:v>
                </c:pt>
                <c:pt idx="1911">
                  <c:v>All Others</c:v>
                </c:pt>
                <c:pt idx="1912">
                  <c:v>All Others</c:v>
                </c:pt>
                <c:pt idx="1913">
                  <c:v>All Others</c:v>
                </c:pt>
                <c:pt idx="1914">
                  <c:v>Richesmonts</c:v>
                </c:pt>
                <c:pt idx="1915">
                  <c:v>All Others</c:v>
                </c:pt>
                <c:pt idx="1916">
                  <c:v>All Others</c:v>
                </c:pt>
                <c:pt idx="1917">
                  <c:v>All Others</c:v>
                </c:pt>
                <c:pt idx="1918">
                  <c:v>All Others</c:v>
                </c:pt>
                <c:pt idx="1919">
                  <c:v>All Others</c:v>
                </c:pt>
                <c:pt idx="1920">
                  <c:v>All Others</c:v>
                </c:pt>
                <c:pt idx="1921">
                  <c:v>All Others</c:v>
                </c:pt>
                <c:pt idx="1922">
                  <c:v>All Others</c:v>
                </c:pt>
                <c:pt idx="1923">
                  <c:v>All Others</c:v>
                </c:pt>
                <c:pt idx="1924">
                  <c:v>All Others</c:v>
                </c:pt>
                <c:pt idx="1925">
                  <c:v>All Others</c:v>
                </c:pt>
                <c:pt idx="1926">
                  <c:v>All Others</c:v>
                </c:pt>
                <c:pt idx="1927">
                  <c:v>All Others</c:v>
                </c:pt>
                <c:pt idx="1928">
                  <c:v>All Others</c:v>
                </c:pt>
                <c:pt idx="1929">
                  <c:v>Private Lab</c:v>
                </c:pt>
                <c:pt idx="1930">
                  <c:v>Pave D'Affi</c:v>
                </c:pt>
                <c:pt idx="1931">
                  <c:v>All Others</c:v>
                </c:pt>
                <c:pt idx="1932">
                  <c:v>All Others</c:v>
                </c:pt>
                <c:pt idx="1933">
                  <c:v>All Others</c:v>
                </c:pt>
                <c:pt idx="1934">
                  <c:v>All Others</c:v>
                </c:pt>
                <c:pt idx="1935">
                  <c:v>All Others</c:v>
                </c:pt>
                <c:pt idx="1936">
                  <c:v>All Others</c:v>
                </c:pt>
                <c:pt idx="1937">
                  <c:v>Boursin</c:v>
                </c:pt>
                <c:pt idx="1938">
                  <c:v>All Others</c:v>
                </c:pt>
                <c:pt idx="1939">
                  <c:v>All Others</c:v>
                </c:pt>
                <c:pt idx="1940">
                  <c:v>All Others</c:v>
                </c:pt>
                <c:pt idx="1941">
                  <c:v>All Others</c:v>
                </c:pt>
                <c:pt idx="1942">
                  <c:v>All Others</c:v>
                </c:pt>
                <c:pt idx="1943">
                  <c:v>All Others</c:v>
                </c:pt>
                <c:pt idx="1944">
                  <c:v>All Others</c:v>
                </c:pt>
                <c:pt idx="1945">
                  <c:v>All Others</c:v>
                </c:pt>
                <c:pt idx="1946">
                  <c:v>All Others</c:v>
                </c:pt>
                <c:pt idx="1947">
                  <c:v>All Others</c:v>
                </c:pt>
                <c:pt idx="1948">
                  <c:v>All Others</c:v>
                </c:pt>
                <c:pt idx="1949">
                  <c:v>All Others</c:v>
                </c:pt>
                <c:pt idx="1950">
                  <c:v>Private Lab</c:v>
                </c:pt>
                <c:pt idx="1951">
                  <c:v>Eurial Autr</c:v>
                </c:pt>
                <c:pt idx="1952">
                  <c:v>All Others</c:v>
                </c:pt>
                <c:pt idx="1953">
                  <c:v>All Others</c:v>
                </c:pt>
                <c:pt idx="1954">
                  <c:v>Caprice Des</c:v>
                </c:pt>
                <c:pt idx="1955">
                  <c:v>Apericube</c:v>
                </c:pt>
                <c:pt idx="1956">
                  <c:v>All Others</c:v>
                </c:pt>
                <c:pt idx="1957">
                  <c:v>All Others</c:v>
                </c:pt>
                <c:pt idx="1958">
                  <c:v>All Others</c:v>
                </c:pt>
                <c:pt idx="1959">
                  <c:v>Private Lab</c:v>
                </c:pt>
                <c:pt idx="1960">
                  <c:v>All Others</c:v>
                </c:pt>
                <c:pt idx="1961">
                  <c:v>All Others</c:v>
                </c:pt>
                <c:pt idx="1962">
                  <c:v>All Others</c:v>
                </c:pt>
                <c:pt idx="1963">
                  <c:v>All Others</c:v>
                </c:pt>
                <c:pt idx="1964">
                  <c:v>All Others</c:v>
                </c:pt>
                <c:pt idx="1965">
                  <c:v>Private Lab</c:v>
                </c:pt>
                <c:pt idx="1966">
                  <c:v>All Others</c:v>
                </c:pt>
                <c:pt idx="1967">
                  <c:v>All Others</c:v>
                </c:pt>
                <c:pt idx="1968">
                  <c:v>All Others</c:v>
                </c:pt>
                <c:pt idx="1969">
                  <c:v>Paysan Bret</c:v>
                </c:pt>
                <c:pt idx="1970">
                  <c:v>Private Lab</c:v>
                </c:pt>
                <c:pt idx="1971">
                  <c:v>All Others</c:v>
                </c:pt>
                <c:pt idx="1972">
                  <c:v>All Others</c:v>
                </c:pt>
                <c:pt idx="1973">
                  <c:v>All Others</c:v>
                </c:pt>
                <c:pt idx="1974">
                  <c:v>All Others</c:v>
                </c:pt>
                <c:pt idx="1975">
                  <c:v>Private Lab</c:v>
                </c:pt>
                <c:pt idx="1976">
                  <c:v>All Others</c:v>
                </c:pt>
                <c:pt idx="1977">
                  <c:v>All Others</c:v>
                </c:pt>
                <c:pt idx="1978">
                  <c:v>Savencia: A</c:v>
                </c:pt>
              </c:strCache>
            </c:strRef>
          </c:cat>
          <c:val>
            <c:numRef>
              <c:f>Sheet1!$C$2:$C$1980</c:f>
              <c:numCache>
                <c:formatCode>General</c:formatCode>
                <c:ptCount val="1979"/>
                <c:pt idx="0">
                  <c:v>0.028850707852201715</c:v>
                </c:pt>
                <c:pt idx="1">
                  <c:v>0.05256532737134888</c:v>
                </c:pt>
                <c:pt idx="2">
                  <c:v>0.06304664819184738</c:v>
                </c:pt>
                <c:pt idx="3">
                  <c:v>0.07345469194112249</c:v>
                </c:pt>
                <c:pt idx="4">
                  <c:v>0.08361040392500166</c:v>
                </c:pt>
                <c:pt idx="5">
                  <c:v>0.09326358366931391</c:v>
                </c:pt>
                <c:pt idx="6">
                  <c:v>0.10236034120219388</c:v>
                </c:pt>
                <c:pt idx="7">
                  <c:v>0.11085039553825046</c:v>
                </c:pt>
                <c:pt idx="8">
                  <c:v>0.11883215112576431</c:v>
                </c:pt>
                <c:pt idx="9">
                  <c:v>0.12652762949000299</c:v>
                </c:pt>
                <c:pt idx="10">
                  <c:v>0.14172783018899787</c:v>
                </c:pt>
                <c:pt idx="11">
                  <c:v>0.1490389722601561</c:v>
                </c:pt>
                <c:pt idx="12">
                  <c:v>0.15616051903582212</c:v>
                </c:pt>
                <c:pt idx="13">
                  <c:v>0.16324724379178202</c:v>
                </c:pt>
                <c:pt idx="14">
                  <c:v>0.16999792840678876</c:v>
                </c:pt>
                <c:pt idx="15">
                  <c:v>0.1767264235477191</c:v>
                </c:pt>
                <c:pt idx="16">
                  <c:v>0.1833404541412614</c:v>
                </c:pt>
                <c:pt idx="17">
                  <c:v>0.18948425194050844</c:v>
                </c:pt>
                <c:pt idx="18">
                  <c:v>0.20134935566814618</c:v>
                </c:pt>
                <c:pt idx="19">
                  <c:v>0.20713389208881683</c:v>
                </c:pt>
                <c:pt idx="20">
                  <c:v>0.21282876126225928</c:v>
                </c:pt>
                <c:pt idx="21">
                  <c:v>0.21830015307458206</c:v>
                </c:pt>
                <c:pt idx="22">
                  <c:v>0.22362330101305608</c:v>
                </c:pt>
                <c:pt idx="23">
                  <c:v>0.22879945980707944</c:v>
                </c:pt>
                <c:pt idx="24">
                  <c:v>0.23381675324616477</c:v>
                </c:pt>
                <c:pt idx="25">
                  <c:v>0.23862162799316328</c:v>
                </c:pt>
                <c:pt idx="26">
                  <c:v>0.24339752810920104</c:v>
                </c:pt>
                <c:pt idx="27">
                  <c:v>0.2480841041705463</c:v>
                </c:pt>
                <c:pt idx="28">
                  <c:v>0.25728456924146254</c:v>
                </c:pt>
                <c:pt idx="29">
                  <c:v>0.26180607843689013</c:v>
                </c:pt>
                <c:pt idx="30">
                  <c:v>0.26622527472382146</c:v>
                </c:pt>
                <c:pt idx="31">
                  <c:v>0.27059950404481586</c:v>
                </c:pt>
                <c:pt idx="32">
                  <c:v>0.2748111956321462</c:v>
                </c:pt>
                <c:pt idx="33">
                  <c:v>0.2790166310600039</c:v>
                </c:pt>
                <c:pt idx="34">
                  <c:v>0.28318965774560406</c:v>
                </c:pt>
                <c:pt idx="35">
                  <c:v>0.28731948151861963</c:v>
                </c:pt>
                <c:pt idx="36">
                  <c:v>0.29541896526152034</c:v>
                </c:pt>
                <c:pt idx="37">
                  <c:v>0.2994123951398979</c:v>
                </c:pt>
                <c:pt idx="38">
                  <c:v>0.3033859570121795</c:v>
                </c:pt>
                <c:pt idx="39">
                  <c:v>0.3073340155257724</c:v>
                </c:pt>
                <c:pt idx="40">
                  <c:v>0.31126958139387745</c:v>
                </c:pt>
                <c:pt idx="41">
                  <c:v>0.31520336790705217</c:v>
                </c:pt>
                <c:pt idx="42">
                  <c:v>0.3191046713560189</c:v>
                </c:pt>
                <c:pt idx="43">
                  <c:v>0.3228224105171751</c:v>
                </c:pt>
                <c:pt idx="44">
                  <c:v>0.3302135645398276</c:v>
                </c:pt>
                <c:pt idx="45">
                  <c:v>0.33385372688633524</c:v>
                </c:pt>
                <c:pt idx="46">
                  <c:v>0.3374078572033656</c:v>
                </c:pt>
                <c:pt idx="47">
                  <c:v>0.340909271398159</c:v>
                </c:pt>
                <c:pt idx="48">
                  <c:v>0.3443808628173812</c:v>
                </c:pt>
                <c:pt idx="49">
                  <c:v>0.34781394890847256</c:v>
                </c:pt>
                <c:pt idx="50">
                  <c:v>0.35796638416871457</c:v>
                </c:pt>
                <c:pt idx="51">
                  <c:v>0.36462721354567734</c:v>
                </c:pt>
                <c:pt idx="52">
                  <c:v>0.36794790736023325</c:v>
                </c:pt>
                <c:pt idx="53">
                  <c:v>0.3712542614102397</c:v>
                </c:pt>
                <c:pt idx="54">
                  <c:v>0.3778484742742995</c:v>
                </c:pt>
                <c:pt idx="55">
                  <c:v>0.384204220788594</c:v>
                </c:pt>
                <c:pt idx="56">
                  <c:v>0.3904211448292239</c:v>
                </c:pt>
                <c:pt idx="57">
                  <c:v>0.39658794745806214</c:v>
                </c:pt>
                <c:pt idx="58">
                  <c:v>0.39964653179886395</c:v>
                </c:pt>
                <c:pt idx="59">
                  <c:v>0.40269297980235197</c:v>
                </c:pt>
                <c:pt idx="60">
                  <c:v>0.4056983583704201</c:v>
                </c:pt>
                <c:pt idx="61">
                  <c:v>0.41165618079034777</c:v>
                </c:pt>
                <c:pt idx="62">
                  <c:v>0.4145354175210548</c:v>
                </c:pt>
                <c:pt idx="63">
                  <c:v>0.4174041398817188</c:v>
                </c:pt>
                <c:pt idx="64">
                  <c:v>0.42024198147198805</c:v>
                </c:pt>
                <c:pt idx="65">
                  <c:v>0.42294725674806527</c:v>
                </c:pt>
                <c:pt idx="66">
                  <c:v>0.4255688739251988</c:v>
                </c:pt>
                <c:pt idx="67">
                  <c:v>0.42817441351570723</c:v>
                </c:pt>
                <c:pt idx="68">
                  <c:v>0.43077728407382004</c:v>
                </c:pt>
                <c:pt idx="69">
                  <c:v>0.4333724732397642</c:v>
                </c:pt>
                <c:pt idx="70">
                  <c:v>0.43595574466236636</c:v>
                </c:pt>
                <c:pt idx="71">
                  <c:v>0.438532139118616</c:v>
                </c:pt>
                <c:pt idx="72">
                  <c:v>0.4410935948628335</c:v>
                </c:pt>
                <c:pt idx="73">
                  <c:v>0.44365061533536343</c:v>
                </c:pt>
                <c:pt idx="74">
                  <c:v>0.4461707065422992</c:v>
                </c:pt>
                <c:pt idx="75">
                  <c:v>0.44867519232558883</c:v>
                </c:pt>
                <c:pt idx="76">
                  <c:v>0.4511541354032748</c:v>
                </c:pt>
                <c:pt idx="77">
                  <c:v>0.45361466412477724</c:v>
                </c:pt>
                <c:pt idx="78">
                  <c:v>0.4560693345278357</c:v>
                </c:pt>
                <c:pt idx="79">
                  <c:v>0.4585217490411053</c:v>
                </c:pt>
                <c:pt idx="80">
                  <c:v>0.46097016547063085</c:v>
                </c:pt>
                <c:pt idx="81">
                  <c:v>0.4634145663288946</c:v>
                </c:pt>
                <c:pt idx="82">
                  <c:v>0.4658551592801698</c:v>
                </c:pt>
                <c:pt idx="83">
                  <c:v>0.47068763807392594</c:v>
                </c:pt>
                <c:pt idx="84">
                  <c:v>0.47309635565223473</c:v>
                </c:pt>
                <c:pt idx="85">
                  <c:v>0.4802863092254327</c:v>
                </c:pt>
                <c:pt idx="86">
                  <c:v>0.4826583838962503</c:v>
                </c:pt>
                <c:pt idx="87">
                  <c:v>0.48502822016479685</c:v>
                </c:pt>
                <c:pt idx="88">
                  <c:v>0.48739460920640826</c:v>
                </c:pt>
                <c:pt idx="89">
                  <c:v>0.48975854343771646</c:v>
                </c:pt>
                <c:pt idx="90">
                  <c:v>0.492115594144853</c:v>
                </c:pt>
                <c:pt idx="91">
                  <c:v>0.4944621654569819</c:v>
                </c:pt>
                <c:pt idx="92">
                  <c:v>0.4991324890565246</c:v>
                </c:pt>
                <c:pt idx="93">
                  <c:v>0.5014306658492389</c:v>
                </c:pt>
                <c:pt idx="94">
                  <c:v>0.5036785988175374</c:v>
                </c:pt>
                <c:pt idx="95">
                  <c:v>0.5059192263752986</c:v>
                </c:pt>
                <c:pt idx="96">
                  <c:v>0.5081517419107667</c:v>
                </c:pt>
                <c:pt idx="97">
                  <c:v>0.5103807096660727</c:v>
                </c:pt>
                <c:pt idx="98">
                  <c:v>0.5125983170926648</c:v>
                </c:pt>
                <c:pt idx="99">
                  <c:v>0.5147976238319386</c:v>
                </c:pt>
                <c:pt idx="100">
                  <c:v>0.5169847199119482</c:v>
                </c:pt>
                <c:pt idx="101">
                  <c:v>0.5191683141165297</c:v>
                </c:pt>
                <c:pt idx="102">
                  <c:v>0.523466389669632</c:v>
                </c:pt>
                <c:pt idx="103">
                  <c:v>0.525593840198499</c:v>
                </c:pt>
                <c:pt idx="104">
                  <c:v>0.5277044393180808</c:v>
                </c:pt>
                <c:pt idx="105">
                  <c:v>0.5297986526335371</c:v>
                </c:pt>
                <c:pt idx="106">
                  <c:v>0.5318902144041157</c:v>
                </c:pt>
                <c:pt idx="107">
                  <c:v>0.5339732794270108</c:v>
                </c:pt>
                <c:pt idx="108">
                  <c:v>0.5360558985182035</c:v>
                </c:pt>
                <c:pt idx="109">
                  <c:v>0.5381366726762742</c:v>
                </c:pt>
                <c:pt idx="110">
                  <c:v>0.5401968749556597</c:v>
                </c:pt>
                <c:pt idx="111">
                  <c:v>0.5422532387249006</c:v>
                </c:pt>
                <c:pt idx="112">
                  <c:v>0.5442882852100126</c:v>
                </c:pt>
                <c:pt idx="113">
                  <c:v>0.5463022177033894</c:v>
                </c:pt>
                <c:pt idx="114">
                  <c:v>0.5483096251667082</c:v>
                </c:pt>
                <c:pt idx="115">
                  <c:v>0.550313716559475</c:v>
                </c:pt>
                <c:pt idx="116">
                  <c:v>0.5522991706302071</c:v>
                </c:pt>
                <c:pt idx="117">
                  <c:v>0.5542807774470356</c:v>
                </c:pt>
                <c:pt idx="118">
                  <c:v>0.5582145530305118</c:v>
                </c:pt>
                <c:pt idx="119">
                  <c:v>0.5601660747590029</c:v>
                </c:pt>
                <c:pt idx="120">
                  <c:v>0.5640270607358128</c:v>
                </c:pt>
                <c:pt idx="121">
                  <c:v>0.5659440970793143</c:v>
                </c:pt>
                <c:pt idx="122">
                  <c:v>0.5678515721224897</c:v>
                </c:pt>
                <c:pt idx="123">
                  <c:v>0.5697538861619912</c:v>
                </c:pt>
                <c:pt idx="124">
                  <c:v>0.5716445469568565</c:v>
                </c:pt>
                <c:pt idx="125">
                  <c:v>0.5753717184478954</c:v>
                </c:pt>
                <c:pt idx="126">
                  <c:v>0.5771987727688493</c:v>
                </c:pt>
                <c:pt idx="127">
                  <c:v>0.579017468056322</c:v>
                </c:pt>
                <c:pt idx="128">
                  <c:v>0.5808272228503485</c:v>
                </c:pt>
                <c:pt idx="129">
                  <c:v>0.5826338473786989</c:v>
                </c:pt>
                <c:pt idx="130">
                  <c:v>0.5844170692364296</c:v>
                </c:pt>
                <c:pt idx="131">
                  <c:v>0.5861892236813685</c:v>
                </c:pt>
                <c:pt idx="132">
                  <c:v>0.5879548793275261</c:v>
                </c:pt>
                <c:pt idx="133">
                  <c:v>0.5897120404119399</c:v>
                </c:pt>
                <c:pt idx="134">
                  <c:v>0.591457948278686</c:v>
                </c:pt>
                <c:pt idx="135">
                  <c:v>0.5932014953305368</c:v>
                </c:pt>
                <c:pt idx="136">
                  <c:v>0.5949414727428282</c:v>
                </c:pt>
                <c:pt idx="137">
                  <c:v>0.5966781515720853</c:v>
                </c:pt>
                <c:pt idx="138">
                  <c:v>0.5984042635687461</c:v>
                </c:pt>
                <c:pt idx="139">
                  <c:v>0.6017972332941347</c:v>
                </c:pt>
                <c:pt idx="140">
                  <c:v>0.6034790559661711</c:v>
                </c:pt>
                <c:pt idx="141">
                  <c:v>0.6051545853177598</c:v>
                </c:pt>
                <c:pt idx="142">
                  <c:v>0.6068175455159704</c:v>
                </c:pt>
                <c:pt idx="143">
                  <c:v>0.6084761972269972</c:v>
                </c:pt>
                <c:pt idx="144">
                  <c:v>0.6101244329352681</c:v>
                </c:pt>
                <c:pt idx="145">
                  <c:v>0.6117663490918146</c:v>
                </c:pt>
                <c:pt idx="146">
                  <c:v>0.6134063547370476</c:v>
                </c:pt>
                <c:pt idx="147">
                  <c:v>0.6150424038313913</c:v>
                </c:pt>
                <c:pt idx="148">
                  <c:v>0.6166739936087104</c:v>
                </c:pt>
                <c:pt idx="149">
                  <c:v>0.6183028006847687</c:v>
                </c:pt>
                <c:pt idx="150">
                  <c:v>0.6199256816782518</c:v>
                </c:pt>
                <c:pt idx="151">
                  <c:v>0.6231587739586129</c:v>
                </c:pt>
                <c:pt idx="152">
                  <c:v>0.6247714160104573</c:v>
                </c:pt>
                <c:pt idx="153">
                  <c:v>0.6263812382000655</c:v>
                </c:pt>
                <c:pt idx="154">
                  <c:v>0.6279898624947085</c:v>
                </c:pt>
                <c:pt idx="155">
                  <c:v>0.6295920907297368</c:v>
                </c:pt>
                <c:pt idx="156">
                  <c:v>0.6311849390974356</c:v>
                </c:pt>
                <c:pt idx="157">
                  <c:v>0.6327737565922945</c:v>
                </c:pt>
                <c:pt idx="158">
                  <c:v>0.63435957934974</c:v>
                </c:pt>
                <c:pt idx="159">
                  <c:v>0.6375085173228414</c:v>
                </c:pt>
                <c:pt idx="160">
                  <c:v>0.6390739977252722</c:v>
                </c:pt>
                <c:pt idx="161">
                  <c:v>0.6406271559855131</c:v>
                </c:pt>
                <c:pt idx="162">
                  <c:v>0.642174580525874</c:v>
                </c:pt>
                <c:pt idx="163">
                  <c:v>0.6437145597555557</c:v>
                </c:pt>
                <c:pt idx="164">
                  <c:v>0.6452476357876082</c:v>
                </c:pt>
                <c:pt idx="165">
                  <c:v>0.6467790330179575</c:v>
                </c:pt>
                <c:pt idx="166">
                  <c:v>0.6483055184417605</c:v>
                </c:pt>
                <c:pt idx="167">
                  <c:v>0.6498226677170286</c:v>
                </c:pt>
                <c:pt idx="168">
                  <c:v>0.6513353052127188</c:v>
                </c:pt>
                <c:pt idx="169">
                  <c:v>0.6528465196616526</c:v>
                </c:pt>
                <c:pt idx="170">
                  <c:v>0.6543407493589785</c:v>
                </c:pt>
                <c:pt idx="171">
                  <c:v>0.6558250570759248</c:v>
                </c:pt>
                <c:pt idx="172">
                  <c:v>0.6573085035326222</c:v>
                </c:pt>
                <c:pt idx="173">
                  <c:v>0.658788793492367</c:v>
                </c:pt>
                <c:pt idx="174">
                  <c:v>0.6602636951107071</c:v>
                </c:pt>
                <c:pt idx="175">
                  <c:v>0.6617244886741079</c:v>
                </c:pt>
                <c:pt idx="176">
                  <c:v>0.6646299697970681</c:v>
                </c:pt>
                <c:pt idx="177">
                  <c:v>0.6660728648860588</c:v>
                </c:pt>
                <c:pt idx="178">
                  <c:v>0.667504860879616</c:v>
                </c:pt>
                <c:pt idx="179">
                  <c:v>0.6689076833216981</c:v>
                </c:pt>
                <c:pt idx="180">
                  <c:v>0.6716902271949237</c:v>
                </c:pt>
                <c:pt idx="181">
                  <c:v>0.6730727990914592</c:v>
                </c:pt>
                <c:pt idx="182">
                  <c:v>0.6744509051131511</c:v>
                </c:pt>
                <c:pt idx="183">
                  <c:v>0.6758273629362956</c:v>
                </c:pt>
                <c:pt idx="184">
                  <c:v>0.677197638921918</c:v>
                </c:pt>
                <c:pt idx="185">
                  <c:v>0.6785519313163231</c:v>
                </c:pt>
                <c:pt idx="186">
                  <c:v>0.6798936589292297</c:v>
                </c:pt>
                <c:pt idx="187">
                  <c:v>0.6812296375206782</c:v>
                </c:pt>
                <c:pt idx="188">
                  <c:v>0.6825544962367818</c:v>
                </c:pt>
                <c:pt idx="189">
                  <c:v>0.6838615745192199</c:v>
                </c:pt>
                <c:pt idx="190">
                  <c:v>0.6851619091776284</c:v>
                </c:pt>
                <c:pt idx="191">
                  <c:v>0.6864571374808559</c:v>
                </c:pt>
                <c:pt idx="192">
                  <c:v>0.6877414841761677</c:v>
                </c:pt>
                <c:pt idx="193">
                  <c:v>0.6890187571705523</c:v>
                </c:pt>
                <c:pt idx="194">
                  <c:v>0.6902849911693615</c:v>
                </c:pt>
                <c:pt idx="195">
                  <c:v>0.6915407479591028</c:v>
                </c:pt>
                <c:pt idx="196">
                  <c:v>0.6927937963695336</c:v>
                </c:pt>
                <c:pt idx="197">
                  <c:v>0.6940443965274805</c:v>
                </c:pt>
                <c:pt idx="198">
                  <c:v>0.695291326492641</c:v>
                </c:pt>
                <c:pt idx="199">
                  <c:v>0.696536184186949</c:v>
                </c:pt>
                <c:pt idx="200">
                  <c:v>0.6977656178906073</c:v>
                </c:pt>
                <c:pt idx="201">
                  <c:v>0.6989904348895816</c:v>
                </c:pt>
                <c:pt idx="202">
                  <c:v>0.7002138375855583</c:v>
                </c:pt>
                <c:pt idx="203">
                  <c:v>0.7014360620600271</c:v>
                </c:pt>
                <c:pt idx="204">
                  <c:v>0.7026560678056821</c:v>
                </c:pt>
                <c:pt idx="205">
                  <c:v>0.7038577160295864</c:v>
                </c:pt>
                <c:pt idx="206">
                  <c:v>0.7050533922661812</c:v>
                </c:pt>
                <c:pt idx="207">
                  <c:v>0.7062461305997952</c:v>
                </c:pt>
                <c:pt idx="208">
                  <c:v>0.7074383574235152</c:v>
                </c:pt>
                <c:pt idx="209">
                  <c:v>0.708628835495461</c:v>
                </c:pt>
                <c:pt idx="210">
                  <c:v>0.7098175779312706</c:v>
                </c:pt>
                <c:pt idx="211">
                  <c:v>0.7110058591337999</c:v>
                </c:pt>
                <c:pt idx="212">
                  <c:v>0.7121913335897313</c:v>
                </c:pt>
                <c:pt idx="213">
                  <c:v>0.7133674697111879</c:v>
                </c:pt>
                <c:pt idx="214">
                  <c:v>0.7145412603193272</c:v>
                </c:pt>
                <c:pt idx="215">
                  <c:v>0.7157024621006312</c:v>
                </c:pt>
                <c:pt idx="216">
                  <c:v>0.7168622517648773</c:v>
                </c:pt>
                <c:pt idx="217">
                  <c:v>0.7180180302297411</c:v>
                </c:pt>
                <c:pt idx="218">
                  <c:v>0.7191656004909642</c:v>
                </c:pt>
                <c:pt idx="219">
                  <c:v>0.7214519447919856</c:v>
                </c:pt>
                <c:pt idx="220">
                  <c:v>0.7225944283714851</c:v>
                </c:pt>
                <c:pt idx="221">
                  <c:v>0.7237131770175277</c:v>
                </c:pt>
                <c:pt idx="222">
                  <c:v>0.724831602144492</c:v>
                </c:pt>
                <c:pt idx="223">
                  <c:v>0.7259429929174442</c:v>
                </c:pt>
                <c:pt idx="224">
                  <c:v>0.7270478040118455</c:v>
                </c:pt>
                <c:pt idx="225">
                  <c:v>0.7281470781209414</c:v>
                </c:pt>
                <c:pt idx="226">
                  <c:v>0.7292440919683689</c:v>
                </c:pt>
                <c:pt idx="227">
                  <c:v>0.7303180244783152</c:v>
                </c:pt>
                <c:pt idx="228">
                  <c:v>0.7313880682015033</c:v>
                </c:pt>
                <c:pt idx="229">
                  <c:v>0.7335184741208689</c:v>
                </c:pt>
                <c:pt idx="230">
                  <c:v>0.7345736468961561</c:v>
                </c:pt>
                <c:pt idx="231">
                  <c:v>0.7356193064617911</c:v>
                </c:pt>
                <c:pt idx="232">
                  <c:v>0.7366638031074961</c:v>
                </c:pt>
                <c:pt idx="233">
                  <c:v>0.7377050601905392</c:v>
                </c:pt>
                <c:pt idx="234">
                  <c:v>0.7387434405769135</c:v>
                </c:pt>
                <c:pt idx="235">
                  <c:v>0.7397715536044329</c:v>
                </c:pt>
                <c:pt idx="236">
                  <c:v>0.7407956117137756</c:v>
                </c:pt>
                <c:pt idx="237">
                  <c:v>0.7418145066335046</c:v>
                </c:pt>
                <c:pt idx="238">
                  <c:v>0.7438452927221064</c:v>
                </c:pt>
                <c:pt idx="239">
                  <c:v>0.7448526152769689</c:v>
                </c:pt>
                <c:pt idx="240">
                  <c:v>0.7458571726180881</c:v>
                </c:pt>
                <c:pt idx="241">
                  <c:v>0.7468596533164754</c:v>
                </c:pt>
                <c:pt idx="242">
                  <c:v>0.7478578255276788</c:v>
                </c:pt>
                <c:pt idx="243">
                  <c:v>0.7488537746381889</c:v>
                </c:pt>
                <c:pt idx="244">
                  <c:v>0.7498484449739642</c:v>
                </c:pt>
                <c:pt idx="245">
                  <c:v>0.7508414824127702</c:v>
                </c:pt>
                <c:pt idx="246">
                  <c:v>0.7518211353426835</c:v>
                </c:pt>
                <c:pt idx="247">
                  <c:v>0.752790217068121</c:v>
                </c:pt>
                <c:pt idx="248">
                  <c:v>0.754723134263673</c:v>
                </c:pt>
                <c:pt idx="249">
                  <c:v>0.7556874222233091</c:v>
                </c:pt>
                <c:pt idx="250">
                  <c:v>0.756650394247235</c:v>
                </c:pt>
                <c:pt idx="251">
                  <c:v>0.7576109857828082</c:v>
                </c:pt>
                <c:pt idx="252">
                  <c:v>0.7585696449476708</c:v>
                </c:pt>
                <c:pt idx="253">
                  <c:v>0.7595270318956175</c:v>
                </c:pt>
                <c:pt idx="254">
                  <c:v>0.7604785168063259</c:v>
                </c:pt>
                <c:pt idx="255">
                  <c:v>0.7614292016630976</c:v>
                </c:pt>
                <c:pt idx="256">
                  <c:v>0.7623790952096914</c:v>
                </c:pt>
                <c:pt idx="257">
                  <c:v>0.763322782873426</c:v>
                </c:pt>
                <c:pt idx="258">
                  <c:v>0.7642638233641623</c:v>
                </c:pt>
                <c:pt idx="259">
                  <c:v>0.7652027369355531</c:v>
                </c:pt>
                <c:pt idx="260">
                  <c:v>0.7661374862917812</c:v>
                </c:pt>
                <c:pt idx="261">
                  <c:v>0.7689140997105521</c:v>
                </c:pt>
                <c:pt idx="262">
                  <c:v>0.7698361881039343</c:v>
                </c:pt>
                <c:pt idx="263">
                  <c:v>0.7707500835952538</c:v>
                </c:pt>
                <c:pt idx="264">
                  <c:v>0.7716585273529167</c:v>
                </c:pt>
                <c:pt idx="265">
                  <c:v>0.7725524761443103</c:v>
                </c:pt>
                <c:pt idx="266">
                  <c:v>0.7734456073942494</c:v>
                </c:pt>
                <c:pt idx="267">
                  <c:v>0.7743385637690111</c:v>
                </c:pt>
                <c:pt idx="268">
                  <c:v>0.7752304228020344</c:v>
                </c:pt>
                <c:pt idx="269">
                  <c:v>0.7761172825909228</c:v>
                </c:pt>
                <c:pt idx="270">
                  <c:v>0.7770037773278784</c:v>
                </c:pt>
                <c:pt idx="271">
                  <c:v>0.7778884074582546</c:v>
                </c:pt>
                <c:pt idx="272">
                  <c:v>0.7787714156213601</c:v>
                </c:pt>
                <c:pt idx="273">
                  <c:v>0.779653328628667</c:v>
                </c:pt>
                <c:pt idx="274">
                  <c:v>0.7805330841134722</c:v>
                </c:pt>
                <c:pt idx="275">
                  <c:v>0.7822871826963412</c:v>
                </c:pt>
                <c:pt idx="276">
                  <c:v>0.7831607782030214</c:v>
                </c:pt>
                <c:pt idx="277">
                  <c:v>0.784031201911171</c:v>
                </c:pt>
                <c:pt idx="278">
                  <c:v>0.7848892794317939</c:v>
                </c:pt>
                <c:pt idx="279">
                  <c:v>0.7857425456990976</c:v>
                </c:pt>
                <c:pt idx="280">
                  <c:v>0.7865905438516813</c:v>
                </c:pt>
                <c:pt idx="281">
                  <c:v>0.7874368260415864</c:v>
                </c:pt>
                <c:pt idx="282">
                  <c:v>0.7882817769942033</c:v>
                </c:pt>
                <c:pt idx="283">
                  <c:v>0.7891242294177226</c:v>
                </c:pt>
                <c:pt idx="284">
                  <c:v>0.7899608650556527</c:v>
                </c:pt>
                <c:pt idx="285">
                  <c:v>0.7907963312158336</c:v>
                </c:pt>
                <c:pt idx="286">
                  <c:v>0.7916244526185624</c:v>
                </c:pt>
                <c:pt idx="287">
                  <c:v>0.7924504733332223</c:v>
                </c:pt>
                <c:pt idx="288">
                  <c:v>0.7932758885425804</c:v>
                </c:pt>
                <c:pt idx="289">
                  <c:v>0.7941009714891013</c:v>
                </c:pt>
                <c:pt idx="290">
                  <c:v>0.7949134940260032</c:v>
                </c:pt>
                <c:pt idx="291">
                  <c:v>0.7957215419443026</c:v>
                </c:pt>
                <c:pt idx="292">
                  <c:v>0.7965258125587693</c:v>
                </c:pt>
                <c:pt idx="293">
                  <c:v>0.7973270862498829</c:v>
                </c:pt>
                <c:pt idx="294">
                  <c:v>0.798125892015055</c:v>
                </c:pt>
                <c:pt idx="295">
                  <c:v>0.798924411422124</c:v>
                </c:pt>
                <c:pt idx="296">
                  <c:v>0.7997228739947604</c:v>
                </c:pt>
                <c:pt idx="297">
                  <c:v>0.8005204687493287</c:v>
                </c:pt>
                <c:pt idx="298">
                  <c:v>0.8013122248589105</c:v>
                </c:pt>
                <c:pt idx="299">
                  <c:v>0.8021035765696445</c:v>
                </c:pt>
                <c:pt idx="300">
                  <c:v>0.8028934265397923</c:v>
                </c:pt>
                <c:pt idx="301">
                  <c:v>0.8036803080038033</c:v>
                </c:pt>
                <c:pt idx="302">
                  <c:v>0.8044666932594983</c:v>
                </c:pt>
                <c:pt idx="303">
                  <c:v>0.8052526282116114</c:v>
                </c:pt>
                <c:pt idx="304">
                  <c:v>0.806037645069043</c:v>
                </c:pt>
                <c:pt idx="305">
                  <c:v>0.8068218771741158</c:v>
                </c:pt>
                <c:pt idx="306">
                  <c:v>0.8076059737509261</c:v>
                </c:pt>
                <c:pt idx="307">
                  <c:v>0.8083858033734072</c:v>
                </c:pt>
                <c:pt idx="308">
                  <c:v>0.8091655958349129</c:v>
                </c:pt>
                <c:pt idx="309">
                  <c:v>0.8107149724194419</c:v>
                </c:pt>
                <c:pt idx="310">
                  <c:v>0.8114861107456045</c:v>
                </c:pt>
                <c:pt idx="311">
                  <c:v>0.8122535985524382</c:v>
                </c:pt>
                <c:pt idx="312">
                  <c:v>0.8130210798014528</c:v>
                </c:pt>
                <c:pt idx="313">
                  <c:v>0.8137855553833552</c:v>
                </c:pt>
                <c:pt idx="314">
                  <c:v>0.8145481182680044</c:v>
                </c:pt>
                <c:pt idx="315">
                  <c:v>0.8153079006373326</c:v>
                </c:pt>
                <c:pt idx="316">
                  <c:v>0.8160671671248874</c:v>
                </c:pt>
                <c:pt idx="317">
                  <c:v>0.816825379989498</c:v>
                </c:pt>
                <c:pt idx="318">
                  <c:v>0.8175825610905618</c:v>
                </c:pt>
                <c:pt idx="319">
                  <c:v>0.8183395367132922</c:v>
                </c:pt>
                <c:pt idx="320">
                  <c:v>0.8190938651630242</c:v>
                </c:pt>
                <c:pt idx="321">
                  <c:v>0.8198405187784066</c:v>
                </c:pt>
                <c:pt idx="322">
                  <c:v>0.8205854476873515</c:v>
                </c:pt>
                <c:pt idx="323">
                  <c:v>0.8213285119897171</c:v>
                </c:pt>
                <c:pt idx="324">
                  <c:v>0.8220713708137493</c:v>
                </c:pt>
                <c:pt idx="325">
                  <c:v>0.8228117529680811</c:v>
                </c:pt>
                <c:pt idx="326">
                  <c:v>0.823541402158398</c:v>
                </c:pt>
                <c:pt idx="327">
                  <c:v>0.8249964969769542</c:v>
                </c:pt>
                <c:pt idx="328">
                  <c:v>0.8257183139452619</c:v>
                </c:pt>
                <c:pt idx="329">
                  <c:v>0.8264398642289239</c:v>
                </c:pt>
                <c:pt idx="330">
                  <c:v>0.827157989145048</c:v>
                </c:pt>
                <c:pt idx="331">
                  <c:v>0.8278728810563294</c:v>
                </c:pt>
                <c:pt idx="332">
                  <c:v>0.8285861947191344</c:v>
                </c:pt>
                <c:pt idx="333">
                  <c:v>0.829294111296776</c:v>
                </c:pt>
                <c:pt idx="334">
                  <c:v>0.8299991861527842</c:v>
                </c:pt>
                <c:pt idx="335">
                  <c:v>0.8307034303516997</c:v>
                </c:pt>
                <c:pt idx="336">
                  <c:v>0.831404708230418</c:v>
                </c:pt>
                <c:pt idx="337">
                  <c:v>0.8321042286136031</c:v>
                </c:pt>
                <c:pt idx="338">
                  <c:v>0.8327988590496392</c:v>
                </c:pt>
                <c:pt idx="339">
                  <c:v>0.8334911942489716</c:v>
                </c:pt>
                <c:pt idx="340">
                  <c:v>0.8341821632359803</c:v>
                </c:pt>
                <c:pt idx="341">
                  <c:v>0.834871000931764</c:v>
                </c:pt>
                <c:pt idx="342">
                  <c:v>0.8355587631452065</c:v>
                </c:pt>
                <c:pt idx="343">
                  <c:v>0.8369230015653281</c:v>
                </c:pt>
                <c:pt idx="344">
                  <c:v>0.8376014167005369</c:v>
                </c:pt>
                <c:pt idx="345">
                  <c:v>0.838270585310739</c:v>
                </c:pt>
                <c:pt idx="346">
                  <c:v>0.8389300199313772</c:v>
                </c:pt>
                <c:pt idx="347">
                  <c:v>0.8395878653738406</c:v>
                </c:pt>
                <c:pt idx="348">
                  <c:v>0.8402442812117284</c:v>
                </c:pt>
                <c:pt idx="349">
                  <c:v>0.840899590964119</c:v>
                </c:pt>
                <c:pt idx="350">
                  <c:v>0.841552426232749</c:v>
                </c:pt>
                <c:pt idx="351">
                  <c:v>0.8422044395880449</c:v>
                </c:pt>
                <c:pt idx="352">
                  <c:v>0.8428555501502374</c:v>
                </c:pt>
                <c:pt idx="353">
                  <c:v>0.843506140458777</c:v>
                </c:pt>
                <c:pt idx="354">
                  <c:v>0.8441533228872965</c:v>
                </c:pt>
                <c:pt idx="355">
                  <c:v>0.8447981138977646</c:v>
                </c:pt>
                <c:pt idx="356">
                  <c:v>0.8454396566018119</c:v>
                </c:pt>
                <c:pt idx="357">
                  <c:v>0.8460773739113528</c:v>
                </c:pt>
                <c:pt idx="358">
                  <c:v>0.8467146693345282</c:v>
                </c:pt>
                <c:pt idx="359">
                  <c:v>0.847347118529349</c:v>
                </c:pt>
                <c:pt idx="360">
                  <c:v>0.8479722054791998</c:v>
                </c:pt>
                <c:pt idx="361">
                  <c:v>0.8485961251372414</c:v>
                </c:pt>
                <c:pt idx="362">
                  <c:v>0.8492133601916256</c:v>
                </c:pt>
                <c:pt idx="363">
                  <c:v>0.84982912192264</c:v>
                </c:pt>
                <c:pt idx="364">
                  <c:v>0.8504427370608514</c:v>
                </c:pt>
                <c:pt idx="365">
                  <c:v>0.8510494183982776</c:v>
                </c:pt>
                <c:pt idx="366">
                  <c:v>0.8516560800622464</c:v>
                </c:pt>
                <c:pt idx="367">
                  <c:v>0.852867558457062</c:v>
                </c:pt>
                <c:pt idx="368">
                  <c:v>0.8534716341543445</c:v>
                </c:pt>
                <c:pt idx="369">
                  <c:v>0.8540750912306868</c:v>
                </c:pt>
                <c:pt idx="370">
                  <c:v>0.8546751819598636</c:v>
                </c:pt>
                <c:pt idx="371">
                  <c:v>0.8552745054241994</c:v>
                </c:pt>
                <c:pt idx="372">
                  <c:v>0.8558696253264576</c:v>
                </c:pt>
                <c:pt idx="373">
                  <c:v>0.8564573742399871</c:v>
                </c:pt>
                <c:pt idx="374">
                  <c:v>0.857043686991122</c:v>
                </c:pt>
                <c:pt idx="375">
                  <c:v>0.8576288870989404</c:v>
                </c:pt>
                <c:pt idx="376">
                  <c:v>0.8582139800957126</c:v>
                </c:pt>
                <c:pt idx="377">
                  <c:v>0.8587982621088495</c:v>
                </c:pt>
                <c:pt idx="378">
                  <c:v>0.8593807101185631</c:v>
                </c:pt>
                <c:pt idx="379">
                  <c:v>0.8599629635796417</c:v>
                </c:pt>
                <c:pt idx="380">
                  <c:v>0.8605431884886622</c:v>
                </c:pt>
                <c:pt idx="381">
                  <c:v>0.8611226854797566</c:v>
                </c:pt>
                <c:pt idx="382">
                  <c:v>0.8616964181478148</c:v>
                </c:pt>
                <c:pt idx="383">
                  <c:v>0.8622688239504643</c:v>
                </c:pt>
                <c:pt idx="384">
                  <c:v>0.8628408362839647</c:v>
                </c:pt>
                <c:pt idx="385">
                  <c:v>0.8634105730542186</c:v>
                </c:pt>
                <c:pt idx="386">
                  <c:v>0.8639795884643657</c:v>
                </c:pt>
                <c:pt idx="387">
                  <c:v>0.8645408109994185</c:v>
                </c:pt>
                <c:pt idx="388">
                  <c:v>0.8651014411448077</c:v>
                </c:pt>
                <c:pt idx="389">
                  <c:v>0.8656573977510801</c:v>
                </c:pt>
                <c:pt idx="390">
                  <c:v>0.8662069735993159</c:v>
                </c:pt>
                <c:pt idx="391">
                  <c:v>0.8667554936386679</c:v>
                </c:pt>
                <c:pt idx="392">
                  <c:v>0.8673013227862272</c:v>
                </c:pt>
                <c:pt idx="393">
                  <c:v>0.8678419843722934</c:v>
                </c:pt>
                <c:pt idx="394">
                  <c:v>0.8683758061529824</c:v>
                </c:pt>
                <c:pt idx="395">
                  <c:v>0.8689087666734224</c:v>
                </c:pt>
                <c:pt idx="396">
                  <c:v>0.8694400593218577</c:v>
                </c:pt>
                <c:pt idx="397">
                  <c:v>0.8699710940294063</c:v>
                </c:pt>
                <c:pt idx="398">
                  <c:v>0.8704988629430164</c:v>
                </c:pt>
                <c:pt idx="399">
                  <c:v>0.8710186509907164</c:v>
                </c:pt>
                <c:pt idx="400">
                  <c:v>0.8715364848083086</c:v>
                </c:pt>
                <c:pt idx="401">
                  <c:v>0.8720489783751699</c:v>
                </c:pt>
                <c:pt idx="402">
                  <c:v>0.8725573339581453</c:v>
                </c:pt>
                <c:pt idx="403">
                  <c:v>0.8730637025219171</c:v>
                </c:pt>
                <c:pt idx="404">
                  <c:v>0.8735688032406526</c:v>
                </c:pt>
                <c:pt idx="405">
                  <c:v>0.8740738777281114</c:v>
                </c:pt>
                <c:pt idx="406">
                  <c:v>0.8745748295332623</c:v>
                </c:pt>
                <c:pt idx="407">
                  <c:v>0.8750750621642459</c:v>
                </c:pt>
                <c:pt idx="408">
                  <c:v>0.8755726716675681</c:v>
                </c:pt>
                <c:pt idx="409">
                  <c:v>0.8760686985505346</c:v>
                </c:pt>
                <c:pt idx="410">
                  <c:v>0.8765618225055557</c:v>
                </c:pt>
                <c:pt idx="411">
                  <c:v>0.8770532151963202</c:v>
                </c:pt>
                <c:pt idx="412">
                  <c:v>0.8775438799691586</c:v>
                </c:pt>
                <c:pt idx="413">
                  <c:v>0.878034313032387</c:v>
                </c:pt>
                <c:pt idx="414">
                  <c:v>0.8785208179619423</c:v>
                </c:pt>
                <c:pt idx="415">
                  <c:v>0.8790071174131641</c:v>
                </c:pt>
                <c:pt idx="416">
                  <c:v>0.8794929927920806</c:v>
                </c:pt>
                <c:pt idx="417">
                  <c:v>0.879978490003426</c:v>
                </c:pt>
                <c:pt idx="418">
                  <c:v>0.8804607651396271</c:v>
                </c:pt>
                <c:pt idx="419">
                  <c:v>0.8809427998224593</c:v>
                </c:pt>
                <c:pt idx="420">
                  <c:v>0.8814228977627014</c:v>
                </c:pt>
                <c:pt idx="421">
                  <c:v>0.8819008338085625</c:v>
                </c:pt>
                <c:pt idx="422">
                  <c:v>0.8823786146527037</c:v>
                </c:pt>
                <c:pt idx="423">
                  <c:v>0.8828548675249821</c:v>
                </c:pt>
                <c:pt idx="424">
                  <c:v>0.883329953105451</c:v>
                </c:pt>
                <c:pt idx="425">
                  <c:v>0.8838046277292531</c:v>
                </c:pt>
                <c:pt idx="426">
                  <c:v>0.8842787667978241</c:v>
                </c:pt>
                <c:pt idx="427">
                  <c:v>0.8847521866922281</c:v>
                </c:pt>
                <c:pt idx="428">
                  <c:v>0.8852212325212565</c:v>
                </c:pt>
                <c:pt idx="429">
                  <c:v>0.8856902302596111</c:v>
                </c:pt>
                <c:pt idx="430">
                  <c:v>0.8861582661844899</c:v>
                </c:pt>
                <c:pt idx="431">
                  <c:v>0.8866214755544716</c:v>
                </c:pt>
                <c:pt idx="432">
                  <c:v>0.8875353535582732</c:v>
                </c:pt>
                <c:pt idx="433">
                  <c:v>0.8879866123958171</c:v>
                </c:pt>
                <c:pt idx="434">
                  <c:v>0.8884369356511618</c:v>
                </c:pt>
                <c:pt idx="435">
                  <c:v>0.888884340676983</c:v>
                </c:pt>
                <c:pt idx="436">
                  <c:v>0.8893291466204796</c:v>
                </c:pt>
                <c:pt idx="437">
                  <c:v>0.8897728967550925</c:v>
                </c:pt>
                <c:pt idx="438">
                  <c:v>0.8902110443262085</c:v>
                </c:pt>
                <c:pt idx="439">
                  <c:v>0.8906437663949446</c:v>
                </c:pt>
                <c:pt idx="440">
                  <c:v>0.8910749451902399</c:v>
                </c:pt>
                <c:pt idx="441">
                  <c:v>0.8915049610656053</c:v>
                </c:pt>
                <c:pt idx="442">
                  <c:v>0.8919343670637894</c:v>
                </c:pt>
                <c:pt idx="443">
                  <c:v>0.8923627806453415</c:v>
                </c:pt>
                <c:pt idx="444">
                  <c:v>0.8927910608845708</c:v>
                </c:pt>
                <c:pt idx="445">
                  <c:v>0.8932179574239587</c:v>
                </c:pt>
                <c:pt idx="446">
                  <c:v>0.8936419816385572</c:v>
                </c:pt>
                <c:pt idx="447">
                  <c:v>0.8940606983915208</c:v>
                </c:pt>
                <c:pt idx="448">
                  <c:v>0.8944787003421966</c:v>
                </c:pt>
                <c:pt idx="449">
                  <c:v>0.894889847185917</c:v>
                </c:pt>
                <c:pt idx="450">
                  <c:v>0.8953005743292116</c:v>
                </c:pt>
                <c:pt idx="451">
                  <c:v>0.8957111309692082</c:v>
                </c:pt>
                <c:pt idx="452">
                  <c:v>0.8961213313010308</c:v>
                </c:pt>
                <c:pt idx="453">
                  <c:v>0.8965288276254223</c:v>
                </c:pt>
                <c:pt idx="454">
                  <c:v>0.8969361009839626</c:v>
                </c:pt>
                <c:pt idx="455">
                  <c:v>0.8973378482868961</c:v>
                </c:pt>
                <c:pt idx="456">
                  <c:v>0.8977354182590287</c:v>
                </c:pt>
                <c:pt idx="457">
                  <c:v>0.8981311760871351</c:v>
                </c:pt>
                <c:pt idx="458">
                  <c:v>0.8985268748948692</c:v>
                </c:pt>
                <c:pt idx="459">
                  <c:v>0.8989171460142836</c:v>
                </c:pt>
                <c:pt idx="460">
                  <c:v>0.8993049579515155</c:v>
                </c:pt>
                <c:pt idx="461">
                  <c:v>0.8996926715214602</c:v>
                </c:pt>
                <c:pt idx="462">
                  <c:v>0.9000752721784046</c:v>
                </c:pt>
                <c:pt idx="463">
                  <c:v>0.9004567929811284</c:v>
                </c:pt>
                <c:pt idx="464">
                  <c:v>0.9008383094119726</c:v>
                </c:pt>
                <c:pt idx="465">
                  <c:v>0.9012164900988074</c:v>
                </c:pt>
                <c:pt idx="466">
                  <c:v>0.9015885151793966</c:v>
                </c:pt>
                <c:pt idx="467">
                  <c:v>0.9019591609320239</c:v>
                </c:pt>
                <c:pt idx="468">
                  <c:v>0.9023296842720269</c:v>
                </c:pt>
                <c:pt idx="469">
                  <c:v>0.9026992326829157</c:v>
                </c:pt>
                <c:pt idx="470">
                  <c:v>0.9030669317888033</c:v>
                </c:pt>
                <c:pt idx="471">
                  <c:v>0.9034337193578283</c:v>
                </c:pt>
                <c:pt idx="472">
                  <c:v>0.9037997877526863</c:v>
                </c:pt>
                <c:pt idx="473">
                  <c:v>0.9041644199851496</c:v>
                </c:pt>
                <c:pt idx="474">
                  <c:v>0.9045284795014068</c:v>
                </c:pt>
                <c:pt idx="475">
                  <c:v>0.9048891814142573</c:v>
                </c:pt>
                <c:pt idx="476">
                  <c:v>0.9052496997081715</c:v>
                </c:pt>
                <c:pt idx="477">
                  <c:v>0.9056068735143172</c:v>
                </c:pt>
                <c:pt idx="478">
                  <c:v>0.9059630658335297</c:v>
                </c:pt>
                <c:pt idx="479">
                  <c:v>0.9063188603117135</c:v>
                </c:pt>
                <c:pt idx="480">
                  <c:v>0.9066745913976455</c:v>
                </c:pt>
                <c:pt idx="481">
                  <c:v>0.9070275419682563</c:v>
                </c:pt>
                <c:pt idx="482">
                  <c:v>0.9073791153968448</c:v>
                </c:pt>
                <c:pt idx="483">
                  <c:v>0.90772947562889</c:v>
                </c:pt>
                <c:pt idx="484">
                  <c:v>0.9080785505283809</c:v>
                </c:pt>
                <c:pt idx="485">
                  <c:v>0.9084266417549989</c:v>
                </c:pt>
                <c:pt idx="486">
                  <c:v>0.9087746542877869</c:v>
                </c:pt>
                <c:pt idx="487">
                  <c:v>0.9091220263402376</c:v>
                </c:pt>
                <c:pt idx="488">
                  <c:v>0.9094692213315713</c:v>
                </c:pt>
                <c:pt idx="489">
                  <c:v>0.909813989929818</c:v>
                </c:pt>
                <c:pt idx="490">
                  <c:v>0.9101582273447133</c:v>
                </c:pt>
                <c:pt idx="491">
                  <c:v>0.9105011422660793</c:v>
                </c:pt>
                <c:pt idx="492">
                  <c:v>0.9108437708293422</c:v>
                </c:pt>
                <c:pt idx="493">
                  <c:v>0.9111861392657786</c:v>
                </c:pt>
                <c:pt idx="494">
                  <c:v>0.9115257599759897</c:v>
                </c:pt>
                <c:pt idx="495">
                  <c:v>0.9118646396526364</c:v>
                </c:pt>
                <c:pt idx="496">
                  <c:v>0.9122018164822429</c:v>
                </c:pt>
                <c:pt idx="497">
                  <c:v>0.9125389561508741</c:v>
                </c:pt>
                <c:pt idx="498">
                  <c:v>0.9128756892347178</c:v>
                </c:pt>
                <c:pt idx="499">
                  <c:v>0.9132114342738091</c:v>
                </c:pt>
                <c:pt idx="500">
                  <c:v>0.9135469782064464</c:v>
                </c:pt>
                <c:pt idx="501">
                  <c:v>0.9138819712822747</c:v>
                </c:pt>
                <c:pt idx="502">
                  <c:v>0.914216437546631</c:v>
                </c:pt>
                <c:pt idx="503">
                  <c:v>0.9145504272761287</c:v>
                </c:pt>
                <c:pt idx="504">
                  <c:v>0.9148837240627359</c:v>
                </c:pt>
                <c:pt idx="505">
                  <c:v>0.9152164503190767</c:v>
                </c:pt>
                <c:pt idx="506">
                  <c:v>0.9155436723792079</c:v>
                </c:pt>
                <c:pt idx="507">
                  <c:v>0.9158705971515374</c:v>
                </c:pt>
                <c:pt idx="508">
                  <c:v>0.9161958190768267</c:v>
                </c:pt>
                <c:pt idx="509">
                  <c:v>0.9165203130841899</c:v>
                </c:pt>
                <c:pt idx="510">
                  <c:v>0.9168434233917117</c:v>
                </c:pt>
                <c:pt idx="511">
                  <c:v>0.9171665118398362</c:v>
                </c:pt>
                <c:pt idx="512">
                  <c:v>0.9174880657582789</c:v>
                </c:pt>
                <c:pt idx="513">
                  <c:v>0.9178077135372875</c:v>
                </c:pt>
                <c:pt idx="514">
                  <c:v>0.9181269853346646</c:v>
                </c:pt>
                <c:pt idx="515">
                  <c:v>0.918445666928318</c:v>
                </c:pt>
                <c:pt idx="516">
                  <c:v>0.9187628839423603</c:v>
                </c:pt>
                <c:pt idx="517">
                  <c:v>0.9190794145713311</c:v>
                </c:pt>
                <c:pt idx="518">
                  <c:v>0.9193957462797877</c:v>
                </c:pt>
                <c:pt idx="519">
                  <c:v>0.9197065344451197</c:v>
                </c:pt>
                <c:pt idx="520">
                  <c:v>0.920015213178624</c:v>
                </c:pt>
                <c:pt idx="521">
                  <c:v>0.9206298578944425</c:v>
                </c:pt>
                <c:pt idx="522">
                  <c:v>0.9209354260357282</c:v>
                </c:pt>
                <c:pt idx="523">
                  <c:v>0.9212399449259493</c:v>
                </c:pt>
                <c:pt idx="524">
                  <c:v>0.9215438867280848</c:v>
                </c:pt>
                <c:pt idx="525">
                  <c:v>0.921847638353465</c:v>
                </c:pt>
                <c:pt idx="526">
                  <c:v>0.922149197481308</c:v>
                </c:pt>
                <c:pt idx="527">
                  <c:v>0.9224481618987058</c:v>
                </c:pt>
                <c:pt idx="528">
                  <c:v>0.9227469798581426</c:v>
                </c:pt>
                <c:pt idx="529">
                  <c:v>0.9230449606026674</c:v>
                </c:pt>
                <c:pt idx="530">
                  <c:v>0.9233406242510912</c:v>
                </c:pt>
                <c:pt idx="531">
                  <c:v>0.9236353807345321</c:v>
                </c:pt>
                <c:pt idx="532">
                  <c:v>0.9239271861993539</c:v>
                </c:pt>
                <c:pt idx="533">
                  <c:v>0.9242149804647933</c:v>
                </c:pt>
                <c:pt idx="534">
                  <c:v>0.9245024752564914</c:v>
                </c:pt>
                <c:pt idx="535">
                  <c:v>0.9247884333325678</c:v>
                </c:pt>
                <c:pt idx="536">
                  <c:v>0.9250741400255766</c:v>
                </c:pt>
                <c:pt idx="537">
                  <c:v>0.9253595778480002</c:v>
                </c:pt>
                <c:pt idx="538">
                  <c:v>0.9256426526695887</c:v>
                </c:pt>
                <c:pt idx="539">
                  <c:v>0.925924968970095</c:v>
                </c:pt>
                <c:pt idx="540">
                  <c:v>0.926206660091842</c:v>
                </c:pt>
                <c:pt idx="541">
                  <c:v>0.9264878309599363</c:v>
                </c:pt>
                <c:pt idx="542">
                  <c:v>0.9267687876059381</c:v>
                </c:pt>
                <c:pt idx="543">
                  <c:v>0.9270487955541024</c:v>
                </c:pt>
                <c:pt idx="544">
                  <c:v>0.9273274219883649</c:v>
                </c:pt>
                <c:pt idx="545">
                  <c:v>0.9276057751801627</c:v>
                </c:pt>
                <c:pt idx="546">
                  <c:v>0.9278836846261979</c:v>
                </c:pt>
                <c:pt idx="547">
                  <c:v>0.9281612071609029</c:v>
                </c:pt>
                <c:pt idx="548">
                  <c:v>0.9284331096445931</c:v>
                </c:pt>
                <c:pt idx="549">
                  <c:v>0.928705007756404</c:v>
                </c:pt>
                <c:pt idx="550">
                  <c:v>0.9289765167709451</c:v>
                </c:pt>
                <c:pt idx="551">
                  <c:v>0.9292456518549524</c:v>
                </c:pt>
                <c:pt idx="552">
                  <c:v>0.9295141027398282</c:v>
                </c:pt>
                <c:pt idx="553">
                  <c:v>0.9297819568631609</c:v>
                </c:pt>
                <c:pt idx="554">
                  <c:v>0.9300469692648604</c:v>
                </c:pt>
                <c:pt idx="555">
                  <c:v>0.930311406764414</c:v>
                </c:pt>
                <c:pt idx="556">
                  <c:v>0.9305751076022828</c:v>
                </c:pt>
                <c:pt idx="557">
                  <c:v>0.9308377067265337</c:v>
                </c:pt>
                <c:pt idx="558">
                  <c:v>0.9310981461423433</c:v>
                </c:pt>
                <c:pt idx="559">
                  <c:v>0.931356539518577</c:v>
                </c:pt>
                <c:pt idx="560">
                  <c:v>0.9316121283341526</c:v>
                </c:pt>
                <c:pt idx="561">
                  <c:v>0.9318667487784332</c:v>
                </c:pt>
                <c:pt idx="562">
                  <c:v>0.9321183591837222</c:v>
                </c:pt>
                <c:pt idx="563">
                  <c:v>0.9323672480940625</c:v>
                </c:pt>
                <c:pt idx="564">
                  <c:v>0.932615498710005</c:v>
                </c:pt>
                <c:pt idx="565">
                  <c:v>0.9328605185070447</c:v>
                </c:pt>
                <c:pt idx="566">
                  <c:v>0.9331052038553074</c:v>
                </c:pt>
                <c:pt idx="567">
                  <c:v>0.9333495678704316</c:v>
                </c:pt>
                <c:pt idx="568">
                  <c:v>0.933593217083268</c:v>
                </c:pt>
                <c:pt idx="569">
                  <c:v>0.9338309839323236</c:v>
                </c:pt>
                <c:pt idx="570">
                  <c:v>0.9340686961328862</c:v>
                </c:pt>
                <c:pt idx="571">
                  <c:v>0.9343054487059127</c:v>
                </c:pt>
                <c:pt idx="572">
                  <c:v>0.9345419826849674</c:v>
                </c:pt>
                <c:pt idx="573">
                  <c:v>0.9347781210089331</c:v>
                </c:pt>
                <c:pt idx="574">
                  <c:v>0.9350112864548825</c:v>
                </c:pt>
                <c:pt idx="575">
                  <c:v>0.9352442923272325</c:v>
                </c:pt>
                <c:pt idx="576">
                  <c:v>0.9354769746805043</c:v>
                </c:pt>
                <c:pt idx="577">
                  <c:v>0.9357080153930479</c:v>
                </c:pt>
                <c:pt idx="578">
                  <c:v>0.9359382210766193</c:v>
                </c:pt>
                <c:pt idx="579">
                  <c:v>0.9361674715045339</c:v>
                </c:pt>
                <c:pt idx="580">
                  <c:v>0.9363962738148064</c:v>
                </c:pt>
                <c:pt idx="581">
                  <c:v>0.936624470619777</c:v>
                </c:pt>
                <c:pt idx="582">
                  <c:v>0.9368524772479923</c:v>
                </c:pt>
                <c:pt idx="583">
                  <c:v>0.9373040749061924</c:v>
                </c:pt>
                <c:pt idx="584">
                  <c:v>0.9375291480033061</c:v>
                </c:pt>
                <c:pt idx="585">
                  <c:v>0.9377540549690013</c:v>
                </c:pt>
                <c:pt idx="586">
                  <c:v>0.9379775694910962</c:v>
                </c:pt>
                <c:pt idx="587">
                  <c:v>0.9382007736097512</c:v>
                </c:pt>
                <c:pt idx="588">
                  <c:v>0.938423730717218</c:v>
                </c:pt>
                <c:pt idx="589">
                  <c:v>0.9386447707555522</c:v>
                </c:pt>
                <c:pt idx="590">
                  <c:v>0.9388652380776803</c:v>
                </c:pt>
                <c:pt idx="591">
                  <c:v>0.9390848441395596</c:v>
                </c:pt>
                <c:pt idx="592">
                  <c:v>0.9393033463018814</c:v>
                </c:pt>
                <c:pt idx="593">
                  <c:v>0.9395178154054236</c:v>
                </c:pt>
                <c:pt idx="594">
                  <c:v>0.9397317970444087</c:v>
                </c:pt>
                <c:pt idx="595">
                  <c:v>0.9399453633548474</c:v>
                </c:pt>
                <c:pt idx="596">
                  <c:v>0.940157876042342</c:v>
                </c:pt>
                <c:pt idx="597">
                  <c:v>0.9403703122219466</c:v>
                </c:pt>
                <c:pt idx="598">
                  <c:v>0.9405826740796007</c:v>
                </c:pt>
                <c:pt idx="599">
                  <c:v>0.940794856690198</c:v>
                </c:pt>
                <c:pt idx="600">
                  <c:v>0.9410070152554584</c:v>
                </c:pt>
                <c:pt idx="601">
                  <c:v>0.9412186623108247</c:v>
                </c:pt>
                <c:pt idx="602">
                  <c:v>0.9414294677793997</c:v>
                </c:pt>
                <c:pt idx="603">
                  <c:v>0.9416377725329375</c:v>
                </c:pt>
                <c:pt idx="604">
                  <c:v>0.9418448859493289</c:v>
                </c:pt>
                <c:pt idx="605">
                  <c:v>0.9420493806099384</c:v>
                </c:pt>
                <c:pt idx="606">
                  <c:v>0.9422522817204935</c:v>
                </c:pt>
                <c:pt idx="607">
                  <c:v>0.9424551106950378</c:v>
                </c:pt>
                <c:pt idx="608">
                  <c:v>0.9426576030348657</c:v>
                </c:pt>
                <c:pt idx="609">
                  <c:v>0.9428591117018205</c:v>
                </c:pt>
                <c:pt idx="610">
                  <c:v>0.9430604345638992</c:v>
                </c:pt>
                <c:pt idx="611">
                  <c:v>0.9432612021972896</c:v>
                </c:pt>
                <c:pt idx="612">
                  <c:v>0.9434613993004136</c:v>
                </c:pt>
                <c:pt idx="613">
                  <c:v>0.9436605405946539</c:v>
                </c:pt>
                <c:pt idx="614">
                  <c:v>0.9438596272404012</c:v>
                </c:pt>
                <c:pt idx="615">
                  <c:v>0.9440571137782751</c:v>
                </c:pt>
                <c:pt idx="616">
                  <c:v>0.9442545281801382</c:v>
                </c:pt>
                <c:pt idx="617">
                  <c:v>0.9444508233808658</c:v>
                </c:pt>
                <c:pt idx="618">
                  <c:v>0.9446470420737033</c:v>
                </c:pt>
                <c:pt idx="619">
                  <c:v>0.9446470420737033</c:v>
                </c:pt>
                <c:pt idx="620">
                  <c:v>0.9448427273972496</c:v>
                </c:pt>
                <c:pt idx="621">
                  <c:v>0.9450375689480648</c:v>
                </c:pt>
                <c:pt idx="622">
                  <c:v>0.9452305830532758</c:v>
                </c:pt>
                <c:pt idx="623">
                  <c:v>0.9454229501203303</c:v>
                </c:pt>
                <c:pt idx="624">
                  <c:v>0.9456147291696007</c:v>
                </c:pt>
                <c:pt idx="625">
                  <c:v>0.945805408691193</c:v>
                </c:pt>
                <c:pt idx="626">
                  <c:v>0.9459960532377498</c:v>
                </c:pt>
                <c:pt idx="627">
                  <c:v>0.9461866737389698</c:v>
                </c:pt>
                <c:pt idx="628">
                  <c:v>0.9463754340054898</c:v>
                </c:pt>
                <c:pt idx="629">
                  <c:v>0.9465641461813361</c:v>
                </c:pt>
                <c:pt idx="630">
                  <c:v>0.9467514593557629</c:v>
                </c:pt>
                <c:pt idx="631">
                  <c:v>0.9469387288113953</c:v>
                </c:pt>
                <c:pt idx="632">
                  <c:v>0.9471248834377716</c:v>
                </c:pt>
                <c:pt idx="633">
                  <c:v>0.9473095822282958</c:v>
                </c:pt>
                <c:pt idx="634">
                  <c:v>0.9474941826515326</c:v>
                </c:pt>
                <c:pt idx="635">
                  <c:v>0.947678422394716</c:v>
                </c:pt>
                <c:pt idx="636">
                  <c:v>0.9478616544196894</c:v>
                </c:pt>
                <c:pt idx="637">
                  <c:v>0.9480446787803897</c:v>
                </c:pt>
                <c:pt idx="638">
                  <c:v>0.9482275851003451</c:v>
                </c:pt>
                <c:pt idx="639">
                  <c:v>0.9484092235752641</c:v>
                </c:pt>
                <c:pt idx="640">
                  <c:v>0.9485901625494735</c:v>
                </c:pt>
                <c:pt idx="641">
                  <c:v>0.9487689418152415</c:v>
                </c:pt>
                <c:pt idx="642">
                  <c:v>0.9489476074121442</c:v>
                </c:pt>
                <c:pt idx="643">
                  <c:v>0.9491251144609965</c:v>
                </c:pt>
                <c:pt idx="644">
                  <c:v>0.9493016312791565</c:v>
                </c:pt>
                <c:pt idx="645">
                  <c:v>0.9494779754080788</c:v>
                </c:pt>
                <c:pt idx="646">
                  <c:v>0.9496532659140571</c:v>
                </c:pt>
                <c:pt idx="647">
                  <c:v>0.94982805583984</c:v>
                </c:pt>
                <c:pt idx="648">
                  <c:v>0.9500027758155519</c:v>
                </c:pt>
                <c:pt idx="649">
                  <c:v>0.9501741884644707</c:v>
                </c:pt>
                <c:pt idx="650">
                  <c:v>0.9503453868912971</c:v>
                </c:pt>
                <c:pt idx="651">
                  <c:v>0.9505165000664745</c:v>
                </c:pt>
                <c:pt idx="652">
                  <c:v>0.9506876088697724</c:v>
                </c:pt>
                <c:pt idx="653">
                  <c:v>0.9508578039502683</c:v>
                </c:pt>
                <c:pt idx="654">
                  <c:v>0.9510277563914555</c:v>
                </c:pt>
                <c:pt idx="655">
                  <c:v>0.9511962420670921</c:v>
                </c:pt>
                <c:pt idx="656">
                  <c:v>0.9513646424910795</c:v>
                </c:pt>
                <c:pt idx="657">
                  <c:v>0.9515314100180978</c:v>
                </c:pt>
                <c:pt idx="658">
                  <c:v>0.9516978015634846</c:v>
                </c:pt>
                <c:pt idx="659">
                  <c:v>0.9518627984793313</c:v>
                </c:pt>
                <c:pt idx="660">
                  <c:v>0.9520275614996282</c:v>
                </c:pt>
                <c:pt idx="661">
                  <c:v>0.9521912206203675</c:v>
                </c:pt>
                <c:pt idx="662">
                  <c:v>0.9523543813468512</c:v>
                </c:pt>
                <c:pt idx="663">
                  <c:v>0.9525162654845397</c:v>
                </c:pt>
                <c:pt idx="664">
                  <c:v>0.9526774938403128</c:v>
                </c:pt>
                <c:pt idx="665">
                  <c:v>0.9528380751579293</c:v>
                </c:pt>
                <c:pt idx="666">
                  <c:v>0.9529980378546057</c:v>
                </c:pt>
                <c:pt idx="667">
                  <c:v>0.9531574715538703</c:v>
                </c:pt>
                <c:pt idx="668">
                  <c:v>0.9533167216341987</c:v>
                </c:pt>
                <c:pt idx="669">
                  <c:v>0.9534750951527001</c:v>
                </c:pt>
                <c:pt idx="670">
                  <c:v>0.9536330380410772</c:v>
                </c:pt>
                <c:pt idx="671">
                  <c:v>0.9537909787435146</c:v>
                </c:pt>
                <c:pt idx="672">
                  <c:v>0.9539481893420861</c:v>
                </c:pt>
                <c:pt idx="673">
                  <c:v>0.9541047222993452</c:v>
                </c:pt>
                <c:pt idx="674">
                  <c:v>0.9542603284181638</c:v>
                </c:pt>
                <c:pt idx="675">
                  <c:v>0.9544156656663971</c:v>
                </c:pt>
                <c:pt idx="676">
                  <c:v>0.9545707427878041</c:v>
                </c:pt>
                <c:pt idx="677">
                  <c:v>0.9547255685261434</c:v>
                </c:pt>
                <c:pt idx="678">
                  <c:v>0.9548803811488444</c:v>
                </c:pt>
                <c:pt idx="679">
                  <c:v>0.9550351019620773</c:v>
                </c:pt>
                <c:pt idx="680">
                  <c:v>0.9551893418685723</c:v>
                </c:pt>
                <c:pt idx="681">
                  <c:v>0.9553434484327444</c:v>
                </c:pt>
                <c:pt idx="682">
                  <c:v>0.955494599606418</c:v>
                </c:pt>
                <c:pt idx="683">
                  <c:v>0.9556453463812438</c:v>
                </c:pt>
                <c:pt idx="684">
                  <c:v>0.9557950592065829</c:v>
                </c:pt>
                <c:pt idx="685">
                  <c:v>0.9559444375831453</c:v>
                </c:pt>
                <c:pt idx="686">
                  <c:v>0.9560935296016045</c:v>
                </c:pt>
                <c:pt idx="687">
                  <c:v>0.956242597574727</c:v>
                </c:pt>
                <c:pt idx="688">
                  <c:v>0.9563915693665017</c:v>
                </c:pt>
                <c:pt idx="689">
                  <c:v>0.9565404799519645</c:v>
                </c:pt>
                <c:pt idx="690">
                  <c:v>0.9566884833724443</c:v>
                </c:pt>
                <c:pt idx="691">
                  <c:v>0.9568362441536153</c:v>
                </c:pt>
                <c:pt idx="692">
                  <c:v>0.9569837316923216</c:v>
                </c:pt>
                <c:pt idx="693">
                  <c:v>0.957129793998332</c:v>
                </c:pt>
                <c:pt idx="694">
                  <c:v>0.9572754737648916</c:v>
                </c:pt>
                <c:pt idx="695">
                  <c:v>0.9574203403618762</c:v>
                </c:pt>
                <c:pt idx="696">
                  <c:v>0.9575651588681869</c:v>
                </c:pt>
                <c:pt idx="697">
                  <c:v>0.9577094046582917</c:v>
                </c:pt>
                <c:pt idx="698">
                  <c:v>0.9578528547663391</c:v>
                </c:pt>
                <c:pt idx="699">
                  <c:v>0.9579958086660705</c:v>
                </c:pt>
                <c:pt idx="700">
                  <c:v>0.9581384762076989</c:v>
                </c:pt>
                <c:pt idx="701">
                  <c:v>0.9582802999765961</c:v>
                </c:pt>
                <c:pt idx="702">
                  <c:v>0.9584221062579756</c:v>
                </c:pt>
                <c:pt idx="703">
                  <c:v>0.9585638141720678</c:v>
                </c:pt>
                <c:pt idx="704">
                  <c:v>0.9587053428391031</c:v>
                </c:pt>
                <c:pt idx="705">
                  <c:v>0.9588463578103048</c:v>
                </c:pt>
                <c:pt idx="706">
                  <c:v>0.9589871804188113</c:v>
                </c:pt>
                <c:pt idx="707">
                  <c:v>0.9591271832999235</c:v>
                </c:pt>
                <c:pt idx="708">
                  <c:v>0.9594068043367577</c:v>
                </c:pt>
                <c:pt idx="709">
                  <c:v>0.9595462672907596</c:v>
                </c:pt>
                <c:pt idx="710">
                  <c:v>0.9596853761225272</c:v>
                </c:pt>
                <c:pt idx="711">
                  <c:v>0.95982429040566</c:v>
                </c:pt>
                <c:pt idx="712">
                  <c:v>0.9599630516730124</c:v>
                </c:pt>
                <c:pt idx="713">
                  <c:v>0.9600994608692285</c:v>
                </c:pt>
                <c:pt idx="714">
                  <c:v>0.9602356492855331</c:v>
                </c:pt>
                <c:pt idx="715">
                  <c:v>0.9603712977747273</c:v>
                </c:pt>
                <c:pt idx="716">
                  <c:v>0.960506911288886</c:v>
                </c:pt>
                <c:pt idx="717">
                  <c:v>0.9606421094744984</c:v>
                </c:pt>
                <c:pt idx="718">
                  <c:v>0.960776166599578</c:v>
                </c:pt>
                <c:pt idx="719">
                  <c:v>0.9609099439243737</c:v>
                </c:pt>
                <c:pt idx="720">
                  <c:v>0.9610430698391335</c:v>
                </c:pt>
                <c:pt idx="721">
                  <c:v>0.9611737955920829</c:v>
                </c:pt>
                <c:pt idx="722">
                  <c:v>0.9613044535809012</c:v>
                </c:pt>
                <c:pt idx="723">
                  <c:v>0.9614348120959781</c:v>
                </c:pt>
                <c:pt idx="724">
                  <c:v>0.961564954203023</c:v>
                </c:pt>
                <c:pt idx="725">
                  <c:v>0.9616950066865394</c:v>
                </c:pt>
                <c:pt idx="726">
                  <c:v>0.9618241192159771</c:v>
                </c:pt>
                <c:pt idx="727">
                  <c:v>0.9619531049609111</c:v>
                </c:pt>
                <c:pt idx="728">
                  <c:v>0.9620820863339657</c:v>
                </c:pt>
                <c:pt idx="729">
                  <c:v>0.9622109278068784</c:v>
                </c:pt>
                <c:pt idx="730">
                  <c:v>0.9623386872396308</c:v>
                </c:pt>
                <c:pt idx="731">
                  <c:v>0.9624662630534468</c:v>
                </c:pt>
                <c:pt idx="732">
                  <c:v>0.9625936443186279</c:v>
                </c:pt>
                <c:pt idx="733">
                  <c:v>0.9627198976389146</c:v>
                </c:pt>
                <c:pt idx="734">
                  <c:v>0.9628458711589174</c:v>
                </c:pt>
                <c:pt idx="735">
                  <c:v>0.9629713921893985</c:v>
                </c:pt>
                <c:pt idx="736">
                  <c:v>0.9630963929662268</c:v>
                </c:pt>
                <c:pt idx="737">
                  <c:v>0.9632205915031787</c:v>
                </c:pt>
                <c:pt idx="738">
                  <c:v>0.9633447004166021</c:v>
                </c:pt>
                <c:pt idx="739">
                  <c:v>0.963468256287277</c:v>
                </c:pt>
                <c:pt idx="740">
                  <c:v>0.9637144783511613</c:v>
                </c:pt>
                <c:pt idx="741">
                  <c:v>0.9639579286434835</c:v>
                </c:pt>
                <c:pt idx="742">
                  <c:v>0.9640790012866388</c:v>
                </c:pt>
                <c:pt idx="743">
                  <c:v>0.9641997657122938</c:v>
                </c:pt>
                <c:pt idx="744">
                  <c:v>0.9643203312174345</c:v>
                </c:pt>
                <c:pt idx="745">
                  <c:v>0.9644397993808369</c:v>
                </c:pt>
                <c:pt idx="746">
                  <c:v>0.9645587516624659</c:v>
                </c:pt>
                <c:pt idx="747">
                  <c:v>0.9646775399986159</c:v>
                </c:pt>
                <c:pt idx="748">
                  <c:v>0.964796157831468</c:v>
                </c:pt>
                <c:pt idx="749">
                  <c:v>0.9649147669205612</c:v>
                </c:pt>
                <c:pt idx="750">
                  <c:v>0.9650333650799559</c:v>
                </c:pt>
                <c:pt idx="751">
                  <c:v>0.9651512593667613</c:v>
                </c:pt>
                <c:pt idx="752">
                  <c:v>0.9652684825700734</c:v>
                </c:pt>
                <c:pt idx="753">
                  <c:v>0.9653852030072503</c:v>
                </c:pt>
                <c:pt idx="754">
                  <c:v>0.9655008042432917</c:v>
                </c:pt>
                <c:pt idx="755">
                  <c:v>0.9656160273117618</c:v>
                </c:pt>
                <c:pt idx="756">
                  <c:v>0.9657300349977488</c:v>
                </c:pt>
                <c:pt idx="757">
                  <c:v>0.965843784742849</c:v>
                </c:pt>
                <c:pt idx="758">
                  <c:v>0.9659566797855197</c:v>
                </c:pt>
                <c:pt idx="759">
                  <c:v>0.9660681911283489</c:v>
                </c:pt>
                <c:pt idx="760">
                  <c:v>0.9661795101084828</c:v>
                </c:pt>
                <c:pt idx="761">
                  <c:v>0.9662903219506023</c:v>
                </c:pt>
                <c:pt idx="762">
                  <c:v>0.9663992997892984</c:v>
                </c:pt>
                <c:pt idx="763">
                  <c:v>0.9665082033060441</c:v>
                </c:pt>
                <c:pt idx="764">
                  <c:v>0.9666168685553607</c:v>
                </c:pt>
                <c:pt idx="765">
                  <c:v>0.9667253239544642</c:v>
                </c:pt>
                <c:pt idx="766">
                  <c:v>0.9668336962878584</c:v>
                </c:pt>
                <c:pt idx="767">
                  <c:v>0.966941229220401</c:v>
                </c:pt>
                <c:pt idx="768">
                  <c:v>0.9670487468513657</c:v>
                </c:pt>
                <c:pt idx="769">
                  <c:v>0.9671556917661241</c:v>
                </c:pt>
                <c:pt idx="770">
                  <c:v>0.9672626301230635</c:v>
                </c:pt>
                <c:pt idx="771">
                  <c:v>0.9673693127250558</c:v>
                </c:pt>
                <c:pt idx="772">
                  <c:v>0.967475523164069</c:v>
                </c:pt>
                <c:pt idx="773">
                  <c:v>0.9675814997075325</c:v>
                </c:pt>
                <c:pt idx="774">
                  <c:v>0.9676874434619002</c:v>
                </c:pt>
                <c:pt idx="775">
                  <c:v>0.9677933085224381</c:v>
                </c:pt>
                <c:pt idx="776">
                  <c:v>0.9678990774016283</c:v>
                </c:pt>
                <c:pt idx="777">
                  <c:v>0.9680042189161195</c:v>
                </c:pt>
                <c:pt idx="778">
                  <c:v>0.9681084685672059</c:v>
                </c:pt>
                <c:pt idx="779">
                  <c:v>0.9682123531663593</c:v>
                </c:pt>
                <c:pt idx="780">
                  <c:v>0.9683155972851755</c:v>
                </c:pt>
                <c:pt idx="781">
                  <c:v>0.9684188326602327</c:v>
                </c:pt>
                <c:pt idx="782">
                  <c:v>0.9685216723802009</c:v>
                </c:pt>
                <c:pt idx="783">
                  <c:v>0.9686243634562683</c:v>
                </c:pt>
                <c:pt idx="784">
                  <c:v>0.9687266588772468</c:v>
                </c:pt>
                <c:pt idx="785">
                  <c:v>0.9688286766838812</c:v>
                </c:pt>
                <c:pt idx="786">
                  <c:v>0.9689299906179264</c:v>
                </c:pt>
                <c:pt idx="787">
                  <c:v>0.9690303820854106</c:v>
                </c:pt>
                <c:pt idx="788">
                  <c:v>0.9691307057887636</c:v>
                </c:pt>
                <c:pt idx="789">
                  <c:v>0.9692303474789246</c:v>
                </c:pt>
                <c:pt idx="790">
                  <c:v>0.9693296722078264</c:v>
                </c:pt>
                <c:pt idx="791">
                  <c:v>0.9694288745241041</c:v>
                </c:pt>
                <c:pt idx="792">
                  <c:v>0.9695279194527221</c:v>
                </c:pt>
                <c:pt idx="793">
                  <c:v>0.9696262670665701</c:v>
                </c:pt>
                <c:pt idx="794">
                  <c:v>0.9697236375653642</c:v>
                </c:pt>
                <c:pt idx="795">
                  <c:v>0.9698202145680407</c:v>
                </c:pt>
                <c:pt idx="796">
                  <c:v>0.969916242899848</c:v>
                </c:pt>
                <c:pt idx="797">
                  <c:v>0.9700117050732684</c:v>
                </c:pt>
                <c:pt idx="798">
                  <c:v>0.9701071235278944</c:v>
                </c:pt>
                <c:pt idx="799">
                  <c:v>0.9702022250212613</c:v>
                </c:pt>
                <c:pt idx="800">
                  <c:v>0.970296576737305</c:v>
                </c:pt>
                <c:pt idx="801">
                  <c:v>0.9703908060407245</c:v>
                </c:pt>
                <c:pt idx="802">
                  <c:v>0.9704846462468741</c:v>
                </c:pt>
                <c:pt idx="803">
                  <c:v>0.9705783596685201</c:v>
                </c:pt>
                <c:pt idx="804">
                  <c:v>0.9706699898896151</c:v>
                </c:pt>
                <c:pt idx="805">
                  <c:v>0.9707613993307984</c:v>
                </c:pt>
                <c:pt idx="806">
                  <c:v>0.9708525377154568</c:v>
                </c:pt>
                <c:pt idx="807">
                  <c:v>0.9710338461134784</c:v>
                </c:pt>
                <c:pt idx="808">
                  <c:v>0.9711236510749088</c:v>
                </c:pt>
                <c:pt idx="809">
                  <c:v>0.9712129510842644</c:v>
                </c:pt>
                <c:pt idx="810">
                  <c:v>0.9713022161185846</c:v>
                </c:pt>
                <c:pt idx="811">
                  <c:v>0.9713914614794472</c:v>
                </c:pt>
                <c:pt idx="812">
                  <c:v>0.9714802084460542</c:v>
                </c:pt>
                <c:pt idx="813">
                  <c:v>0.9715684788778027</c:v>
                </c:pt>
                <c:pt idx="814">
                  <c:v>0.9716566181531682</c:v>
                </c:pt>
                <c:pt idx="815">
                  <c:v>0.9717445410205015</c:v>
                </c:pt>
                <c:pt idx="816">
                  <c:v>0.9718319764232777</c:v>
                </c:pt>
                <c:pt idx="817">
                  <c:v>0.9719191670008055</c:v>
                </c:pt>
                <c:pt idx="818">
                  <c:v>0.9720931765461092</c:v>
                </c:pt>
                <c:pt idx="819">
                  <c:v>0.9721794227976789</c:v>
                </c:pt>
                <c:pt idx="820">
                  <c:v>0.9722650591720673</c:v>
                </c:pt>
                <c:pt idx="821">
                  <c:v>0.9723505731338314</c:v>
                </c:pt>
                <c:pt idx="822">
                  <c:v>0.9724355121934498</c:v>
                </c:pt>
                <c:pt idx="823">
                  <c:v>0.9725203353982632</c:v>
                </c:pt>
                <c:pt idx="824">
                  <c:v>0.9726048197824203</c:v>
                </c:pt>
                <c:pt idx="825">
                  <c:v>0.9726889391146445</c:v>
                </c:pt>
                <c:pt idx="826">
                  <c:v>0.972856487022142</c:v>
                </c:pt>
                <c:pt idx="827">
                  <c:v>0.9729401298195077</c:v>
                </c:pt>
                <c:pt idx="828">
                  <c:v>0.9730234490977951</c:v>
                </c:pt>
                <c:pt idx="829">
                  <c:v>0.9731067355869868</c:v>
                </c:pt>
                <c:pt idx="830">
                  <c:v>0.9731898493869408</c:v>
                </c:pt>
                <c:pt idx="831">
                  <c:v>0.9732729478853167</c:v>
                </c:pt>
                <c:pt idx="832">
                  <c:v>0.9733551851234438</c:v>
                </c:pt>
                <c:pt idx="833">
                  <c:v>0.9734373677130779</c:v>
                </c:pt>
                <c:pt idx="834">
                  <c:v>0.9735189404255307</c:v>
                </c:pt>
                <c:pt idx="835">
                  <c:v>0.9736004869067069</c:v>
                </c:pt>
                <c:pt idx="836">
                  <c:v>0.9736817645172978</c:v>
                </c:pt>
                <c:pt idx="837">
                  <c:v>0.9737630202684916</c:v>
                </c:pt>
                <c:pt idx="838">
                  <c:v>0.9738428792042056</c:v>
                </c:pt>
                <c:pt idx="839">
                  <c:v>0.9739227272102211</c:v>
                </c:pt>
                <c:pt idx="840">
                  <c:v>0.9740022648127966</c:v>
                </c:pt>
                <c:pt idx="841">
                  <c:v>0.9740816122386167</c:v>
                </c:pt>
                <c:pt idx="842">
                  <c:v>0.9741605727531066</c:v>
                </c:pt>
                <c:pt idx="843">
                  <c:v>0.9742393540205397</c:v>
                </c:pt>
                <c:pt idx="844">
                  <c:v>0.9743179363674584</c:v>
                </c:pt>
                <c:pt idx="845">
                  <c:v>0.9743961011998911</c:v>
                </c:pt>
                <c:pt idx="846">
                  <c:v>0.974473542486277</c:v>
                </c:pt>
                <c:pt idx="847">
                  <c:v>0.9745509466116878</c:v>
                </c:pt>
                <c:pt idx="848">
                  <c:v>0.9746281343290666</c:v>
                </c:pt>
                <c:pt idx="849">
                  <c:v>0.974705263026073</c:v>
                </c:pt>
                <c:pt idx="850">
                  <c:v>0.9747823283308275</c:v>
                </c:pt>
                <c:pt idx="851">
                  <c:v>0.9749330029696425</c:v>
                </c:pt>
                <c:pt idx="852">
                  <c:v>0.9750074364029766</c:v>
                </c:pt>
                <c:pt idx="853">
                  <c:v>0.9750816884033142</c:v>
                </c:pt>
                <c:pt idx="854">
                  <c:v>0.9751554944719494</c:v>
                </c:pt>
                <c:pt idx="855">
                  <c:v>0.9752292087311164</c:v>
                </c:pt>
                <c:pt idx="856">
                  <c:v>0.975302522963315</c:v>
                </c:pt>
                <c:pt idx="857">
                  <c:v>0.9754490683620028</c:v>
                </c:pt>
                <c:pt idx="858">
                  <c:v>0.9755218120639351</c:v>
                </c:pt>
                <c:pt idx="859">
                  <c:v>0.9755943043827997</c:v>
                </c:pt>
                <c:pt idx="860">
                  <c:v>0.9756667420531714</c:v>
                </c:pt>
                <c:pt idx="861">
                  <c:v>0.9757385873338795</c:v>
                </c:pt>
                <c:pt idx="862">
                  <c:v>0.9758102009049776</c:v>
                </c:pt>
                <c:pt idx="863">
                  <c:v>0.9758812264582916</c:v>
                </c:pt>
                <c:pt idx="864">
                  <c:v>0.9759519525378642</c:v>
                </c:pt>
                <c:pt idx="865">
                  <c:v>0.9760221692934825</c:v>
                </c:pt>
                <c:pt idx="866">
                  <c:v>0.9760920865753595</c:v>
                </c:pt>
                <c:pt idx="867">
                  <c:v>0.9761617109413143</c:v>
                </c:pt>
                <c:pt idx="868">
                  <c:v>0.9762304674892011</c:v>
                </c:pt>
                <c:pt idx="869">
                  <c:v>0.9762991059963431</c:v>
                </c:pt>
                <c:pt idx="870">
                  <c:v>0.9764355654691725</c:v>
                </c:pt>
                <c:pt idx="871">
                  <c:v>0.9765034214098955</c:v>
                </c:pt>
                <c:pt idx="872">
                  <c:v>0.9765712139583668</c:v>
                </c:pt>
                <c:pt idx="873">
                  <c:v>0.9766388075863236</c:v>
                </c:pt>
                <c:pt idx="874">
                  <c:v>0.9767055443259111</c:v>
                </c:pt>
                <c:pt idx="875">
                  <c:v>0.9768385806171425</c:v>
                </c:pt>
                <c:pt idx="876">
                  <c:v>0.976905022254868</c:v>
                </c:pt>
                <c:pt idx="877">
                  <c:v>0.9769713917565828</c:v>
                </c:pt>
                <c:pt idx="878">
                  <c:v>0.9770376847504075</c:v>
                </c:pt>
                <c:pt idx="879">
                  <c:v>0.9771036083204199</c:v>
                </c:pt>
                <c:pt idx="880">
                  <c:v>0.9771691646525597</c:v>
                </c:pt>
                <c:pt idx="881">
                  <c:v>0.9772335842960461</c:v>
                </c:pt>
                <c:pt idx="882">
                  <c:v>0.9772978246924757</c:v>
                </c:pt>
                <c:pt idx="883">
                  <c:v>0.9773620126263521</c:v>
                </c:pt>
                <c:pt idx="884">
                  <c:v>0.9774261721430122</c:v>
                </c:pt>
                <c:pt idx="885">
                  <c:v>0.9774902617096013</c:v>
                </c:pt>
                <c:pt idx="886">
                  <c:v>0.9775543425324315</c:v>
                </c:pt>
                <c:pt idx="887">
                  <c:v>0.9776184233552616</c:v>
                </c:pt>
                <c:pt idx="888">
                  <c:v>0.9776822877700597</c:v>
                </c:pt>
                <c:pt idx="889">
                  <c:v>0.9777459532643435</c:v>
                </c:pt>
                <c:pt idx="890">
                  <c:v>0.9778096187586274</c:v>
                </c:pt>
                <c:pt idx="891">
                  <c:v>0.9778728317633896</c:v>
                </c:pt>
                <c:pt idx="892">
                  <c:v>0.9779358720789141</c:v>
                </c:pt>
                <c:pt idx="893">
                  <c:v>0.9779986172925766</c:v>
                </c:pt>
                <c:pt idx="894">
                  <c:v>0.9780613012999271</c:v>
                </c:pt>
                <c:pt idx="895">
                  <c:v>0.9781239153572066</c:v>
                </c:pt>
                <c:pt idx="896">
                  <c:v>0.9781862080813475</c:v>
                </c:pt>
                <c:pt idx="897">
                  <c:v>0.9782484549007544</c:v>
                </c:pt>
                <c:pt idx="898">
                  <c:v>0.9783104743824307</c:v>
                </c:pt>
                <c:pt idx="899">
                  <c:v>0.9783718140368547</c:v>
                </c:pt>
                <c:pt idx="900">
                  <c:v>0.9784327055736365</c:v>
                </c:pt>
                <c:pt idx="901">
                  <c:v>0.9784935752510211</c:v>
                </c:pt>
                <c:pt idx="902">
                  <c:v>0.9785544230690085</c:v>
                </c:pt>
                <c:pt idx="903">
                  <c:v>0.9786151441024923</c:v>
                </c:pt>
                <c:pt idx="904">
                  <c:v>0.9786758279750009</c:v>
                </c:pt>
                <c:pt idx="905">
                  <c:v>0.9787363872489455</c:v>
                </c:pt>
                <c:pt idx="906">
                  <c:v>0.9787967497883155</c:v>
                </c:pt>
                <c:pt idx="907">
                  <c:v>0.9788570511213736</c:v>
                </c:pt>
                <c:pt idx="908">
                  <c:v>0.9789172890621797</c:v>
                </c:pt>
                <c:pt idx="909">
                  <c:v>0.9789771488354146</c:v>
                </c:pt>
                <c:pt idx="910">
                  <c:v>0.9790358894075141</c:v>
                </c:pt>
                <c:pt idx="911">
                  <c:v>0.9790945010091701</c:v>
                </c:pt>
                <c:pt idx="912">
                  <c:v>0.9791527737901699</c:v>
                </c:pt>
                <c:pt idx="913">
                  <c:v>0.9792110465711696</c:v>
                </c:pt>
                <c:pt idx="914">
                  <c:v>0.9792692013114246</c:v>
                </c:pt>
                <c:pt idx="915">
                  <c:v>0.9793271265280092</c:v>
                </c:pt>
                <c:pt idx="916">
                  <c:v>0.9793849227741505</c:v>
                </c:pt>
                <c:pt idx="917">
                  <c:v>0.9794425966076675</c:v>
                </c:pt>
                <c:pt idx="918">
                  <c:v>0.9795001786317165</c:v>
                </c:pt>
                <c:pt idx="919">
                  <c:v>0.979557631685322</c:v>
                </c:pt>
                <c:pt idx="920">
                  <c:v>0.9796149819997607</c:v>
                </c:pt>
                <c:pt idx="921">
                  <c:v>0.9796722754797669</c:v>
                </c:pt>
                <c:pt idx="922">
                  <c:v>0.9797293853408366</c:v>
                </c:pt>
                <c:pt idx="923">
                  <c:v>0.9797861760547076</c:v>
                </c:pt>
                <c:pt idx="924">
                  <c:v>0.9798427481746068</c:v>
                </c:pt>
                <c:pt idx="925">
                  <c:v>0.9798991760224847</c:v>
                </c:pt>
                <c:pt idx="926">
                  <c:v>0.9799553481154155</c:v>
                </c:pt>
                <c:pt idx="927">
                  <c:v>0.9800112382221228</c:v>
                </c:pt>
                <c:pt idx="928">
                  <c:v>0.9800663676218082</c:v>
                </c:pt>
                <c:pt idx="929">
                  <c:v>0.9801214642323979</c:v>
                </c:pt>
                <c:pt idx="930">
                  <c:v>0.9801762657411256</c:v>
                </c:pt>
                <c:pt idx="931">
                  <c:v>0.9802309601388072</c:v>
                </c:pt>
                <c:pt idx="932">
                  <c:v>0.9802856304911518</c:v>
                </c:pt>
                <c:pt idx="933">
                  <c:v>0.9803402636825213</c:v>
                </c:pt>
                <c:pt idx="934">
                  <c:v>0.9803948575269757</c:v>
                </c:pt>
                <c:pt idx="935">
                  <c:v>0.9804491890586641</c:v>
                </c:pt>
                <c:pt idx="936">
                  <c:v>0.9805034244090048</c:v>
                </c:pt>
                <c:pt idx="937">
                  <c:v>0.9805576204124307</c:v>
                </c:pt>
                <c:pt idx="938">
                  <c:v>0.9806116393547394</c:v>
                </c:pt>
                <c:pt idx="939">
                  <c:v>0.980665271385718</c:v>
                </c:pt>
                <c:pt idx="940">
                  <c:v>0.9807716020514158</c:v>
                </c:pt>
                <c:pt idx="941">
                  <c:v>0.9808246416927309</c:v>
                </c:pt>
                <c:pt idx="942">
                  <c:v>0.9808773446993294</c:v>
                </c:pt>
                <c:pt idx="943">
                  <c:v>0.9809299646402186</c:v>
                </c:pt>
                <c:pt idx="944">
                  <c:v>0.9809825802092285</c:v>
                </c:pt>
                <c:pt idx="945">
                  <c:v>0.9810351411297453</c:v>
                </c:pt>
                <c:pt idx="946">
                  <c:v>0.9810874266218578</c:v>
                </c:pt>
                <c:pt idx="947">
                  <c:v>0.9811396640232964</c:v>
                </c:pt>
                <c:pt idx="948">
                  <c:v>0.9811918467762422</c:v>
                </c:pt>
                <c:pt idx="949">
                  <c:v>0.9812436163865812</c:v>
                </c:pt>
                <c:pt idx="950">
                  <c:v>0.9812953073030903</c:v>
                </c:pt>
                <c:pt idx="951">
                  <c:v>0.9813469391992271</c:v>
                </c:pt>
                <c:pt idx="952">
                  <c:v>0.9813985142609312</c:v>
                </c:pt>
                <c:pt idx="953">
                  <c:v>0.9814500193725643</c:v>
                </c:pt>
                <c:pt idx="954">
                  <c:v>0.9815015091826194</c:v>
                </c:pt>
                <c:pt idx="955">
                  <c:v>0.9815528459768942</c:v>
                </c:pt>
                <c:pt idx="956">
                  <c:v>0.9816041303086158</c:v>
                </c:pt>
                <c:pt idx="957">
                  <c:v>0.9816553140871104</c:v>
                </c:pt>
                <c:pt idx="958">
                  <c:v>0.9817062617841155</c:v>
                </c:pt>
                <c:pt idx="959">
                  <c:v>0.9817571788779644</c:v>
                </c:pt>
                <c:pt idx="960">
                  <c:v>0.9818080872280546</c:v>
                </c:pt>
                <c:pt idx="961">
                  <c:v>0.9818587747982332</c:v>
                </c:pt>
                <c:pt idx="962">
                  <c:v>0.9819093967902204</c:v>
                </c:pt>
                <c:pt idx="963">
                  <c:v>0.9819597083787676</c:v>
                </c:pt>
                <c:pt idx="964">
                  <c:v>0.982010017781375</c:v>
                </c:pt>
                <c:pt idx="965">
                  <c:v>0.9820602419323334</c:v>
                </c:pt>
                <c:pt idx="966">
                  <c:v>0.9821104638973521</c:v>
                </c:pt>
                <c:pt idx="967">
                  <c:v>0.9821603317401365</c:v>
                </c:pt>
                <c:pt idx="968">
                  <c:v>0.9822100378233818</c:v>
                </c:pt>
                <c:pt idx="969">
                  <c:v>0.9822592761155274</c:v>
                </c:pt>
                <c:pt idx="970">
                  <c:v>0.9823084947342157</c:v>
                </c:pt>
                <c:pt idx="971">
                  <c:v>0.9823576477747124</c:v>
                </c:pt>
                <c:pt idx="972">
                  <c:v>0.982406584407177</c:v>
                </c:pt>
                <c:pt idx="973">
                  <c:v>0.9824554969943047</c:v>
                </c:pt>
                <c:pt idx="974">
                  <c:v>0.9825042237765563</c:v>
                </c:pt>
                <c:pt idx="975">
                  <c:v>0.982552919955652</c:v>
                </c:pt>
                <c:pt idx="976">
                  <c:v>0.9826015855315916</c:v>
                </c:pt>
                <c:pt idx="977">
                  <c:v>0.9826501396246056</c:v>
                </c:pt>
                <c:pt idx="978">
                  <c:v>0.9826986871598004</c:v>
                </c:pt>
                <c:pt idx="979">
                  <c:v>0.9827470095432043</c:v>
                </c:pt>
                <c:pt idx="980">
                  <c:v>0.982795286021874</c:v>
                </c:pt>
                <c:pt idx="981">
                  <c:v>0.9828434247863416</c:v>
                </c:pt>
                <c:pt idx="982">
                  <c:v>0.9828913908615714</c:v>
                </c:pt>
                <c:pt idx="983">
                  <c:v>0.9829392235944785</c:v>
                </c:pt>
                <c:pt idx="984">
                  <c:v>0.982987030096109</c:v>
                </c:pt>
                <c:pt idx="985">
                  <c:v>0.9830346748382003</c:v>
                </c:pt>
                <c:pt idx="986">
                  <c:v>0.9830821468910539</c:v>
                </c:pt>
                <c:pt idx="987">
                  <c:v>0.9831293478873825</c:v>
                </c:pt>
                <c:pt idx="988">
                  <c:v>0.9831761903895974</c:v>
                </c:pt>
                <c:pt idx="989">
                  <c:v>0.9832227771368652</c:v>
                </c:pt>
                <c:pt idx="990">
                  <c:v>0.9832693442106756</c:v>
                </c:pt>
                <c:pt idx="991">
                  <c:v>0.9833158631938121</c:v>
                </c:pt>
                <c:pt idx="992">
                  <c:v>0.9833621089344841</c:v>
                </c:pt>
                <c:pt idx="993">
                  <c:v>0.9834082869110247</c:v>
                </c:pt>
                <c:pt idx="994">
                  <c:v>0.9834543971234341</c:v>
                </c:pt>
                <c:pt idx="995">
                  <c:v>0.9835005051499037</c:v>
                </c:pt>
                <c:pt idx="996">
                  <c:v>0.9835466109904336</c:v>
                </c:pt>
                <c:pt idx="997">
                  <c:v>0.9835926818559281</c:v>
                </c:pt>
                <c:pt idx="998">
                  <c:v>0.9836384226445251</c:v>
                </c:pt>
                <c:pt idx="999">
                  <c:v>0.9836839513969694</c:v>
                </c:pt>
                <c:pt idx="1000">
                  <c:v>0.9837293664805484</c:v>
                </c:pt>
                <c:pt idx="1001">
                  <c:v>0.9837747487750317</c:v>
                </c:pt>
                <c:pt idx="1002">
                  <c:v>0.9838201004663589</c:v>
                </c:pt>
                <c:pt idx="1003">
                  <c:v>0.9838654499717464</c:v>
                </c:pt>
                <c:pt idx="1004">
                  <c:v>0.9839107754317971</c:v>
                </c:pt>
                <c:pt idx="1005">
                  <c:v>0.9839558888556951</c:v>
                </c:pt>
                <c:pt idx="1006">
                  <c:v>0.9840459408283136</c:v>
                </c:pt>
                <c:pt idx="1007">
                  <c:v>0.9840908312863604</c:v>
                </c:pt>
                <c:pt idx="1008">
                  <c:v>0.9841356736537334</c:v>
                </c:pt>
                <c:pt idx="1009">
                  <c:v>0.9841800897628614</c:v>
                </c:pt>
                <c:pt idx="1010">
                  <c:v>0.9842244883844716</c:v>
                </c:pt>
                <c:pt idx="1011">
                  <c:v>0.9842687689653371</c:v>
                </c:pt>
                <c:pt idx="1012">
                  <c:v>0.984312983968011</c:v>
                </c:pt>
                <c:pt idx="1013">
                  <c:v>0.984357059070543</c:v>
                </c:pt>
                <c:pt idx="1014">
                  <c:v>0.9844009265088018</c:v>
                </c:pt>
                <c:pt idx="1015">
                  <c:v>0.9844446015843654</c:v>
                </c:pt>
                <c:pt idx="1016">
                  <c:v>0.9844881629910637</c:v>
                </c:pt>
                <c:pt idx="1017">
                  <c:v>0.9845315036178505</c:v>
                </c:pt>
                <c:pt idx="1018">
                  <c:v>0.9845744923083427</c:v>
                </c:pt>
                <c:pt idx="1019">
                  <c:v>0.9846172580329837</c:v>
                </c:pt>
                <c:pt idx="1020">
                  <c:v>0.9846599712950714</c:v>
                </c:pt>
                <c:pt idx="1021">
                  <c:v>0.9847026736274606</c:v>
                </c:pt>
                <c:pt idx="1022">
                  <c:v>0.9847452404315872</c:v>
                </c:pt>
                <c:pt idx="1023">
                  <c:v>0.984787783190377</c:v>
                </c:pt>
                <c:pt idx="1024">
                  <c:v>0.9848302559990958</c:v>
                </c:pt>
                <c:pt idx="1025">
                  <c:v>0.9848725998373712</c:v>
                </c:pt>
                <c:pt idx="1026">
                  <c:v>0.9849145283471002</c:v>
                </c:pt>
                <c:pt idx="1027">
                  <c:v>0.984997604986079</c:v>
                </c:pt>
                <c:pt idx="1028">
                  <c:v>0.9850390088702757</c:v>
                </c:pt>
                <c:pt idx="1029">
                  <c:v>0.9850803318747029</c:v>
                </c:pt>
                <c:pt idx="1030">
                  <c:v>0.9851215849290591</c:v>
                </c:pt>
                <c:pt idx="1031">
                  <c:v>0.9851627614755252</c:v>
                </c:pt>
                <c:pt idx="1032">
                  <c:v>0.9852038637000409</c:v>
                </c:pt>
                <c:pt idx="1033">
                  <c:v>0.9852449659245566</c:v>
                </c:pt>
                <c:pt idx="1034">
                  <c:v>0.9852859719677246</c:v>
                </c:pt>
                <c:pt idx="1035">
                  <c:v>0.9853268665279671</c:v>
                </c:pt>
                <c:pt idx="1036">
                  <c:v>0.9853674747301064</c:v>
                </c:pt>
                <c:pt idx="1037">
                  <c:v>0.98540797363526</c:v>
                </c:pt>
                <c:pt idx="1038">
                  <c:v>0.9854484506810164</c:v>
                </c:pt>
                <c:pt idx="1039">
                  <c:v>0.9855286287639292</c:v>
                </c:pt>
                <c:pt idx="1040">
                  <c:v>0.9855685440231781</c:v>
                </c:pt>
                <c:pt idx="1041">
                  <c:v>0.9856084177495723</c:v>
                </c:pt>
                <c:pt idx="1042">
                  <c:v>0.9856482280837147</c:v>
                </c:pt>
                <c:pt idx="1043">
                  <c:v>0.9856878701004987</c:v>
                </c:pt>
                <c:pt idx="1044">
                  <c:v>0.9857273831468395</c:v>
                </c:pt>
                <c:pt idx="1045">
                  <c:v>0.9857667388055206</c:v>
                </c:pt>
                <c:pt idx="1046">
                  <c:v>0.985805827779556</c:v>
                </c:pt>
                <c:pt idx="1047">
                  <c:v>0.985844835873822</c:v>
                </c:pt>
                <c:pt idx="1048">
                  <c:v>0.9858836428616339</c:v>
                </c:pt>
                <c:pt idx="1049">
                  <c:v>0.9859223033914847</c:v>
                </c:pt>
                <c:pt idx="1050">
                  <c:v>0.9859607496992431</c:v>
                </c:pt>
                <c:pt idx="1051">
                  <c:v>0.9859990014583666</c:v>
                </c:pt>
                <c:pt idx="1052">
                  <c:v>0.9860372051268164</c:v>
                </c:pt>
                <c:pt idx="1053">
                  <c:v>0.9860753803780498</c:v>
                </c:pt>
                <c:pt idx="1054">
                  <c:v>0.9861133654525277</c:v>
                </c:pt>
                <c:pt idx="1055">
                  <c:v>0.9861512303003211</c:v>
                </c:pt>
                <c:pt idx="1056">
                  <c:v>0.9861889814792493</c:v>
                </c:pt>
                <c:pt idx="1057">
                  <c:v>0.9862267304722376</c:v>
                </c:pt>
                <c:pt idx="1058">
                  <c:v>0.986264479465226</c:v>
                </c:pt>
                <c:pt idx="1059">
                  <c:v>0.9863022197144555</c:v>
                </c:pt>
                <c:pt idx="1060">
                  <c:v>0.9863775559408933</c:v>
                </c:pt>
                <c:pt idx="1061">
                  <c:v>0.9864147344036153</c:v>
                </c:pt>
                <c:pt idx="1062">
                  <c:v>0.9864519084944579</c:v>
                </c:pt>
                <c:pt idx="1063">
                  <c:v>0.9864890235649281</c:v>
                </c:pt>
                <c:pt idx="1064">
                  <c:v>0.9865261364494585</c:v>
                </c:pt>
                <c:pt idx="1065">
                  <c:v>0.9865630219962583</c:v>
                </c:pt>
                <c:pt idx="1066">
                  <c:v>0.9865997982460722</c:v>
                </c:pt>
                <c:pt idx="1067">
                  <c:v>0.9866365701240067</c:v>
                </c:pt>
                <c:pt idx="1068">
                  <c:v>0.9866729835078275</c:v>
                </c:pt>
                <c:pt idx="1069">
                  <c:v>0.98674533811249</c:v>
                </c:pt>
                <c:pt idx="1070">
                  <c:v>0.9867814301631722</c:v>
                </c:pt>
                <c:pt idx="1071">
                  <c:v>0.9868173407808578</c:v>
                </c:pt>
                <c:pt idx="1072">
                  <c:v>0.9868532054938094</c:v>
                </c:pt>
                <c:pt idx="1073">
                  <c:v>0.9868890527192432</c:v>
                </c:pt>
                <c:pt idx="1074">
                  <c:v>0.9869247840898719</c:v>
                </c:pt>
                <c:pt idx="1075">
                  <c:v>0.9869603602587808</c:v>
                </c:pt>
                <c:pt idx="1076">
                  <c:v>0.9869956937883809</c:v>
                </c:pt>
                <c:pt idx="1077">
                  <c:v>0.9870309027194171</c:v>
                </c:pt>
                <c:pt idx="1078">
                  <c:v>0.987066074489478</c:v>
                </c:pt>
                <c:pt idx="1079">
                  <c:v>0.987101130404734</c:v>
                </c:pt>
                <c:pt idx="1080">
                  <c:v>0.987135744760167</c:v>
                </c:pt>
                <c:pt idx="1081">
                  <c:v>0.9872046062331602</c:v>
                </c:pt>
                <c:pt idx="1082">
                  <c:v>0.987238973577405</c:v>
                </c:pt>
                <c:pt idx="1083">
                  <c:v>0.9872732687856391</c:v>
                </c:pt>
                <c:pt idx="1084">
                  <c:v>0.9873073126108057</c:v>
                </c:pt>
                <c:pt idx="1085">
                  <c:v>0.987341343320334</c:v>
                </c:pt>
                <c:pt idx="1086">
                  <c:v>0.9873752275719011</c:v>
                </c:pt>
                <c:pt idx="1087">
                  <c:v>0.9874089325764114</c:v>
                </c:pt>
                <c:pt idx="1088">
                  <c:v>0.9874423883837938</c:v>
                </c:pt>
                <c:pt idx="1089">
                  <c:v>0.9874756977332152</c:v>
                </c:pt>
                <c:pt idx="1090">
                  <c:v>0.9875088802981329</c:v>
                </c:pt>
                <c:pt idx="1091">
                  <c:v>0.9875418945456923</c:v>
                </c:pt>
                <c:pt idx="1092">
                  <c:v>0.9875747011289785</c:v>
                </c:pt>
                <c:pt idx="1093">
                  <c:v>0.9876400126358699</c:v>
                </c:pt>
                <c:pt idx="1094">
                  <c:v>0.9876724563531629</c:v>
                </c:pt>
                <c:pt idx="1095">
                  <c:v>0.9877048541657218</c:v>
                </c:pt>
                <c:pt idx="1096">
                  <c:v>0.9877372104454262</c:v>
                </c:pt>
                <c:pt idx="1097">
                  <c:v>0.9877693546889779</c:v>
                </c:pt>
                <c:pt idx="1098">
                  <c:v>0.9878014901887707</c:v>
                </c:pt>
                <c:pt idx="1099">
                  <c:v>0.9878335622963117</c:v>
                </c:pt>
                <c:pt idx="1100">
                  <c:v>0.9878652693519199</c:v>
                </c:pt>
                <c:pt idx="1101">
                  <c:v>0.9878968824121201</c:v>
                </c:pt>
                <c:pt idx="1102">
                  <c:v>0.9879284277081891</c:v>
                </c:pt>
                <c:pt idx="1103">
                  <c:v>0.9879598571494531</c:v>
                </c:pt>
                <c:pt idx="1104">
                  <c:v>0.9879911729218517</c:v>
                </c:pt>
                <c:pt idx="1105">
                  <c:v>0.9880536011742551</c:v>
                </c:pt>
                <c:pt idx="1106">
                  <c:v>0.9880845715681783</c:v>
                </c:pt>
                <c:pt idx="1107">
                  <c:v>0.9881155179167646</c:v>
                </c:pt>
                <c:pt idx="1108">
                  <c:v>0.9881768138523942</c:v>
                </c:pt>
                <c:pt idx="1109">
                  <c:v>0.9882069448454657</c:v>
                </c:pt>
                <c:pt idx="1110">
                  <c:v>0.9882370605369591</c:v>
                </c:pt>
                <c:pt idx="1111">
                  <c:v>0.9882669139156864</c:v>
                </c:pt>
                <c:pt idx="1112">
                  <c:v>0.9882967323193783</c:v>
                </c:pt>
                <c:pt idx="1113">
                  <c:v>0.9883561330452725</c:v>
                </c:pt>
                <c:pt idx="1114">
                  <c:v>0.9883857918753649</c:v>
                </c:pt>
                <c:pt idx="1115">
                  <c:v>0.9884154441476382</c:v>
                </c:pt>
                <c:pt idx="1116">
                  <c:v>0.9884450789323938</c:v>
                </c:pt>
                <c:pt idx="1117">
                  <c:v>0.9884745366560321</c:v>
                </c:pt>
                <c:pt idx="1118">
                  <c:v>0.9885037779716385</c:v>
                </c:pt>
                <c:pt idx="1119">
                  <c:v>0.9885329427793547</c:v>
                </c:pt>
                <c:pt idx="1120">
                  <c:v>0.9885620791698545</c:v>
                </c:pt>
                <c:pt idx="1121">
                  <c:v>0.9885911062633684</c:v>
                </c:pt>
                <c:pt idx="1122">
                  <c:v>0.9886198426269</c:v>
                </c:pt>
                <c:pt idx="1123">
                  <c:v>0.9886485440153959</c:v>
                </c:pt>
                <c:pt idx="1124">
                  <c:v>0.9886770005786435</c:v>
                </c:pt>
                <c:pt idx="1125">
                  <c:v>0.9887053762621215</c:v>
                </c:pt>
                <c:pt idx="1126">
                  <c:v>0.9887337453877804</c:v>
                </c:pt>
                <c:pt idx="1127">
                  <c:v>0.9887620248899108</c:v>
                </c:pt>
                <c:pt idx="1128">
                  <c:v>0.9887901950950554</c:v>
                </c:pt>
                <c:pt idx="1129">
                  <c:v>0.9888183281392248</c:v>
                </c:pt>
                <c:pt idx="1130">
                  <c:v>0.9888464436958764</c:v>
                </c:pt>
                <c:pt idx="1131">
                  <c:v>0.9889020365147819</c:v>
                </c:pt>
                <c:pt idx="1132">
                  <c:v>0.9889296952100325</c:v>
                </c:pt>
                <c:pt idx="1133">
                  <c:v>0.9889573342318256</c:v>
                </c:pt>
                <c:pt idx="1134">
                  <c:v>0.9889849339067038</c:v>
                </c:pt>
                <c:pt idx="1135">
                  <c:v>0.9890125073503054</c:v>
                </c:pt>
                <c:pt idx="1136">
                  <c:v>0.9890400589345099</c:v>
                </c:pt>
                <c:pt idx="1137">
                  <c:v>0.9890673744372247</c:v>
                </c:pt>
                <c:pt idx="1138">
                  <c:v>0.9890946593367835</c:v>
                </c:pt>
                <c:pt idx="1139">
                  <c:v>0.9891219201910054</c:v>
                </c:pt>
                <c:pt idx="1140">
                  <c:v>0.9891491285826741</c:v>
                </c:pt>
                <c:pt idx="1141">
                  <c:v>0.9892033267720397</c:v>
                </c:pt>
                <c:pt idx="1142">
                  <c:v>0.9892571817688697</c:v>
                </c:pt>
                <c:pt idx="1143">
                  <c:v>0.989310420330699</c:v>
                </c:pt>
                <c:pt idx="1144">
                  <c:v>0.9893630730606842</c:v>
                </c:pt>
                <c:pt idx="1145">
                  <c:v>0.98941540882941</c:v>
                </c:pt>
                <c:pt idx="1146">
                  <c:v>0.9894414433714502</c:v>
                </c:pt>
                <c:pt idx="1147">
                  <c:v>0.98946740359154</c:v>
                </c:pt>
                <c:pt idx="1148">
                  <c:v>0.9894933550678708</c:v>
                </c:pt>
                <c:pt idx="1149">
                  <c:v>0.989519304358262</c:v>
                </c:pt>
                <c:pt idx="1150">
                  <c:v>0.9895452164876779</c:v>
                </c:pt>
                <c:pt idx="1151">
                  <c:v>0.9895710848982995</c:v>
                </c:pt>
                <c:pt idx="1152">
                  <c:v>0.9895969511229814</c:v>
                </c:pt>
                <c:pt idx="1153">
                  <c:v>0.9896225965677518</c:v>
                </c:pt>
                <c:pt idx="1154">
                  <c:v>0.9896482332687633</c:v>
                </c:pt>
                <c:pt idx="1155">
                  <c:v>0.9896992137548641</c:v>
                </c:pt>
                <c:pt idx="1156">
                  <c:v>0.9897246187462656</c:v>
                </c:pt>
                <c:pt idx="1157">
                  <c:v>0.9897500106220287</c:v>
                </c:pt>
                <c:pt idx="1158">
                  <c:v>0.9897753915680932</c:v>
                </c:pt>
                <c:pt idx="1159">
                  <c:v>0.9898006107546187</c:v>
                </c:pt>
                <c:pt idx="1160">
                  <c:v>0.9898257643629526</c:v>
                </c:pt>
                <c:pt idx="1161">
                  <c:v>0.9898508829962509</c:v>
                </c:pt>
                <c:pt idx="1162">
                  <c:v>0.9898759797701521</c:v>
                </c:pt>
                <c:pt idx="1163">
                  <c:v>0.989901063428415</c:v>
                </c:pt>
                <c:pt idx="1164">
                  <c:v>0.9899260793225466</c:v>
                </c:pt>
                <c:pt idx="1165">
                  <c:v>0.9899510667994619</c:v>
                </c:pt>
                <c:pt idx="1166">
                  <c:v>0.9899760367888595</c:v>
                </c:pt>
                <c:pt idx="1167">
                  <c:v>0.9900504221315198</c:v>
                </c:pt>
                <c:pt idx="1168">
                  <c:v>0.9900750598580803</c:v>
                </c:pt>
                <c:pt idx="1169">
                  <c:v>0.9900995227094633</c:v>
                </c:pt>
                <c:pt idx="1170">
                  <c:v>0.9901239396561122</c:v>
                </c:pt>
                <c:pt idx="1171">
                  <c:v>0.9901483106980271</c:v>
                </c:pt>
                <c:pt idx="1172">
                  <c:v>0.9901726686243036</c:v>
                </c:pt>
                <c:pt idx="1173">
                  <c:v>0.9901967904690907</c:v>
                </c:pt>
                <c:pt idx="1174">
                  <c:v>0.9902209079419982</c:v>
                </c:pt>
                <c:pt idx="1175">
                  <c:v>0.9902449707664128</c:v>
                </c:pt>
                <c:pt idx="1176">
                  <c:v>0.9902688499718911</c:v>
                </c:pt>
                <c:pt idx="1177">
                  <c:v>0.9902926876445148</c:v>
                </c:pt>
                <c:pt idx="1178">
                  <c:v>0.9903165187593194</c:v>
                </c:pt>
                <c:pt idx="1179">
                  <c:v>0.9903402187177408</c:v>
                </c:pt>
                <c:pt idx="1180">
                  <c:v>0.9903638181229353</c:v>
                </c:pt>
                <c:pt idx="1181">
                  <c:v>0.9904109360535546</c:v>
                </c:pt>
                <c:pt idx="1182">
                  <c:v>0.9904344436492809</c:v>
                </c:pt>
                <c:pt idx="1183">
                  <c:v>0.9904579184559115</c:v>
                </c:pt>
                <c:pt idx="1184">
                  <c:v>0.9904813189405915</c:v>
                </c:pt>
                <c:pt idx="1185">
                  <c:v>0.9905047063096334</c:v>
                </c:pt>
                <c:pt idx="1186">
                  <c:v>0.990551155342699</c:v>
                </c:pt>
                <c:pt idx="1187">
                  <c:v>0.9905743219318293</c:v>
                </c:pt>
                <c:pt idx="1188">
                  <c:v>0.9905974448021652</c:v>
                </c:pt>
                <c:pt idx="1189">
                  <c:v>0.9906666144926587</c:v>
                </c:pt>
                <c:pt idx="1190">
                  <c:v>0.9906895690456363</c:v>
                </c:pt>
                <c:pt idx="1191">
                  <c:v>0.9907125148548551</c:v>
                </c:pt>
                <c:pt idx="1192">
                  <c:v>0.9907354191312192</c:v>
                </c:pt>
                <c:pt idx="1193">
                  <c:v>0.9907582643872109</c:v>
                </c:pt>
                <c:pt idx="1194">
                  <c:v>0.9907810090899757</c:v>
                </c:pt>
                <c:pt idx="1195">
                  <c:v>0.9908037384911624</c:v>
                </c:pt>
                <c:pt idx="1196">
                  <c:v>0.9908264307313739</c:v>
                </c:pt>
                <c:pt idx="1197">
                  <c:v>0.990871666567896</c:v>
                </c:pt>
                <c:pt idx="1198">
                  <c:v>0.9908942385814231</c:v>
                </c:pt>
                <c:pt idx="1199">
                  <c:v>0.9909167078557835</c:v>
                </c:pt>
                <c:pt idx="1200">
                  <c:v>0.9909391618285657</c:v>
                </c:pt>
                <c:pt idx="1201">
                  <c:v>0.9909615283637592</c:v>
                </c:pt>
                <c:pt idx="1202">
                  <c:v>0.9909837921597859</c:v>
                </c:pt>
                <c:pt idx="1203">
                  <c:v>0.9910058308040218</c:v>
                </c:pt>
                <c:pt idx="1204">
                  <c:v>0.991027782010669</c:v>
                </c:pt>
                <c:pt idx="1205">
                  <c:v>0.9910496894985218</c:v>
                </c:pt>
                <c:pt idx="1206">
                  <c:v>0.9910714352268355</c:v>
                </c:pt>
                <c:pt idx="1207">
                  <c:v>0.9911149157537642</c:v>
                </c:pt>
                <c:pt idx="1208">
                  <c:v>0.9911365587429111</c:v>
                </c:pt>
                <c:pt idx="1209">
                  <c:v>0.9911581995461183</c:v>
                </c:pt>
                <c:pt idx="1210">
                  <c:v>0.9912013521820894</c:v>
                </c:pt>
                <c:pt idx="1211">
                  <c:v>0.9912441791130424</c:v>
                </c:pt>
                <c:pt idx="1212">
                  <c:v>0.9912655335581466</c:v>
                </c:pt>
                <c:pt idx="1213">
                  <c:v>0.9912868836313713</c:v>
                </c:pt>
                <c:pt idx="1214">
                  <c:v>0.9913082293327166</c:v>
                </c:pt>
                <c:pt idx="1215">
                  <c:v>0.9913293848573064</c:v>
                </c:pt>
                <c:pt idx="1216">
                  <c:v>0.9913504901052826</c:v>
                </c:pt>
                <c:pt idx="1217">
                  <c:v>0.9913925235401181</c:v>
                </c:pt>
                <c:pt idx="1218">
                  <c:v>0.9914134888879524</c:v>
                </c:pt>
                <c:pt idx="1219">
                  <c:v>0.9914342837324888</c:v>
                </c:pt>
                <c:pt idx="1220">
                  <c:v>0.9914550392301102</c:v>
                </c:pt>
                <c:pt idx="1221">
                  <c:v>0.9914757182198416</c:v>
                </c:pt>
                <c:pt idx="1222">
                  <c:v>0.9914963054001048</c:v>
                </c:pt>
                <c:pt idx="1223">
                  <c:v>0.9915168401178147</c:v>
                </c:pt>
                <c:pt idx="1224">
                  <c:v>0.9915373682777056</c:v>
                </c:pt>
                <c:pt idx="1225">
                  <c:v>0.9915781819581785</c:v>
                </c:pt>
                <c:pt idx="1226">
                  <c:v>0.9915985264991329</c:v>
                </c:pt>
                <c:pt idx="1227">
                  <c:v>0.9916391500028504</c:v>
                </c:pt>
                <c:pt idx="1228">
                  <c:v>0.99165945519689</c:v>
                </c:pt>
                <c:pt idx="1229">
                  <c:v>0.9916797582049899</c:v>
                </c:pt>
                <c:pt idx="1230">
                  <c:v>0.9917000546552706</c:v>
                </c:pt>
                <c:pt idx="1231">
                  <c:v>0.9917607275980805</c:v>
                </c:pt>
                <c:pt idx="1232">
                  <c:v>0.9918009379591913</c:v>
                </c:pt>
                <c:pt idx="1233">
                  <c:v>0.9918208999606952</c:v>
                </c:pt>
                <c:pt idx="1234">
                  <c:v>0.9918407941980678</c:v>
                </c:pt>
                <c:pt idx="1235">
                  <c:v>0.9918605310477807</c:v>
                </c:pt>
                <c:pt idx="1236">
                  <c:v>0.9918999763299902</c:v>
                </c:pt>
                <c:pt idx="1237">
                  <c:v>0.9919196191842952</c:v>
                </c:pt>
                <c:pt idx="1238">
                  <c:v>0.9919392532948413</c:v>
                </c:pt>
                <c:pt idx="1239">
                  <c:v>0.9919588611741109</c:v>
                </c:pt>
                <c:pt idx="1240">
                  <c:v>0.9919783772439124</c:v>
                </c:pt>
                <c:pt idx="1241">
                  <c:v>0.9920173809662988</c:v>
                </c:pt>
                <c:pt idx="1242">
                  <c:v>0.9920368227141497</c:v>
                </c:pt>
                <c:pt idx="1243">
                  <c:v>0.9920562557182419</c:v>
                </c:pt>
                <c:pt idx="1244">
                  <c:v>0.9920756777926354</c:v>
                </c:pt>
                <c:pt idx="1245">
                  <c:v>0.9920950801935715</c:v>
                </c:pt>
                <c:pt idx="1246">
                  <c:v>0.9921144672929295</c:v>
                </c:pt>
                <c:pt idx="1247">
                  <c:v>0.9921338347188301</c:v>
                </c:pt>
                <c:pt idx="1248">
                  <c:v>0.9921531256368405</c:v>
                </c:pt>
                <c:pt idx="1249">
                  <c:v>0.9921723925095141</c:v>
                </c:pt>
                <c:pt idx="1250">
                  <c:v>0.9921915675727194</c:v>
                </c:pt>
                <c:pt idx="1251">
                  <c:v>0.9922294258626937</c:v>
                </c:pt>
                <c:pt idx="1252">
                  <c:v>0.9922481484363775</c:v>
                </c:pt>
                <c:pt idx="1253">
                  <c:v>0.9922668688241216</c:v>
                </c:pt>
                <c:pt idx="1254">
                  <c:v>0.9922855061461564</c:v>
                </c:pt>
                <c:pt idx="1255">
                  <c:v>0.9923041128650352</c:v>
                </c:pt>
                <c:pt idx="1256">
                  <c:v>0.9923226671213607</c:v>
                </c:pt>
                <c:pt idx="1257">
                  <c:v>0.9923411995182891</c:v>
                </c:pt>
                <c:pt idx="1258">
                  <c:v>0.9923597100558204</c:v>
                </c:pt>
                <c:pt idx="1259">
                  <c:v>0.9923782184074118</c:v>
                </c:pt>
                <c:pt idx="1260">
                  <c:v>0.9924331467006432</c:v>
                </c:pt>
                <c:pt idx="1261">
                  <c:v>0.9924512637690251</c:v>
                </c:pt>
                <c:pt idx="1262">
                  <c:v>0.9924693436764319</c:v>
                </c:pt>
                <c:pt idx="1263">
                  <c:v>0.9924872771258776</c:v>
                </c:pt>
                <c:pt idx="1264">
                  <c:v>0.9925052018315643</c:v>
                </c:pt>
                <c:pt idx="1265">
                  <c:v>0.9925230303559035</c:v>
                </c:pt>
                <c:pt idx="1266">
                  <c:v>0.9925407495832568</c:v>
                </c:pt>
                <c:pt idx="1267">
                  <c:v>0.9925583682573831</c:v>
                </c:pt>
                <c:pt idx="1268">
                  <c:v>0.9925759475845944</c:v>
                </c:pt>
                <c:pt idx="1269">
                  <c:v>0.9925934678914334</c:v>
                </c:pt>
                <c:pt idx="1270">
                  <c:v>0.9926109860123327</c:v>
                </c:pt>
                <c:pt idx="1271">
                  <c:v>0.9926284822738347</c:v>
                </c:pt>
                <c:pt idx="1272">
                  <c:v>0.9926459238868438</c:v>
                </c:pt>
                <c:pt idx="1273">
                  <c:v>0.9926633283388777</c:v>
                </c:pt>
                <c:pt idx="1274">
                  <c:v>0.9926807153033939</c:v>
                </c:pt>
                <c:pt idx="1275">
                  <c:v>0.9927324237074208</c:v>
                </c:pt>
                <c:pt idx="1276">
                  <c:v>0.9927495898920254</c:v>
                </c:pt>
                <c:pt idx="1277">
                  <c:v>0.9927838326377063</c:v>
                </c:pt>
                <c:pt idx="1278">
                  <c:v>0.9928008873393853</c:v>
                </c:pt>
                <c:pt idx="1279">
                  <c:v>0.9928008873393853</c:v>
                </c:pt>
                <c:pt idx="1280">
                  <c:v>0.9928349005613958</c:v>
                </c:pt>
                <c:pt idx="1281">
                  <c:v>0.9928518634536067</c:v>
                </c:pt>
                <c:pt idx="1282">
                  <c:v>0.9928687542098068</c:v>
                </c:pt>
                <c:pt idx="1283">
                  <c:v>0.9928856165487907</c:v>
                </c:pt>
                <c:pt idx="1284">
                  <c:v>0.992919275648567</c:v>
                </c:pt>
                <c:pt idx="1285">
                  <c:v>0.9929360789671785</c:v>
                </c:pt>
                <c:pt idx="1286">
                  <c:v>0.9929527074106126</c:v>
                </c:pt>
                <c:pt idx="1287">
                  <c:v>0.9929693205524687</c:v>
                </c:pt>
                <c:pt idx="1288">
                  <c:v>0.9930024703282906</c:v>
                </c:pt>
                <c:pt idx="1289">
                  <c:v>0.99301890203715</c:v>
                </c:pt>
                <c:pt idx="1290">
                  <c:v>0.9930352331927824</c:v>
                </c:pt>
                <c:pt idx="1291">
                  <c:v>0.9930515490468368</c:v>
                </c:pt>
                <c:pt idx="1292">
                  <c:v>0.9930678627149515</c:v>
                </c:pt>
                <c:pt idx="1293">
                  <c:v>0.9930841632674279</c:v>
                </c:pt>
                <c:pt idx="1294">
                  <c:v>0.9931002845728474</c:v>
                </c:pt>
                <c:pt idx="1295">
                  <c:v>0.9931163752751109</c:v>
                </c:pt>
                <c:pt idx="1296">
                  <c:v>0.9931324091429417</c:v>
                </c:pt>
                <c:pt idx="1297">
                  <c:v>0.9931484342670136</c:v>
                </c:pt>
                <c:pt idx="1298">
                  <c:v>0.9931644572051458</c:v>
                </c:pt>
                <c:pt idx="1299">
                  <c:v>0.9931964200157009</c:v>
                </c:pt>
                <c:pt idx="1300">
                  <c:v>0.9932120866456591</c:v>
                </c:pt>
                <c:pt idx="1301">
                  <c:v>0.9932277467177981</c:v>
                </c:pt>
                <c:pt idx="1302">
                  <c:v>0.99325895975103</c:v>
                </c:pt>
                <c:pt idx="1303">
                  <c:v>0.9932898820542794</c:v>
                </c:pt>
                <c:pt idx="1304">
                  <c:v>0.9933052929292906</c:v>
                </c:pt>
                <c:pt idx="1305">
                  <c:v>0.9933206732011457</c:v>
                </c:pt>
                <c:pt idx="1306">
                  <c:v>0.9933513266338098</c:v>
                </c:pt>
                <c:pt idx="1307">
                  <c:v>0.9933665910508599</c:v>
                </c:pt>
                <c:pt idx="1308">
                  <c:v>0.9933818139350553</c:v>
                </c:pt>
                <c:pt idx="1309">
                  <c:v>0.9933970302614316</c:v>
                </c:pt>
                <c:pt idx="1310">
                  <c:v>0.9934122006830738</c:v>
                </c:pt>
                <c:pt idx="1311">
                  <c:v>0.9934424387871915</c:v>
                </c:pt>
                <c:pt idx="1312">
                  <c:v>0.9934875587689086</c:v>
                </c:pt>
                <c:pt idx="1313">
                  <c:v>0.9935172656896749</c:v>
                </c:pt>
                <c:pt idx="1314">
                  <c:v>0.9935465529100153</c:v>
                </c:pt>
                <c:pt idx="1315">
                  <c:v>0.9935611374998131</c:v>
                </c:pt>
                <c:pt idx="1316">
                  <c:v>0.993604648629898</c:v>
                </c:pt>
                <c:pt idx="1317">
                  <c:v>0.9936334177825252</c:v>
                </c:pt>
                <c:pt idx="1318">
                  <c:v>0.9936477269439186</c:v>
                </c:pt>
                <c:pt idx="1319">
                  <c:v>0.9936619967583971</c:v>
                </c:pt>
                <c:pt idx="1320">
                  <c:v>0.9936904773669816</c:v>
                </c:pt>
                <c:pt idx="1321">
                  <c:v>0.9937188443067008</c:v>
                </c:pt>
                <c:pt idx="1322">
                  <c:v>0.9937471872010831</c:v>
                </c:pt>
                <c:pt idx="1323">
                  <c:v>0.9937613499045154</c:v>
                </c:pt>
                <c:pt idx="1324">
                  <c:v>0.9937895572706351</c:v>
                </c:pt>
                <c:pt idx="1325">
                  <c:v>0.9938036172349006</c:v>
                </c:pt>
                <c:pt idx="1326">
                  <c:v>0.9938176597116484</c:v>
                </c:pt>
                <c:pt idx="1327">
                  <c:v>0.9938316628414813</c:v>
                </c:pt>
                <c:pt idx="1328">
                  <c:v>0.9938456550416156</c:v>
                </c:pt>
                <c:pt idx="1329">
                  <c:v>0.993859638497991</c:v>
                </c:pt>
                <c:pt idx="1330">
                  <c:v>0.9938736153965472</c:v>
                </c:pt>
                <c:pt idx="1331">
                  <c:v>0.9938875835513445</c:v>
                </c:pt>
                <c:pt idx="1332">
                  <c:v>0.9939015364045639</c:v>
                </c:pt>
                <c:pt idx="1333">
                  <c:v>0.9939154870718435</c:v>
                </c:pt>
                <c:pt idx="1334">
                  <c:v>0.9939294289953643</c:v>
                </c:pt>
                <c:pt idx="1335">
                  <c:v>0.9939433206422715</c:v>
                </c:pt>
                <c:pt idx="1336">
                  <c:v>0.9939572057313596</c:v>
                </c:pt>
                <c:pt idx="1337">
                  <c:v>0.9939710252422561</c:v>
                </c:pt>
                <c:pt idx="1338">
                  <c:v>0.9939848228937554</c:v>
                </c:pt>
                <c:pt idx="1339">
                  <c:v>0.9939985790124002</c:v>
                </c:pt>
                <c:pt idx="1340">
                  <c:v>0.9940259885105229</c:v>
                </c:pt>
                <c:pt idx="1341">
                  <c:v>0.9940396375181215</c:v>
                </c:pt>
                <c:pt idx="1342">
                  <c:v>0.9940668480957299</c:v>
                </c:pt>
                <c:pt idx="1343">
                  <c:v>0.9940937373401998</c:v>
                </c:pt>
                <c:pt idx="1344">
                  <c:v>0.9941071065475144</c:v>
                </c:pt>
                <c:pt idx="1345">
                  <c:v>0.9941338165449274</c:v>
                </c:pt>
                <c:pt idx="1346">
                  <c:v>0.9941737274322967</c:v>
                </c:pt>
                <c:pt idx="1347">
                  <c:v>0.994213321358407</c:v>
                </c:pt>
                <c:pt idx="1348">
                  <c:v>0.9942265003889662</c:v>
                </c:pt>
                <c:pt idx="1349">
                  <c:v>0.9942657620522394</c:v>
                </c:pt>
                <c:pt idx="1350">
                  <c:v>0.9942787946248375</c:v>
                </c:pt>
                <c:pt idx="1351">
                  <c:v>0.9942918228255562</c:v>
                </c:pt>
                <c:pt idx="1352">
                  <c:v>0.994317859553536</c:v>
                </c:pt>
                <c:pt idx="1353">
                  <c:v>0.9943437192203988</c:v>
                </c:pt>
                <c:pt idx="1354">
                  <c:v>0.9943694848918536</c:v>
                </c:pt>
                <c:pt idx="1355">
                  <c:v>0.9943823163579977</c:v>
                </c:pt>
                <c:pt idx="1356">
                  <c:v>0.9944079486871298</c:v>
                </c:pt>
                <c:pt idx="1357">
                  <c:v>0.9944207145750823</c:v>
                </c:pt>
                <c:pt idx="1358">
                  <c:v>0.9944462070040725</c:v>
                </c:pt>
                <c:pt idx="1359">
                  <c:v>0.994458918243532</c:v>
                </c:pt>
                <c:pt idx="1360">
                  <c:v>0.994471627297052</c:v>
                </c:pt>
                <c:pt idx="1361">
                  <c:v>0.9944842904458377</c:v>
                </c:pt>
                <c:pt idx="1362">
                  <c:v>0.9944969514086838</c:v>
                </c:pt>
                <c:pt idx="1363">
                  <c:v>0.9945096123715298</c:v>
                </c:pt>
                <c:pt idx="1364">
                  <c:v>0.994522194640546</c:v>
                </c:pt>
                <c:pt idx="1365">
                  <c:v>0.9945469088749965</c:v>
                </c:pt>
                <c:pt idx="1366">
                  <c:v>0.9946081916949879</c:v>
                </c:pt>
                <c:pt idx="1367">
                  <c:v>0.9946203520776385</c:v>
                </c:pt>
                <c:pt idx="1368">
                  <c:v>0.9946446400538441</c:v>
                </c:pt>
                <c:pt idx="1369">
                  <c:v>0.994656752345821</c:v>
                </c:pt>
                <c:pt idx="1370">
                  <c:v>0.9946688099893048</c:v>
                </c:pt>
                <c:pt idx="1371">
                  <c:v>0.9946808457733916</c:v>
                </c:pt>
                <c:pt idx="1372">
                  <c:v>0.9946928771855988</c:v>
                </c:pt>
                <c:pt idx="1373">
                  <c:v>0.9947048845524693</c:v>
                </c:pt>
                <c:pt idx="1374">
                  <c:v>0.9947168766177616</c:v>
                </c:pt>
                <c:pt idx="1375">
                  <c:v>0.9947288358939582</c:v>
                </c:pt>
                <c:pt idx="1376">
                  <c:v>0.99474075582324</c:v>
                </c:pt>
                <c:pt idx="1377">
                  <c:v>0.9947526560790642</c:v>
                </c:pt>
                <c:pt idx="1378">
                  <c:v>0.9947644011331684</c:v>
                </c:pt>
                <c:pt idx="1379">
                  <c:v>0.9947761155841167</c:v>
                </c:pt>
                <c:pt idx="1380">
                  <c:v>0.9947878256631855</c:v>
                </c:pt>
                <c:pt idx="1381">
                  <c:v>0.9947995269984954</c:v>
                </c:pt>
                <c:pt idx="1382">
                  <c:v>0.9948112108462875</c:v>
                </c:pt>
                <c:pt idx="1383">
                  <c:v>0.9948461968114725</c:v>
                </c:pt>
                <c:pt idx="1384">
                  <c:v>0.9948578216388922</c:v>
                </c:pt>
                <c:pt idx="1385">
                  <c:v>0.9948810253889978</c:v>
                </c:pt>
                <c:pt idx="1386">
                  <c:v>0.9948926217992012</c:v>
                </c:pt>
                <c:pt idx="1387">
                  <c:v>0.9949041810484295</c:v>
                </c:pt>
                <c:pt idx="1388">
                  <c:v>0.9949157315538989</c:v>
                </c:pt>
                <c:pt idx="1389">
                  <c:v>0.9949272667577902</c:v>
                </c:pt>
                <c:pt idx="1390">
                  <c:v>0.9949387932179227</c:v>
                </c:pt>
                <c:pt idx="1391">
                  <c:v>0.994950267215502</c:v>
                </c:pt>
                <c:pt idx="1392">
                  <c:v>0.994973210838781</c:v>
                </c:pt>
                <c:pt idx="1393">
                  <c:v>0.9949846760926013</c:v>
                </c:pt>
                <c:pt idx="1394">
                  <c:v>0.9949961326026628</c:v>
                </c:pt>
                <c:pt idx="1395">
                  <c:v>0.9950190172055695</c:v>
                </c:pt>
                <c:pt idx="1396">
                  <c:v>0.9950303294436096</c:v>
                </c:pt>
                <c:pt idx="1397">
                  <c:v>0.9950416132644334</c:v>
                </c:pt>
                <c:pt idx="1398">
                  <c:v>0.9950639929152653</c:v>
                </c:pt>
                <c:pt idx="1399">
                  <c:v>0.9950751324640676</c:v>
                </c:pt>
                <c:pt idx="1400">
                  <c:v>0.9950973984460342</c:v>
                </c:pt>
                <c:pt idx="1401">
                  <c:v>0.9951085183213791</c:v>
                </c:pt>
                <c:pt idx="1402">
                  <c:v>0.9951306990516966</c:v>
                </c:pt>
                <c:pt idx="1403">
                  <c:v>0.9951528469929183</c:v>
                </c:pt>
                <c:pt idx="1404">
                  <c:v>0.9951638553853376</c:v>
                </c:pt>
                <c:pt idx="1405">
                  <c:v>0.9951747850839271</c:v>
                </c:pt>
                <c:pt idx="1406">
                  <c:v>0.9951856994809386</c:v>
                </c:pt>
                <c:pt idx="1407">
                  <c:v>0.9952183792797211</c:v>
                </c:pt>
                <c:pt idx="1408">
                  <c:v>0.9952292455860587</c:v>
                </c:pt>
                <c:pt idx="1409">
                  <c:v>0.9952401097064567</c:v>
                </c:pt>
                <c:pt idx="1410">
                  <c:v>0.9952509672690355</c:v>
                </c:pt>
                <c:pt idx="1411">
                  <c:v>0.9952618029722171</c:v>
                </c:pt>
                <c:pt idx="1412">
                  <c:v>0.9952726124441221</c:v>
                </c:pt>
                <c:pt idx="1413">
                  <c:v>0.9952834197300874</c:v>
                </c:pt>
                <c:pt idx="1414">
                  <c:v>0.9952942204582336</c:v>
                </c:pt>
                <c:pt idx="1415">
                  <c:v>0.9953050080707414</c:v>
                </c:pt>
                <c:pt idx="1416">
                  <c:v>0.995315642667469</c:v>
                </c:pt>
                <c:pt idx="1417">
                  <c:v>0.9953262641485583</c:v>
                </c:pt>
                <c:pt idx="1418">
                  <c:v>0.9953368528405518</c:v>
                </c:pt>
                <c:pt idx="1419">
                  <c:v>0.9953580083651418</c:v>
                </c:pt>
                <c:pt idx="1420">
                  <c:v>0.995368583941497</c:v>
                </c:pt>
                <c:pt idx="1421">
                  <c:v>0.9953895973800051</c:v>
                </c:pt>
                <c:pt idx="1422">
                  <c:v>0.9954000877047113</c:v>
                </c:pt>
                <c:pt idx="1423">
                  <c:v>0.9954105452403218</c:v>
                </c:pt>
                <c:pt idx="1424">
                  <c:v>0.9954314493818441</c:v>
                </c:pt>
                <c:pt idx="1425">
                  <c:v>0.9954418850580574</c:v>
                </c:pt>
                <c:pt idx="1426">
                  <c:v>0.99546263181192</c:v>
                </c:pt>
                <c:pt idx="1427">
                  <c:v>0.9954729581911473</c:v>
                </c:pt>
                <c:pt idx="1428">
                  <c:v>0.9954935934620843</c:v>
                </c:pt>
                <c:pt idx="1429">
                  <c:v>0.9955038979819145</c:v>
                </c:pt>
                <c:pt idx="1430">
                  <c:v>0.9955346869428412</c:v>
                </c:pt>
                <c:pt idx="1431">
                  <c:v>0.9955449149547813</c:v>
                </c:pt>
                <c:pt idx="1432">
                  <c:v>0.9955653163301684</c:v>
                </c:pt>
                <c:pt idx="1433">
                  <c:v>0.9955755115530127</c:v>
                </c:pt>
                <c:pt idx="1434">
                  <c:v>0.9955857024039776</c:v>
                </c:pt>
                <c:pt idx="1435">
                  <c:v>0.9955958823252439</c:v>
                </c:pt>
                <c:pt idx="1436">
                  <c:v>0.9956060054120774</c:v>
                </c:pt>
                <c:pt idx="1437">
                  <c:v>0.9956161241270316</c:v>
                </c:pt>
                <c:pt idx="1438">
                  <c:v>0.9956362478880745</c:v>
                </c:pt>
                <c:pt idx="1439">
                  <c:v>0.9956462966529577</c:v>
                </c:pt>
                <c:pt idx="1440">
                  <c:v>0.9956563257443833</c:v>
                </c:pt>
                <c:pt idx="1441">
                  <c:v>0.9956663351623516</c:v>
                </c:pt>
                <c:pt idx="1442">
                  <c:v>0.995676335836561</c:v>
                </c:pt>
                <c:pt idx="1443">
                  <c:v>0.9956961863551392</c:v>
                </c:pt>
                <c:pt idx="1444">
                  <c:v>0.9957159210189124</c:v>
                </c:pt>
                <c:pt idx="1445">
                  <c:v>0.9957257796070401</c:v>
                </c:pt>
                <c:pt idx="1446">
                  <c:v>0.9957355310841217</c:v>
                </c:pt>
                <c:pt idx="1447">
                  <c:v>0.995745269445565</c:v>
                </c:pt>
                <c:pt idx="1448">
                  <c:v>0.9957840829911959</c:v>
                </c:pt>
                <c:pt idx="1449">
                  <c:v>0.9958128958626175</c:v>
                </c:pt>
                <c:pt idx="1450">
                  <c:v>0.9958223303784399</c:v>
                </c:pt>
                <c:pt idx="1451">
                  <c:v>0.9958317561505035</c:v>
                </c:pt>
                <c:pt idx="1452">
                  <c:v>0.995850596764932</c:v>
                </c:pt>
                <c:pt idx="1453">
                  <c:v>0.9958599744463218</c:v>
                </c:pt>
                <c:pt idx="1454">
                  <c:v>0.995878686090307</c:v>
                </c:pt>
                <c:pt idx="1455">
                  <c:v>0.9958880200529024</c:v>
                </c:pt>
                <c:pt idx="1456">
                  <c:v>0.995897329970161</c:v>
                </c:pt>
                <c:pt idx="1457">
                  <c:v>0.9959065874248663</c:v>
                </c:pt>
                <c:pt idx="1458">
                  <c:v>0.9959157552560431</c:v>
                </c:pt>
                <c:pt idx="1459">
                  <c:v>0.9959249209012803</c:v>
                </c:pt>
                <c:pt idx="1460">
                  <c:v>0.9959340625011806</c:v>
                </c:pt>
                <c:pt idx="1461">
                  <c:v>0.9959431450807085</c:v>
                </c:pt>
                <c:pt idx="1462">
                  <c:v>0.9959611987568385</c:v>
                </c:pt>
                <c:pt idx="1463">
                  <c:v>0.9959701938987777</c:v>
                </c:pt>
                <c:pt idx="1464">
                  <c:v>0.9959881732529575</c:v>
                </c:pt>
                <c:pt idx="1465">
                  <c:v>0.9959971487214392</c:v>
                </c:pt>
                <c:pt idx="1466">
                  <c:v>0.9960061176321017</c:v>
                </c:pt>
                <c:pt idx="1467">
                  <c:v>0.9960418118417552</c:v>
                </c:pt>
                <c:pt idx="1468">
                  <c:v>0.996068423471881</c:v>
                </c:pt>
                <c:pt idx="1469">
                  <c:v>0.9960861164679576</c:v>
                </c:pt>
                <c:pt idx="1470">
                  <c:v>0.9960949411065988</c:v>
                </c:pt>
                <c:pt idx="1471">
                  <c:v>0.996103750443662</c:v>
                </c:pt>
                <c:pt idx="1472">
                  <c:v>0.996130018881252</c:v>
                </c:pt>
                <c:pt idx="1473">
                  <c:v>0.9961387298510278</c:v>
                </c:pt>
                <c:pt idx="1474">
                  <c:v>0.9961561190014837</c:v>
                </c:pt>
                <c:pt idx="1475">
                  <c:v>0.9961821185684884</c:v>
                </c:pt>
                <c:pt idx="1476">
                  <c:v>0.9961907508444343</c:v>
                </c:pt>
                <c:pt idx="1477">
                  <c:v>0.9962077508976204</c:v>
                </c:pt>
                <c:pt idx="1478">
                  <c:v>0.9962161602077151</c:v>
                </c:pt>
                <c:pt idx="1479">
                  <c:v>0.9962245629599907</c:v>
                </c:pt>
                <c:pt idx="1480">
                  <c:v>0.9962496422463741</c:v>
                </c:pt>
                <c:pt idx="1481">
                  <c:v>0.9962579859782773</c:v>
                </c:pt>
                <c:pt idx="1482">
                  <c:v>0.9962746515826865</c:v>
                </c:pt>
                <c:pt idx="1483">
                  <c:v>0.996282953781735</c:v>
                </c:pt>
                <c:pt idx="1484">
                  <c:v>0.996291245051085</c:v>
                </c:pt>
                <c:pt idx="1485">
                  <c:v>0.9963077948006892</c:v>
                </c:pt>
                <c:pt idx="1486">
                  <c:v>0.9963242964596197</c:v>
                </c:pt>
                <c:pt idx="1487">
                  <c:v>0.9963325243367179</c:v>
                </c:pt>
                <c:pt idx="1488">
                  <c:v>0.9963407259825395</c:v>
                </c:pt>
                <c:pt idx="1489">
                  <c:v>0.9963489232564816</c:v>
                </c:pt>
                <c:pt idx="1490">
                  <c:v>0.9963733183437333</c:v>
                </c:pt>
                <c:pt idx="1491">
                  <c:v>0.9963813691597143</c:v>
                </c:pt>
                <c:pt idx="1492">
                  <c:v>0.9963893937444187</c:v>
                </c:pt>
                <c:pt idx="1493">
                  <c:v>0.9964053554762388</c:v>
                </c:pt>
                <c:pt idx="1494">
                  <c:v>0.9964211904235553</c:v>
                </c:pt>
                <c:pt idx="1495">
                  <c:v>0.9964369729083185</c:v>
                </c:pt>
                <c:pt idx="1496">
                  <c:v>0.9964448532210015</c:v>
                </c:pt>
                <c:pt idx="1497">
                  <c:v>0.9964683783042456</c:v>
                </c:pt>
                <c:pt idx="1498">
                  <c:v>0.9965073317500185</c:v>
                </c:pt>
                <c:pt idx="1499">
                  <c:v>0.9965150743484993</c:v>
                </c:pt>
                <c:pt idx="1500">
                  <c:v>0.9965228082032213</c:v>
                </c:pt>
                <c:pt idx="1501">
                  <c:v>0.996530535500124</c:v>
                </c:pt>
                <c:pt idx="1502">
                  <c:v>0.9965613244610506</c:v>
                </c:pt>
                <c:pt idx="1503">
                  <c:v>0.996569008039159</c:v>
                </c:pt>
                <c:pt idx="1504">
                  <c:v>0.9965766828735085</c:v>
                </c:pt>
                <c:pt idx="1505">
                  <c:v>0.996591991009353</c:v>
                </c:pt>
                <c:pt idx="1506">
                  <c:v>0.9966298252539904</c:v>
                </c:pt>
                <c:pt idx="1507">
                  <c:v>0.9966373339569213</c:v>
                </c:pt>
                <c:pt idx="1508">
                  <c:v>0.9966448404739126</c:v>
                </c:pt>
                <c:pt idx="1509">
                  <c:v>0.9966672660294785</c:v>
                </c:pt>
                <c:pt idx="1510">
                  <c:v>0.9966969095579931</c:v>
                </c:pt>
                <c:pt idx="1511">
                  <c:v>0.9967042739889027</c:v>
                </c:pt>
                <c:pt idx="1512">
                  <c:v>0.9967116296760534</c:v>
                </c:pt>
                <c:pt idx="1513">
                  <c:v>0.9967189285287715</c:v>
                </c:pt>
                <c:pt idx="1514">
                  <c:v>0.996762457146374</c:v>
                </c:pt>
                <c:pt idx="1515">
                  <c:v>0.9967696292145884</c:v>
                </c:pt>
                <c:pt idx="1516">
                  <c:v>0.9967838924712478</c:v>
                </c:pt>
                <c:pt idx="1517">
                  <c:v>0.9967909945893912</c:v>
                </c:pt>
                <c:pt idx="1518">
                  <c:v>0.9968263740237253</c:v>
                </c:pt>
                <c:pt idx="1519">
                  <c:v>0.9968334389808936</c:v>
                </c:pt>
                <c:pt idx="1520">
                  <c:v>0.9968475317342549</c:v>
                </c:pt>
                <c:pt idx="1521">
                  <c:v>0.9968545770179656</c:v>
                </c:pt>
                <c:pt idx="1522">
                  <c:v>0.9968616091860382</c:v>
                </c:pt>
                <c:pt idx="1523">
                  <c:v>0.9968686413541107</c:v>
                </c:pt>
                <c:pt idx="1524">
                  <c:v>0.9968756647784243</c:v>
                </c:pt>
                <c:pt idx="1525">
                  <c:v>0.996889661350438</c:v>
                </c:pt>
                <c:pt idx="1526">
                  <c:v>0.9968966454278367</c:v>
                </c:pt>
                <c:pt idx="1527">
                  <c:v>0.9969036054598985</c:v>
                </c:pt>
                <c:pt idx="1528">
                  <c:v>0.9969105305169248</c:v>
                </c:pt>
                <c:pt idx="1529">
                  <c:v>0.9969312204363547</c:v>
                </c:pt>
                <c:pt idx="1530">
                  <c:v>0.9969380536839129</c:v>
                </c:pt>
                <c:pt idx="1531">
                  <c:v>0.9969448781877122</c:v>
                </c:pt>
                <c:pt idx="1532">
                  <c:v>0.9969516895758731</c:v>
                </c:pt>
                <c:pt idx="1533">
                  <c:v>0.9969584900343355</c:v>
                </c:pt>
                <c:pt idx="1534">
                  <c:v>0.9969787121626659</c:v>
                </c:pt>
                <c:pt idx="1535">
                  <c:v>0.9969854382991779</c:v>
                </c:pt>
                <c:pt idx="1536">
                  <c:v>0.9969921535059912</c:v>
                </c:pt>
                <c:pt idx="1537">
                  <c:v>0.9969988534112266</c:v>
                </c:pt>
                <c:pt idx="1538">
                  <c:v>0.9970055292711251</c:v>
                </c:pt>
                <c:pt idx="1539">
                  <c:v>0.9970188569455851</c:v>
                </c:pt>
                <c:pt idx="1540">
                  <c:v>0.9970321365293714</c:v>
                </c:pt>
                <c:pt idx="1541">
                  <c:v>0.9970387642985961</c:v>
                </c:pt>
                <c:pt idx="1542">
                  <c:v>0.9970585295655253</c:v>
                </c:pt>
                <c:pt idx="1543">
                  <c:v>0.9970716080428574</c:v>
                </c:pt>
                <c:pt idx="1544">
                  <c:v>0.9970911328564177</c:v>
                </c:pt>
                <c:pt idx="1545">
                  <c:v>0.9970976229114401</c:v>
                </c:pt>
                <c:pt idx="1546">
                  <c:v>0.9971040692476681</c:v>
                </c:pt>
                <c:pt idx="1547">
                  <c:v>0.9971105002823182</c:v>
                </c:pt>
                <c:pt idx="1548">
                  <c:v>0.9971232661702707</c:v>
                </c:pt>
                <c:pt idx="1549">
                  <c:v>0.9971296294407895</c:v>
                </c:pt>
                <c:pt idx="1550">
                  <c:v>0.9971359599222126</c:v>
                </c:pt>
                <c:pt idx="1551">
                  <c:v>0.9971549229492654</c:v>
                </c:pt>
                <c:pt idx="1552">
                  <c:v>0.997161233757231</c:v>
                </c:pt>
                <c:pt idx="1553">
                  <c:v>0.9971738225840664</c:v>
                </c:pt>
                <c:pt idx="1554">
                  <c:v>0.9971863436467705</c:v>
                </c:pt>
                <c:pt idx="1555">
                  <c:v>0.9971925845046651</c:v>
                </c:pt>
                <c:pt idx="1556">
                  <c:v>0.9972050552907556</c:v>
                </c:pt>
                <c:pt idx="1557">
                  <c:v>0.997211283033012</c:v>
                </c:pt>
                <c:pt idx="1558">
                  <c:v>0.9972175085893286</c:v>
                </c:pt>
                <c:pt idx="1559">
                  <c:v>0.9972236991706096</c:v>
                </c:pt>
                <c:pt idx="1560">
                  <c:v>0.9972421922206229</c:v>
                </c:pt>
                <c:pt idx="1561">
                  <c:v>0.9972483259674714</c:v>
                </c:pt>
                <c:pt idx="1562">
                  <c:v>0.9972544487846212</c:v>
                </c:pt>
                <c:pt idx="1563">
                  <c:v>0.9972605606720725</c:v>
                </c:pt>
                <c:pt idx="1564">
                  <c:v>0.9972849054827108</c:v>
                </c:pt>
                <c:pt idx="1565">
                  <c:v>0.9972969740558932</c:v>
                </c:pt>
                <c:pt idx="1566">
                  <c:v>0.9973150255460836</c:v>
                </c:pt>
                <c:pt idx="1567">
                  <c:v>0.9973210019052724</c:v>
                </c:pt>
                <c:pt idx="1568">
                  <c:v>0.997332945879891</c:v>
                </c:pt>
                <c:pt idx="1569">
                  <c:v>0.9973389025656222</c:v>
                </c:pt>
                <c:pt idx="1570">
                  <c:v>0.9973507940776876</c:v>
                </c:pt>
                <c:pt idx="1571">
                  <c:v>0.9973567354618408</c:v>
                </c:pt>
                <c:pt idx="1572">
                  <c:v>0.9973626047099834</c:v>
                </c:pt>
                <c:pt idx="1573">
                  <c:v>0.9973743279046905</c:v>
                </c:pt>
                <c:pt idx="1574">
                  <c:v>0.9973860095665429</c:v>
                </c:pt>
                <c:pt idx="1575">
                  <c:v>0.997391828538072</c:v>
                </c:pt>
                <c:pt idx="1576">
                  <c:v>0.9973976431377216</c:v>
                </c:pt>
                <c:pt idx="1577">
                  <c:v>0.9974092614073222</c:v>
                </c:pt>
                <c:pt idx="1578">
                  <c:v>0.9974150563335143</c:v>
                </c:pt>
                <c:pt idx="1579">
                  <c:v>0.9974266177686824</c:v>
                </c:pt>
                <c:pt idx="1580">
                  <c:v>0.9974323908354773</c:v>
                </c:pt>
                <c:pt idx="1581">
                  <c:v>0.9974381617163326</c:v>
                </c:pt>
                <c:pt idx="1582">
                  <c:v>0.997443869204936</c:v>
                </c:pt>
                <c:pt idx="1583">
                  <c:v>0.9974665636310874</c:v>
                </c:pt>
                <c:pt idx="1584">
                  <c:v>0.9974778911707056</c:v>
                </c:pt>
                <c:pt idx="1585">
                  <c:v>0.9974891902931075</c:v>
                </c:pt>
                <c:pt idx="1586">
                  <c:v>0.9975004325810766</c:v>
                </c:pt>
                <c:pt idx="1587">
                  <c:v>0.9975060264008146</c:v>
                </c:pt>
                <c:pt idx="1588">
                  <c:v>0.9975116071049145</c:v>
                </c:pt>
                <c:pt idx="1589">
                  <c:v>0.9975171768793157</c:v>
                </c:pt>
                <c:pt idx="1590">
                  <c:v>0.997522746653717</c:v>
                </c:pt>
                <c:pt idx="1591">
                  <c:v>0.9975283098702991</c:v>
                </c:pt>
                <c:pt idx="1592">
                  <c:v>0.9975338555993634</c:v>
                </c:pt>
                <c:pt idx="1593">
                  <c:v>0.9975393991424879</c:v>
                </c:pt>
                <c:pt idx="1594">
                  <c:v>0.9975670010033058</c:v>
                </c:pt>
                <c:pt idx="1595">
                  <c:v>0.9975724920838771</c:v>
                </c:pt>
                <c:pt idx="1596">
                  <c:v>0.9975834414559241</c:v>
                </c:pt>
                <c:pt idx="1597">
                  <c:v>0.9975943777123328</c:v>
                </c:pt>
                <c:pt idx="1598">
                  <c:v>0.9975998403756878</c:v>
                </c:pt>
                <c:pt idx="1599">
                  <c:v>0.9976052899234046</c:v>
                </c:pt>
                <c:pt idx="1600">
                  <c:v>0.9976107394711213</c:v>
                </c:pt>
                <c:pt idx="1601">
                  <c:v>0.9976270400235978</c:v>
                </c:pt>
                <c:pt idx="1602">
                  <c:v>0.9976324414806408</c:v>
                </c:pt>
                <c:pt idx="1603">
                  <c:v>0.9976378363798646</c:v>
                </c:pt>
                <c:pt idx="1604">
                  <c:v>0.9976432203493898</c:v>
                </c:pt>
                <c:pt idx="1605">
                  <c:v>0.9976485977610958</c:v>
                </c:pt>
                <c:pt idx="1606">
                  <c:v>0.9976593044938341</c:v>
                </c:pt>
                <c:pt idx="1607">
                  <c:v>0.9976646491164444</c:v>
                </c:pt>
                <c:pt idx="1608">
                  <c:v>0.9976859817021513</c:v>
                </c:pt>
                <c:pt idx="1609">
                  <c:v>0.9976912935356658</c:v>
                </c:pt>
                <c:pt idx="1610">
                  <c:v>0.9976966009973008</c:v>
                </c:pt>
                <c:pt idx="1611">
                  <c:v>0.9977019019011167</c:v>
                </c:pt>
                <c:pt idx="1612">
                  <c:v>0.9977071787595957</c:v>
                </c:pt>
                <c:pt idx="1613">
                  <c:v>0.9977124425024364</c:v>
                </c:pt>
                <c:pt idx="1614">
                  <c:v>0.9977229262693235</c:v>
                </c:pt>
                <c:pt idx="1615">
                  <c:v>0.9977281462933698</c:v>
                </c:pt>
                <c:pt idx="1616">
                  <c:v>0.9977333335283204</c:v>
                </c:pt>
                <c:pt idx="1617">
                  <c:v>0.9977385032757532</c:v>
                </c:pt>
                <c:pt idx="1618">
                  <c:v>0.9977436118168739</c:v>
                </c:pt>
                <c:pt idx="1619">
                  <c:v>0.9977538201553565</c:v>
                </c:pt>
                <c:pt idx="1620">
                  <c:v>0.9977741362790947</c:v>
                </c:pt>
                <c:pt idx="1621">
                  <c:v>0.9977942141354036</c:v>
                </c:pt>
                <c:pt idx="1622">
                  <c:v>0.9978141433478117</c:v>
                </c:pt>
                <c:pt idx="1623">
                  <c:v>0.9978191098028508</c:v>
                </c:pt>
                <c:pt idx="1624">
                  <c:v>0.9978290230394715</c:v>
                </c:pt>
                <c:pt idx="1625">
                  <c:v>0.9978339698210531</c:v>
                </c:pt>
                <c:pt idx="1626">
                  <c:v>0.9978487730048227</c:v>
                </c:pt>
                <c:pt idx="1627">
                  <c:v>0.997863493122883</c:v>
                </c:pt>
                <c:pt idx="1628">
                  <c:v>0.9978683808840922</c:v>
                </c:pt>
                <c:pt idx="1629">
                  <c:v>0.9978732599015426</c:v>
                </c:pt>
                <c:pt idx="1630">
                  <c:v>0.9978781214314753</c:v>
                </c:pt>
                <c:pt idx="1631">
                  <c:v>0.9978973708166311</c:v>
                </c:pt>
                <c:pt idx="1632">
                  <c:v>0.9979307151410878</c:v>
                </c:pt>
                <c:pt idx="1633">
                  <c:v>0.9979401430990911</c:v>
                </c:pt>
                <c:pt idx="1634">
                  <c:v>0.997944847241364</c:v>
                </c:pt>
                <c:pt idx="1635">
                  <c:v>0.9979495404539384</c:v>
                </c:pt>
                <c:pt idx="1636">
                  <c:v>0.9979635632572287</c:v>
                </c:pt>
                <c:pt idx="1637">
                  <c:v>0.9979682280525867</c:v>
                </c:pt>
                <c:pt idx="1638">
                  <c:v>0.9979728644307283</c:v>
                </c:pt>
                <c:pt idx="1639">
                  <c:v>0.9979774243009798</c:v>
                </c:pt>
                <c:pt idx="1640">
                  <c:v>0.9979819688696533</c:v>
                </c:pt>
                <c:pt idx="1641">
                  <c:v>0.997986495950809</c:v>
                </c:pt>
                <c:pt idx="1642">
                  <c:v>0.9979955479271808</c:v>
                </c:pt>
                <c:pt idx="1643">
                  <c:v>0.9980045933457335</c:v>
                </c:pt>
                <c:pt idx="1644">
                  <c:v>0.998009107311251</c:v>
                </c:pt>
                <c:pt idx="1645">
                  <c:v>0.9980136037892507</c:v>
                </c:pt>
                <c:pt idx="1646">
                  <c:v>0.9980180980813107</c:v>
                </c:pt>
                <c:pt idx="1647">
                  <c:v>0.998027084479491</c:v>
                </c:pt>
                <c:pt idx="1648">
                  <c:v>0.9980315503543347</c:v>
                </c:pt>
                <c:pt idx="1649">
                  <c:v>0.9980449195616493</c:v>
                </c:pt>
                <c:pt idx="1650">
                  <c:v>0.9980537879190848</c:v>
                </c:pt>
                <c:pt idx="1651">
                  <c:v>0.9980670237840767</c:v>
                </c:pt>
                <c:pt idx="1652">
                  <c:v>0.9980713978494523</c:v>
                </c:pt>
                <c:pt idx="1653">
                  <c:v>0.9980757631710689</c:v>
                </c:pt>
                <c:pt idx="1654">
                  <c:v>0.9980844719549051</c:v>
                </c:pt>
                <c:pt idx="1655">
                  <c:v>0.9980888241608835</c:v>
                </c:pt>
                <c:pt idx="1656">
                  <c:v>0.9980931545074647</c:v>
                </c:pt>
                <c:pt idx="1657">
                  <c:v>0.9980974717384076</c:v>
                </c:pt>
                <c:pt idx="1658">
                  <c:v>0.9981017496224355</c:v>
                </c:pt>
                <c:pt idx="1659">
                  <c:v>0.998110276973275</c:v>
                </c:pt>
                <c:pt idx="1660">
                  <c:v>0.9981272507951845</c:v>
                </c:pt>
                <c:pt idx="1661">
                  <c:v>0.9981314740307194</c:v>
                </c:pt>
                <c:pt idx="1662">
                  <c:v>0.9981524983989262</c:v>
                </c:pt>
                <c:pt idx="1663">
                  <c:v>0.9981566669859682</c:v>
                </c:pt>
                <c:pt idx="1664">
                  <c:v>0.9981649735568963</c:v>
                </c:pt>
                <c:pt idx="1665">
                  <c:v>0.9981691159126617</c:v>
                </c:pt>
                <c:pt idx="1666">
                  <c:v>0.9981732429668491</c:v>
                </c:pt>
                <c:pt idx="1667">
                  <c:v>0.9981814599142487</c:v>
                </c:pt>
                <c:pt idx="1668">
                  <c:v>0.9981855410637019</c:v>
                </c:pt>
                <c:pt idx="1669">
                  <c:v>0.9981896178412758</c:v>
                </c:pt>
                <c:pt idx="1670">
                  <c:v>0.9982098771305812</c:v>
                </c:pt>
                <c:pt idx="1671">
                  <c:v>0.9982179279465622</c:v>
                </c:pt>
                <c:pt idx="1672">
                  <c:v>0.9982299484290709</c:v>
                </c:pt>
                <c:pt idx="1673">
                  <c:v>0.9982418792880511</c:v>
                </c:pt>
                <c:pt idx="1674">
                  <c:v>0.9982458445826994</c:v>
                </c:pt>
                <c:pt idx="1675">
                  <c:v>0.9982498033195285</c:v>
                </c:pt>
                <c:pt idx="1676">
                  <c:v>0.9982537576844782</c:v>
                </c:pt>
                <c:pt idx="1677">
                  <c:v>0.9982577098634882</c:v>
                </c:pt>
                <c:pt idx="1678">
                  <c:v>0.9982734573732159</c:v>
                </c:pt>
                <c:pt idx="1679">
                  <c:v>0.9982773549037329</c:v>
                </c:pt>
                <c:pt idx="1680">
                  <c:v>0.9982851412210081</c:v>
                </c:pt>
                <c:pt idx="1681">
                  <c:v>0.9982890300077663</c:v>
                </c:pt>
                <c:pt idx="1682">
                  <c:v>0.9983006657648846</c:v>
                </c:pt>
                <c:pt idx="1683">
                  <c:v>0.9983083449711136</c:v>
                </c:pt>
                <c:pt idx="1684">
                  <c:v>0.9983160001320057</c:v>
                </c:pt>
                <c:pt idx="1685">
                  <c:v>0.998319825526512</c:v>
                </c:pt>
                <c:pt idx="1686">
                  <c:v>0.9983236312475608</c:v>
                </c:pt>
                <c:pt idx="1687">
                  <c:v>0.9983425527417589</c:v>
                </c:pt>
                <c:pt idx="1688">
                  <c:v>0.9983463234877722</c:v>
                </c:pt>
                <c:pt idx="1689">
                  <c:v>0.9983612775013825</c:v>
                </c:pt>
                <c:pt idx="1690">
                  <c:v>0.9983687009526645</c:v>
                </c:pt>
                <c:pt idx="1691">
                  <c:v>0.998372408306426</c:v>
                </c:pt>
                <c:pt idx="1692">
                  <c:v>0.9983907876875742</c:v>
                </c:pt>
                <c:pt idx="1693">
                  <c:v>0.9984017326877417</c:v>
                </c:pt>
                <c:pt idx="1694">
                  <c:v>0.9984306876452451</c:v>
                </c:pt>
                <c:pt idx="1695">
                  <c:v>0.9984413747045259</c:v>
                </c:pt>
                <c:pt idx="1696">
                  <c:v>0.998448463707031</c:v>
                </c:pt>
                <c:pt idx="1697">
                  <c:v>0.9984519830699768</c:v>
                </c:pt>
                <c:pt idx="1698">
                  <c:v>0.9984590064942904</c:v>
                </c:pt>
                <c:pt idx="1699">
                  <c:v>0.99847295716157</c:v>
                </c:pt>
                <c:pt idx="1700">
                  <c:v>0.9984764328057215</c:v>
                </c:pt>
                <c:pt idx="1701">
                  <c:v>0.9984833666065066</c:v>
                </c:pt>
                <c:pt idx="1702">
                  <c:v>0.9984868094615623</c:v>
                </c:pt>
                <c:pt idx="1703">
                  <c:v>0.9985243660918555</c:v>
                </c:pt>
                <c:pt idx="1704">
                  <c:v>0.9985311534346796</c:v>
                </c:pt>
                <c:pt idx="1705">
                  <c:v>0.9985413202403075</c:v>
                </c:pt>
                <c:pt idx="1706">
                  <c:v>0.9985716326663756</c:v>
                </c:pt>
                <c:pt idx="1707">
                  <c:v>0.9985749727822646</c:v>
                </c:pt>
                <c:pt idx="1708">
                  <c:v>0.9985816245968262</c:v>
                </c:pt>
                <c:pt idx="1709">
                  <c:v>0.998584942853318</c:v>
                </c:pt>
                <c:pt idx="1710">
                  <c:v>0.9985948342305415</c:v>
                </c:pt>
                <c:pt idx="1711">
                  <c:v>0.9986046753311515</c:v>
                </c:pt>
                <c:pt idx="1712">
                  <c:v>0.998614481456726</c:v>
                </c:pt>
                <c:pt idx="1713">
                  <c:v>0.9986209715117484</c:v>
                </c:pt>
                <c:pt idx="1714">
                  <c:v>0.9986371146765651</c:v>
                </c:pt>
                <c:pt idx="1715">
                  <c:v>0.9986435413393357</c:v>
                </c:pt>
                <c:pt idx="1716">
                  <c:v>0.9986467524847813</c:v>
                </c:pt>
                <c:pt idx="1717">
                  <c:v>0.998649954886468</c:v>
                </c:pt>
                <c:pt idx="1718">
                  <c:v>0.9986531572881547</c:v>
                </c:pt>
                <c:pt idx="1719">
                  <c:v>0.9986563575039017</c:v>
                </c:pt>
                <c:pt idx="1720">
                  <c:v>0.9986659144323483</c:v>
                </c:pt>
                <c:pt idx="1721">
                  <c:v>0.9986816138514022</c:v>
                </c:pt>
                <c:pt idx="1722">
                  <c:v>0.998687845965538</c:v>
                </c:pt>
                <c:pt idx="1723">
                  <c:v>0.9986971580687362</c:v>
                </c:pt>
                <c:pt idx="1724">
                  <c:v>0.9987033158609215</c:v>
                </c:pt>
                <c:pt idx="1725">
                  <c:v>0.99870944960777</c:v>
                </c:pt>
                <c:pt idx="1726">
                  <c:v>0.998712509923375</c:v>
                </c:pt>
                <c:pt idx="1727">
                  <c:v>0.9987155680530404</c:v>
                </c:pt>
                <c:pt idx="1728">
                  <c:v>0.9987186261827058</c:v>
                </c:pt>
                <c:pt idx="1729">
                  <c:v>0.9987247118388805</c:v>
                </c:pt>
                <c:pt idx="1730">
                  <c:v>0.9987277524810281</c:v>
                </c:pt>
                <c:pt idx="1731">
                  <c:v>0.9987338228356247</c:v>
                </c:pt>
                <c:pt idx="1732">
                  <c:v>0.9987428769979363</c:v>
                </c:pt>
                <c:pt idx="1733">
                  <c:v>0.9987458892228676</c:v>
                </c:pt>
                <c:pt idx="1734">
                  <c:v>0.9987488992618591</c:v>
                </c:pt>
                <c:pt idx="1735">
                  <c:v>0.9987548603194698</c:v>
                </c:pt>
                <c:pt idx="1736">
                  <c:v>0.9987843267868669</c:v>
                </c:pt>
                <c:pt idx="1737">
                  <c:v>0.998790176361552</c:v>
                </c:pt>
                <c:pt idx="1738">
                  <c:v>0.9987930902191959</c:v>
                </c:pt>
                <c:pt idx="1739">
                  <c:v>0.9987988895172676</c:v>
                </c:pt>
                <c:pt idx="1740">
                  <c:v>0.9988017880733335</c:v>
                </c:pt>
                <c:pt idx="1741">
                  <c:v>0.998824790716985</c:v>
                </c:pt>
                <c:pt idx="1742">
                  <c:v>0.9988276521120758</c:v>
                </c:pt>
                <c:pt idx="1743">
                  <c:v>0.9988305113212268</c:v>
                </c:pt>
                <c:pt idx="1744">
                  <c:v>0.99884466746684</c:v>
                </c:pt>
                <c:pt idx="1745">
                  <c:v>0.9988530680331759</c:v>
                </c:pt>
                <c:pt idx="1746">
                  <c:v>0.9988614423682353</c:v>
                </c:pt>
                <c:pt idx="1747">
                  <c:v>0.998880846955111</c:v>
                </c:pt>
                <c:pt idx="1748">
                  <c:v>0.9988917853974595</c:v>
                </c:pt>
                <c:pt idx="1749">
                  <c:v>0.9989026276584603</c:v>
                </c:pt>
                <c:pt idx="1750">
                  <c:v>0.9989080006982868</c:v>
                </c:pt>
                <c:pt idx="1751">
                  <c:v>0.9989106762885015</c:v>
                </c:pt>
                <c:pt idx="1752">
                  <c:v>0.998913345320897</c:v>
                </c:pt>
                <c:pt idx="1753">
                  <c:v>0.9989160012376543</c:v>
                </c:pt>
                <c:pt idx="1754">
                  <c:v>0.9989186440387733</c:v>
                </c:pt>
                <c:pt idx="1755">
                  <c:v>0.9989265636983712</c:v>
                </c:pt>
                <c:pt idx="1756">
                  <c:v>0.9989344396391748</c:v>
                </c:pt>
                <c:pt idx="1757">
                  <c:v>0.9989475137446275</c:v>
                </c:pt>
                <c:pt idx="1758">
                  <c:v>0.9989655739785768</c:v>
                </c:pt>
                <c:pt idx="1759">
                  <c:v>0.9989681358999262</c:v>
                </c:pt>
                <c:pt idx="1760">
                  <c:v>0.9989706934493962</c:v>
                </c:pt>
                <c:pt idx="1761">
                  <c:v>0.998973244441047</c:v>
                </c:pt>
                <c:pt idx="1762">
                  <c:v>0.9989933813177283</c:v>
                </c:pt>
                <c:pt idx="1763">
                  <c:v>0.998995871103067</c:v>
                </c:pt>
                <c:pt idx="1764">
                  <c:v>0.9990008266284074</c:v>
                </c:pt>
                <c:pt idx="1765">
                  <c:v>0.9990130941221043</c:v>
                </c:pt>
                <c:pt idx="1766">
                  <c:v>0.99901552925895</c:v>
                </c:pt>
                <c:pt idx="1767">
                  <c:v>0.9990228106241503</c:v>
                </c:pt>
                <c:pt idx="1768">
                  <c:v>0.9990300198533401</c:v>
                </c:pt>
                <c:pt idx="1769">
                  <c:v>0.9990324134573312</c:v>
                </c:pt>
                <c:pt idx="1770">
                  <c:v>0.9990443377584924</c:v>
                </c:pt>
                <c:pt idx="1771">
                  <c:v>0.9990467138749658</c:v>
                </c:pt>
                <c:pt idx="1772">
                  <c:v>0.9990490812476803</c:v>
                </c:pt>
                <c:pt idx="1773">
                  <c:v>0.9990724336416867</c:v>
                </c:pt>
                <c:pt idx="1774">
                  <c:v>0.9990747266924508</c:v>
                </c:pt>
                <c:pt idx="1775">
                  <c:v>0.9990815927291048</c:v>
                </c:pt>
                <c:pt idx="1776">
                  <c:v>0.9990861460415371</c:v>
                </c:pt>
                <c:pt idx="1777">
                  <c:v>0.9990929552437583</c:v>
                </c:pt>
                <c:pt idx="1778">
                  <c:v>0.999095204575728</c:v>
                </c:pt>
                <c:pt idx="1779">
                  <c:v>0.999097451721758</c:v>
                </c:pt>
                <c:pt idx="1780">
                  <c:v>0.9991239453111389</c:v>
                </c:pt>
                <c:pt idx="1781">
                  <c:v>0.999126113763339</c:v>
                </c:pt>
                <c:pt idx="1782">
                  <c:v>0.9991282800295995</c:v>
                </c:pt>
                <c:pt idx="1783">
                  <c:v>0.9991497874904838</c:v>
                </c:pt>
                <c:pt idx="1784">
                  <c:v>0.9991583104694438</c:v>
                </c:pt>
                <c:pt idx="1785">
                  <c:v>0.9991604220872113</c:v>
                </c:pt>
                <c:pt idx="1786">
                  <c:v>0.9991625315190391</c:v>
                </c:pt>
                <c:pt idx="1787">
                  <c:v>0.9991646365789875</c:v>
                </c:pt>
                <c:pt idx="1788">
                  <c:v>0.9991667328951769</c:v>
                </c:pt>
                <c:pt idx="1789">
                  <c:v>0.9991729934265289</c:v>
                </c:pt>
                <c:pt idx="1790">
                  <c:v>0.9991750744411403</c:v>
                </c:pt>
                <c:pt idx="1791">
                  <c:v>0.9991792189828455</c:v>
                </c:pt>
                <c:pt idx="1792">
                  <c:v>0.9991854139360059</c:v>
                </c:pt>
                <c:pt idx="1793">
                  <c:v>0.9991915914016486</c:v>
                </c:pt>
                <c:pt idx="1794">
                  <c:v>0.999193641813104</c:v>
                </c:pt>
                <c:pt idx="1795">
                  <c:v>0.9991956900386196</c:v>
                </c:pt>
                <c:pt idx="1796">
                  <c:v>0.9992017909963723</c:v>
                </c:pt>
                <c:pt idx="1797">
                  <c:v>0.9992038042468525</c:v>
                </c:pt>
                <c:pt idx="1798">
                  <c:v>0.9992197397473961</c:v>
                </c:pt>
                <c:pt idx="1799">
                  <c:v>0.999223670067009</c:v>
                </c:pt>
                <c:pt idx="1800">
                  <c:v>0.999231511032777</c:v>
                </c:pt>
                <c:pt idx="1801">
                  <c:v>0.99923737590904</c:v>
                </c:pt>
                <c:pt idx="1802">
                  <c:v>0.9992450835324852</c:v>
                </c:pt>
                <c:pt idx="1803">
                  <c:v>0.9992508063226667</c:v>
                </c:pt>
                <c:pt idx="1804">
                  <c:v>0.9992545989280772</c:v>
                </c:pt>
                <c:pt idx="1805">
                  <c:v>0.9992583849756685</c:v>
                </c:pt>
                <c:pt idx="1806">
                  <c:v>0.9992809154563409</c:v>
                </c:pt>
                <c:pt idx="1807">
                  <c:v>0.999286485230742</c:v>
                </c:pt>
                <c:pt idx="1808">
                  <c:v>0.9992883389076228</c:v>
                </c:pt>
                <c:pt idx="1809">
                  <c:v>0.9992920397035652</c:v>
                </c:pt>
                <c:pt idx="1810">
                  <c:v>0.9992975766888705</c:v>
                </c:pt>
                <c:pt idx="1811">
                  <c:v>0.9993012556254157</c:v>
                </c:pt>
                <c:pt idx="1812">
                  <c:v>0.9993067357762885</c:v>
                </c:pt>
                <c:pt idx="1813">
                  <c:v>0.999319339904702</c:v>
                </c:pt>
                <c:pt idx="1814">
                  <c:v>0.999326437650966</c:v>
                </c:pt>
                <c:pt idx="1815">
                  <c:v>0.9993317385547819</c:v>
                </c:pt>
                <c:pt idx="1816">
                  <c:v>0.9993335004221945</c:v>
                </c:pt>
                <c:pt idx="1817">
                  <c:v>0.9993352557317879</c:v>
                </c:pt>
                <c:pt idx="1818">
                  <c:v>0.9993404844995932</c:v>
                </c:pt>
                <c:pt idx="1819">
                  <c:v>0.9993422179497895</c:v>
                </c:pt>
                <c:pt idx="1820">
                  <c:v>0.9993473658378252</c:v>
                </c:pt>
                <c:pt idx="1821">
                  <c:v>0.9993507606022072</c:v>
                </c:pt>
                <c:pt idx="1822">
                  <c:v>0.9993558297964129</c:v>
                </c:pt>
                <c:pt idx="1823">
                  <c:v>0.9993591830279401</c:v>
                </c:pt>
                <c:pt idx="1824">
                  <c:v>0.9993625122141305</c:v>
                </c:pt>
                <c:pt idx="1825">
                  <c:v>0.999364166970497</c:v>
                </c:pt>
                <c:pt idx="1826">
                  <c:v>0.9993674742972902</c:v>
                </c:pt>
                <c:pt idx="1827">
                  <c:v>0.9993707685084451</c:v>
                </c:pt>
                <c:pt idx="1828">
                  <c:v>0.9993724079632335</c:v>
                </c:pt>
                <c:pt idx="1829">
                  <c:v>0.9993773175838399</c:v>
                </c:pt>
                <c:pt idx="1830">
                  <c:v>0.9993805811918387</c:v>
                </c:pt>
                <c:pt idx="1831">
                  <c:v>0.9993822097169285</c:v>
                </c:pt>
                <c:pt idx="1832">
                  <c:v>0.9993902867641861</c:v>
                </c:pt>
                <c:pt idx="1833">
                  <c:v>0.999391891243939</c:v>
                </c:pt>
                <c:pt idx="1834">
                  <c:v>0.9993982523285182</c:v>
                </c:pt>
                <c:pt idx="1835">
                  <c:v>0.9993998262051151</c:v>
                </c:pt>
                <c:pt idx="1836">
                  <c:v>0.9994029608426707</c:v>
                </c:pt>
                <c:pt idx="1837">
                  <c:v>0.9994091842130475</c:v>
                </c:pt>
                <c:pt idx="1838">
                  <c:v>0.9994122751318085</c:v>
                </c:pt>
                <c:pt idx="1839">
                  <c:v>0.9994138140333699</c:v>
                </c:pt>
                <c:pt idx="1840">
                  <c:v>0.9994214713802017</c:v>
                </c:pt>
                <c:pt idx="1841">
                  <c:v>0.9994259919035383</c:v>
                </c:pt>
                <c:pt idx="1842">
                  <c:v>0.999428993198771</c:v>
                </c:pt>
                <c:pt idx="1843">
                  <c:v>0.9994304861955983</c:v>
                </c:pt>
                <c:pt idx="1844">
                  <c:v>0.9994393938999486</c:v>
                </c:pt>
                <c:pt idx="1845">
                  <c:v>0.9994452806356089</c:v>
                </c:pt>
                <c:pt idx="1846">
                  <c:v>0.9994467452152199</c:v>
                </c:pt>
                <c:pt idx="1847">
                  <c:v>0.9994511323962337</c:v>
                </c:pt>
                <c:pt idx="1848">
                  <c:v>0.999456949181823</c:v>
                </c:pt>
                <c:pt idx="1849">
                  <c:v>0.999458398459856</c:v>
                </c:pt>
                <c:pt idx="1850">
                  <c:v>0.9994598455519492</c:v>
                </c:pt>
                <c:pt idx="1851">
                  <c:v>0.999464147481314</c:v>
                </c:pt>
                <c:pt idx="1852">
                  <c:v>0.9994698527839776</c:v>
                </c:pt>
                <c:pt idx="1853">
                  <c:v>0.9994712736447943</c:v>
                </c:pt>
                <c:pt idx="1854">
                  <c:v>0.9994741066226686</c:v>
                </c:pt>
                <c:pt idx="1855">
                  <c:v>0.9994755165537866</c:v>
                </c:pt>
                <c:pt idx="1856">
                  <c:v>0.999478318928505</c:v>
                </c:pt>
                <c:pt idx="1857">
                  <c:v>0.9994797179299245</c:v>
                </c:pt>
                <c:pt idx="1858">
                  <c:v>0.999481116931344</c:v>
                </c:pt>
                <c:pt idx="1859">
                  <c:v>0.9994866888916849</c:v>
                </c:pt>
                <c:pt idx="1860">
                  <c:v>0.9994894562913679</c:v>
                </c:pt>
                <c:pt idx="1861">
                  <c:v>0.9994908334333902</c:v>
                </c:pt>
                <c:pt idx="1862">
                  <c:v>0.9994922062035331</c:v>
                </c:pt>
                <c:pt idx="1863">
                  <c:v>0.9994949386281804</c:v>
                </c:pt>
                <c:pt idx="1864">
                  <c:v>0.9995069241356537</c:v>
                </c:pt>
                <c:pt idx="1865">
                  <c:v>0.9995082291416653</c:v>
                </c:pt>
                <c:pt idx="1866">
                  <c:v>0.9995121266721824</c:v>
                </c:pt>
                <c:pt idx="1867">
                  <c:v>0.9995159979714228</c:v>
                </c:pt>
                <c:pt idx="1868">
                  <c:v>0.9995211086984832</c:v>
                </c:pt>
                <c:pt idx="1869">
                  <c:v>0.9995273604860764</c:v>
                </c:pt>
                <c:pt idx="1870">
                  <c:v>0.9995323247551757</c:v>
                </c:pt>
                <c:pt idx="1871">
                  <c:v>0.9995409264279657</c:v>
                </c:pt>
                <c:pt idx="1872">
                  <c:v>0.9995458076313558</c:v>
                </c:pt>
                <c:pt idx="1873">
                  <c:v>0.9995470230138389</c:v>
                </c:pt>
                <c:pt idx="1874">
                  <c:v>0.9995684692684113</c:v>
                </c:pt>
                <c:pt idx="1875">
                  <c:v>0.999571958028201</c:v>
                </c:pt>
                <c:pt idx="1876">
                  <c:v>0.9995765550594278</c:v>
                </c:pt>
                <c:pt idx="1877">
                  <c:v>0.9995822516183326</c:v>
                </c:pt>
                <c:pt idx="1878">
                  <c:v>0.9995856485686543</c:v>
                </c:pt>
                <c:pt idx="1879">
                  <c:v>0.9995879000865637</c:v>
                </c:pt>
                <c:pt idx="1880">
                  <c:v>0.9995923441020103</c:v>
                </c:pt>
                <c:pt idx="1881">
                  <c:v>0.9995934501875076</c:v>
                </c:pt>
                <c:pt idx="1882">
                  <c:v>0.9995967531424212</c:v>
                </c:pt>
                <c:pt idx="1883">
                  <c:v>0.9996022245495352</c:v>
                </c:pt>
                <c:pt idx="1884">
                  <c:v>0.9996043973736147</c:v>
                </c:pt>
                <c:pt idx="1885">
                  <c:v>0.9996087124186178</c:v>
                </c:pt>
                <c:pt idx="1886">
                  <c:v>0.9996119126343649</c:v>
                </c:pt>
                <c:pt idx="1887">
                  <c:v>0.9996193317137673</c:v>
                </c:pt>
                <c:pt idx="1888">
                  <c:v>0.999621441145595</c:v>
                </c:pt>
                <c:pt idx="1889">
                  <c:v>0.999624586712849</c:v>
                </c:pt>
                <c:pt idx="1890">
                  <c:v>0.9996277147925853</c:v>
                </c:pt>
                <c:pt idx="1891">
                  <c:v>0.9996338682128911</c:v>
                </c:pt>
                <c:pt idx="1892">
                  <c:v>0.9996389046180011</c:v>
                </c:pt>
                <c:pt idx="1893">
                  <c:v>0.9996399014065125</c:v>
                </c:pt>
                <c:pt idx="1894">
                  <c:v>0.9996497403211828</c:v>
                </c:pt>
                <c:pt idx="1895">
                  <c:v>0.9996516879934715</c:v>
                </c:pt>
                <c:pt idx="1896">
                  <c:v>0.9996545952932963</c:v>
                </c:pt>
                <c:pt idx="1897">
                  <c:v>0.9996555636645913</c:v>
                </c:pt>
                <c:pt idx="1898">
                  <c:v>0.9996594218481933</c:v>
                </c:pt>
                <c:pt idx="1899">
                  <c:v>0.9996603792897898</c:v>
                </c:pt>
                <c:pt idx="1900">
                  <c:v>0.9996632384989408</c:v>
                </c:pt>
                <c:pt idx="1901">
                  <c:v>0.9996660758486947</c:v>
                </c:pt>
                <c:pt idx="1902">
                  <c:v>0.9996679470130932</c:v>
                </c:pt>
                <c:pt idx="1903">
                  <c:v>0.9996726183662703</c:v>
                </c:pt>
                <c:pt idx="1904">
                  <c:v>0.9996744786009703</c:v>
                </c:pt>
                <c:pt idx="1905">
                  <c:v>0.999679075632197</c:v>
                </c:pt>
                <c:pt idx="1906">
                  <c:v>0.9996799871690594</c:v>
                </c:pt>
                <c:pt idx="1907">
                  <c:v>0.9996808987059217</c:v>
                </c:pt>
                <c:pt idx="1908">
                  <c:v>0.9996871745388518</c:v>
                </c:pt>
                <c:pt idx="1909">
                  <c:v>0.9996898435712472</c:v>
                </c:pt>
                <c:pt idx="1910">
                  <c:v>0.9996969129002949</c:v>
                </c:pt>
                <c:pt idx="1911">
                  <c:v>0.9996986572801898</c:v>
                </c:pt>
                <c:pt idx="1912">
                  <c:v>0.9997089552422008</c:v>
                </c:pt>
                <c:pt idx="1913">
                  <c:v>0.9997106493454821</c:v>
                </c:pt>
                <c:pt idx="1914">
                  <c:v>0.9997148660231979</c:v>
                </c:pt>
                <c:pt idx="1915">
                  <c:v>0.9997165448249014</c:v>
                </c:pt>
                <c:pt idx="1916">
                  <c:v>0.9997173820398133</c:v>
                </c:pt>
                <c:pt idx="1917">
                  <c:v>0.9997182170687855</c:v>
                </c:pt>
                <c:pt idx="1918">
                  <c:v>0.9997198849407902</c:v>
                </c:pt>
                <c:pt idx="1919">
                  <c:v>0.9997223703542495</c:v>
                </c:pt>
                <c:pt idx="1920">
                  <c:v>0.9997248339083115</c:v>
                </c:pt>
                <c:pt idx="1921">
                  <c:v>0.999725651449766</c:v>
                </c:pt>
                <c:pt idx="1922">
                  <c:v>0.9997280800287925</c:v>
                </c:pt>
                <c:pt idx="1923">
                  <c:v>0.9997288866405485</c:v>
                </c:pt>
                <c:pt idx="1924">
                  <c:v>0.9997344826462263</c:v>
                </c:pt>
                <c:pt idx="1925">
                  <c:v>0.9997352761423439</c:v>
                </c:pt>
                <c:pt idx="1926">
                  <c:v>0.9997415410455753</c:v>
                </c:pt>
                <c:pt idx="1927">
                  <c:v>0.9997469425026181</c:v>
                </c:pt>
                <c:pt idx="1928">
                  <c:v>0.9997492399252615</c:v>
                </c:pt>
                <c:pt idx="1929">
                  <c:v>0.9997507657111847</c:v>
                </c:pt>
                <c:pt idx="1930">
                  <c:v>0.9997568054626252</c:v>
                </c:pt>
                <c:pt idx="1931">
                  <c:v>0.999759782712521</c:v>
                </c:pt>
                <c:pt idx="1932">
                  <c:v>0.9997699364025109</c:v>
                </c:pt>
                <c:pt idx="1933">
                  <c:v>0.9997742077287196</c:v>
                </c:pt>
                <c:pt idx="1934">
                  <c:v>0.9997783785017015</c:v>
                </c:pt>
                <c:pt idx="1935">
                  <c:v>0.9997797578296634</c:v>
                </c:pt>
                <c:pt idx="1936">
                  <c:v>0.9997804442147349</c:v>
                </c:pt>
                <c:pt idx="1937">
                  <c:v>0.9997953129766961</c:v>
                </c:pt>
                <c:pt idx="1938">
                  <c:v>0.9997999187516817</c:v>
                </c:pt>
                <c:pt idx="1939">
                  <c:v>0.9998012193858139</c:v>
                </c:pt>
                <c:pt idx="1940">
                  <c:v>0.9998018686099102</c:v>
                </c:pt>
                <c:pt idx="1941">
                  <c:v>0.9998076613501625</c:v>
                </c:pt>
                <c:pt idx="1942">
                  <c:v>0.9998139940175252</c:v>
                </c:pt>
                <c:pt idx="1943">
                  <c:v>0.9998171089816232</c:v>
                </c:pt>
                <c:pt idx="1944">
                  <c:v>0.9998237586102451</c:v>
                </c:pt>
                <c:pt idx="1945">
                  <c:v>0.9998284474509399</c:v>
                </c:pt>
                <c:pt idx="1946">
                  <c:v>0.9998347691886041</c:v>
                </c:pt>
                <c:pt idx="1947">
                  <c:v>0.9998364632918855</c:v>
                </c:pt>
                <c:pt idx="1948">
                  <c:v>0.9998375803070813</c:v>
                </c:pt>
                <c:pt idx="1949">
                  <c:v>0.9998386820206991</c:v>
                </c:pt>
                <c:pt idx="1950">
                  <c:v>0.9998424833698686</c:v>
                </c:pt>
                <c:pt idx="1951">
                  <c:v>0.999848881615423</c:v>
                </c:pt>
                <c:pt idx="1952">
                  <c:v>0.9998529999258516</c:v>
                </c:pt>
                <c:pt idx="1953">
                  <c:v>0.9998575444945251</c:v>
                </c:pt>
                <c:pt idx="1954">
                  <c:v>0.9998595336996684</c:v>
                </c:pt>
                <c:pt idx="1955">
                  <c:v>0.9998648673925801</c:v>
                </c:pt>
                <c:pt idx="1956">
                  <c:v>0.9998653439274385</c:v>
                </c:pt>
                <c:pt idx="1957">
                  <c:v>0.9998817581487801</c:v>
                </c:pt>
                <c:pt idx="1958">
                  <c:v>0.9998955754737366</c:v>
                </c:pt>
                <c:pt idx="1959">
                  <c:v>0.9999018993973403</c:v>
                </c:pt>
                <c:pt idx="1960">
                  <c:v>0.9999026295012061</c:v>
                </c:pt>
                <c:pt idx="1961">
                  <c:v>0.999904815440924</c:v>
                </c:pt>
                <c:pt idx="1962">
                  <c:v>0.9999087129714409</c:v>
                </c:pt>
                <c:pt idx="1963">
                  <c:v>0.9999094124721507</c:v>
                </c:pt>
                <c:pt idx="1964">
                  <c:v>0.9999138390000792</c:v>
                </c:pt>
                <c:pt idx="1965">
                  <c:v>0.9999154915705059</c:v>
                </c:pt>
                <c:pt idx="1966">
                  <c:v>0.9999158216474032</c:v>
                </c:pt>
                <c:pt idx="1967">
                  <c:v>0.9999199858625658</c:v>
                </c:pt>
                <c:pt idx="1968">
                  <c:v>0.9999271491870217</c:v>
                </c:pt>
                <c:pt idx="1969">
                  <c:v>0.9999444727592859</c:v>
                </c:pt>
                <c:pt idx="1970">
                  <c:v>0.999948680693243</c:v>
                </c:pt>
                <c:pt idx="1971">
                  <c:v>0.9999753338562226</c:v>
                </c:pt>
                <c:pt idx="1972">
                  <c:v>0.9999842940231258</c:v>
                </c:pt>
                <c:pt idx="1973">
                  <c:v>0.9999855509384635</c:v>
                </c:pt>
                <c:pt idx="1974">
                  <c:v>0.999985756416797</c:v>
                </c:pt>
                <c:pt idx="1975">
                  <c:v>0.9999931405211653</c:v>
                </c:pt>
                <c:pt idx="1976">
                  <c:v>0.9999943755771059</c:v>
                </c:pt>
                <c:pt idx="1977">
                  <c:v>0.9999947012821239</c:v>
                </c:pt>
                <c:pt idx="1978">
                  <c:v>0.9999967342060616</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927</c:f>
              <c:strCache>
                <c:ptCount val="926"/>
                <c:pt idx="0">
                  <c:v>Private Lab</c:v>
                </c:pt>
                <c:pt idx="1">
                  <c:v>Private Lab</c:v>
                </c:pt>
                <c:pt idx="2">
                  <c:v>Private Lab</c:v>
                </c:pt>
                <c:pt idx="3">
                  <c:v>Private Lab</c:v>
                </c:pt>
                <c:pt idx="4">
                  <c:v>Private Lab</c:v>
                </c:pt>
                <c:pt idx="5">
                  <c:v>Private Lab</c:v>
                </c:pt>
                <c:pt idx="6">
                  <c:v>Soignon</c:v>
                </c:pt>
                <c:pt idx="7">
                  <c:v>Caprice Des</c:v>
                </c:pt>
                <c:pt idx="8">
                  <c:v>Mini Babybe</c:v>
                </c:pt>
                <c:pt idx="9">
                  <c:v>Private Lab</c:v>
                </c:pt>
                <c:pt idx="10">
                  <c:v>St Moret</c:v>
                </c:pt>
                <c:pt idx="11">
                  <c:v>La Vache Qu</c:v>
                </c:pt>
                <c:pt idx="12">
                  <c:v>Private Lab</c:v>
                </c:pt>
                <c:pt idx="13">
                  <c:v>Le Rustique</c:v>
                </c:pt>
                <c:pt idx="14">
                  <c:v>Coeur De Li</c:v>
                </c:pt>
                <c:pt idx="15">
                  <c:v>Kiri</c:v>
                </c:pt>
                <c:pt idx="16">
                  <c:v>Galbani</c:v>
                </c:pt>
                <c:pt idx="17">
                  <c:v>President</c:v>
                </c:pt>
                <c:pt idx="18">
                  <c:v>Private Lab</c:v>
                </c:pt>
                <c:pt idx="19">
                  <c:v>Paysan Bret</c:v>
                </c:pt>
                <c:pt idx="20">
                  <c:v>President</c:v>
                </c:pt>
                <c:pt idx="21">
                  <c:v>Private Lab</c:v>
                </c:pt>
                <c:pt idx="22">
                  <c:v>Philadelphi</c:v>
                </c:pt>
                <c:pt idx="23">
                  <c:v>Coeur De Li</c:v>
                </c:pt>
                <c:pt idx="24">
                  <c:v>Private Lab</c:v>
                </c:pt>
                <c:pt idx="25">
                  <c:v>Private Lab</c:v>
                </c:pt>
                <c:pt idx="26">
                  <c:v>Private Lab</c:v>
                </c:pt>
                <c:pt idx="27">
                  <c:v>Private Lab</c:v>
                </c:pt>
                <c:pt idx="28">
                  <c:v>Private Lab</c:v>
                </c:pt>
                <c:pt idx="29">
                  <c:v>Ficello</c:v>
                </c:pt>
                <c:pt idx="30">
                  <c:v>Leerdammer</c:v>
                </c:pt>
                <c:pt idx="31">
                  <c:v>Caprice Des</c:v>
                </c:pt>
                <c:pt idx="32">
                  <c:v>Salakis</c:v>
                </c:pt>
                <c:pt idx="33">
                  <c:v>Soignon</c:v>
                </c:pt>
                <c:pt idx="34">
                  <c:v>La Vache Qu</c:v>
                </c:pt>
                <c:pt idx="35">
                  <c:v>Boursin</c:v>
                </c:pt>
                <c:pt idx="36">
                  <c:v>Soignon</c:v>
                </c:pt>
                <c:pt idx="37">
                  <c:v>President</c:v>
                </c:pt>
                <c:pt idx="38">
                  <c:v>Petit Billy</c:v>
                </c:pt>
                <c:pt idx="39">
                  <c:v>St Moret</c:v>
                </c:pt>
                <c:pt idx="40">
                  <c:v>Private Lab</c:v>
                </c:pt>
                <c:pt idx="41">
                  <c:v>St Moret</c:v>
                </c:pt>
                <c:pt idx="42">
                  <c:v>Private Lab</c:v>
                </c:pt>
                <c:pt idx="43">
                  <c:v>Chaussee Au</c:v>
                </c:pt>
                <c:pt idx="44">
                  <c:v>Private Lab</c:v>
                </c:pt>
                <c:pt idx="45">
                  <c:v>Private Lab</c:v>
                </c:pt>
                <c:pt idx="46">
                  <c:v>Tartare</c:v>
                </c:pt>
                <c:pt idx="47">
                  <c:v>Private Lab</c:v>
                </c:pt>
                <c:pt idx="48">
                  <c:v>Private Lab</c:v>
                </c:pt>
                <c:pt idx="49">
                  <c:v>President</c:v>
                </c:pt>
                <c:pt idx="50">
                  <c:v>Soignon</c:v>
                </c:pt>
                <c:pt idx="51">
                  <c:v>Entremont</c:v>
                </c:pt>
                <c:pt idx="52">
                  <c:v>Private Lab</c:v>
                </c:pt>
                <c:pt idx="53">
                  <c:v>Private Lab</c:v>
                </c:pt>
                <c:pt idx="54">
                  <c:v>Boursin</c:v>
                </c:pt>
                <c:pt idx="55">
                  <c:v>Caprice Des</c:v>
                </c:pt>
                <c:pt idx="56">
                  <c:v>All Others</c:v>
                </c:pt>
                <c:pt idx="57">
                  <c:v>Kiri</c:v>
                </c:pt>
                <c:pt idx="58">
                  <c:v>Aperivrais</c:v>
                </c:pt>
                <c:pt idx="59">
                  <c:v>All Others</c:v>
                </c:pt>
                <c:pt idx="60">
                  <c:v>Le Brebiou</c:v>
                </c:pt>
                <c:pt idx="61">
                  <c:v>Private Lab</c:v>
                </c:pt>
                <c:pt idx="62">
                  <c:v>Private Lab</c:v>
                </c:pt>
                <c:pt idx="63">
                  <c:v>Apericube</c:v>
                </c:pt>
                <c:pt idx="64">
                  <c:v>Richesmonts</c:v>
                </c:pt>
                <c:pt idx="65">
                  <c:v>Private Lab</c:v>
                </c:pt>
                <c:pt idx="66">
                  <c:v>President</c:v>
                </c:pt>
                <c:pt idx="67">
                  <c:v>Private Lab</c:v>
                </c:pt>
                <c:pt idx="68">
                  <c:v>Private Lab</c:v>
                </c:pt>
                <c:pt idx="69">
                  <c:v>Private Lab</c:v>
                </c:pt>
                <c:pt idx="70">
                  <c:v>Carre Frais</c:v>
                </c:pt>
                <c:pt idx="71">
                  <c:v>Chavroux</c:v>
                </c:pt>
                <c:pt idx="72">
                  <c:v>Private Lab</c:v>
                </c:pt>
                <c:pt idx="73">
                  <c:v>Private Lab</c:v>
                </c:pt>
                <c:pt idx="74">
                  <c:v>President</c:v>
                </c:pt>
                <c:pt idx="75">
                  <c:v>Boursin</c:v>
                </c:pt>
                <c:pt idx="76">
                  <c:v>Etorki</c:v>
                </c:pt>
                <c:pt idx="77">
                  <c:v>President</c:v>
                </c:pt>
                <c:pt idx="78">
                  <c:v>Private Lab</c:v>
                </c:pt>
                <c:pt idx="79">
                  <c:v>President</c:v>
                </c:pt>
                <c:pt idx="80">
                  <c:v>Istara</c:v>
                </c:pt>
                <c:pt idx="81">
                  <c:v>Private Lab</c:v>
                </c:pt>
                <c:pt idx="82">
                  <c:v>Lou Perac</c:v>
                </c:pt>
                <c:pt idx="83">
                  <c:v>All Others</c:v>
                </c:pt>
                <c:pt idx="84">
                  <c:v>Paysan Bret</c:v>
                </c:pt>
                <c:pt idx="85">
                  <c:v>Private Lab</c:v>
                </c:pt>
                <c:pt idx="86">
                  <c:v>Tartare</c:v>
                </c:pt>
                <c:pt idx="87">
                  <c:v>Boursin</c:v>
                </c:pt>
                <c:pt idx="88">
                  <c:v>Lepetit</c:v>
                </c:pt>
                <c:pt idx="89">
                  <c:v>Aperivrais</c:v>
                </c:pt>
                <c:pt idx="90">
                  <c:v>Private Lab</c:v>
                </c:pt>
                <c:pt idx="91">
                  <c:v>Private Lab</c:v>
                </c:pt>
                <c:pt idx="92">
                  <c:v>Saint Albra</c:v>
                </c:pt>
                <c:pt idx="93">
                  <c:v>Salakis</c:v>
                </c:pt>
                <c:pt idx="94">
                  <c:v>Saint Agur</c:v>
                </c:pt>
                <c:pt idx="95">
                  <c:v>Casa Azzurr</c:v>
                </c:pt>
                <c:pt idx="96">
                  <c:v>Private Lab</c:v>
                </c:pt>
                <c:pt idx="97">
                  <c:v>Private Lab</c:v>
                </c:pt>
                <c:pt idx="98">
                  <c:v>Juraflore</c:v>
                </c:pt>
                <c:pt idx="99">
                  <c:v>Private Lab</c:v>
                </c:pt>
                <c:pt idx="100">
                  <c:v>Apericube</c:v>
                </c:pt>
                <c:pt idx="101">
                  <c:v>Tartare</c:v>
                </c:pt>
                <c:pt idx="102">
                  <c:v>Private Lab</c:v>
                </c:pt>
                <c:pt idx="103">
                  <c:v>Societe</c:v>
                </c:pt>
                <c:pt idx="104">
                  <c:v>Apericube</c:v>
                </c:pt>
                <c:pt idx="105">
                  <c:v>Private Lab</c:v>
                </c:pt>
                <c:pt idx="106">
                  <c:v>Private Lab</c:v>
                </c:pt>
                <c:pt idx="107">
                  <c:v>Private Lab</c:v>
                </c:pt>
                <c:pt idx="108">
                  <c:v>Private Lab</c:v>
                </c:pt>
                <c:pt idx="109">
                  <c:v>Private Lab</c:v>
                </c:pt>
                <c:pt idx="110">
                  <c:v>President</c:v>
                </c:pt>
                <c:pt idx="111">
                  <c:v>Private Lab</c:v>
                </c:pt>
                <c:pt idx="112">
                  <c:v>Private Lab</c:v>
                </c:pt>
                <c:pt idx="113">
                  <c:v>Babybel</c:v>
                </c:pt>
                <c:pt idx="114">
                  <c:v>L'Ortolan</c:v>
                </c:pt>
                <c:pt idx="115">
                  <c:v>La Vache Qu</c:v>
                </c:pt>
                <c:pt idx="116">
                  <c:v>Saint Agur</c:v>
                </c:pt>
                <c:pt idx="117">
                  <c:v>President</c:v>
                </c:pt>
                <c:pt idx="118">
                  <c:v>St Moret</c:v>
                </c:pt>
                <c:pt idx="119">
                  <c:v>Mini Babybe</c:v>
                </c:pt>
                <c:pt idx="120">
                  <c:v>Private Lab</c:v>
                </c:pt>
                <c:pt idx="121">
                  <c:v>Galbani</c:v>
                </c:pt>
                <c:pt idx="122">
                  <c:v>Private Lab</c:v>
                </c:pt>
                <c:pt idx="123">
                  <c:v>All Others</c:v>
                </c:pt>
                <c:pt idx="124">
                  <c:v>Leerdammer</c:v>
                </c:pt>
                <c:pt idx="125">
                  <c:v>Private Lab</c:v>
                </c:pt>
                <c:pt idx="126">
                  <c:v>Private Lab</c:v>
                </c:pt>
                <c:pt idx="127">
                  <c:v>Private Lab</c:v>
                </c:pt>
                <c:pt idx="128">
                  <c:v>Private Lab</c:v>
                </c:pt>
                <c:pt idx="129">
                  <c:v>Private Lab</c:v>
                </c:pt>
                <c:pt idx="130">
                  <c:v>All Others</c:v>
                </c:pt>
                <c:pt idx="131">
                  <c:v>Islos</c:v>
                </c:pt>
                <c:pt idx="132">
                  <c:v>Private Lab</c:v>
                </c:pt>
                <c:pt idx="133">
                  <c:v>Casa Azzurr</c:v>
                </c:pt>
                <c:pt idx="134">
                  <c:v>Private Lab</c:v>
                </c:pt>
                <c:pt idx="135">
                  <c:v>Kiri</c:v>
                </c:pt>
                <c:pt idx="136">
                  <c:v>Carre Frais</c:v>
                </c:pt>
                <c:pt idx="137">
                  <c:v>Violife</c:v>
                </c:pt>
                <c:pt idx="138">
                  <c:v>Fol Epi</c:v>
                </c:pt>
                <c:pt idx="139">
                  <c:v>Private Lab</c:v>
                </c:pt>
                <c:pt idx="140">
                  <c:v>Private Lab</c:v>
                </c:pt>
                <c:pt idx="141">
                  <c:v>Private Lab</c:v>
                </c:pt>
                <c:pt idx="142">
                  <c:v>Private Lab</c:v>
                </c:pt>
                <c:pt idx="143">
                  <c:v>Private Lab</c:v>
                </c:pt>
                <c:pt idx="144">
                  <c:v>Private Lab</c:v>
                </c:pt>
                <c:pt idx="145">
                  <c:v>Private Lab</c:v>
                </c:pt>
                <c:pt idx="146">
                  <c:v>Private Lab</c:v>
                </c:pt>
                <c:pt idx="147">
                  <c:v>Soignon</c:v>
                </c:pt>
                <c:pt idx="148">
                  <c:v>Private Lab</c:v>
                </c:pt>
                <c:pt idx="149">
                  <c:v>All Others</c:v>
                </c:pt>
                <c:pt idx="150">
                  <c:v>Private Lab</c:v>
                </c:pt>
                <c:pt idx="151">
                  <c:v>Private Lab</c:v>
                </c:pt>
                <c:pt idx="152">
                  <c:v>Private Lab</c:v>
                </c:pt>
                <c:pt idx="153">
                  <c:v>Private Lab</c:v>
                </c:pt>
                <c:pt idx="154">
                  <c:v>Private Lab</c:v>
                </c:pt>
                <c:pt idx="155">
                  <c:v>Private Lab</c:v>
                </c:pt>
                <c:pt idx="156">
                  <c:v>Soignon</c:v>
                </c:pt>
                <c:pt idx="157">
                  <c:v>Private Lab</c:v>
                </c:pt>
                <c:pt idx="158">
                  <c:v>Private Lab</c:v>
                </c:pt>
                <c:pt idx="159">
                  <c:v>Private Lab</c:v>
                </c:pt>
                <c:pt idx="160">
                  <c:v>Private Lab</c:v>
                </c:pt>
                <c:pt idx="161">
                  <c:v>Private Lab</c:v>
                </c:pt>
                <c:pt idx="162">
                  <c:v>Galbani</c:v>
                </c:pt>
                <c:pt idx="163">
                  <c:v>Private Lab</c:v>
                </c:pt>
                <c:pt idx="164">
                  <c:v>Private Lab</c:v>
                </c:pt>
                <c:pt idx="165">
                  <c:v>Private Lab</c:v>
                </c:pt>
                <c:pt idx="166">
                  <c:v>Private Lab</c:v>
                </c:pt>
                <c:pt idx="167">
                  <c:v>Private Lab</c:v>
                </c:pt>
                <c:pt idx="168">
                  <c:v>Private Lab</c:v>
                </c:pt>
                <c:pt idx="169">
                  <c:v>Private Lab</c:v>
                </c:pt>
                <c:pt idx="170">
                  <c:v>Pochat</c:v>
                </c:pt>
                <c:pt idx="171">
                  <c:v>Private Lab</c:v>
                </c:pt>
                <c:pt idx="172">
                  <c:v>All Others</c:v>
                </c:pt>
                <c:pt idx="173">
                  <c:v>Apericube</c:v>
                </c:pt>
                <c:pt idx="174">
                  <c:v>President</c:v>
                </c:pt>
                <c:pt idx="175">
                  <c:v>Paysan Bret</c:v>
                </c:pt>
                <c:pt idx="176">
                  <c:v>Private Lab</c:v>
                </c:pt>
                <c:pt idx="177">
                  <c:v>Violife</c:v>
                </c:pt>
                <c:pt idx="178">
                  <c:v>Private Lab</c:v>
                </c:pt>
                <c:pt idx="179">
                  <c:v>P'Tit Louis</c:v>
                </c:pt>
                <c:pt idx="180">
                  <c:v>Istara</c:v>
                </c:pt>
                <c:pt idx="181">
                  <c:v>Fauquet</c:v>
                </c:pt>
                <c:pt idx="182">
                  <c:v>Private Lab</c:v>
                </c:pt>
                <c:pt idx="183">
                  <c:v>Port Salut</c:v>
                </c:pt>
                <c:pt idx="184">
                  <c:v>Private Lab</c:v>
                </c:pt>
                <c:pt idx="185">
                  <c:v>All Others</c:v>
                </c:pt>
                <c:pt idx="186">
                  <c:v>All Others</c:v>
                </c:pt>
                <c:pt idx="187">
                  <c:v>Paysan Bret</c:v>
                </c:pt>
                <c:pt idx="188">
                  <c:v>Private Lab</c:v>
                </c:pt>
                <c:pt idx="189">
                  <c:v>Entremont</c:v>
                </c:pt>
                <c:pt idx="190">
                  <c:v>Galbani</c:v>
                </c:pt>
                <c:pt idx="191">
                  <c:v>Lactalis: A</c:v>
                </c:pt>
                <c:pt idx="192">
                  <c:v>Private Lab</c:v>
                </c:pt>
                <c:pt idx="193">
                  <c:v>Private Lab</c:v>
                </c:pt>
                <c:pt idx="194">
                  <c:v>Societe</c:v>
                </c:pt>
                <c:pt idx="195">
                  <c:v>All Others</c:v>
                </c:pt>
                <c:pt idx="196">
                  <c:v>Private Lab</c:v>
                </c:pt>
                <c:pt idx="197">
                  <c:v>All Others</c:v>
                </c:pt>
                <c:pt idx="198">
                  <c:v>Private Lab</c:v>
                </c:pt>
                <c:pt idx="199">
                  <c:v>Private Lab</c:v>
                </c:pt>
                <c:pt idx="200">
                  <c:v>Lou Perac</c:v>
                </c:pt>
                <c:pt idx="201">
                  <c:v>Leerdammer</c:v>
                </c:pt>
                <c:pt idx="202">
                  <c:v>Private Lab</c:v>
                </c:pt>
                <c:pt idx="203">
                  <c:v>President</c:v>
                </c:pt>
                <c:pt idx="204">
                  <c:v>All Others</c:v>
                </c:pt>
                <c:pt idx="205">
                  <c:v>President</c:v>
                </c:pt>
                <c:pt idx="206">
                  <c:v>Private Lab</c:v>
                </c:pt>
                <c:pt idx="207">
                  <c:v>Private Lab</c:v>
                </c:pt>
                <c:pt idx="208">
                  <c:v>All Others</c:v>
                </c:pt>
                <c:pt idx="209">
                  <c:v>Private Lab</c:v>
                </c:pt>
                <c:pt idx="210">
                  <c:v>Private Lab</c:v>
                </c:pt>
                <c:pt idx="211">
                  <c:v>President</c:v>
                </c:pt>
                <c:pt idx="212">
                  <c:v>Private Lab</c:v>
                </c:pt>
                <c:pt idx="213">
                  <c:v>Private Lab</c:v>
                </c:pt>
                <c:pt idx="214">
                  <c:v>All Others</c:v>
                </c:pt>
                <c:pt idx="215">
                  <c:v>President</c:v>
                </c:pt>
                <c:pt idx="216">
                  <c:v>All Others</c:v>
                </c:pt>
                <c:pt idx="217">
                  <c:v>Entremont</c:v>
                </c:pt>
                <c:pt idx="218">
                  <c:v>Bresse Bleu</c:v>
                </c:pt>
                <c:pt idx="219">
                  <c:v>All Others</c:v>
                </c:pt>
                <c:pt idx="220">
                  <c:v>La Vache Qu</c:v>
                </c:pt>
                <c:pt idx="221">
                  <c:v>Richesmonts</c:v>
                </c:pt>
                <c:pt idx="222">
                  <c:v>All Others</c:v>
                </c:pt>
                <c:pt idx="223">
                  <c:v>Societe</c:v>
                </c:pt>
                <c:pt idx="224">
                  <c:v>Private Lab</c:v>
                </c:pt>
                <c:pt idx="225">
                  <c:v>Cousteron</c:v>
                </c:pt>
                <c:pt idx="226">
                  <c:v>All Others</c:v>
                </c:pt>
                <c:pt idx="227">
                  <c:v>All Others</c:v>
                </c:pt>
                <c:pt idx="228">
                  <c:v>All Others</c:v>
                </c:pt>
                <c:pt idx="229">
                  <c:v>Private Lab</c:v>
                </c:pt>
                <c:pt idx="230">
                  <c:v>St Moret</c:v>
                </c:pt>
                <c:pt idx="231">
                  <c:v>Kiri</c:v>
                </c:pt>
                <c:pt idx="232">
                  <c:v>Casa Azzurr</c:v>
                </c:pt>
                <c:pt idx="233">
                  <c:v>All Others</c:v>
                </c:pt>
                <c:pt idx="234">
                  <c:v>Private Lab</c:v>
                </c:pt>
                <c:pt idx="235">
                  <c:v>Soignon</c:v>
                </c:pt>
                <c:pt idx="236">
                  <c:v>Soignon</c:v>
                </c:pt>
                <c:pt idx="237">
                  <c:v>All Others</c:v>
                </c:pt>
                <c:pt idx="238">
                  <c:v>Apericube</c:v>
                </c:pt>
                <c:pt idx="239">
                  <c:v>All Others</c:v>
                </c:pt>
                <c:pt idx="240">
                  <c:v>Soignon</c:v>
                </c:pt>
                <c:pt idx="241">
                  <c:v>Private Lab</c:v>
                </c:pt>
                <c:pt idx="242">
                  <c:v>All Others</c:v>
                </c:pt>
                <c:pt idx="243">
                  <c:v>All Others</c:v>
                </c:pt>
                <c:pt idx="244">
                  <c:v>President</c:v>
                </c:pt>
                <c:pt idx="245">
                  <c:v>Private Lab</c:v>
                </c:pt>
                <c:pt idx="246">
                  <c:v>Paysan Bret</c:v>
                </c:pt>
                <c:pt idx="247">
                  <c:v>All Others</c:v>
                </c:pt>
                <c:pt idx="248">
                  <c:v>All Others</c:v>
                </c:pt>
                <c:pt idx="249">
                  <c:v>Paysan Bret</c:v>
                </c:pt>
                <c:pt idx="250">
                  <c:v>Juraflore</c:v>
                </c:pt>
                <c:pt idx="251">
                  <c:v>All Others</c:v>
                </c:pt>
                <c:pt idx="252">
                  <c:v>All Others</c:v>
                </c:pt>
                <c:pt idx="253">
                  <c:v>Paysan Bret</c:v>
                </c:pt>
                <c:pt idx="254">
                  <c:v>Private Lab</c:v>
                </c:pt>
                <c:pt idx="255">
                  <c:v>All Others</c:v>
                </c:pt>
                <c:pt idx="256">
                  <c:v>Private Lab</c:v>
                </c:pt>
                <c:pt idx="257">
                  <c:v>Private Lab</c:v>
                </c:pt>
                <c:pt idx="258">
                  <c:v>All Others</c:v>
                </c:pt>
                <c:pt idx="259">
                  <c:v>Triballat N</c:v>
                </c:pt>
                <c:pt idx="260">
                  <c:v>All Others</c:v>
                </c:pt>
                <c:pt idx="261">
                  <c:v>All Others</c:v>
                </c:pt>
                <c:pt idx="262">
                  <c:v>All Others</c:v>
                </c:pt>
                <c:pt idx="263">
                  <c:v>All Others</c:v>
                </c:pt>
                <c:pt idx="264">
                  <c:v>Private Lab</c:v>
                </c:pt>
                <c:pt idx="265">
                  <c:v>Lactalis: A</c:v>
                </c:pt>
                <c:pt idx="266">
                  <c:v>Private Lab</c:v>
                </c:pt>
                <c:pt idx="267">
                  <c:v>Richesmonts</c:v>
                </c:pt>
                <c:pt idx="268">
                  <c:v>Private Lab</c:v>
                </c:pt>
                <c:pt idx="269">
                  <c:v>Apericube</c:v>
                </c:pt>
                <c:pt idx="270">
                  <c:v>Richesmonts</c:v>
                </c:pt>
                <c:pt idx="271">
                  <c:v>Boursin</c:v>
                </c:pt>
                <c:pt idx="272">
                  <c:v>All Others</c:v>
                </c:pt>
                <c:pt idx="273">
                  <c:v>All Others</c:v>
                </c:pt>
                <c:pt idx="274">
                  <c:v>Private Lab</c:v>
                </c:pt>
                <c:pt idx="275">
                  <c:v>Boursin</c:v>
                </c:pt>
                <c:pt idx="276">
                  <c:v>Private Lab</c:v>
                </c:pt>
                <c:pt idx="277">
                  <c:v>All Others</c:v>
                </c:pt>
                <c:pt idx="278">
                  <c:v>All Others</c:v>
                </c:pt>
                <c:pt idx="279">
                  <c:v>Galbani</c:v>
                </c:pt>
                <c:pt idx="280">
                  <c:v>Entremont</c:v>
                </c:pt>
                <c:pt idx="281">
                  <c:v>Private Lab</c:v>
                </c:pt>
                <c:pt idx="282">
                  <c:v>Private Lab</c:v>
                </c:pt>
                <c:pt idx="283">
                  <c:v>All Others</c:v>
                </c:pt>
                <c:pt idx="284">
                  <c:v>P'Tit Louis</c:v>
                </c:pt>
                <c:pt idx="285">
                  <c:v>Salakis</c:v>
                </c:pt>
                <c:pt idx="286">
                  <c:v>Richesmonts</c:v>
                </c:pt>
                <c:pt idx="287">
                  <c:v>All Others</c:v>
                </c:pt>
                <c:pt idx="288">
                  <c:v>St Moret</c:v>
                </c:pt>
                <c:pt idx="289">
                  <c:v>Private Lab</c:v>
                </c:pt>
                <c:pt idx="290">
                  <c:v>All Others</c:v>
                </c:pt>
                <c:pt idx="291">
                  <c:v>Soignon</c:v>
                </c:pt>
                <c:pt idx="292">
                  <c:v>Le Rustique</c:v>
                </c:pt>
                <c:pt idx="293">
                  <c:v>Violife</c:v>
                </c:pt>
                <c:pt idx="294">
                  <c:v>All Others</c:v>
                </c:pt>
                <c:pt idx="295">
                  <c:v>All Others</c:v>
                </c:pt>
                <c:pt idx="296">
                  <c:v>Private Lab</c:v>
                </c:pt>
                <c:pt idx="297">
                  <c:v>All Others</c:v>
                </c:pt>
                <c:pt idx="298">
                  <c:v>All Others</c:v>
                </c:pt>
                <c:pt idx="299">
                  <c:v>All Others</c:v>
                </c:pt>
                <c:pt idx="300">
                  <c:v>All Others</c:v>
                </c:pt>
                <c:pt idx="301">
                  <c:v>Vieux Pane</c:v>
                </c:pt>
                <c:pt idx="302">
                  <c:v>Milleret: A</c:v>
                </c:pt>
                <c:pt idx="303">
                  <c:v>All Others</c:v>
                </c:pt>
                <c:pt idx="304">
                  <c:v>Private Lab</c:v>
                </c:pt>
                <c:pt idx="305">
                  <c:v>Private Lab</c:v>
                </c:pt>
                <c:pt idx="306">
                  <c:v>Soignon</c:v>
                </c:pt>
                <c:pt idx="307">
                  <c:v>All Others</c:v>
                </c:pt>
                <c:pt idx="308">
                  <c:v>Richesmonts</c:v>
                </c:pt>
                <c:pt idx="309">
                  <c:v>All Others</c:v>
                </c:pt>
                <c:pt idx="310">
                  <c:v>Entremont</c:v>
                </c:pt>
                <c:pt idx="311">
                  <c:v>Carre Frais</c:v>
                </c:pt>
                <c:pt idx="312">
                  <c:v>Private Lab</c:v>
                </c:pt>
                <c:pt idx="313">
                  <c:v>All Others</c:v>
                </c:pt>
                <c:pt idx="314">
                  <c:v>Port Salut</c:v>
                </c:pt>
                <c:pt idx="315">
                  <c:v>Entremont</c:v>
                </c:pt>
                <c:pt idx="316">
                  <c:v>Galbani</c:v>
                </c:pt>
                <c:pt idx="317">
                  <c:v>All Others</c:v>
                </c:pt>
                <c:pt idx="318">
                  <c:v>All Others</c:v>
                </c:pt>
                <c:pt idx="319">
                  <c:v>Paysan Bret</c:v>
                </c:pt>
                <c:pt idx="320">
                  <c:v>All Others</c:v>
                </c:pt>
                <c:pt idx="321">
                  <c:v>Soignon</c:v>
                </c:pt>
                <c:pt idx="322">
                  <c:v>Coeur De Li</c:v>
                </c:pt>
                <c:pt idx="323">
                  <c:v>Private Lab</c:v>
                </c:pt>
                <c:pt idx="324">
                  <c:v>All Others</c:v>
                </c:pt>
                <c:pt idx="325">
                  <c:v>All Others</c:v>
                </c:pt>
                <c:pt idx="326">
                  <c:v>Fauquet</c:v>
                </c:pt>
                <c:pt idx="327">
                  <c:v>Private Lab</c:v>
                </c:pt>
                <c:pt idx="328">
                  <c:v>Eurial Autr</c:v>
                </c:pt>
                <c:pt idx="329">
                  <c:v>Private Lab</c:v>
                </c:pt>
                <c:pt idx="330">
                  <c:v>Soignon</c:v>
                </c:pt>
                <c:pt idx="331">
                  <c:v>Savencia: A</c:v>
                </c:pt>
                <c:pt idx="332">
                  <c:v>Milleret: A</c:v>
                </c:pt>
                <c:pt idx="333">
                  <c:v>All Others</c:v>
                </c:pt>
                <c:pt idx="334">
                  <c:v>Pochat</c:v>
                </c:pt>
                <c:pt idx="335">
                  <c:v>Lactalis: A</c:v>
                </c:pt>
                <c:pt idx="336">
                  <c:v>Paysan Bret</c:v>
                </c:pt>
                <c:pt idx="337">
                  <c:v>All Others</c:v>
                </c:pt>
                <c:pt idx="338">
                  <c:v>Boursin</c:v>
                </c:pt>
                <c:pt idx="339">
                  <c:v>Lactalis: A</c:v>
                </c:pt>
                <c:pt idx="340">
                  <c:v>Private Lab</c:v>
                </c:pt>
                <c:pt idx="341">
                  <c:v>Galbani</c:v>
                </c:pt>
                <c:pt idx="342">
                  <c:v>Entremont</c:v>
                </c:pt>
                <c:pt idx="343">
                  <c:v>Pave D'Affi</c:v>
                </c:pt>
                <c:pt idx="344">
                  <c:v>Casa Azzurr</c:v>
                </c:pt>
                <c:pt idx="345">
                  <c:v>Casa Azzurr</c:v>
                </c:pt>
                <c:pt idx="346">
                  <c:v>All Others</c:v>
                </c:pt>
                <c:pt idx="347">
                  <c:v>Istara</c:v>
                </c:pt>
                <c:pt idx="348">
                  <c:v>President</c:v>
                </c:pt>
                <c:pt idx="349">
                  <c:v>Apericube</c:v>
                </c:pt>
                <c:pt idx="350">
                  <c:v>La Vache Qu</c:v>
                </c:pt>
                <c:pt idx="351">
                  <c:v>Boursin</c:v>
                </c:pt>
                <c:pt idx="352">
                  <c:v>Violife</c:v>
                </c:pt>
                <c:pt idx="353">
                  <c:v>Mini Babybe</c:v>
                </c:pt>
                <c:pt idx="354">
                  <c:v>Eurial Autr</c:v>
                </c:pt>
                <c:pt idx="355">
                  <c:v>Private Lab</c:v>
                </c:pt>
                <c:pt idx="356">
                  <c:v>Port Salut</c:v>
                </c:pt>
                <c:pt idx="357">
                  <c:v>Etoile Du V</c:v>
                </c:pt>
                <c:pt idx="358">
                  <c:v>Casa Azzurr</c:v>
                </c:pt>
                <c:pt idx="359">
                  <c:v>Private Lab</c:v>
                </c:pt>
                <c:pt idx="360">
                  <c:v>All Others</c:v>
                </c:pt>
                <c:pt idx="361">
                  <c:v>O'Tapas Ape</c:v>
                </c:pt>
                <c:pt idx="362">
                  <c:v>Lou Perac</c:v>
                </c:pt>
                <c:pt idx="363">
                  <c:v>Kiri</c:v>
                </c:pt>
                <c:pt idx="364">
                  <c:v>All Others</c:v>
                </c:pt>
                <c:pt idx="365">
                  <c:v>All Others</c:v>
                </c:pt>
                <c:pt idx="366">
                  <c:v>All Others</c:v>
                </c:pt>
                <c:pt idx="367">
                  <c:v>Private Lab</c:v>
                </c:pt>
                <c:pt idx="368">
                  <c:v>Private Lab</c:v>
                </c:pt>
                <c:pt idx="369">
                  <c:v>All Others</c:v>
                </c:pt>
                <c:pt idx="370">
                  <c:v>All Others</c:v>
                </c:pt>
                <c:pt idx="371">
                  <c:v>Entremont</c:v>
                </c:pt>
                <c:pt idx="372">
                  <c:v>All Others</c:v>
                </c:pt>
                <c:pt idx="373">
                  <c:v>Private Lab</c:v>
                </c:pt>
                <c:pt idx="374">
                  <c:v>Lactalis: A</c:v>
                </c:pt>
                <c:pt idx="375">
                  <c:v>All Others</c:v>
                </c:pt>
                <c:pt idx="376">
                  <c:v>Fauquet</c:v>
                </c:pt>
                <c:pt idx="377">
                  <c:v>Entremont</c:v>
                </c:pt>
                <c:pt idx="378">
                  <c:v>All Others</c:v>
                </c:pt>
                <c:pt idx="379">
                  <c:v>La Pointe P</c:v>
                </c:pt>
                <c:pt idx="380">
                  <c:v>Lactalis: A</c:v>
                </c:pt>
                <c:pt idx="381">
                  <c:v>La Belle Et</c:v>
                </c:pt>
                <c:pt idx="382">
                  <c:v>Entremont</c:v>
                </c:pt>
                <c:pt idx="383">
                  <c:v>Mini Babybe</c:v>
                </c:pt>
                <c:pt idx="384">
                  <c:v>All Others</c:v>
                </c:pt>
                <c:pt idx="385">
                  <c:v>Juraflore</c:v>
                </c:pt>
                <c:pt idx="386">
                  <c:v>All Others</c:v>
                </c:pt>
                <c:pt idx="387">
                  <c:v>All Others</c:v>
                </c:pt>
                <c:pt idx="388">
                  <c:v>Private Lab</c:v>
                </c:pt>
                <c:pt idx="389">
                  <c:v>Private Lab</c:v>
                </c:pt>
                <c:pt idx="390">
                  <c:v>All Others</c:v>
                </c:pt>
                <c:pt idx="391">
                  <c:v>Private Lab</c:v>
                </c:pt>
                <c:pt idx="392">
                  <c:v>President</c:v>
                </c:pt>
                <c:pt idx="393">
                  <c:v>All Others</c:v>
                </c:pt>
                <c:pt idx="394">
                  <c:v>Private Lab</c:v>
                </c:pt>
                <c:pt idx="395">
                  <c:v>Private Lab</c:v>
                </c:pt>
                <c:pt idx="396">
                  <c:v>All Others</c:v>
                </c:pt>
                <c:pt idx="397">
                  <c:v>Chaussee Au</c:v>
                </c:pt>
                <c:pt idx="398">
                  <c:v>All Others</c:v>
                </c:pt>
                <c:pt idx="399">
                  <c:v>All Others</c:v>
                </c:pt>
                <c:pt idx="400">
                  <c:v>President</c:v>
                </c:pt>
                <c:pt idx="401">
                  <c:v>All Others</c:v>
                </c:pt>
                <c:pt idx="402">
                  <c:v>All Others</c:v>
                </c:pt>
                <c:pt idx="403">
                  <c:v>All Others</c:v>
                </c:pt>
                <c:pt idx="404">
                  <c:v>All Others</c:v>
                </c:pt>
                <c:pt idx="405">
                  <c:v>All Others</c:v>
                </c:pt>
                <c:pt idx="406">
                  <c:v>Richesmonts</c:v>
                </c:pt>
                <c:pt idx="407">
                  <c:v>All Others</c:v>
                </c:pt>
                <c:pt idx="408">
                  <c:v>Lactalis: A</c:v>
                </c:pt>
                <c:pt idx="409">
                  <c:v>All Others</c:v>
                </c:pt>
                <c:pt idx="410">
                  <c:v>Pave D'Affi</c:v>
                </c:pt>
                <c:pt idx="411">
                  <c:v>All Others</c:v>
                </c:pt>
                <c:pt idx="412">
                  <c:v>Richesmonts</c:v>
                </c:pt>
                <c:pt idx="413">
                  <c:v>La Vache Qu</c:v>
                </c:pt>
                <c:pt idx="414">
                  <c:v>All Others</c:v>
                </c:pt>
                <c:pt idx="415">
                  <c:v>La Belle Et</c:v>
                </c:pt>
                <c:pt idx="416">
                  <c:v>Private Lab</c:v>
                </c:pt>
                <c:pt idx="417">
                  <c:v>All Others</c:v>
                </c:pt>
                <c:pt idx="418">
                  <c:v>President</c:v>
                </c:pt>
                <c:pt idx="419">
                  <c:v>Pave D'Affi</c:v>
                </c:pt>
                <c:pt idx="420">
                  <c:v>Nurishh</c:v>
                </c:pt>
                <c:pt idx="421">
                  <c:v>All Others</c:v>
                </c:pt>
                <c:pt idx="422">
                  <c:v>Richesmonts</c:v>
                </c:pt>
                <c:pt idx="423">
                  <c:v>Private Lab</c:v>
                </c:pt>
                <c:pt idx="424">
                  <c:v>Private Lab</c:v>
                </c:pt>
                <c:pt idx="425">
                  <c:v>Chaussee Au</c:v>
                </c:pt>
                <c:pt idx="426">
                  <c:v>Etoile Du V</c:v>
                </c:pt>
                <c:pt idx="427">
                  <c:v>All Others</c:v>
                </c:pt>
                <c:pt idx="428">
                  <c:v>All Others</c:v>
                </c:pt>
                <c:pt idx="429">
                  <c:v>Lactalis: A</c:v>
                </c:pt>
                <c:pt idx="430">
                  <c:v>All Others</c:v>
                </c:pt>
                <c:pt idx="431">
                  <c:v>Lactalis: A</c:v>
                </c:pt>
                <c:pt idx="432">
                  <c:v>All Others</c:v>
                </c:pt>
                <c:pt idx="433">
                  <c:v>All Others</c:v>
                </c:pt>
                <c:pt idx="434">
                  <c:v>Violife</c:v>
                </c:pt>
                <c:pt idx="435">
                  <c:v>All Others</c:v>
                </c:pt>
                <c:pt idx="436">
                  <c:v>All Others</c:v>
                </c:pt>
                <c:pt idx="437">
                  <c:v>Private Lab</c:v>
                </c:pt>
                <c:pt idx="438">
                  <c:v>All Others</c:v>
                </c:pt>
                <c:pt idx="439">
                  <c:v>Lactalis: A</c:v>
                </c:pt>
                <c:pt idx="440">
                  <c:v>All Others</c:v>
                </c:pt>
                <c:pt idx="441">
                  <c:v>Lactalis: A</c:v>
                </c:pt>
                <c:pt idx="442">
                  <c:v>All Others</c:v>
                </c:pt>
                <c:pt idx="443">
                  <c:v>All Others</c:v>
                </c:pt>
                <c:pt idx="444">
                  <c:v>Private Lab</c:v>
                </c:pt>
                <c:pt idx="445">
                  <c:v>Mini Babybe</c:v>
                </c:pt>
                <c:pt idx="446">
                  <c:v>La Belle Et</c:v>
                </c:pt>
                <c:pt idx="447">
                  <c:v>Private Lab</c:v>
                </c:pt>
                <c:pt idx="448">
                  <c:v>All Others</c:v>
                </c:pt>
                <c:pt idx="449">
                  <c:v>All Others</c:v>
                </c:pt>
                <c:pt idx="450">
                  <c:v>All Others</c:v>
                </c:pt>
                <c:pt idx="451">
                  <c:v>La Vache Qu</c:v>
                </c:pt>
                <c:pt idx="452">
                  <c:v>All Others</c:v>
                </c:pt>
                <c:pt idx="453">
                  <c:v>Savencia: A</c:v>
                </c:pt>
                <c:pt idx="454">
                  <c:v>All Others</c:v>
                </c:pt>
                <c:pt idx="455">
                  <c:v>All Others</c:v>
                </c:pt>
                <c:pt idx="456">
                  <c:v>All Others</c:v>
                </c:pt>
                <c:pt idx="457">
                  <c:v>All Others</c:v>
                </c:pt>
                <c:pt idx="458">
                  <c:v>All Others</c:v>
                </c:pt>
                <c:pt idx="459">
                  <c:v>All Others</c:v>
                </c:pt>
                <c:pt idx="460">
                  <c:v>All Others</c:v>
                </c:pt>
                <c:pt idx="461">
                  <c:v>All Others</c:v>
                </c:pt>
                <c:pt idx="462">
                  <c:v>All Others</c:v>
                </c:pt>
                <c:pt idx="463">
                  <c:v>All Others</c:v>
                </c:pt>
                <c:pt idx="464">
                  <c:v>All Others</c:v>
                </c:pt>
                <c:pt idx="465">
                  <c:v>All Others</c:v>
                </c:pt>
                <c:pt idx="466">
                  <c:v>P'Tit Louis</c:v>
                </c:pt>
                <c:pt idx="467">
                  <c:v>All Others</c:v>
                </c:pt>
                <c:pt idx="468">
                  <c:v>La Pointe P</c:v>
                </c:pt>
                <c:pt idx="469">
                  <c:v>All Others</c:v>
                </c:pt>
                <c:pt idx="470">
                  <c:v>Boursin</c:v>
                </c:pt>
                <c:pt idx="471">
                  <c:v>All Others</c:v>
                </c:pt>
                <c:pt idx="472">
                  <c:v>All Others</c:v>
                </c:pt>
                <c:pt idx="473">
                  <c:v>All Others</c:v>
                </c:pt>
                <c:pt idx="474">
                  <c:v>La Vache Qu</c:v>
                </c:pt>
                <c:pt idx="475">
                  <c:v>All Others</c:v>
                </c:pt>
                <c:pt idx="476">
                  <c:v>Entremont</c:v>
                </c:pt>
                <c:pt idx="477">
                  <c:v>Leerdammer</c:v>
                </c:pt>
                <c:pt idx="478">
                  <c:v>Societe</c:v>
                </c:pt>
                <c:pt idx="479">
                  <c:v>All Others</c:v>
                </c:pt>
                <c:pt idx="480">
                  <c:v>All Others</c:v>
                </c:pt>
                <c:pt idx="481">
                  <c:v>Private Lab</c:v>
                </c:pt>
                <c:pt idx="482">
                  <c:v>All Others</c:v>
                </c:pt>
                <c:pt idx="483">
                  <c:v>Private Lab</c:v>
                </c:pt>
                <c:pt idx="484">
                  <c:v>All Others</c:v>
                </c:pt>
                <c:pt idx="485">
                  <c:v>Lactalis: A</c:v>
                </c:pt>
                <c:pt idx="486">
                  <c:v>All Others</c:v>
                </c:pt>
                <c:pt idx="487">
                  <c:v>All Others</c:v>
                </c:pt>
                <c:pt idx="488">
                  <c:v>Leerdammer</c:v>
                </c:pt>
                <c:pt idx="489">
                  <c:v>Private Lab</c:v>
                </c:pt>
                <c:pt idx="490">
                  <c:v>Lactalis: A</c:v>
                </c:pt>
                <c:pt idx="491">
                  <c:v>All Others</c:v>
                </c:pt>
                <c:pt idx="492">
                  <c:v>Richesmonts</c:v>
                </c:pt>
                <c:pt idx="493">
                  <c:v>All Others</c:v>
                </c:pt>
                <c:pt idx="494">
                  <c:v>All Others</c:v>
                </c:pt>
                <c:pt idx="495">
                  <c:v>All Others</c:v>
                </c:pt>
                <c:pt idx="496">
                  <c:v>All Others</c:v>
                </c:pt>
                <c:pt idx="497">
                  <c:v>Paysan Bret</c:v>
                </c:pt>
                <c:pt idx="498">
                  <c:v>All Others</c:v>
                </c:pt>
                <c:pt idx="499">
                  <c:v>La Belle Et</c:v>
                </c:pt>
                <c:pt idx="500">
                  <c:v>President</c:v>
                </c:pt>
                <c:pt idx="501">
                  <c:v>All Others</c:v>
                </c:pt>
                <c:pt idx="502">
                  <c:v>All Others</c:v>
                </c:pt>
                <c:pt idx="503">
                  <c:v>Etoile Du V</c:v>
                </c:pt>
                <c:pt idx="504">
                  <c:v>Milleret: A</c:v>
                </c:pt>
                <c:pt idx="505">
                  <c:v>Apericube</c:v>
                </c:pt>
                <c:pt idx="506">
                  <c:v>Lactalis: A</c:v>
                </c:pt>
                <c:pt idx="507">
                  <c:v>Lou Perac</c:v>
                </c:pt>
                <c:pt idx="508">
                  <c:v>All Others</c:v>
                </c:pt>
                <c:pt idx="509">
                  <c:v>Lactalis: A</c:v>
                </c:pt>
                <c:pt idx="510">
                  <c:v>All Others</c:v>
                </c:pt>
                <c:pt idx="511">
                  <c:v>All Others</c:v>
                </c:pt>
                <c:pt idx="512">
                  <c:v>Galbani</c:v>
                </c:pt>
                <c:pt idx="513">
                  <c:v>All Others</c:v>
                </c:pt>
                <c:pt idx="514">
                  <c:v>All Others</c:v>
                </c:pt>
                <c:pt idx="515">
                  <c:v>All Others</c:v>
                </c:pt>
                <c:pt idx="516">
                  <c:v>Pave D'Affi</c:v>
                </c:pt>
                <c:pt idx="517">
                  <c:v>Lactalis: A</c:v>
                </c:pt>
                <c:pt idx="518">
                  <c:v>All Others</c:v>
                </c:pt>
                <c:pt idx="519">
                  <c:v>Private Lab</c:v>
                </c:pt>
                <c:pt idx="520">
                  <c:v>Savencia: A</c:v>
                </c:pt>
                <c:pt idx="521">
                  <c:v>Private Lab</c:v>
                </c:pt>
                <c:pt idx="522">
                  <c:v>La Pointe P</c:v>
                </c:pt>
                <c:pt idx="523">
                  <c:v>All Others</c:v>
                </c:pt>
                <c:pt idx="524">
                  <c:v>Lactalis: A</c:v>
                </c:pt>
                <c:pt idx="525">
                  <c:v>Ficello</c:v>
                </c:pt>
                <c:pt idx="526">
                  <c:v>All Others</c:v>
                </c:pt>
                <c:pt idx="527">
                  <c:v>All Others</c:v>
                </c:pt>
                <c:pt idx="528">
                  <c:v>All Others</c:v>
                </c:pt>
                <c:pt idx="529">
                  <c:v>Violife</c:v>
                </c:pt>
                <c:pt idx="530">
                  <c:v>Chavroux</c:v>
                </c:pt>
                <c:pt idx="531">
                  <c:v>All Others</c:v>
                </c:pt>
                <c:pt idx="532">
                  <c:v>Private Lab</c:v>
                </c:pt>
                <c:pt idx="533">
                  <c:v>All Others</c:v>
                </c:pt>
                <c:pt idx="534">
                  <c:v>All Others</c:v>
                </c:pt>
                <c:pt idx="535">
                  <c:v>All Others</c:v>
                </c:pt>
                <c:pt idx="536">
                  <c:v>All Others</c:v>
                </c:pt>
                <c:pt idx="537">
                  <c:v>Private Lab</c:v>
                </c:pt>
                <c:pt idx="538">
                  <c:v>Kiri</c:v>
                </c:pt>
                <c:pt idx="539">
                  <c:v>All Others</c:v>
                </c:pt>
                <c:pt idx="540">
                  <c:v>Societe</c:v>
                </c:pt>
                <c:pt idx="541">
                  <c:v>All Others</c:v>
                </c:pt>
                <c:pt idx="542">
                  <c:v>All Others</c:v>
                </c:pt>
                <c:pt idx="543">
                  <c:v>All Others</c:v>
                </c:pt>
                <c:pt idx="544">
                  <c:v>Leerdammer</c:v>
                </c:pt>
                <c:pt idx="545">
                  <c:v>All Others</c:v>
                </c:pt>
                <c:pt idx="546">
                  <c:v>Richesmonts</c:v>
                </c:pt>
                <c:pt idx="547">
                  <c:v>All Others</c:v>
                </c:pt>
                <c:pt idx="548">
                  <c:v>Leerdammer</c:v>
                </c:pt>
                <c:pt idx="549">
                  <c:v>Mini Babybe</c:v>
                </c:pt>
                <c:pt idx="550">
                  <c:v>All Others</c:v>
                </c:pt>
                <c:pt idx="551">
                  <c:v>All Others</c:v>
                </c:pt>
                <c:pt idx="552">
                  <c:v>All Others</c:v>
                </c:pt>
                <c:pt idx="553">
                  <c:v>La Belle Et</c:v>
                </c:pt>
                <c:pt idx="554">
                  <c:v>All Others</c:v>
                </c:pt>
                <c:pt idx="555">
                  <c:v>Etoile Du V</c:v>
                </c:pt>
                <c:pt idx="556">
                  <c:v>All Others</c:v>
                </c:pt>
                <c:pt idx="557">
                  <c:v>All Others</c:v>
                </c:pt>
                <c:pt idx="558">
                  <c:v>All Others</c:v>
                </c:pt>
                <c:pt idx="559">
                  <c:v>All Others</c:v>
                </c:pt>
                <c:pt idx="560">
                  <c:v>Societe</c:v>
                </c:pt>
                <c:pt idx="561">
                  <c:v>All Others</c:v>
                </c:pt>
                <c:pt idx="562">
                  <c:v>All Others</c:v>
                </c:pt>
                <c:pt idx="563">
                  <c:v>All Others</c:v>
                </c:pt>
                <c:pt idx="564">
                  <c:v>All Others</c:v>
                </c:pt>
                <c:pt idx="565">
                  <c:v>All Others</c:v>
                </c:pt>
                <c:pt idx="566">
                  <c:v>All Others</c:v>
                </c:pt>
                <c:pt idx="567">
                  <c:v>All Others</c:v>
                </c:pt>
                <c:pt idx="568">
                  <c:v>All Others</c:v>
                </c:pt>
                <c:pt idx="569">
                  <c:v>All Others</c:v>
                </c:pt>
                <c:pt idx="570">
                  <c:v>All Others</c:v>
                </c:pt>
                <c:pt idx="571">
                  <c:v>All Others</c:v>
                </c:pt>
                <c:pt idx="572">
                  <c:v>Triballat R</c:v>
                </c:pt>
                <c:pt idx="573">
                  <c:v>Pochat</c:v>
                </c:pt>
                <c:pt idx="574">
                  <c:v>Leerdammer</c:v>
                </c:pt>
                <c:pt idx="575">
                  <c:v>All Others</c:v>
                </c:pt>
                <c:pt idx="576">
                  <c:v>L'Ortolan</c:v>
                </c:pt>
                <c:pt idx="577">
                  <c:v>Lactalis: A</c:v>
                </c:pt>
                <c:pt idx="578">
                  <c:v>All Others</c:v>
                </c:pt>
                <c:pt idx="579">
                  <c:v>Philadelphi</c:v>
                </c:pt>
                <c:pt idx="580">
                  <c:v>Etoile Du V</c:v>
                </c:pt>
                <c:pt idx="581">
                  <c:v>Triballat R</c:v>
                </c:pt>
                <c:pt idx="582">
                  <c:v>Lactalis: A</c:v>
                </c:pt>
                <c:pt idx="583">
                  <c:v>All Others</c:v>
                </c:pt>
                <c:pt idx="584">
                  <c:v>Savencia: A</c:v>
                </c:pt>
                <c:pt idx="585">
                  <c:v>All Others</c:v>
                </c:pt>
                <c:pt idx="586">
                  <c:v>All Others</c:v>
                </c:pt>
                <c:pt idx="587">
                  <c:v>Etoile Du V</c:v>
                </c:pt>
                <c:pt idx="588">
                  <c:v>Private Lab</c:v>
                </c:pt>
                <c:pt idx="589">
                  <c:v>Private Lab</c:v>
                </c:pt>
                <c:pt idx="590">
                  <c:v>All Others</c:v>
                </c:pt>
                <c:pt idx="591">
                  <c:v>All Others</c:v>
                </c:pt>
                <c:pt idx="592">
                  <c:v>All Others</c:v>
                </c:pt>
                <c:pt idx="593">
                  <c:v>All Others</c:v>
                </c:pt>
                <c:pt idx="594">
                  <c:v>All Others</c:v>
                </c:pt>
                <c:pt idx="595">
                  <c:v>All Others</c:v>
                </c:pt>
                <c:pt idx="596">
                  <c:v>All Others</c:v>
                </c:pt>
                <c:pt idx="597">
                  <c:v>Eurial Autr</c:v>
                </c:pt>
                <c:pt idx="598">
                  <c:v>Raguin</c:v>
                </c:pt>
                <c:pt idx="599">
                  <c:v>All Others</c:v>
                </c:pt>
                <c:pt idx="600">
                  <c:v>All Others</c:v>
                </c:pt>
                <c:pt idx="601">
                  <c:v>Etoile Du Q</c:v>
                </c:pt>
                <c:pt idx="602">
                  <c:v>All Others</c:v>
                </c:pt>
                <c:pt idx="603">
                  <c:v>All Others</c:v>
                </c:pt>
                <c:pt idx="604">
                  <c:v>Savencia: A</c:v>
                </c:pt>
                <c:pt idx="605">
                  <c:v>All Others</c:v>
                </c:pt>
                <c:pt idx="606">
                  <c:v>All Others</c:v>
                </c:pt>
                <c:pt idx="607">
                  <c:v>All Others</c:v>
                </c:pt>
                <c:pt idx="608">
                  <c:v>Savencia: A</c:v>
                </c:pt>
                <c:pt idx="609">
                  <c:v>Triballat R</c:v>
                </c:pt>
                <c:pt idx="610">
                  <c:v>All Others</c:v>
                </c:pt>
                <c:pt idx="611">
                  <c:v>All Others</c:v>
                </c:pt>
                <c:pt idx="612">
                  <c:v>All Others</c:v>
                </c:pt>
                <c:pt idx="613">
                  <c:v>St Moret</c:v>
                </c:pt>
                <c:pt idx="614">
                  <c:v>Lactalis: A</c:v>
                </c:pt>
                <c:pt idx="615">
                  <c:v>All Others</c:v>
                </c:pt>
                <c:pt idx="616">
                  <c:v>Nurishh</c:v>
                </c:pt>
                <c:pt idx="617">
                  <c:v>All Others</c:v>
                </c:pt>
                <c:pt idx="618">
                  <c:v>All Others</c:v>
                </c:pt>
                <c:pt idx="619">
                  <c:v>All Others</c:v>
                </c:pt>
                <c:pt idx="620">
                  <c:v>Savencia: A</c:v>
                </c:pt>
                <c:pt idx="621">
                  <c:v>All Others</c:v>
                </c:pt>
                <c:pt idx="622">
                  <c:v>All Others</c:v>
                </c:pt>
                <c:pt idx="623">
                  <c:v>All Others</c:v>
                </c:pt>
                <c:pt idx="624">
                  <c:v>All Others</c:v>
                </c:pt>
                <c:pt idx="625">
                  <c:v>La Belle Et</c:v>
                </c:pt>
                <c:pt idx="626">
                  <c:v>All Others</c:v>
                </c:pt>
                <c:pt idx="627">
                  <c:v>All Others</c:v>
                </c:pt>
                <c:pt idx="628">
                  <c:v>All Others</c:v>
                </c:pt>
                <c:pt idx="629">
                  <c:v>All Others</c:v>
                </c:pt>
                <c:pt idx="630">
                  <c:v>All Others</c:v>
                </c:pt>
                <c:pt idx="631">
                  <c:v>Lactalis: A</c:v>
                </c:pt>
                <c:pt idx="632">
                  <c:v>Ficello</c:v>
                </c:pt>
                <c:pt idx="633">
                  <c:v>All Others</c:v>
                </c:pt>
                <c:pt idx="634">
                  <c:v>Lactalis: A</c:v>
                </c:pt>
                <c:pt idx="635">
                  <c:v>All Others</c:v>
                </c:pt>
                <c:pt idx="636">
                  <c:v>All Others</c:v>
                </c:pt>
                <c:pt idx="637">
                  <c:v>Triballat N</c:v>
                </c:pt>
                <c:pt idx="638">
                  <c:v>All Others</c:v>
                </c:pt>
                <c:pt idx="639">
                  <c:v>All Others</c:v>
                </c:pt>
                <c:pt idx="640">
                  <c:v>All Others</c:v>
                </c:pt>
                <c:pt idx="641">
                  <c:v>Etoile Du V</c:v>
                </c:pt>
                <c:pt idx="642">
                  <c:v>Nurishh</c:v>
                </c:pt>
                <c:pt idx="643">
                  <c:v>All Others</c:v>
                </c:pt>
                <c:pt idx="644">
                  <c:v>All Others</c:v>
                </c:pt>
                <c:pt idx="645">
                  <c:v>All Others</c:v>
                </c:pt>
                <c:pt idx="646">
                  <c:v>All Others</c:v>
                </c:pt>
                <c:pt idx="647">
                  <c:v>All Others</c:v>
                </c:pt>
                <c:pt idx="648">
                  <c:v>Lactalis: A</c:v>
                </c:pt>
                <c:pt idx="649">
                  <c:v>All Others</c:v>
                </c:pt>
                <c:pt idx="650">
                  <c:v>All Others</c:v>
                </c:pt>
                <c:pt idx="651">
                  <c:v>All Others</c:v>
                </c:pt>
                <c:pt idx="652">
                  <c:v>All Others</c:v>
                </c:pt>
                <c:pt idx="653">
                  <c:v>Saint Albra</c:v>
                </c:pt>
                <c:pt idx="654">
                  <c:v>Private Lab</c:v>
                </c:pt>
                <c:pt idx="655">
                  <c:v>All Others</c:v>
                </c:pt>
                <c:pt idx="656">
                  <c:v>All Others</c:v>
                </c:pt>
                <c:pt idx="657">
                  <c:v>All Others</c:v>
                </c:pt>
                <c:pt idx="658">
                  <c:v>All Others</c:v>
                </c:pt>
                <c:pt idx="659">
                  <c:v>All Others</c:v>
                </c:pt>
                <c:pt idx="660">
                  <c:v>All Others</c:v>
                </c:pt>
                <c:pt idx="661">
                  <c:v>All Others</c:v>
                </c:pt>
                <c:pt idx="662">
                  <c:v>Savencia: A</c:v>
                </c:pt>
                <c:pt idx="663">
                  <c:v>All Others</c:v>
                </c:pt>
                <c:pt idx="664">
                  <c:v>All Others</c:v>
                </c:pt>
                <c:pt idx="665">
                  <c:v>All Others</c:v>
                </c:pt>
                <c:pt idx="666">
                  <c:v>All Others</c:v>
                </c:pt>
                <c:pt idx="667">
                  <c:v>Saint Agur</c:v>
                </c:pt>
                <c:pt idx="668">
                  <c:v>Private Lab</c:v>
                </c:pt>
                <c:pt idx="669">
                  <c:v>All Others</c:v>
                </c:pt>
                <c:pt idx="670">
                  <c:v>All Others</c:v>
                </c:pt>
                <c:pt idx="671">
                  <c:v>Private Lab</c:v>
                </c:pt>
                <c:pt idx="672">
                  <c:v>All Others</c:v>
                </c:pt>
                <c:pt idx="673">
                  <c:v>Raguin</c:v>
                </c:pt>
                <c:pt idx="674">
                  <c:v>All Others</c:v>
                </c:pt>
                <c:pt idx="675">
                  <c:v>All Others</c:v>
                </c:pt>
                <c:pt idx="676">
                  <c:v>La Belle Et</c:v>
                </c:pt>
                <c:pt idx="677">
                  <c:v>All Others</c:v>
                </c:pt>
                <c:pt idx="678">
                  <c:v>Private Lab</c:v>
                </c:pt>
                <c:pt idx="679">
                  <c:v>All Others</c:v>
                </c:pt>
                <c:pt idx="680">
                  <c:v>Tartare</c:v>
                </c:pt>
                <c:pt idx="681">
                  <c:v>Lactalis: A</c:v>
                </c:pt>
                <c:pt idx="682">
                  <c:v>All Others</c:v>
                </c:pt>
                <c:pt idx="683">
                  <c:v>Private Lab</c:v>
                </c:pt>
                <c:pt idx="684">
                  <c:v>Private Lab</c:v>
                </c:pt>
                <c:pt idx="685">
                  <c:v>Parmareggio</c:v>
                </c:pt>
                <c:pt idx="686">
                  <c:v>All Others</c:v>
                </c:pt>
                <c:pt idx="687">
                  <c:v>All Others</c:v>
                </c:pt>
                <c:pt idx="688">
                  <c:v>Juraflore</c:v>
                </c:pt>
                <c:pt idx="689">
                  <c:v>All Others</c:v>
                </c:pt>
                <c:pt idx="690">
                  <c:v>All Others</c:v>
                </c:pt>
                <c:pt idx="691">
                  <c:v>La Pointe P</c:v>
                </c:pt>
                <c:pt idx="692">
                  <c:v>All Others</c:v>
                </c:pt>
                <c:pt idx="693">
                  <c:v>All Others</c:v>
                </c:pt>
                <c:pt idx="694">
                  <c:v>All Others</c:v>
                </c:pt>
                <c:pt idx="695">
                  <c:v>Paysan Bret</c:v>
                </c:pt>
                <c:pt idx="696">
                  <c:v>Etoile Du V</c:v>
                </c:pt>
                <c:pt idx="697">
                  <c:v>All Others</c:v>
                </c:pt>
                <c:pt idx="698">
                  <c:v>All Others</c:v>
                </c:pt>
                <c:pt idx="699">
                  <c:v>All Others</c:v>
                </c:pt>
                <c:pt idx="700">
                  <c:v>Lactalis: A</c:v>
                </c:pt>
                <c:pt idx="701">
                  <c:v>All Others</c:v>
                </c:pt>
                <c:pt idx="702">
                  <c:v>All Others</c:v>
                </c:pt>
                <c:pt idx="703">
                  <c:v>Eurial Autr</c:v>
                </c:pt>
                <c:pt idx="704">
                  <c:v>Apericube</c:v>
                </c:pt>
                <c:pt idx="705">
                  <c:v>Societe</c:v>
                </c:pt>
                <c:pt idx="706">
                  <c:v>La Belle Et</c:v>
                </c:pt>
                <c:pt idx="707">
                  <c:v>All Others</c:v>
                </c:pt>
                <c:pt idx="708">
                  <c:v>Raguin</c:v>
                </c:pt>
                <c:pt idx="709">
                  <c:v>All Others</c:v>
                </c:pt>
                <c:pt idx="710">
                  <c:v>All Others</c:v>
                </c:pt>
                <c:pt idx="711">
                  <c:v>All Others</c:v>
                </c:pt>
                <c:pt idx="712">
                  <c:v>All Others</c:v>
                </c:pt>
                <c:pt idx="713">
                  <c:v>All Others</c:v>
                </c:pt>
                <c:pt idx="714">
                  <c:v>La Belle Et</c:v>
                </c:pt>
                <c:pt idx="715">
                  <c:v>All Others</c:v>
                </c:pt>
                <c:pt idx="716">
                  <c:v>All Others</c:v>
                </c:pt>
                <c:pt idx="717">
                  <c:v>O'Tapas Ape</c:v>
                </c:pt>
                <c:pt idx="718">
                  <c:v>Mini Babybe</c:v>
                </c:pt>
                <c:pt idx="719">
                  <c:v>All Others</c:v>
                </c:pt>
                <c:pt idx="720">
                  <c:v>Private Lab</c:v>
                </c:pt>
                <c:pt idx="721">
                  <c:v>All Others</c:v>
                </c:pt>
                <c:pt idx="722">
                  <c:v>All Others</c:v>
                </c:pt>
                <c:pt idx="723">
                  <c:v>All Others</c:v>
                </c:pt>
                <c:pt idx="724">
                  <c:v>All Others</c:v>
                </c:pt>
                <c:pt idx="725">
                  <c:v>Corsica</c:v>
                </c:pt>
                <c:pt idx="726">
                  <c:v>All Others</c:v>
                </c:pt>
                <c:pt idx="727">
                  <c:v>All Others</c:v>
                </c:pt>
                <c:pt idx="728">
                  <c:v>All Others</c:v>
                </c:pt>
                <c:pt idx="729">
                  <c:v>All Others</c:v>
                </c:pt>
                <c:pt idx="730">
                  <c:v>All Others</c:v>
                </c:pt>
                <c:pt idx="731">
                  <c:v>All Others</c:v>
                </c:pt>
                <c:pt idx="732">
                  <c:v>All Others</c:v>
                </c:pt>
                <c:pt idx="733">
                  <c:v>All Others</c:v>
                </c:pt>
                <c:pt idx="734">
                  <c:v>All Others</c:v>
                </c:pt>
                <c:pt idx="735">
                  <c:v>All Others</c:v>
                </c:pt>
                <c:pt idx="736">
                  <c:v>Boursin</c:v>
                </c:pt>
                <c:pt idx="737">
                  <c:v>O'Tapas Ape</c:v>
                </c:pt>
                <c:pt idx="738">
                  <c:v>All Others</c:v>
                </c:pt>
                <c:pt idx="739">
                  <c:v>All Others</c:v>
                </c:pt>
                <c:pt idx="740">
                  <c:v>All Others</c:v>
                </c:pt>
                <c:pt idx="741">
                  <c:v>Soignon</c:v>
                </c:pt>
                <c:pt idx="742">
                  <c:v>All Others</c:v>
                </c:pt>
                <c:pt idx="743">
                  <c:v>Etoile Du Q</c:v>
                </c:pt>
                <c:pt idx="744">
                  <c:v>All Others</c:v>
                </c:pt>
                <c:pt idx="745">
                  <c:v>All Others</c:v>
                </c:pt>
                <c:pt idx="746">
                  <c:v>All Others</c:v>
                </c:pt>
                <c:pt idx="747">
                  <c:v>All Others</c:v>
                </c:pt>
                <c:pt idx="748">
                  <c:v>La Belle Et</c:v>
                </c:pt>
                <c:pt idx="749">
                  <c:v>All Others</c:v>
                </c:pt>
                <c:pt idx="750">
                  <c:v>All Others</c:v>
                </c:pt>
                <c:pt idx="751">
                  <c:v>All Others</c:v>
                </c:pt>
                <c:pt idx="752">
                  <c:v>All Others</c:v>
                </c:pt>
                <c:pt idx="753">
                  <c:v>Raguin</c:v>
                </c:pt>
                <c:pt idx="754">
                  <c:v>All Others</c:v>
                </c:pt>
                <c:pt idx="755">
                  <c:v>All Others</c:v>
                </c:pt>
                <c:pt idx="756">
                  <c:v>All Others</c:v>
                </c:pt>
                <c:pt idx="757">
                  <c:v>All Others</c:v>
                </c:pt>
                <c:pt idx="758">
                  <c:v>Lactalis: A</c:v>
                </c:pt>
                <c:pt idx="759">
                  <c:v>All Others</c:v>
                </c:pt>
                <c:pt idx="760">
                  <c:v>Private Lab</c:v>
                </c:pt>
                <c:pt idx="761">
                  <c:v>All Others</c:v>
                </c:pt>
                <c:pt idx="762">
                  <c:v>All Others</c:v>
                </c:pt>
                <c:pt idx="763">
                  <c:v>All Others</c:v>
                </c:pt>
                <c:pt idx="764">
                  <c:v>Pave D'Affi</c:v>
                </c:pt>
                <c:pt idx="765">
                  <c:v>All Others</c:v>
                </c:pt>
                <c:pt idx="766">
                  <c:v>All Others</c:v>
                </c:pt>
                <c:pt idx="767">
                  <c:v>All Others</c:v>
                </c:pt>
                <c:pt idx="768">
                  <c:v>All Others</c:v>
                </c:pt>
                <c:pt idx="769">
                  <c:v>All Others</c:v>
                </c:pt>
                <c:pt idx="770">
                  <c:v>All Others</c:v>
                </c:pt>
                <c:pt idx="771">
                  <c:v>All Others</c:v>
                </c:pt>
                <c:pt idx="772">
                  <c:v>All Others</c:v>
                </c:pt>
                <c:pt idx="773">
                  <c:v>All Others</c:v>
                </c:pt>
                <c:pt idx="774">
                  <c:v>All Others</c:v>
                </c:pt>
                <c:pt idx="775">
                  <c:v>All Others</c:v>
                </c:pt>
                <c:pt idx="776">
                  <c:v>All Others</c:v>
                </c:pt>
                <c:pt idx="777">
                  <c:v>Savencia: A</c:v>
                </c:pt>
                <c:pt idx="778">
                  <c:v>La Belle Et</c:v>
                </c:pt>
                <c:pt idx="779">
                  <c:v>La Belle Et</c:v>
                </c:pt>
                <c:pt idx="780">
                  <c:v>Private Lab</c:v>
                </c:pt>
                <c:pt idx="781">
                  <c:v>All Others</c:v>
                </c:pt>
                <c:pt idx="782">
                  <c:v>All Others</c:v>
                </c:pt>
                <c:pt idx="783">
                  <c:v>All Others</c:v>
                </c:pt>
                <c:pt idx="784">
                  <c:v>Lactalis: A</c:v>
                </c:pt>
                <c:pt idx="785">
                  <c:v>All Others</c:v>
                </c:pt>
                <c:pt idx="786">
                  <c:v>All Others</c:v>
                </c:pt>
                <c:pt idx="787">
                  <c:v>All Others</c:v>
                </c:pt>
                <c:pt idx="788">
                  <c:v>All Others</c:v>
                </c:pt>
                <c:pt idx="789">
                  <c:v>All Others</c:v>
                </c:pt>
                <c:pt idx="790">
                  <c:v>All Others</c:v>
                </c:pt>
                <c:pt idx="791">
                  <c:v>Private Lab</c:v>
                </c:pt>
                <c:pt idx="792">
                  <c:v>All Others</c:v>
                </c:pt>
                <c:pt idx="793">
                  <c:v>Nurishh</c:v>
                </c:pt>
                <c:pt idx="794">
                  <c:v>All Others</c:v>
                </c:pt>
                <c:pt idx="795">
                  <c:v>All Others</c:v>
                </c:pt>
                <c:pt idx="796">
                  <c:v>All Others</c:v>
                </c:pt>
                <c:pt idx="797">
                  <c:v>All Others</c:v>
                </c:pt>
                <c:pt idx="798">
                  <c:v>All Others</c:v>
                </c:pt>
                <c:pt idx="799">
                  <c:v>All Others</c:v>
                </c:pt>
                <c:pt idx="800">
                  <c:v>All Others</c:v>
                </c:pt>
                <c:pt idx="801">
                  <c:v>All Others</c:v>
                </c:pt>
                <c:pt idx="802">
                  <c:v>La Belle Et</c:v>
                </c:pt>
                <c:pt idx="803">
                  <c:v>Eurial Autr</c:v>
                </c:pt>
                <c:pt idx="804">
                  <c:v>Lactalis: A</c:v>
                </c:pt>
                <c:pt idx="805">
                  <c:v>All Others</c:v>
                </c:pt>
                <c:pt idx="806">
                  <c:v>All Others</c:v>
                </c:pt>
                <c:pt idx="807">
                  <c:v>All Others</c:v>
                </c:pt>
                <c:pt idx="808">
                  <c:v>Private Lab</c:v>
                </c:pt>
                <c:pt idx="809">
                  <c:v>All Others</c:v>
                </c:pt>
                <c:pt idx="810">
                  <c:v>All Others</c:v>
                </c:pt>
                <c:pt idx="811">
                  <c:v>La Belle Et</c:v>
                </c:pt>
                <c:pt idx="812">
                  <c:v>All Others</c:v>
                </c:pt>
                <c:pt idx="813">
                  <c:v>All Others</c:v>
                </c:pt>
                <c:pt idx="814">
                  <c:v>All Others</c:v>
                </c:pt>
                <c:pt idx="815">
                  <c:v>All Others</c:v>
                </c:pt>
                <c:pt idx="816">
                  <c:v>All Others</c:v>
                </c:pt>
                <c:pt idx="817">
                  <c:v>La Belle Et</c:v>
                </c:pt>
                <c:pt idx="818">
                  <c:v>All Others</c:v>
                </c:pt>
                <c:pt idx="819">
                  <c:v>Pave D'Affi</c:v>
                </c:pt>
                <c:pt idx="820">
                  <c:v>All Others</c:v>
                </c:pt>
                <c:pt idx="821">
                  <c:v>All Others</c:v>
                </c:pt>
                <c:pt idx="822">
                  <c:v>All Others</c:v>
                </c:pt>
                <c:pt idx="823">
                  <c:v>Private Lab</c:v>
                </c:pt>
                <c:pt idx="824">
                  <c:v>Private Lab</c:v>
                </c:pt>
                <c:pt idx="825">
                  <c:v>All Others</c:v>
                </c:pt>
                <c:pt idx="826">
                  <c:v>Lactalis: A</c:v>
                </c:pt>
                <c:pt idx="827">
                  <c:v>All Others</c:v>
                </c:pt>
                <c:pt idx="828">
                  <c:v>All Others</c:v>
                </c:pt>
                <c:pt idx="829">
                  <c:v>All Others</c:v>
                </c:pt>
                <c:pt idx="830">
                  <c:v>All Others</c:v>
                </c:pt>
                <c:pt idx="831">
                  <c:v>Private Lab</c:v>
                </c:pt>
                <c:pt idx="832">
                  <c:v>All Others</c:v>
                </c:pt>
                <c:pt idx="833">
                  <c:v>All Others</c:v>
                </c:pt>
                <c:pt idx="834">
                  <c:v>All Others</c:v>
                </c:pt>
                <c:pt idx="835">
                  <c:v>All Others</c:v>
                </c:pt>
                <c:pt idx="836">
                  <c:v>All Others</c:v>
                </c:pt>
                <c:pt idx="837">
                  <c:v>All Others</c:v>
                </c:pt>
                <c:pt idx="838">
                  <c:v>All Others</c:v>
                </c:pt>
                <c:pt idx="839">
                  <c:v>All Others</c:v>
                </c:pt>
                <c:pt idx="840">
                  <c:v>All Others</c:v>
                </c:pt>
                <c:pt idx="841">
                  <c:v>Caprice Des</c:v>
                </c:pt>
                <c:pt idx="842">
                  <c:v>Private Lab</c:v>
                </c:pt>
                <c:pt idx="843">
                  <c:v>All Others</c:v>
                </c:pt>
                <c:pt idx="844">
                  <c:v>All Others</c:v>
                </c:pt>
                <c:pt idx="845">
                  <c:v>All Others</c:v>
                </c:pt>
                <c:pt idx="846">
                  <c:v>All Others</c:v>
                </c:pt>
                <c:pt idx="847">
                  <c:v>All Others</c:v>
                </c:pt>
                <c:pt idx="848">
                  <c:v>All Others</c:v>
                </c:pt>
                <c:pt idx="849">
                  <c:v>All Others</c:v>
                </c:pt>
                <c:pt idx="850">
                  <c:v>All Others</c:v>
                </c:pt>
                <c:pt idx="851">
                  <c:v>All Others</c:v>
                </c:pt>
                <c:pt idx="852">
                  <c:v>All Others</c:v>
                </c:pt>
                <c:pt idx="853">
                  <c:v>All Others</c:v>
                </c:pt>
                <c:pt idx="854">
                  <c:v>All Others</c:v>
                </c:pt>
                <c:pt idx="855">
                  <c:v>All Others</c:v>
                </c:pt>
                <c:pt idx="856">
                  <c:v>All Others</c:v>
                </c:pt>
                <c:pt idx="857">
                  <c:v>All Others</c:v>
                </c:pt>
                <c:pt idx="858">
                  <c:v>All Others</c:v>
                </c:pt>
                <c:pt idx="859">
                  <c:v>All Others</c:v>
                </c:pt>
                <c:pt idx="860">
                  <c:v>All Others</c:v>
                </c:pt>
                <c:pt idx="861">
                  <c:v>All Others</c:v>
                </c:pt>
                <c:pt idx="862">
                  <c:v>All Others</c:v>
                </c:pt>
                <c:pt idx="863">
                  <c:v>All Others</c:v>
                </c:pt>
                <c:pt idx="864">
                  <c:v>Private Lab</c:v>
                </c:pt>
                <c:pt idx="865">
                  <c:v>Private Lab</c:v>
                </c:pt>
                <c:pt idx="866">
                  <c:v>All Others</c:v>
                </c:pt>
                <c:pt idx="867">
                  <c:v>All Others</c:v>
                </c:pt>
                <c:pt idx="868">
                  <c:v>All Others</c:v>
                </c:pt>
                <c:pt idx="869">
                  <c:v>All Others</c:v>
                </c:pt>
                <c:pt idx="870">
                  <c:v>All Others</c:v>
                </c:pt>
                <c:pt idx="871">
                  <c:v>La Belle Et</c:v>
                </c:pt>
                <c:pt idx="872">
                  <c:v>All Others</c:v>
                </c:pt>
                <c:pt idx="873">
                  <c:v>All Others</c:v>
                </c:pt>
                <c:pt idx="874">
                  <c:v>Nurishh</c:v>
                </c:pt>
                <c:pt idx="875">
                  <c:v>All Others</c:v>
                </c:pt>
                <c:pt idx="876">
                  <c:v>All Others</c:v>
                </c:pt>
                <c:pt idx="877">
                  <c:v>Etoile Du V</c:v>
                </c:pt>
                <c:pt idx="878">
                  <c:v>All Others</c:v>
                </c:pt>
                <c:pt idx="879">
                  <c:v>All Others</c:v>
                </c:pt>
                <c:pt idx="880">
                  <c:v>All Others</c:v>
                </c:pt>
                <c:pt idx="881">
                  <c:v>All Others</c:v>
                </c:pt>
                <c:pt idx="882">
                  <c:v>All Others</c:v>
                </c:pt>
                <c:pt idx="883">
                  <c:v>All Others</c:v>
                </c:pt>
                <c:pt idx="884">
                  <c:v>All Others</c:v>
                </c:pt>
                <c:pt idx="885">
                  <c:v>All Others</c:v>
                </c:pt>
                <c:pt idx="886">
                  <c:v>Private Lab</c:v>
                </c:pt>
                <c:pt idx="887">
                  <c:v>All Others</c:v>
                </c:pt>
                <c:pt idx="888">
                  <c:v>All Others</c:v>
                </c:pt>
                <c:pt idx="889">
                  <c:v>All Others</c:v>
                </c:pt>
                <c:pt idx="890">
                  <c:v>All Others</c:v>
                </c:pt>
                <c:pt idx="891">
                  <c:v>All Others</c:v>
                </c:pt>
                <c:pt idx="892">
                  <c:v>Carre Frais</c:v>
                </c:pt>
                <c:pt idx="893">
                  <c:v>All Others</c:v>
                </c:pt>
                <c:pt idx="894">
                  <c:v>All Others</c:v>
                </c:pt>
                <c:pt idx="895">
                  <c:v>All Others</c:v>
                </c:pt>
                <c:pt idx="896">
                  <c:v>Triballat R</c:v>
                </c:pt>
                <c:pt idx="897">
                  <c:v>All Others</c:v>
                </c:pt>
                <c:pt idx="898">
                  <c:v>Private Lab</c:v>
                </c:pt>
                <c:pt idx="899">
                  <c:v>All Others</c:v>
                </c:pt>
                <c:pt idx="900">
                  <c:v>All Others</c:v>
                </c:pt>
                <c:pt idx="901">
                  <c:v>All Others</c:v>
                </c:pt>
                <c:pt idx="902">
                  <c:v>All Others</c:v>
                </c:pt>
                <c:pt idx="903">
                  <c:v>Aperivrais</c:v>
                </c:pt>
                <c:pt idx="904">
                  <c:v>All Others</c:v>
                </c:pt>
                <c:pt idx="905">
                  <c:v>Pave D'Affi</c:v>
                </c:pt>
                <c:pt idx="906">
                  <c:v>Corsica</c:v>
                </c:pt>
                <c:pt idx="907">
                  <c:v>All Others</c:v>
                </c:pt>
                <c:pt idx="908">
                  <c:v>All Others</c:v>
                </c:pt>
                <c:pt idx="909">
                  <c:v>All Others</c:v>
                </c:pt>
                <c:pt idx="910">
                  <c:v>All Others</c:v>
                </c:pt>
                <c:pt idx="911">
                  <c:v>All Others</c:v>
                </c:pt>
                <c:pt idx="912">
                  <c:v>All Others</c:v>
                </c:pt>
                <c:pt idx="913">
                  <c:v>All Others</c:v>
                </c:pt>
                <c:pt idx="914">
                  <c:v>All Others</c:v>
                </c:pt>
                <c:pt idx="915">
                  <c:v>All Others</c:v>
                </c:pt>
                <c:pt idx="916">
                  <c:v>All Others</c:v>
                </c:pt>
                <c:pt idx="917">
                  <c:v>All Others</c:v>
                </c:pt>
                <c:pt idx="918">
                  <c:v>All Others</c:v>
                </c:pt>
                <c:pt idx="919">
                  <c:v>All Others</c:v>
                </c:pt>
                <c:pt idx="920">
                  <c:v>All Others</c:v>
                </c:pt>
                <c:pt idx="921">
                  <c:v>All Others</c:v>
                </c:pt>
                <c:pt idx="922">
                  <c:v>All Others</c:v>
                </c:pt>
                <c:pt idx="923">
                  <c:v>All Others</c:v>
                </c:pt>
                <c:pt idx="924">
                  <c:v>All Others</c:v>
                </c:pt>
                <c:pt idx="925">
                  <c:v>All Others</c:v>
                </c:pt>
              </c:strCache>
            </c:strRef>
          </c:cat>
          <c:val>
            <c:numRef>
              <c:f>Sheet1!$B$2:$B$927</c:f>
              <c:numCache>
                <c:formatCode>General</c:formatCode>
                <c:ptCount val="926"/>
                <c:pt idx="0">
                  <c:v>1.0</c:v>
                </c:pt>
                <c:pt idx="1">
                  <c:v>0.99</c:v>
                </c:pt>
                <c:pt idx="2">
                  <c:v>1.0</c:v>
                </c:pt>
                <c:pt idx="3">
                  <c:v>0.93</c:v>
                </c:pt>
                <c:pt idx="4">
                  <c:v>0.99</c:v>
                </c:pt>
                <c:pt idx="5">
                  <c:v>1.0</c:v>
                </c:pt>
                <c:pt idx="6">
                  <c:v>0.93</c:v>
                </c:pt>
                <c:pt idx="7">
                  <c:v>0.95</c:v>
                </c:pt>
                <c:pt idx="8">
                  <c:v>0.96</c:v>
                </c:pt>
                <c:pt idx="9">
                  <c:v>0.97</c:v>
                </c:pt>
                <c:pt idx="10">
                  <c:v>0.97</c:v>
                </c:pt>
                <c:pt idx="11">
                  <c:v>0.91</c:v>
                </c:pt>
                <c:pt idx="12">
                  <c:v>0.97</c:v>
                </c:pt>
                <c:pt idx="13">
                  <c:v>0.94</c:v>
                </c:pt>
                <c:pt idx="14">
                  <c:v>0.78</c:v>
                </c:pt>
                <c:pt idx="15">
                  <c:v>0.96</c:v>
                </c:pt>
                <c:pt idx="16">
                  <c:v>0.74</c:v>
                </c:pt>
                <c:pt idx="17">
                  <c:v>0.88</c:v>
                </c:pt>
                <c:pt idx="18">
                  <c:v>0.84</c:v>
                </c:pt>
                <c:pt idx="19">
                  <c:v>0.86</c:v>
                </c:pt>
                <c:pt idx="20">
                  <c:v>0.95</c:v>
                </c:pt>
                <c:pt idx="21">
                  <c:v>0.97</c:v>
                </c:pt>
                <c:pt idx="22">
                  <c:v>0.91</c:v>
                </c:pt>
                <c:pt idx="23">
                  <c:v>0.86</c:v>
                </c:pt>
                <c:pt idx="24">
                  <c:v>0.95</c:v>
                </c:pt>
                <c:pt idx="25">
                  <c:v>0.93</c:v>
                </c:pt>
                <c:pt idx="26">
                  <c:v>0.79</c:v>
                </c:pt>
                <c:pt idx="27">
                  <c:v>0.84</c:v>
                </c:pt>
                <c:pt idx="28">
                  <c:v>0.99</c:v>
                </c:pt>
                <c:pt idx="29">
                  <c:v>0.83</c:v>
                </c:pt>
                <c:pt idx="30">
                  <c:v>0.98</c:v>
                </c:pt>
                <c:pt idx="31">
                  <c:v>0.47</c:v>
                </c:pt>
                <c:pt idx="32">
                  <c:v>0.66</c:v>
                </c:pt>
                <c:pt idx="33">
                  <c:v>0.78</c:v>
                </c:pt>
                <c:pt idx="34">
                  <c:v>0.47</c:v>
                </c:pt>
                <c:pt idx="35">
                  <c:v>0.83</c:v>
                </c:pt>
                <c:pt idx="36">
                  <c:v>0.48</c:v>
                </c:pt>
                <c:pt idx="37">
                  <c:v>0.9</c:v>
                </c:pt>
                <c:pt idx="38">
                  <c:v>0.79</c:v>
                </c:pt>
                <c:pt idx="39">
                  <c:v>0.65</c:v>
                </c:pt>
                <c:pt idx="40">
                  <c:v>0.94</c:v>
                </c:pt>
                <c:pt idx="41">
                  <c:v>0.75</c:v>
                </c:pt>
                <c:pt idx="42">
                  <c:v>0.97</c:v>
                </c:pt>
                <c:pt idx="43">
                  <c:v>0.95</c:v>
                </c:pt>
                <c:pt idx="44">
                  <c:v>0.89</c:v>
                </c:pt>
                <c:pt idx="45">
                  <c:v>0.79</c:v>
                </c:pt>
                <c:pt idx="46">
                  <c:v>0.75</c:v>
                </c:pt>
                <c:pt idx="47">
                  <c:v>0.95</c:v>
                </c:pt>
                <c:pt idx="48">
                  <c:v>0.98</c:v>
                </c:pt>
                <c:pt idx="49">
                  <c:v>0.56</c:v>
                </c:pt>
                <c:pt idx="50">
                  <c:v>0.78</c:v>
                </c:pt>
                <c:pt idx="51">
                  <c:v>0.67</c:v>
                </c:pt>
                <c:pt idx="52">
                  <c:v>0.79</c:v>
                </c:pt>
                <c:pt idx="53">
                  <c:v>0.84</c:v>
                </c:pt>
                <c:pt idx="54">
                  <c:v>0.56</c:v>
                </c:pt>
                <c:pt idx="55">
                  <c:v>0.57</c:v>
                </c:pt>
                <c:pt idx="56">
                  <c:v>0.25</c:v>
                </c:pt>
                <c:pt idx="57">
                  <c:v>0.71</c:v>
                </c:pt>
                <c:pt idx="58">
                  <c:v>0.8</c:v>
                </c:pt>
                <c:pt idx="59">
                  <c:v>0.01</c:v>
                </c:pt>
                <c:pt idx="60">
                  <c:v>0.63</c:v>
                </c:pt>
                <c:pt idx="61">
                  <c:v>0.97</c:v>
                </c:pt>
                <c:pt idx="62">
                  <c:v>0.96</c:v>
                </c:pt>
                <c:pt idx="63">
                  <c:v>0.53</c:v>
                </c:pt>
                <c:pt idx="64">
                  <c:v>0.44</c:v>
                </c:pt>
                <c:pt idx="65">
                  <c:v>0.82</c:v>
                </c:pt>
                <c:pt idx="66">
                  <c:v>0.62</c:v>
                </c:pt>
                <c:pt idx="67">
                  <c:v>0.63</c:v>
                </c:pt>
                <c:pt idx="68">
                  <c:v>0.88</c:v>
                </c:pt>
                <c:pt idx="69">
                  <c:v>0.88</c:v>
                </c:pt>
                <c:pt idx="70">
                  <c:v>0.54</c:v>
                </c:pt>
                <c:pt idx="71">
                  <c:v>0.74</c:v>
                </c:pt>
                <c:pt idx="72">
                  <c:v>0.68</c:v>
                </c:pt>
                <c:pt idx="73">
                  <c:v>0.95</c:v>
                </c:pt>
                <c:pt idx="74">
                  <c:v>0.71</c:v>
                </c:pt>
                <c:pt idx="75">
                  <c:v>0.53</c:v>
                </c:pt>
                <c:pt idx="76">
                  <c:v>0.56</c:v>
                </c:pt>
                <c:pt idx="77">
                  <c:v>0.61</c:v>
                </c:pt>
                <c:pt idx="78">
                  <c:v>0.76</c:v>
                </c:pt>
                <c:pt idx="79">
                  <c:v>0.91</c:v>
                </c:pt>
                <c:pt idx="80">
                  <c:v>0.48</c:v>
                </c:pt>
                <c:pt idx="81">
                  <c:v>0.82</c:v>
                </c:pt>
                <c:pt idx="82">
                  <c:v>0.58</c:v>
                </c:pt>
                <c:pt idx="83">
                  <c:v>0.58</c:v>
                </c:pt>
                <c:pt idx="84">
                  <c:v>0.48</c:v>
                </c:pt>
                <c:pt idx="85">
                  <c:v>0.72</c:v>
                </c:pt>
                <c:pt idx="86">
                  <c:v>0.41</c:v>
                </c:pt>
                <c:pt idx="87">
                  <c:v>0.79</c:v>
                </c:pt>
                <c:pt idx="88">
                  <c:v>0.5</c:v>
                </c:pt>
                <c:pt idx="89">
                  <c:v>0.65</c:v>
                </c:pt>
                <c:pt idx="90">
                  <c:v>0.43</c:v>
                </c:pt>
                <c:pt idx="91">
                  <c:v>0.7</c:v>
                </c:pt>
                <c:pt idx="92">
                  <c:v>0.85</c:v>
                </c:pt>
                <c:pt idx="93">
                  <c:v>0.68</c:v>
                </c:pt>
                <c:pt idx="94">
                  <c:v>0.81</c:v>
                </c:pt>
                <c:pt idx="95">
                  <c:v>0.35</c:v>
                </c:pt>
                <c:pt idx="96">
                  <c:v>0.68</c:v>
                </c:pt>
                <c:pt idx="97">
                  <c:v>0.87</c:v>
                </c:pt>
                <c:pt idx="98">
                  <c:v>0.5</c:v>
                </c:pt>
                <c:pt idx="99">
                  <c:v>0.57</c:v>
                </c:pt>
                <c:pt idx="100">
                  <c:v>0.62</c:v>
                </c:pt>
                <c:pt idx="101">
                  <c:v>0.59</c:v>
                </c:pt>
                <c:pt idx="102">
                  <c:v>0.19</c:v>
                </c:pt>
                <c:pt idx="103">
                  <c:v>0.74</c:v>
                </c:pt>
                <c:pt idx="104">
                  <c:v>0.35</c:v>
                </c:pt>
                <c:pt idx="105">
                  <c:v>0.45</c:v>
                </c:pt>
                <c:pt idx="106">
                  <c:v>0.41</c:v>
                </c:pt>
                <c:pt idx="107">
                  <c:v>0.57</c:v>
                </c:pt>
                <c:pt idx="108">
                  <c:v>0.73</c:v>
                </c:pt>
                <c:pt idx="109">
                  <c:v>0.82</c:v>
                </c:pt>
                <c:pt idx="110">
                  <c:v>0.43</c:v>
                </c:pt>
                <c:pt idx="111">
                  <c:v>0.42</c:v>
                </c:pt>
                <c:pt idx="112">
                  <c:v>0.66</c:v>
                </c:pt>
                <c:pt idx="113">
                  <c:v>0.84</c:v>
                </c:pt>
                <c:pt idx="114">
                  <c:v>0.71</c:v>
                </c:pt>
                <c:pt idx="115">
                  <c:v>0.51</c:v>
                </c:pt>
                <c:pt idx="116">
                  <c:v>0.8</c:v>
                </c:pt>
                <c:pt idx="117">
                  <c:v>0.86</c:v>
                </c:pt>
                <c:pt idx="118">
                  <c:v>0.19</c:v>
                </c:pt>
                <c:pt idx="119">
                  <c:v>0.2</c:v>
                </c:pt>
                <c:pt idx="120">
                  <c:v>0.65</c:v>
                </c:pt>
                <c:pt idx="121">
                  <c:v>0.28</c:v>
                </c:pt>
                <c:pt idx="122">
                  <c:v>0.82</c:v>
                </c:pt>
                <c:pt idx="123">
                  <c:v>0.34</c:v>
                </c:pt>
                <c:pt idx="124">
                  <c:v>0.71</c:v>
                </c:pt>
                <c:pt idx="125">
                  <c:v>0.53</c:v>
                </c:pt>
                <c:pt idx="126">
                  <c:v>0.61</c:v>
                </c:pt>
                <c:pt idx="127">
                  <c:v>0.52</c:v>
                </c:pt>
                <c:pt idx="128">
                  <c:v>0.61</c:v>
                </c:pt>
                <c:pt idx="129">
                  <c:v>0.53</c:v>
                </c:pt>
                <c:pt idx="130">
                  <c:v>0.27</c:v>
                </c:pt>
                <c:pt idx="131">
                  <c:v>0.14</c:v>
                </c:pt>
                <c:pt idx="132">
                  <c:v>0.62</c:v>
                </c:pt>
                <c:pt idx="133">
                  <c:v>0.25</c:v>
                </c:pt>
                <c:pt idx="134">
                  <c:v>0.69</c:v>
                </c:pt>
                <c:pt idx="135">
                  <c:v>0.56</c:v>
                </c:pt>
                <c:pt idx="136">
                  <c:v>0.28</c:v>
                </c:pt>
                <c:pt idx="137">
                  <c:v>0.4</c:v>
                </c:pt>
                <c:pt idx="138">
                  <c:v>0.57</c:v>
                </c:pt>
                <c:pt idx="139">
                  <c:v>0.59</c:v>
                </c:pt>
                <c:pt idx="140">
                  <c:v>0.92</c:v>
                </c:pt>
                <c:pt idx="141">
                  <c:v>0.66</c:v>
                </c:pt>
                <c:pt idx="142">
                  <c:v>0.55</c:v>
                </c:pt>
                <c:pt idx="143">
                  <c:v>0.77</c:v>
                </c:pt>
                <c:pt idx="144">
                  <c:v>0.6</c:v>
                </c:pt>
                <c:pt idx="145">
                  <c:v>0.59</c:v>
                </c:pt>
                <c:pt idx="146">
                  <c:v>0.76</c:v>
                </c:pt>
                <c:pt idx="147">
                  <c:v>0.77</c:v>
                </c:pt>
                <c:pt idx="148">
                  <c:v>0.62</c:v>
                </c:pt>
                <c:pt idx="149">
                  <c:v>0.22</c:v>
                </c:pt>
                <c:pt idx="150">
                  <c:v>0.44</c:v>
                </c:pt>
                <c:pt idx="151">
                  <c:v>0.59</c:v>
                </c:pt>
                <c:pt idx="152">
                  <c:v>0.29</c:v>
                </c:pt>
                <c:pt idx="153">
                  <c:v>0.6</c:v>
                </c:pt>
                <c:pt idx="154">
                  <c:v>0.66</c:v>
                </c:pt>
                <c:pt idx="155">
                  <c:v>0.33</c:v>
                </c:pt>
                <c:pt idx="156">
                  <c:v>0.37</c:v>
                </c:pt>
                <c:pt idx="157">
                  <c:v>0.74</c:v>
                </c:pt>
                <c:pt idx="158">
                  <c:v>0.36</c:v>
                </c:pt>
                <c:pt idx="159">
                  <c:v>0.44</c:v>
                </c:pt>
                <c:pt idx="160">
                  <c:v>0.45</c:v>
                </c:pt>
                <c:pt idx="161">
                  <c:v>0.38</c:v>
                </c:pt>
                <c:pt idx="162">
                  <c:v>0.16</c:v>
                </c:pt>
                <c:pt idx="163">
                  <c:v>0.45</c:v>
                </c:pt>
                <c:pt idx="164">
                  <c:v>0.49</c:v>
                </c:pt>
                <c:pt idx="165">
                  <c:v>0.61</c:v>
                </c:pt>
                <c:pt idx="166">
                  <c:v>0.46</c:v>
                </c:pt>
                <c:pt idx="167">
                  <c:v>0.26</c:v>
                </c:pt>
                <c:pt idx="168">
                  <c:v>0.33</c:v>
                </c:pt>
                <c:pt idx="169">
                  <c:v>0.16</c:v>
                </c:pt>
                <c:pt idx="170">
                  <c:v>0.38</c:v>
                </c:pt>
                <c:pt idx="171">
                  <c:v>0.63</c:v>
                </c:pt>
                <c:pt idx="172">
                  <c:v>0.16</c:v>
                </c:pt>
                <c:pt idx="173">
                  <c:v>0.36</c:v>
                </c:pt>
                <c:pt idx="174">
                  <c:v>0.14</c:v>
                </c:pt>
                <c:pt idx="175">
                  <c:v>0.24</c:v>
                </c:pt>
                <c:pt idx="176">
                  <c:v>0.37</c:v>
                </c:pt>
                <c:pt idx="177">
                  <c:v>0.48</c:v>
                </c:pt>
                <c:pt idx="178">
                  <c:v>0.28</c:v>
                </c:pt>
                <c:pt idx="179">
                  <c:v>0.36</c:v>
                </c:pt>
                <c:pt idx="180">
                  <c:v>0.14</c:v>
                </c:pt>
                <c:pt idx="181">
                  <c:v>0.2</c:v>
                </c:pt>
                <c:pt idx="182">
                  <c:v>0.47</c:v>
                </c:pt>
                <c:pt idx="183">
                  <c:v>0.44</c:v>
                </c:pt>
                <c:pt idx="184">
                  <c:v>0.22</c:v>
                </c:pt>
                <c:pt idx="185">
                  <c:v>0.29</c:v>
                </c:pt>
                <c:pt idx="186">
                  <c:v>0.1</c:v>
                </c:pt>
                <c:pt idx="187">
                  <c:v>0.52</c:v>
                </c:pt>
                <c:pt idx="188">
                  <c:v>0.3</c:v>
                </c:pt>
                <c:pt idx="189">
                  <c:v>0.21</c:v>
                </c:pt>
                <c:pt idx="190">
                  <c:v>0.54</c:v>
                </c:pt>
                <c:pt idx="191">
                  <c:v>0.16</c:v>
                </c:pt>
                <c:pt idx="192">
                  <c:v>0.26</c:v>
                </c:pt>
                <c:pt idx="193">
                  <c:v>0.42</c:v>
                </c:pt>
                <c:pt idx="194">
                  <c:v>0.59</c:v>
                </c:pt>
                <c:pt idx="195">
                  <c:v>0.08</c:v>
                </c:pt>
                <c:pt idx="196">
                  <c:v>0.25</c:v>
                </c:pt>
                <c:pt idx="197">
                  <c:v>0.18</c:v>
                </c:pt>
                <c:pt idx="198">
                  <c:v>0.33</c:v>
                </c:pt>
                <c:pt idx="199">
                  <c:v>0.17</c:v>
                </c:pt>
                <c:pt idx="200">
                  <c:v>0.37</c:v>
                </c:pt>
                <c:pt idx="201">
                  <c:v>0.17</c:v>
                </c:pt>
                <c:pt idx="202">
                  <c:v>0.39</c:v>
                </c:pt>
                <c:pt idx="203">
                  <c:v>0.18</c:v>
                </c:pt>
                <c:pt idx="204">
                  <c:v>0.18</c:v>
                </c:pt>
                <c:pt idx="205">
                  <c:v>0.12</c:v>
                </c:pt>
                <c:pt idx="206">
                  <c:v>0.12</c:v>
                </c:pt>
                <c:pt idx="207">
                  <c:v>0.36</c:v>
                </c:pt>
                <c:pt idx="208">
                  <c:v>0.19</c:v>
                </c:pt>
                <c:pt idx="209">
                  <c:v>0.49</c:v>
                </c:pt>
                <c:pt idx="210">
                  <c:v>0.28</c:v>
                </c:pt>
                <c:pt idx="211">
                  <c:v>0.23</c:v>
                </c:pt>
                <c:pt idx="212">
                  <c:v>0.13</c:v>
                </c:pt>
                <c:pt idx="213">
                  <c:v>0.41</c:v>
                </c:pt>
                <c:pt idx="214">
                  <c:v>0.19</c:v>
                </c:pt>
                <c:pt idx="215">
                  <c:v>0.4</c:v>
                </c:pt>
                <c:pt idx="216">
                  <c:v>0.18</c:v>
                </c:pt>
                <c:pt idx="217">
                  <c:v>0.1</c:v>
                </c:pt>
                <c:pt idx="218">
                  <c:v>0.32</c:v>
                </c:pt>
                <c:pt idx="219">
                  <c:v>0.19</c:v>
                </c:pt>
                <c:pt idx="220">
                  <c:v>0.09</c:v>
                </c:pt>
                <c:pt idx="221">
                  <c:v>0.2</c:v>
                </c:pt>
                <c:pt idx="222">
                  <c:v>0.19</c:v>
                </c:pt>
                <c:pt idx="223">
                  <c:v>0.41</c:v>
                </c:pt>
                <c:pt idx="224">
                  <c:v>0.5</c:v>
                </c:pt>
                <c:pt idx="225">
                  <c:v>0.32</c:v>
                </c:pt>
                <c:pt idx="226">
                  <c:v>0.09</c:v>
                </c:pt>
                <c:pt idx="227">
                  <c:v>0.21</c:v>
                </c:pt>
                <c:pt idx="228">
                  <c:v>0.08</c:v>
                </c:pt>
                <c:pt idx="229">
                  <c:v>0.16</c:v>
                </c:pt>
                <c:pt idx="230">
                  <c:v>0.24</c:v>
                </c:pt>
                <c:pt idx="231">
                  <c:v>0.27</c:v>
                </c:pt>
                <c:pt idx="232">
                  <c:v>0.1</c:v>
                </c:pt>
                <c:pt idx="233">
                  <c:v>0.08</c:v>
                </c:pt>
                <c:pt idx="234">
                  <c:v>0.35</c:v>
                </c:pt>
                <c:pt idx="235">
                  <c:v>0.12</c:v>
                </c:pt>
                <c:pt idx="236">
                  <c:v>0.18</c:v>
                </c:pt>
                <c:pt idx="237">
                  <c:v>0.06</c:v>
                </c:pt>
                <c:pt idx="238">
                  <c:v>0.22</c:v>
                </c:pt>
                <c:pt idx="239">
                  <c:v>0.08</c:v>
                </c:pt>
                <c:pt idx="240">
                  <c:v>0.16</c:v>
                </c:pt>
                <c:pt idx="241">
                  <c:v>0.17</c:v>
                </c:pt>
                <c:pt idx="242">
                  <c:v>0.08</c:v>
                </c:pt>
                <c:pt idx="243">
                  <c:v>0.1</c:v>
                </c:pt>
                <c:pt idx="244">
                  <c:v>0.19</c:v>
                </c:pt>
                <c:pt idx="245">
                  <c:v>0.3</c:v>
                </c:pt>
                <c:pt idx="246">
                  <c:v>0.06</c:v>
                </c:pt>
                <c:pt idx="247">
                  <c:v>0.16</c:v>
                </c:pt>
                <c:pt idx="248">
                  <c:v>0.08</c:v>
                </c:pt>
                <c:pt idx="249">
                  <c:v>0.05</c:v>
                </c:pt>
                <c:pt idx="250">
                  <c:v>0.21</c:v>
                </c:pt>
                <c:pt idx="251">
                  <c:v>0.24</c:v>
                </c:pt>
                <c:pt idx="252">
                  <c:v>0.06</c:v>
                </c:pt>
                <c:pt idx="253">
                  <c:v>0.06</c:v>
                </c:pt>
                <c:pt idx="254">
                  <c:v>0.2</c:v>
                </c:pt>
                <c:pt idx="255">
                  <c:v>0.1</c:v>
                </c:pt>
                <c:pt idx="256">
                  <c:v>0.33</c:v>
                </c:pt>
                <c:pt idx="257">
                  <c:v>0.22</c:v>
                </c:pt>
                <c:pt idx="258">
                  <c:v>0.08</c:v>
                </c:pt>
                <c:pt idx="259">
                  <c:v>0.14</c:v>
                </c:pt>
                <c:pt idx="260">
                  <c:v>0.07</c:v>
                </c:pt>
                <c:pt idx="261">
                  <c:v>0.07</c:v>
                </c:pt>
                <c:pt idx="262">
                  <c:v>0.03</c:v>
                </c:pt>
                <c:pt idx="263">
                  <c:v>0.05</c:v>
                </c:pt>
                <c:pt idx="264">
                  <c:v>0.21</c:v>
                </c:pt>
                <c:pt idx="265">
                  <c:v>0.06</c:v>
                </c:pt>
                <c:pt idx="266">
                  <c:v>0.12</c:v>
                </c:pt>
                <c:pt idx="267">
                  <c:v>0.11</c:v>
                </c:pt>
                <c:pt idx="268">
                  <c:v>0.21</c:v>
                </c:pt>
                <c:pt idx="269">
                  <c:v>0.24</c:v>
                </c:pt>
                <c:pt idx="270">
                  <c:v>0.21</c:v>
                </c:pt>
                <c:pt idx="271">
                  <c:v>0.32</c:v>
                </c:pt>
                <c:pt idx="272">
                  <c:v>0.07</c:v>
                </c:pt>
                <c:pt idx="273">
                  <c:v>0.03</c:v>
                </c:pt>
                <c:pt idx="274">
                  <c:v>0.27</c:v>
                </c:pt>
                <c:pt idx="275">
                  <c:v>0.17</c:v>
                </c:pt>
                <c:pt idx="276">
                  <c:v>0.22</c:v>
                </c:pt>
                <c:pt idx="277">
                  <c:v>0.12</c:v>
                </c:pt>
                <c:pt idx="278">
                  <c:v>0.12</c:v>
                </c:pt>
                <c:pt idx="279">
                  <c:v>0.19</c:v>
                </c:pt>
                <c:pt idx="280">
                  <c:v>0.14</c:v>
                </c:pt>
                <c:pt idx="281">
                  <c:v>0.08</c:v>
                </c:pt>
                <c:pt idx="282">
                  <c:v>0.2</c:v>
                </c:pt>
                <c:pt idx="283">
                  <c:v>0.05</c:v>
                </c:pt>
                <c:pt idx="284">
                  <c:v>0.3</c:v>
                </c:pt>
                <c:pt idx="285">
                  <c:v>0.11</c:v>
                </c:pt>
                <c:pt idx="286">
                  <c:v>0.14</c:v>
                </c:pt>
                <c:pt idx="287">
                  <c:v>0.1</c:v>
                </c:pt>
                <c:pt idx="288">
                  <c:v>0.12</c:v>
                </c:pt>
                <c:pt idx="289">
                  <c:v>0.22</c:v>
                </c:pt>
                <c:pt idx="290">
                  <c:v>0.06</c:v>
                </c:pt>
                <c:pt idx="291">
                  <c:v>0.21</c:v>
                </c:pt>
                <c:pt idx="292">
                  <c:v>0.07</c:v>
                </c:pt>
                <c:pt idx="293">
                  <c:v>0.09</c:v>
                </c:pt>
                <c:pt idx="294">
                  <c:v>0.29</c:v>
                </c:pt>
                <c:pt idx="295">
                  <c:v>0.12</c:v>
                </c:pt>
                <c:pt idx="296">
                  <c:v>0.16</c:v>
                </c:pt>
                <c:pt idx="297">
                  <c:v>0.12</c:v>
                </c:pt>
                <c:pt idx="298">
                  <c:v>0.07</c:v>
                </c:pt>
                <c:pt idx="299">
                  <c:v>0.04</c:v>
                </c:pt>
                <c:pt idx="300">
                  <c:v>0.04</c:v>
                </c:pt>
                <c:pt idx="301">
                  <c:v>0.2</c:v>
                </c:pt>
                <c:pt idx="302">
                  <c:v>0.05</c:v>
                </c:pt>
                <c:pt idx="303">
                  <c:v>0.07</c:v>
                </c:pt>
                <c:pt idx="304">
                  <c:v>0.11</c:v>
                </c:pt>
                <c:pt idx="305">
                  <c:v>0.22</c:v>
                </c:pt>
                <c:pt idx="306">
                  <c:v>0.13</c:v>
                </c:pt>
                <c:pt idx="307">
                  <c:v>0.05</c:v>
                </c:pt>
                <c:pt idx="308">
                  <c:v>0.15</c:v>
                </c:pt>
                <c:pt idx="309">
                  <c:v>0.06</c:v>
                </c:pt>
                <c:pt idx="310">
                  <c:v>0.05</c:v>
                </c:pt>
                <c:pt idx="311">
                  <c:v>0.08</c:v>
                </c:pt>
                <c:pt idx="312">
                  <c:v>0.19</c:v>
                </c:pt>
                <c:pt idx="313">
                  <c:v>0.18</c:v>
                </c:pt>
                <c:pt idx="314">
                  <c:v>0.09</c:v>
                </c:pt>
                <c:pt idx="315">
                  <c:v>0.13</c:v>
                </c:pt>
                <c:pt idx="316">
                  <c:v>0.08</c:v>
                </c:pt>
                <c:pt idx="317">
                  <c:v>0.14</c:v>
                </c:pt>
                <c:pt idx="318">
                  <c:v>0.1</c:v>
                </c:pt>
                <c:pt idx="319">
                  <c:v>0.04</c:v>
                </c:pt>
                <c:pt idx="320">
                  <c:v>0.1</c:v>
                </c:pt>
                <c:pt idx="321">
                  <c:v>0.11</c:v>
                </c:pt>
                <c:pt idx="322">
                  <c:v>0.05</c:v>
                </c:pt>
                <c:pt idx="323">
                  <c:v>0.06</c:v>
                </c:pt>
                <c:pt idx="324">
                  <c:v>0.05</c:v>
                </c:pt>
                <c:pt idx="325">
                  <c:v>0.05</c:v>
                </c:pt>
                <c:pt idx="326">
                  <c:v>0.04</c:v>
                </c:pt>
                <c:pt idx="327">
                  <c:v>0.32</c:v>
                </c:pt>
                <c:pt idx="328">
                  <c:v>0.24</c:v>
                </c:pt>
                <c:pt idx="329">
                  <c:v>0.15</c:v>
                </c:pt>
                <c:pt idx="330">
                  <c:v>0.11</c:v>
                </c:pt>
                <c:pt idx="331">
                  <c:v>0.12</c:v>
                </c:pt>
                <c:pt idx="332">
                  <c:v>0.05</c:v>
                </c:pt>
                <c:pt idx="333">
                  <c:v>0.05</c:v>
                </c:pt>
                <c:pt idx="334">
                  <c:v>0.05</c:v>
                </c:pt>
                <c:pt idx="335">
                  <c:v>0.07</c:v>
                </c:pt>
                <c:pt idx="336">
                  <c:v>0.04</c:v>
                </c:pt>
                <c:pt idx="337">
                  <c:v>0.03</c:v>
                </c:pt>
                <c:pt idx="338">
                  <c:v>0.08</c:v>
                </c:pt>
                <c:pt idx="339">
                  <c:v>0.07</c:v>
                </c:pt>
                <c:pt idx="340">
                  <c:v>0.19</c:v>
                </c:pt>
                <c:pt idx="341">
                  <c:v>0.07</c:v>
                </c:pt>
                <c:pt idx="342">
                  <c:v>0.08</c:v>
                </c:pt>
                <c:pt idx="343">
                  <c:v>0.07</c:v>
                </c:pt>
                <c:pt idx="344">
                  <c:v>0.09</c:v>
                </c:pt>
                <c:pt idx="345">
                  <c:v>0.08</c:v>
                </c:pt>
                <c:pt idx="346">
                  <c:v>0.07</c:v>
                </c:pt>
                <c:pt idx="347">
                  <c:v>0.07</c:v>
                </c:pt>
                <c:pt idx="348">
                  <c:v>0.11</c:v>
                </c:pt>
                <c:pt idx="349">
                  <c:v>0.25</c:v>
                </c:pt>
                <c:pt idx="350">
                  <c:v>0.18</c:v>
                </c:pt>
                <c:pt idx="351">
                  <c:v>0.12</c:v>
                </c:pt>
                <c:pt idx="352">
                  <c:v>0.1</c:v>
                </c:pt>
                <c:pt idx="353">
                  <c:v>0.13</c:v>
                </c:pt>
                <c:pt idx="354">
                  <c:v>0.03</c:v>
                </c:pt>
                <c:pt idx="355">
                  <c:v>0.12</c:v>
                </c:pt>
                <c:pt idx="356">
                  <c:v>0.09</c:v>
                </c:pt>
                <c:pt idx="357">
                  <c:v>0.02</c:v>
                </c:pt>
                <c:pt idx="358">
                  <c:v>0.06</c:v>
                </c:pt>
                <c:pt idx="359">
                  <c:v>0.18</c:v>
                </c:pt>
                <c:pt idx="360">
                  <c:v>0.07</c:v>
                </c:pt>
                <c:pt idx="361">
                  <c:v>0.09</c:v>
                </c:pt>
                <c:pt idx="362">
                  <c:v>0.05</c:v>
                </c:pt>
                <c:pt idx="363">
                  <c:v>0.06</c:v>
                </c:pt>
                <c:pt idx="364">
                  <c:v>0.05</c:v>
                </c:pt>
                <c:pt idx="365">
                  <c:v>0.06</c:v>
                </c:pt>
                <c:pt idx="366">
                  <c:v>0.05</c:v>
                </c:pt>
                <c:pt idx="367">
                  <c:v>0.11</c:v>
                </c:pt>
                <c:pt idx="368">
                  <c:v>0.14</c:v>
                </c:pt>
                <c:pt idx="369">
                  <c:v>0.02</c:v>
                </c:pt>
                <c:pt idx="370">
                  <c:v>0.02</c:v>
                </c:pt>
                <c:pt idx="371">
                  <c:v>0.11</c:v>
                </c:pt>
                <c:pt idx="372">
                  <c:v>0.04</c:v>
                </c:pt>
                <c:pt idx="373">
                  <c:v>0.16</c:v>
                </c:pt>
                <c:pt idx="374">
                  <c:v>0.06</c:v>
                </c:pt>
                <c:pt idx="375">
                  <c:v>0.04</c:v>
                </c:pt>
                <c:pt idx="376">
                  <c:v>0.08</c:v>
                </c:pt>
                <c:pt idx="377">
                  <c:v>0.06</c:v>
                </c:pt>
                <c:pt idx="378">
                  <c:v>0.08</c:v>
                </c:pt>
                <c:pt idx="379">
                  <c:v>0.07</c:v>
                </c:pt>
                <c:pt idx="380">
                  <c:v>0.16</c:v>
                </c:pt>
                <c:pt idx="381">
                  <c:v>0.03</c:v>
                </c:pt>
                <c:pt idx="382">
                  <c:v>0.03</c:v>
                </c:pt>
                <c:pt idx="383">
                  <c:v>0.17</c:v>
                </c:pt>
                <c:pt idx="384">
                  <c:v>0.06</c:v>
                </c:pt>
                <c:pt idx="385">
                  <c:v>0.07</c:v>
                </c:pt>
                <c:pt idx="386">
                  <c:v>0.06</c:v>
                </c:pt>
                <c:pt idx="387">
                  <c:v>0.04</c:v>
                </c:pt>
                <c:pt idx="388">
                  <c:v>0.13</c:v>
                </c:pt>
                <c:pt idx="389">
                  <c:v>0.12</c:v>
                </c:pt>
                <c:pt idx="390">
                  <c:v>0.08</c:v>
                </c:pt>
                <c:pt idx="391">
                  <c:v>0.09</c:v>
                </c:pt>
                <c:pt idx="392">
                  <c:v>0.05</c:v>
                </c:pt>
                <c:pt idx="393">
                  <c:v>0.03</c:v>
                </c:pt>
                <c:pt idx="394">
                  <c:v>0.1</c:v>
                </c:pt>
                <c:pt idx="395">
                  <c:v>0.06</c:v>
                </c:pt>
                <c:pt idx="396">
                  <c:v>0.01</c:v>
                </c:pt>
                <c:pt idx="397">
                  <c:v>0.05</c:v>
                </c:pt>
                <c:pt idx="398">
                  <c:v>0.02</c:v>
                </c:pt>
                <c:pt idx="399">
                  <c:v>0.1</c:v>
                </c:pt>
                <c:pt idx="400">
                  <c:v>0.32</c:v>
                </c:pt>
                <c:pt idx="401">
                  <c:v>0.09</c:v>
                </c:pt>
                <c:pt idx="402">
                  <c:v>0.03</c:v>
                </c:pt>
                <c:pt idx="403">
                  <c:v>0.03</c:v>
                </c:pt>
                <c:pt idx="404">
                  <c:v>0.01</c:v>
                </c:pt>
                <c:pt idx="405">
                  <c:v>0.03</c:v>
                </c:pt>
                <c:pt idx="406">
                  <c:v>0.2</c:v>
                </c:pt>
                <c:pt idx="407">
                  <c:v>0.05</c:v>
                </c:pt>
                <c:pt idx="408">
                  <c:v>0.07</c:v>
                </c:pt>
                <c:pt idx="409">
                  <c:v>0.03</c:v>
                </c:pt>
                <c:pt idx="410">
                  <c:v>0.13</c:v>
                </c:pt>
                <c:pt idx="411">
                  <c:v>0.05</c:v>
                </c:pt>
                <c:pt idx="412">
                  <c:v>0.19</c:v>
                </c:pt>
                <c:pt idx="413">
                  <c:v>0.08</c:v>
                </c:pt>
                <c:pt idx="414">
                  <c:v>0.03</c:v>
                </c:pt>
                <c:pt idx="415">
                  <c:v>0.03</c:v>
                </c:pt>
                <c:pt idx="416">
                  <c:v>0.09</c:v>
                </c:pt>
                <c:pt idx="417">
                  <c:v>0.07</c:v>
                </c:pt>
                <c:pt idx="418">
                  <c:v>0.53</c:v>
                </c:pt>
                <c:pt idx="419">
                  <c:v>0.09</c:v>
                </c:pt>
                <c:pt idx="420">
                  <c:v>0.08</c:v>
                </c:pt>
                <c:pt idx="421">
                  <c:v>0.03</c:v>
                </c:pt>
                <c:pt idx="422">
                  <c:v>0.16</c:v>
                </c:pt>
                <c:pt idx="423">
                  <c:v>0.11</c:v>
                </c:pt>
                <c:pt idx="424">
                  <c:v>0.13</c:v>
                </c:pt>
                <c:pt idx="425">
                  <c:v>0.07</c:v>
                </c:pt>
                <c:pt idx="426">
                  <c:v>0.07</c:v>
                </c:pt>
                <c:pt idx="427">
                  <c:v>0.01</c:v>
                </c:pt>
                <c:pt idx="428">
                  <c:v>0.04</c:v>
                </c:pt>
                <c:pt idx="429">
                  <c:v>0.06</c:v>
                </c:pt>
                <c:pt idx="430">
                  <c:v>0.03</c:v>
                </c:pt>
                <c:pt idx="431">
                  <c:v>0.05</c:v>
                </c:pt>
                <c:pt idx="432">
                  <c:v>0.03</c:v>
                </c:pt>
                <c:pt idx="433">
                  <c:v>0.03</c:v>
                </c:pt>
                <c:pt idx="434">
                  <c:v>0.06</c:v>
                </c:pt>
                <c:pt idx="435">
                  <c:v>0.02</c:v>
                </c:pt>
                <c:pt idx="436">
                  <c:v>0.11</c:v>
                </c:pt>
                <c:pt idx="437">
                  <c:v>0.06</c:v>
                </c:pt>
                <c:pt idx="438">
                  <c:v>0.03</c:v>
                </c:pt>
                <c:pt idx="439">
                  <c:v>0.07</c:v>
                </c:pt>
                <c:pt idx="440">
                  <c:v>0.09</c:v>
                </c:pt>
                <c:pt idx="441">
                  <c:v>0.05</c:v>
                </c:pt>
                <c:pt idx="442">
                  <c:v>0.02</c:v>
                </c:pt>
                <c:pt idx="443">
                  <c:v>0.15</c:v>
                </c:pt>
                <c:pt idx="444">
                  <c:v>0.12</c:v>
                </c:pt>
                <c:pt idx="445">
                  <c:v>0.06</c:v>
                </c:pt>
                <c:pt idx="446">
                  <c:v>0.01</c:v>
                </c:pt>
                <c:pt idx="447">
                  <c:v>0.1</c:v>
                </c:pt>
                <c:pt idx="448">
                  <c:v>0.06</c:v>
                </c:pt>
                <c:pt idx="449">
                  <c:v>0.04</c:v>
                </c:pt>
                <c:pt idx="450">
                  <c:v>0.09</c:v>
                </c:pt>
                <c:pt idx="451">
                  <c:v>0.05</c:v>
                </c:pt>
                <c:pt idx="452">
                  <c:v>0.07</c:v>
                </c:pt>
                <c:pt idx="453">
                  <c:v>0.04</c:v>
                </c:pt>
                <c:pt idx="454">
                  <c:v>0.05</c:v>
                </c:pt>
                <c:pt idx="455">
                  <c:v>0.01</c:v>
                </c:pt>
                <c:pt idx="456">
                  <c:v>0.03</c:v>
                </c:pt>
                <c:pt idx="457">
                  <c:v>0.02</c:v>
                </c:pt>
                <c:pt idx="458">
                  <c:v>0.03</c:v>
                </c:pt>
                <c:pt idx="459">
                  <c:v>0.05</c:v>
                </c:pt>
                <c:pt idx="460">
                  <c:v>0.02</c:v>
                </c:pt>
                <c:pt idx="461">
                  <c:v>0.03</c:v>
                </c:pt>
                <c:pt idx="462">
                  <c:v>0.03</c:v>
                </c:pt>
                <c:pt idx="463">
                  <c:v>0.1</c:v>
                </c:pt>
                <c:pt idx="464">
                  <c:v>0.04</c:v>
                </c:pt>
                <c:pt idx="465">
                  <c:v>0.05</c:v>
                </c:pt>
                <c:pt idx="466">
                  <c:v>0.05</c:v>
                </c:pt>
                <c:pt idx="467">
                  <c:v>0.01</c:v>
                </c:pt>
                <c:pt idx="468">
                  <c:v>0.04</c:v>
                </c:pt>
                <c:pt idx="469">
                  <c:v>0.03</c:v>
                </c:pt>
                <c:pt idx="470">
                  <c:v>0.11</c:v>
                </c:pt>
                <c:pt idx="471">
                  <c:v>0.02</c:v>
                </c:pt>
                <c:pt idx="472">
                  <c:v>0.02</c:v>
                </c:pt>
                <c:pt idx="473">
                  <c:v>0.07</c:v>
                </c:pt>
                <c:pt idx="474">
                  <c:v>0.05</c:v>
                </c:pt>
                <c:pt idx="475">
                  <c:v>0.01</c:v>
                </c:pt>
                <c:pt idx="476">
                  <c:v>0.06</c:v>
                </c:pt>
                <c:pt idx="477">
                  <c:v>0.06</c:v>
                </c:pt>
                <c:pt idx="478">
                  <c:v>0.07</c:v>
                </c:pt>
                <c:pt idx="479">
                  <c:v>0.12</c:v>
                </c:pt>
                <c:pt idx="480">
                  <c:v>0.03</c:v>
                </c:pt>
                <c:pt idx="481">
                  <c:v>0.07</c:v>
                </c:pt>
                <c:pt idx="482">
                  <c:v>0.08</c:v>
                </c:pt>
                <c:pt idx="483">
                  <c:v>0.07</c:v>
                </c:pt>
                <c:pt idx="484">
                  <c:v>0.01</c:v>
                </c:pt>
                <c:pt idx="485">
                  <c:v>0.02</c:v>
                </c:pt>
                <c:pt idx="486">
                  <c:v>0.02</c:v>
                </c:pt>
                <c:pt idx="487">
                  <c:v>0.01</c:v>
                </c:pt>
                <c:pt idx="488">
                  <c:v>0.03</c:v>
                </c:pt>
                <c:pt idx="489">
                  <c:v>0.07</c:v>
                </c:pt>
                <c:pt idx="490">
                  <c:v>0.05</c:v>
                </c:pt>
                <c:pt idx="491">
                  <c:v>0.02</c:v>
                </c:pt>
                <c:pt idx="492">
                  <c:v>0.09</c:v>
                </c:pt>
                <c:pt idx="493">
                  <c:v>0.04</c:v>
                </c:pt>
                <c:pt idx="494">
                  <c:v>0.02</c:v>
                </c:pt>
                <c:pt idx="495">
                  <c:v>0.01</c:v>
                </c:pt>
                <c:pt idx="496">
                  <c:v>0.01</c:v>
                </c:pt>
                <c:pt idx="497">
                  <c:v>0.03</c:v>
                </c:pt>
                <c:pt idx="498">
                  <c:v>0.02</c:v>
                </c:pt>
                <c:pt idx="499">
                  <c:v>0.01</c:v>
                </c:pt>
                <c:pt idx="500">
                  <c:v>0.08</c:v>
                </c:pt>
                <c:pt idx="501">
                  <c:v>0.02</c:v>
                </c:pt>
                <c:pt idx="502">
                  <c:v>0.01</c:v>
                </c:pt>
                <c:pt idx="503">
                  <c:v>0.03</c:v>
                </c:pt>
                <c:pt idx="504">
                  <c:v>0.05</c:v>
                </c:pt>
                <c:pt idx="505">
                  <c:v>0.18</c:v>
                </c:pt>
                <c:pt idx="506">
                  <c:v>0.05</c:v>
                </c:pt>
                <c:pt idx="507">
                  <c:v>0.03</c:v>
                </c:pt>
                <c:pt idx="508">
                  <c:v>0.11</c:v>
                </c:pt>
                <c:pt idx="509">
                  <c:v>0.02</c:v>
                </c:pt>
                <c:pt idx="510">
                  <c:v>0.01</c:v>
                </c:pt>
                <c:pt idx="511">
                  <c:v>0.04</c:v>
                </c:pt>
                <c:pt idx="512">
                  <c:v>0.04</c:v>
                </c:pt>
                <c:pt idx="513">
                  <c:v>0.05</c:v>
                </c:pt>
                <c:pt idx="514">
                  <c:v>0.01</c:v>
                </c:pt>
                <c:pt idx="515">
                  <c:v>0.01</c:v>
                </c:pt>
                <c:pt idx="516">
                  <c:v>0.07</c:v>
                </c:pt>
                <c:pt idx="517">
                  <c:v>0.03</c:v>
                </c:pt>
                <c:pt idx="518">
                  <c:v>0.01</c:v>
                </c:pt>
                <c:pt idx="519">
                  <c:v>0.06</c:v>
                </c:pt>
                <c:pt idx="520">
                  <c:v>0.08</c:v>
                </c:pt>
                <c:pt idx="521">
                  <c:v>0.04</c:v>
                </c:pt>
                <c:pt idx="522">
                  <c:v>0.02</c:v>
                </c:pt>
                <c:pt idx="523">
                  <c:v>0.03</c:v>
                </c:pt>
                <c:pt idx="524">
                  <c:v>0.08</c:v>
                </c:pt>
                <c:pt idx="525">
                  <c:v>0.02</c:v>
                </c:pt>
                <c:pt idx="526">
                  <c:v>0.01</c:v>
                </c:pt>
                <c:pt idx="527">
                  <c:v>0.01</c:v>
                </c:pt>
                <c:pt idx="528">
                  <c:v>0.04</c:v>
                </c:pt>
                <c:pt idx="529">
                  <c:v>0.04</c:v>
                </c:pt>
                <c:pt idx="530">
                  <c:v>0.05</c:v>
                </c:pt>
                <c:pt idx="531">
                  <c:v>0.03</c:v>
                </c:pt>
                <c:pt idx="532">
                  <c:v>0.11</c:v>
                </c:pt>
                <c:pt idx="533">
                  <c:v>0.02</c:v>
                </c:pt>
                <c:pt idx="534">
                  <c:v>0.02</c:v>
                </c:pt>
                <c:pt idx="535">
                  <c:v>0.02</c:v>
                </c:pt>
                <c:pt idx="536">
                  <c:v>0.01</c:v>
                </c:pt>
                <c:pt idx="537">
                  <c:v>0.05</c:v>
                </c:pt>
                <c:pt idx="538">
                  <c:v>0.02</c:v>
                </c:pt>
                <c:pt idx="539">
                  <c:v>0.03</c:v>
                </c:pt>
                <c:pt idx="540">
                  <c:v>0.06</c:v>
                </c:pt>
                <c:pt idx="541">
                  <c:v>0.02</c:v>
                </c:pt>
                <c:pt idx="542">
                  <c:v>0.02</c:v>
                </c:pt>
                <c:pt idx="543">
                  <c:v>0.01</c:v>
                </c:pt>
                <c:pt idx="544">
                  <c:v>0.04</c:v>
                </c:pt>
                <c:pt idx="545">
                  <c:v>0.02</c:v>
                </c:pt>
                <c:pt idx="546">
                  <c:v>0.09</c:v>
                </c:pt>
                <c:pt idx="547">
                  <c:v>0.01</c:v>
                </c:pt>
                <c:pt idx="548">
                  <c:v>0.04</c:v>
                </c:pt>
                <c:pt idx="549">
                  <c:v>0.05</c:v>
                </c:pt>
                <c:pt idx="550">
                  <c:v>0.01</c:v>
                </c:pt>
                <c:pt idx="551">
                  <c:v>0.02</c:v>
                </c:pt>
                <c:pt idx="552">
                  <c:v>0.01</c:v>
                </c:pt>
                <c:pt idx="553">
                  <c:v>0.01</c:v>
                </c:pt>
                <c:pt idx="554">
                  <c:v>0.02</c:v>
                </c:pt>
                <c:pt idx="555">
                  <c:v>0.04</c:v>
                </c:pt>
                <c:pt idx="556">
                  <c:v>0.03</c:v>
                </c:pt>
                <c:pt idx="557">
                  <c:v>0.01</c:v>
                </c:pt>
                <c:pt idx="558">
                  <c:v>0.01</c:v>
                </c:pt>
                <c:pt idx="559">
                  <c:v>0.01</c:v>
                </c:pt>
                <c:pt idx="560">
                  <c:v>0.07</c:v>
                </c:pt>
                <c:pt idx="561">
                  <c:v>0.01</c:v>
                </c:pt>
                <c:pt idx="562">
                  <c:v>0.01</c:v>
                </c:pt>
                <c:pt idx="563">
                  <c:v>0.04</c:v>
                </c:pt>
                <c:pt idx="564">
                  <c:v>0.02</c:v>
                </c:pt>
                <c:pt idx="565">
                  <c:v>0.01</c:v>
                </c:pt>
                <c:pt idx="566">
                  <c:v>0.03</c:v>
                </c:pt>
                <c:pt idx="567">
                  <c:v>0.01</c:v>
                </c:pt>
                <c:pt idx="568">
                  <c:v>0.01</c:v>
                </c:pt>
                <c:pt idx="569">
                  <c:v>0.02</c:v>
                </c:pt>
                <c:pt idx="570">
                  <c:v>0.03</c:v>
                </c:pt>
                <c:pt idx="571">
                  <c:v>0.04</c:v>
                </c:pt>
                <c:pt idx="572">
                  <c:v>0.01</c:v>
                </c:pt>
                <c:pt idx="573">
                  <c:v>0.03</c:v>
                </c:pt>
                <c:pt idx="574">
                  <c:v>0.06</c:v>
                </c:pt>
                <c:pt idx="575">
                  <c:v>0.01</c:v>
                </c:pt>
                <c:pt idx="576">
                  <c:v>0.03</c:v>
                </c:pt>
                <c:pt idx="577">
                  <c:v>0.04</c:v>
                </c:pt>
                <c:pt idx="578">
                  <c:v>0.02</c:v>
                </c:pt>
                <c:pt idx="579">
                  <c:v>0.03</c:v>
                </c:pt>
                <c:pt idx="580">
                  <c:v>0.02</c:v>
                </c:pt>
                <c:pt idx="581">
                  <c:v>0.01</c:v>
                </c:pt>
                <c:pt idx="582">
                  <c:v>0.02</c:v>
                </c:pt>
                <c:pt idx="583">
                  <c:v>0.02</c:v>
                </c:pt>
                <c:pt idx="584">
                  <c:v>0.01</c:v>
                </c:pt>
                <c:pt idx="585">
                  <c:v>0.03</c:v>
                </c:pt>
                <c:pt idx="586">
                  <c:v>0.03</c:v>
                </c:pt>
                <c:pt idx="587">
                  <c:v>0.03</c:v>
                </c:pt>
                <c:pt idx="588">
                  <c:v>0.05</c:v>
                </c:pt>
                <c:pt idx="589">
                  <c:v>0.04</c:v>
                </c:pt>
                <c:pt idx="590">
                  <c:v>0.02</c:v>
                </c:pt>
                <c:pt idx="591">
                  <c:v>0.01</c:v>
                </c:pt>
                <c:pt idx="592">
                  <c:v>0.16</c:v>
                </c:pt>
                <c:pt idx="593">
                  <c:v>0.02</c:v>
                </c:pt>
                <c:pt idx="594">
                  <c:v>0.02</c:v>
                </c:pt>
                <c:pt idx="595">
                  <c:v>0.01</c:v>
                </c:pt>
                <c:pt idx="596">
                  <c:v>0.04</c:v>
                </c:pt>
                <c:pt idx="597">
                  <c:v>0.03</c:v>
                </c:pt>
                <c:pt idx="598">
                  <c:v>0.01</c:v>
                </c:pt>
                <c:pt idx="599">
                  <c:v>0.01</c:v>
                </c:pt>
                <c:pt idx="600">
                  <c:v>0.01</c:v>
                </c:pt>
                <c:pt idx="601">
                  <c:v>0.01</c:v>
                </c:pt>
                <c:pt idx="602">
                  <c:v>0.01</c:v>
                </c:pt>
                <c:pt idx="603">
                  <c:v>0.01</c:v>
                </c:pt>
                <c:pt idx="604">
                  <c:v>0.01</c:v>
                </c:pt>
                <c:pt idx="605">
                  <c:v>0.01</c:v>
                </c:pt>
                <c:pt idx="606">
                  <c:v>0.02</c:v>
                </c:pt>
                <c:pt idx="607">
                  <c:v>0.01</c:v>
                </c:pt>
                <c:pt idx="608">
                  <c:v>0.01</c:v>
                </c:pt>
                <c:pt idx="609">
                  <c:v>0.01</c:v>
                </c:pt>
                <c:pt idx="610">
                  <c:v>0.01</c:v>
                </c:pt>
                <c:pt idx="611">
                  <c:v>0.01</c:v>
                </c:pt>
                <c:pt idx="612">
                  <c:v>0.01</c:v>
                </c:pt>
                <c:pt idx="613">
                  <c:v>0.03</c:v>
                </c:pt>
                <c:pt idx="614">
                  <c:v>0.02</c:v>
                </c:pt>
                <c:pt idx="615">
                  <c:v>0.03</c:v>
                </c:pt>
                <c:pt idx="616">
                  <c:v>0.03</c:v>
                </c:pt>
                <c:pt idx="617">
                  <c:v>0.01</c:v>
                </c:pt>
                <c:pt idx="618">
                  <c:v>0.01</c:v>
                </c:pt>
                <c:pt idx="619">
                  <c:v>0.02</c:v>
                </c:pt>
                <c:pt idx="620">
                  <c:v>0.01</c:v>
                </c:pt>
                <c:pt idx="621">
                  <c:v>0.04</c:v>
                </c:pt>
                <c:pt idx="622">
                  <c:v>0.02</c:v>
                </c:pt>
                <c:pt idx="623">
                  <c:v>0.01</c:v>
                </c:pt>
                <c:pt idx="624">
                  <c:v>0.01</c:v>
                </c:pt>
                <c:pt idx="625">
                  <c:v>0.03</c:v>
                </c:pt>
                <c:pt idx="626">
                  <c:v>0.01</c:v>
                </c:pt>
                <c:pt idx="627">
                  <c:v>0.04</c:v>
                </c:pt>
                <c:pt idx="628">
                  <c:v>0.01</c:v>
                </c:pt>
                <c:pt idx="629">
                  <c:v>0.01</c:v>
                </c:pt>
                <c:pt idx="630">
                  <c:v>0.01</c:v>
                </c:pt>
                <c:pt idx="631">
                  <c:v>0.08</c:v>
                </c:pt>
                <c:pt idx="632">
                  <c:v>0.03</c:v>
                </c:pt>
                <c:pt idx="633">
                  <c:v>0.03</c:v>
                </c:pt>
                <c:pt idx="634">
                  <c:v>0.03</c:v>
                </c:pt>
                <c:pt idx="635">
                  <c:v>0.01</c:v>
                </c:pt>
                <c:pt idx="636">
                  <c:v>0.03</c:v>
                </c:pt>
                <c:pt idx="637">
                  <c:v>0.01</c:v>
                </c:pt>
                <c:pt idx="638">
                  <c:v>0.01</c:v>
                </c:pt>
                <c:pt idx="639">
                  <c:v>0.01</c:v>
                </c:pt>
                <c:pt idx="640">
                  <c:v>0.01</c:v>
                </c:pt>
                <c:pt idx="641">
                  <c:v>0.03</c:v>
                </c:pt>
                <c:pt idx="642">
                  <c:v>0.02</c:v>
                </c:pt>
                <c:pt idx="643">
                  <c:v>0.01</c:v>
                </c:pt>
                <c:pt idx="644">
                  <c:v>0.02</c:v>
                </c:pt>
                <c:pt idx="645">
                  <c:v>0.02</c:v>
                </c:pt>
                <c:pt idx="646">
                  <c:v>0.02</c:v>
                </c:pt>
                <c:pt idx="647">
                  <c:v>0.03</c:v>
                </c:pt>
                <c:pt idx="648">
                  <c:v>0.06</c:v>
                </c:pt>
                <c:pt idx="649">
                  <c:v>0.01</c:v>
                </c:pt>
                <c:pt idx="650">
                  <c:v>0.01</c:v>
                </c:pt>
                <c:pt idx="651">
                  <c:v>0.01</c:v>
                </c:pt>
                <c:pt idx="652">
                  <c:v>0.03</c:v>
                </c:pt>
                <c:pt idx="653">
                  <c:v>0.02</c:v>
                </c:pt>
                <c:pt idx="654">
                  <c:v>0.02</c:v>
                </c:pt>
                <c:pt idx="655">
                  <c:v>0.01</c:v>
                </c:pt>
                <c:pt idx="656">
                  <c:v>0.02</c:v>
                </c:pt>
                <c:pt idx="657">
                  <c:v>0.02</c:v>
                </c:pt>
                <c:pt idx="658">
                  <c:v>0.02</c:v>
                </c:pt>
                <c:pt idx="659">
                  <c:v>0.03</c:v>
                </c:pt>
                <c:pt idx="660">
                  <c:v>0.01</c:v>
                </c:pt>
                <c:pt idx="661">
                  <c:v>0.01</c:v>
                </c:pt>
                <c:pt idx="662">
                  <c:v>0.04</c:v>
                </c:pt>
                <c:pt idx="663">
                  <c:v>0.02</c:v>
                </c:pt>
                <c:pt idx="664">
                  <c:v>0.02</c:v>
                </c:pt>
                <c:pt idx="665">
                  <c:v>0.02</c:v>
                </c:pt>
                <c:pt idx="666">
                  <c:v>0.02</c:v>
                </c:pt>
                <c:pt idx="667">
                  <c:v>0.05</c:v>
                </c:pt>
                <c:pt idx="668">
                  <c:v>0.02</c:v>
                </c:pt>
                <c:pt idx="669">
                  <c:v>0.01</c:v>
                </c:pt>
                <c:pt idx="670">
                  <c:v>0.01</c:v>
                </c:pt>
                <c:pt idx="671">
                  <c:v>0.03</c:v>
                </c:pt>
                <c:pt idx="672">
                  <c:v>0.01</c:v>
                </c:pt>
                <c:pt idx="673">
                  <c:v>0.01</c:v>
                </c:pt>
                <c:pt idx="674">
                  <c:v>0.01</c:v>
                </c:pt>
                <c:pt idx="675">
                  <c:v>0.02</c:v>
                </c:pt>
                <c:pt idx="676">
                  <c:v>0.02</c:v>
                </c:pt>
                <c:pt idx="677">
                  <c:v>0.02</c:v>
                </c:pt>
                <c:pt idx="678">
                  <c:v>0.11</c:v>
                </c:pt>
                <c:pt idx="679">
                  <c:v>0.01</c:v>
                </c:pt>
                <c:pt idx="680">
                  <c:v>0.03</c:v>
                </c:pt>
                <c:pt idx="681">
                  <c:v>0.03</c:v>
                </c:pt>
                <c:pt idx="682">
                  <c:v>0.01</c:v>
                </c:pt>
                <c:pt idx="683">
                  <c:v>0.02</c:v>
                </c:pt>
                <c:pt idx="684">
                  <c:v>0.02</c:v>
                </c:pt>
                <c:pt idx="685">
                  <c:v>0.01</c:v>
                </c:pt>
                <c:pt idx="686">
                  <c:v>0.01</c:v>
                </c:pt>
                <c:pt idx="687">
                  <c:v>0.02</c:v>
                </c:pt>
                <c:pt idx="688">
                  <c:v>0.02</c:v>
                </c:pt>
                <c:pt idx="689">
                  <c:v>0.01</c:v>
                </c:pt>
                <c:pt idx="690">
                  <c:v>0.01</c:v>
                </c:pt>
                <c:pt idx="691">
                  <c:v>0.01</c:v>
                </c:pt>
                <c:pt idx="692">
                  <c:v>0.01</c:v>
                </c:pt>
                <c:pt idx="693">
                  <c:v>0.01</c:v>
                </c:pt>
                <c:pt idx="694">
                  <c:v>0.01</c:v>
                </c:pt>
                <c:pt idx="695">
                  <c:v>0.01</c:v>
                </c:pt>
                <c:pt idx="696">
                  <c:v>0.01</c:v>
                </c:pt>
                <c:pt idx="697">
                  <c:v>0.02</c:v>
                </c:pt>
                <c:pt idx="698">
                  <c:v>0.01</c:v>
                </c:pt>
                <c:pt idx="699">
                  <c:v>0.01</c:v>
                </c:pt>
                <c:pt idx="700">
                  <c:v>0.02</c:v>
                </c:pt>
                <c:pt idx="701">
                  <c:v>0.03</c:v>
                </c:pt>
                <c:pt idx="702">
                  <c:v>0.01</c:v>
                </c:pt>
                <c:pt idx="703">
                  <c:v>0.01</c:v>
                </c:pt>
                <c:pt idx="704">
                  <c:v>0.01</c:v>
                </c:pt>
                <c:pt idx="705">
                  <c:v>0.04</c:v>
                </c:pt>
                <c:pt idx="706">
                  <c:v>0.01</c:v>
                </c:pt>
                <c:pt idx="707">
                  <c:v>0.01</c:v>
                </c:pt>
                <c:pt idx="708">
                  <c:v>0.01</c:v>
                </c:pt>
                <c:pt idx="709">
                  <c:v>0.01</c:v>
                </c:pt>
                <c:pt idx="710">
                  <c:v>0.01</c:v>
                </c:pt>
                <c:pt idx="711">
                  <c:v>0.01</c:v>
                </c:pt>
                <c:pt idx="712">
                  <c:v>0.01</c:v>
                </c:pt>
                <c:pt idx="713">
                  <c:v>0.01</c:v>
                </c:pt>
                <c:pt idx="714">
                  <c:v>0.02</c:v>
                </c:pt>
                <c:pt idx="715">
                  <c:v>0.03</c:v>
                </c:pt>
                <c:pt idx="716">
                  <c:v>0.01</c:v>
                </c:pt>
                <c:pt idx="717">
                  <c:v>0.02</c:v>
                </c:pt>
                <c:pt idx="718">
                  <c:v>0.06</c:v>
                </c:pt>
                <c:pt idx="719">
                  <c:v>0.01</c:v>
                </c:pt>
                <c:pt idx="720">
                  <c:v>0.04</c:v>
                </c:pt>
                <c:pt idx="721">
                  <c:v>0.02</c:v>
                </c:pt>
                <c:pt idx="722">
                  <c:v>0.01</c:v>
                </c:pt>
                <c:pt idx="723">
                  <c:v>0.04</c:v>
                </c:pt>
                <c:pt idx="724">
                  <c:v>0.01</c:v>
                </c:pt>
                <c:pt idx="725">
                  <c:v>0.02</c:v>
                </c:pt>
                <c:pt idx="726">
                  <c:v>0.02</c:v>
                </c:pt>
                <c:pt idx="727">
                  <c:v>0.02</c:v>
                </c:pt>
                <c:pt idx="728">
                  <c:v>0.01</c:v>
                </c:pt>
                <c:pt idx="729">
                  <c:v>0.01</c:v>
                </c:pt>
                <c:pt idx="730">
                  <c:v>0.01</c:v>
                </c:pt>
                <c:pt idx="731">
                  <c:v>0.01</c:v>
                </c:pt>
                <c:pt idx="732">
                  <c:v>0.02</c:v>
                </c:pt>
                <c:pt idx="733">
                  <c:v>0.01</c:v>
                </c:pt>
                <c:pt idx="734">
                  <c:v>0.01</c:v>
                </c:pt>
                <c:pt idx="735">
                  <c:v>0.01</c:v>
                </c:pt>
                <c:pt idx="736">
                  <c:v>0.1</c:v>
                </c:pt>
                <c:pt idx="737">
                  <c:v>0.03</c:v>
                </c:pt>
                <c:pt idx="738">
                  <c:v>0.01</c:v>
                </c:pt>
                <c:pt idx="739">
                  <c:v>0.01</c:v>
                </c:pt>
                <c:pt idx="740">
                  <c:v>0.01</c:v>
                </c:pt>
                <c:pt idx="741">
                  <c:v>0.01</c:v>
                </c:pt>
                <c:pt idx="742">
                  <c:v>0.01</c:v>
                </c:pt>
                <c:pt idx="743">
                  <c:v>0.04</c:v>
                </c:pt>
                <c:pt idx="744">
                  <c:v>0.01</c:v>
                </c:pt>
                <c:pt idx="745">
                  <c:v>0.02</c:v>
                </c:pt>
                <c:pt idx="746">
                  <c:v>0.01</c:v>
                </c:pt>
                <c:pt idx="747">
                  <c:v>0.01</c:v>
                </c:pt>
                <c:pt idx="748">
                  <c:v>0.01</c:v>
                </c:pt>
                <c:pt idx="749">
                  <c:v>0.01</c:v>
                </c:pt>
                <c:pt idx="750">
                  <c:v>0.01</c:v>
                </c:pt>
                <c:pt idx="751">
                  <c:v>0.01</c:v>
                </c:pt>
                <c:pt idx="752">
                  <c:v>0.01</c:v>
                </c:pt>
                <c:pt idx="753">
                  <c:v>0.01</c:v>
                </c:pt>
                <c:pt idx="754">
                  <c:v>0.01</c:v>
                </c:pt>
                <c:pt idx="755">
                  <c:v>0.01</c:v>
                </c:pt>
                <c:pt idx="756">
                  <c:v>0.01</c:v>
                </c:pt>
                <c:pt idx="757">
                  <c:v>0.01</c:v>
                </c:pt>
                <c:pt idx="758">
                  <c:v>0.01</c:v>
                </c:pt>
                <c:pt idx="759">
                  <c:v>0.01</c:v>
                </c:pt>
                <c:pt idx="760">
                  <c:v>0.01</c:v>
                </c:pt>
                <c:pt idx="761">
                  <c:v>0.01</c:v>
                </c:pt>
                <c:pt idx="762">
                  <c:v>0.01</c:v>
                </c:pt>
                <c:pt idx="763">
                  <c:v>0.01</c:v>
                </c:pt>
                <c:pt idx="764">
                  <c:v>0.07</c:v>
                </c:pt>
                <c:pt idx="765">
                  <c:v>0.01</c:v>
                </c:pt>
                <c:pt idx="766">
                  <c:v>0.01</c:v>
                </c:pt>
                <c:pt idx="767">
                  <c:v>0.01</c:v>
                </c:pt>
                <c:pt idx="768">
                  <c:v>0.01</c:v>
                </c:pt>
                <c:pt idx="769">
                  <c:v>0.01</c:v>
                </c:pt>
                <c:pt idx="770">
                  <c:v>0.01</c:v>
                </c:pt>
                <c:pt idx="771">
                  <c:v>0.01</c:v>
                </c:pt>
                <c:pt idx="772">
                  <c:v>0.01</c:v>
                </c:pt>
                <c:pt idx="773">
                  <c:v>0.01</c:v>
                </c:pt>
                <c:pt idx="774">
                  <c:v>0.01</c:v>
                </c:pt>
                <c:pt idx="775">
                  <c:v>0.01</c:v>
                </c:pt>
                <c:pt idx="776">
                  <c:v>0.01</c:v>
                </c:pt>
                <c:pt idx="777">
                  <c:v>0.01</c:v>
                </c:pt>
                <c:pt idx="778">
                  <c:v>0.01</c:v>
                </c:pt>
                <c:pt idx="779">
                  <c:v>0.01</c:v>
                </c:pt>
                <c:pt idx="780">
                  <c:v>0.05</c:v>
                </c:pt>
                <c:pt idx="781">
                  <c:v>0.01</c:v>
                </c:pt>
                <c:pt idx="782">
                  <c:v>0.01</c:v>
                </c:pt>
                <c:pt idx="783">
                  <c:v>0.01</c:v>
                </c:pt>
                <c:pt idx="784">
                  <c:v>0.01</c:v>
                </c:pt>
                <c:pt idx="785">
                  <c:v>0.01</c:v>
                </c:pt>
                <c:pt idx="786">
                  <c:v>0.01</c:v>
                </c:pt>
                <c:pt idx="787">
                  <c:v>0.01</c:v>
                </c:pt>
                <c:pt idx="788">
                  <c:v>0.04</c:v>
                </c:pt>
                <c:pt idx="789">
                  <c:v>0.02</c:v>
                </c:pt>
                <c:pt idx="790">
                  <c:v>0.06</c:v>
                </c:pt>
                <c:pt idx="791">
                  <c:v>0.01</c:v>
                </c:pt>
                <c:pt idx="792">
                  <c:v>0.01</c:v>
                </c:pt>
                <c:pt idx="793">
                  <c:v>0.04</c:v>
                </c:pt>
                <c:pt idx="794">
                  <c:v>0.01</c:v>
                </c:pt>
                <c:pt idx="795">
                  <c:v>0.02</c:v>
                </c:pt>
                <c:pt idx="796">
                  <c:v>0.01</c:v>
                </c:pt>
                <c:pt idx="797">
                  <c:v>0.01</c:v>
                </c:pt>
                <c:pt idx="798">
                  <c:v>0.01</c:v>
                </c:pt>
                <c:pt idx="799">
                  <c:v>0.01</c:v>
                </c:pt>
                <c:pt idx="800">
                  <c:v>0.05</c:v>
                </c:pt>
                <c:pt idx="801">
                  <c:v>0.01</c:v>
                </c:pt>
                <c:pt idx="802">
                  <c:v>0.01</c:v>
                </c:pt>
                <c:pt idx="803">
                  <c:v>0.01</c:v>
                </c:pt>
                <c:pt idx="804">
                  <c:v>0.01</c:v>
                </c:pt>
                <c:pt idx="805">
                  <c:v>0.02</c:v>
                </c:pt>
                <c:pt idx="806">
                  <c:v>0.01</c:v>
                </c:pt>
                <c:pt idx="807">
                  <c:v>0.01</c:v>
                </c:pt>
                <c:pt idx="808">
                  <c:v>0.03</c:v>
                </c:pt>
                <c:pt idx="809">
                  <c:v>0.01</c:v>
                </c:pt>
                <c:pt idx="810">
                  <c:v>0.01</c:v>
                </c:pt>
                <c:pt idx="811">
                  <c:v>0.01</c:v>
                </c:pt>
                <c:pt idx="812">
                  <c:v>0.01</c:v>
                </c:pt>
                <c:pt idx="813">
                  <c:v>0.01</c:v>
                </c:pt>
                <c:pt idx="814">
                  <c:v>0.01</c:v>
                </c:pt>
                <c:pt idx="815">
                  <c:v>0.01</c:v>
                </c:pt>
                <c:pt idx="816">
                  <c:v>0.01</c:v>
                </c:pt>
                <c:pt idx="817">
                  <c:v>0.01</c:v>
                </c:pt>
                <c:pt idx="818">
                  <c:v>0.01</c:v>
                </c:pt>
                <c:pt idx="819">
                  <c:v>0.01</c:v>
                </c:pt>
                <c:pt idx="820">
                  <c:v>0.01</c:v>
                </c:pt>
                <c:pt idx="821">
                  <c:v>0.01</c:v>
                </c:pt>
                <c:pt idx="822">
                  <c:v>0.01</c:v>
                </c:pt>
                <c:pt idx="823">
                  <c:v>0.02</c:v>
                </c:pt>
                <c:pt idx="824">
                  <c:v>0.08</c:v>
                </c:pt>
                <c:pt idx="825">
                  <c:v>0.02</c:v>
                </c:pt>
                <c:pt idx="826">
                  <c:v>0.01</c:v>
                </c:pt>
                <c:pt idx="827">
                  <c:v>0.01</c:v>
                </c:pt>
                <c:pt idx="828">
                  <c:v>0.01</c:v>
                </c:pt>
                <c:pt idx="829">
                  <c:v>0.01</c:v>
                </c:pt>
                <c:pt idx="830">
                  <c:v>0.01</c:v>
                </c:pt>
                <c:pt idx="831">
                  <c:v>0.01</c:v>
                </c:pt>
                <c:pt idx="832">
                  <c:v>0.01</c:v>
                </c:pt>
                <c:pt idx="833">
                  <c:v>0.01</c:v>
                </c:pt>
                <c:pt idx="834">
                  <c:v>0.01</c:v>
                </c:pt>
                <c:pt idx="835">
                  <c:v>0.01</c:v>
                </c:pt>
                <c:pt idx="836">
                  <c:v>0.01</c:v>
                </c:pt>
                <c:pt idx="837">
                  <c:v>0.01</c:v>
                </c:pt>
                <c:pt idx="838">
                  <c:v>0.01</c:v>
                </c:pt>
                <c:pt idx="839">
                  <c:v>0.01</c:v>
                </c:pt>
                <c:pt idx="840">
                  <c:v>0.01</c:v>
                </c:pt>
                <c:pt idx="841">
                  <c:v>0.02</c:v>
                </c:pt>
                <c:pt idx="842">
                  <c:v>0.05</c:v>
                </c:pt>
                <c:pt idx="843">
                  <c:v>0.02</c:v>
                </c:pt>
                <c:pt idx="844">
                  <c:v>0.01</c:v>
                </c:pt>
                <c:pt idx="845">
                  <c:v>0.01</c:v>
                </c:pt>
                <c:pt idx="846">
                  <c:v>0.01</c:v>
                </c:pt>
                <c:pt idx="847">
                  <c:v>0.01</c:v>
                </c:pt>
                <c:pt idx="848">
                  <c:v>0.01</c:v>
                </c:pt>
                <c:pt idx="849">
                  <c:v>0.01</c:v>
                </c:pt>
                <c:pt idx="850">
                  <c:v>0.01</c:v>
                </c:pt>
                <c:pt idx="851">
                  <c:v>0.01</c:v>
                </c:pt>
                <c:pt idx="852">
                  <c:v>0.01</c:v>
                </c:pt>
                <c:pt idx="853">
                  <c:v>0.01</c:v>
                </c:pt>
                <c:pt idx="854">
                  <c:v>0.01</c:v>
                </c:pt>
                <c:pt idx="855">
                  <c:v>0.01</c:v>
                </c:pt>
                <c:pt idx="856">
                  <c:v>0.01</c:v>
                </c:pt>
                <c:pt idx="857">
                  <c:v>0.01</c:v>
                </c:pt>
                <c:pt idx="858">
                  <c:v>0.01</c:v>
                </c:pt>
                <c:pt idx="859">
                  <c:v>0.01</c:v>
                </c:pt>
                <c:pt idx="860">
                  <c:v>0.01</c:v>
                </c:pt>
                <c:pt idx="861">
                  <c:v>0.01</c:v>
                </c:pt>
                <c:pt idx="862">
                  <c:v>0.01</c:v>
                </c:pt>
                <c:pt idx="863">
                  <c:v>0.01</c:v>
                </c:pt>
                <c:pt idx="864">
                  <c:v>0.07</c:v>
                </c:pt>
                <c:pt idx="865">
                  <c:v>0.01</c:v>
                </c:pt>
                <c:pt idx="866">
                  <c:v>0.01</c:v>
                </c:pt>
                <c:pt idx="867">
                  <c:v>0.01</c:v>
                </c:pt>
                <c:pt idx="868">
                  <c:v>0.01</c:v>
                </c:pt>
                <c:pt idx="869">
                  <c:v>0.01</c:v>
                </c:pt>
                <c:pt idx="870">
                  <c:v>0.01</c:v>
                </c:pt>
                <c:pt idx="871">
                  <c:v>0.01</c:v>
                </c:pt>
                <c:pt idx="872">
                  <c:v>0.01</c:v>
                </c:pt>
                <c:pt idx="873">
                  <c:v>0.01</c:v>
                </c:pt>
                <c:pt idx="874">
                  <c:v>0.02</c:v>
                </c:pt>
                <c:pt idx="875">
                  <c:v>0.01</c:v>
                </c:pt>
                <c:pt idx="876">
                  <c:v>0.01</c:v>
                </c:pt>
                <c:pt idx="877">
                  <c:v>0.02</c:v>
                </c:pt>
                <c:pt idx="878">
                  <c:v>0.01</c:v>
                </c:pt>
                <c:pt idx="879">
                  <c:v>0.01</c:v>
                </c:pt>
                <c:pt idx="880">
                  <c:v>0.01</c:v>
                </c:pt>
                <c:pt idx="881">
                  <c:v>0.01</c:v>
                </c:pt>
                <c:pt idx="882">
                  <c:v>0.01</c:v>
                </c:pt>
                <c:pt idx="883">
                  <c:v>0.01</c:v>
                </c:pt>
                <c:pt idx="884">
                  <c:v>0.01</c:v>
                </c:pt>
                <c:pt idx="885">
                  <c:v>0.01</c:v>
                </c:pt>
                <c:pt idx="886">
                  <c:v>0.01</c:v>
                </c:pt>
                <c:pt idx="887">
                  <c:v>0.03</c:v>
                </c:pt>
                <c:pt idx="888">
                  <c:v>0.01</c:v>
                </c:pt>
                <c:pt idx="889">
                  <c:v>0.01</c:v>
                </c:pt>
                <c:pt idx="890">
                  <c:v>0.01</c:v>
                </c:pt>
                <c:pt idx="891">
                  <c:v>0.01</c:v>
                </c:pt>
                <c:pt idx="892">
                  <c:v>0.01</c:v>
                </c:pt>
                <c:pt idx="893">
                  <c:v>0.01</c:v>
                </c:pt>
                <c:pt idx="894">
                  <c:v>0.01</c:v>
                </c:pt>
                <c:pt idx="895">
                  <c:v>0.01</c:v>
                </c:pt>
                <c:pt idx="896">
                  <c:v>0.01</c:v>
                </c:pt>
                <c:pt idx="897">
                  <c:v>0.01</c:v>
                </c:pt>
                <c:pt idx="898">
                  <c:v>0.01</c:v>
                </c:pt>
                <c:pt idx="899">
                  <c:v>0.01</c:v>
                </c:pt>
                <c:pt idx="900">
                  <c:v>0.01</c:v>
                </c:pt>
                <c:pt idx="901">
                  <c:v>0.01</c:v>
                </c:pt>
                <c:pt idx="902">
                  <c:v>0.01</c:v>
                </c:pt>
                <c:pt idx="903">
                  <c:v>0.01</c:v>
                </c:pt>
                <c:pt idx="904">
                  <c:v>0.01</c:v>
                </c:pt>
                <c:pt idx="905">
                  <c:v>0.01</c:v>
                </c:pt>
                <c:pt idx="906">
                  <c:v>0.01</c:v>
                </c:pt>
                <c:pt idx="907">
                  <c:v>0.01</c:v>
                </c:pt>
                <c:pt idx="908">
                  <c:v>0.01</c:v>
                </c:pt>
                <c:pt idx="909">
                  <c:v>0.01</c:v>
                </c:pt>
                <c:pt idx="910">
                  <c:v>0.01</c:v>
                </c:pt>
                <c:pt idx="911">
                  <c:v>0.03</c:v>
                </c:pt>
                <c:pt idx="912">
                  <c:v>0.01</c:v>
                </c:pt>
                <c:pt idx="913">
                  <c:v>0.01</c:v>
                </c:pt>
                <c:pt idx="914">
                  <c:v>0.01</c:v>
                </c:pt>
                <c:pt idx="915">
                  <c:v>0.01</c:v>
                </c:pt>
                <c:pt idx="916">
                  <c:v>0.01</c:v>
                </c:pt>
                <c:pt idx="917">
                  <c:v>0.01</c:v>
                </c:pt>
                <c:pt idx="918">
                  <c:v>0.01</c:v>
                </c:pt>
                <c:pt idx="919">
                  <c:v>0.01</c:v>
                </c:pt>
                <c:pt idx="920">
                  <c:v>0.01</c:v>
                </c:pt>
                <c:pt idx="921">
                  <c:v>0.01</c:v>
                </c:pt>
                <c:pt idx="922">
                  <c:v>0.01</c:v>
                </c:pt>
                <c:pt idx="923">
                  <c:v>0.01</c:v>
                </c:pt>
                <c:pt idx="924">
                  <c:v>0.01</c:v>
                </c:pt>
                <c:pt idx="925">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Item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00A097"/>
              </a:solidFill>
            </c:spPr>
            <c:extLst>
              <c:ext xmlns:c16="http://schemas.microsoft.com/office/drawing/2014/chart" uri="{C3380CC4-5D6E-409C-BE32-E72D297353CC}">
                <c16:uniqueId val="{000000EB-2993-41DE-A2CB-63102DE87051}"/>
              </c:ext>
            </c:extLst>
          </c:dPt>
          <c:dPt>
            <c:idx val="117"/>
            <c:invertIfNegative val="1"/>
            <c:bubble3D val="0"/>
            <c:spPr>
              <a:solidFill>
                <a:srgbClr val="00A097"/>
              </a:solidFill>
            </c:spPr>
            <c:extLst>
              <c:ext xmlns:c16="http://schemas.microsoft.com/office/drawing/2014/chart" uri="{C3380CC4-5D6E-409C-BE32-E72D297353CC}">
                <c16:uniqueId val="{000000ED-2993-41DE-A2CB-63102DE87051}"/>
              </c:ext>
            </c:extLst>
          </c:dPt>
          <c:dPt>
            <c:idx val="118"/>
            <c:invertIfNegative val="1"/>
            <c:bubble3D val="0"/>
            <c:spPr>
              <a:solidFill>
                <a:srgbClr val="00A097"/>
              </a:solidFill>
            </c:spPr>
            <c:extLst>
              <c:ext xmlns:c16="http://schemas.microsoft.com/office/drawing/2014/chart" uri="{C3380CC4-5D6E-409C-BE32-E72D297353CC}">
                <c16:uniqueId val="{000000EF-2993-41DE-A2CB-63102DE87051}"/>
              </c:ext>
            </c:extLst>
          </c:dPt>
          <c:dPt>
            <c:idx val="119"/>
            <c:invertIfNegative val="1"/>
            <c:bubble3D val="0"/>
            <c:spPr>
              <a:solidFill>
                <a:srgbClr val="00A097"/>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7ECAC4"/>
              </a:solidFill>
            </c:spPr>
            <c:extLst>
              <c:ext xmlns:c16="http://schemas.microsoft.com/office/drawing/2014/chart" uri="{C3380CC4-5D6E-409C-BE32-E72D297353CC}">
                <c16:uniqueId val="{0000015D-2993-41DE-A2CB-63102DE87051}"/>
              </c:ext>
            </c:extLst>
          </c:dPt>
          <c:dPt>
            <c:idx val="174"/>
            <c:invertIfNegative val="1"/>
            <c:bubble3D val="0"/>
            <c:spPr>
              <a:solidFill>
                <a:srgbClr val="7ECAC4"/>
              </a:solidFill>
            </c:spPr>
            <c:extLst>
              <c:ext xmlns:c16="http://schemas.microsoft.com/office/drawing/2014/chart" uri="{C3380CC4-5D6E-409C-BE32-E72D297353CC}">
                <c16:uniqueId val="{0000015F-2993-41DE-A2CB-63102DE87051}"/>
              </c:ext>
            </c:extLst>
          </c:dPt>
          <c:dPt>
            <c:idx val="175"/>
            <c:invertIfNegative val="1"/>
            <c:bubble3D val="0"/>
            <c:spPr>
              <a:solidFill>
                <a:srgbClr val="7ECAC4"/>
              </a:solidFill>
            </c:spPr>
            <c:extLst>
              <c:ext xmlns:c16="http://schemas.microsoft.com/office/drawing/2014/chart" uri="{C3380CC4-5D6E-409C-BE32-E72D297353CC}">
                <c16:uniqueId val="{00000161-2993-41DE-A2CB-63102DE87051}"/>
              </c:ext>
            </c:extLst>
          </c:dPt>
          <c:dPt>
            <c:idx val="176"/>
            <c:invertIfNegative val="1"/>
            <c:bubble3D val="0"/>
            <c:spPr>
              <a:solidFill>
                <a:srgbClr val="7ECAC4"/>
              </a:solidFill>
            </c:spPr>
            <c:extLst>
              <c:ext xmlns:c16="http://schemas.microsoft.com/office/drawing/2014/chart" uri="{C3380CC4-5D6E-409C-BE32-E72D297353CC}">
                <c16:uniqueId val="{00000163-2993-41DE-A2CB-63102DE87051}"/>
              </c:ext>
            </c:extLst>
          </c:dPt>
          <c:dPt>
            <c:idx val="177"/>
            <c:invertIfNegative val="1"/>
            <c:bubble3D val="0"/>
            <c:spPr>
              <a:solidFill>
                <a:srgbClr val="7ECAC4"/>
              </a:solidFill>
            </c:spPr>
            <c:extLst>
              <c:ext xmlns:c16="http://schemas.microsoft.com/office/drawing/2014/chart" uri="{C3380CC4-5D6E-409C-BE32-E72D297353CC}">
                <c16:uniqueId val="{00000165-2993-41DE-A2CB-63102DE87051}"/>
              </c:ext>
            </c:extLst>
          </c:dPt>
          <c:dPt>
            <c:idx val="178"/>
            <c:invertIfNegative val="1"/>
            <c:bubble3D val="0"/>
            <c:spPr>
              <a:solidFill>
                <a:srgbClr val="7ECAC4"/>
              </a:solidFill>
            </c:spPr>
            <c:extLst>
              <c:ext xmlns:c16="http://schemas.microsoft.com/office/drawing/2014/chart" uri="{C3380CC4-5D6E-409C-BE32-E72D297353CC}">
                <c16:uniqueId val="{00000167-2993-41DE-A2CB-63102DE87051}"/>
              </c:ext>
            </c:extLst>
          </c:dPt>
          <c:dPt>
            <c:idx val="179"/>
            <c:invertIfNegative val="1"/>
            <c:bubble3D val="0"/>
            <c:spPr>
              <a:solidFill>
                <a:srgbClr val="7ECAC4"/>
              </a:solidFill>
            </c:spPr>
            <c:extLst>
              <c:ext xmlns:c16="http://schemas.microsoft.com/office/drawing/2014/chart" uri="{C3380CC4-5D6E-409C-BE32-E72D297353CC}">
                <c16:uniqueId val="{00000169-2993-41DE-A2CB-63102DE87051}"/>
              </c:ext>
            </c:extLst>
          </c:dPt>
          <c:dPt>
            <c:idx val="180"/>
            <c:invertIfNegative val="1"/>
            <c:bubble3D val="0"/>
            <c:spPr>
              <a:solidFill>
                <a:srgbClr val="7ECAC4"/>
              </a:solidFill>
            </c:spPr>
            <c:extLst>
              <c:ext xmlns:c16="http://schemas.microsoft.com/office/drawing/2014/chart" uri="{C3380CC4-5D6E-409C-BE32-E72D297353CC}">
                <c16:uniqueId val="{0000016B-2993-41DE-A2CB-63102DE87051}"/>
              </c:ext>
            </c:extLst>
          </c:dPt>
          <c:dPt>
            <c:idx val="181"/>
            <c:invertIfNegative val="1"/>
            <c:bubble3D val="0"/>
            <c:spPr>
              <a:solidFill>
                <a:srgbClr val="7ECAC4"/>
              </a:solidFill>
            </c:spPr>
            <c:extLst>
              <c:ext xmlns:c16="http://schemas.microsoft.com/office/drawing/2014/chart" uri="{C3380CC4-5D6E-409C-BE32-E72D297353CC}">
                <c16:uniqueId val="{0000016D-2993-41DE-A2CB-63102DE87051}"/>
              </c:ext>
            </c:extLst>
          </c:dPt>
          <c:dPt>
            <c:idx val="182"/>
            <c:invertIfNegative val="1"/>
            <c:bubble3D val="0"/>
            <c:spPr>
              <a:solidFill>
                <a:srgbClr val="7ECAC4"/>
              </a:solidFill>
            </c:spPr>
            <c:extLst>
              <c:ext xmlns:c16="http://schemas.microsoft.com/office/drawing/2014/chart" uri="{C3380CC4-5D6E-409C-BE32-E72D297353CC}">
                <c16:uniqueId val="{0000016F-2993-41DE-A2CB-63102DE87051}"/>
              </c:ext>
            </c:extLst>
          </c:dPt>
          <c:dPt>
            <c:idx val="183"/>
            <c:invertIfNegative val="1"/>
            <c:bubble3D val="0"/>
            <c:spPr>
              <a:solidFill>
                <a:srgbClr val="7ECAC4"/>
              </a:solidFill>
            </c:spPr>
            <c:extLst>
              <c:ext xmlns:c16="http://schemas.microsoft.com/office/drawing/2014/chart" uri="{C3380CC4-5D6E-409C-BE32-E72D297353CC}">
                <c16:uniqueId val="{00000171-2993-41DE-A2CB-63102DE87051}"/>
              </c:ext>
            </c:extLst>
          </c:dPt>
          <c:dPt>
            <c:idx val="184"/>
            <c:invertIfNegative val="1"/>
            <c:bubble3D val="0"/>
            <c:spPr>
              <a:solidFill>
                <a:srgbClr val="7ECAC4"/>
              </a:solidFill>
            </c:spPr>
            <c:extLst>
              <c:ext xmlns:c16="http://schemas.microsoft.com/office/drawing/2014/chart" uri="{C3380CC4-5D6E-409C-BE32-E72D297353CC}">
                <c16:uniqueId val="{00000173-2993-41DE-A2CB-63102DE87051}"/>
              </c:ext>
            </c:extLst>
          </c:dPt>
          <c:dPt>
            <c:idx val="185"/>
            <c:invertIfNegative val="1"/>
            <c:bubble3D val="0"/>
            <c:spPr>
              <a:solidFill>
                <a:srgbClr val="7ECAC4"/>
              </a:solidFill>
            </c:spPr>
            <c:extLst>
              <c:ext xmlns:c16="http://schemas.microsoft.com/office/drawing/2014/chart" uri="{C3380CC4-5D6E-409C-BE32-E72D297353CC}">
                <c16:uniqueId val="{00000175-2993-41DE-A2CB-63102DE87051}"/>
              </c:ext>
            </c:extLst>
          </c:dPt>
          <c:dPt>
            <c:idx val="186"/>
            <c:invertIfNegative val="1"/>
            <c:bubble3D val="0"/>
            <c:spPr>
              <a:solidFill>
                <a:srgbClr val="7ECAC4"/>
              </a:solidFill>
            </c:spPr>
            <c:extLst>
              <c:ext xmlns:c16="http://schemas.microsoft.com/office/drawing/2014/chart" uri="{C3380CC4-5D6E-409C-BE32-E72D297353CC}">
                <c16:uniqueId val="{00000177-2993-41DE-A2CB-63102DE87051}"/>
              </c:ext>
            </c:extLst>
          </c:dPt>
          <c:dPt>
            <c:idx val="187"/>
            <c:invertIfNegative val="1"/>
            <c:bubble3D val="0"/>
            <c:spPr>
              <a:solidFill>
                <a:srgbClr val="7ECAC4"/>
              </a:solidFill>
            </c:spPr>
            <c:extLst>
              <c:ext xmlns:c16="http://schemas.microsoft.com/office/drawing/2014/chart" uri="{C3380CC4-5D6E-409C-BE32-E72D297353CC}">
                <c16:uniqueId val="{00000179-2993-41DE-A2CB-63102DE87051}"/>
              </c:ext>
            </c:extLst>
          </c:dPt>
          <c:dPt>
            <c:idx val="188"/>
            <c:invertIfNegative val="1"/>
            <c:bubble3D val="0"/>
            <c:spPr>
              <a:solidFill>
                <a:srgbClr val="7ECAC4"/>
              </a:solidFill>
            </c:spPr>
            <c:extLst>
              <c:ext xmlns:c16="http://schemas.microsoft.com/office/drawing/2014/chart" uri="{C3380CC4-5D6E-409C-BE32-E72D297353CC}">
                <c16:uniqueId val="{0000017B-2993-41DE-A2CB-63102DE87051}"/>
              </c:ext>
            </c:extLst>
          </c:dPt>
          <c:dPt>
            <c:idx val="189"/>
            <c:invertIfNegative val="1"/>
            <c:bubble3D val="0"/>
            <c:spPr>
              <a:solidFill>
                <a:srgbClr val="7ECAC4"/>
              </a:solidFill>
            </c:spPr>
            <c:extLst>
              <c:ext xmlns:c16="http://schemas.microsoft.com/office/drawing/2014/chart" uri="{C3380CC4-5D6E-409C-BE32-E72D297353CC}">
                <c16:uniqueId val="{0000017D-2993-41DE-A2CB-63102DE87051}"/>
              </c:ext>
            </c:extLst>
          </c:dPt>
          <c:dPt>
            <c:idx val="190"/>
            <c:invertIfNegative val="1"/>
            <c:bubble3D val="0"/>
            <c:spPr>
              <a:solidFill>
                <a:srgbClr val="7ECAC4"/>
              </a:solidFill>
            </c:spPr>
            <c:extLst>
              <c:ext xmlns:c16="http://schemas.microsoft.com/office/drawing/2014/chart" uri="{C3380CC4-5D6E-409C-BE32-E72D297353CC}">
                <c16:uniqueId val="{0000017F-2993-41DE-A2CB-63102DE87051}"/>
              </c:ext>
            </c:extLst>
          </c:dPt>
          <c:dPt>
            <c:idx val="191"/>
            <c:invertIfNegative val="1"/>
            <c:bubble3D val="0"/>
            <c:spPr>
              <a:solidFill>
                <a:srgbClr val="7ECAC4"/>
              </a:solidFill>
            </c:spPr>
            <c:extLst>
              <c:ext xmlns:c16="http://schemas.microsoft.com/office/drawing/2014/chart" uri="{C3380CC4-5D6E-409C-BE32-E72D297353CC}">
                <c16:uniqueId val="{00000181-2993-41DE-A2CB-63102DE87051}"/>
              </c:ext>
            </c:extLst>
          </c:dPt>
          <c:dPt>
            <c:idx val="192"/>
            <c:invertIfNegative val="1"/>
            <c:bubble3D val="0"/>
            <c:spPr>
              <a:solidFill>
                <a:srgbClr val="7ECAC4"/>
              </a:solidFill>
            </c:spPr>
            <c:extLst>
              <c:ext xmlns:c16="http://schemas.microsoft.com/office/drawing/2014/chart" uri="{C3380CC4-5D6E-409C-BE32-E72D297353CC}">
                <c16:uniqueId val="{00000183-2993-41DE-A2CB-63102DE87051}"/>
              </c:ext>
            </c:extLst>
          </c:dPt>
          <c:dPt>
            <c:idx val="193"/>
            <c:invertIfNegative val="1"/>
            <c:bubble3D val="0"/>
            <c:spPr>
              <a:solidFill>
                <a:srgbClr val="7ECAC4"/>
              </a:solidFill>
            </c:spPr>
            <c:extLst>
              <c:ext xmlns:c16="http://schemas.microsoft.com/office/drawing/2014/chart" uri="{C3380CC4-5D6E-409C-BE32-E72D297353CC}">
                <c16:uniqueId val="{00000185-2993-41DE-A2CB-63102DE87051}"/>
              </c:ext>
            </c:extLst>
          </c:dPt>
          <c:dPt>
            <c:idx val="194"/>
            <c:invertIfNegative val="1"/>
            <c:bubble3D val="0"/>
            <c:spPr>
              <a:solidFill>
                <a:srgbClr val="7ECAC4"/>
              </a:solidFill>
            </c:spPr>
            <c:extLst>
              <c:ext xmlns:c16="http://schemas.microsoft.com/office/drawing/2014/chart" uri="{C3380CC4-5D6E-409C-BE32-E72D297353CC}">
                <c16:uniqueId val="{00000187-2993-41DE-A2CB-63102DE87051}"/>
              </c:ext>
            </c:extLst>
          </c:dPt>
          <c:dPt>
            <c:idx val="195"/>
            <c:invertIfNegative val="1"/>
            <c:bubble3D val="0"/>
            <c:spPr>
              <a:solidFill>
                <a:srgbClr val="7ECAC4"/>
              </a:solidFill>
            </c:spPr>
            <c:extLst>
              <c:ext xmlns:c16="http://schemas.microsoft.com/office/drawing/2014/chart" uri="{C3380CC4-5D6E-409C-BE32-E72D297353CC}">
                <c16:uniqueId val="{00000189-2993-41DE-A2CB-63102DE87051}"/>
              </c:ext>
            </c:extLst>
          </c:dPt>
          <c:dPt>
            <c:idx val="196"/>
            <c:invertIfNegative val="1"/>
            <c:bubble3D val="0"/>
            <c:spPr>
              <a:solidFill>
                <a:srgbClr val="7ECAC4"/>
              </a:solidFill>
            </c:spPr>
            <c:extLst>
              <c:ext xmlns:c16="http://schemas.microsoft.com/office/drawing/2014/chart" uri="{C3380CC4-5D6E-409C-BE32-E72D297353CC}">
                <c16:uniqueId val="{0000018B-2993-41DE-A2CB-63102DE87051}"/>
              </c:ext>
            </c:extLst>
          </c:dPt>
          <c:dPt>
            <c:idx val="197"/>
            <c:invertIfNegative val="1"/>
            <c:bubble3D val="0"/>
            <c:spPr>
              <a:solidFill>
                <a:srgbClr val="7ECAC4"/>
              </a:solidFill>
            </c:spPr>
            <c:extLst>
              <c:ext xmlns:c16="http://schemas.microsoft.com/office/drawing/2014/chart" uri="{C3380CC4-5D6E-409C-BE32-E72D297353CC}">
                <c16:uniqueId val="{0000018D-2993-41DE-A2CB-63102DE87051}"/>
              </c:ext>
            </c:extLst>
          </c:dPt>
          <c:dPt>
            <c:idx val="198"/>
            <c:invertIfNegative val="1"/>
            <c:bubble3D val="0"/>
            <c:spPr>
              <a:solidFill>
                <a:srgbClr val="7ECAC4"/>
              </a:solidFill>
            </c:spPr>
            <c:extLst>
              <c:ext xmlns:c16="http://schemas.microsoft.com/office/drawing/2014/chart" uri="{C3380CC4-5D6E-409C-BE32-E72D297353CC}">
                <c16:uniqueId val="{0000018F-2993-41DE-A2CB-63102DE87051}"/>
              </c:ext>
            </c:extLst>
          </c:dPt>
          <c:dPt>
            <c:idx val="199"/>
            <c:invertIfNegative val="1"/>
            <c:bubble3D val="0"/>
            <c:spPr>
              <a:solidFill>
                <a:srgbClr val="7ECAC4"/>
              </a:solidFill>
            </c:spPr>
            <c:extLst>
              <c:ext xmlns:c16="http://schemas.microsoft.com/office/drawing/2014/chart" uri="{C3380CC4-5D6E-409C-BE32-E72D297353CC}">
                <c16:uniqueId val="{00000191-2993-41DE-A2CB-63102DE87051}"/>
              </c:ext>
            </c:extLst>
          </c:dPt>
          <c:dPt>
            <c:idx val="200"/>
            <c:invertIfNegative val="1"/>
            <c:bubble3D val="0"/>
            <c:spPr>
              <a:solidFill>
                <a:srgbClr val="7ECAC4"/>
              </a:solidFill>
            </c:spPr>
            <c:extLst>
              <c:ext xmlns:c16="http://schemas.microsoft.com/office/drawing/2014/chart" uri="{C3380CC4-5D6E-409C-BE32-E72D297353CC}">
                <c16:uniqueId val="{00000193-2993-41DE-A2CB-63102DE87051}"/>
              </c:ext>
            </c:extLst>
          </c:dPt>
          <c:dPt>
            <c:idx val="201"/>
            <c:invertIfNegative val="1"/>
            <c:bubble3D val="0"/>
            <c:spPr>
              <a:solidFill>
                <a:srgbClr val="7ECAC4"/>
              </a:solidFill>
            </c:spPr>
            <c:extLst>
              <c:ext xmlns:c16="http://schemas.microsoft.com/office/drawing/2014/chart" uri="{C3380CC4-5D6E-409C-BE32-E72D297353CC}">
                <c16:uniqueId val="{00000195-2993-41DE-A2CB-63102DE87051}"/>
              </c:ext>
            </c:extLst>
          </c:dPt>
          <c:dPt>
            <c:idx val="202"/>
            <c:invertIfNegative val="1"/>
            <c:bubble3D val="0"/>
            <c:spPr>
              <a:solidFill>
                <a:srgbClr val="7ECAC4"/>
              </a:solidFill>
            </c:spPr>
            <c:extLst>
              <c:ext xmlns:c16="http://schemas.microsoft.com/office/drawing/2014/chart" uri="{C3380CC4-5D6E-409C-BE32-E72D297353CC}">
                <c16:uniqueId val="{00000197-2993-41DE-A2CB-63102DE87051}"/>
              </c:ext>
            </c:extLst>
          </c:dPt>
          <c:dPt>
            <c:idx val="203"/>
            <c:invertIfNegative val="1"/>
            <c:bubble3D val="0"/>
            <c:spPr>
              <a:solidFill>
                <a:srgbClr val="7ECAC4"/>
              </a:solidFill>
            </c:spPr>
            <c:extLst>
              <c:ext xmlns:c16="http://schemas.microsoft.com/office/drawing/2014/chart" uri="{C3380CC4-5D6E-409C-BE32-E72D297353CC}">
                <c16:uniqueId val="{00000199-2993-41DE-A2CB-63102DE87051}"/>
              </c:ext>
            </c:extLst>
          </c:dPt>
          <c:dPt>
            <c:idx val="204"/>
            <c:invertIfNegative val="1"/>
            <c:bubble3D val="0"/>
            <c:spPr>
              <a:solidFill>
                <a:srgbClr val="7ECAC4"/>
              </a:solidFill>
            </c:spPr>
            <c:extLst>
              <c:ext xmlns:c16="http://schemas.microsoft.com/office/drawing/2014/chart" uri="{C3380CC4-5D6E-409C-BE32-E72D297353CC}">
                <c16:uniqueId val="{0000019B-2993-41DE-A2CB-63102DE87051}"/>
              </c:ext>
            </c:extLst>
          </c:dPt>
          <c:dPt>
            <c:idx val="205"/>
            <c:invertIfNegative val="1"/>
            <c:bubble3D val="0"/>
            <c:spPr>
              <a:solidFill>
                <a:srgbClr val="7ECAC4"/>
              </a:solidFill>
            </c:spPr>
            <c:extLst>
              <c:ext xmlns:c16="http://schemas.microsoft.com/office/drawing/2014/chart" uri="{C3380CC4-5D6E-409C-BE32-E72D297353CC}">
                <c16:uniqueId val="{0000019D-2993-41DE-A2CB-63102DE87051}"/>
              </c:ext>
            </c:extLst>
          </c:dPt>
          <c:dPt>
            <c:idx val="206"/>
            <c:invertIfNegative val="1"/>
            <c:bubble3D val="0"/>
            <c:spPr>
              <a:solidFill>
                <a:srgbClr val="7ECAC4"/>
              </a:solidFill>
            </c:spPr>
            <c:extLst>
              <c:ext xmlns:c16="http://schemas.microsoft.com/office/drawing/2014/chart" uri="{C3380CC4-5D6E-409C-BE32-E72D297353CC}">
                <c16:uniqueId val="{0000019F-2993-41DE-A2CB-63102DE87051}"/>
              </c:ext>
            </c:extLst>
          </c:dPt>
          <c:dPt>
            <c:idx val="207"/>
            <c:invertIfNegative val="1"/>
            <c:bubble3D val="0"/>
            <c:spPr>
              <a:solidFill>
                <a:srgbClr val="7ECAC4"/>
              </a:solidFill>
            </c:spPr>
            <c:extLst>
              <c:ext xmlns:c16="http://schemas.microsoft.com/office/drawing/2014/chart" uri="{C3380CC4-5D6E-409C-BE32-E72D297353CC}">
                <c16:uniqueId val="{000001A1-2993-41DE-A2CB-63102DE87051}"/>
              </c:ext>
            </c:extLst>
          </c:dPt>
          <c:dPt>
            <c:idx val="208"/>
            <c:invertIfNegative val="1"/>
            <c:bubble3D val="0"/>
            <c:spPr>
              <a:solidFill>
                <a:srgbClr val="7ECAC4"/>
              </a:solidFill>
            </c:spPr>
            <c:extLst>
              <c:ext xmlns:c16="http://schemas.microsoft.com/office/drawing/2014/chart" uri="{C3380CC4-5D6E-409C-BE32-E72D297353CC}">
                <c16:uniqueId val="{000001A3-2993-41DE-A2CB-63102DE87051}"/>
              </c:ext>
            </c:extLst>
          </c:dPt>
          <c:dPt>
            <c:idx val="209"/>
            <c:invertIfNegative val="1"/>
            <c:bubble3D val="0"/>
            <c:spPr>
              <a:solidFill>
                <a:srgbClr val="7ECAC4"/>
              </a:solidFill>
            </c:spPr>
            <c:extLst>
              <c:ext xmlns:c16="http://schemas.microsoft.com/office/drawing/2014/chart" uri="{C3380CC4-5D6E-409C-BE32-E72D297353CC}">
                <c16:uniqueId val="{000001A5-2993-41DE-A2CB-63102DE87051}"/>
              </c:ext>
            </c:extLst>
          </c:dPt>
          <c:dPt>
            <c:idx val="210"/>
            <c:spPr>
              <a:solidFill>
                <a:srgbClr val="7ECAC4"/>
              </a:solidFill>
            </c:spPr>
          </c:dPt>
          <c:dPt>
            <c:idx val="211"/>
            <c:spPr>
              <a:solidFill>
                <a:srgbClr val="7ECAC4"/>
              </a:solidFill>
            </c:spPr>
          </c:dPt>
          <c:dPt>
            <c:idx val="212"/>
            <c:spPr>
              <a:solidFill>
                <a:srgbClr val="7ECAC4"/>
              </a:solidFill>
            </c:spPr>
          </c:dPt>
          <c:dPt>
            <c:idx val="213"/>
            <c:spPr>
              <a:solidFill>
                <a:srgbClr val="7ECAC4"/>
              </a:solidFill>
            </c:spPr>
          </c:dPt>
          <c:dPt>
            <c:idx val="214"/>
            <c:spPr>
              <a:solidFill>
                <a:srgbClr val="7ECAC4"/>
              </a:solidFill>
            </c:spPr>
          </c:dPt>
          <c:dPt>
            <c:idx val="215"/>
            <c:spPr>
              <a:solidFill>
                <a:srgbClr val="7ECAC4"/>
              </a:solidFill>
            </c:spPr>
          </c:dPt>
          <c:dPt>
            <c:idx val="216"/>
            <c:spPr>
              <a:solidFill>
                <a:srgbClr val="7ECAC4"/>
              </a:solidFill>
            </c:spPr>
          </c:dPt>
          <c:dPt>
            <c:idx val="217"/>
            <c:spPr>
              <a:solidFill>
                <a:srgbClr val="7ECAC4"/>
              </a:solidFill>
            </c:spPr>
          </c:dPt>
          <c:dPt>
            <c:idx val="218"/>
            <c:spPr>
              <a:solidFill>
                <a:srgbClr val="7ECAC4"/>
              </a:solidFill>
            </c:spPr>
          </c:dPt>
          <c:dPt>
            <c:idx val="219"/>
            <c:spPr>
              <a:solidFill>
                <a:srgbClr val="7ECAC4"/>
              </a:solidFill>
            </c:spPr>
          </c:dPt>
          <c:dPt>
            <c:idx val="220"/>
            <c:spPr>
              <a:solidFill>
                <a:srgbClr val="7ECAC4"/>
              </a:solidFill>
            </c:spPr>
          </c:dPt>
          <c:dPt>
            <c:idx val="221"/>
            <c:spPr>
              <a:solidFill>
                <a:srgbClr val="7ECAC4"/>
              </a:solidFill>
            </c:spPr>
          </c:dPt>
          <c:dPt>
            <c:idx val="222"/>
            <c:spPr>
              <a:solidFill>
                <a:srgbClr val="7ECAC4"/>
              </a:solidFill>
            </c:spPr>
          </c:dPt>
          <c:dPt>
            <c:idx val="223"/>
            <c:spPr>
              <a:solidFill>
                <a:srgbClr val="7ECAC4"/>
              </a:solidFill>
            </c:spPr>
          </c:dPt>
          <c:dPt>
            <c:idx val="224"/>
            <c:spPr>
              <a:solidFill>
                <a:srgbClr val="7ECAC4"/>
              </a:solidFill>
            </c:spPr>
          </c:dPt>
          <c:dPt>
            <c:idx val="225"/>
            <c:spPr>
              <a:solidFill>
                <a:srgbClr val="7ECAC4"/>
              </a:solidFill>
            </c:spPr>
          </c:dPt>
          <c:dPt>
            <c:idx val="226"/>
            <c:spPr>
              <a:solidFill>
                <a:srgbClr val="7ECAC4"/>
              </a:solidFill>
            </c:spPr>
          </c:dPt>
          <c:dPt>
            <c:idx val="227"/>
            <c:spPr>
              <a:solidFill>
                <a:srgbClr val="7ECAC4"/>
              </a:solidFill>
            </c:spPr>
          </c:dPt>
          <c:dPt>
            <c:idx val="228"/>
            <c:spPr>
              <a:solidFill>
                <a:srgbClr val="7ECAC4"/>
              </a:solidFill>
            </c:spPr>
          </c:dPt>
          <c:dPt>
            <c:idx val="229"/>
            <c:spPr>
              <a:solidFill>
                <a:srgbClr val="7ECAC4"/>
              </a:solidFill>
            </c:spPr>
          </c:dPt>
          <c:dPt>
            <c:idx val="230"/>
            <c:spPr>
              <a:solidFill>
                <a:srgbClr val="7ECAC4"/>
              </a:solidFill>
            </c:spPr>
          </c:dPt>
          <c:dPt>
            <c:idx val="231"/>
            <c:spPr>
              <a:solidFill>
                <a:srgbClr val="7ECAC4"/>
              </a:solidFill>
            </c:spPr>
          </c:dPt>
          <c:dPt>
            <c:idx val="232"/>
            <c:spPr>
              <a:solidFill>
                <a:srgbClr val="7ECAC4"/>
              </a:solidFill>
            </c:spPr>
          </c:dPt>
          <c:dPt>
            <c:idx val="233"/>
            <c:spPr>
              <a:solidFill>
                <a:srgbClr val="7ECAC4"/>
              </a:solidFill>
            </c:spPr>
          </c:dPt>
          <c:dPt>
            <c:idx val="234"/>
            <c:spPr>
              <a:solidFill>
                <a:srgbClr val="7ECAC4"/>
              </a:solidFill>
            </c:spPr>
          </c:dPt>
          <c:dPt>
            <c:idx val="235"/>
            <c:spPr>
              <a:solidFill>
                <a:srgbClr val="7ECAC4"/>
              </a:solidFill>
            </c:spPr>
          </c:dPt>
          <c:dPt>
            <c:idx val="236"/>
            <c:spPr>
              <a:solidFill>
                <a:srgbClr val="7ECAC4"/>
              </a:solidFill>
            </c:spPr>
          </c:dPt>
          <c:dPt>
            <c:idx val="237"/>
            <c:spPr>
              <a:solidFill>
                <a:srgbClr val="7ECAC4"/>
              </a:solidFill>
            </c:spPr>
          </c:dPt>
          <c:dPt>
            <c:idx val="238"/>
            <c:spPr>
              <a:solidFill>
                <a:srgbClr val="7ECAC4"/>
              </a:solidFill>
            </c:spPr>
          </c:dPt>
          <c:dPt>
            <c:idx val="239"/>
            <c:spPr>
              <a:solidFill>
                <a:srgbClr val="7ECAC4"/>
              </a:solidFill>
            </c:spPr>
          </c:dPt>
          <c:dPt>
            <c:idx val="240"/>
            <c:spPr>
              <a:solidFill>
                <a:srgbClr val="7ECAC4"/>
              </a:solidFill>
            </c:spPr>
          </c:dPt>
          <c:dPt>
            <c:idx val="241"/>
            <c:spPr>
              <a:solidFill>
                <a:srgbClr val="7ECAC4"/>
              </a:solidFill>
            </c:spPr>
          </c:dPt>
          <c:dPt>
            <c:idx val="242"/>
            <c:spPr>
              <a:solidFill>
                <a:srgbClr val="7ECAC4"/>
              </a:solidFill>
            </c:spPr>
          </c:dPt>
          <c:dPt>
            <c:idx val="243"/>
            <c:spPr>
              <a:solidFill>
                <a:srgbClr val="7ECAC4"/>
              </a:solidFill>
            </c:spPr>
          </c:dPt>
          <c:dPt>
            <c:idx val="244"/>
            <c:spPr>
              <a:solidFill>
                <a:srgbClr val="7ECAC4"/>
              </a:solidFill>
            </c:spPr>
          </c:dPt>
          <c:dPt>
            <c:idx val="245"/>
            <c:spPr>
              <a:solidFill>
                <a:srgbClr val="7ECAC4"/>
              </a:solidFill>
            </c:spPr>
          </c:dPt>
          <c:dPt>
            <c:idx val="246"/>
            <c:spPr>
              <a:solidFill>
                <a:srgbClr val="7ECAC4"/>
              </a:solidFill>
            </c:spPr>
          </c:dPt>
          <c:dPt>
            <c:idx val="247"/>
            <c:spPr>
              <a:solidFill>
                <a:srgbClr val="7ECAC4"/>
              </a:solidFill>
            </c:spPr>
          </c:dPt>
          <c:dPt>
            <c:idx val="248"/>
            <c:spPr>
              <a:solidFill>
                <a:srgbClr val="7ECAC4"/>
              </a:solidFill>
            </c:spPr>
          </c:dPt>
          <c:dPt>
            <c:idx val="249"/>
            <c:spPr>
              <a:solidFill>
                <a:srgbClr val="7ECAC4"/>
              </a:solidFill>
            </c:spPr>
          </c:dPt>
          <c:dPt>
            <c:idx val="250"/>
            <c:spPr>
              <a:solidFill>
                <a:srgbClr val="7ECAC4"/>
              </a:solidFill>
            </c:spPr>
          </c:dPt>
          <c:dPt>
            <c:idx val="251"/>
            <c:spPr>
              <a:solidFill>
                <a:srgbClr val="7ECAC4"/>
              </a:solidFill>
            </c:spPr>
          </c:dPt>
          <c:dPt>
            <c:idx val="252"/>
            <c:spPr>
              <a:solidFill>
                <a:srgbClr val="7ECAC4"/>
              </a:solidFill>
            </c:spPr>
          </c:dPt>
          <c:dPt>
            <c:idx val="253"/>
            <c:spPr>
              <a:solidFill>
                <a:srgbClr val="7ECAC4"/>
              </a:solidFill>
            </c:spPr>
          </c:dPt>
          <c:dPt>
            <c:idx val="254"/>
            <c:spPr>
              <a:solidFill>
                <a:srgbClr val="7ECAC4"/>
              </a:solidFill>
            </c:spPr>
          </c:dPt>
          <c:dPt>
            <c:idx val="255"/>
            <c:spPr>
              <a:solidFill>
                <a:srgbClr val="7ECAC4"/>
              </a:solidFill>
            </c:spPr>
          </c:dPt>
          <c:dPt>
            <c:idx val="256"/>
            <c:spPr>
              <a:solidFill>
                <a:srgbClr val="7ECAC4"/>
              </a:solidFill>
            </c:spPr>
          </c:dPt>
          <c:dPt>
            <c:idx val="257"/>
            <c:spPr>
              <a:solidFill>
                <a:srgbClr val="7ECAC4"/>
              </a:solidFill>
            </c:spPr>
          </c:dPt>
          <c:dPt>
            <c:idx val="258"/>
            <c:spPr>
              <a:solidFill>
                <a:srgbClr val="7ECAC4"/>
              </a:solidFill>
            </c:spPr>
          </c:dPt>
          <c:dPt>
            <c:idx val="259"/>
            <c:spPr>
              <a:solidFill>
                <a:srgbClr val="7ECAC4"/>
              </a:solidFill>
            </c:spPr>
          </c:dPt>
          <c:dPt>
            <c:idx val="260"/>
            <c:spPr>
              <a:solidFill>
                <a:srgbClr val="7ECAC4"/>
              </a:solidFill>
            </c:spPr>
          </c:dPt>
          <c:dPt>
            <c:idx val="261"/>
            <c:spPr>
              <a:solidFill>
                <a:srgbClr val="7ECAC4"/>
              </a:solidFill>
            </c:spPr>
          </c:dPt>
          <c:dPt>
            <c:idx val="262"/>
            <c:spPr>
              <a:solidFill>
                <a:srgbClr val="7ECAC4"/>
              </a:solidFill>
            </c:spPr>
          </c:dPt>
          <c:dPt>
            <c:idx val="263"/>
            <c:spPr>
              <a:solidFill>
                <a:srgbClr val="7ECAC4"/>
              </a:solidFill>
            </c:spPr>
          </c:dPt>
          <c:dPt>
            <c:idx val="264"/>
            <c:spPr>
              <a:solidFill>
                <a:srgbClr val="7ECAC4"/>
              </a:solidFill>
            </c:spPr>
          </c:dPt>
          <c:dPt>
            <c:idx val="265"/>
            <c:spPr>
              <a:solidFill>
                <a:srgbClr val="7ECAC4"/>
              </a:solidFill>
            </c:spPr>
          </c:dPt>
          <c:dPt>
            <c:idx val="266"/>
            <c:spPr>
              <a:solidFill>
                <a:srgbClr val="7ECAC4"/>
              </a:solidFill>
            </c:spPr>
          </c:dPt>
          <c:dPt>
            <c:idx val="267"/>
            <c:spPr>
              <a:solidFill>
                <a:srgbClr val="7ECAC4"/>
              </a:solidFill>
            </c:spPr>
          </c:dPt>
          <c:dPt>
            <c:idx val="268"/>
            <c:spPr>
              <a:solidFill>
                <a:srgbClr val="7ECAC4"/>
              </a:solidFill>
            </c:spPr>
          </c:dPt>
          <c:dPt>
            <c:idx val="269"/>
            <c:spPr>
              <a:solidFill>
                <a:srgbClr val="7ECAC4"/>
              </a:solidFill>
            </c:spPr>
          </c:dPt>
          <c:dPt>
            <c:idx val="270"/>
            <c:spPr>
              <a:solidFill>
                <a:srgbClr val="7ECAC4"/>
              </a:solidFill>
            </c:spPr>
          </c:dPt>
          <c:dPt>
            <c:idx val="271"/>
            <c:spPr>
              <a:solidFill>
                <a:srgbClr val="7ECAC4"/>
              </a:solidFill>
            </c:spPr>
          </c:dPt>
          <c:dPt>
            <c:idx val="272"/>
            <c:spPr>
              <a:solidFill>
                <a:srgbClr val="7ECAC4"/>
              </a:solidFill>
            </c:spPr>
          </c:dPt>
          <c:dPt>
            <c:idx val="273"/>
            <c:spPr>
              <a:solidFill>
                <a:srgbClr val="7ECAC4"/>
              </a:solidFill>
            </c:spPr>
          </c:dPt>
          <c:dPt>
            <c:idx val="274"/>
            <c:spPr>
              <a:solidFill>
                <a:srgbClr val="7ECAC4"/>
              </a:solidFill>
            </c:spPr>
          </c:dPt>
          <c:dPt>
            <c:idx val="275"/>
            <c:spPr>
              <a:solidFill>
                <a:srgbClr val="7ECAC4"/>
              </a:solidFill>
            </c:spPr>
          </c:dPt>
          <c:dPt>
            <c:idx val="276"/>
            <c:spPr>
              <a:solidFill>
                <a:srgbClr val="7ECAC4"/>
              </a:solidFill>
            </c:spPr>
          </c:dPt>
          <c:dPt>
            <c:idx val="277"/>
            <c:spPr>
              <a:solidFill>
                <a:srgbClr val="7ECAC4"/>
              </a:solidFill>
            </c:spPr>
          </c:dPt>
          <c:dPt>
            <c:idx val="278"/>
            <c:spPr>
              <a:solidFill>
                <a:srgbClr val="7ECAC4"/>
              </a:solidFill>
            </c:spPr>
          </c:dPt>
          <c:dPt>
            <c:idx val="279"/>
            <c:spPr>
              <a:solidFill>
                <a:srgbClr val="7ECAC4"/>
              </a:solidFill>
            </c:spPr>
          </c:dPt>
          <c:dPt>
            <c:idx val="280"/>
            <c:spPr>
              <a:solidFill>
                <a:srgbClr val="7ECAC4"/>
              </a:solidFill>
            </c:spPr>
          </c:dPt>
          <c:dPt>
            <c:idx val="281"/>
            <c:spPr>
              <a:solidFill>
                <a:srgbClr val="7ECAC4"/>
              </a:solidFill>
            </c:spPr>
          </c:dPt>
          <c:dPt>
            <c:idx val="282"/>
            <c:spPr>
              <a:solidFill>
                <a:srgbClr val="7ECAC4"/>
              </a:solidFill>
            </c:spPr>
          </c:dPt>
          <c:dPt>
            <c:idx val="283"/>
            <c:spPr>
              <a:solidFill>
                <a:srgbClr val="7ECAC4"/>
              </a:solidFill>
            </c:spPr>
          </c:dPt>
          <c:dPt>
            <c:idx val="284"/>
            <c:spPr>
              <a:solidFill>
                <a:srgbClr val="7ECAC4"/>
              </a:solidFill>
            </c:spPr>
          </c:dPt>
          <c:dPt>
            <c:idx val="285"/>
            <c:spPr>
              <a:solidFill>
                <a:srgbClr val="7ECAC4"/>
              </a:solidFill>
            </c:spPr>
          </c:dPt>
          <c:dPt>
            <c:idx val="286"/>
            <c:spPr>
              <a:solidFill>
                <a:srgbClr val="7ECAC4"/>
              </a:solidFill>
            </c:spPr>
          </c:dPt>
          <c:dPt>
            <c:idx val="287"/>
            <c:spPr>
              <a:solidFill>
                <a:srgbClr val="7ECAC4"/>
              </a:solidFill>
            </c:spPr>
          </c:dPt>
          <c:dPt>
            <c:idx val="288"/>
            <c:spPr>
              <a:solidFill>
                <a:srgbClr val="7ECAC4"/>
              </a:solidFill>
            </c:spPr>
          </c:dPt>
          <c:dPt>
            <c:idx val="289"/>
            <c:spPr>
              <a:solidFill>
                <a:srgbClr val="7ECAC4"/>
              </a:solidFill>
            </c:spPr>
          </c:dPt>
          <c:dPt>
            <c:idx val="290"/>
            <c:spPr>
              <a:solidFill>
                <a:srgbClr val="7ECAC4"/>
              </a:solidFill>
            </c:spPr>
          </c:dPt>
          <c:dPt>
            <c:idx val="291"/>
            <c:spPr>
              <a:solidFill>
                <a:srgbClr val="7ECAC4"/>
              </a:solidFill>
            </c:spPr>
          </c:dPt>
          <c:dPt>
            <c:idx val="292"/>
            <c:spPr>
              <a:solidFill>
                <a:srgbClr val="7ECAC4"/>
              </a:solidFill>
            </c:spPr>
          </c:dPt>
          <c:dPt>
            <c:idx val="293"/>
            <c:spPr>
              <a:solidFill>
                <a:srgbClr val="7ECAC4"/>
              </a:solidFill>
            </c:spPr>
          </c:dPt>
          <c:dPt>
            <c:idx val="294"/>
            <c:spPr>
              <a:solidFill>
                <a:srgbClr val="7ECAC4"/>
              </a:solidFill>
            </c:spPr>
          </c:dPt>
          <c:dPt>
            <c:idx val="295"/>
            <c:spPr>
              <a:solidFill>
                <a:srgbClr val="7ECAC4"/>
              </a:solidFill>
            </c:spPr>
          </c:dPt>
          <c:dPt>
            <c:idx val="296"/>
            <c:spPr>
              <a:solidFill>
                <a:srgbClr val="7ECAC4"/>
              </a:solidFill>
            </c:spPr>
          </c:dPt>
          <c:dPt>
            <c:idx val="297"/>
            <c:spPr>
              <a:solidFill>
                <a:srgbClr val="7ECAC4"/>
              </a:solidFill>
            </c:spPr>
          </c:dPt>
          <c:dPt>
            <c:idx val="298"/>
            <c:spPr>
              <a:solidFill>
                <a:srgbClr val="7ECAC4"/>
              </a:solidFill>
            </c:spPr>
          </c:dPt>
          <c:dPt>
            <c:idx val="299"/>
            <c:spPr>
              <a:solidFill>
                <a:srgbClr val="7ECAC4"/>
              </a:solidFill>
            </c:spPr>
          </c:dPt>
          <c:dPt>
            <c:idx val="300"/>
            <c:spPr>
              <a:solidFill>
                <a:srgbClr val="7ECAC4"/>
              </a:solidFill>
            </c:spPr>
          </c:dPt>
          <c:dPt>
            <c:idx val="301"/>
            <c:spPr>
              <a:solidFill>
                <a:srgbClr val="7ECAC4"/>
              </a:solidFill>
            </c:spPr>
          </c:dPt>
          <c:dPt>
            <c:idx val="302"/>
            <c:spPr>
              <a:solidFill>
                <a:srgbClr val="AEABAB"/>
              </a:solidFill>
            </c:spPr>
          </c:dPt>
          <c:dPt>
            <c:idx val="303"/>
            <c:spPr>
              <a:solidFill>
                <a:srgbClr val="AEABAB"/>
              </a:solidFill>
            </c:spPr>
          </c:dPt>
          <c:dPt>
            <c:idx val="304"/>
            <c:spPr>
              <a:solidFill>
                <a:srgbClr val="AEABAB"/>
              </a:solidFill>
            </c:spPr>
          </c:dPt>
          <c:dPt>
            <c:idx val="305"/>
            <c:spPr>
              <a:solidFill>
                <a:srgbClr val="AEABAB"/>
              </a:solidFill>
            </c:spPr>
          </c:dPt>
          <c:dPt>
            <c:idx val="306"/>
            <c:spPr>
              <a:solidFill>
                <a:srgbClr val="AEABAB"/>
              </a:solidFill>
            </c:spPr>
          </c:dPt>
          <c:dPt>
            <c:idx val="307"/>
            <c:spPr>
              <a:solidFill>
                <a:srgbClr val="AEABAB"/>
              </a:solidFill>
            </c:spPr>
          </c:dPt>
          <c:dPt>
            <c:idx val="308"/>
            <c:spPr>
              <a:solidFill>
                <a:srgbClr val="AEABAB"/>
              </a:solidFill>
            </c:spPr>
          </c:dPt>
          <c:dPt>
            <c:idx val="309"/>
            <c:spPr>
              <a:solidFill>
                <a:srgbClr val="AEABAB"/>
              </a:solidFill>
            </c:spPr>
          </c:dPt>
          <c:dPt>
            <c:idx val="310"/>
            <c:spPr>
              <a:solidFill>
                <a:srgbClr val="AEABAB"/>
              </a:solidFill>
            </c:spPr>
          </c:dPt>
          <c:dPt>
            <c:idx val="311"/>
            <c:spPr>
              <a:solidFill>
                <a:srgbClr val="AEABAB"/>
              </a:solidFill>
            </c:spPr>
          </c:dPt>
          <c:dPt>
            <c:idx val="312"/>
            <c:spPr>
              <a:solidFill>
                <a:srgbClr val="AEABAB"/>
              </a:solidFill>
            </c:spPr>
          </c:dPt>
          <c:dPt>
            <c:idx val="313"/>
            <c:spPr>
              <a:solidFill>
                <a:srgbClr val="AEABAB"/>
              </a:solidFill>
            </c:spPr>
          </c:dPt>
          <c:dPt>
            <c:idx val="314"/>
            <c:spPr>
              <a:solidFill>
                <a:srgbClr val="AEABAB"/>
              </a:solidFill>
            </c:spPr>
          </c:dPt>
          <c:dPt>
            <c:idx val="315"/>
            <c:spPr>
              <a:solidFill>
                <a:srgbClr val="AEABAB"/>
              </a:solidFill>
            </c:spPr>
          </c:dPt>
          <c:dPt>
            <c:idx val="316"/>
            <c:spPr>
              <a:solidFill>
                <a:srgbClr val="AEABAB"/>
              </a:solidFill>
            </c:spPr>
          </c:dPt>
          <c:dPt>
            <c:idx val="317"/>
            <c:spPr>
              <a:solidFill>
                <a:srgbClr val="AEABAB"/>
              </a:solidFill>
            </c:spPr>
          </c:dPt>
          <c:dPt>
            <c:idx val="318"/>
            <c:spPr>
              <a:solidFill>
                <a:srgbClr val="AEABAB"/>
              </a:solidFill>
            </c:spPr>
          </c:dPt>
          <c:dPt>
            <c:idx val="319"/>
            <c:spPr>
              <a:solidFill>
                <a:srgbClr val="AEABAB"/>
              </a:solidFill>
            </c:spPr>
          </c:dPt>
          <c:dPt>
            <c:idx val="320"/>
            <c:spPr>
              <a:solidFill>
                <a:srgbClr val="AEABAB"/>
              </a:solidFill>
            </c:spPr>
          </c:dPt>
          <c:dPt>
            <c:idx val="321"/>
            <c:spPr>
              <a:solidFill>
                <a:srgbClr val="AEABAB"/>
              </a:solidFill>
            </c:spPr>
          </c:dPt>
          <c:dPt>
            <c:idx val="322"/>
            <c:spPr>
              <a:solidFill>
                <a:srgbClr val="AEABAB"/>
              </a:solidFill>
            </c:spPr>
          </c:dPt>
          <c:dPt>
            <c:idx val="323"/>
            <c:spPr>
              <a:solidFill>
                <a:srgbClr val="AEABAB"/>
              </a:solidFill>
            </c:spPr>
          </c:dPt>
          <c:dPt>
            <c:idx val="324"/>
            <c:spPr>
              <a:solidFill>
                <a:srgbClr val="AEABAB"/>
              </a:solidFill>
            </c:spPr>
          </c:dPt>
          <c:dPt>
            <c:idx val="325"/>
            <c:spPr>
              <a:solidFill>
                <a:srgbClr val="AEABAB"/>
              </a:solidFill>
            </c:spPr>
          </c:dPt>
          <c:dPt>
            <c:idx val="326"/>
            <c:spPr>
              <a:solidFill>
                <a:srgbClr val="AEABAB"/>
              </a:solidFill>
            </c:spPr>
          </c:dPt>
          <c:dPt>
            <c:idx val="327"/>
            <c:spPr>
              <a:solidFill>
                <a:srgbClr val="AEABAB"/>
              </a:solidFill>
            </c:spPr>
          </c:dPt>
          <c:dPt>
            <c:idx val="328"/>
            <c:spPr>
              <a:solidFill>
                <a:srgbClr val="AEABAB"/>
              </a:solidFill>
            </c:spPr>
          </c:dPt>
          <c:dPt>
            <c:idx val="329"/>
            <c:spPr>
              <a:solidFill>
                <a:srgbClr val="AEABAB"/>
              </a:solidFill>
            </c:spPr>
          </c:dPt>
          <c:dPt>
            <c:idx val="330"/>
            <c:spPr>
              <a:solidFill>
                <a:srgbClr val="AEABAB"/>
              </a:solidFill>
            </c:spPr>
          </c:dPt>
          <c:dPt>
            <c:idx val="331"/>
            <c:spPr>
              <a:solidFill>
                <a:srgbClr val="AEABAB"/>
              </a:solidFill>
            </c:spPr>
          </c:dPt>
          <c:dPt>
            <c:idx val="332"/>
            <c:spPr>
              <a:solidFill>
                <a:srgbClr val="AEABAB"/>
              </a:solidFill>
            </c:spPr>
          </c:dPt>
          <c:dPt>
            <c:idx val="333"/>
            <c:spPr>
              <a:solidFill>
                <a:srgbClr val="AEABAB"/>
              </a:solidFill>
            </c:spPr>
          </c:dPt>
          <c:dPt>
            <c:idx val="334"/>
            <c:spPr>
              <a:solidFill>
                <a:srgbClr val="AEABAB"/>
              </a:solidFill>
            </c:spPr>
          </c:dPt>
          <c:dPt>
            <c:idx val="335"/>
            <c:spPr>
              <a:solidFill>
                <a:srgbClr val="AEABAB"/>
              </a:solidFill>
            </c:spPr>
          </c:dPt>
          <c:dPt>
            <c:idx val="336"/>
            <c:spPr>
              <a:solidFill>
                <a:srgbClr val="AEABAB"/>
              </a:solidFill>
            </c:spPr>
          </c:dPt>
          <c:dPt>
            <c:idx val="337"/>
            <c:spPr>
              <a:solidFill>
                <a:srgbClr val="AEABAB"/>
              </a:solidFill>
            </c:spPr>
          </c:dPt>
          <c:dPt>
            <c:idx val="338"/>
            <c:spPr>
              <a:solidFill>
                <a:srgbClr val="AEABAB"/>
              </a:solidFill>
            </c:spPr>
          </c:dPt>
          <c:dPt>
            <c:idx val="339"/>
            <c:spPr>
              <a:solidFill>
                <a:srgbClr val="AEABAB"/>
              </a:solidFill>
            </c:spPr>
          </c:dPt>
          <c:dPt>
            <c:idx val="340"/>
            <c:spPr>
              <a:solidFill>
                <a:srgbClr val="AEABAB"/>
              </a:solidFill>
            </c:spPr>
          </c:dPt>
          <c:dPt>
            <c:idx val="341"/>
            <c:spPr>
              <a:solidFill>
                <a:srgbClr val="AEABAB"/>
              </a:solidFill>
            </c:spPr>
          </c:dPt>
          <c:dPt>
            <c:idx val="342"/>
            <c:spPr>
              <a:solidFill>
                <a:srgbClr val="AEABAB"/>
              </a:solidFill>
            </c:spPr>
          </c:dPt>
          <c:dPt>
            <c:idx val="343"/>
            <c:spPr>
              <a:solidFill>
                <a:srgbClr val="AEABAB"/>
              </a:solidFill>
            </c:spPr>
          </c:dPt>
          <c:dPt>
            <c:idx val="344"/>
            <c:spPr>
              <a:solidFill>
                <a:srgbClr val="AEABAB"/>
              </a:solidFill>
            </c:spPr>
          </c:dPt>
          <c:dPt>
            <c:idx val="345"/>
            <c:spPr>
              <a:solidFill>
                <a:srgbClr val="AEABAB"/>
              </a:solidFill>
            </c:spPr>
          </c:dPt>
          <c:dPt>
            <c:idx val="346"/>
            <c:spPr>
              <a:solidFill>
                <a:srgbClr val="AEABAB"/>
              </a:solidFill>
            </c:spPr>
          </c:dPt>
          <c:dPt>
            <c:idx val="347"/>
            <c:spPr>
              <a:solidFill>
                <a:srgbClr val="AEABAB"/>
              </a:solidFill>
            </c:spPr>
          </c:dPt>
          <c:dPt>
            <c:idx val="348"/>
            <c:spPr>
              <a:solidFill>
                <a:srgbClr val="AEABAB"/>
              </a:solidFill>
            </c:spPr>
          </c:dPt>
          <c:dPt>
            <c:idx val="349"/>
            <c:spPr>
              <a:solidFill>
                <a:srgbClr val="AEABAB"/>
              </a:solidFill>
            </c:spPr>
          </c:dPt>
          <c:dPt>
            <c:idx val="350"/>
            <c:spPr>
              <a:solidFill>
                <a:srgbClr val="AEABAB"/>
              </a:solidFill>
            </c:spPr>
          </c:dPt>
          <c:dPt>
            <c:idx val="351"/>
            <c:spPr>
              <a:solidFill>
                <a:srgbClr val="AEABAB"/>
              </a:solidFill>
            </c:spPr>
          </c:dPt>
          <c:dPt>
            <c:idx val="352"/>
            <c:spPr>
              <a:solidFill>
                <a:srgbClr val="AEABAB"/>
              </a:solidFill>
            </c:spPr>
          </c:dPt>
          <c:dPt>
            <c:idx val="353"/>
            <c:spPr>
              <a:solidFill>
                <a:srgbClr val="AEABAB"/>
              </a:solidFill>
            </c:spPr>
          </c:dPt>
          <c:dPt>
            <c:idx val="354"/>
            <c:spPr>
              <a:solidFill>
                <a:srgbClr val="AEABAB"/>
              </a:solidFill>
            </c:spPr>
          </c:dPt>
          <c:dPt>
            <c:idx val="355"/>
            <c:spPr>
              <a:solidFill>
                <a:srgbClr val="AEABAB"/>
              </a:solidFill>
            </c:spPr>
          </c:dPt>
          <c:dPt>
            <c:idx val="356"/>
            <c:spPr>
              <a:solidFill>
                <a:srgbClr val="AEABAB"/>
              </a:solidFill>
            </c:spPr>
          </c:dPt>
          <c:dPt>
            <c:idx val="357"/>
            <c:spPr>
              <a:solidFill>
                <a:srgbClr val="AEABAB"/>
              </a:solidFill>
            </c:spPr>
          </c:dPt>
          <c:dPt>
            <c:idx val="358"/>
            <c:spPr>
              <a:solidFill>
                <a:srgbClr val="AEABAB"/>
              </a:solidFill>
            </c:spPr>
          </c:dPt>
          <c:dPt>
            <c:idx val="359"/>
            <c:spPr>
              <a:solidFill>
                <a:srgbClr val="AEABAB"/>
              </a:solidFill>
            </c:spPr>
          </c:dPt>
          <c:dPt>
            <c:idx val="360"/>
            <c:spPr>
              <a:solidFill>
                <a:srgbClr val="AEABAB"/>
              </a:solidFill>
            </c:spPr>
          </c:dPt>
          <c:dPt>
            <c:idx val="361"/>
            <c:spPr>
              <a:solidFill>
                <a:srgbClr val="AEABAB"/>
              </a:solidFill>
            </c:spPr>
          </c:dPt>
          <c:dPt>
            <c:idx val="362"/>
            <c:spPr>
              <a:solidFill>
                <a:srgbClr val="AEABAB"/>
              </a:solidFill>
            </c:spPr>
          </c:dPt>
          <c:dPt>
            <c:idx val="363"/>
            <c:spPr>
              <a:solidFill>
                <a:srgbClr val="AEABAB"/>
              </a:solidFill>
            </c:spPr>
          </c:dPt>
          <c:dPt>
            <c:idx val="364"/>
            <c:spPr>
              <a:solidFill>
                <a:srgbClr val="AEABAB"/>
              </a:solidFill>
            </c:spPr>
          </c:dPt>
          <c:dPt>
            <c:idx val="365"/>
            <c:spPr>
              <a:solidFill>
                <a:srgbClr val="AEABAB"/>
              </a:solidFill>
            </c:spPr>
          </c:dPt>
          <c:dPt>
            <c:idx val="366"/>
            <c:spPr>
              <a:solidFill>
                <a:srgbClr val="AEABAB"/>
              </a:solidFill>
            </c:spPr>
          </c:dPt>
          <c:dPt>
            <c:idx val="367"/>
            <c:spPr>
              <a:solidFill>
                <a:srgbClr val="AEABAB"/>
              </a:solidFill>
            </c:spPr>
          </c:dPt>
          <c:dPt>
            <c:idx val="368"/>
            <c:spPr>
              <a:solidFill>
                <a:srgbClr val="AEABAB"/>
              </a:solidFill>
            </c:spPr>
          </c:dPt>
          <c:dPt>
            <c:idx val="369"/>
            <c:spPr>
              <a:solidFill>
                <a:srgbClr val="AEABAB"/>
              </a:solidFill>
            </c:spPr>
          </c:dPt>
          <c:dPt>
            <c:idx val="370"/>
            <c:spPr>
              <a:solidFill>
                <a:srgbClr val="AEABAB"/>
              </a:solidFill>
            </c:spPr>
          </c:dPt>
          <c:dPt>
            <c:idx val="371"/>
            <c:spPr>
              <a:solidFill>
                <a:srgbClr val="AEABAB"/>
              </a:solidFill>
            </c:spPr>
          </c:dPt>
          <c:dPt>
            <c:idx val="372"/>
            <c:spPr>
              <a:solidFill>
                <a:srgbClr val="AEABAB"/>
              </a:solidFill>
            </c:spPr>
          </c:dPt>
          <c:dPt>
            <c:idx val="373"/>
            <c:spPr>
              <a:solidFill>
                <a:srgbClr val="AEABAB"/>
              </a:solidFill>
            </c:spPr>
          </c:dPt>
          <c:dPt>
            <c:idx val="374"/>
            <c:spPr>
              <a:solidFill>
                <a:srgbClr val="AEABAB"/>
              </a:solidFill>
            </c:spPr>
          </c:dPt>
          <c:dPt>
            <c:idx val="375"/>
            <c:spPr>
              <a:solidFill>
                <a:srgbClr val="AEABAB"/>
              </a:solidFill>
            </c:spPr>
          </c:dPt>
          <c:dPt>
            <c:idx val="376"/>
            <c:spPr>
              <a:solidFill>
                <a:srgbClr val="AEABAB"/>
              </a:solidFill>
            </c:spPr>
          </c:dPt>
          <c:dPt>
            <c:idx val="377"/>
            <c:spPr>
              <a:solidFill>
                <a:srgbClr val="AEABAB"/>
              </a:solidFill>
            </c:spPr>
          </c:dPt>
          <c:dPt>
            <c:idx val="378"/>
            <c:spPr>
              <a:solidFill>
                <a:srgbClr val="AEABAB"/>
              </a:solidFill>
            </c:spPr>
          </c:dPt>
          <c:dPt>
            <c:idx val="379"/>
            <c:spPr>
              <a:solidFill>
                <a:srgbClr val="AEABAB"/>
              </a:solidFill>
            </c:spPr>
          </c:dPt>
          <c:dPt>
            <c:idx val="380"/>
            <c:spPr>
              <a:solidFill>
                <a:srgbClr val="AEABAB"/>
              </a:solidFill>
            </c:spPr>
          </c:dPt>
          <c:dPt>
            <c:idx val="381"/>
            <c:spPr>
              <a:solidFill>
                <a:srgbClr val="AEABAB"/>
              </a:solidFill>
            </c:spPr>
          </c:dPt>
          <c:dPt>
            <c:idx val="382"/>
            <c:spPr>
              <a:solidFill>
                <a:srgbClr val="AEABAB"/>
              </a:solidFill>
            </c:spPr>
          </c:dPt>
          <c:dPt>
            <c:idx val="383"/>
            <c:spPr>
              <a:solidFill>
                <a:srgbClr val="AEABAB"/>
              </a:solidFill>
            </c:spPr>
          </c:dPt>
          <c:dPt>
            <c:idx val="384"/>
            <c:spPr>
              <a:solidFill>
                <a:srgbClr val="AEABAB"/>
              </a:solidFill>
            </c:spPr>
          </c:dPt>
          <c:dPt>
            <c:idx val="385"/>
            <c:spPr>
              <a:solidFill>
                <a:srgbClr val="AEABAB"/>
              </a:solidFill>
            </c:spPr>
          </c:dPt>
          <c:dPt>
            <c:idx val="386"/>
            <c:spPr>
              <a:solidFill>
                <a:srgbClr val="AEABAB"/>
              </a:solidFill>
            </c:spPr>
          </c:dPt>
          <c:dPt>
            <c:idx val="387"/>
            <c:spPr>
              <a:solidFill>
                <a:srgbClr val="AEABAB"/>
              </a:solidFill>
            </c:spPr>
          </c:dPt>
          <c:dPt>
            <c:idx val="388"/>
            <c:spPr>
              <a:solidFill>
                <a:srgbClr val="AEABAB"/>
              </a:solidFill>
            </c:spPr>
          </c:dPt>
          <c:dPt>
            <c:idx val="389"/>
            <c:spPr>
              <a:solidFill>
                <a:srgbClr val="AEABAB"/>
              </a:solidFill>
            </c:spPr>
          </c:dPt>
          <c:dPt>
            <c:idx val="390"/>
            <c:spPr>
              <a:solidFill>
                <a:srgbClr val="AEABAB"/>
              </a:solidFill>
            </c:spPr>
          </c:dPt>
          <c:dPt>
            <c:idx val="391"/>
            <c:spPr>
              <a:solidFill>
                <a:srgbClr val="AEABAB"/>
              </a:solidFill>
            </c:spPr>
          </c:dPt>
          <c:dPt>
            <c:idx val="392"/>
            <c:spPr>
              <a:solidFill>
                <a:srgbClr val="AEABAB"/>
              </a:solidFill>
            </c:spPr>
          </c:dPt>
          <c:dPt>
            <c:idx val="393"/>
            <c:spPr>
              <a:solidFill>
                <a:srgbClr val="AEABAB"/>
              </a:solidFill>
            </c:spPr>
          </c:dPt>
          <c:dPt>
            <c:idx val="394"/>
            <c:spPr>
              <a:solidFill>
                <a:srgbClr val="AEABAB"/>
              </a:solidFill>
            </c:spPr>
          </c:dPt>
          <c:dPt>
            <c:idx val="395"/>
            <c:spPr>
              <a:solidFill>
                <a:srgbClr val="AEABAB"/>
              </a:solidFill>
            </c:spPr>
          </c:dPt>
          <c:dPt>
            <c:idx val="396"/>
            <c:spPr>
              <a:solidFill>
                <a:srgbClr val="AEABAB"/>
              </a:solidFill>
            </c:spPr>
          </c:dPt>
          <c:dPt>
            <c:idx val="397"/>
            <c:spPr>
              <a:solidFill>
                <a:srgbClr val="AEABAB"/>
              </a:solidFill>
            </c:spPr>
          </c:dPt>
          <c:dPt>
            <c:idx val="398"/>
            <c:spPr>
              <a:solidFill>
                <a:srgbClr val="AEABAB"/>
              </a:solidFill>
            </c:spPr>
          </c:dPt>
          <c:dPt>
            <c:idx val="399"/>
            <c:spPr>
              <a:solidFill>
                <a:srgbClr val="AEABAB"/>
              </a:solidFill>
            </c:spPr>
          </c:dPt>
          <c:dPt>
            <c:idx val="400"/>
            <c:spPr>
              <a:solidFill>
                <a:srgbClr val="AEABAB"/>
              </a:solidFill>
            </c:spPr>
          </c:dPt>
          <c:dPt>
            <c:idx val="401"/>
            <c:spPr>
              <a:solidFill>
                <a:srgbClr val="AEABAB"/>
              </a:solidFill>
            </c:spPr>
          </c:dPt>
          <c:dPt>
            <c:idx val="402"/>
            <c:spPr>
              <a:solidFill>
                <a:srgbClr val="AEABAB"/>
              </a:solidFill>
            </c:spPr>
          </c:dPt>
          <c:dPt>
            <c:idx val="403"/>
            <c:spPr>
              <a:solidFill>
                <a:srgbClr val="AEABAB"/>
              </a:solidFill>
            </c:spPr>
          </c:dPt>
          <c:dPt>
            <c:idx val="404"/>
            <c:spPr>
              <a:solidFill>
                <a:srgbClr val="AEABAB"/>
              </a:solidFill>
            </c:spPr>
          </c:dPt>
          <c:dPt>
            <c:idx val="405"/>
            <c:spPr>
              <a:solidFill>
                <a:srgbClr val="AEABAB"/>
              </a:solidFill>
            </c:spPr>
          </c:dPt>
          <c:dPt>
            <c:idx val="406"/>
            <c:spPr>
              <a:solidFill>
                <a:srgbClr val="AEABAB"/>
              </a:solidFill>
            </c:spPr>
          </c:dPt>
          <c:dPt>
            <c:idx val="407"/>
            <c:spPr>
              <a:solidFill>
                <a:srgbClr val="AEABAB"/>
              </a:solidFill>
            </c:spPr>
          </c:dPt>
          <c:dPt>
            <c:idx val="408"/>
            <c:spPr>
              <a:solidFill>
                <a:srgbClr val="AEABAB"/>
              </a:solidFill>
            </c:spPr>
          </c:dPt>
          <c:dPt>
            <c:idx val="409"/>
            <c:spPr>
              <a:solidFill>
                <a:srgbClr val="AEABAB"/>
              </a:solidFill>
            </c:spPr>
          </c:dPt>
          <c:dPt>
            <c:idx val="410"/>
            <c:spPr>
              <a:solidFill>
                <a:srgbClr val="AEABAB"/>
              </a:solidFill>
            </c:spPr>
          </c:dPt>
          <c:dPt>
            <c:idx val="411"/>
            <c:spPr>
              <a:solidFill>
                <a:srgbClr val="AEABAB"/>
              </a:solidFill>
            </c:spPr>
          </c:dPt>
          <c:dPt>
            <c:idx val="412"/>
            <c:spPr>
              <a:solidFill>
                <a:srgbClr val="AEABAB"/>
              </a:solidFill>
            </c:spPr>
          </c:dPt>
          <c:dPt>
            <c:idx val="413"/>
            <c:spPr>
              <a:solidFill>
                <a:srgbClr val="AEABAB"/>
              </a:solidFill>
            </c:spPr>
          </c:dPt>
          <c:dPt>
            <c:idx val="414"/>
            <c:spPr>
              <a:solidFill>
                <a:srgbClr val="AEABAB"/>
              </a:solidFill>
            </c:spPr>
          </c:dPt>
          <c:dPt>
            <c:idx val="415"/>
            <c:spPr>
              <a:solidFill>
                <a:srgbClr val="AEABAB"/>
              </a:solidFill>
            </c:spPr>
          </c:dPt>
          <c:dPt>
            <c:idx val="416"/>
            <c:spPr>
              <a:solidFill>
                <a:srgbClr val="AEABAB"/>
              </a:solidFill>
            </c:spPr>
          </c:dPt>
          <c:dPt>
            <c:idx val="417"/>
            <c:spPr>
              <a:solidFill>
                <a:srgbClr val="AEABAB"/>
              </a:solidFill>
            </c:spPr>
          </c:dPt>
          <c:dPt>
            <c:idx val="418"/>
            <c:spPr>
              <a:solidFill>
                <a:srgbClr val="AEABAB"/>
              </a:solidFill>
            </c:spPr>
          </c:dPt>
          <c:dPt>
            <c:idx val="419"/>
            <c:spPr>
              <a:solidFill>
                <a:srgbClr val="AEABAB"/>
              </a:solidFill>
            </c:spPr>
          </c:dPt>
          <c:dPt>
            <c:idx val="420"/>
            <c:spPr>
              <a:solidFill>
                <a:srgbClr val="AEABAB"/>
              </a:solidFill>
            </c:spPr>
          </c:dPt>
          <c:dPt>
            <c:idx val="421"/>
            <c:spPr>
              <a:solidFill>
                <a:srgbClr val="AEABAB"/>
              </a:solidFill>
            </c:spPr>
          </c:dPt>
          <c:dPt>
            <c:idx val="422"/>
            <c:spPr>
              <a:solidFill>
                <a:srgbClr val="AEABAB"/>
              </a:solidFill>
            </c:spPr>
          </c:dPt>
          <c:dPt>
            <c:idx val="423"/>
            <c:spPr>
              <a:solidFill>
                <a:srgbClr val="AEABAB"/>
              </a:solidFill>
            </c:spPr>
          </c:dPt>
          <c:dPt>
            <c:idx val="424"/>
            <c:spPr>
              <a:solidFill>
                <a:srgbClr val="AEABAB"/>
              </a:solidFill>
            </c:spPr>
          </c:dPt>
          <c:dPt>
            <c:idx val="425"/>
            <c:spPr>
              <a:solidFill>
                <a:srgbClr val="AEABAB"/>
              </a:solidFill>
            </c:spPr>
          </c:dPt>
          <c:dPt>
            <c:idx val="426"/>
            <c:spPr>
              <a:solidFill>
                <a:srgbClr val="AEABAB"/>
              </a:solidFill>
            </c:spPr>
          </c:dPt>
          <c:dPt>
            <c:idx val="427"/>
            <c:spPr>
              <a:solidFill>
                <a:srgbClr val="AEABAB"/>
              </a:solidFill>
            </c:spPr>
          </c:dPt>
          <c:dPt>
            <c:idx val="428"/>
            <c:spPr>
              <a:solidFill>
                <a:srgbClr val="AEABAB"/>
              </a:solidFill>
            </c:spPr>
          </c:dPt>
          <c:dPt>
            <c:idx val="429"/>
            <c:spPr>
              <a:solidFill>
                <a:srgbClr val="AEABAB"/>
              </a:solidFill>
            </c:spPr>
          </c:dPt>
          <c:dPt>
            <c:idx val="430"/>
            <c:spPr>
              <a:solidFill>
                <a:srgbClr val="AEABAB"/>
              </a:solidFill>
            </c:spPr>
          </c:dPt>
          <c:dPt>
            <c:idx val="431"/>
            <c:spPr>
              <a:solidFill>
                <a:srgbClr val="AEABAB"/>
              </a:solidFill>
            </c:spPr>
          </c:dPt>
          <c:dPt>
            <c:idx val="432"/>
            <c:spPr>
              <a:solidFill>
                <a:srgbClr val="AEABAB"/>
              </a:solidFill>
            </c:spPr>
          </c:dPt>
          <c:dPt>
            <c:idx val="433"/>
            <c:spPr>
              <a:solidFill>
                <a:srgbClr val="AEABAB"/>
              </a:solidFill>
            </c:spPr>
          </c:dPt>
          <c:dPt>
            <c:idx val="434"/>
            <c:spPr>
              <a:solidFill>
                <a:srgbClr val="AEABAB"/>
              </a:solidFill>
            </c:spPr>
          </c:dPt>
          <c:dPt>
            <c:idx val="435"/>
            <c:spPr>
              <a:solidFill>
                <a:srgbClr val="AEABAB"/>
              </a:solidFill>
            </c:spPr>
          </c:dPt>
          <c:dPt>
            <c:idx val="436"/>
            <c:spPr>
              <a:solidFill>
                <a:srgbClr val="AEABAB"/>
              </a:solidFill>
            </c:spPr>
          </c:dPt>
          <c:dPt>
            <c:idx val="437"/>
            <c:spPr>
              <a:solidFill>
                <a:srgbClr val="AEABAB"/>
              </a:solidFill>
            </c:spPr>
          </c:dPt>
          <c:dPt>
            <c:idx val="438"/>
            <c:spPr>
              <a:solidFill>
                <a:srgbClr val="AEABAB"/>
              </a:solidFill>
            </c:spPr>
          </c:dPt>
          <c:dPt>
            <c:idx val="439"/>
            <c:spPr>
              <a:solidFill>
                <a:srgbClr val="AEABAB"/>
              </a:solidFill>
            </c:spPr>
          </c:dPt>
          <c:dPt>
            <c:idx val="440"/>
            <c:spPr>
              <a:solidFill>
                <a:srgbClr val="AEABAB"/>
              </a:solidFill>
            </c:spPr>
          </c:dPt>
          <c:dPt>
            <c:idx val="441"/>
            <c:spPr>
              <a:solidFill>
                <a:srgbClr val="AEABAB"/>
              </a:solidFill>
            </c:spPr>
          </c:dPt>
          <c:dPt>
            <c:idx val="442"/>
            <c:spPr>
              <a:solidFill>
                <a:srgbClr val="AEABAB"/>
              </a:solidFill>
            </c:spPr>
          </c:dPt>
          <c:dPt>
            <c:idx val="443"/>
            <c:spPr>
              <a:solidFill>
                <a:srgbClr val="AEABAB"/>
              </a:solidFill>
            </c:spPr>
          </c:dPt>
          <c:dPt>
            <c:idx val="444"/>
            <c:spPr>
              <a:solidFill>
                <a:srgbClr val="AEABAB"/>
              </a:solidFill>
            </c:spPr>
          </c:dPt>
          <c:dPt>
            <c:idx val="445"/>
            <c:spPr>
              <a:solidFill>
                <a:srgbClr val="AEABAB"/>
              </a:solidFill>
            </c:spPr>
          </c:dPt>
          <c:dPt>
            <c:idx val="446"/>
            <c:spPr>
              <a:solidFill>
                <a:srgbClr val="AEABAB"/>
              </a:solidFill>
            </c:spPr>
          </c:dPt>
          <c:dPt>
            <c:idx val="447"/>
            <c:spPr>
              <a:solidFill>
                <a:srgbClr val="AEABAB"/>
              </a:solidFill>
            </c:spPr>
          </c:dPt>
          <c:dPt>
            <c:idx val="448"/>
            <c:spPr>
              <a:solidFill>
                <a:srgbClr val="AEABAB"/>
              </a:solidFill>
            </c:spPr>
          </c:dPt>
          <c:dPt>
            <c:idx val="449"/>
            <c:spPr>
              <a:solidFill>
                <a:srgbClr val="AEABAB"/>
              </a:solidFill>
            </c:spPr>
          </c:dPt>
          <c:dPt>
            <c:idx val="450"/>
            <c:spPr>
              <a:solidFill>
                <a:srgbClr val="AEABAB"/>
              </a:solidFill>
            </c:spPr>
          </c:dPt>
          <c:dPt>
            <c:idx val="451"/>
            <c:spPr>
              <a:solidFill>
                <a:srgbClr val="AEABAB"/>
              </a:solidFill>
            </c:spPr>
          </c:dPt>
          <c:dPt>
            <c:idx val="452"/>
            <c:spPr>
              <a:solidFill>
                <a:srgbClr val="AEABAB"/>
              </a:solidFill>
            </c:spPr>
          </c:dPt>
          <c:dPt>
            <c:idx val="453"/>
            <c:spPr>
              <a:solidFill>
                <a:srgbClr val="AEABAB"/>
              </a:solidFill>
            </c:spPr>
          </c:dPt>
          <c:dPt>
            <c:idx val="454"/>
            <c:spPr>
              <a:solidFill>
                <a:srgbClr val="AEABAB"/>
              </a:solidFill>
            </c:spPr>
          </c:dPt>
          <c:dPt>
            <c:idx val="455"/>
            <c:spPr>
              <a:solidFill>
                <a:srgbClr val="AEABAB"/>
              </a:solidFill>
            </c:spPr>
          </c:dPt>
          <c:dPt>
            <c:idx val="456"/>
            <c:spPr>
              <a:solidFill>
                <a:srgbClr val="AEABAB"/>
              </a:solidFill>
            </c:spPr>
          </c:dPt>
          <c:dPt>
            <c:idx val="457"/>
            <c:spPr>
              <a:solidFill>
                <a:srgbClr val="AEABAB"/>
              </a:solidFill>
            </c:spPr>
          </c:dPt>
          <c:dPt>
            <c:idx val="458"/>
            <c:spPr>
              <a:solidFill>
                <a:srgbClr val="AEABAB"/>
              </a:solidFill>
            </c:spPr>
          </c:dPt>
          <c:dPt>
            <c:idx val="459"/>
            <c:spPr>
              <a:solidFill>
                <a:srgbClr val="AEABAB"/>
              </a:solidFill>
            </c:spPr>
          </c:dPt>
          <c:dPt>
            <c:idx val="460"/>
            <c:spPr>
              <a:solidFill>
                <a:srgbClr val="AEABAB"/>
              </a:solidFill>
            </c:spPr>
          </c:dPt>
          <c:dPt>
            <c:idx val="461"/>
            <c:spPr>
              <a:solidFill>
                <a:srgbClr val="AEABAB"/>
              </a:solidFill>
            </c:spPr>
          </c:dPt>
          <c:dPt>
            <c:idx val="462"/>
            <c:spPr>
              <a:solidFill>
                <a:srgbClr val="AEABAB"/>
              </a:solidFill>
            </c:spPr>
          </c:dPt>
          <c:dPt>
            <c:idx val="463"/>
            <c:spPr>
              <a:solidFill>
                <a:srgbClr val="AEABAB"/>
              </a:solidFill>
            </c:spPr>
          </c:dPt>
          <c:dPt>
            <c:idx val="464"/>
            <c:spPr>
              <a:solidFill>
                <a:srgbClr val="AEABAB"/>
              </a:solidFill>
            </c:spPr>
          </c:dPt>
          <c:dPt>
            <c:idx val="465"/>
            <c:spPr>
              <a:solidFill>
                <a:srgbClr val="AEABAB"/>
              </a:solidFill>
            </c:spPr>
          </c:dPt>
          <c:dPt>
            <c:idx val="466"/>
            <c:spPr>
              <a:solidFill>
                <a:srgbClr val="AEABAB"/>
              </a:solidFill>
            </c:spPr>
          </c:dPt>
          <c:dPt>
            <c:idx val="467"/>
            <c:spPr>
              <a:solidFill>
                <a:srgbClr val="AEABAB"/>
              </a:solidFill>
            </c:spPr>
          </c:dPt>
          <c:dPt>
            <c:idx val="468"/>
            <c:spPr>
              <a:solidFill>
                <a:srgbClr val="AEABAB"/>
              </a:solidFill>
            </c:spPr>
          </c:dPt>
          <c:dPt>
            <c:idx val="469"/>
            <c:spPr>
              <a:solidFill>
                <a:srgbClr val="AEABAB"/>
              </a:solidFill>
            </c:spPr>
          </c:dPt>
          <c:dPt>
            <c:idx val="470"/>
            <c:spPr>
              <a:solidFill>
                <a:srgbClr val="AEABAB"/>
              </a:solidFill>
            </c:spPr>
          </c:dPt>
          <c:dPt>
            <c:idx val="471"/>
            <c:spPr>
              <a:solidFill>
                <a:srgbClr val="AEABAB"/>
              </a:solidFill>
            </c:spPr>
          </c:dPt>
          <c:dPt>
            <c:idx val="472"/>
            <c:spPr>
              <a:solidFill>
                <a:srgbClr val="AEABAB"/>
              </a:solidFill>
            </c:spPr>
          </c:dPt>
          <c:dPt>
            <c:idx val="473"/>
            <c:spPr>
              <a:solidFill>
                <a:srgbClr val="AEABAB"/>
              </a:solidFill>
            </c:spPr>
          </c:dPt>
          <c:dPt>
            <c:idx val="474"/>
            <c:spPr>
              <a:solidFill>
                <a:srgbClr val="AEABAB"/>
              </a:solidFill>
            </c:spPr>
          </c:dPt>
          <c:dPt>
            <c:idx val="475"/>
            <c:spPr>
              <a:solidFill>
                <a:srgbClr val="AEABAB"/>
              </a:solidFill>
            </c:spPr>
          </c:dPt>
          <c:dPt>
            <c:idx val="476"/>
            <c:spPr>
              <a:solidFill>
                <a:srgbClr val="AEABAB"/>
              </a:solidFill>
            </c:spPr>
          </c:dPt>
          <c:dPt>
            <c:idx val="477"/>
            <c:spPr>
              <a:solidFill>
                <a:srgbClr val="AEABAB"/>
              </a:solidFill>
            </c:spPr>
          </c:dPt>
          <c:dPt>
            <c:idx val="478"/>
            <c:spPr>
              <a:solidFill>
                <a:srgbClr val="AEABAB"/>
              </a:solidFill>
            </c:spPr>
          </c:dPt>
          <c:dPt>
            <c:idx val="479"/>
            <c:spPr>
              <a:solidFill>
                <a:srgbClr val="AEABAB"/>
              </a:solidFill>
            </c:spPr>
          </c:dPt>
          <c:dPt>
            <c:idx val="480"/>
            <c:spPr>
              <a:solidFill>
                <a:srgbClr val="AEABAB"/>
              </a:solidFill>
            </c:spPr>
          </c:dPt>
          <c:dPt>
            <c:idx val="481"/>
            <c:spPr>
              <a:solidFill>
                <a:srgbClr val="AEABAB"/>
              </a:solidFill>
            </c:spPr>
          </c:dPt>
          <c:dPt>
            <c:idx val="482"/>
            <c:spPr>
              <a:solidFill>
                <a:srgbClr val="AEABAB"/>
              </a:solidFill>
            </c:spPr>
          </c:dPt>
          <c:dPt>
            <c:idx val="483"/>
            <c:spPr>
              <a:solidFill>
                <a:srgbClr val="AEABAB"/>
              </a:solidFill>
            </c:spPr>
          </c:dPt>
          <c:dPt>
            <c:idx val="484"/>
            <c:spPr>
              <a:solidFill>
                <a:srgbClr val="AEABAB"/>
              </a:solidFill>
            </c:spPr>
          </c:dPt>
          <c:dPt>
            <c:idx val="485"/>
            <c:spPr>
              <a:solidFill>
                <a:srgbClr val="AEABAB"/>
              </a:solidFill>
            </c:spPr>
          </c:dPt>
          <c:dPt>
            <c:idx val="486"/>
            <c:spPr>
              <a:solidFill>
                <a:srgbClr val="AEABAB"/>
              </a:solidFill>
            </c:spPr>
          </c:dPt>
          <c:dPt>
            <c:idx val="487"/>
            <c:spPr>
              <a:solidFill>
                <a:srgbClr val="AEABAB"/>
              </a:solidFill>
            </c:spPr>
          </c:dPt>
          <c:dPt>
            <c:idx val="488"/>
            <c:spPr>
              <a:solidFill>
                <a:srgbClr val="AEABAB"/>
              </a:solidFill>
            </c:spPr>
          </c:dPt>
          <c:dPt>
            <c:idx val="489"/>
            <c:spPr>
              <a:solidFill>
                <a:srgbClr val="AEABAB"/>
              </a:solidFill>
            </c:spPr>
          </c:dPt>
          <c:dPt>
            <c:idx val="490"/>
            <c:spPr>
              <a:solidFill>
                <a:srgbClr val="AEABAB"/>
              </a:solidFill>
            </c:spPr>
          </c:dPt>
          <c:dPt>
            <c:idx val="491"/>
            <c:spPr>
              <a:solidFill>
                <a:srgbClr val="AEABAB"/>
              </a:solidFill>
            </c:spPr>
          </c:dPt>
          <c:dPt>
            <c:idx val="492"/>
            <c:spPr>
              <a:solidFill>
                <a:srgbClr val="AEABAB"/>
              </a:solidFill>
            </c:spPr>
          </c:dPt>
          <c:dPt>
            <c:idx val="493"/>
            <c:spPr>
              <a:solidFill>
                <a:srgbClr val="AEABAB"/>
              </a:solidFill>
            </c:spPr>
          </c:dPt>
          <c:dPt>
            <c:idx val="494"/>
            <c:spPr>
              <a:solidFill>
                <a:srgbClr val="AEABAB"/>
              </a:solidFill>
            </c:spPr>
          </c:dPt>
          <c:dPt>
            <c:idx val="495"/>
            <c:spPr>
              <a:solidFill>
                <a:srgbClr val="AEABAB"/>
              </a:solidFill>
            </c:spPr>
          </c:dPt>
          <c:dPt>
            <c:idx val="496"/>
            <c:spPr>
              <a:solidFill>
                <a:srgbClr val="AEABAB"/>
              </a:solidFill>
            </c:spPr>
          </c:dPt>
          <c:dPt>
            <c:idx val="497"/>
            <c:spPr>
              <a:solidFill>
                <a:srgbClr val="AEABAB"/>
              </a:solidFill>
            </c:spPr>
          </c:dPt>
          <c:dPt>
            <c:idx val="498"/>
            <c:spPr>
              <a:solidFill>
                <a:srgbClr val="AEABAB"/>
              </a:solidFill>
            </c:spPr>
          </c:dPt>
          <c:dPt>
            <c:idx val="499"/>
            <c:spPr>
              <a:solidFill>
                <a:srgbClr val="AEABAB"/>
              </a:solidFill>
            </c:spPr>
          </c:dPt>
          <c:dPt>
            <c:idx val="500"/>
            <c:spPr>
              <a:solidFill>
                <a:srgbClr val="AEABAB"/>
              </a:solidFill>
            </c:spPr>
          </c:dPt>
          <c:dPt>
            <c:idx val="501"/>
            <c:spPr>
              <a:solidFill>
                <a:srgbClr val="AEABAB"/>
              </a:solidFill>
            </c:spPr>
          </c:dPt>
          <c:dPt>
            <c:idx val="502"/>
            <c:spPr>
              <a:solidFill>
                <a:srgbClr val="AEABAB"/>
              </a:solidFill>
            </c:spPr>
          </c:dPt>
          <c:dPt>
            <c:idx val="503"/>
            <c:spPr>
              <a:solidFill>
                <a:srgbClr val="AEABAB"/>
              </a:solidFill>
            </c:spPr>
          </c:dPt>
          <c:dPt>
            <c:idx val="504"/>
            <c:spPr>
              <a:solidFill>
                <a:srgbClr val="AEABAB"/>
              </a:solidFill>
            </c:spPr>
          </c:dPt>
          <c:dPt>
            <c:idx val="505"/>
            <c:spPr>
              <a:solidFill>
                <a:srgbClr val="AEABAB"/>
              </a:solidFill>
            </c:spPr>
          </c:dPt>
          <c:dPt>
            <c:idx val="506"/>
            <c:spPr>
              <a:solidFill>
                <a:srgbClr val="AEABAB"/>
              </a:solidFill>
            </c:spPr>
          </c:dPt>
          <c:dPt>
            <c:idx val="507"/>
            <c:spPr>
              <a:solidFill>
                <a:srgbClr val="AEABAB"/>
              </a:solidFill>
            </c:spPr>
          </c:dPt>
          <c:dPt>
            <c:idx val="508"/>
            <c:spPr>
              <a:solidFill>
                <a:srgbClr val="AEABAB"/>
              </a:solidFill>
            </c:spPr>
          </c:dPt>
          <c:dPt>
            <c:idx val="509"/>
            <c:spPr>
              <a:solidFill>
                <a:srgbClr val="AEABAB"/>
              </a:solidFill>
            </c:spPr>
          </c:dPt>
          <c:dPt>
            <c:idx val="510"/>
            <c:spPr>
              <a:solidFill>
                <a:srgbClr val="AEABAB"/>
              </a:solidFill>
            </c:spPr>
          </c:dPt>
          <c:dPt>
            <c:idx val="511"/>
            <c:spPr>
              <a:solidFill>
                <a:srgbClr val="AEABAB"/>
              </a:solidFill>
            </c:spPr>
          </c:dPt>
          <c:dPt>
            <c:idx val="512"/>
            <c:spPr>
              <a:solidFill>
                <a:srgbClr val="AEABAB"/>
              </a:solidFill>
            </c:spPr>
          </c:dPt>
          <c:dPt>
            <c:idx val="513"/>
            <c:spPr>
              <a:solidFill>
                <a:srgbClr val="AEABAB"/>
              </a:solidFill>
            </c:spPr>
          </c:dPt>
          <c:dPt>
            <c:idx val="514"/>
            <c:spPr>
              <a:solidFill>
                <a:srgbClr val="AEABAB"/>
              </a:solidFill>
            </c:spPr>
          </c:dPt>
          <c:dPt>
            <c:idx val="515"/>
            <c:spPr>
              <a:solidFill>
                <a:srgbClr val="AEABAB"/>
              </a:solidFill>
            </c:spPr>
          </c:dPt>
          <c:dPt>
            <c:idx val="516"/>
            <c:spPr>
              <a:solidFill>
                <a:srgbClr val="AEABAB"/>
              </a:solidFill>
            </c:spPr>
          </c:dPt>
          <c:dPt>
            <c:idx val="517"/>
            <c:spPr>
              <a:solidFill>
                <a:srgbClr val="AEABAB"/>
              </a:solidFill>
            </c:spPr>
          </c:dPt>
          <c:dPt>
            <c:idx val="518"/>
            <c:spPr>
              <a:solidFill>
                <a:srgbClr val="AEABAB"/>
              </a:solidFill>
            </c:spPr>
          </c:dPt>
          <c:dPt>
            <c:idx val="519"/>
            <c:spPr>
              <a:solidFill>
                <a:srgbClr val="AEABAB"/>
              </a:solidFill>
            </c:spPr>
          </c:dPt>
          <c:dPt>
            <c:idx val="520"/>
            <c:spPr>
              <a:solidFill>
                <a:srgbClr val="AEABAB"/>
              </a:solidFill>
            </c:spPr>
          </c:dPt>
          <c:dPt>
            <c:idx val="521"/>
            <c:spPr>
              <a:solidFill>
                <a:srgbClr val="AEABAB"/>
              </a:solidFill>
            </c:spPr>
          </c:dPt>
          <c:dPt>
            <c:idx val="522"/>
            <c:spPr>
              <a:solidFill>
                <a:srgbClr val="AEABAB"/>
              </a:solidFill>
            </c:spPr>
          </c:dPt>
          <c:dPt>
            <c:idx val="523"/>
            <c:spPr>
              <a:solidFill>
                <a:srgbClr val="AEABAB"/>
              </a:solidFill>
            </c:spPr>
          </c:dPt>
          <c:dPt>
            <c:idx val="524"/>
            <c:spPr>
              <a:solidFill>
                <a:srgbClr val="AEABAB"/>
              </a:solidFill>
            </c:spPr>
          </c:dPt>
          <c:dPt>
            <c:idx val="525"/>
            <c:spPr>
              <a:solidFill>
                <a:srgbClr val="AEABAB"/>
              </a:solidFill>
            </c:spPr>
          </c:dPt>
          <c:dPt>
            <c:idx val="526"/>
            <c:spPr>
              <a:solidFill>
                <a:srgbClr val="AEABAB"/>
              </a:solidFill>
            </c:spPr>
          </c:dPt>
          <c:dPt>
            <c:idx val="527"/>
            <c:spPr>
              <a:solidFill>
                <a:srgbClr val="AEABAB"/>
              </a:solidFill>
            </c:spPr>
          </c:dPt>
          <c:dPt>
            <c:idx val="528"/>
            <c:spPr>
              <a:solidFill>
                <a:srgbClr val="AEABAB"/>
              </a:solidFill>
            </c:spPr>
          </c:dPt>
          <c:dPt>
            <c:idx val="529"/>
            <c:spPr>
              <a:solidFill>
                <a:srgbClr val="AEABAB"/>
              </a:solidFill>
            </c:spPr>
          </c:dPt>
          <c:dPt>
            <c:idx val="530"/>
            <c:spPr>
              <a:solidFill>
                <a:srgbClr val="AEABAB"/>
              </a:solidFill>
            </c:spPr>
          </c:dPt>
          <c:dPt>
            <c:idx val="531"/>
            <c:spPr>
              <a:solidFill>
                <a:srgbClr val="AEABAB"/>
              </a:solidFill>
            </c:spPr>
          </c:dPt>
          <c:dPt>
            <c:idx val="532"/>
            <c:spPr>
              <a:solidFill>
                <a:srgbClr val="AEABAB"/>
              </a:solidFill>
            </c:spPr>
          </c:dPt>
          <c:dPt>
            <c:idx val="533"/>
            <c:spPr>
              <a:solidFill>
                <a:srgbClr val="AEABAB"/>
              </a:solidFill>
            </c:spPr>
          </c:dPt>
          <c:dPt>
            <c:idx val="534"/>
            <c:spPr>
              <a:solidFill>
                <a:srgbClr val="AEABAB"/>
              </a:solidFill>
            </c:spPr>
          </c:dPt>
          <c:dPt>
            <c:idx val="535"/>
            <c:spPr>
              <a:solidFill>
                <a:srgbClr val="AEABAB"/>
              </a:solidFill>
            </c:spPr>
          </c:dPt>
          <c:dPt>
            <c:idx val="536"/>
            <c:spPr>
              <a:solidFill>
                <a:srgbClr val="AEABAB"/>
              </a:solidFill>
            </c:spPr>
          </c:dPt>
          <c:dPt>
            <c:idx val="537"/>
            <c:spPr>
              <a:solidFill>
                <a:srgbClr val="AEABAB"/>
              </a:solidFill>
            </c:spPr>
          </c:dPt>
          <c:dPt>
            <c:idx val="538"/>
            <c:spPr>
              <a:solidFill>
                <a:srgbClr val="AEABAB"/>
              </a:solidFill>
            </c:spPr>
          </c:dPt>
          <c:dPt>
            <c:idx val="539"/>
            <c:spPr>
              <a:solidFill>
                <a:srgbClr val="AEABAB"/>
              </a:solidFill>
            </c:spPr>
          </c:dPt>
          <c:dPt>
            <c:idx val="540"/>
            <c:spPr>
              <a:solidFill>
                <a:srgbClr val="AEABAB"/>
              </a:solidFill>
            </c:spPr>
          </c:dPt>
          <c:dPt>
            <c:idx val="541"/>
            <c:spPr>
              <a:solidFill>
                <a:srgbClr val="AEABAB"/>
              </a:solidFill>
            </c:spPr>
          </c:dPt>
          <c:dPt>
            <c:idx val="542"/>
            <c:spPr>
              <a:solidFill>
                <a:srgbClr val="AEABAB"/>
              </a:solidFill>
            </c:spPr>
          </c:dPt>
          <c:dPt>
            <c:idx val="543"/>
            <c:spPr>
              <a:solidFill>
                <a:srgbClr val="AEABAB"/>
              </a:solidFill>
            </c:spPr>
          </c:dPt>
          <c:dPt>
            <c:idx val="544"/>
            <c:spPr>
              <a:solidFill>
                <a:srgbClr val="AEABAB"/>
              </a:solidFill>
            </c:spPr>
          </c:dPt>
          <c:dPt>
            <c:idx val="545"/>
            <c:spPr>
              <a:solidFill>
                <a:srgbClr val="AEABAB"/>
              </a:solidFill>
            </c:spPr>
          </c:dPt>
          <c:dPt>
            <c:idx val="546"/>
            <c:spPr>
              <a:solidFill>
                <a:srgbClr val="AEABAB"/>
              </a:solidFill>
            </c:spPr>
          </c:dPt>
          <c:dPt>
            <c:idx val="547"/>
            <c:spPr>
              <a:solidFill>
                <a:srgbClr val="AEABAB"/>
              </a:solidFill>
            </c:spPr>
          </c:dPt>
          <c:dPt>
            <c:idx val="548"/>
            <c:spPr>
              <a:solidFill>
                <a:srgbClr val="AEABAB"/>
              </a:solidFill>
            </c:spPr>
          </c:dPt>
          <c:dPt>
            <c:idx val="549"/>
            <c:spPr>
              <a:solidFill>
                <a:srgbClr val="AEABAB"/>
              </a:solidFill>
            </c:spPr>
          </c:dPt>
          <c:dPt>
            <c:idx val="550"/>
            <c:spPr>
              <a:solidFill>
                <a:srgbClr val="AEABAB"/>
              </a:solidFill>
            </c:spPr>
          </c:dPt>
          <c:dPt>
            <c:idx val="551"/>
            <c:spPr>
              <a:solidFill>
                <a:srgbClr val="AEABAB"/>
              </a:solidFill>
            </c:spPr>
          </c:dPt>
          <c:dPt>
            <c:idx val="552"/>
            <c:spPr>
              <a:solidFill>
                <a:srgbClr val="AEABAB"/>
              </a:solidFill>
            </c:spPr>
          </c:dPt>
          <c:dPt>
            <c:idx val="553"/>
            <c:spPr>
              <a:solidFill>
                <a:srgbClr val="AEABAB"/>
              </a:solidFill>
            </c:spPr>
          </c:dPt>
          <c:dPt>
            <c:idx val="554"/>
            <c:spPr>
              <a:solidFill>
                <a:srgbClr val="AEABAB"/>
              </a:solidFill>
            </c:spPr>
          </c:dPt>
          <c:dPt>
            <c:idx val="555"/>
            <c:spPr>
              <a:solidFill>
                <a:srgbClr val="AEABAB"/>
              </a:solidFill>
            </c:spPr>
          </c:dPt>
          <c:dPt>
            <c:idx val="556"/>
            <c:spPr>
              <a:solidFill>
                <a:srgbClr val="AEABAB"/>
              </a:solidFill>
            </c:spPr>
          </c:dPt>
          <c:dPt>
            <c:idx val="557"/>
            <c:spPr>
              <a:solidFill>
                <a:srgbClr val="AEABAB"/>
              </a:solidFill>
            </c:spPr>
          </c:dPt>
          <c:dPt>
            <c:idx val="558"/>
            <c:spPr>
              <a:solidFill>
                <a:srgbClr val="AEABAB"/>
              </a:solidFill>
            </c:spPr>
          </c:dPt>
          <c:dPt>
            <c:idx val="559"/>
            <c:spPr>
              <a:solidFill>
                <a:srgbClr val="AEABAB"/>
              </a:solidFill>
            </c:spPr>
          </c:dPt>
          <c:dPt>
            <c:idx val="560"/>
            <c:spPr>
              <a:solidFill>
                <a:srgbClr val="AEABAB"/>
              </a:solidFill>
            </c:spPr>
          </c:dPt>
          <c:dPt>
            <c:idx val="561"/>
            <c:spPr>
              <a:solidFill>
                <a:srgbClr val="AEABAB"/>
              </a:solidFill>
            </c:spPr>
          </c:dPt>
          <c:dPt>
            <c:idx val="562"/>
            <c:spPr>
              <a:solidFill>
                <a:srgbClr val="AEABAB"/>
              </a:solidFill>
            </c:spPr>
          </c:dPt>
          <c:dPt>
            <c:idx val="563"/>
            <c:spPr>
              <a:solidFill>
                <a:srgbClr val="AEABAB"/>
              </a:solidFill>
            </c:spPr>
          </c:dPt>
          <c:dPt>
            <c:idx val="564"/>
            <c:spPr>
              <a:solidFill>
                <a:srgbClr val="AEABAB"/>
              </a:solidFill>
            </c:spPr>
          </c:dPt>
          <c:dPt>
            <c:idx val="565"/>
            <c:spPr>
              <a:solidFill>
                <a:srgbClr val="AEABAB"/>
              </a:solidFill>
            </c:spPr>
          </c:dPt>
          <c:dPt>
            <c:idx val="566"/>
            <c:spPr>
              <a:solidFill>
                <a:srgbClr val="AEABAB"/>
              </a:solidFill>
            </c:spPr>
          </c:dPt>
          <c:dPt>
            <c:idx val="567"/>
            <c:spPr>
              <a:solidFill>
                <a:srgbClr val="AEABAB"/>
              </a:solidFill>
            </c:spPr>
          </c:dPt>
          <c:dPt>
            <c:idx val="568"/>
            <c:spPr>
              <a:solidFill>
                <a:srgbClr val="AEABAB"/>
              </a:solidFill>
            </c:spPr>
          </c:dPt>
          <c:dPt>
            <c:idx val="569"/>
            <c:spPr>
              <a:solidFill>
                <a:srgbClr val="AEABAB"/>
              </a:solidFill>
            </c:spPr>
          </c:dPt>
          <c:dPt>
            <c:idx val="570"/>
            <c:spPr>
              <a:solidFill>
                <a:srgbClr val="AEABAB"/>
              </a:solidFill>
            </c:spPr>
          </c:dPt>
          <c:dPt>
            <c:idx val="571"/>
            <c:spPr>
              <a:solidFill>
                <a:srgbClr val="AEABAB"/>
              </a:solidFill>
            </c:spPr>
          </c:dPt>
          <c:dPt>
            <c:idx val="572"/>
            <c:spPr>
              <a:solidFill>
                <a:srgbClr val="AEABAB"/>
              </a:solidFill>
            </c:spPr>
          </c:dPt>
          <c:dPt>
            <c:idx val="573"/>
            <c:spPr>
              <a:solidFill>
                <a:srgbClr val="AEABAB"/>
              </a:solidFill>
            </c:spPr>
          </c:dPt>
          <c:dPt>
            <c:idx val="574"/>
            <c:spPr>
              <a:solidFill>
                <a:srgbClr val="AEABAB"/>
              </a:solidFill>
            </c:spPr>
          </c:dPt>
          <c:dPt>
            <c:idx val="575"/>
            <c:spPr>
              <a:solidFill>
                <a:srgbClr val="AEABAB"/>
              </a:solidFill>
            </c:spPr>
          </c:dPt>
          <c:dPt>
            <c:idx val="576"/>
            <c:spPr>
              <a:solidFill>
                <a:srgbClr val="AEABAB"/>
              </a:solidFill>
            </c:spPr>
          </c:dPt>
          <c:dPt>
            <c:idx val="577"/>
            <c:spPr>
              <a:solidFill>
                <a:srgbClr val="AEABAB"/>
              </a:solidFill>
            </c:spPr>
          </c:dPt>
          <c:dPt>
            <c:idx val="578"/>
            <c:spPr>
              <a:solidFill>
                <a:srgbClr val="AEABAB"/>
              </a:solidFill>
            </c:spPr>
          </c:dPt>
          <c:dPt>
            <c:idx val="579"/>
            <c:spPr>
              <a:solidFill>
                <a:srgbClr val="AEABAB"/>
              </a:solidFill>
            </c:spPr>
          </c:dPt>
          <c:dPt>
            <c:idx val="580"/>
            <c:spPr>
              <a:solidFill>
                <a:srgbClr val="AEABAB"/>
              </a:solidFill>
            </c:spPr>
          </c:dPt>
          <c:dPt>
            <c:idx val="581"/>
            <c:spPr>
              <a:solidFill>
                <a:srgbClr val="AEABAB"/>
              </a:solidFill>
            </c:spPr>
          </c:dPt>
          <c:dPt>
            <c:idx val="582"/>
            <c:spPr>
              <a:solidFill>
                <a:srgbClr val="AEABAB"/>
              </a:solidFill>
            </c:spPr>
          </c:dPt>
          <c:dPt>
            <c:idx val="583"/>
            <c:spPr>
              <a:solidFill>
                <a:srgbClr val="AEABAB"/>
              </a:solidFill>
            </c:spPr>
          </c:dPt>
          <c:dPt>
            <c:idx val="584"/>
            <c:spPr>
              <a:solidFill>
                <a:srgbClr val="AEABAB"/>
              </a:solidFill>
            </c:spPr>
          </c:dPt>
          <c:dPt>
            <c:idx val="585"/>
            <c:spPr>
              <a:solidFill>
                <a:srgbClr val="AEABAB"/>
              </a:solidFill>
            </c:spPr>
          </c:dPt>
          <c:dPt>
            <c:idx val="586"/>
            <c:spPr>
              <a:solidFill>
                <a:srgbClr val="AEABAB"/>
              </a:solidFill>
            </c:spPr>
          </c:dPt>
          <c:dPt>
            <c:idx val="587"/>
            <c:spPr>
              <a:solidFill>
                <a:srgbClr val="AEABAB"/>
              </a:solidFill>
            </c:spPr>
          </c:dPt>
          <c:dPt>
            <c:idx val="588"/>
            <c:spPr>
              <a:solidFill>
                <a:srgbClr val="AEABAB"/>
              </a:solidFill>
            </c:spPr>
          </c:dPt>
          <c:dPt>
            <c:idx val="589"/>
            <c:spPr>
              <a:solidFill>
                <a:srgbClr val="AEABAB"/>
              </a:solidFill>
            </c:spPr>
          </c:dPt>
          <c:dPt>
            <c:idx val="590"/>
            <c:spPr>
              <a:solidFill>
                <a:srgbClr val="AEABAB"/>
              </a:solidFill>
            </c:spPr>
          </c:dPt>
          <c:dPt>
            <c:idx val="591"/>
            <c:spPr>
              <a:solidFill>
                <a:srgbClr val="AEABAB"/>
              </a:solidFill>
            </c:spPr>
          </c:dPt>
          <c:dPt>
            <c:idx val="592"/>
            <c:spPr>
              <a:solidFill>
                <a:srgbClr val="AEABAB"/>
              </a:solidFill>
            </c:spPr>
          </c:dPt>
          <c:dPt>
            <c:idx val="593"/>
            <c:spPr>
              <a:solidFill>
                <a:srgbClr val="AEABAB"/>
              </a:solidFill>
            </c:spPr>
          </c:dPt>
          <c:dPt>
            <c:idx val="594"/>
            <c:spPr>
              <a:solidFill>
                <a:srgbClr val="AEABAB"/>
              </a:solidFill>
            </c:spPr>
          </c:dPt>
          <c:dPt>
            <c:idx val="595"/>
            <c:spPr>
              <a:solidFill>
                <a:srgbClr val="AEABAB"/>
              </a:solidFill>
            </c:spPr>
          </c:dPt>
          <c:dPt>
            <c:idx val="596"/>
            <c:spPr>
              <a:solidFill>
                <a:srgbClr val="AEABAB"/>
              </a:solidFill>
            </c:spPr>
          </c:dPt>
          <c:dPt>
            <c:idx val="597"/>
            <c:spPr>
              <a:solidFill>
                <a:srgbClr val="AEABAB"/>
              </a:solidFill>
            </c:spPr>
          </c:dPt>
          <c:dPt>
            <c:idx val="598"/>
            <c:spPr>
              <a:solidFill>
                <a:srgbClr val="AEABAB"/>
              </a:solidFill>
            </c:spPr>
          </c:dPt>
          <c:dPt>
            <c:idx val="599"/>
            <c:spPr>
              <a:solidFill>
                <a:srgbClr val="AEABAB"/>
              </a:solidFill>
            </c:spPr>
          </c:dPt>
          <c:dPt>
            <c:idx val="600"/>
            <c:spPr>
              <a:solidFill>
                <a:srgbClr val="AEABAB"/>
              </a:solidFill>
            </c:spPr>
          </c:dPt>
          <c:dPt>
            <c:idx val="601"/>
            <c:spPr>
              <a:solidFill>
                <a:srgbClr val="AEABAB"/>
              </a:solidFill>
            </c:spPr>
          </c:dPt>
          <c:dPt>
            <c:idx val="602"/>
            <c:spPr>
              <a:solidFill>
                <a:srgbClr val="AEABAB"/>
              </a:solidFill>
            </c:spPr>
          </c:dPt>
          <c:dPt>
            <c:idx val="603"/>
            <c:spPr>
              <a:solidFill>
                <a:srgbClr val="AEABAB"/>
              </a:solidFill>
            </c:spPr>
          </c:dPt>
          <c:dPt>
            <c:idx val="604"/>
            <c:spPr>
              <a:solidFill>
                <a:srgbClr val="AEABAB"/>
              </a:solidFill>
            </c:spPr>
          </c:dPt>
          <c:dPt>
            <c:idx val="605"/>
            <c:spPr>
              <a:solidFill>
                <a:srgbClr val="AEABAB"/>
              </a:solidFill>
            </c:spPr>
          </c:dPt>
          <c:dPt>
            <c:idx val="606"/>
            <c:spPr>
              <a:solidFill>
                <a:srgbClr val="AEABAB"/>
              </a:solidFill>
            </c:spPr>
          </c:dPt>
          <c:dPt>
            <c:idx val="607"/>
            <c:spPr>
              <a:solidFill>
                <a:srgbClr val="AEABAB"/>
              </a:solidFill>
            </c:spPr>
          </c:dPt>
          <c:dPt>
            <c:idx val="608"/>
            <c:spPr>
              <a:solidFill>
                <a:srgbClr val="AEABAB"/>
              </a:solidFill>
            </c:spPr>
          </c:dPt>
          <c:dPt>
            <c:idx val="609"/>
            <c:spPr>
              <a:solidFill>
                <a:srgbClr val="AEABAB"/>
              </a:solidFill>
            </c:spPr>
          </c:dPt>
          <c:dPt>
            <c:idx val="610"/>
            <c:spPr>
              <a:solidFill>
                <a:srgbClr val="AEABAB"/>
              </a:solidFill>
            </c:spPr>
          </c:dPt>
          <c:dPt>
            <c:idx val="611"/>
            <c:spPr>
              <a:solidFill>
                <a:srgbClr val="AEABAB"/>
              </a:solidFill>
            </c:spPr>
          </c:dPt>
          <c:dPt>
            <c:idx val="612"/>
            <c:spPr>
              <a:solidFill>
                <a:srgbClr val="AEABAB"/>
              </a:solidFill>
            </c:spPr>
          </c:dPt>
          <c:dPt>
            <c:idx val="613"/>
            <c:spPr>
              <a:solidFill>
                <a:srgbClr val="AEABAB"/>
              </a:solidFill>
            </c:spPr>
          </c:dPt>
          <c:dPt>
            <c:idx val="614"/>
            <c:spPr>
              <a:solidFill>
                <a:srgbClr val="AEABAB"/>
              </a:solidFill>
            </c:spPr>
          </c:dPt>
          <c:dPt>
            <c:idx val="615"/>
            <c:spPr>
              <a:solidFill>
                <a:srgbClr val="AEABAB"/>
              </a:solidFill>
            </c:spPr>
          </c:dPt>
          <c:dPt>
            <c:idx val="616"/>
            <c:spPr>
              <a:solidFill>
                <a:srgbClr val="AEABAB"/>
              </a:solidFill>
            </c:spPr>
          </c:dPt>
          <c:dPt>
            <c:idx val="617"/>
            <c:spPr>
              <a:solidFill>
                <a:srgbClr val="AEABAB"/>
              </a:solidFill>
            </c:spPr>
          </c:dPt>
          <c:dPt>
            <c:idx val="618"/>
            <c:spPr>
              <a:solidFill>
                <a:srgbClr val="AEABAB"/>
              </a:solidFill>
            </c:spPr>
          </c:dPt>
          <c:dPt>
            <c:idx val="619"/>
            <c:spPr>
              <a:solidFill>
                <a:srgbClr val="AEABAB"/>
              </a:solidFill>
            </c:spPr>
          </c:dPt>
          <c:dPt>
            <c:idx val="620"/>
            <c:spPr>
              <a:solidFill>
                <a:srgbClr val="AEABAB"/>
              </a:solidFill>
            </c:spPr>
          </c:dPt>
          <c:dPt>
            <c:idx val="621"/>
            <c:spPr>
              <a:solidFill>
                <a:srgbClr val="AEABAB"/>
              </a:solidFill>
            </c:spPr>
          </c:dPt>
          <c:dPt>
            <c:idx val="622"/>
            <c:spPr>
              <a:solidFill>
                <a:srgbClr val="AEABAB"/>
              </a:solidFill>
            </c:spPr>
          </c:dPt>
          <c:dPt>
            <c:idx val="623"/>
            <c:spPr>
              <a:solidFill>
                <a:srgbClr val="AEABAB"/>
              </a:solidFill>
            </c:spPr>
          </c:dPt>
          <c:dPt>
            <c:idx val="624"/>
            <c:spPr>
              <a:solidFill>
                <a:srgbClr val="AEABAB"/>
              </a:solidFill>
            </c:spPr>
          </c:dPt>
          <c:dPt>
            <c:idx val="625"/>
            <c:spPr>
              <a:solidFill>
                <a:srgbClr val="AEABAB"/>
              </a:solidFill>
            </c:spPr>
          </c:dPt>
          <c:dPt>
            <c:idx val="626"/>
            <c:spPr>
              <a:solidFill>
                <a:srgbClr val="AEABAB"/>
              </a:solidFill>
            </c:spPr>
          </c:dPt>
          <c:dPt>
            <c:idx val="627"/>
            <c:spPr>
              <a:solidFill>
                <a:srgbClr val="AEABAB"/>
              </a:solidFill>
            </c:spPr>
          </c:dPt>
          <c:dPt>
            <c:idx val="628"/>
            <c:spPr>
              <a:solidFill>
                <a:srgbClr val="AEABAB"/>
              </a:solidFill>
            </c:spPr>
          </c:dPt>
          <c:dPt>
            <c:idx val="629"/>
            <c:spPr>
              <a:solidFill>
                <a:srgbClr val="AEABAB"/>
              </a:solidFill>
            </c:spPr>
          </c:dPt>
          <c:dPt>
            <c:idx val="630"/>
            <c:spPr>
              <a:solidFill>
                <a:srgbClr val="AEABAB"/>
              </a:solidFill>
            </c:spPr>
          </c:dPt>
          <c:dPt>
            <c:idx val="631"/>
            <c:spPr>
              <a:solidFill>
                <a:srgbClr val="AEABAB"/>
              </a:solidFill>
            </c:spPr>
          </c:dPt>
          <c:dPt>
            <c:idx val="632"/>
            <c:spPr>
              <a:solidFill>
                <a:srgbClr val="AEABAB"/>
              </a:solidFill>
            </c:spPr>
          </c:dPt>
          <c:dPt>
            <c:idx val="633"/>
            <c:spPr>
              <a:solidFill>
                <a:srgbClr val="AEABAB"/>
              </a:solidFill>
            </c:spPr>
          </c:dPt>
          <c:dPt>
            <c:idx val="634"/>
            <c:spPr>
              <a:solidFill>
                <a:srgbClr val="AEABAB"/>
              </a:solidFill>
            </c:spPr>
          </c:dPt>
          <c:dPt>
            <c:idx val="635"/>
            <c:spPr>
              <a:solidFill>
                <a:srgbClr val="AEABAB"/>
              </a:solidFill>
            </c:spPr>
          </c:dPt>
          <c:dPt>
            <c:idx val="636"/>
            <c:spPr>
              <a:solidFill>
                <a:srgbClr val="AEABAB"/>
              </a:solidFill>
            </c:spPr>
          </c:dPt>
          <c:dPt>
            <c:idx val="637"/>
            <c:spPr>
              <a:solidFill>
                <a:srgbClr val="AEABAB"/>
              </a:solidFill>
            </c:spPr>
          </c:dPt>
          <c:dPt>
            <c:idx val="638"/>
            <c:spPr>
              <a:solidFill>
                <a:srgbClr val="AEABAB"/>
              </a:solidFill>
            </c:spPr>
          </c:dPt>
          <c:dPt>
            <c:idx val="639"/>
            <c:spPr>
              <a:solidFill>
                <a:srgbClr val="AEABAB"/>
              </a:solidFill>
            </c:spPr>
          </c:dPt>
          <c:dPt>
            <c:idx val="640"/>
            <c:spPr>
              <a:solidFill>
                <a:srgbClr val="AEABAB"/>
              </a:solidFill>
            </c:spPr>
          </c:dPt>
          <c:dPt>
            <c:idx val="641"/>
            <c:spPr>
              <a:solidFill>
                <a:srgbClr val="AEABAB"/>
              </a:solidFill>
            </c:spPr>
          </c:dPt>
          <c:dPt>
            <c:idx val="642"/>
            <c:spPr>
              <a:solidFill>
                <a:srgbClr val="AEABAB"/>
              </a:solidFill>
            </c:spPr>
          </c:dPt>
          <c:dPt>
            <c:idx val="643"/>
            <c:spPr>
              <a:solidFill>
                <a:srgbClr val="AEABAB"/>
              </a:solidFill>
            </c:spPr>
          </c:dPt>
          <c:dPt>
            <c:idx val="644"/>
            <c:spPr>
              <a:solidFill>
                <a:srgbClr val="AEABAB"/>
              </a:solidFill>
            </c:spPr>
          </c:dPt>
          <c:dPt>
            <c:idx val="645"/>
            <c:spPr>
              <a:solidFill>
                <a:srgbClr val="AEABAB"/>
              </a:solidFill>
            </c:spPr>
          </c:dPt>
          <c:dPt>
            <c:idx val="646"/>
            <c:spPr>
              <a:solidFill>
                <a:srgbClr val="AEABAB"/>
              </a:solidFill>
            </c:spPr>
          </c:dPt>
          <c:dPt>
            <c:idx val="647"/>
            <c:spPr>
              <a:solidFill>
                <a:srgbClr val="AEABAB"/>
              </a:solidFill>
            </c:spPr>
          </c:dPt>
          <c:dPt>
            <c:idx val="648"/>
            <c:spPr>
              <a:solidFill>
                <a:srgbClr val="AEABAB"/>
              </a:solidFill>
            </c:spPr>
          </c:dPt>
          <c:dPt>
            <c:idx val="649"/>
            <c:spPr>
              <a:solidFill>
                <a:srgbClr val="AEABAB"/>
              </a:solidFill>
            </c:spPr>
          </c:dPt>
          <c:dPt>
            <c:idx val="650"/>
            <c:spPr>
              <a:solidFill>
                <a:srgbClr val="AEABAB"/>
              </a:solidFill>
            </c:spPr>
          </c:dPt>
          <c:dPt>
            <c:idx val="651"/>
            <c:spPr>
              <a:solidFill>
                <a:srgbClr val="AEABAB"/>
              </a:solidFill>
            </c:spPr>
          </c:dPt>
          <c:dPt>
            <c:idx val="652"/>
            <c:spPr>
              <a:solidFill>
                <a:srgbClr val="AEABAB"/>
              </a:solidFill>
            </c:spPr>
          </c:dPt>
          <c:dPt>
            <c:idx val="653"/>
            <c:spPr>
              <a:solidFill>
                <a:srgbClr val="AEABAB"/>
              </a:solidFill>
            </c:spPr>
          </c:dPt>
          <c:dPt>
            <c:idx val="654"/>
            <c:spPr>
              <a:solidFill>
                <a:srgbClr val="AEABAB"/>
              </a:solidFill>
            </c:spPr>
          </c:dPt>
          <c:dPt>
            <c:idx val="655"/>
            <c:spPr>
              <a:solidFill>
                <a:srgbClr val="AEABAB"/>
              </a:solidFill>
            </c:spPr>
          </c:dPt>
          <c:dPt>
            <c:idx val="656"/>
            <c:spPr>
              <a:solidFill>
                <a:srgbClr val="AEABAB"/>
              </a:solidFill>
            </c:spPr>
          </c:dPt>
          <c:dPt>
            <c:idx val="657"/>
            <c:spPr>
              <a:solidFill>
                <a:srgbClr val="AEABAB"/>
              </a:solidFill>
            </c:spPr>
          </c:dPt>
          <c:dPt>
            <c:idx val="658"/>
            <c:spPr>
              <a:solidFill>
                <a:srgbClr val="AEABAB"/>
              </a:solidFill>
            </c:spPr>
          </c:dPt>
          <c:dPt>
            <c:idx val="659"/>
            <c:spPr>
              <a:solidFill>
                <a:srgbClr val="AEABAB"/>
              </a:solidFill>
            </c:spPr>
          </c:dPt>
          <c:dPt>
            <c:idx val="660"/>
            <c:spPr>
              <a:solidFill>
                <a:srgbClr val="AEABAB"/>
              </a:solidFill>
            </c:spPr>
          </c:dPt>
          <c:dPt>
            <c:idx val="661"/>
            <c:spPr>
              <a:solidFill>
                <a:srgbClr val="AEABAB"/>
              </a:solidFill>
            </c:spPr>
          </c:dPt>
          <c:dPt>
            <c:idx val="662"/>
            <c:spPr>
              <a:solidFill>
                <a:srgbClr val="AEABAB"/>
              </a:solidFill>
            </c:spPr>
          </c:dPt>
          <c:dPt>
            <c:idx val="663"/>
            <c:spPr>
              <a:solidFill>
                <a:srgbClr val="AEABAB"/>
              </a:solidFill>
            </c:spPr>
          </c:dPt>
          <c:dPt>
            <c:idx val="664"/>
            <c:spPr>
              <a:solidFill>
                <a:srgbClr val="AEABAB"/>
              </a:solidFill>
            </c:spPr>
          </c:dPt>
          <c:dPt>
            <c:idx val="665"/>
            <c:spPr>
              <a:solidFill>
                <a:srgbClr val="AEABAB"/>
              </a:solidFill>
            </c:spPr>
          </c:dPt>
          <c:dPt>
            <c:idx val="666"/>
            <c:spPr>
              <a:solidFill>
                <a:srgbClr val="AEABAB"/>
              </a:solidFill>
            </c:spPr>
          </c:dPt>
          <c:dPt>
            <c:idx val="667"/>
            <c:spPr>
              <a:solidFill>
                <a:srgbClr val="AEABAB"/>
              </a:solidFill>
            </c:spPr>
          </c:dPt>
          <c:dPt>
            <c:idx val="668"/>
            <c:spPr>
              <a:solidFill>
                <a:srgbClr val="AEABAB"/>
              </a:solidFill>
            </c:spPr>
          </c:dPt>
          <c:dPt>
            <c:idx val="669"/>
            <c:spPr>
              <a:solidFill>
                <a:srgbClr val="AEABAB"/>
              </a:solidFill>
            </c:spPr>
          </c:dPt>
          <c:dPt>
            <c:idx val="670"/>
            <c:spPr>
              <a:solidFill>
                <a:srgbClr val="AEABAB"/>
              </a:solidFill>
            </c:spPr>
          </c:dPt>
          <c:dPt>
            <c:idx val="671"/>
            <c:spPr>
              <a:solidFill>
                <a:srgbClr val="AEABAB"/>
              </a:solidFill>
            </c:spPr>
          </c:dPt>
          <c:dPt>
            <c:idx val="672"/>
            <c:spPr>
              <a:solidFill>
                <a:srgbClr val="AEABAB"/>
              </a:solidFill>
            </c:spPr>
          </c:dPt>
          <c:dPt>
            <c:idx val="673"/>
            <c:spPr>
              <a:solidFill>
                <a:srgbClr val="AEABAB"/>
              </a:solidFill>
            </c:spPr>
          </c:dPt>
          <c:dPt>
            <c:idx val="674"/>
            <c:spPr>
              <a:solidFill>
                <a:srgbClr val="AEABAB"/>
              </a:solidFill>
            </c:spPr>
          </c:dPt>
          <c:dPt>
            <c:idx val="675"/>
            <c:spPr>
              <a:solidFill>
                <a:srgbClr val="AEABAB"/>
              </a:solidFill>
            </c:spPr>
          </c:dPt>
          <c:dPt>
            <c:idx val="676"/>
            <c:spPr>
              <a:solidFill>
                <a:srgbClr val="AEABAB"/>
              </a:solidFill>
            </c:spPr>
          </c:dPt>
          <c:dPt>
            <c:idx val="677"/>
            <c:spPr>
              <a:solidFill>
                <a:srgbClr val="AEABAB"/>
              </a:solidFill>
            </c:spPr>
          </c:dPt>
          <c:dPt>
            <c:idx val="678"/>
            <c:spPr>
              <a:solidFill>
                <a:srgbClr val="AEABAB"/>
              </a:solidFill>
            </c:spPr>
          </c:dPt>
          <c:dPt>
            <c:idx val="679"/>
            <c:spPr>
              <a:solidFill>
                <a:srgbClr val="AEABAB"/>
              </a:solidFill>
            </c:spPr>
          </c:dPt>
          <c:dPt>
            <c:idx val="680"/>
            <c:spPr>
              <a:solidFill>
                <a:srgbClr val="AEABAB"/>
              </a:solidFill>
            </c:spPr>
          </c:dPt>
          <c:dPt>
            <c:idx val="681"/>
            <c:spPr>
              <a:solidFill>
                <a:srgbClr val="AEABAB"/>
              </a:solidFill>
            </c:spPr>
          </c:dPt>
          <c:dPt>
            <c:idx val="682"/>
            <c:spPr>
              <a:solidFill>
                <a:srgbClr val="AEABAB"/>
              </a:solidFill>
            </c:spPr>
          </c:dPt>
          <c:dPt>
            <c:idx val="683"/>
            <c:spPr>
              <a:solidFill>
                <a:srgbClr val="AEABAB"/>
              </a:solidFill>
            </c:spPr>
          </c:dPt>
          <c:dPt>
            <c:idx val="684"/>
            <c:spPr>
              <a:solidFill>
                <a:srgbClr val="AEABAB"/>
              </a:solidFill>
            </c:spPr>
          </c:dPt>
          <c:dPt>
            <c:idx val="685"/>
            <c:spPr>
              <a:solidFill>
                <a:srgbClr val="AEABAB"/>
              </a:solidFill>
            </c:spPr>
          </c:dPt>
          <c:dPt>
            <c:idx val="686"/>
            <c:spPr>
              <a:solidFill>
                <a:srgbClr val="AEABAB"/>
              </a:solidFill>
            </c:spPr>
          </c:dPt>
          <c:dPt>
            <c:idx val="687"/>
            <c:spPr>
              <a:solidFill>
                <a:srgbClr val="AEABAB"/>
              </a:solidFill>
            </c:spPr>
          </c:dPt>
          <c:dPt>
            <c:idx val="688"/>
            <c:spPr>
              <a:solidFill>
                <a:srgbClr val="AEABAB"/>
              </a:solidFill>
            </c:spPr>
          </c:dPt>
          <c:dPt>
            <c:idx val="689"/>
            <c:spPr>
              <a:solidFill>
                <a:srgbClr val="AEABAB"/>
              </a:solidFill>
            </c:spPr>
          </c:dPt>
          <c:dPt>
            <c:idx val="690"/>
            <c:spPr>
              <a:solidFill>
                <a:srgbClr val="AEABAB"/>
              </a:solidFill>
            </c:spPr>
          </c:dPt>
          <c:dPt>
            <c:idx val="691"/>
            <c:spPr>
              <a:solidFill>
                <a:srgbClr val="AEABAB"/>
              </a:solidFill>
            </c:spPr>
          </c:dPt>
          <c:dPt>
            <c:idx val="692"/>
            <c:spPr>
              <a:solidFill>
                <a:srgbClr val="AEABAB"/>
              </a:solidFill>
            </c:spPr>
          </c:dPt>
          <c:dPt>
            <c:idx val="693"/>
            <c:spPr>
              <a:solidFill>
                <a:srgbClr val="AEABAB"/>
              </a:solidFill>
            </c:spPr>
          </c:dPt>
          <c:dPt>
            <c:idx val="694"/>
            <c:spPr>
              <a:solidFill>
                <a:srgbClr val="AEABAB"/>
              </a:solidFill>
            </c:spPr>
          </c:dPt>
          <c:dPt>
            <c:idx val="695"/>
            <c:spPr>
              <a:solidFill>
                <a:srgbClr val="AEABAB"/>
              </a:solidFill>
            </c:spPr>
          </c:dPt>
          <c:dPt>
            <c:idx val="696"/>
            <c:spPr>
              <a:solidFill>
                <a:srgbClr val="AEABAB"/>
              </a:solidFill>
            </c:spPr>
          </c:dPt>
          <c:dPt>
            <c:idx val="697"/>
            <c:spPr>
              <a:solidFill>
                <a:srgbClr val="AEABAB"/>
              </a:solidFill>
            </c:spPr>
          </c:dPt>
          <c:dPt>
            <c:idx val="698"/>
            <c:spPr>
              <a:solidFill>
                <a:srgbClr val="AEABAB"/>
              </a:solidFill>
            </c:spPr>
          </c:dPt>
          <c:dPt>
            <c:idx val="699"/>
            <c:spPr>
              <a:solidFill>
                <a:srgbClr val="AEABAB"/>
              </a:solidFill>
            </c:spPr>
          </c:dPt>
          <c:dPt>
            <c:idx val="700"/>
            <c:spPr>
              <a:solidFill>
                <a:srgbClr val="AEABAB"/>
              </a:solidFill>
            </c:spPr>
          </c:dPt>
          <c:dPt>
            <c:idx val="701"/>
            <c:spPr>
              <a:solidFill>
                <a:srgbClr val="AEABAB"/>
              </a:solidFill>
            </c:spPr>
          </c:dPt>
          <c:dPt>
            <c:idx val="702"/>
            <c:spPr>
              <a:solidFill>
                <a:srgbClr val="AEABAB"/>
              </a:solidFill>
            </c:spPr>
          </c:dPt>
          <c:dPt>
            <c:idx val="703"/>
            <c:spPr>
              <a:solidFill>
                <a:srgbClr val="AEABAB"/>
              </a:solidFill>
            </c:spPr>
          </c:dPt>
          <c:dPt>
            <c:idx val="704"/>
            <c:spPr>
              <a:solidFill>
                <a:srgbClr val="AEABAB"/>
              </a:solidFill>
            </c:spPr>
          </c:dPt>
          <c:dPt>
            <c:idx val="705"/>
            <c:spPr>
              <a:solidFill>
                <a:srgbClr val="AEABAB"/>
              </a:solidFill>
            </c:spPr>
          </c:dPt>
          <c:dPt>
            <c:idx val="706"/>
            <c:spPr>
              <a:solidFill>
                <a:srgbClr val="AEABAB"/>
              </a:solidFill>
            </c:spPr>
          </c:dPt>
          <c:dPt>
            <c:idx val="707"/>
            <c:spPr>
              <a:solidFill>
                <a:srgbClr val="AEABAB"/>
              </a:solidFill>
            </c:spPr>
          </c:dPt>
          <c:dPt>
            <c:idx val="708"/>
            <c:spPr>
              <a:solidFill>
                <a:srgbClr val="AEABAB"/>
              </a:solidFill>
            </c:spPr>
          </c:dPt>
          <c:dPt>
            <c:idx val="709"/>
            <c:spPr>
              <a:solidFill>
                <a:srgbClr val="AEABAB"/>
              </a:solidFill>
            </c:spPr>
          </c:dPt>
          <c:dPt>
            <c:idx val="710"/>
            <c:spPr>
              <a:solidFill>
                <a:srgbClr val="AEABAB"/>
              </a:solidFill>
            </c:spPr>
          </c:dPt>
          <c:dPt>
            <c:idx val="711"/>
            <c:spPr>
              <a:solidFill>
                <a:srgbClr val="AEABAB"/>
              </a:solidFill>
            </c:spPr>
          </c:dPt>
          <c:dPt>
            <c:idx val="712"/>
            <c:spPr>
              <a:solidFill>
                <a:srgbClr val="AEABAB"/>
              </a:solidFill>
            </c:spPr>
          </c:dPt>
          <c:dPt>
            <c:idx val="713"/>
            <c:spPr>
              <a:solidFill>
                <a:srgbClr val="AEABAB"/>
              </a:solidFill>
            </c:spPr>
          </c:dPt>
          <c:dPt>
            <c:idx val="714"/>
            <c:spPr>
              <a:solidFill>
                <a:srgbClr val="AEABAB"/>
              </a:solidFill>
            </c:spPr>
          </c:dPt>
          <c:dPt>
            <c:idx val="715"/>
            <c:spPr>
              <a:solidFill>
                <a:srgbClr val="AEABAB"/>
              </a:solidFill>
            </c:spPr>
          </c:dPt>
          <c:dPt>
            <c:idx val="716"/>
            <c:spPr>
              <a:solidFill>
                <a:srgbClr val="AEABAB"/>
              </a:solidFill>
            </c:spPr>
          </c:dPt>
          <c:dPt>
            <c:idx val="717"/>
            <c:spPr>
              <a:solidFill>
                <a:srgbClr val="AEABAB"/>
              </a:solidFill>
            </c:spPr>
          </c:dPt>
          <c:dPt>
            <c:idx val="718"/>
            <c:spPr>
              <a:solidFill>
                <a:srgbClr val="AEABAB"/>
              </a:solidFill>
            </c:spPr>
          </c:dPt>
          <c:dPt>
            <c:idx val="719"/>
            <c:spPr>
              <a:solidFill>
                <a:srgbClr val="AEABAB"/>
              </a:solidFill>
            </c:spPr>
          </c:dPt>
          <c:dPt>
            <c:idx val="720"/>
            <c:spPr>
              <a:solidFill>
                <a:srgbClr val="AEABAB"/>
              </a:solidFill>
            </c:spPr>
          </c:dPt>
          <c:dPt>
            <c:idx val="721"/>
            <c:spPr>
              <a:solidFill>
                <a:srgbClr val="AEABAB"/>
              </a:solidFill>
            </c:spPr>
          </c:dPt>
          <c:dPt>
            <c:idx val="722"/>
            <c:spPr>
              <a:solidFill>
                <a:srgbClr val="AEABAB"/>
              </a:solidFill>
            </c:spPr>
          </c:dPt>
          <c:dPt>
            <c:idx val="723"/>
            <c:spPr>
              <a:solidFill>
                <a:srgbClr val="AEABAB"/>
              </a:solidFill>
            </c:spPr>
          </c:dPt>
          <c:dPt>
            <c:idx val="724"/>
            <c:spPr>
              <a:solidFill>
                <a:srgbClr val="AEABAB"/>
              </a:solidFill>
            </c:spPr>
          </c:dPt>
          <c:dPt>
            <c:idx val="725"/>
            <c:spPr>
              <a:solidFill>
                <a:srgbClr val="AEABAB"/>
              </a:solidFill>
            </c:spPr>
          </c:dPt>
          <c:dPt>
            <c:idx val="726"/>
            <c:spPr>
              <a:solidFill>
                <a:srgbClr val="AEABAB"/>
              </a:solidFill>
            </c:spPr>
          </c:dPt>
          <c:dPt>
            <c:idx val="727"/>
            <c:spPr>
              <a:solidFill>
                <a:srgbClr val="AEABAB"/>
              </a:solidFill>
            </c:spPr>
          </c:dPt>
          <c:dPt>
            <c:idx val="728"/>
            <c:spPr>
              <a:solidFill>
                <a:srgbClr val="AEABAB"/>
              </a:solidFill>
            </c:spPr>
          </c:dPt>
          <c:dPt>
            <c:idx val="729"/>
            <c:spPr>
              <a:solidFill>
                <a:srgbClr val="AEABAB"/>
              </a:solidFill>
            </c:spPr>
          </c:dPt>
          <c:dPt>
            <c:idx val="730"/>
            <c:spPr>
              <a:solidFill>
                <a:srgbClr val="AEABAB"/>
              </a:solidFill>
            </c:spPr>
          </c:dPt>
          <c:dPt>
            <c:idx val="731"/>
            <c:spPr>
              <a:solidFill>
                <a:srgbClr val="AEABAB"/>
              </a:solidFill>
            </c:spPr>
          </c:dPt>
          <c:dPt>
            <c:idx val="732"/>
            <c:spPr>
              <a:solidFill>
                <a:srgbClr val="AEABAB"/>
              </a:solidFill>
            </c:spPr>
          </c:dPt>
          <c:dPt>
            <c:idx val="733"/>
            <c:spPr>
              <a:solidFill>
                <a:srgbClr val="AEABAB"/>
              </a:solidFill>
            </c:spPr>
          </c:dPt>
          <c:dPt>
            <c:idx val="734"/>
            <c:spPr>
              <a:solidFill>
                <a:srgbClr val="AEABAB"/>
              </a:solidFill>
            </c:spPr>
          </c:dPt>
          <c:dPt>
            <c:idx val="735"/>
            <c:spPr>
              <a:solidFill>
                <a:srgbClr val="AEABAB"/>
              </a:solidFill>
            </c:spPr>
          </c:dPt>
          <c:dPt>
            <c:idx val="736"/>
            <c:spPr>
              <a:solidFill>
                <a:srgbClr val="AEABAB"/>
              </a:solidFill>
            </c:spPr>
          </c:dPt>
          <c:dPt>
            <c:idx val="737"/>
            <c:spPr>
              <a:solidFill>
                <a:srgbClr val="AEABAB"/>
              </a:solidFill>
            </c:spPr>
          </c:dPt>
          <c:dPt>
            <c:idx val="738"/>
            <c:spPr>
              <a:solidFill>
                <a:srgbClr val="AEABAB"/>
              </a:solidFill>
            </c:spPr>
          </c:dPt>
          <c:dPt>
            <c:idx val="739"/>
            <c:spPr>
              <a:solidFill>
                <a:srgbClr val="AEABAB"/>
              </a:solidFill>
            </c:spPr>
          </c:dPt>
          <c:dPt>
            <c:idx val="740"/>
            <c:spPr>
              <a:solidFill>
                <a:srgbClr val="AEABAB"/>
              </a:solidFill>
            </c:spPr>
          </c:dPt>
          <c:dPt>
            <c:idx val="741"/>
            <c:spPr>
              <a:solidFill>
                <a:srgbClr val="AEABAB"/>
              </a:solidFill>
            </c:spPr>
          </c:dPt>
          <c:dPt>
            <c:idx val="742"/>
            <c:spPr>
              <a:solidFill>
                <a:srgbClr val="AEABAB"/>
              </a:solidFill>
            </c:spPr>
          </c:dPt>
          <c:dPt>
            <c:idx val="743"/>
            <c:spPr>
              <a:solidFill>
                <a:srgbClr val="AEABAB"/>
              </a:solidFill>
            </c:spPr>
          </c:dPt>
          <c:dPt>
            <c:idx val="744"/>
            <c:spPr>
              <a:solidFill>
                <a:srgbClr val="AEABAB"/>
              </a:solidFill>
            </c:spPr>
          </c:dPt>
          <c:dPt>
            <c:idx val="745"/>
            <c:spPr>
              <a:solidFill>
                <a:srgbClr val="AEABAB"/>
              </a:solidFill>
            </c:spPr>
          </c:dPt>
          <c:dPt>
            <c:idx val="746"/>
            <c:spPr>
              <a:solidFill>
                <a:srgbClr val="AEABAB"/>
              </a:solidFill>
            </c:spPr>
          </c:dPt>
          <c:dPt>
            <c:idx val="747"/>
            <c:spPr>
              <a:solidFill>
                <a:srgbClr val="AEABAB"/>
              </a:solidFill>
            </c:spPr>
          </c:dPt>
          <c:dPt>
            <c:idx val="748"/>
            <c:spPr>
              <a:solidFill>
                <a:srgbClr val="AEABAB"/>
              </a:solidFill>
            </c:spPr>
          </c:dPt>
          <c:dPt>
            <c:idx val="749"/>
            <c:spPr>
              <a:solidFill>
                <a:srgbClr val="AEABAB"/>
              </a:solidFill>
            </c:spPr>
          </c:dPt>
          <c:dPt>
            <c:idx val="750"/>
            <c:spPr>
              <a:solidFill>
                <a:srgbClr val="AEABAB"/>
              </a:solidFill>
            </c:spPr>
          </c:dPt>
          <c:dPt>
            <c:idx val="751"/>
            <c:spPr>
              <a:solidFill>
                <a:srgbClr val="AEABAB"/>
              </a:solidFill>
            </c:spPr>
          </c:dPt>
          <c:dPt>
            <c:idx val="752"/>
            <c:spPr>
              <a:solidFill>
                <a:srgbClr val="AEABAB"/>
              </a:solidFill>
            </c:spPr>
          </c:dPt>
          <c:dPt>
            <c:idx val="753"/>
            <c:spPr>
              <a:solidFill>
                <a:srgbClr val="AEABAB"/>
              </a:solidFill>
            </c:spPr>
          </c:dPt>
          <c:dPt>
            <c:idx val="754"/>
            <c:spPr>
              <a:solidFill>
                <a:srgbClr val="AEABAB"/>
              </a:solidFill>
            </c:spPr>
          </c:dPt>
          <c:dPt>
            <c:idx val="755"/>
            <c:spPr>
              <a:solidFill>
                <a:srgbClr val="AEABAB"/>
              </a:solidFill>
            </c:spPr>
          </c:dPt>
          <c:dPt>
            <c:idx val="756"/>
            <c:spPr>
              <a:solidFill>
                <a:srgbClr val="AEABAB"/>
              </a:solidFill>
            </c:spPr>
          </c:dPt>
          <c:dPt>
            <c:idx val="757"/>
            <c:spPr>
              <a:solidFill>
                <a:srgbClr val="AEABAB"/>
              </a:solidFill>
            </c:spPr>
          </c:dPt>
          <c:dPt>
            <c:idx val="758"/>
            <c:spPr>
              <a:solidFill>
                <a:srgbClr val="AEABAB"/>
              </a:solidFill>
            </c:spPr>
          </c:dPt>
          <c:dPt>
            <c:idx val="759"/>
            <c:spPr>
              <a:solidFill>
                <a:srgbClr val="AEABAB"/>
              </a:solidFill>
            </c:spPr>
          </c:dPt>
          <c:dPt>
            <c:idx val="760"/>
            <c:spPr>
              <a:solidFill>
                <a:srgbClr val="AEABAB"/>
              </a:solidFill>
            </c:spPr>
          </c:dPt>
          <c:dPt>
            <c:idx val="761"/>
            <c:spPr>
              <a:solidFill>
                <a:srgbClr val="AEABAB"/>
              </a:solidFill>
            </c:spPr>
          </c:dPt>
          <c:dPt>
            <c:idx val="762"/>
            <c:spPr>
              <a:solidFill>
                <a:srgbClr val="AEABAB"/>
              </a:solidFill>
            </c:spPr>
          </c:dPt>
          <c:dPt>
            <c:idx val="763"/>
            <c:spPr>
              <a:solidFill>
                <a:srgbClr val="AEABAB"/>
              </a:solidFill>
            </c:spPr>
          </c:dPt>
          <c:dPt>
            <c:idx val="764"/>
            <c:spPr>
              <a:solidFill>
                <a:srgbClr val="AEABAB"/>
              </a:solidFill>
            </c:spPr>
          </c:dPt>
          <c:dPt>
            <c:idx val="765"/>
            <c:spPr>
              <a:solidFill>
                <a:srgbClr val="AEABAB"/>
              </a:solidFill>
            </c:spPr>
          </c:dPt>
          <c:dPt>
            <c:idx val="766"/>
            <c:spPr>
              <a:solidFill>
                <a:srgbClr val="AEABAB"/>
              </a:solidFill>
            </c:spPr>
          </c:dPt>
          <c:dPt>
            <c:idx val="767"/>
            <c:spPr>
              <a:solidFill>
                <a:srgbClr val="AEABAB"/>
              </a:solidFill>
            </c:spPr>
          </c:dPt>
          <c:dPt>
            <c:idx val="768"/>
            <c:spPr>
              <a:solidFill>
                <a:srgbClr val="AEABAB"/>
              </a:solidFill>
            </c:spPr>
          </c:dPt>
          <c:dPt>
            <c:idx val="769"/>
            <c:spPr>
              <a:solidFill>
                <a:srgbClr val="AEABAB"/>
              </a:solidFill>
            </c:spPr>
          </c:dPt>
          <c:dPt>
            <c:idx val="770"/>
            <c:spPr>
              <a:solidFill>
                <a:srgbClr val="AEABAB"/>
              </a:solidFill>
            </c:spPr>
          </c:dPt>
          <c:dPt>
            <c:idx val="771"/>
            <c:spPr>
              <a:solidFill>
                <a:srgbClr val="AEABAB"/>
              </a:solidFill>
            </c:spPr>
          </c:dPt>
          <c:dPt>
            <c:idx val="772"/>
            <c:spPr>
              <a:solidFill>
                <a:srgbClr val="AEABAB"/>
              </a:solidFill>
            </c:spPr>
          </c:dPt>
          <c:dPt>
            <c:idx val="773"/>
            <c:spPr>
              <a:solidFill>
                <a:srgbClr val="AEABAB"/>
              </a:solidFill>
            </c:spPr>
          </c:dPt>
          <c:dPt>
            <c:idx val="774"/>
            <c:spPr>
              <a:solidFill>
                <a:srgbClr val="AEABAB"/>
              </a:solidFill>
            </c:spPr>
          </c:dPt>
          <c:dPt>
            <c:idx val="775"/>
            <c:spPr>
              <a:solidFill>
                <a:srgbClr val="AEABAB"/>
              </a:solidFill>
            </c:spPr>
          </c:dPt>
          <c:dPt>
            <c:idx val="776"/>
            <c:spPr>
              <a:solidFill>
                <a:srgbClr val="AEABAB"/>
              </a:solidFill>
            </c:spPr>
          </c:dPt>
          <c:dPt>
            <c:idx val="777"/>
            <c:spPr>
              <a:solidFill>
                <a:srgbClr val="AEABAB"/>
              </a:solidFill>
            </c:spPr>
          </c:dPt>
          <c:dPt>
            <c:idx val="778"/>
            <c:spPr>
              <a:solidFill>
                <a:srgbClr val="AEABAB"/>
              </a:solidFill>
            </c:spPr>
          </c:dPt>
          <c:dPt>
            <c:idx val="779"/>
            <c:spPr>
              <a:solidFill>
                <a:srgbClr val="AEABAB"/>
              </a:solidFill>
            </c:spPr>
          </c:dPt>
          <c:dPt>
            <c:idx val="780"/>
            <c:spPr>
              <a:solidFill>
                <a:srgbClr val="AEABAB"/>
              </a:solidFill>
            </c:spPr>
          </c:dPt>
          <c:dPt>
            <c:idx val="781"/>
            <c:spPr>
              <a:solidFill>
                <a:srgbClr val="AEABAB"/>
              </a:solidFill>
            </c:spPr>
          </c:dPt>
          <c:dPt>
            <c:idx val="782"/>
            <c:spPr>
              <a:solidFill>
                <a:srgbClr val="AEABAB"/>
              </a:solidFill>
            </c:spPr>
          </c:dPt>
          <c:dPt>
            <c:idx val="783"/>
            <c:spPr>
              <a:solidFill>
                <a:srgbClr val="AEABAB"/>
              </a:solidFill>
            </c:spPr>
          </c:dPt>
          <c:dPt>
            <c:idx val="784"/>
            <c:spPr>
              <a:solidFill>
                <a:srgbClr val="AEABAB"/>
              </a:solidFill>
            </c:spPr>
          </c:dPt>
          <c:dPt>
            <c:idx val="785"/>
            <c:spPr>
              <a:solidFill>
                <a:srgbClr val="AEABAB"/>
              </a:solidFill>
            </c:spPr>
          </c:dPt>
          <c:dPt>
            <c:idx val="786"/>
            <c:spPr>
              <a:solidFill>
                <a:srgbClr val="AEABAB"/>
              </a:solidFill>
            </c:spPr>
          </c:dPt>
          <c:dPt>
            <c:idx val="787"/>
            <c:spPr>
              <a:solidFill>
                <a:srgbClr val="AEABAB"/>
              </a:solidFill>
            </c:spPr>
          </c:dPt>
          <c:dPt>
            <c:idx val="788"/>
            <c:spPr>
              <a:solidFill>
                <a:srgbClr val="AEABAB"/>
              </a:solidFill>
            </c:spPr>
          </c:dPt>
          <c:dPt>
            <c:idx val="789"/>
            <c:spPr>
              <a:solidFill>
                <a:srgbClr val="AEABAB"/>
              </a:solidFill>
            </c:spPr>
          </c:dPt>
          <c:dPt>
            <c:idx val="790"/>
            <c:spPr>
              <a:solidFill>
                <a:srgbClr val="AEABAB"/>
              </a:solidFill>
            </c:spPr>
          </c:dPt>
          <c:dPt>
            <c:idx val="791"/>
            <c:spPr>
              <a:solidFill>
                <a:srgbClr val="AEABAB"/>
              </a:solidFill>
            </c:spPr>
          </c:dPt>
          <c:dPt>
            <c:idx val="792"/>
            <c:spPr>
              <a:solidFill>
                <a:srgbClr val="AEABAB"/>
              </a:solidFill>
            </c:spPr>
          </c:dPt>
          <c:dPt>
            <c:idx val="793"/>
            <c:spPr>
              <a:solidFill>
                <a:srgbClr val="AEABAB"/>
              </a:solidFill>
            </c:spPr>
          </c:dPt>
          <c:dPt>
            <c:idx val="794"/>
            <c:spPr>
              <a:solidFill>
                <a:srgbClr val="AEABAB"/>
              </a:solidFill>
            </c:spPr>
          </c:dPt>
          <c:dPt>
            <c:idx val="795"/>
            <c:spPr>
              <a:solidFill>
                <a:srgbClr val="AEABAB"/>
              </a:solidFill>
            </c:spPr>
          </c:dPt>
          <c:dPt>
            <c:idx val="796"/>
            <c:spPr>
              <a:solidFill>
                <a:srgbClr val="AEABAB"/>
              </a:solidFill>
            </c:spPr>
          </c:dPt>
          <c:dPt>
            <c:idx val="797"/>
            <c:spPr>
              <a:solidFill>
                <a:srgbClr val="AEABAB"/>
              </a:solidFill>
            </c:spPr>
          </c:dPt>
          <c:dPt>
            <c:idx val="798"/>
            <c:spPr>
              <a:solidFill>
                <a:srgbClr val="AEABAB"/>
              </a:solidFill>
            </c:spPr>
          </c:dPt>
          <c:dPt>
            <c:idx val="799"/>
            <c:spPr>
              <a:solidFill>
                <a:srgbClr val="AEABAB"/>
              </a:solidFill>
            </c:spPr>
          </c:dPt>
          <c:dPt>
            <c:idx val="800"/>
            <c:spPr>
              <a:solidFill>
                <a:srgbClr val="AEABAB"/>
              </a:solidFill>
            </c:spPr>
          </c:dPt>
          <c:dPt>
            <c:idx val="801"/>
            <c:spPr>
              <a:solidFill>
                <a:srgbClr val="AEABAB"/>
              </a:solidFill>
            </c:spPr>
          </c:dPt>
          <c:dPt>
            <c:idx val="802"/>
            <c:spPr>
              <a:solidFill>
                <a:srgbClr val="AEABAB"/>
              </a:solidFill>
            </c:spPr>
          </c:dPt>
          <c:dPt>
            <c:idx val="803"/>
            <c:spPr>
              <a:solidFill>
                <a:srgbClr val="AEABAB"/>
              </a:solidFill>
            </c:spPr>
          </c:dPt>
          <c:dPt>
            <c:idx val="804"/>
            <c:spPr>
              <a:solidFill>
                <a:srgbClr val="AEABAB"/>
              </a:solidFill>
            </c:spPr>
          </c:dPt>
          <c:dPt>
            <c:idx val="805"/>
            <c:spPr>
              <a:solidFill>
                <a:srgbClr val="AEABAB"/>
              </a:solidFill>
            </c:spPr>
          </c:dPt>
          <c:dPt>
            <c:idx val="806"/>
            <c:spPr>
              <a:solidFill>
                <a:srgbClr val="AEABAB"/>
              </a:solidFill>
            </c:spPr>
          </c:dPt>
          <c:dPt>
            <c:idx val="807"/>
            <c:spPr>
              <a:solidFill>
                <a:srgbClr val="AEABAB"/>
              </a:solidFill>
            </c:spPr>
          </c:dPt>
          <c:dPt>
            <c:idx val="808"/>
            <c:spPr>
              <a:solidFill>
                <a:srgbClr val="AEABAB"/>
              </a:solidFill>
            </c:spPr>
          </c:dPt>
          <c:dPt>
            <c:idx val="809"/>
            <c:spPr>
              <a:solidFill>
                <a:srgbClr val="AEABAB"/>
              </a:solidFill>
            </c:spPr>
          </c:dPt>
          <c:dPt>
            <c:idx val="810"/>
            <c:spPr>
              <a:solidFill>
                <a:srgbClr val="AEABAB"/>
              </a:solidFill>
            </c:spPr>
          </c:dPt>
          <c:dPt>
            <c:idx val="811"/>
            <c:spPr>
              <a:solidFill>
                <a:srgbClr val="AEABAB"/>
              </a:solidFill>
            </c:spPr>
          </c:dPt>
          <c:dPt>
            <c:idx val="812"/>
            <c:spPr>
              <a:solidFill>
                <a:srgbClr val="AEABAB"/>
              </a:solidFill>
            </c:spPr>
          </c:dPt>
          <c:dPt>
            <c:idx val="813"/>
            <c:spPr>
              <a:solidFill>
                <a:srgbClr val="AEABAB"/>
              </a:solidFill>
            </c:spPr>
          </c:dPt>
          <c:dPt>
            <c:idx val="814"/>
            <c:spPr>
              <a:solidFill>
                <a:srgbClr val="AEABAB"/>
              </a:solidFill>
            </c:spPr>
          </c:dPt>
          <c:dPt>
            <c:idx val="815"/>
            <c:spPr>
              <a:solidFill>
                <a:srgbClr val="AEABAB"/>
              </a:solidFill>
            </c:spPr>
          </c:dPt>
          <c:dPt>
            <c:idx val="816"/>
            <c:spPr>
              <a:solidFill>
                <a:srgbClr val="AEABAB"/>
              </a:solidFill>
            </c:spPr>
          </c:dPt>
          <c:dPt>
            <c:idx val="817"/>
            <c:spPr>
              <a:solidFill>
                <a:srgbClr val="AEABAB"/>
              </a:solidFill>
            </c:spPr>
          </c:dPt>
          <c:dPt>
            <c:idx val="818"/>
            <c:spPr>
              <a:solidFill>
                <a:srgbClr val="AEABAB"/>
              </a:solidFill>
            </c:spPr>
          </c:dPt>
          <c:dPt>
            <c:idx val="819"/>
            <c:spPr>
              <a:solidFill>
                <a:srgbClr val="AEABAB"/>
              </a:solidFill>
            </c:spPr>
          </c:dPt>
          <c:dPt>
            <c:idx val="820"/>
            <c:spPr>
              <a:solidFill>
                <a:srgbClr val="AEABAB"/>
              </a:solidFill>
            </c:spPr>
          </c:dPt>
          <c:dPt>
            <c:idx val="821"/>
            <c:spPr>
              <a:solidFill>
                <a:srgbClr val="AEABAB"/>
              </a:solidFill>
            </c:spPr>
          </c:dPt>
          <c:dPt>
            <c:idx val="822"/>
            <c:spPr>
              <a:solidFill>
                <a:srgbClr val="AEABAB"/>
              </a:solidFill>
            </c:spPr>
          </c:dPt>
          <c:dPt>
            <c:idx val="823"/>
            <c:spPr>
              <a:solidFill>
                <a:srgbClr val="AEABAB"/>
              </a:solidFill>
            </c:spPr>
          </c:dPt>
          <c:dPt>
            <c:idx val="824"/>
            <c:spPr>
              <a:solidFill>
                <a:srgbClr val="AEABAB"/>
              </a:solidFill>
            </c:spPr>
          </c:dPt>
          <c:dPt>
            <c:idx val="825"/>
            <c:spPr>
              <a:solidFill>
                <a:srgbClr val="AEABAB"/>
              </a:solidFill>
            </c:spPr>
          </c:dPt>
          <c:dPt>
            <c:idx val="826"/>
            <c:spPr>
              <a:solidFill>
                <a:srgbClr val="AEABAB"/>
              </a:solidFill>
            </c:spPr>
          </c:dPt>
          <c:dPt>
            <c:idx val="827"/>
            <c:spPr>
              <a:solidFill>
                <a:srgbClr val="AEABAB"/>
              </a:solidFill>
            </c:spPr>
          </c:dPt>
          <c:dPt>
            <c:idx val="828"/>
            <c:spPr>
              <a:solidFill>
                <a:srgbClr val="AEABAB"/>
              </a:solidFill>
            </c:spPr>
          </c:dPt>
          <c:dPt>
            <c:idx val="829"/>
            <c:spPr>
              <a:solidFill>
                <a:srgbClr val="AEABAB"/>
              </a:solidFill>
            </c:spPr>
          </c:dPt>
          <c:dPt>
            <c:idx val="830"/>
            <c:spPr>
              <a:solidFill>
                <a:srgbClr val="AEABAB"/>
              </a:solidFill>
            </c:spPr>
          </c:dPt>
          <c:dPt>
            <c:idx val="831"/>
            <c:spPr>
              <a:solidFill>
                <a:srgbClr val="AEABAB"/>
              </a:solidFill>
            </c:spPr>
          </c:dPt>
          <c:dPt>
            <c:idx val="832"/>
            <c:spPr>
              <a:solidFill>
                <a:srgbClr val="AEABAB"/>
              </a:solidFill>
            </c:spPr>
          </c:dPt>
          <c:dPt>
            <c:idx val="833"/>
            <c:spPr>
              <a:solidFill>
                <a:srgbClr val="AEABAB"/>
              </a:solidFill>
            </c:spPr>
          </c:dPt>
          <c:dPt>
            <c:idx val="834"/>
            <c:spPr>
              <a:solidFill>
                <a:srgbClr val="AEABAB"/>
              </a:solidFill>
            </c:spPr>
          </c:dPt>
          <c:dPt>
            <c:idx val="835"/>
            <c:spPr>
              <a:solidFill>
                <a:srgbClr val="AEABAB"/>
              </a:solidFill>
            </c:spPr>
          </c:dPt>
          <c:dPt>
            <c:idx val="836"/>
            <c:spPr>
              <a:solidFill>
                <a:srgbClr val="AEABAB"/>
              </a:solidFill>
            </c:spPr>
          </c:dPt>
          <c:dPt>
            <c:idx val="837"/>
            <c:spPr>
              <a:solidFill>
                <a:srgbClr val="AEABAB"/>
              </a:solidFill>
            </c:spPr>
          </c:dPt>
          <c:dPt>
            <c:idx val="838"/>
            <c:spPr>
              <a:solidFill>
                <a:srgbClr val="AEABAB"/>
              </a:solidFill>
            </c:spPr>
          </c:dPt>
          <c:dPt>
            <c:idx val="839"/>
            <c:spPr>
              <a:solidFill>
                <a:srgbClr val="AEABAB"/>
              </a:solidFill>
            </c:spPr>
          </c:dPt>
          <c:dPt>
            <c:idx val="840"/>
            <c:spPr>
              <a:solidFill>
                <a:srgbClr val="AEABAB"/>
              </a:solidFill>
            </c:spPr>
          </c:dPt>
          <c:dPt>
            <c:idx val="841"/>
            <c:spPr>
              <a:solidFill>
                <a:srgbClr val="AEABAB"/>
              </a:solidFill>
            </c:spPr>
          </c:dPt>
          <c:dPt>
            <c:idx val="842"/>
            <c:spPr>
              <a:solidFill>
                <a:srgbClr val="AEABAB"/>
              </a:solidFill>
            </c:spPr>
          </c:dPt>
          <c:dPt>
            <c:idx val="843"/>
            <c:spPr>
              <a:solidFill>
                <a:srgbClr val="AEABAB"/>
              </a:solidFill>
            </c:spPr>
          </c:dPt>
          <c:dPt>
            <c:idx val="844"/>
            <c:spPr>
              <a:solidFill>
                <a:srgbClr val="AEABAB"/>
              </a:solidFill>
            </c:spPr>
          </c:dPt>
          <c:dPt>
            <c:idx val="845"/>
            <c:spPr>
              <a:solidFill>
                <a:srgbClr val="AEABAB"/>
              </a:solidFill>
            </c:spPr>
          </c:dPt>
          <c:dPt>
            <c:idx val="846"/>
            <c:spPr>
              <a:solidFill>
                <a:srgbClr val="AEABAB"/>
              </a:solidFill>
            </c:spPr>
          </c:dPt>
          <c:dPt>
            <c:idx val="847"/>
            <c:spPr>
              <a:solidFill>
                <a:srgbClr val="AEABAB"/>
              </a:solidFill>
            </c:spPr>
          </c:dPt>
          <c:dPt>
            <c:idx val="848"/>
            <c:spPr>
              <a:solidFill>
                <a:srgbClr val="AEABAB"/>
              </a:solidFill>
            </c:spPr>
          </c:dPt>
          <c:dPt>
            <c:idx val="849"/>
            <c:spPr>
              <a:solidFill>
                <a:srgbClr val="AEABAB"/>
              </a:solidFill>
            </c:spPr>
          </c:dPt>
          <c:dPt>
            <c:idx val="850"/>
            <c:spPr>
              <a:solidFill>
                <a:srgbClr val="AEABAB"/>
              </a:solidFill>
            </c:spPr>
          </c:dPt>
          <c:dPt>
            <c:idx val="851"/>
            <c:spPr>
              <a:solidFill>
                <a:srgbClr val="AEABAB"/>
              </a:solidFill>
            </c:spPr>
          </c:dPt>
          <c:dPt>
            <c:idx val="852"/>
            <c:spPr>
              <a:solidFill>
                <a:srgbClr val="AEABAB"/>
              </a:solidFill>
            </c:spPr>
          </c:dPt>
          <c:dPt>
            <c:idx val="853"/>
            <c:spPr>
              <a:solidFill>
                <a:srgbClr val="AEABAB"/>
              </a:solidFill>
            </c:spPr>
          </c:dPt>
          <c:dPt>
            <c:idx val="854"/>
            <c:spPr>
              <a:solidFill>
                <a:srgbClr val="AEABAB"/>
              </a:solidFill>
            </c:spPr>
          </c:dPt>
          <c:dPt>
            <c:idx val="855"/>
            <c:spPr>
              <a:solidFill>
                <a:srgbClr val="AEABAB"/>
              </a:solidFill>
            </c:spPr>
          </c:dPt>
          <c:dPt>
            <c:idx val="856"/>
            <c:spPr>
              <a:solidFill>
                <a:srgbClr val="AEABAB"/>
              </a:solidFill>
            </c:spPr>
          </c:dPt>
          <c:dPt>
            <c:idx val="857"/>
            <c:spPr>
              <a:solidFill>
                <a:srgbClr val="AEABAB"/>
              </a:solidFill>
            </c:spPr>
          </c:dPt>
          <c:dPt>
            <c:idx val="858"/>
            <c:spPr>
              <a:solidFill>
                <a:srgbClr val="AEABAB"/>
              </a:solidFill>
            </c:spPr>
          </c:dPt>
          <c:dPt>
            <c:idx val="859"/>
            <c:spPr>
              <a:solidFill>
                <a:srgbClr val="AEABAB"/>
              </a:solidFill>
            </c:spPr>
          </c:dPt>
          <c:dPt>
            <c:idx val="860"/>
            <c:spPr>
              <a:solidFill>
                <a:srgbClr val="AEABAB"/>
              </a:solidFill>
            </c:spPr>
          </c:dPt>
          <c:dPt>
            <c:idx val="861"/>
            <c:spPr>
              <a:solidFill>
                <a:srgbClr val="AEABAB"/>
              </a:solidFill>
            </c:spPr>
          </c:dPt>
          <c:dPt>
            <c:idx val="862"/>
            <c:spPr>
              <a:solidFill>
                <a:srgbClr val="AEABAB"/>
              </a:solidFill>
            </c:spPr>
          </c:dPt>
          <c:dPt>
            <c:idx val="863"/>
            <c:spPr>
              <a:solidFill>
                <a:srgbClr val="AEABAB"/>
              </a:solidFill>
            </c:spPr>
          </c:dPt>
          <c:dPt>
            <c:idx val="864"/>
            <c:spPr>
              <a:solidFill>
                <a:srgbClr val="AEABAB"/>
              </a:solidFill>
            </c:spPr>
          </c:dPt>
          <c:dPt>
            <c:idx val="865"/>
            <c:spPr>
              <a:solidFill>
                <a:srgbClr val="AEABAB"/>
              </a:solidFill>
            </c:spPr>
          </c:dPt>
          <c:dPt>
            <c:idx val="866"/>
            <c:spPr>
              <a:solidFill>
                <a:srgbClr val="AEABAB"/>
              </a:solidFill>
            </c:spPr>
          </c:dPt>
          <c:dPt>
            <c:idx val="867"/>
            <c:spPr>
              <a:solidFill>
                <a:srgbClr val="AEABAB"/>
              </a:solidFill>
            </c:spPr>
          </c:dPt>
          <c:dPt>
            <c:idx val="868"/>
            <c:spPr>
              <a:solidFill>
                <a:srgbClr val="AEABAB"/>
              </a:solidFill>
            </c:spPr>
          </c:dPt>
          <c:dPt>
            <c:idx val="869"/>
            <c:spPr>
              <a:solidFill>
                <a:srgbClr val="AEABAB"/>
              </a:solidFill>
            </c:spPr>
          </c:dPt>
          <c:dPt>
            <c:idx val="870"/>
            <c:spPr>
              <a:solidFill>
                <a:srgbClr val="AEABAB"/>
              </a:solidFill>
            </c:spPr>
          </c:dPt>
          <c:dPt>
            <c:idx val="871"/>
            <c:spPr>
              <a:solidFill>
                <a:srgbClr val="AEABAB"/>
              </a:solidFill>
            </c:spPr>
          </c:dPt>
          <c:dPt>
            <c:idx val="872"/>
            <c:spPr>
              <a:solidFill>
                <a:srgbClr val="AEABAB"/>
              </a:solidFill>
            </c:spPr>
          </c:dPt>
          <c:dPt>
            <c:idx val="873"/>
            <c:spPr>
              <a:solidFill>
                <a:srgbClr val="AEABAB"/>
              </a:solidFill>
            </c:spPr>
          </c:dPt>
          <c:dPt>
            <c:idx val="874"/>
            <c:spPr>
              <a:solidFill>
                <a:srgbClr val="AEABAB"/>
              </a:solidFill>
            </c:spPr>
          </c:dPt>
          <c:dPt>
            <c:idx val="875"/>
            <c:spPr>
              <a:solidFill>
                <a:srgbClr val="AEABAB"/>
              </a:solidFill>
            </c:spPr>
          </c:dPt>
          <c:dPt>
            <c:idx val="876"/>
            <c:spPr>
              <a:solidFill>
                <a:srgbClr val="AEABAB"/>
              </a:solidFill>
            </c:spPr>
          </c:dPt>
          <c:dPt>
            <c:idx val="877"/>
            <c:spPr>
              <a:solidFill>
                <a:srgbClr val="AEABAB"/>
              </a:solidFill>
            </c:spPr>
          </c:dPt>
          <c:dPt>
            <c:idx val="878"/>
            <c:spPr>
              <a:solidFill>
                <a:srgbClr val="AEABAB"/>
              </a:solidFill>
            </c:spPr>
          </c:dPt>
          <c:dPt>
            <c:idx val="879"/>
            <c:spPr>
              <a:solidFill>
                <a:srgbClr val="AEABAB"/>
              </a:solidFill>
            </c:spPr>
          </c:dPt>
          <c:dPt>
            <c:idx val="880"/>
            <c:spPr>
              <a:solidFill>
                <a:srgbClr val="AEABAB"/>
              </a:solidFill>
            </c:spPr>
          </c:dPt>
          <c:dPt>
            <c:idx val="881"/>
            <c:spPr>
              <a:solidFill>
                <a:srgbClr val="AEABAB"/>
              </a:solidFill>
            </c:spPr>
          </c:dPt>
          <c:dPt>
            <c:idx val="882"/>
            <c:spPr>
              <a:solidFill>
                <a:srgbClr val="AEABAB"/>
              </a:solidFill>
            </c:spPr>
          </c:dPt>
          <c:dPt>
            <c:idx val="883"/>
            <c:spPr>
              <a:solidFill>
                <a:srgbClr val="AEABAB"/>
              </a:solidFill>
            </c:spPr>
          </c:dPt>
          <c:dPt>
            <c:idx val="884"/>
            <c:spPr>
              <a:solidFill>
                <a:srgbClr val="AEABAB"/>
              </a:solidFill>
            </c:spPr>
          </c:dPt>
          <c:dPt>
            <c:idx val="885"/>
            <c:spPr>
              <a:solidFill>
                <a:srgbClr val="AEABAB"/>
              </a:solidFill>
            </c:spPr>
          </c:dPt>
          <c:dPt>
            <c:idx val="886"/>
            <c:spPr>
              <a:solidFill>
                <a:srgbClr val="AEABAB"/>
              </a:solidFill>
            </c:spPr>
          </c:dPt>
          <c:dPt>
            <c:idx val="887"/>
            <c:spPr>
              <a:solidFill>
                <a:srgbClr val="AEABAB"/>
              </a:solidFill>
            </c:spPr>
          </c:dPt>
          <c:dPt>
            <c:idx val="888"/>
            <c:spPr>
              <a:solidFill>
                <a:srgbClr val="AEABAB"/>
              </a:solidFill>
            </c:spPr>
          </c:dPt>
          <c:dPt>
            <c:idx val="889"/>
            <c:spPr>
              <a:solidFill>
                <a:srgbClr val="AEABAB"/>
              </a:solidFill>
            </c:spPr>
          </c:dPt>
          <c:dPt>
            <c:idx val="890"/>
            <c:spPr>
              <a:solidFill>
                <a:srgbClr val="AEABAB"/>
              </a:solidFill>
            </c:spPr>
          </c:dPt>
          <c:dPt>
            <c:idx val="891"/>
            <c:spPr>
              <a:solidFill>
                <a:srgbClr val="AEABAB"/>
              </a:solidFill>
            </c:spPr>
          </c:dPt>
          <c:dPt>
            <c:idx val="892"/>
            <c:spPr>
              <a:solidFill>
                <a:srgbClr val="AEABAB"/>
              </a:solidFill>
            </c:spPr>
          </c:dPt>
          <c:dPt>
            <c:idx val="893"/>
            <c:spPr>
              <a:solidFill>
                <a:srgbClr val="AEABAB"/>
              </a:solidFill>
            </c:spPr>
          </c:dPt>
          <c:dPt>
            <c:idx val="894"/>
            <c:spPr>
              <a:solidFill>
                <a:srgbClr val="AEABAB"/>
              </a:solidFill>
            </c:spPr>
          </c:dPt>
          <c:dPt>
            <c:idx val="895"/>
            <c:spPr>
              <a:solidFill>
                <a:srgbClr val="AEABAB"/>
              </a:solidFill>
            </c:spPr>
          </c:dPt>
          <c:dPt>
            <c:idx val="896"/>
            <c:spPr>
              <a:solidFill>
                <a:srgbClr val="AEABAB"/>
              </a:solidFill>
            </c:spPr>
          </c:dPt>
          <c:dPt>
            <c:idx val="897"/>
            <c:spPr>
              <a:solidFill>
                <a:srgbClr val="AEABAB"/>
              </a:solidFill>
            </c:spPr>
          </c:dPt>
          <c:dPt>
            <c:idx val="898"/>
            <c:spPr>
              <a:solidFill>
                <a:srgbClr val="AEABAB"/>
              </a:solidFill>
            </c:spPr>
          </c:dPt>
          <c:dPt>
            <c:idx val="899"/>
            <c:spPr>
              <a:solidFill>
                <a:srgbClr val="AEABAB"/>
              </a:solidFill>
            </c:spPr>
          </c:dPt>
          <c:dPt>
            <c:idx val="900"/>
            <c:spPr>
              <a:solidFill>
                <a:srgbClr val="AEABAB"/>
              </a:solidFill>
            </c:spPr>
          </c:dPt>
          <c:dPt>
            <c:idx val="901"/>
            <c:spPr>
              <a:solidFill>
                <a:srgbClr val="AEABAB"/>
              </a:solidFill>
            </c:spPr>
          </c:dPt>
          <c:dPt>
            <c:idx val="902"/>
            <c:spPr>
              <a:solidFill>
                <a:srgbClr val="AEABAB"/>
              </a:solidFill>
            </c:spPr>
          </c:dPt>
          <c:dPt>
            <c:idx val="903"/>
            <c:spPr>
              <a:solidFill>
                <a:srgbClr val="AEABAB"/>
              </a:solidFill>
            </c:spPr>
          </c:dPt>
          <c:dPt>
            <c:idx val="904"/>
            <c:spPr>
              <a:solidFill>
                <a:srgbClr val="AEABAB"/>
              </a:solidFill>
            </c:spPr>
          </c:dPt>
          <c:dPt>
            <c:idx val="905"/>
            <c:spPr>
              <a:solidFill>
                <a:srgbClr val="AEABAB"/>
              </a:solidFill>
            </c:spPr>
          </c:dPt>
          <c:dPt>
            <c:idx val="906"/>
            <c:spPr>
              <a:solidFill>
                <a:srgbClr val="AEABAB"/>
              </a:solidFill>
            </c:spPr>
          </c:dPt>
          <c:dPt>
            <c:idx val="907"/>
            <c:spPr>
              <a:solidFill>
                <a:srgbClr val="AEABAB"/>
              </a:solidFill>
            </c:spPr>
          </c:dPt>
          <c:dPt>
            <c:idx val="908"/>
            <c:spPr>
              <a:solidFill>
                <a:srgbClr val="AEABAB"/>
              </a:solidFill>
            </c:spPr>
          </c:dPt>
          <c:dPt>
            <c:idx val="909"/>
            <c:spPr>
              <a:solidFill>
                <a:srgbClr val="AEABAB"/>
              </a:solidFill>
            </c:spPr>
          </c:dPt>
          <c:dPt>
            <c:idx val="910"/>
            <c:spPr>
              <a:solidFill>
                <a:srgbClr val="AEABAB"/>
              </a:solidFill>
            </c:spPr>
          </c:dPt>
          <c:dPt>
            <c:idx val="911"/>
            <c:spPr>
              <a:solidFill>
                <a:srgbClr val="AEABAB"/>
              </a:solidFill>
            </c:spPr>
          </c:dPt>
          <c:dPt>
            <c:idx val="912"/>
            <c:spPr>
              <a:solidFill>
                <a:srgbClr val="AEABAB"/>
              </a:solidFill>
            </c:spPr>
          </c:dPt>
          <c:dPt>
            <c:idx val="913"/>
            <c:spPr>
              <a:solidFill>
                <a:srgbClr val="AEABAB"/>
              </a:solidFill>
            </c:spPr>
          </c:dPt>
          <c:dPt>
            <c:idx val="914"/>
            <c:spPr>
              <a:solidFill>
                <a:srgbClr val="AEABAB"/>
              </a:solidFill>
            </c:spPr>
          </c:dPt>
          <c:dPt>
            <c:idx val="915"/>
            <c:spPr>
              <a:solidFill>
                <a:srgbClr val="AEABAB"/>
              </a:solidFill>
            </c:spPr>
          </c:dPt>
          <c:dPt>
            <c:idx val="916"/>
            <c:spPr>
              <a:solidFill>
                <a:srgbClr val="AEABAB"/>
              </a:solidFill>
            </c:spPr>
          </c:dPt>
          <c:dPt>
            <c:idx val="917"/>
            <c:spPr>
              <a:solidFill>
                <a:srgbClr val="AEABAB"/>
              </a:solidFill>
            </c:spPr>
          </c:dPt>
          <c:dPt>
            <c:idx val="918"/>
            <c:spPr>
              <a:solidFill>
                <a:srgbClr val="AEABAB"/>
              </a:solidFill>
            </c:spPr>
          </c:dPt>
          <c:dPt>
            <c:idx val="919"/>
            <c:spPr>
              <a:solidFill>
                <a:srgbClr val="AEABAB"/>
              </a:solidFill>
            </c:spPr>
          </c:dPt>
          <c:dPt>
            <c:idx val="920"/>
            <c:spPr>
              <a:solidFill>
                <a:srgbClr val="AEABAB"/>
              </a:solidFill>
            </c:spPr>
          </c:dPt>
          <c:dPt>
            <c:idx val="921"/>
            <c:spPr>
              <a:solidFill>
                <a:srgbClr val="AEABAB"/>
              </a:solidFill>
            </c:spPr>
          </c:dPt>
          <c:dPt>
            <c:idx val="922"/>
            <c:spPr>
              <a:solidFill>
                <a:srgbClr val="AEABAB"/>
              </a:solidFill>
            </c:spPr>
          </c:dPt>
          <c:dPt>
            <c:idx val="923"/>
            <c:spPr>
              <a:solidFill>
                <a:srgbClr val="AEABAB"/>
              </a:solidFill>
            </c:spPr>
          </c:dPt>
          <c:dPt>
            <c:idx val="924"/>
            <c:spPr>
              <a:solidFill>
                <a:srgbClr val="AEABAB"/>
              </a:solidFill>
            </c:spPr>
          </c:dPt>
          <c:dPt>
            <c:idx val="925"/>
            <c:spPr>
              <a:solidFill>
                <a:srgbClr val="AEABAB"/>
              </a:solidFill>
            </c:spPr>
          </c:dPt>
          <c:cat>
            <c:strRef>
              <c:f>Sheet1!$A$2:$A$927</c:f>
              <c:strCache>
                <c:ptCount val="926"/>
                <c:pt idx="0">
                  <c:v>Private Lab</c:v>
                </c:pt>
                <c:pt idx="1">
                  <c:v>Private Lab</c:v>
                </c:pt>
                <c:pt idx="2">
                  <c:v>Private Lab</c:v>
                </c:pt>
                <c:pt idx="3">
                  <c:v>Private Lab</c:v>
                </c:pt>
                <c:pt idx="4">
                  <c:v>Private Lab</c:v>
                </c:pt>
                <c:pt idx="5">
                  <c:v>Private Lab</c:v>
                </c:pt>
                <c:pt idx="6">
                  <c:v>Soignon</c:v>
                </c:pt>
                <c:pt idx="7">
                  <c:v>Caprice Des</c:v>
                </c:pt>
                <c:pt idx="8">
                  <c:v>Mini Babybe</c:v>
                </c:pt>
                <c:pt idx="9">
                  <c:v>Private Lab</c:v>
                </c:pt>
                <c:pt idx="10">
                  <c:v>St Moret</c:v>
                </c:pt>
                <c:pt idx="11">
                  <c:v>La Vache Qu</c:v>
                </c:pt>
                <c:pt idx="12">
                  <c:v>Private Lab</c:v>
                </c:pt>
                <c:pt idx="13">
                  <c:v>Le Rustique</c:v>
                </c:pt>
                <c:pt idx="14">
                  <c:v>Coeur De Li</c:v>
                </c:pt>
                <c:pt idx="15">
                  <c:v>Kiri</c:v>
                </c:pt>
                <c:pt idx="16">
                  <c:v>Galbani</c:v>
                </c:pt>
                <c:pt idx="17">
                  <c:v>President</c:v>
                </c:pt>
                <c:pt idx="18">
                  <c:v>Private Lab</c:v>
                </c:pt>
                <c:pt idx="19">
                  <c:v>Paysan Bret</c:v>
                </c:pt>
                <c:pt idx="20">
                  <c:v>President</c:v>
                </c:pt>
                <c:pt idx="21">
                  <c:v>Private Lab</c:v>
                </c:pt>
                <c:pt idx="22">
                  <c:v>Philadelphi</c:v>
                </c:pt>
                <c:pt idx="23">
                  <c:v>Coeur De Li</c:v>
                </c:pt>
                <c:pt idx="24">
                  <c:v>Private Lab</c:v>
                </c:pt>
                <c:pt idx="25">
                  <c:v>Private Lab</c:v>
                </c:pt>
                <c:pt idx="26">
                  <c:v>Private Lab</c:v>
                </c:pt>
                <c:pt idx="27">
                  <c:v>Private Lab</c:v>
                </c:pt>
                <c:pt idx="28">
                  <c:v>Private Lab</c:v>
                </c:pt>
                <c:pt idx="29">
                  <c:v>Ficello</c:v>
                </c:pt>
                <c:pt idx="30">
                  <c:v>Leerdammer</c:v>
                </c:pt>
                <c:pt idx="31">
                  <c:v>Caprice Des</c:v>
                </c:pt>
                <c:pt idx="32">
                  <c:v>Salakis</c:v>
                </c:pt>
                <c:pt idx="33">
                  <c:v>Soignon</c:v>
                </c:pt>
                <c:pt idx="34">
                  <c:v>La Vache Qu</c:v>
                </c:pt>
                <c:pt idx="35">
                  <c:v>Boursin</c:v>
                </c:pt>
                <c:pt idx="36">
                  <c:v>Soignon</c:v>
                </c:pt>
                <c:pt idx="37">
                  <c:v>President</c:v>
                </c:pt>
                <c:pt idx="38">
                  <c:v>Petit Billy</c:v>
                </c:pt>
                <c:pt idx="39">
                  <c:v>St Moret</c:v>
                </c:pt>
                <c:pt idx="40">
                  <c:v>Private Lab</c:v>
                </c:pt>
                <c:pt idx="41">
                  <c:v>St Moret</c:v>
                </c:pt>
                <c:pt idx="42">
                  <c:v>Private Lab</c:v>
                </c:pt>
                <c:pt idx="43">
                  <c:v>Chaussee Au</c:v>
                </c:pt>
                <c:pt idx="44">
                  <c:v>Private Lab</c:v>
                </c:pt>
                <c:pt idx="45">
                  <c:v>Private Lab</c:v>
                </c:pt>
                <c:pt idx="46">
                  <c:v>Tartare</c:v>
                </c:pt>
                <c:pt idx="47">
                  <c:v>Private Lab</c:v>
                </c:pt>
                <c:pt idx="48">
                  <c:v>Private Lab</c:v>
                </c:pt>
                <c:pt idx="49">
                  <c:v>President</c:v>
                </c:pt>
                <c:pt idx="50">
                  <c:v>Soignon</c:v>
                </c:pt>
                <c:pt idx="51">
                  <c:v>Entremont</c:v>
                </c:pt>
                <c:pt idx="52">
                  <c:v>Private Lab</c:v>
                </c:pt>
                <c:pt idx="53">
                  <c:v>Private Lab</c:v>
                </c:pt>
                <c:pt idx="54">
                  <c:v>Boursin</c:v>
                </c:pt>
                <c:pt idx="55">
                  <c:v>Caprice Des</c:v>
                </c:pt>
                <c:pt idx="56">
                  <c:v>All Others</c:v>
                </c:pt>
                <c:pt idx="57">
                  <c:v>Kiri</c:v>
                </c:pt>
                <c:pt idx="58">
                  <c:v>Aperivrais</c:v>
                </c:pt>
                <c:pt idx="59">
                  <c:v>All Others</c:v>
                </c:pt>
                <c:pt idx="60">
                  <c:v>Le Brebiou</c:v>
                </c:pt>
                <c:pt idx="61">
                  <c:v>Private Lab</c:v>
                </c:pt>
                <c:pt idx="62">
                  <c:v>Private Lab</c:v>
                </c:pt>
                <c:pt idx="63">
                  <c:v>Apericube</c:v>
                </c:pt>
                <c:pt idx="64">
                  <c:v>Richesmonts</c:v>
                </c:pt>
                <c:pt idx="65">
                  <c:v>Private Lab</c:v>
                </c:pt>
                <c:pt idx="66">
                  <c:v>President</c:v>
                </c:pt>
                <c:pt idx="67">
                  <c:v>Private Lab</c:v>
                </c:pt>
                <c:pt idx="68">
                  <c:v>Private Lab</c:v>
                </c:pt>
                <c:pt idx="69">
                  <c:v>Private Lab</c:v>
                </c:pt>
                <c:pt idx="70">
                  <c:v>Carre Frais</c:v>
                </c:pt>
                <c:pt idx="71">
                  <c:v>Chavroux</c:v>
                </c:pt>
                <c:pt idx="72">
                  <c:v>Private Lab</c:v>
                </c:pt>
                <c:pt idx="73">
                  <c:v>Private Lab</c:v>
                </c:pt>
                <c:pt idx="74">
                  <c:v>President</c:v>
                </c:pt>
                <c:pt idx="75">
                  <c:v>Boursin</c:v>
                </c:pt>
                <c:pt idx="76">
                  <c:v>Etorki</c:v>
                </c:pt>
                <c:pt idx="77">
                  <c:v>President</c:v>
                </c:pt>
                <c:pt idx="78">
                  <c:v>Private Lab</c:v>
                </c:pt>
                <c:pt idx="79">
                  <c:v>President</c:v>
                </c:pt>
                <c:pt idx="80">
                  <c:v>Istara</c:v>
                </c:pt>
                <c:pt idx="81">
                  <c:v>Private Lab</c:v>
                </c:pt>
                <c:pt idx="82">
                  <c:v>Lou Perac</c:v>
                </c:pt>
                <c:pt idx="83">
                  <c:v>All Others</c:v>
                </c:pt>
                <c:pt idx="84">
                  <c:v>Paysan Bret</c:v>
                </c:pt>
                <c:pt idx="85">
                  <c:v>Private Lab</c:v>
                </c:pt>
                <c:pt idx="86">
                  <c:v>Tartare</c:v>
                </c:pt>
                <c:pt idx="87">
                  <c:v>Boursin</c:v>
                </c:pt>
                <c:pt idx="88">
                  <c:v>Lepetit</c:v>
                </c:pt>
                <c:pt idx="89">
                  <c:v>Aperivrais</c:v>
                </c:pt>
                <c:pt idx="90">
                  <c:v>Private Lab</c:v>
                </c:pt>
                <c:pt idx="91">
                  <c:v>Private Lab</c:v>
                </c:pt>
                <c:pt idx="92">
                  <c:v>Saint Albra</c:v>
                </c:pt>
                <c:pt idx="93">
                  <c:v>Salakis</c:v>
                </c:pt>
                <c:pt idx="94">
                  <c:v>Saint Agur</c:v>
                </c:pt>
                <c:pt idx="95">
                  <c:v>Casa Azzurr</c:v>
                </c:pt>
                <c:pt idx="96">
                  <c:v>Private Lab</c:v>
                </c:pt>
                <c:pt idx="97">
                  <c:v>Private Lab</c:v>
                </c:pt>
                <c:pt idx="98">
                  <c:v>Juraflore</c:v>
                </c:pt>
                <c:pt idx="99">
                  <c:v>Private Lab</c:v>
                </c:pt>
                <c:pt idx="100">
                  <c:v>Apericube</c:v>
                </c:pt>
                <c:pt idx="101">
                  <c:v>Tartare</c:v>
                </c:pt>
                <c:pt idx="102">
                  <c:v>Private Lab</c:v>
                </c:pt>
                <c:pt idx="103">
                  <c:v>Societe</c:v>
                </c:pt>
                <c:pt idx="104">
                  <c:v>Apericube</c:v>
                </c:pt>
                <c:pt idx="105">
                  <c:v>Private Lab</c:v>
                </c:pt>
                <c:pt idx="106">
                  <c:v>Private Lab</c:v>
                </c:pt>
                <c:pt idx="107">
                  <c:v>Private Lab</c:v>
                </c:pt>
                <c:pt idx="108">
                  <c:v>Private Lab</c:v>
                </c:pt>
                <c:pt idx="109">
                  <c:v>Private Lab</c:v>
                </c:pt>
                <c:pt idx="110">
                  <c:v>President</c:v>
                </c:pt>
                <c:pt idx="111">
                  <c:v>Private Lab</c:v>
                </c:pt>
                <c:pt idx="112">
                  <c:v>Private Lab</c:v>
                </c:pt>
                <c:pt idx="113">
                  <c:v>Babybel</c:v>
                </c:pt>
                <c:pt idx="114">
                  <c:v>L'Ortolan</c:v>
                </c:pt>
                <c:pt idx="115">
                  <c:v>La Vache Qu</c:v>
                </c:pt>
                <c:pt idx="116">
                  <c:v>Saint Agur</c:v>
                </c:pt>
                <c:pt idx="117">
                  <c:v>President</c:v>
                </c:pt>
                <c:pt idx="118">
                  <c:v>St Moret</c:v>
                </c:pt>
                <c:pt idx="119">
                  <c:v>Mini Babybe</c:v>
                </c:pt>
                <c:pt idx="120">
                  <c:v>Private Lab</c:v>
                </c:pt>
                <c:pt idx="121">
                  <c:v>Galbani</c:v>
                </c:pt>
                <c:pt idx="122">
                  <c:v>Private Lab</c:v>
                </c:pt>
                <c:pt idx="123">
                  <c:v>All Others</c:v>
                </c:pt>
                <c:pt idx="124">
                  <c:v>Leerdammer</c:v>
                </c:pt>
                <c:pt idx="125">
                  <c:v>Private Lab</c:v>
                </c:pt>
                <c:pt idx="126">
                  <c:v>Private Lab</c:v>
                </c:pt>
                <c:pt idx="127">
                  <c:v>Private Lab</c:v>
                </c:pt>
                <c:pt idx="128">
                  <c:v>Private Lab</c:v>
                </c:pt>
                <c:pt idx="129">
                  <c:v>Private Lab</c:v>
                </c:pt>
                <c:pt idx="130">
                  <c:v>All Others</c:v>
                </c:pt>
                <c:pt idx="131">
                  <c:v>Islos</c:v>
                </c:pt>
                <c:pt idx="132">
                  <c:v>Private Lab</c:v>
                </c:pt>
                <c:pt idx="133">
                  <c:v>Casa Azzurr</c:v>
                </c:pt>
                <c:pt idx="134">
                  <c:v>Private Lab</c:v>
                </c:pt>
                <c:pt idx="135">
                  <c:v>Kiri</c:v>
                </c:pt>
                <c:pt idx="136">
                  <c:v>Carre Frais</c:v>
                </c:pt>
                <c:pt idx="137">
                  <c:v>Violife</c:v>
                </c:pt>
                <c:pt idx="138">
                  <c:v>Fol Epi</c:v>
                </c:pt>
                <c:pt idx="139">
                  <c:v>Private Lab</c:v>
                </c:pt>
                <c:pt idx="140">
                  <c:v>Private Lab</c:v>
                </c:pt>
                <c:pt idx="141">
                  <c:v>Private Lab</c:v>
                </c:pt>
                <c:pt idx="142">
                  <c:v>Private Lab</c:v>
                </c:pt>
                <c:pt idx="143">
                  <c:v>Private Lab</c:v>
                </c:pt>
                <c:pt idx="144">
                  <c:v>Private Lab</c:v>
                </c:pt>
                <c:pt idx="145">
                  <c:v>Private Lab</c:v>
                </c:pt>
                <c:pt idx="146">
                  <c:v>Private Lab</c:v>
                </c:pt>
                <c:pt idx="147">
                  <c:v>Soignon</c:v>
                </c:pt>
                <c:pt idx="148">
                  <c:v>Private Lab</c:v>
                </c:pt>
                <c:pt idx="149">
                  <c:v>All Others</c:v>
                </c:pt>
                <c:pt idx="150">
                  <c:v>Private Lab</c:v>
                </c:pt>
                <c:pt idx="151">
                  <c:v>Private Lab</c:v>
                </c:pt>
                <c:pt idx="152">
                  <c:v>Private Lab</c:v>
                </c:pt>
                <c:pt idx="153">
                  <c:v>Private Lab</c:v>
                </c:pt>
                <c:pt idx="154">
                  <c:v>Private Lab</c:v>
                </c:pt>
                <c:pt idx="155">
                  <c:v>Private Lab</c:v>
                </c:pt>
                <c:pt idx="156">
                  <c:v>Soignon</c:v>
                </c:pt>
                <c:pt idx="157">
                  <c:v>Private Lab</c:v>
                </c:pt>
                <c:pt idx="158">
                  <c:v>Private Lab</c:v>
                </c:pt>
                <c:pt idx="159">
                  <c:v>Private Lab</c:v>
                </c:pt>
                <c:pt idx="160">
                  <c:v>Private Lab</c:v>
                </c:pt>
                <c:pt idx="161">
                  <c:v>Private Lab</c:v>
                </c:pt>
                <c:pt idx="162">
                  <c:v>Galbani</c:v>
                </c:pt>
                <c:pt idx="163">
                  <c:v>Private Lab</c:v>
                </c:pt>
                <c:pt idx="164">
                  <c:v>Private Lab</c:v>
                </c:pt>
                <c:pt idx="165">
                  <c:v>Private Lab</c:v>
                </c:pt>
                <c:pt idx="166">
                  <c:v>Private Lab</c:v>
                </c:pt>
                <c:pt idx="167">
                  <c:v>Private Lab</c:v>
                </c:pt>
                <c:pt idx="168">
                  <c:v>Private Lab</c:v>
                </c:pt>
                <c:pt idx="169">
                  <c:v>Private Lab</c:v>
                </c:pt>
                <c:pt idx="170">
                  <c:v>Pochat</c:v>
                </c:pt>
                <c:pt idx="171">
                  <c:v>Private Lab</c:v>
                </c:pt>
                <c:pt idx="172">
                  <c:v>All Others</c:v>
                </c:pt>
                <c:pt idx="173">
                  <c:v>Apericube</c:v>
                </c:pt>
                <c:pt idx="174">
                  <c:v>President</c:v>
                </c:pt>
                <c:pt idx="175">
                  <c:v>Paysan Bret</c:v>
                </c:pt>
                <c:pt idx="176">
                  <c:v>Private Lab</c:v>
                </c:pt>
                <c:pt idx="177">
                  <c:v>Violife</c:v>
                </c:pt>
                <c:pt idx="178">
                  <c:v>Private Lab</c:v>
                </c:pt>
                <c:pt idx="179">
                  <c:v>P'Tit Louis</c:v>
                </c:pt>
                <c:pt idx="180">
                  <c:v>Istara</c:v>
                </c:pt>
                <c:pt idx="181">
                  <c:v>Fauquet</c:v>
                </c:pt>
                <c:pt idx="182">
                  <c:v>Private Lab</c:v>
                </c:pt>
                <c:pt idx="183">
                  <c:v>Port Salut</c:v>
                </c:pt>
                <c:pt idx="184">
                  <c:v>Private Lab</c:v>
                </c:pt>
                <c:pt idx="185">
                  <c:v>All Others</c:v>
                </c:pt>
                <c:pt idx="186">
                  <c:v>All Others</c:v>
                </c:pt>
                <c:pt idx="187">
                  <c:v>Paysan Bret</c:v>
                </c:pt>
                <c:pt idx="188">
                  <c:v>Private Lab</c:v>
                </c:pt>
                <c:pt idx="189">
                  <c:v>Entremont</c:v>
                </c:pt>
                <c:pt idx="190">
                  <c:v>Galbani</c:v>
                </c:pt>
                <c:pt idx="191">
                  <c:v>Lactalis: A</c:v>
                </c:pt>
                <c:pt idx="192">
                  <c:v>Private Lab</c:v>
                </c:pt>
                <c:pt idx="193">
                  <c:v>Private Lab</c:v>
                </c:pt>
                <c:pt idx="194">
                  <c:v>Societe</c:v>
                </c:pt>
                <c:pt idx="195">
                  <c:v>All Others</c:v>
                </c:pt>
                <c:pt idx="196">
                  <c:v>Private Lab</c:v>
                </c:pt>
                <c:pt idx="197">
                  <c:v>All Others</c:v>
                </c:pt>
                <c:pt idx="198">
                  <c:v>Private Lab</c:v>
                </c:pt>
                <c:pt idx="199">
                  <c:v>Private Lab</c:v>
                </c:pt>
                <c:pt idx="200">
                  <c:v>Lou Perac</c:v>
                </c:pt>
                <c:pt idx="201">
                  <c:v>Leerdammer</c:v>
                </c:pt>
                <c:pt idx="202">
                  <c:v>Private Lab</c:v>
                </c:pt>
                <c:pt idx="203">
                  <c:v>President</c:v>
                </c:pt>
                <c:pt idx="204">
                  <c:v>All Others</c:v>
                </c:pt>
                <c:pt idx="205">
                  <c:v>President</c:v>
                </c:pt>
                <c:pt idx="206">
                  <c:v>Private Lab</c:v>
                </c:pt>
                <c:pt idx="207">
                  <c:v>Private Lab</c:v>
                </c:pt>
                <c:pt idx="208">
                  <c:v>All Others</c:v>
                </c:pt>
                <c:pt idx="209">
                  <c:v>Private Lab</c:v>
                </c:pt>
                <c:pt idx="210">
                  <c:v>Private Lab</c:v>
                </c:pt>
                <c:pt idx="211">
                  <c:v>President</c:v>
                </c:pt>
                <c:pt idx="212">
                  <c:v>Private Lab</c:v>
                </c:pt>
                <c:pt idx="213">
                  <c:v>Private Lab</c:v>
                </c:pt>
                <c:pt idx="214">
                  <c:v>All Others</c:v>
                </c:pt>
                <c:pt idx="215">
                  <c:v>President</c:v>
                </c:pt>
                <c:pt idx="216">
                  <c:v>All Others</c:v>
                </c:pt>
                <c:pt idx="217">
                  <c:v>Entremont</c:v>
                </c:pt>
                <c:pt idx="218">
                  <c:v>Bresse Bleu</c:v>
                </c:pt>
                <c:pt idx="219">
                  <c:v>All Others</c:v>
                </c:pt>
                <c:pt idx="220">
                  <c:v>La Vache Qu</c:v>
                </c:pt>
                <c:pt idx="221">
                  <c:v>Richesmonts</c:v>
                </c:pt>
                <c:pt idx="222">
                  <c:v>All Others</c:v>
                </c:pt>
                <c:pt idx="223">
                  <c:v>Societe</c:v>
                </c:pt>
                <c:pt idx="224">
                  <c:v>Private Lab</c:v>
                </c:pt>
                <c:pt idx="225">
                  <c:v>Cousteron</c:v>
                </c:pt>
                <c:pt idx="226">
                  <c:v>All Others</c:v>
                </c:pt>
                <c:pt idx="227">
                  <c:v>All Others</c:v>
                </c:pt>
                <c:pt idx="228">
                  <c:v>All Others</c:v>
                </c:pt>
                <c:pt idx="229">
                  <c:v>Private Lab</c:v>
                </c:pt>
                <c:pt idx="230">
                  <c:v>St Moret</c:v>
                </c:pt>
                <c:pt idx="231">
                  <c:v>Kiri</c:v>
                </c:pt>
                <c:pt idx="232">
                  <c:v>Casa Azzurr</c:v>
                </c:pt>
                <c:pt idx="233">
                  <c:v>All Others</c:v>
                </c:pt>
                <c:pt idx="234">
                  <c:v>Private Lab</c:v>
                </c:pt>
                <c:pt idx="235">
                  <c:v>Soignon</c:v>
                </c:pt>
                <c:pt idx="236">
                  <c:v>Soignon</c:v>
                </c:pt>
                <c:pt idx="237">
                  <c:v>All Others</c:v>
                </c:pt>
                <c:pt idx="238">
                  <c:v>Apericube</c:v>
                </c:pt>
                <c:pt idx="239">
                  <c:v>All Others</c:v>
                </c:pt>
                <c:pt idx="240">
                  <c:v>Soignon</c:v>
                </c:pt>
                <c:pt idx="241">
                  <c:v>Private Lab</c:v>
                </c:pt>
                <c:pt idx="242">
                  <c:v>All Others</c:v>
                </c:pt>
                <c:pt idx="243">
                  <c:v>All Others</c:v>
                </c:pt>
                <c:pt idx="244">
                  <c:v>President</c:v>
                </c:pt>
                <c:pt idx="245">
                  <c:v>Private Lab</c:v>
                </c:pt>
                <c:pt idx="246">
                  <c:v>Paysan Bret</c:v>
                </c:pt>
                <c:pt idx="247">
                  <c:v>All Others</c:v>
                </c:pt>
                <c:pt idx="248">
                  <c:v>All Others</c:v>
                </c:pt>
                <c:pt idx="249">
                  <c:v>Paysan Bret</c:v>
                </c:pt>
                <c:pt idx="250">
                  <c:v>Juraflore</c:v>
                </c:pt>
                <c:pt idx="251">
                  <c:v>All Others</c:v>
                </c:pt>
                <c:pt idx="252">
                  <c:v>All Others</c:v>
                </c:pt>
                <c:pt idx="253">
                  <c:v>Paysan Bret</c:v>
                </c:pt>
                <c:pt idx="254">
                  <c:v>Private Lab</c:v>
                </c:pt>
                <c:pt idx="255">
                  <c:v>All Others</c:v>
                </c:pt>
                <c:pt idx="256">
                  <c:v>Private Lab</c:v>
                </c:pt>
                <c:pt idx="257">
                  <c:v>Private Lab</c:v>
                </c:pt>
                <c:pt idx="258">
                  <c:v>All Others</c:v>
                </c:pt>
                <c:pt idx="259">
                  <c:v>Triballat N</c:v>
                </c:pt>
                <c:pt idx="260">
                  <c:v>All Others</c:v>
                </c:pt>
                <c:pt idx="261">
                  <c:v>All Others</c:v>
                </c:pt>
                <c:pt idx="262">
                  <c:v>All Others</c:v>
                </c:pt>
                <c:pt idx="263">
                  <c:v>All Others</c:v>
                </c:pt>
                <c:pt idx="264">
                  <c:v>Private Lab</c:v>
                </c:pt>
                <c:pt idx="265">
                  <c:v>Lactalis: A</c:v>
                </c:pt>
                <c:pt idx="266">
                  <c:v>Private Lab</c:v>
                </c:pt>
                <c:pt idx="267">
                  <c:v>Richesmonts</c:v>
                </c:pt>
                <c:pt idx="268">
                  <c:v>Private Lab</c:v>
                </c:pt>
                <c:pt idx="269">
                  <c:v>Apericube</c:v>
                </c:pt>
                <c:pt idx="270">
                  <c:v>Richesmonts</c:v>
                </c:pt>
                <c:pt idx="271">
                  <c:v>Boursin</c:v>
                </c:pt>
                <c:pt idx="272">
                  <c:v>All Others</c:v>
                </c:pt>
                <c:pt idx="273">
                  <c:v>All Others</c:v>
                </c:pt>
                <c:pt idx="274">
                  <c:v>Private Lab</c:v>
                </c:pt>
                <c:pt idx="275">
                  <c:v>Boursin</c:v>
                </c:pt>
                <c:pt idx="276">
                  <c:v>Private Lab</c:v>
                </c:pt>
                <c:pt idx="277">
                  <c:v>All Others</c:v>
                </c:pt>
                <c:pt idx="278">
                  <c:v>All Others</c:v>
                </c:pt>
                <c:pt idx="279">
                  <c:v>Galbani</c:v>
                </c:pt>
                <c:pt idx="280">
                  <c:v>Entremont</c:v>
                </c:pt>
                <c:pt idx="281">
                  <c:v>Private Lab</c:v>
                </c:pt>
                <c:pt idx="282">
                  <c:v>Private Lab</c:v>
                </c:pt>
                <c:pt idx="283">
                  <c:v>All Others</c:v>
                </c:pt>
                <c:pt idx="284">
                  <c:v>P'Tit Louis</c:v>
                </c:pt>
                <c:pt idx="285">
                  <c:v>Salakis</c:v>
                </c:pt>
                <c:pt idx="286">
                  <c:v>Richesmonts</c:v>
                </c:pt>
                <c:pt idx="287">
                  <c:v>All Others</c:v>
                </c:pt>
                <c:pt idx="288">
                  <c:v>St Moret</c:v>
                </c:pt>
                <c:pt idx="289">
                  <c:v>Private Lab</c:v>
                </c:pt>
                <c:pt idx="290">
                  <c:v>All Others</c:v>
                </c:pt>
                <c:pt idx="291">
                  <c:v>Soignon</c:v>
                </c:pt>
                <c:pt idx="292">
                  <c:v>Le Rustique</c:v>
                </c:pt>
                <c:pt idx="293">
                  <c:v>Violife</c:v>
                </c:pt>
                <c:pt idx="294">
                  <c:v>All Others</c:v>
                </c:pt>
                <c:pt idx="295">
                  <c:v>All Others</c:v>
                </c:pt>
                <c:pt idx="296">
                  <c:v>Private Lab</c:v>
                </c:pt>
                <c:pt idx="297">
                  <c:v>All Others</c:v>
                </c:pt>
                <c:pt idx="298">
                  <c:v>All Others</c:v>
                </c:pt>
                <c:pt idx="299">
                  <c:v>All Others</c:v>
                </c:pt>
                <c:pt idx="300">
                  <c:v>All Others</c:v>
                </c:pt>
                <c:pt idx="301">
                  <c:v>Vieux Pane</c:v>
                </c:pt>
                <c:pt idx="302">
                  <c:v>Milleret: A</c:v>
                </c:pt>
                <c:pt idx="303">
                  <c:v>All Others</c:v>
                </c:pt>
                <c:pt idx="304">
                  <c:v>Private Lab</c:v>
                </c:pt>
                <c:pt idx="305">
                  <c:v>Private Lab</c:v>
                </c:pt>
                <c:pt idx="306">
                  <c:v>Soignon</c:v>
                </c:pt>
                <c:pt idx="307">
                  <c:v>All Others</c:v>
                </c:pt>
                <c:pt idx="308">
                  <c:v>Richesmonts</c:v>
                </c:pt>
                <c:pt idx="309">
                  <c:v>All Others</c:v>
                </c:pt>
                <c:pt idx="310">
                  <c:v>Entremont</c:v>
                </c:pt>
                <c:pt idx="311">
                  <c:v>Carre Frais</c:v>
                </c:pt>
                <c:pt idx="312">
                  <c:v>Private Lab</c:v>
                </c:pt>
                <c:pt idx="313">
                  <c:v>All Others</c:v>
                </c:pt>
                <c:pt idx="314">
                  <c:v>Port Salut</c:v>
                </c:pt>
                <c:pt idx="315">
                  <c:v>Entremont</c:v>
                </c:pt>
                <c:pt idx="316">
                  <c:v>Galbani</c:v>
                </c:pt>
                <c:pt idx="317">
                  <c:v>All Others</c:v>
                </c:pt>
                <c:pt idx="318">
                  <c:v>All Others</c:v>
                </c:pt>
                <c:pt idx="319">
                  <c:v>Paysan Bret</c:v>
                </c:pt>
                <c:pt idx="320">
                  <c:v>All Others</c:v>
                </c:pt>
                <c:pt idx="321">
                  <c:v>Soignon</c:v>
                </c:pt>
                <c:pt idx="322">
                  <c:v>Coeur De Li</c:v>
                </c:pt>
                <c:pt idx="323">
                  <c:v>Private Lab</c:v>
                </c:pt>
                <c:pt idx="324">
                  <c:v>All Others</c:v>
                </c:pt>
                <c:pt idx="325">
                  <c:v>All Others</c:v>
                </c:pt>
                <c:pt idx="326">
                  <c:v>Fauquet</c:v>
                </c:pt>
                <c:pt idx="327">
                  <c:v>Private Lab</c:v>
                </c:pt>
                <c:pt idx="328">
                  <c:v>Eurial Autr</c:v>
                </c:pt>
                <c:pt idx="329">
                  <c:v>Private Lab</c:v>
                </c:pt>
                <c:pt idx="330">
                  <c:v>Soignon</c:v>
                </c:pt>
                <c:pt idx="331">
                  <c:v>Savencia: A</c:v>
                </c:pt>
                <c:pt idx="332">
                  <c:v>Milleret: A</c:v>
                </c:pt>
                <c:pt idx="333">
                  <c:v>All Others</c:v>
                </c:pt>
                <c:pt idx="334">
                  <c:v>Pochat</c:v>
                </c:pt>
                <c:pt idx="335">
                  <c:v>Lactalis: A</c:v>
                </c:pt>
                <c:pt idx="336">
                  <c:v>Paysan Bret</c:v>
                </c:pt>
                <c:pt idx="337">
                  <c:v>All Others</c:v>
                </c:pt>
                <c:pt idx="338">
                  <c:v>Boursin</c:v>
                </c:pt>
                <c:pt idx="339">
                  <c:v>Lactalis: A</c:v>
                </c:pt>
                <c:pt idx="340">
                  <c:v>Private Lab</c:v>
                </c:pt>
                <c:pt idx="341">
                  <c:v>Galbani</c:v>
                </c:pt>
                <c:pt idx="342">
                  <c:v>Entremont</c:v>
                </c:pt>
                <c:pt idx="343">
                  <c:v>Pave D'Affi</c:v>
                </c:pt>
                <c:pt idx="344">
                  <c:v>Casa Azzurr</c:v>
                </c:pt>
                <c:pt idx="345">
                  <c:v>Casa Azzurr</c:v>
                </c:pt>
                <c:pt idx="346">
                  <c:v>All Others</c:v>
                </c:pt>
                <c:pt idx="347">
                  <c:v>Istara</c:v>
                </c:pt>
                <c:pt idx="348">
                  <c:v>President</c:v>
                </c:pt>
                <c:pt idx="349">
                  <c:v>Apericube</c:v>
                </c:pt>
                <c:pt idx="350">
                  <c:v>La Vache Qu</c:v>
                </c:pt>
                <c:pt idx="351">
                  <c:v>Boursin</c:v>
                </c:pt>
                <c:pt idx="352">
                  <c:v>Violife</c:v>
                </c:pt>
                <c:pt idx="353">
                  <c:v>Mini Babybe</c:v>
                </c:pt>
                <c:pt idx="354">
                  <c:v>Eurial Autr</c:v>
                </c:pt>
                <c:pt idx="355">
                  <c:v>Private Lab</c:v>
                </c:pt>
                <c:pt idx="356">
                  <c:v>Port Salut</c:v>
                </c:pt>
                <c:pt idx="357">
                  <c:v>Etoile Du V</c:v>
                </c:pt>
                <c:pt idx="358">
                  <c:v>Casa Azzurr</c:v>
                </c:pt>
                <c:pt idx="359">
                  <c:v>Private Lab</c:v>
                </c:pt>
                <c:pt idx="360">
                  <c:v>All Others</c:v>
                </c:pt>
                <c:pt idx="361">
                  <c:v>O'Tapas Ape</c:v>
                </c:pt>
                <c:pt idx="362">
                  <c:v>Lou Perac</c:v>
                </c:pt>
                <c:pt idx="363">
                  <c:v>Kiri</c:v>
                </c:pt>
                <c:pt idx="364">
                  <c:v>All Others</c:v>
                </c:pt>
                <c:pt idx="365">
                  <c:v>All Others</c:v>
                </c:pt>
                <c:pt idx="366">
                  <c:v>All Others</c:v>
                </c:pt>
                <c:pt idx="367">
                  <c:v>Private Lab</c:v>
                </c:pt>
                <c:pt idx="368">
                  <c:v>Private Lab</c:v>
                </c:pt>
                <c:pt idx="369">
                  <c:v>All Others</c:v>
                </c:pt>
                <c:pt idx="370">
                  <c:v>All Others</c:v>
                </c:pt>
                <c:pt idx="371">
                  <c:v>Entremont</c:v>
                </c:pt>
                <c:pt idx="372">
                  <c:v>All Others</c:v>
                </c:pt>
                <c:pt idx="373">
                  <c:v>Private Lab</c:v>
                </c:pt>
                <c:pt idx="374">
                  <c:v>Lactalis: A</c:v>
                </c:pt>
                <c:pt idx="375">
                  <c:v>All Others</c:v>
                </c:pt>
                <c:pt idx="376">
                  <c:v>Fauquet</c:v>
                </c:pt>
                <c:pt idx="377">
                  <c:v>Entremont</c:v>
                </c:pt>
                <c:pt idx="378">
                  <c:v>All Others</c:v>
                </c:pt>
                <c:pt idx="379">
                  <c:v>La Pointe P</c:v>
                </c:pt>
                <c:pt idx="380">
                  <c:v>Lactalis: A</c:v>
                </c:pt>
                <c:pt idx="381">
                  <c:v>La Belle Et</c:v>
                </c:pt>
                <c:pt idx="382">
                  <c:v>Entremont</c:v>
                </c:pt>
                <c:pt idx="383">
                  <c:v>Mini Babybe</c:v>
                </c:pt>
                <c:pt idx="384">
                  <c:v>All Others</c:v>
                </c:pt>
                <c:pt idx="385">
                  <c:v>Juraflore</c:v>
                </c:pt>
                <c:pt idx="386">
                  <c:v>All Others</c:v>
                </c:pt>
                <c:pt idx="387">
                  <c:v>All Others</c:v>
                </c:pt>
                <c:pt idx="388">
                  <c:v>Private Lab</c:v>
                </c:pt>
                <c:pt idx="389">
                  <c:v>Private Lab</c:v>
                </c:pt>
                <c:pt idx="390">
                  <c:v>All Others</c:v>
                </c:pt>
                <c:pt idx="391">
                  <c:v>Private Lab</c:v>
                </c:pt>
                <c:pt idx="392">
                  <c:v>President</c:v>
                </c:pt>
                <c:pt idx="393">
                  <c:v>All Others</c:v>
                </c:pt>
                <c:pt idx="394">
                  <c:v>Private Lab</c:v>
                </c:pt>
                <c:pt idx="395">
                  <c:v>Private Lab</c:v>
                </c:pt>
                <c:pt idx="396">
                  <c:v>All Others</c:v>
                </c:pt>
                <c:pt idx="397">
                  <c:v>Chaussee Au</c:v>
                </c:pt>
                <c:pt idx="398">
                  <c:v>All Others</c:v>
                </c:pt>
                <c:pt idx="399">
                  <c:v>All Others</c:v>
                </c:pt>
                <c:pt idx="400">
                  <c:v>President</c:v>
                </c:pt>
                <c:pt idx="401">
                  <c:v>All Others</c:v>
                </c:pt>
                <c:pt idx="402">
                  <c:v>All Others</c:v>
                </c:pt>
                <c:pt idx="403">
                  <c:v>All Others</c:v>
                </c:pt>
                <c:pt idx="404">
                  <c:v>All Others</c:v>
                </c:pt>
                <c:pt idx="405">
                  <c:v>All Others</c:v>
                </c:pt>
                <c:pt idx="406">
                  <c:v>Richesmonts</c:v>
                </c:pt>
                <c:pt idx="407">
                  <c:v>All Others</c:v>
                </c:pt>
                <c:pt idx="408">
                  <c:v>Lactalis: A</c:v>
                </c:pt>
                <c:pt idx="409">
                  <c:v>All Others</c:v>
                </c:pt>
                <c:pt idx="410">
                  <c:v>Pave D'Affi</c:v>
                </c:pt>
                <c:pt idx="411">
                  <c:v>All Others</c:v>
                </c:pt>
                <c:pt idx="412">
                  <c:v>Richesmonts</c:v>
                </c:pt>
                <c:pt idx="413">
                  <c:v>La Vache Qu</c:v>
                </c:pt>
                <c:pt idx="414">
                  <c:v>All Others</c:v>
                </c:pt>
                <c:pt idx="415">
                  <c:v>La Belle Et</c:v>
                </c:pt>
                <c:pt idx="416">
                  <c:v>Private Lab</c:v>
                </c:pt>
                <c:pt idx="417">
                  <c:v>All Others</c:v>
                </c:pt>
                <c:pt idx="418">
                  <c:v>President</c:v>
                </c:pt>
                <c:pt idx="419">
                  <c:v>Pave D'Affi</c:v>
                </c:pt>
                <c:pt idx="420">
                  <c:v>Nurishh</c:v>
                </c:pt>
                <c:pt idx="421">
                  <c:v>All Others</c:v>
                </c:pt>
                <c:pt idx="422">
                  <c:v>Richesmonts</c:v>
                </c:pt>
                <c:pt idx="423">
                  <c:v>Private Lab</c:v>
                </c:pt>
                <c:pt idx="424">
                  <c:v>Private Lab</c:v>
                </c:pt>
                <c:pt idx="425">
                  <c:v>Chaussee Au</c:v>
                </c:pt>
                <c:pt idx="426">
                  <c:v>Etoile Du V</c:v>
                </c:pt>
                <c:pt idx="427">
                  <c:v>All Others</c:v>
                </c:pt>
                <c:pt idx="428">
                  <c:v>All Others</c:v>
                </c:pt>
                <c:pt idx="429">
                  <c:v>Lactalis: A</c:v>
                </c:pt>
                <c:pt idx="430">
                  <c:v>All Others</c:v>
                </c:pt>
                <c:pt idx="431">
                  <c:v>Lactalis: A</c:v>
                </c:pt>
                <c:pt idx="432">
                  <c:v>All Others</c:v>
                </c:pt>
                <c:pt idx="433">
                  <c:v>All Others</c:v>
                </c:pt>
                <c:pt idx="434">
                  <c:v>Violife</c:v>
                </c:pt>
                <c:pt idx="435">
                  <c:v>All Others</c:v>
                </c:pt>
                <c:pt idx="436">
                  <c:v>All Others</c:v>
                </c:pt>
                <c:pt idx="437">
                  <c:v>Private Lab</c:v>
                </c:pt>
                <c:pt idx="438">
                  <c:v>All Others</c:v>
                </c:pt>
                <c:pt idx="439">
                  <c:v>Lactalis: A</c:v>
                </c:pt>
                <c:pt idx="440">
                  <c:v>All Others</c:v>
                </c:pt>
                <c:pt idx="441">
                  <c:v>Lactalis: A</c:v>
                </c:pt>
                <c:pt idx="442">
                  <c:v>All Others</c:v>
                </c:pt>
                <c:pt idx="443">
                  <c:v>All Others</c:v>
                </c:pt>
                <c:pt idx="444">
                  <c:v>Private Lab</c:v>
                </c:pt>
                <c:pt idx="445">
                  <c:v>Mini Babybe</c:v>
                </c:pt>
                <c:pt idx="446">
                  <c:v>La Belle Et</c:v>
                </c:pt>
                <c:pt idx="447">
                  <c:v>Private Lab</c:v>
                </c:pt>
                <c:pt idx="448">
                  <c:v>All Others</c:v>
                </c:pt>
                <c:pt idx="449">
                  <c:v>All Others</c:v>
                </c:pt>
                <c:pt idx="450">
                  <c:v>All Others</c:v>
                </c:pt>
                <c:pt idx="451">
                  <c:v>La Vache Qu</c:v>
                </c:pt>
                <c:pt idx="452">
                  <c:v>All Others</c:v>
                </c:pt>
                <c:pt idx="453">
                  <c:v>Savencia: A</c:v>
                </c:pt>
                <c:pt idx="454">
                  <c:v>All Others</c:v>
                </c:pt>
                <c:pt idx="455">
                  <c:v>All Others</c:v>
                </c:pt>
                <c:pt idx="456">
                  <c:v>All Others</c:v>
                </c:pt>
                <c:pt idx="457">
                  <c:v>All Others</c:v>
                </c:pt>
                <c:pt idx="458">
                  <c:v>All Others</c:v>
                </c:pt>
                <c:pt idx="459">
                  <c:v>All Others</c:v>
                </c:pt>
                <c:pt idx="460">
                  <c:v>All Others</c:v>
                </c:pt>
                <c:pt idx="461">
                  <c:v>All Others</c:v>
                </c:pt>
                <c:pt idx="462">
                  <c:v>All Others</c:v>
                </c:pt>
                <c:pt idx="463">
                  <c:v>All Others</c:v>
                </c:pt>
                <c:pt idx="464">
                  <c:v>All Others</c:v>
                </c:pt>
                <c:pt idx="465">
                  <c:v>All Others</c:v>
                </c:pt>
                <c:pt idx="466">
                  <c:v>P'Tit Louis</c:v>
                </c:pt>
                <c:pt idx="467">
                  <c:v>All Others</c:v>
                </c:pt>
                <c:pt idx="468">
                  <c:v>La Pointe P</c:v>
                </c:pt>
                <c:pt idx="469">
                  <c:v>All Others</c:v>
                </c:pt>
                <c:pt idx="470">
                  <c:v>Boursin</c:v>
                </c:pt>
                <c:pt idx="471">
                  <c:v>All Others</c:v>
                </c:pt>
                <c:pt idx="472">
                  <c:v>All Others</c:v>
                </c:pt>
                <c:pt idx="473">
                  <c:v>All Others</c:v>
                </c:pt>
                <c:pt idx="474">
                  <c:v>La Vache Qu</c:v>
                </c:pt>
                <c:pt idx="475">
                  <c:v>All Others</c:v>
                </c:pt>
                <c:pt idx="476">
                  <c:v>Entremont</c:v>
                </c:pt>
                <c:pt idx="477">
                  <c:v>Leerdammer</c:v>
                </c:pt>
                <c:pt idx="478">
                  <c:v>Societe</c:v>
                </c:pt>
                <c:pt idx="479">
                  <c:v>All Others</c:v>
                </c:pt>
                <c:pt idx="480">
                  <c:v>All Others</c:v>
                </c:pt>
                <c:pt idx="481">
                  <c:v>Private Lab</c:v>
                </c:pt>
                <c:pt idx="482">
                  <c:v>All Others</c:v>
                </c:pt>
                <c:pt idx="483">
                  <c:v>Private Lab</c:v>
                </c:pt>
                <c:pt idx="484">
                  <c:v>All Others</c:v>
                </c:pt>
                <c:pt idx="485">
                  <c:v>Lactalis: A</c:v>
                </c:pt>
                <c:pt idx="486">
                  <c:v>All Others</c:v>
                </c:pt>
                <c:pt idx="487">
                  <c:v>All Others</c:v>
                </c:pt>
                <c:pt idx="488">
                  <c:v>Leerdammer</c:v>
                </c:pt>
                <c:pt idx="489">
                  <c:v>Private Lab</c:v>
                </c:pt>
                <c:pt idx="490">
                  <c:v>Lactalis: A</c:v>
                </c:pt>
                <c:pt idx="491">
                  <c:v>All Others</c:v>
                </c:pt>
                <c:pt idx="492">
                  <c:v>Richesmonts</c:v>
                </c:pt>
                <c:pt idx="493">
                  <c:v>All Others</c:v>
                </c:pt>
                <c:pt idx="494">
                  <c:v>All Others</c:v>
                </c:pt>
                <c:pt idx="495">
                  <c:v>All Others</c:v>
                </c:pt>
                <c:pt idx="496">
                  <c:v>All Others</c:v>
                </c:pt>
                <c:pt idx="497">
                  <c:v>Paysan Bret</c:v>
                </c:pt>
                <c:pt idx="498">
                  <c:v>All Others</c:v>
                </c:pt>
                <c:pt idx="499">
                  <c:v>La Belle Et</c:v>
                </c:pt>
                <c:pt idx="500">
                  <c:v>President</c:v>
                </c:pt>
                <c:pt idx="501">
                  <c:v>All Others</c:v>
                </c:pt>
                <c:pt idx="502">
                  <c:v>All Others</c:v>
                </c:pt>
                <c:pt idx="503">
                  <c:v>Etoile Du V</c:v>
                </c:pt>
                <c:pt idx="504">
                  <c:v>Milleret: A</c:v>
                </c:pt>
                <c:pt idx="505">
                  <c:v>Apericube</c:v>
                </c:pt>
                <c:pt idx="506">
                  <c:v>Lactalis: A</c:v>
                </c:pt>
                <c:pt idx="507">
                  <c:v>Lou Perac</c:v>
                </c:pt>
                <c:pt idx="508">
                  <c:v>All Others</c:v>
                </c:pt>
                <c:pt idx="509">
                  <c:v>Lactalis: A</c:v>
                </c:pt>
                <c:pt idx="510">
                  <c:v>All Others</c:v>
                </c:pt>
                <c:pt idx="511">
                  <c:v>All Others</c:v>
                </c:pt>
                <c:pt idx="512">
                  <c:v>Galbani</c:v>
                </c:pt>
                <c:pt idx="513">
                  <c:v>All Others</c:v>
                </c:pt>
                <c:pt idx="514">
                  <c:v>All Others</c:v>
                </c:pt>
                <c:pt idx="515">
                  <c:v>All Others</c:v>
                </c:pt>
                <c:pt idx="516">
                  <c:v>Pave D'Affi</c:v>
                </c:pt>
                <c:pt idx="517">
                  <c:v>Lactalis: A</c:v>
                </c:pt>
                <c:pt idx="518">
                  <c:v>All Others</c:v>
                </c:pt>
                <c:pt idx="519">
                  <c:v>Private Lab</c:v>
                </c:pt>
                <c:pt idx="520">
                  <c:v>Savencia: A</c:v>
                </c:pt>
                <c:pt idx="521">
                  <c:v>Private Lab</c:v>
                </c:pt>
                <c:pt idx="522">
                  <c:v>La Pointe P</c:v>
                </c:pt>
                <c:pt idx="523">
                  <c:v>All Others</c:v>
                </c:pt>
                <c:pt idx="524">
                  <c:v>Lactalis: A</c:v>
                </c:pt>
                <c:pt idx="525">
                  <c:v>Ficello</c:v>
                </c:pt>
                <c:pt idx="526">
                  <c:v>All Others</c:v>
                </c:pt>
                <c:pt idx="527">
                  <c:v>All Others</c:v>
                </c:pt>
                <c:pt idx="528">
                  <c:v>All Others</c:v>
                </c:pt>
                <c:pt idx="529">
                  <c:v>Violife</c:v>
                </c:pt>
                <c:pt idx="530">
                  <c:v>Chavroux</c:v>
                </c:pt>
                <c:pt idx="531">
                  <c:v>All Others</c:v>
                </c:pt>
                <c:pt idx="532">
                  <c:v>Private Lab</c:v>
                </c:pt>
                <c:pt idx="533">
                  <c:v>All Others</c:v>
                </c:pt>
                <c:pt idx="534">
                  <c:v>All Others</c:v>
                </c:pt>
                <c:pt idx="535">
                  <c:v>All Others</c:v>
                </c:pt>
                <c:pt idx="536">
                  <c:v>All Others</c:v>
                </c:pt>
                <c:pt idx="537">
                  <c:v>Private Lab</c:v>
                </c:pt>
                <c:pt idx="538">
                  <c:v>Kiri</c:v>
                </c:pt>
                <c:pt idx="539">
                  <c:v>All Others</c:v>
                </c:pt>
                <c:pt idx="540">
                  <c:v>Societe</c:v>
                </c:pt>
                <c:pt idx="541">
                  <c:v>All Others</c:v>
                </c:pt>
                <c:pt idx="542">
                  <c:v>All Others</c:v>
                </c:pt>
                <c:pt idx="543">
                  <c:v>All Others</c:v>
                </c:pt>
                <c:pt idx="544">
                  <c:v>Leerdammer</c:v>
                </c:pt>
                <c:pt idx="545">
                  <c:v>All Others</c:v>
                </c:pt>
                <c:pt idx="546">
                  <c:v>Richesmonts</c:v>
                </c:pt>
                <c:pt idx="547">
                  <c:v>All Others</c:v>
                </c:pt>
                <c:pt idx="548">
                  <c:v>Leerdammer</c:v>
                </c:pt>
                <c:pt idx="549">
                  <c:v>Mini Babybe</c:v>
                </c:pt>
                <c:pt idx="550">
                  <c:v>All Others</c:v>
                </c:pt>
                <c:pt idx="551">
                  <c:v>All Others</c:v>
                </c:pt>
                <c:pt idx="552">
                  <c:v>All Others</c:v>
                </c:pt>
                <c:pt idx="553">
                  <c:v>La Belle Et</c:v>
                </c:pt>
                <c:pt idx="554">
                  <c:v>All Others</c:v>
                </c:pt>
                <c:pt idx="555">
                  <c:v>Etoile Du V</c:v>
                </c:pt>
                <c:pt idx="556">
                  <c:v>All Others</c:v>
                </c:pt>
                <c:pt idx="557">
                  <c:v>All Others</c:v>
                </c:pt>
                <c:pt idx="558">
                  <c:v>All Others</c:v>
                </c:pt>
                <c:pt idx="559">
                  <c:v>All Others</c:v>
                </c:pt>
                <c:pt idx="560">
                  <c:v>Societe</c:v>
                </c:pt>
                <c:pt idx="561">
                  <c:v>All Others</c:v>
                </c:pt>
                <c:pt idx="562">
                  <c:v>All Others</c:v>
                </c:pt>
                <c:pt idx="563">
                  <c:v>All Others</c:v>
                </c:pt>
                <c:pt idx="564">
                  <c:v>All Others</c:v>
                </c:pt>
                <c:pt idx="565">
                  <c:v>All Others</c:v>
                </c:pt>
                <c:pt idx="566">
                  <c:v>All Others</c:v>
                </c:pt>
                <c:pt idx="567">
                  <c:v>All Others</c:v>
                </c:pt>
                <c:pt idx="568">
                  <c:v>All Others</c:v>
                </c:pt>
                <c:pt idx="569">
                  <c:v>All Others</c:v>
                </c:pt>
                <c:pt idx="570">
                  <c:v>All Others</c:v>
                </c:pt>
                <c:pt idx="571">
                  <c:v>All Others</c:v>
                </c:pt>
                <c:pt idx="572">
                  <c:v>Triballat R</c:v>
                </c:pt>
                <c:pt idx="573">
                  <c:v>Pochat</c:v>
                </c:pt>
                <c:pt idx="574">
                  <c:v>Leerdammer</c:v>
                </c:pt>
                <c:pt idx="575">
                  <c:v>All Others</c:v>
                </c:pt>
                <c:pt idx="576">
                  <c:v>L'Ortolan</c:v>
                </c:pt>
                <c:pt idx="577">
                  <c:v>Lactalis: A</c:v>
                </c:pt>
                <c:pt idx="578">
                  <c:v>All Others</c:v>
                </c:pt>
                <c:pt idx="579">
                  <c:v>Philadelphi</c:v>
                </c:pt>
                <c:pt idx="580">
                  <c:v>Etoile Du V</c:v>
                </c:pt>
                <c:pt idx="581">
                  <c:v>Triballat R</c:v>
                </c:pt>
                <c:pt idx="582">
                  <c:v>Lactalis: A</c:v>
                </c:pt>
                <c:pt idx="583">
                  <c:v>All Others</c:v>
                </c:pt>
                <c:pt idx="584">
                  <c:v>Savencia: A</c:v>
                </c:pt>
                <c:pt idx="585">
                  <c:v>All Others</c:v>
                </c:pt>
                <c:pt idx="586">
                  <c:v>All Others</c:v>
                </c:pt>
                <c:pt idx="587">
                  <c:v>Etoile Du V</c:v>
                </c:pt>
                <c:pt idx="588">
                  <c:v>Private Lab</c:v>
                </c:pt>
                <c:pt idx="589">
                  <c:v>Private Lab</c:v>
                </c:pt>
                <c:pt idx="590">
                  <c:v>All Others</c:v>
                </c:pt>
                <c:pt idx="591">
                  <c:v>All Others</c:v>
                </c:pt>
                <c:pt idx="592">
                  <c:v>All Others</c:v>
                </c:pt>
                <c:pt idx="593">
                  <c:v>All Others</c:v>
                </c:pt>
                <c:pt idx="594">
                  <c:v>All Others</c:v>
                </c:pt>
                <c:pt idx="595">
                  <c:v>All Others</c:v>
                </c:pt>
                <c:pt idx="596">
                  <c:v>All Others</c:v>
                </c:pt>
                <c:pt idx="597">
                  <c:v>Eurial Autr</c:v>
                </c:pt>
                <c:pt idx="598">
                  <c:v>Raguin</c:v>
                </c:pt>
                <c:pt idx="599">
                  <c:v>All Others</c:v>
                </c:pt>
                <c:pt idx="600">
                  <c:v>All Others</c:v>
                </c:pt>
                <c:pt idx="601">
                  <c:v>Etoile Du Q</c:v>
                </c:pt>
                <c:pt idx="602">
                  <c:v>All Others</c:v>
                </c:pt>
                <c:pt idx="603">
                  <c:v>All Others</c:v>
                </c:pt>
                <c:pt idx="604">
                  <c:v>Savencia: A</c:v>
                </c:pt>
                <c:pt idx="605">
                  <c:v>All Others</c:v>
                </c:pt>
                <c:pt idx="606">
                  <c:v>All Others</c:v>
                </c:pt>
                <c:pt idx="607">
                  <c:v>All Others</c:v>
                </c:pt>
                <c:pt idx="608">
                  <c:v>Savencia: A</c:v>
                </c:pt>
                <c:pt idx="609">
                  <c:v>Triballat R</c:v>
                </c:pt>
                <c:pt idx="610">
                  <c:v>All Others</c:v>
                </c:pt>
                <c:pt idx="611">
                  <c:v>All Others</c:v>
                </c:pt>
                <c:pt idx="612">
                  <c:v>All Others</c:v>
                </c:pt>
                <c:pt idx="613">
                  <c:v>St Moret</c:v>
                </c:pt>
                <c:pt idx="614">
                  <c:v>Lactalis: A</c:v>
                </c:pt>
                <c:pt idx="615">
                  <c:v>All Others</c:v>
                </c:pt>
                <c:pt idx="616">
                  <c:v>Nurishh</c:v>
                </c:pt>
                <c:pt idx="617">
                  <c:v>All Others</c:v>
                </c:pt>
                <c:pt idx="618">
                  <c:v>All Others</c:v>
                </c:pt>
                <c:pt idx="619">
                  <c:v>All Others</c:v>
                </c:pt>
                <c:pt idx="620">
                  <c:v>Savencia: A</c:v>
                </c:pt>
                <c:pt idx="621">
                  <c:v>All Others</c:v>
                </c:pt>
                <c:pt idx="622">
                  <c:v>All Others</c:v>
                </c:pt>
                <c:pt idx="623">
                  <c:v>All Others</c:v>
                </c:pt>
                <c:pt idx="624">
                  <c:v>All Others</c:v>
                </c:pt>
                <c:pt idx="625">
                  <c:v>La Belle Et</c:v>
                </c:pt>
                <c:pt idx="626">
                  <c:v>All Others</c:v>
                </c:pt>
                <c:pt idx="627">
                  <c:v>All Others</c:v>
                </c:pt>
                <c:pt idx="628">
                  <c:v>All Others</c:v>
                </c:pt>
                <c:pt idx="629">
                  <c:v>All Others</c:v>
                </c:pt>
                <c:pt idx="630">
                  <c:v>All Others</c:v>
                </c:pt>
                <c:pt idx="631">
                  <c:v>Lactalis: A</c:v>
                </c:pt>
                <c:pt idx="632">
                  <c:v>Ficello</c:v>
                </c:pt>
                <c:pt idx="633">
                  <c:v>All Others</c:v>
                </c:pt>
                <c:pt idx="634">
                  <c:v>Lactalis: A</c:v>
                </c:pt>
                <c:pt idx="635">
                  <c:v>All Others</c:v>
                </c:pt>
                <c:pt idx="636">
                  <c:v>All Others</c:v>
                </c:pt>
                <c:pt idx="637">
                  <c:v>Triballat N</c:v>
                </c:pt>
                <c:pt idx="638">
                  <c:v>All Others</c:v>
                </c:pt>
                <c:pt idx="639">
                  <c:v>All Others</c:v>
                </c:pt>
                <c:pt idx="640">
                  <c:v>All Others</c:v>
                </c:pt>
                <c:pt idx="641">
                  <c:v>Etoile Du V</c:v>
                </c:pt>
                <c:pt idx="642">
                  <c:v>Nurishh</c:v>
                </c:pt>
                <c:pt idx="643">
                  <c:v>All Others</c:v>
                </c:pt>
                <c:pt idx="644">
                  <c:v>All Others</c:v>
                </c:pt>
                <c:pt idx="645">
                  <c:v>All Others</c:v>
                </c:pt>
                <c:pt idx="646">
                  <c:v>All Others</c:v>
                </c:pt>
                <c:pt idx="647">
                  <c:v>All Others</c:v>
                </c:pt>
                <c:pt idx="648">
                  <c:v>Lactalis: A</c:v>
                </c:pt>
                <c:pt idx="649">
                  <c:v>All Others</c:v>
                </c:pt>
                <c:pt idx="650">
                  <c:v>All Others</c:v>
                </c:pt>
                <c:pt idx="651">
                  <c:v>All Others</c:v>
                </c:pt>
                <c:pt idx="652">
                  <c:v>All Others</c:v>
                </c:pt>
                <c:pt idx="653">
                  <c:v>Saint Albra</c:v>
                </c:pt>
                <c:pt idx="654">
                  <c:v>Private Lab</c:v>
                </c:pt>
                <c:pt idx="655">
                  <c:v>All Others</c:v>
                </c:pt>
                <c:pt idx="656">
                  <c:v>All Others</c:v>
                </c:pt>
                <c:pt idx="657">
                  <c:v>All Others</c:v>
                </c:pt>
                <c:pt idx="658">
                  <c:v>All Others</c:v>
                </c:pt>
                <c:pt idx="659">
                  <c:v>All Others</c:v>
                </c:pt>
                <c:pt idx="660">
                  <c:v>All Others</c:v>
                </c:pt>
                <c:pt idx="661">
                  <c:v>All Others</c:v>
                </c:pt>
                <c:pt idx="662">
                  <c:v>Savencia: A</c:v>
                </c:pt>
                <c:pt idx="663">
                  <c:v>All Others</c:v>
                </c:pt>
                <c:pt idx="664">
                  <c:v>All Others</c:v>
                </c:pt>
                <c:pt idx="665">
                  <c:v>All Others</c:v>
                </c:pt>
                <c:pt idx="666">
                  <c:v>All Others</c:v>
                </c:pt>
                <c:pt idx="667">
                  <c:v>Saint Agur</c:v>
                </c:pt>
                <c:pt idx="668">
                  <c:v>Private Lab</c:v>
                </c:pt>
                <c:pt idx="669">
                  <c:v>All Others</c:v>
                </c:pt>
                <c:pt idx="670">
                  <c:v>All Others</c:v>
                </c:pt>
                <c:pt idx="671">
                  <c:v>Private Lab</c:v>
                </c:pt>
                <c:pt idx="672">
                  <c:v>All Others</c:v>
                </c:pt>
                <c:pt idx="673">
                  <c:v>Raguin</c:v>
                </c:pt>
                <c:pt idx="674">
                  <c:v>All Others</c:v>
                </c:pt>
                <c:pt idx="675">
                  <c:v>All Others</c:v>
                </c:pt>
                <c:pt idx="676">
                  <c:v>La Belle Et</c:v>
                </c:pt>
                <c:pt idx="677">
                  <c:v>All Others</c:v>
                </c:pt>
                <c:pt idx="678">
                  <c:v>Private Lab</c:v>
                </c:pt>
                <c:pt idx="679">
                  <c:v>All Others</c:v>
                </c:pt>
                <c:pt idx="680">
                  <c:v>Tartare</c:v>
                </c:pt>
                <c:pt idx="681">
                  <c:v>Lactalis: A</c:v>
                </c:pt>
                <c:pt idx="682">
                  <c:v>All Others</c:v>
                </c:pt>
                <c:pt idx="683">
                  <c:v>Private Lab</c:v>
                </c:pt>
                <c:pt idx="684">
                  <c:v>Private Lab</c:v>
                </c:pt>
                <c:pt idx="685">
                  <c:v>Parmareggio</c:v>
                </c:pt>
                <c:pt idx="686">
                  <c:v>All Others</c:v>
                </c:pt>
                <c:pt idx="687">
                  <c:v>All Others</c:v>
                </c:pt>
                <c:pt idx="688">
                  <c:v>Juraflore</c:v>
                </c:pt>
                <c:pt idx="689">
                  <c:v>All Others</c:v>
                </c:pt>
                <c:pt idx="690">
                  <c:v>All Others</c:v>
                </c:pt>
                <c:pt idx="691">
                  <c:v>La Pointe P</c:v>
                </c:pt>
                <c:pt idx="692">
                  <c:v>All Others</c:v>
                </c:pt>
                <c:pt idx="693">
                  <c:v>All Others</c:v>
                </c:pt>
                <c:pt idx="694">
                  <c:v>All Others</c:v>
                </c:pt>
                <c:pt idx="695">
                  <c:v>Paysan Bret</c:v>
                </c:pt>
                <c:pt idx="696">
                  <c:v>Etoile Du V</c:v>
                </c:pt>
                <c:pt idx="697">
                  <c:v>All Others</c:v>
                </c:pt>
                <c:pt idx="698">
                  <c:v>All Others</c:v>
                </c:pt>
                <c:pt idx="699">
                  <c:v>All Others</c:v>
                </c:pt>
                <c:pt idx="700">
                  <c:v>Lactalis: A</c:v>
                </c:pt>
                <c:pt idx="701">
                  <c:v>All Others</c:v>
                </c:pt>
                <c:pt idx="702">
                  <c:v>All Others</c:v>
                </c:pt>
                <c:pt idx="703">
                  <c:v>Eurial Autr</c:v>
                </c:pt>
                <c:pt idx="704">
                  <c:v>Apericube</c:v>
                </c:pt>
                <c:pt idx="705">
                  <c:v>Societe</c:v>
                </c:pt>
                <c:pt idx="706">
                  <c:v>La Belle Et</c:v>
                </c:pt>
                <c:pt idx="707">
                  <c:v>All Others</c:v>
                </c:pt>
                <c:pt idx="708">
                  <c:v>Raguin</c:v>
                </c:pt>
                <c:pt idx="709">
                  <c:v>All Others</c:v>
                </c:pt>
                <c:pt idx="710">
                  <c:v>All Others</c:v>
                </c:pt>
                <c:pt idx="711">
                  <c:v>All Others</c:v>
                </c:pt>
                <c:pt idx="712">
                  <c:v>All Others</c:v>
                </c:pt>
                <c:pt idx="713">
                  <c:v>All Others</c:v>
                </c:pt>
                <c:pt idx="714">
                  <c:v>La Belle Et</c:v>
                </c:pt>
                <c:pt idx="715">
                  <c:v>All Others</c:v>
                </c:pt>
                <c:pt idx="716">
                  <c:v>All Others</c:v>
                </c:pt>
                <c:pt idx="717">
                  <c:v>O'Tapas Ape</c:v>
                </c:pt>
                <c:pt idx="718">
                  <c:v>Mini Babybe</c:v>
                </c:pt>
                <c:pt idx="719">
                  <c:v>All Others</c:v>
                </c:pt>
                <c:pt idx="720">
                  <c:v>Private Lab</c:v>
                </c:pt>
                <c:pt idx="721">
                  <c:v>All Others</c:v>
                </c:pt>
                <c:pt idx="722">
                  <c:v>All Others</c:v>
                </c:pt>
                <c:pt idx="723">
                  <c:v>All Others</c:v>
                </c:pt>
                <c:pt idx="724">
                  <c:v>All Others</c:v>
                </c:pt>
                <c:pt idx="725">
                  <c:v>Corsica</c:v>
                </c:pt>
                <c:pt idx="726">
                  <c:v>All Others</c:v>
                </c:pt>
                <c:pt idx="727">
                  <c:v>All Others</c:v>
                </c:pt>
                <c:pt idx="728">
                  <c:v>All Others</c:v>
                </c:pt>
                <c:pt idx="729">
                  <c:v>All Others</c:v>
                </c:pt>
                <c:pt idx="730">
                  <c:v>All Others</c:v>
                </c:pt>
                <c:pt idx="731">
                  <c:v>All Others</c:v>
                </c:pt>
                <c:pt idx="732">
                  <c:v>All Others</c:v>
                </c:pt>
                <c:pt idx="733">
                  <c:v>All Others</c:v>
                </c:pt>
                <c:pt idx="734">
                  <c:v>All Others</c:v>
                </c:pt>
                <c:pt idx="735">
                  <c:v>All Others</c:v>
                </c:pt>
                <c:pt idx="736">
                  <c:v>Boursin</c:v>
                </c:pt>
                <c:pt idx="737">
                  <c:v>O'Tapas Ape</c:v>
                </c:pt>
                <c:pt idx="738">
                  <c:v>All Others</c:v>
                </c:pt>
                <c:pt idx="739">
                  <c:v>All Others</c:v>
                </c:pt>
                <c:pt idx="740">
                  <c:v>All Others</c:v>
                </c:pt>
                <c:pt idx="741">
                  <c:v>Soignon</c:v>
                </c:pt>
                <c:pt idx="742">
                  <c:v>All Others</c:v>
                </c:pt>
                <c:pt idx="743">
                  <c:v>Etoile Du Q</c:v>
                </c:pt>
                <c:pt idx="744">
                  <c:v>All Others</c:v>
                </c:pt>
                <c:pt idx="745">
                  <c:v>All Others</c:v>
                </c:pt>
                <c:pt idx="746">
                  <c:v>All Others</c:v>
                </c:pt>
                <c:pt idx="747">
                  <c:v>All Others</c:v>
                </c:pt>
                <c:pt idx="748">
                  <c:v>La Belle Et</c:v>
                </c:pt>
                <c:pt idx="749">
                  <c:v>All Others</c:v>
                </c:pt>
                <c:pt idx="750">
                  <c:v>All Others</c:v>
                </c:pt>
                <c:pt idx="751">
                  <c:v>All Others</c:v>
                </c:pt>
                <c:pt idx="752">
                  <c:v>All Others</c:v>
                </c:pt>
                <c:pt idx="753">
                  <c:v>Raguin</c:v>
                </c:pt>
                <c:pt idx="754">
                  <c:v>All Others</c:v>
                </c:pt>
                <c:pt idx="755">
                  <c:v>All Others</c:v>
                </c:pt>
                <c:pt idx="756">
                  <c:v>All Others</c:v>
                </c:pt>
                <c:pt idx="757">
                  <c:v>All Others</c:v>
                </c:pt>
                <c:pt idx="758">
                  <c:v>Lactalis: A</c:v>
                </c:pt>
                <c:pt idx="759">
                  <c:v>All Others</c:v>
                </c:pt>
                <c:pt idx="760">
                  <c:v>Private Lab</c:v>
                </c:pt>
                <c:pt idx="761">
                  <c:v>All Others</c:v>
                </c:pt>
                <c:pt idx="762">
                  <c:v>All Others</c:v>
                </c:pt>
                <c:pt idx="763">
                  <c:v>All Others</c:v>
                </c:pt>
                <c:pt idx="764">
                  <c:v>Pave D'Affi</c:v>
                </c:pt>
                <c:pt idx="765">
                  <c:v>All Others</c:v>
                </c:pt>
                <c:pt idx="766">
                  <c:v>All Others</c:v>
                </c:pt>
                <c:pt idx="767">
                  <c:v>All Others</c:v>
                </c:pt>
                <c:pt idx="768">
                  <c:v>All Others</c:v>
                </c:pt>
                <c:pt idx="769">
                  <c:v>All Others</c:v>
                </c:pt>
                <c:pt idx="770">
                  <c:v>All Others</c:v>
                </c:pt>
                <c:pt idx="771">
                  <c:v>All Others</c:v>
                </c:pt>
                <c:pt idx="772">
                  <c:v>All Others</c:v>
                </c:pt>
                <c:pt idx="773">
                  <c:v>All Others</c:v>
                </c:pt>
                <c:pt idx="774">
                  <c:v>All Others</c:v>
                </c:pt>
                <c:pt idx="775">
                  <c:v>All Others</c:v>
                </c:pt>
                <c:pt idx="776">
                  <c:v>All Others</c:v>
                </c:pt>
                <c:pt idx="777">
                  <c:v>Savencia: A</c:v>
                </c:pt>
                <c:pt idx="778">
                  <c:v>La Belle Et</c:v>
                </c:pt>
                <c:pt idx="779">
                  <c:v>La Belle Et</c:v>
                </c:pt>
                <c:pt idx="780">
                  <c:v>Private Lab</c:v>
                </c:pt>
                <c:pt idx="781">
                  <c:v>All Others</c:v>
                </c:pt>
                <c:pt idx="782">
                  <c:v>All Others</c:v>
                </c:pt>
                <c:pt idx="783">
                  <c:v>All Others</c:v>
                </c:pt>
                <c:pt idx="784">
                  <c:v>Lactalis: A</c:v>
                </c:pt>
                <c:pt idx="785">
                  <c:v>All Others</c:v>
                </c:pt>
                <c:pt idx="786">
                  <c:v>All Others</c:v>
                </c:pt>
                <c:pt idx="787">
                  <c:v>All Others</c:v>
                </c:pt>
                <c:pt idx="788">
                  <c:v>All Others</c:v>
                </c:pt>
                <c:pt idx="789">
                  <c:v>All Others</c:v>
                </c:pt>
                <c:pt idx="790">
                  <c:v>All Others</c:v>
                </c:pt>
                <c:pt idx="791">
                  <c:v>Private Lab</c:v>
                </c:pt>
                <c:pt idx="792">
                  <c:v>All Others</c:v>
                </c:pt>
                <c:pt idx="793">
                  <c:v>Nurishh</c:v>
                </c:pt>
                <c:pt idx="794">
                  <c:v>All Others</c:v>
                </c:pt>
                <c:pt idx="795">
                  <c:v>All Others</c:v>
                </c:pt>
                <c:pt idx="796">
                  <c:v>All Others</c:v>
                </c:pt>
                <c:pt idx="797">
                  <c:v>All Others</c:v>
                </c:pt>
                <c:pt idx="798">
                  <c:v>All Others</c:v>
                </c:pt>
                <c:pt idx="799">
                  <c:v>All Others</c:v>
                </c:pt>
                <c:pt idx="800">
                  <c:v>All Others</c:v>
                </c:pt>
                <c:pt idx="801">
                  <c:v>All Others</c:v>
                </c:pt>
                <c:pt idx="802">
                  <c:v>La Belle Et</c:v>
                </c:pt>
                <c:pt idx="803">
                  <c:v>Eurial Autr</c:v>
                </c:pt>
                <c:pt idx="804">
                  <c:v>Lactalis: A</c:v>
                </c:pt>
                <c:pt idx="805">
                  <c:v>All Others</c:v>
                </c:pt>
                <c:pt idx="806">
                  <c:v>All Others</c:v>
                </c:pt>
                <c:pt idx="807">
                  <c:v>All Others</c:v>
                </c:pt>
                <c:pt idx="808">
                  <c:v>Private Lab</c:v>
                </c:pt>
                <c:pt idx="809">
                  <c:v>All Others</c:v>
                </c:pt>
                <c:pt idx="810">
                  <c:v>All Others</c:v>
                </c:pt>
                <c:pt idx="811">
                  <c:v>La Belle Et</c:v>
                </c:pt>
                <c:pt idx="812">
                  <c:v>All Others</c:v>
                </c:pt>
                <c:pt idx="813">
                  <c:v>All Others</c:v>
                </c:pt>
                <c:pt idx="814">
                  <c:v>All Others</c:v>
                </c:pt>
                <c:pt idx="815">
                  <c:v>All Others</c:v>
                </c:pt>
                <c:pt idx="816">
                  <c:v>All Others</c:v>
                </c:pt>
                <c:pt idx="817">
                  <c:v>La Belle Et</c:v>
                </c:pt>
                <c:pt idx="818">
                  <c:v>All Others</c:v>
                </c:pt>
                <c:pt idx="819">
                  <c:v>Pave D'Affi</c:v>
                </c:pt>
                <c:pt idx="820">
                  <c:v>All Others</c:v>
                </c:pt>
                <c:pt idx="821">
                  <c:v>All Others</c:v>
                </c:pt>
                <c:pt idx="822">
                  <c:v>All Others</c:v>
                </c:pt>
                <c:pt idx="823">
                  <c:v>Private Lab</c:v>
                </c:pt>
                <c:pt idx="824">
                  <c:v>Private Lab</c:v>
                </c:pt>
                <c:pt idx="825">
                  <c:v>All Others</c:v>
                </c:pt>
                <c:pt idx="826">
                  <c:v>Lactalis: A</c:v>
                </c:pt>
                <c:pt idx="827">
                  <c:v>All Others</c:v>
                </c:pt>
                <c:pt idx="828">
                  <c:v>All Others</c:v>
                </c:pt>
                <c:pt idx="829">
                  <c:v>All Others</c:v>
                </c:pt>
                <c:pt idx="830">
                  <c:v>All Others</c:v>
                </c:pt>
                <c:pt idx="831">
                  <c:v>Private Lab</c:v>
                </c:pt>
                <c:pt idx="832">
                  <c:v>All Others</c:v>
                </c:pt>
                <c:pt idx="833">
                  <c:v>All Others</c:v>
                </c:pt>
                <c:pt idx="834">
                  <c:v>All Others</c:v>
                </c:pt>
                <c:pt idx="835">
                  <c:v>All Others</c:v>
                </c:pt>
                <c:pt idx="836">
                  <c:v>All Others</c:v>
                </c:pt>
                <c:pt idx="837">
                  <c:v>All Others</c:v>
                </c:pt>
                <c:pt idx="838">
                  <c:v>All Others</c:v>
                </c:pt>
                <c:pt idx="839">
                  <c:v>All Others</c:v>
                </c:pt>
                <c:pt idx="840">
                  <c:v>All Others</c:v>
                </c:pt>
                <c:pt idx="841">
                  <c:v>Caprice Des</c:v>
                </c:pt>
                <c:pt idx="842">
                  <c:v>Private Lab</c:v>
                </c:pt>
                <c:pt idx="843">
                  <c:v>All Others</c:v>
                </c:pt>
                <c:pt idx="844">
                  <c:v>All Others</c:v>
                </c:pt>
                <c:pt idx="845">
                  <c:v>All Others</c:v>
                </c:pt>
                <c:pt idx="846">
                  <c:v>All Others</c:v>
                </c:pt>
                <c:pt idx="847">
                  <c:v>All Others</c:v>
                </c:pt>
                <c:pt idx="848">
                  <c:v>All Others</c:v>
                </c:pt>
                <c:pt idx="849">
                  <c:v>All Others</c:v>
                </c:pt>
                <c:pt idx="850">
                  <c:v>All Others</c:v>
                </c:pt>
                <c:pt idx="851">
                  <c:v>All Others</c:v>
                </c:pt>
                <c:pt idx="852">
                  <c:v>All Others</c:v>
                </c:pt>
                <c:pt idx="853">
                  <c:v>All Others</c:v>
                </c:pt>
                <c:pt idx="854">
                  <c:v>All Others</c:v>
                </c:pt>
                <c:pt idx="855">
                  <c:v>All Others</c:v>
                </c:pt>
                <c:pt idx="856">
                  <c:v>All Others</c:v>
                </c:pt>
                <c:pt idx="857">
                  <c:v>All Others</c:v>
                </c:pt>
                <c:pt idx="858">
                  <c:v>All Others</c:v>
                </c:pt>
                <c:pt idx="859">
                  <c:v>All Others</c:v>
                </c:pt>
                <c:pt idx="860">
                  <c:v>All Others</c:v>
                </c:pt>
                <c:pt idx="861">
                  <c:v>All Others</c:v>
                </c:pt>
                <c:pt idx="862">
                  <c:v>All Others</c:v>
                </c:pt>
                <c:pt idx="863">
                  <c:v>All Others</c:v>
                </c:pt>
                <c:pt idx="864">
                  <c:v>Private Lab</c:v>
                </c:pt>
                <c:pt idx="865">
                  <c:v>Private Lab</c:v>
                </c:pt>
                <c:pt idx="866">
                  <c:v>All Others</c:v>
                </c:pt>
                <c:pt idx="867">
                  <c:v>All Others</c:v>
                </c:pt>
                <c:pt idx="868">
                  <c:v>All Others</c:v>
                </c:pt>
                <c:pt idx="869">
                  <c:v>All Others</c:v>
                </c:pt>
                <c:pt idx="870">
                  <c:v>All Others</c:v>
                </c:pt>
                <c:pt idx="871">
                  <c:v>La Belle Et</c:v>
                </c:pt>
                <c:pt idx="872">
                  <c:v>All Others</c:v>
                </c:pt>
                <c:pt idx="873">
                  <c:v>All Others</c:v>
                </c:pt>
                <c:pt idx="874">
                  <c:v>Nurishh</c:v>
                </c:pt>
                <c:pt idx="875">
                  <c:v>All Others</c:v>
                </c:pt>
                <c:pt idx="876">
                  <c:v>All Others</c:v>
                </c:pt>
                <c:pt idx="877">
                  <c:v>Etoile Du V</c:v>
                </c:pt>
                <c:pt idx="878">
                  <c:v>All Others</c:v>
                </c:pt>
                <c:pt idx="879">
                  <c:v>All Others</c:v>
                </c:pt>
                <c:pt idx="880">
                  <c:v>All Others</c:v>
                </c:pt>
                <c:pt idx="881">
                  <c:v>All Others</c:v>
                </c:pt>
                <c:pt idx="882">
                  <c:v>All Others</c:v>
                </c:pt>
                <c:pt idx="883">
                  <c:v>All Others</c:v>
                </c:pt>
                <c:pt idx="884">
                  <c:v>All Others</c:v>
                </c:pt>
                <c:pt idx="885">
                  <c:v>All Others</c:v>
                </c:pt>
                <c:pt idx="886">
                  <c:v>Private Lab</c:v>
                </c:pt>
                <c:pt idx="887">
                  <c:v>All Others</c:v>
                </c:pt>
                <c:pt idx="888">
                  <c:v>All Others</c:v>
                </c:pt>
                <c:pt idx="889">
                  <c:v>All Others</c:v>
                </c:pt>
                <c:pt idx="890">
                  <c:v>All Others</c:v>
                </c:pt>
                <c:pt idx="891">
                  <c:v>All Others</c:v>
                </c:pt>
                <c:pt idx="892">
                  <c:v>Carre Frais</c:v>
                </c:pt>
                <c:pt idx="893">
                  <c:v>All Others</c:v>
                </c:pt>
                <c:pt idx="894">
                  <c:v>All Others</c:v>
                </c:pt>
                <c:pt idx="895">
                  <c:v>All Others</c:v>
                </c:pt>
                <c:pt idx="896">
                  <c:v>Triballat R</c:v>
                </c:pt>
                <c:pt idx="897">
                  <c:v>All Others</c:v>
                </c:pt>
                <c:pt idx="898">
                  <c:v>Private Lab</c:v>
                </c:pt>
                <c:pt idx="899">
                  <c:v>All Others</c:v>
                </c:pt>
                <c:pt idx="900">
                  <c:v>All Others</c:v>
                </c:pt>
                <c:pt idx="901">
                  <c:v>All Others</c:v>
                </c:pt>
                <c:pt idx="902">
                  <c:v>All Others</c:v>
                </c:pt>
                <c:pt idx="903">
                  <c:v>Aperivrais</c:v>
                </c:pt>
                <c:pt idx="904">
                  <c:v>All Others</c:v>
                </c:pt>
                <c:pt idx="905">
                  <c:v>Pave D'Affi</c:v>
                </c:pt>
                <c:pt idx="906">
                  <c:v>Corsica</c:v>
                </c:pt>
                <c:pt idx="907">
                  <c:v>All Others</c:v>
                </c:pt>
                <c:pt idx="908">
                  <c:v>All Others</c:v>
                </c:pt>
                <c:pt idx="909">
                  <c:v>All Others</c:v>
                </c:pt>
                <c:pt idx="910">
                  <c:v>All Others</c:v>
                </c:pt>
                <c:pt idx="911">
                  <c:v>All Others</c:v>
                </c:pt>
                <c:pt idx="912">
                  <c:v>All Others</c:v>
                </c:pt>
                <c:pt idx="913">
                  <c:v>All Others</c:v>
                </c:pt>
                <c:pt idx="914">
                  <c:v>All Others</c:v>
                </c:pt>
                <c:pt idx="915">
                  <c:v>All Others</c:v>
                </c:pt>
                <c:pt idx="916">
                  <c:v>All Others</c:v>
                </c:pt>
                <c:pt idx="917">
                  <c:v>All Others</c:v>
                </c:pt>
                <c:pt idx="918">
                  <c:v>All Others</c:v>
                </c:pt>
                <c:pt idx="919">
                  <c:v>All Others</c:v>
                </c:pt>
                <c:pt idx="920">
                  <c:v>All Others</c:v>
                </c:pt>
                <c:pt idx="921">
                  <c:v>All Others</c:v>
                </c:pt>
                <c:pt idx="922">
                  <c:v>All Others</c:v>
                </c:pt>
                <c:pt idx="923">
                  <c:v>All Others</c:v>
                </c:pt>
                <c:pt idx="924">
                  <c:v>All Others</c:v>
                </c:pt>
                <c:pt idx="925">
                  <c:v>All Others</c:v>
                </c:pt>
              </c:strCache>
            </c:strRef>
          </c:cat>
          <c:val>
            <c:numRef>
              <c:f>Sheet1!$C$2:$C$927</c:f>
              <c:numCache>
                <c:formatCode>General</c:formatCode>
                <c:ptCount val="926"/>
                <c:pt idx="0">
                  <c:v>0.08181712427294403</c:v>
                </c:pt>
                <c:pt idx="1">
                  <c:v>0.10215025168826133</c:v>
                </c:pt>
                <c:pt idx="2">
                  <c:v>0.12094282398694149</c:v>
                </c:pt>
                <c:pt idx="3">
                  <c:v>0.13970249229909687</c:v>
                </c:pt>
                <c:pt idx="4">
                  <c:v>0.15604325800124777</c:v>
                </c:pt>
                <c:pt idx="5">
                  <c:v>0.17072936001269587</c:v>
                </c:pt>
                <c:pt idx="6">
                  <c:v>0.18511386626250426</c:v>
                </c:pt>
                <c:pt idx="7">
                  <c:v>0.1987869791316381</c:v>
                </c:pt>
                <c:pt idx="8">
                  <c:v>0.21234966023016688</c:v>
                </c:pt>
                <c:pt idx="9">
                  <c:v>0.22590221735250032</c:v>
                </c:pt>
                <c:pt idx="10">
                  <c:v>0.25239782056793986</c:v>
                </c:pt>
                <c:pt idx="11">
                  <c:v>0.26420817713940303</c:v>
                </c:pt>
                <c:pt idx="12">
                  <c:v>0.2757353347332082</c:v>
                </c:pt>
                <c:pt idx="13">
                  <c:v>0.2872333502551404</c:v>
                </c:pt>
                <c:pt idx="14">
                  <c:v>0.29790309770861784</c:v>
                </c:pt>
                <c:pt idx="15">
                  <c:v>0.32857724336801264</c:v>
                </c:pt>
                <c:pt idx="16">
                  <c:v>0.3385232222736124</c:v>
                </c:pt>
                <c:pt idx="17">
                  <c:v>0.34818010399600285</c:v>
                </c:pt>
                <c:pt idx="18">
                  <c:v>0.3577206685089155</c:v>
                </c:pt>
                <c:pt idx="19">
                  <c:v>0.36693506565928385</c:v>
                </c:pt>
                <c:pt idx="20">
                  <c:v>0.3761271764442319</c:v>
                </c:pt>
                <c:pt idx="21">
                  <c:v>0.3933945391740515</c:v>
                </c:pt>
                <c:pt idx="22">
                  <c:v>0.4013280682188668</c:v>
                </c:pt>
                <c:pt idx="23">
                  <c:v>0.40915947660089946</c:v>
                </c:pt>
                <c:pt idx="24">
                  <c:v>0.41692814101276643</c:v>
                </c:pt>
                <c:pt idx="25">
                  <c:v>0.4319709397710486</c:v>
                </c:pt>
                <c:pt idx="26">
                  <c:v>0.4392224473072786</c:v>
                </c:pt>
                <c:pt idx="27">
                  <c:v>0.4464615200984717</c:v>
                </c:pt>
                <c:pt idx="28">
                  <c:v>0.46051890574039417</c:v>
                </c:pt>
                <c:pt idx="29">
                  <c:v>0.46732280501089085</c:v>
                </c:pt>
                <c:pt idx="30">
                  <c:v>0.4740471721287541</c:v>
                </c:pt>
                <c:pt idx="31">
                  <c:v>0.48698451577204854</c:v>
                </c:pt>
                <c:pt idx="32">
                  <c:v>0.49320949297544153</c:v>
                </c:pt>
                <c:pt idx="33">
                  <c:v>0.49922070916653155</c:v>
                </c:pt>
                <c:pt idx="34">
                  <c:v>0.5048504229541071</c:v>
                </c:pt>
                <c:pt idx="35">
                  <c:v>0.510479996308217</c:v>
                </c:pt>
                <c:pt idx="36">
                  <c:v>0.5215079427210535</c:v>
                </c:pt>
                <c:pt idx="37">
                  <c:v>0.5269256998535798</c:v>
                </c:pt>
                <c:pt idx="38">
                  <c:v>0.5322107814056763</c:v>
                </c:pt>
                <c:pt idx="39">
                  <c:v>0.537328300300063</c:v>
                </c:pt>
                <c:pt idx="40">
                  <c:v>0.5424272989992406</c:v>
                </c:pt>
                <c:pt idx="41">
                  <c:v>0.5474162191392566</c:v>
                </c:pt>
                <c:pt idx="42">
                  <c:v>0.5523332884116466</c:v>
                </c:pt>
                <c:pt idx="43">
                  <c:v>0.5571074730162203</c:v>
                </c:pt>
                <c:pt idx="44">
                  <c:v>0.5665118085564698</c:v>
                </c:pt>
                <c:pt idx="45">
                  <c:v>0.5710723981155633</c:v>
                </c:pt>
                <c:pt idx="46">
                  <c:v>0.5801251137915349</c:v>
                </c:pt>
                <c:pt idx="47">
                  <c:v>0.5845891276819536</c:v>
                </c:pt>
                <c:pt idx="48">
                  <c:v>0.589049239224255</c:v>
                </c:pt>
                <c:pt idx="49">
                  <c:v>0.5977197205404676</c:v>
                </c:pt>
                <c:pt idx="50">
                  <c:v>0.6017410115475289</c:v>
                </c:pt>
                <c:pt idx="51">
                  <c:v>0.6055151566775321</c:v>
                </c:pt>
                <c:pt idx="52">
                  <c:v>0.6092381840260899</c:v>
                </c:pt>
                <c:pt idx="53">
                  <c:v>0.6129472659059666</c:v>
                </c:pt>
                <c:pt idx="54">
                  <c:v>0.6166528029047291</c:v>
                </c:pt>
                <c:pt idx="55">
                  <c:v>0.6203524799979763</c:v>
                </c:pt>
                <c:pt idx="56">
                  <c:v>0.6240451864846627</c:v>
                </c:pt>
                <c:pt idx="57">
                  <c:v>0.6313313257645992</c:v>
                </c:pt>
                <c:pt idx="58">
                  <c:v>0.6349183198962336</c:v>
                </c:pt>
                <c:pt idx="59">
                  <c:v>0.6384803338932457</c:v>
                </c:pt>
                <c:pt idx="60">
                  <c:v>0.6420416074228941</c:v>
                </c:pt>
                <c:pt idx="61">
                  <c:v>0.645533796198631</c:v>
                </c:pt>
                <c:pt idx="62">
                  <c:v>0.6489983280927818</c:v>
                </c:pt>
                <c:pt idx="63">
                  <c:v>0.6524476974282171</c:v>
                </c:pt>
                <c:pt idx="64">
                  <c:v>0.655885236308073</c:v>
                </c:pt>
                <c:pt idx="65">
                  <c:v>0.6593098723313405</c:v>
                </c:pt>
                <c:pt idx="66">
                  <c:v>0.6627264270470018</c:v>
                </c:pt>
                <c:pt idx="67">
                  <c:v>0.6692648645120902</c:v>
                </c:pt>
                <c:pt idx="68">
                  <c:v>0.6724854336877344</c:v>
                </c:pt>
                <c:pt idx="69">
                  <c:v>0.675625696198905</c:v>
                </c:pt>
                <c:pt idx="70">
                  <c:v>0.6786815071305898</c:v>
                </c:pt>
                <c:pt idx="71">
                  <c:v>0.6817232449268068</c:v>
                </c:pt>
                <c:pt idx="72">
                  <c:v>0.6847591100508297</c:v>
                </c:pt>
                <c:pt idx="73">
                  <c:v>0.6877420913361895</c:v>
                </c:pt>
                <c:pt idx="74">
                  <c:v>0.6907188892935072</c:v>
                </c:pt>
                <c:pt idx="75">
                  <c:v>0.6936941212049066</c:v>
                </c:pt>
                <c:pt idx="76">
                  <c:v>0.6966641528225226</c:v>
                </c:pt>
                <c:pt idx="77">
                  <c:v>0.6996320353825604</c:v>
                </c:pt>
                <c:pt idx="78">
                  <c:v>0.7025654819546314</c:v>
                </c:pt>
                <c:pt idx="79">
                  <c:v>0.7054866895374053</c:v>
                </c:pt>
                <c:pt idx="80">
                  <c:v>0.7083461063953551</c:v>
                </c:pt>
                <c:pt idx="81">
                  <c:v>0.7111640613365032</c:v>
                </c:pt>
                <c:pt idx="82">
                  <c:v>0.7139129187570612</c:v>
                </c:pt>
                <c:pt idx="83">
                  <c:v>0.7166097221730704</c:v>
                </c:pt>
                <c:pt idx="84">
                  <c:v>0.7219730847432895</c:v>
                </c:pt>
                <c:pt idx="85">
                  <c:v>0.7245134537898403</c:v>
                </c:pt>
                <c:pt idx="86">
                  <c:v>0.7270399837566992</c:v>
                </c:pt>
                <c:pt idx="87">
                  <c:v>0.7295318479353751</c:v>
                </c:pt>
                <c:pt idx="88">
                  <c:v>0.7320128689482899</c:v>
                </c:pt>
                <c:pt idx="89">
                  <c:v>0.7344808849711866</c:v>
                </c:pt>
                <c:pt idx="90">
                  <c:v>0.7368895487048875</c:v>
                </c:pt>
                <c:pt idx="91">
                  <c:v>0.7392963995702155</c:v>
                </c:pt>
                <c:pt idx="92">
                  <c:v>0.7416842663843425</c:v>
                </c:pt>
                <c:pt idx="93">
                  <c:v>0.7463600837296662</c:v>
                </c:pt>
                <c:pt idx="94">
                  <c:v>0.7486722909503601</c:v>
                </c:pt>
                <c:pt idx="95">
                  <c:v>0.7509833108699365</c:v>
                </c:pt>
                <c:pt idx="96">
                  <c:v>0.7532784490412316</c:v>
                </c:pt>
                <c:pt idx="97">
                  <c:v>0.7555621142239507</c:v>
                </c:pt>
                <c:pt idx="98">
                  <c:v>0.757843421826673</c:v>
                </c:pt>
                <c:pt idx="99">
                  <c:v>0.7601054900446205</c:v>
                </c:pt>
                <c:pt idx="100">
                  <c:v>0.7645637674407512</c:v>
                </c:pt>
                <c:pt idx="101">
                  <c:v>0.7667252767862749</c:v>
                </c:pt>
                <c:pt idx="102">
                  <c:v>0.7688374258964519</c:v>
                </c:pt>
                <c:pt idx="103">
                  <c:v>0.7709291993874513</c:v>
                </c:pt>
                <c:pt idx="104">
                  <c:v>0.7729309465159402</c:v>
                </c:pt>
                <c:pt idx="105">
                  <c:v>0.7749253825931034</c:v>
                </c:pt>
                <c:pt idx="106">
                  <c:v>0.7769149332878907</c:v>
                </c:pt>
                <c:pt idx="107">
                  <c:v>0.7788997390337676</c:v>
                </c:pt>
                <c:pt idx="108">
                  <c:v>0.7808722887681092</c:v>
                </c:pt>
                <c:pt idx="109">
                  <c:v>0.7828254118730553</c:v>
                </c:pt>
                <c:pt idx="110">
                  <c:v>0.7847572359023992</c:v>
                </c:pt>
                <c:pt idx="111">
                  <c:v>0.7866660373545187</c:v>
                </c:pt>
                <c:pt idx="112">
                  <c:v>0.7885738557723796</c:v>
                </c:pt>
                <c:pt idx="113">
                  <c:v>0.7904772484082971</c:v>
                </c:pt>
                <c:pt idx="114">
                  <c:v>0.7923745811274</c:v>
                </c:pt>
                <c:pt idx="115">
                  <c:v>0.7942592450456901</c:v>
                </c:pt>
                <c:pt idx="116">
                  <c:v>0.7961150477590383</c:v>
                </c:pt>
                <c:pt idx="117">
                  <c:v>0.7979472321168235</c:v>
                </c:pt>
                <c:pt idx="118">
                  <c:v>0.799779220718869</c:v>
                </c:pt>
                <c:pt idx="119">
                  <c:v>0.8016070686614617</c:v>
                </c:pt>
                <c:pt idx="120">
                  <c:v>0.8034315930120374</c:v>
                </c:pt>
                <c:pt idx="121">
                  <c:v>0.8052518575474926</c:v>
                </c:pt>
                <c:pt idx="122">
                  <c:v>0.8070508059851074</c:v>
                </c:pt>
                <c:pt idx="123">
                  <c:v>0.808843881750528</c:v>
                </c:pt>
                <c:pt idx="124">
                  <c:v>0.8106354382811854</c:v>
                </c:pt>
                <c:pt idx="125">
                  <c:v>0.8123508628512986</c:v>
                </c:pt>
                <c:pt idx="126">
                  <c:v>0.8157263599283165</c:v>
                </c:pt>
                <c:pt idx="127">
                  <c:v>0.8173698612862912</c:v>
                </c:pt>
                <c:pt idx="128">
                  <c:v>0.8190101411856782</c:v>
                </c:pt>
                <c:pt idx="129">
                  <c:v>0.8206205130124712</c:v>
                </c:pt>
                <c:pt idx="130">
                  <c:v>0.8222192373727462</c:v>
                </c:pt>
                <c:pt idx="131">
                  <c:v>0.8237960541124016</c:v>
                </c:pt>
                <c:pt idx="132">
                  <c:v>0.8253547336572086</c:v>
                </c:pt>
                <c:pt idx="133">
                  <c:v>0.8269058595837949</c:v>
                </c:pt>
                <c:pt idx="134">
                  <c:v>0.8284534746737435</c:v>
                </c:pt>
                <c:pt idx="135">
                  <c:v>0.831478539187601</c:v>
                </c:pt>
                <c:pt idx="136">
                  <c:v>0.832974602429029</c:v>
                </c:pt>
                <c:pt idx="137">
                  <c:v>0.8359246371722683</c:v>
                </c:pt>
                <c:pt idx="138">
                  <c:v>0.8373847622132047</c:v>
                </c:pt>
                <c:pt idx="139">
                  <c:v>0.8388431850303166</c:v>
                </c:pt>
                <c:pt idx="140">
                  <c:v>0.8402801853605991</c:v>
                </c:pt>
                <c:pt idx="141">
                  <c:v>0.8417009251977995</c:v>
                </c:pt>
                <c:pt idx="142">
                  <c:v>0.8430938421865908</c:v>
                </c:pt>
                <c:pt idx="143">
                  <c:v>0.8444768437216051</c:v>
                </c:pt>
                <c:pt idx="144">
                  <c:v>0.8458441252196016</c:v>
                </c:pt>
                <c:pt idx="145">
                  <c:v>0.8471933886784173</c:v>
                </c:pt>
                <c:pt idx="146">
                  <c:v>0.8485309238150832</c:v>
                </c:pt>
                <c:pt idx="147">
                  <c:v>0.849824490510366</c:v>
                </c:pt>
                <c:pt idx="148">
                  <c:v>0.8511015073345165</c:v>
                </c:pt>
                <c:pt idx="149">
                  <c:v>0.8523632764887603</c:v>
                </c:pt>
                <c:pt idx="150">
                  <c:v>0.8535896947097318</c:v>
                </c:pt>
                <c:pt idx="151">
                  <c:v>0.856016402015971</c:v>
                </c:pt>
                <c:pt idx="152">
                  <c:v>0.8583474698766387</c:v>
                </c:pt>
                <c:pt idx="153">
                  <c:v>0.8594970326919406</c:v>
                </c:pt>
                <c:pt idx="154">
                  <c:v>0.8617742634686035</c:v>
                </c:pt>
                <c:pt idx="155">
                  <c:v>0.8629088339475723</c:v>
                </c:pt>
                <c:pt idx="156">
                  <c:v>0.8640420128585647</c:v>
                </c:pt>
                <c:pt idx="157">
                  <c:v>0.8651719788220887</c:v>
                </c:pt>
                <c:pt idx="158">
                  <c:v>0.866276560372832</c:v>
                </c:pt>
                <c:pt idx="159">
                  <c:v>0.8673687029229787</c:v>
                </c:pt>
                <c:pt idx="160">
                  <c:v>0.8684525811764583</c:v>
                </c:pt>
                <c:pt idx="161">
                  <c:v>0.8694885035292462</c:v>
                </c:pt>
                <c:pt idx="162">
                  <c:v>0.8705199149888996</c:v>
                </c:pt>
                <c:pt idx="163">
                  <c:v>0.8715047195602421</c:v>
                </c:pt>
                <c:pt idx="164">
                  <c:v>0.8724768893752484</c:v>
                </c:pt>
                <c:pt idx="165">
                  <c:v>0.8734453313200793</c:v>
                </c:pt>
                <c:pt idx="166">
                  <c:v>0.8744063430579169</c:v>
                </c:pt>
                <c:pt idx="167">
                  <c:v>0.8753333273415056</c:v>
                </c:pt>
                <c:pt idx="168">
                  <c:v>0.8762375018258479</c:v>
                </c:pt>
                <c:pt idx="169">
                  <c:v>0.8771381824957908</c:v>
                </c:pt>
                <c:pt idx="170">
                  <c:v>0.8780290455898266</c:v>
                </c:pt>
                <c:pt idx="171">
                  <c:v>0.879788030067605</c:v>
                </c:pt>
                <c:pt idx="172">
                  <c:v>0.8806518490806314</c:v>
                </c:pt>
                <c:pt idx="173">
                  <c:v>0.8815069186632007</c:v>
                </c:pt>
                <c:pt idx="174">
                  <c:v>0.8823377783674281</c:v>
                </c:pt>
                <c:pt idx="175">
                  <c:v>0.8831593864851701</c:v>
                </c:pt>
                <c:pt idx="176">
                  <c:v>0.8839779646445047</c:v>
                </c:pt>
                <c:pt idx="177">
                  <c:v>0.8847879550846455</c:v>
                </c:pt>
                <c:pt idx="178">
                  <c:v>0.8855866725475094</c:v>
                </c:pt>
                <c:pt idx="179">
                  <c:v>0.887165485144599</c:v>
                </c:pt>
                <c:pt idx="180">
                  <c:v>0.8879507380170124</c:v>
                </c:pt>
                <c:pt idx="181">
                  <c:v>0.8887343056878396</c:v>
                </c:pt>
                <c:pt idx="182">
                  <c:v>0.8894950124927058</c:v>
                </c:pt>
                <c:pt idx="183">
                  <c:v>0.8902546000854075</c:v>
                </c:pt>
                <c:pt idx="184">
                  <c:v>0.8917615873482283</c:v>
                </c:pt>
                <c:pt idx="185">
                  <c:v>0.893239832561775</c:v>
                </c:pt>
                <c:pt idx="186">
                  <c:v>0.8939710142944076</c:v>
                </c:pt>
                <c:pt idx="187">
                  <c:v>0.8947020555935749</c:v>
                </c:pt>
                <c:pt idx="188">
                  <c:v>0.8954275944542298</c:v>
                </c:pt>
                <c:pt idx="189">
                  <c:v>0.8961471840426186</c:v>
                </c:pt>
                <c:pt idx="190">
                  <c:v>0.8968573518221397</c:v>
                </c:pt>
                <c:pt idx="191">
                  <c:v>0.8975623959079494</c:v>
                </c:pt>
                <c:pt idx="192">
                  <c:v>0.89825628617215</c:v>
                </c:pt>
                <c:pt idx="193">
                  <c:v>0.8989454570207976</c:v>
                </c:pt>
                <c:pt idx="194">
                  <c:v>0.8996312361884752</c:v>
                </c:pt>
                <c:pt idx="195">
                  <c:v>0.9003096106825168</c:v>
                </c:pt>
                <c:pt idx="196">
                  <c:v>0.9009859382524097</c:v>
                </c:pt>
                <c:pt idx="197">
                  <c:v>0.9016599507979014</c:v>
                </c:pt>
                <c:pt idx="198">
                  <c:v>0.9023335165096392</c:v>
                </c:pt>
                <c:pt idx="199">
                  <c:v>0.9029814807750588</c:v>
                </c:pt>
                <c:pt idx="200">
                  <c:v>0.9036280662391806</c:v>
                </c:pt>
                <c:pt idx="201">
                  <c:v>0.9049118919586285</c:v>
                </c:pt>
                <c:pt idx="202">
                  <c:v>0.9055469746452572</c:v>
                </c:pt>
                <c:pt idx="203">
                  <c:v>0.9061800529633328</c:v>
                </c:pt>
                <c:pt idx="204">
                  <c:v>0.9068110290349852</c:v>
                </c:pt>
                <c:pt idx="205">
                  <c:v>0.9074419327621251</c:v>
                </c:pt>
                <c:pt idx="206">
                  <c:v>0.9080676574732794</c:v>
                </c:pt>
                <c:pt idx="207">
                  <c:v>0.9086868967116629</c:v>
                </c:pt>
                <c:pt idx="208">
                  <c:v>0.9092955353511802</c:v>
                </c:pt>
                <c:pt idx="209">
                  <c:v>0.9098868793966421</c:v>
                </c:pt>
                <c:pt idx="210">
                  <c:v>0.9104694272004917</c:v>
                </c:pt>
                <c:pt idx="211">
                  <c:v>0.9110476343335892</c:v>
                </c:pt>
                <c:pt idx="212">
                  <c:v>0.9116202156169471</c:v>
                </c:pt>
                <c:pt idx="213">
                  <c:v>0.9121885200629463</c:v>
                </c:pt>
                <c:pt idx="214">
                  <c:v>0.9127525349049082</c:v>
                </c:pt>
                <c:pt idx="215">
                  <c:v>0.9133116856422919</c:v>
                </c:pt>
                <c:pt idx="216">
                  <c:v>0.9138701299567886</c:v>
                </c:pt>
                <c:pt idx="217">
                  <c:v>0.9144226377656979</c:v>
                </c:pt>
                <c:pt idx="218">
                  <c:v>0.9149732603617217</c:v>
                </c:pt>
                <c:pt idx="219">
                  <c:v>0.9155216530445355</c:v>
                </c:pt>
                <c:pt idx="220">
                  <c:v>0.9166120848597389</c:v>
                </c:pt>
                <c:pt idx="221">
                  <c:v>0.9171549240373258</c:v>
                </c:pt>
                <c:pt idx="222">
                  <c:v>0.9176962184467921</c:v>
                </c:pt>
                <c:pt idx="223">
                  <c:v>0.9182139115229336</c:v>
                </c:pt>
                <c:pt idx="224">
                  <c:v>0.9187295832082838</c:v>
                </c:pt>
                <c:pt idx="225">
                  <c:v>0.9192449272155478</c:v>
                </c:pt>
                <c:pt idx="226">
                  <c:v>0.9197586711324169</c:v>
                </c:pt>
                <c:pt idx="227">
                  <c:v>0.9202562737118716</c:v>
                </c:pt>
                <c:pt idx="228">
                  <c:v>0.920751727233748</c:v>
                </c:pt>
                <c:pt idx="229">
                  <c:v>0.9212457040764568</c:v>
                </c:pt>
                <c:pt idx="230">
                  <c:v>0.9222236486857871</c:v>
                </c:pt>
                <c:pt idx="231">
                  <c:v>0.9227067142737818</c:v>
                </c:pt>
                <c:pt idx="232">
                  <c:v>0.9236535252093647</c:v>
                </c:pt>
                <c:pt idx="233">
                  <c:v>0.9245929357268713</c:v>
                </c:pt>
                <c:pt idx="234">
                  <c:v>0.9250612558009875</c:v>
                </c:pt>
                <c:pt idx="235">
                  <c:v>0.9255274821397997</c:v>
                </c:pt>
                <c:pt idx="236">
                  <c:v>0.9259930701446778</c:v>
                </c:pt>
                <c:pt idx="237">
                  <c:v>0.9264546366457709</c:v>
                </c:pt>
                <c:pt idx="238">
                  <c:v>0.9269161010134345</c:v>
                </c:pt>
                <c:pt idx="239">
                  <c:v>0.9273769440694022</c:v>
                </c:pt>
                <c:pt idx="240">
                  <c:v>0.9278374679584028</c:v>
                </c:pt>
                <c:pt idx="241">
                  <c:v>0.92829754075809</c:v>
                </c:pt>
                <c:pt idx="242">
                  <c:v>0.9287540048432695</c:v>
                </c:pt>
                <c:pt idx="243">
                  <c:v>0.9292084986043724</c:v>
                </c:pt>
                <c:pt idx="244">
                  <c:v>0.9301072600169532</c:v>
                </c:pt>
                <c:pt idx="245">
                  <c:v>0.9309757601454967</c:v>
                </c:pt>
                <c:pt idx="246">
                  <c:v>0.9314009373567845</c:v>
                </c:pt>
                <c:pt idx="247">
                  <c:v>0.9318223228645037</c:v>
                </c:pt>
                <c:pt idx="248">
                  <c:v>0.9322414869701321</c:v>
                </c:pt>
                <c:pt idx="249">
                  <c:v>0.9326594254746069</c:v>
                </c:pt>
                <c:pt idx="250">
                  <c:v>0.933062988698885</c:v>
                </c:pt>
                <c:pt idx="251">
                  <c:v>0.9334592706607545</c:v>
                </c:pt>
                <c:pt idx="252">
                  <c:v>0.933846858514441</c:v>
                </c:pt>
                <c:pt idx="253">
                  <c:v>0.9342330590557107</c:v>
                </c:pt>
                <c:pt idx="254">
                  <c:v>0.9346191744857892</c:v>
                </c:pt>
                <c:pt idx="255">
                  <c:v>0.9350051409712831</c:v>
                </c:pt>
                <c:pt idx="256">
                  <c:v>0.9353905329562362</c:v>
                </c:pt>
                <c:pt idx="257">
                  <c:v>0.9357752100071831</c:v>
                </c:pt>
                <c:pt idx="258">
                  <c:v>0.9361539633192213</c:v>
                </c:pt>
                <c:pt idx="259">
                  <c:v>0.936532197452993</c:v>
                </c:pt>
                <c:pt idx="260">
                  <c:v>0.9369032056466303</c:v>
                </c:pt>
                <c:pt idx="261">
                  <c:v>0.9372706604480343</c:v>
                </c:pt>
                <c:pt idx="262">
                  <c:v>0.9379965950757284</c:v>
                </c:pt>
                <c:pt idx="263">
                  <c:v>0.9383536918451613</c:v>
                </c:pt>
                <c:pt idx="264">
                  <c:v>0.9387091459686036</c:v>
                </c:pt>
                <c:pt idx="265">
                  <c:v>0.9390631787351525</c:v>
                </c:pt>
                <c:pt idx="266">
                  <c:v>0.9394154071444477</c:v>
                </c:pt>
                <c:pt idx="267">
                  <c:v>0.9397667078417586</c:v>
                </c:pt>
                <c:pt idx="268">
                  <c:v>0.9401108379212094</c:v>
                </c:pt>
                <c:pt idx="269">
                  <c:v>0.9404542019999392</c:v>
                </c:pt>
                <c:pt idx="270">
                  <c:v>0.9407968809335797</c:v>
                </c:pt>
                <c:pt idx="271">
                  <c:v>0.9411361000972972</c:v>
                </c:pt>
                <c:pt idx="272">
                  <c:v>0.9414688295326844</c:v>
                </c:pt>
                <c:pt idx="273">
                  <c:v>0.9417994056549338</c:v>
                </c:pt>
                <c:pt idx="274">
                  <c:v>0.9421284242423839</c:v>
                </c:pt>
                <c:pt idx="275">
                  <c:v>0.9424558214616412</c:v>
                </c:pt>
                <c:pt idx="276">
                  <c:v>0.9427793120772217</c:v>
                </c:pt>
                <c:pt idx="277">
                  <c:v>0.9431027899261234</c:v>
                </c:pt>
                <c:pt idx="278">
                  <c:v>0.9434245655512008</c:v>
                </c:pt>
                <c:pt idx="279">
                  <c:v>0.9437432005733223</c:v>
                </c:pt>
                <c:pt idx="280">
                  <c:v>0.9440584779589503</c:v>
                </c:pt>
                <c:pt idx="281">
                  <c:v>0.94437325318855</c:v>
                </c:pt>
                <c:pt idx="282">
                  <c:v>0.9446878071290526</c:v>
                </c:pt>
                <c:pt idx="283">
                  <c:v>0.9449871176552082</c:v>
                </c:pt>
                <c:pt idx="284">
                  <c:v>0.9452846110574311</c:v>
                </c:pt>
                <c:pt idx="285">
                  <c:v>0.9455809214140962</c:v>
                </c:pt>
                <c:pt idx="286">
                  <c:v>0.9458760700030012</c:v>
                </c:pt>
                <c:pt idx="287">
                  <c:v>0.9461696525459877</c:v>
                </c:pt>
                <c:pt idx="288">
                  <c:v>0.9464603923751876</c:v>
                </c:pt>
                <c:pt idx="289">
                  <c:v>0.9467447446094867</c:v>
                </c:pt>
                <c:pt idx="290">
                  <c:v>0.9470217900480196</c:v>
                </c:pt>
                <c:pt idx="291">
                  <c:v>0.9472966694067361</c:v>
                </c:pt>
                <c:pt idx="292">
                  <c:v>0.947570323164299</c:v>
                </c:pt>
                <c:pt idx="293">
                  <c:v>0.9478413810305298</c:v>
                </c:pt>
                <c:pt idx="294">
                  <c:v>0.9481095110717828</c:v>
                </c:pt>
                <c:pt idx="295">
                  <c:v>0.9483762538006189</c:v>
                </c:pt>
                <c:pt idx="296">
                  <c:v>0.9486392686592795</c:v>
                </c:pt>
                <c:pt idx="297">
                  <c:v>0.9489020069065688</c:v>
                </c:pt>
                <c:pt idx="298">
                  <c:v>0.9491639834086967</c:v>
                </c:pt>
                <c:pt idx="299">
                  <c:v>0.9494257939440016</c:v>
                </c:pt>
                <c:pt idx="300">
                  <c:v>0.9496861192890198</c:v>
                </c:pt>
                <c:pt idx="301">
                  <c:v>0.9499443934543297</c:v>
                </c:pt>
                <c:pt idx="302">
                  <c:v>0.9502025569750909</c:v>
                </c:pt>
                <c:pt idx="303">
                  <c:v>0.9504601417397519</c:v>
                </c:pt>
                <c:pt idx="304">
                  <c:v>0.9509693960412843</c:v>
                </c:pt>
                <c:pt idx="305">
                  <c:v>0.951219346332093</c:v>
                </c:pt>
                <c:pt idx="306">
                  <c:v>0.9514676454657922</c:v>
                </c:pt>
                <c:pt idx="307">
                  <c:v>0.9517151317876152</c:v>
                </c:pt>
                <c:pt idx="308">
                  <c:v>0.9519608775855779</c:v>
                </c:pt>
                <c:pt idx="309">
                  <c:v>0.9522049764819904</c:v>
                </c:pt>
                <c:pt idx="310">
                  <c:v>0.9524458071086602</c:v>
                </c:pt>
                <c:pt idx="311">
                  <c:v>0.9526851185005668</c:v>
                </c:pt>
                <c:pt idx="312">
                  <c:v>0.9529239022030878</c:v>
                </c:pt>
                <c:pt idx="313">
                  <c:v>0.9531621326828659</c:v>
                </c:pt>
                <c:pt idx="314">
                  <c:v>0.9533985460387114</c:v>
                </c:pt>
                <c:pt idx="315">
                  <c:v>0.9536339933825367</c:v>
                </c:pt>
                <c:pt idx="316">
                  <c:v>0.9538693556151708</c:v>
                </c:pt>
                <c:pt idx="317">
                  <c:v>0.9541013389335136</c:v>
                </c:pt>
                <c:pt idx="318">
                  <c:v>0.954332424328789</c:v>
                </c:pt>
                <c:pt idx="319">
                  <c:v>0.9545598839873184</c:v>
                </c:pt>
                <c:pt idx="320">
                  <c:v>0.9547856839776191</c:v>
                </c:pt>
                <c:pt idx="321">
                  <c:v>0.9550107222227584</c:v>
                </c:pt>
                <c:pt idx="322">
                  <c:v>0.955232356020249</c:v>
                </c:pt>
                <c:pt idx="323">
                  <c:v>0.955453666395213</c:v>
                </c:pt>
                <c:pt idx="324">
                  <c:v>0.9556744278029936</c:v>
                </c:pt>
                <c:pt idx="325">
                  <c:v>0.9558944870434467</c:v>
                </c:pt>
                <c:pt idx="326">
                  <c:v>0.956110920547154</c:v>
                </c:pt>
                <c:pt idx="327">
                  <c:v>0.9563269114726668</c:v>
                </c:pt>
                <c:pt idx="328">
                  <c:v>0.9565428343092267</c:v>
                </c:pt>
                <c:pt idx="329">
                  <c:v>0.9567565612770532</c:v>
                </c:pt>
                <c:pt idx="330">
                  <c:v>0.9569690413659284</c:v>
                </c:pt>
                <c:pt idx="331">
                  <c:v>0.9571813554879807</c:v>
                </c:pt>
                <c:pt idx="332">
                  <c:v>0.9573906694405425</c:v>
                </c:pt>
                <c:pt idx="333">
                  <c:v>0.9580165047962454</c:v>
                </c:pt>
                <c:pt idx="334">
                  <c:v>0.9582248867812635</c:v>
                </c:pt>
                <c:pt idx="335">
                  <c:v>0.958431413342313</c:v>
                </c:pt>
                <c:pt idx="336">
                  <c:v>0.9586367100466493</c:v>
                </c:pt>
                <c:pt idx="337">
                  <c:v>0.9588411130834779</c:v>
                </c:pt>
                <c:pt idx="338">
                  <c:v>0.9590453161090071</c:v>
                </c:pt>
                <c:pt idx="339">
                  <c:v>0.9592465019428077</c:v>
                </c:pt>
                <c:pt idx="340">
                  <c:v>0.9594474792541897</c:v>
                </c:pt>
                <c:pt idx="341">
                  <c:v>0.9596439243946394</c:v>
                </c:pt>
                <c:pt idx="342">
                  <c:v>0.9598401227126346</c:v>
                </c:pt>
                <c:pt idx="343">
                  <c:v>0.9602305830690248</c:v>
                </c:pt>
                <c:pt idx="344">
                  <c:v>0.9606168346770092</c:v>
                </c:pt>
                <c:pt idx="345">
                  <c:v>0.9608093987471394</c:v>
                </c:pt>
                <c:pt idx="346">
                  <c:v>0.9610006818938418</c:v>
                </c:pt>
                <c:pt idx="347">
                  <c:v>0.9611913224510504</c:v>
                </c:pt>
                <c:pt idx="348">
                  <c:v>0.9613815800078986</c:v>
                </c:pt>
                <c:pt idx="349">
                  <c:v>0.9615715439311371</c:v>
                </c:pt>
                <c:pt idx="350">
                  <c:v>0.9617581331956437</c:v>
                </c:pt>
                <c:pt idx="351">
                  <c:v>0.9619437521925706</c:v>
                </c:pt>
                <c:pt idx="352">
                  <c:v>0.9621292435227106</c:v>
                </c:pt>
                <c:pt idx="353">
                  <c:v>0.9623138241631045</c:v>
                </c:pt>
                <c:pt idx="354">
                  <c:v>0.962498166492163</c:v>
                </c:pt>
                <c:pt idx="355">
                  <c:v>0.962682261998767</c:v>
                </c:pt>
                <c:pt idx="356">
                  <c:v>0.9628639190697427</c:v>
                </c:pt>
                <c:pt idx="357">
                  <c:v>0.9630452995293468</c:v>
                </c:pt>
                <c:pt idx="358">
                  <c:v>0.9632265225332473</c:v>
                </c:pt>
                <c:pt idx="359">
                  <c:v>0.9634068731474377</c:v>
                </c:pt>
                <c:pt idx="360">
                  <c:v>0.9635835256803696</c:v>
                </c:pt>
                <c:pt idx="361">
                  <c:v>0.9637600250131575</c:v>
                </c:pt>
                <c:pt idx="362">
                  <c:v>0.9639363881680394</c:v>
                </c:pt>
                <c:pt idx="363">
                  <c:v>0.9641101001093149</c:v>
                </c:pt>
                <c:pt idx="364">
                  <c:v>0.964283543950338</c:v>
                </c:pt>
                <c:pt idx="365">
                  <c:v>0.9644563281796292</c:v>
                </c:pt>
                <c:pt idx="366">
                  <c:v>0.964801194470884</c:v>
                </c:pt>
                <c:pt idx="367">
                  <c:v>0.9649720168872176</c:v>
                </c:pt>
                <c:pt idx="368">
                  <c:v>0.9651423626808804</c:v>
                </c:pt>
                <c:pt idx="369">
                  <c:v>0.965311614795736</c:v>
                </c:pt>
                <c:pt idx="370">
                  <c:v>0.9654780497301624</c:v>
                </c:pt>
                <c:pt idx="371">
                  <c:v>0.9658070470398146</c:v>
                </c:pt>
                <c:pt idx="372">
                  <c:v>0.965971252061031</c:v>
                </c:pt>
                <c:pt idx="373">
                  <c:v>0.9661323803126849</c:v>
                </c:pt>
                <c:pt idx="374">
                  <c:v>0.9664519175134333</c:v>
                </c:pt>
                <c:pt idx="375">
                  <c:v>0.9666106498850544</c:v>
                </c:pt>
                <c:pt idx="376">
                  <c:v>0.9667674629993136</c:v>
                </c:pt>
                <c:pt idx="377">
                  <c:v>0.966923973968844</c:v>
                </c:pt>
                <c:pt idx="378">
                  <c:v>0.9670794763707584</c:v>
                </c:pt>
                <c:pt idx="379">
                  <c:v>0.9672337616826384</c:v>
                </c:pt>
                <c:pt idx="380">
                  <c:v>0.9673840637907695</c:v>
                </c:pt>
                <c:pt idx="381">
                  <c:v>0.9675329615642454</c:v>
                </c:pt>
                <c:pt idx="382">
                  <c:v>0.967680825236748</c:v>
                </c:pt>
                <c:pt idx="383">
                  <c:v>0.9678270973299749</c:v>
                </c:pt>
                <c:pt idx="384">
                  <c:v>0.9679731906897001</c:v>
                </c:pt>
                <c:pt idx="385">
                  <c:v>0.9681186797599678</c:v>
                </c:pt>
                <c:pt idx="386">
                  <c:v>0.968263687952005</c:v>
                </c:pt>
                <c:pt idx="387">
                  <c:v>0.968404270362099</c:v>
                </c:pt>
                <c:pt idx="388">
                  <c:v>0.9685446995720487</c:v>
                </c:pt>
                <c:pt idx="389">
                  <c:v>0.9686843542701583</c:v>
                </c:pt>
                <c:pt idx="390">
                  <c:v>0.9688239196015171</c:v>
                </c:pt>
                <c:pt idx="391">
                  <c:v>0.9689632423659811</c:v>
                </c:pt>
                <c:pt idx="392">
                  <c:v>0.9691008799288588</c:v>
                </c:pt>
                <c:pt idx="393">
                  <c:v>0.9692375770130737</c:v>
                </c:pt>
                <c:pt idx="394">
                  <c:v>0.969373359151983</c:v>
                </c:pt>
                <c:pt idx="395">
                  <c:v>0.9695091072464157</c:v>
                </c:pt>
                <c:pt idx="396">
                  <c:v>0.9696448000185742</c:v>
                </c:pt>
                <c:pt idx="397">
                  <c:v>0.969780062979217</c:v>
                </c:pt>
                <c:pt idx="398">
                  <c:v>0.9699152365731091</c:v>
                </c:pt>
                <c:pt idx="399">
                  <c:v>0.9700502399446187</c:v>
                </c:pt>
                <c:pt idx="400">
                  <c:v>0.9701848986158039</c:v>
                </c:pt>
                <c:pt idx="401">
                  <c:v>0.9703187529862322</c:v>
                </c:pt>
                <c:pt idx="402">
                  <c:v>0.9704510753552185</c:v>
                </c:pt>
                <c:pt idx="403">
                  <c:v>0.9705818189116077</c:v>
                </c:pt>
                <c:pt idx="404">
                  <c:v>0.9707108049218982</c:v>
                </c:pt>
                <c:pt idx="405">
                  <c:v>0.9708396079431276</c:v>
                </c:pt>
                <c:pt idx="406">
                  <c:v>0.9709681939308195</c:v>
                </c:pt>
                <c:pt idx="407">
                  <c:v>0.9710966352294862</c:v>
                </c:pt>
                <c:pt idx="408">
                  <c:v>0.9712240509382988</c:v>
                </c:pt>
                <c:pt idx="409">
                  <c:v>0.9713507644797837</c:v>
                </c:pt>
                <c:pt idx="410">
                  <c:v>0.9716033830064371</c:v>
                </c:pt>
                <c:pt idx="411">
                  <c:v>0.9719711782526059</c:v>
                </c:pt>
                <c:pt idx="412">
                  <c:v>0.972093142589621</c:v>
                </c:pt>
                <c:pt idx="413">
                  <c:v>0.9722142898592003</c:v>
                </c:pt>
                <c:pt idx="414">
                  <c:v>0.9723345179279146</c:v>
                </c:pt>
                <c:pt idx="415">
                  <c:v>0.9724546608854376</c:v>
                </c:pt>
                <c:pt idx="416">
                  <c:v>0.9725746974539716</c:v>
                </c:pt>
                <c:pt idx="417">
                  <c:v>0.9726934105434821</c:v>
                </c:pt>
                <c:pt idx="418">
                  <c:v>0.9728118853216573</c:v>
                </c:pt>
                <c:pt idx="419">
                  <c:v>0.9729286153204124</c:v>
                </c:pt>
                <c:pt idx="420">
                  <c:v>0.9730426600610846</c:v>
                </c:pt>
                <c:pt idx="421">
                  <c:v>0.9731564239348258</c:v>
                </c:pt>
                <c:pt idx="422">
                  <c:v>0.9732698175748853</c:v>
                </c:pt>
                <c:pt idx="423">
                  <c:v>0.9733829005590968</c:v>
                </c:pt>
                <c:pt idx="424">
                  <c:v>0.9734955196873162</c:v>
                </c:pt>
                <c:pt idx="425">
                  <c:v>0.9736081260488568</c:v>
                </c:pt>
                <c:pt idx="426">
                  <c:v>0.9737195791537565</c:v>
                </c:pt>
                <c:pt idx="427">
                  <c:v>0.9738310109808583</c:v>
                </c:pt>
                <c:pt idx="428">
                  <c:v>0.9739418300073834</c:v>
                </c:pt>
                <c:pt idx="429">
                  <c:v>0.9740520277222127</c:v>
                </c:pt>
                <c:pt idx="430">
                  <c:v>0.9741622211814823</c:v>
                </c:pt>
                <c:pt idx="431">
                  <c:v>0.9742720912182253</c:v>
                </c:pt>
                <c:pt idx="432">
                  <c:v>0.9743819612549683</c:v>
                </c:pt>
                <c:pt idx="433">
                  <c:v>0.9744874565764827</c:v>
                </c:pt>
                <c:pt idx="434">
                  <c:v>0.9745923476085395</c:v>
                </c:pt>
                <c:pt idx="435">
                  <c:v>0.9746968258513189</c:v>
                </c:pt>
                <c:pt idx="436">
                  <c:v>0.974801006204929</c:v>
                </c:pt>
                <c:pt idx="437">
                  <c:v>0.9749046801469514</c:v>
                </c:pt>
                <c:pt idx="438">
                  <c:v>0.9750078689551839</c:v>
                </c:pt>
                <c:pt idx="439">
                  <c:v>0.975111040741178</c:v>
                </c:pt>
                <c:pt idx="440">
                  <c:v>0.975214050815909</c:v>
                </c:pt>
                <c:pt idx="441">
                  <c:v>0.975316826834864</c:v>
                </c:pt>
                <c:pt idx="442">
                  <c:v>0.9754189560087657</c:v>
                </c:pt>
                <c:pt idx="443">
                  <c:v>0.9755210000714762</c:v>
                </c:pt>
                <c:pt idx="444">
                  <c:v>0.9756227036894219</c:v>
                </c:pt>
                <c:pt idx="445">
                  <c:v>0.9757240881404006</c:v>
                </c:pt>
                <c:pt idx="446">
                  <c:v>0.9758254300357836</c:v>
                </c:pt>
                <c:pt idx="447">
                  <c:v>0.9759267038422136</c:v>
                </c:pt>
                <c:pt idx="448">
                  <c:v>0.9760279223263693</c:v>
                </c:pt>
                <c:pt idx="449">
                  <c:v>0.9761286003544607</c:v>
                </c:pt>
                <c:pt idx="450">
                  <c:v>0.9762289336822277</c:v>
                </c:pt>
                <c:pt idx="451">
                  <c:v>0.9763289861430637</c:v>
                </c:pt>
                <c:pt idx="452">
                  <c:v>0.9764280513140816</c:v>
                </c:pt>
                <c:pt idx="453">
                  <c:v>0.976526520706761</c:v>
                </c:pt>
                <c:pt idx="454">
                  <c:v>0.9766249858438809</c:v>
                </c:pt>
                <c:pt idx="455">
                  <c:v>0.9767230637250807</c:v>
                </c:pt>
                <c:pt idx="456">
                  <c:v>0.9768207458392413</c:v>
                </c:pt>
                <c:pt idx="457">
                  <c:v>0.9769182577310195</c:v>
                </c:pt>
                <c:pt idx="458">
                  <c:v>0.9770147567996221</c:v>
                </c:pt>
                <c:pt idx="459">
                  <c:v>0.9771110260680086</c:v>
                </c:pt>
                <c:pt idx="460">
                  <c:v>0.9772070570250596</c:v>
                </c:pt>
                <c:pt idx="461">
                  <c:v>0.9773022581479962</c:v>
                </c:pt>
                <c:pt idx="462">
                  <c:v>0.9773969911593812</c:v>
                </c:pt>
                <c:pt idx="463">
                  <c:v>0.977491715659647</c:v>
                </c:pt>
                <c:pt idx="464">
                  <c:v>0.97767930923621</c:v>
                </c:pt>
                <c:pt idx="465">
                  <c:v>0.9777727740908458</c:v>
                </c:pt>
                <c:pt idx="466">
                  <c:v>0.9778656899782983</c:v>
                </c:pt>
                <c:pt idx="467">
                  <c:v>0.9779565589416019</c:v>
                </c:pt>
                <c:pt idx="468">
                  <c:v>0.9780472236380466</c:v>
                </c:pt>
                <c:pt idx="469">
                  <c:v>0.9781377734343832</c:v>
                </c:pt>
                <c:pt idx="470">
                  <c:v>0.9783177240259749</c:v>
                </c:pt>
                <c:pt idx="471">
                  <c:v>0.9784072652546956</c:v>
                </c:pt>
                <c:pt idx="472">
                  <c:v>0.9784962021939586</c:v>
                </c:pt>
                <c:pt idx="473">
                  <c:v>0.9785850582775899</c:v>
                </c:pt>
                <c:pt idx="474">
                  <c:v>0.9786736505165284</c:v>
                </c:pt>
                <c:pt idx="475">
                  <c:v>0.9787615363325799</c:v>
                </c:pt>
                <c:pt idx="476">
                  <c:v>0.9788489199926032</c:v>
                </c:pt>
                <c:pt idx="477">
                  <c:v>0.9789349035735309</c:v>
                </c:pt>
                <c:pt idx="478">
                  <c:v>0.9790202998872392</c:v>
                </c:pt>
                <c:pt idx="479">
                  <c:v>0.9791903733250901</c:v>
                </c:pt>
                <c:pt idx="480">
                  <c:v>0.9792748759712906</c:v>
                </c:pt>
                <c:pt idx="481">
                  <c:v>0.9793583317498392</c:v>
                </c:pt>
                <c:pt idx="482">
                  <c:v>0.9794413577168721</c:v>
                </c:pt>
                <c:pt idx="483">
                  <c:v>0.9795236857721371</c:v>
                </c:pt>
                <c:pt idx="484">
                  <c:v>0.979685831102526</c:v>
                </c:pt>
                <c:pt idx="485">
                  <c:v>0.9797664484228475</c:v>
                </c:pt>
                <c:pt idx="486">
                  <c:v>0.9798470231875734</c:v>
                </c:pt>
                <c:pt idx="487">
                  <c:v>0.9799269979184012</c:v>
                </c:pt>
                <c:pt idx="488">
                  <c:v>0.9800064066598074</c:v>
                </c:pt>
                <c:pt idx="489">
                  <c:v>0.9800856409232716</c:v>
                </c:pt>
                <c:pt idx="490">
                  <c:v>0.9802431264159414</c:v>
                </c:pt>
                <c:pt idx="491">
                  <c:v>0.9803216797898758</c:v>
                </c:pt>
                <c:pt idx="492">
                  <c:v>0.980399479929768</c:v>
                </c:pt>
                <c:pt idx="493">
                  <c:v>0.9804768800470613</c:v>
                </c:pt>
                <c:pt idx="494">
                  <c:v>0.9805542376087591</c:v>
                </c:pt>
                <c:pt idx="495">
                  <c:v>0.9807071909304965</c:v>
                </c:pt>
                <c:pt idx="496">
                  <c:v>0.9807831186241819</c:v>
                </c:pt>
                <c:pt idx="497">
                  <c:v>0.9808589356733187</c:v>
                </c:pt>
                <c:pt idx="498">
                  <c:v>0.9810825525615647</c:v>
                </c:pt>
                <c:pt idx="499">
                  <c:v>0.9811565822756859</c:v>
                </c:pt>
                <c:pt idx="500">
                  <c:v>0.9812303864451504</c:v>
                </c:pt>
                <c:pt idx="501">
                  <c:v>0.9813776117837189</c:v>
                </c:pt>
                <c:pt idx="502">
                  <c:v>0.9814511435973714</c:v>
                </c:pt>
                <c:pt idx="503">
                  <c:v>0.9815246626443453</c:v>
                </c:pt>
                <c:pt idx="504">
                  <c:v>0.9815981136023663</c:v>
                </c:pt>
                <c:pt idx="505">
                  <c:v>0.9816715049825533</c:v>
                </c:pt>
                <c:pt idx="506">
                  <c:v>0.981744832529347</c:v>
                </c:pt>
                <c:pt idx="507">
                  <c:v>0.9818170280972974</c:v>
                </c:pt>
                <c:pt idx="508">
                  <c:v>0.981888951309436</c:v>
                </c:pt>
                <c:pt idx="509">
                  <c:v>0.9819600872430558</c:v>
                </c:pt>
                <c:pt idx="510">
                  <c:v>0.982030163542345</c:v>
                </c:pt>
                <c:pt idx="511">
                  <c:v>0.9821000355747752</c:v>
                </c:pt>
                <c:pt idx="512">
                  <c:v>0.9821698650516099</c:v>
                </c:pt>
                <c:pt idx="513">
                  <c:v>0.9822396094172533</c:v>
                </c:pt>
                <c:pt idx="514">
                  <c:v>0.9823093197384202</c:v>
                </c:pt>
                <c:pt idx="515">
                  <c:v>0.9824467445233199</c:v>
                </c:pt>
                <c:pt idx="516">
                  <c:v>0.9825142930202299</c:v>
                </c:pt>
                <c:pt idx="517">
                  <c:v>0.9825818032171038</c:v>
                </c:pt>
                <c:pt idx="518">
                  <c:v>0.9826485516688163</c:v>
                </c:pt>
                <c:pt idx="519">
                  <c:v>0.9827143894307827</c:v>
                </c:pt>
                <c:pt idx="520">
                  <c:v>0.9827801803815941</c:v>
                </c:pt>
                <c:pt idx="521">
                  <c:v>0.982845839410059</c:v>
                </c:pt>
                <c:pt idx="522">
                  <c:v>0.9829112431049503</c:v>
                </c:pt>
                <c:pt idx="523">
                  <c:v>0.9829762808217193</c:v>
                </c:pt>
                <c:pt idx="524">
                  <c:v>0.9830413100273692</c:v>
                </c:pt>
                <c:pt idx="525">
                  <c:v>0.9831059987882542</c:v>
                </c:pt>
                <c:pt idx="526">
                  <c:v>0.983170632226865</c:v>
                </c:pt>
                <c:pt idx="527">
                  <c:v>0.9832986692473734</c:v>
                </c:pt>
                <c:pt idx="528">
                  <c:v>0.9833619536736034</c:v>
                </c:pt>
                <c:pt idx="529">
                  <c:v>0.9834251700108804</c:v>
                </c:pt>
                <c:pt idx="530">
                  <c:v>0.983488254425811</c:v>
                </c:pt>
                <c:pt idx="531">
                  <c:v>0.9835510749960489</c:v>
                </c:pt>
                <c:pt idx="532">
                  <c:v>0.983613882799608</c:v>
                </c:pt>
                <c:pt idx="533">
                  <c:v>0.9836761458915434</c:v>
                </c:pt>
                <c:pt idx="534">
                  <c:v>0.9837378685274145</c:v>
                </c:pt>
                <c:pt idx="535">
                  <c:v>0.9837994634964988</c:v>
                </c:pt>
                <c:pt idx="536">
                  <c:v>0.983860913776558</c:v>
                </c:pt>
                <c:pt idx="537">
                  <c:v>0.9839221427675201</c:v>
                </c:pt>
                <c:pt idx="538">
                  <c:v>0.9839833121806483</c:v>
                </c:pt>
                <c:pt idx="539">
                  <c:v>0.9840444007381448</c:v>
                </c:pt>
                <c:pt idx="540">
                  <c:v>0.9841054552511649</c:v>
                </c:pt>
                <c:pt idx="541">
                  <c:v>0.9841659650525612</c:v>
                </c:pt>
                <c:pt idx="542">
                  <c:v>0.9842264450650405</c:v>
                </c:pt>
                <c:pt idx="543">
                  <c:v>0.9842864612215277</c:v>
                </c:pt>
                <c:pt idx="544">
                  <c:v>0.9843462858778347</c:v>
                </c:pt>
                <c:pt idx="545">
                  <c:v>0.9844057615782577</c:v>
                </c:pt>
                <c:pt idx="546">
                  <c:v>0.9844652032342042</c:v>
                </c:pt>
                <c:pt idx="547">
                  <c:v>0.9845839120681551</c:v>
                </c:pt>
                <c:pt idx="548">
                  <c:v>0.9846425877233806</c:v>
                </c:pt>
                <c:pt idx="549">
                  <c:v>0.9847011995452127</c:v>
                </c:pt>
                <c:pt idx="550">
                  <c:v>0.9847591432441938</c:v>
                </c:pt>
                <c:pt idx="551">
                  <c:v>0.9848170571542579</c:v>
                </c:pt>
                <c:pt idx="552">
                  <c:v>0.9848740731412547</c:v>
                </c:pt>
                <c:pt idx="553">
                  <c:v>0.9849310806171324</c:v>
                </c:pt>
                <c:pt idx="554">
                  <c:v>0.9849877731816026</c:v>
                </c:pt>
                <c:pt idx="555">
                  <c:v>0.9850442827570116</c:v>
                </c:pt>
                <c:pt idx="556">
                  <c:v>0.9851006646656338</c:v>
                </c:pt>
                <c:pt idx="557">
                  <c:v>0.9851569997631009</c:v>
                </c:pt>
                <c:pt idx="558">
                  <c:v>0.9852127944045037</c:v>
                </c:pt>
                <c:pt idx="559">
                  <c:v>0.9852683081789755</c:v>
                </c:pt>
                <c:pt idx="560">
                  <c:v>0.9853228899859034</c:v>
                </c:pt>
                <c:pt idx="561">
                  <c:v>0.9853773568927232</c:v>
                </c:pt>
                <c:pt idx="562">
                  <c:v>0.9854311386544538</c:v>
                </c:pt>
                <c:pt idx="563">
                  <c:v>0.9854846991270871</c:v>
                </c:pt>
                <c:pt idx="564">
                  <c:v>0.9855381149106954</c:v>
                </c:pt>
                <c:pt idx="565">
                  <c:v>0.9856442315439057</c:v>
                </c:pt>
                <c:pt idx="566">
                  <c:v>0.985696987715782</c:v>
                </c:pt>
                <c:pt idx="567">
                  <c:v>0.9857495438763589</c:v>
                </c:pt>
                <c:pt idx="568">
                  <c:v>0.9858019553479108</c:v>
                </c:pt>
                <c:pt idx="569">
                  <c:v>0.9858542902193906</c:v>
                </c:pt>
                <c:pt idx="570">
                  <c:v>0.9859579811836513</c:v>
                </c:pt>
                <c:pt idx="571">
                  <c:v>0.986009086198418</c:v>
                </c:pt>
                <c:pt idx="572">
                  <c:v>0.9860598124683838</c:v>
                </c:pt>
                <c:pt idx="573">
                  <c:v>0.9861104834160753</c:v>
                </c:pt>
                <c:pt idx="574">
                  <c:v>0.9861610990414925</c:v>
                </c:pt>
                <c:pt idx="575">
                  <c:v>0.9862113444332279</c:v>
                </c:pt>
                <c:pt idx="576">
                  <c:v>0.9862614621581764</c:v>
                </c:pt>
                <c:pt idx="577">
                  <c:v>0.9863115543497677</c:v>
                </c:pt>
                <c:pt idx="578">
                  <c:v>0.9864111727435285</c:v>
                </c:pt>
                <c:pt idx="579">
                  <c:v>0.9864607627790916</c:v>
                </c:pt>
                <c:pt idx="580">
                  <c:v>0.9865101017366404</c:v>
                </c:pt>
                <c:pt idx="581">
                  <c:v>0.9865593683496768</c:v>
                </c:pt>
                <c:pt idx="582">
                  <c:v>0.9866085072959264</c:v>
                </c:pt>
                <c:pt idx="583">
                  <c:v>0.9867064106991842</c:v>
                </c:pt>
                <c:pt idx="584">
                  <c:v>0.9868029906234186</c:v>
                </c:pt>
                <c:pt idx="585">
                  <c:v>0.9868505848015475</c:v>
                </c:pt>
                <c:pt idx="586">
                  <c:v>0.9868980385462109</c:v>
                </c:pt>
                <c:pt idx="587">
                  <c:v>0.9869454539908383</c:v>
                </c:pt>
                <c:pt idx="588">
                  <c:v>0.9870868449572489</c:v>
                </c:pt>
                <c:pt idx="589">
                  <c:v>0.9871337369680503</c:v>
                </c:pt>
                <c:pt idx="590">
                  <c:v>0.9871805481232201</c:v>
                </c:pt>
                <c:pt idx="591">
                  <c:v>0.9872731405881459</c:v>
                </c:pt>
                <c:pt idx="592">
                  <c:v>0.9873182537750508</c:v>
                </c:pt>
                <c:pt idx="593">
                  <c:v>0.9873630563061078</c:v>
                </c:pt>
                <c:pt idx="594">
                  <c:v>0.9874077269148184</c:v>
                </c:pt>
                <c:pt idx="595">
                  <c:v>0.9874522315567061</c:v>
                </c:pt>
                <c:pt idx="596">
                  <c:v>0.9874965617206519</c:v>
                </c:pt>
                <c:pt idx="597">
                  <c:v>0.9875404493064034</c:v>
                </c:pt>
                <c:pt idx="598">
                  <c:v>0.9875842985921188</c:v>
                </c:pt>
                <c:pt idx="599">
                  <c:v>0.9876280329777261</c:v>
                </c:pt>
                <c:pt idx="600">
                  <c:v>0.9877586573784476</c:v>
                </c:pt>
                <c:pt idx="601">
                  <c:v>0.9878454069600964</c:v>
                </c:pt>
                <c:pt idx="602">
                  <c:v>0.9878884647117334</c:v>
                </c:pt>
                <c:pt idx="603">
                  <c:v>0.9879314330966197</c:v>
                </c:pt>
                <c:pt idx="604">
                  <c:v>0.9879743759481486</c:v>
                </c:pt>
                <c:pt idx="605">
                  <c:v>0.9880169272881979</c:v>
                </c:pt>
                <c:pt idx="606">
                  <c:v>0.9880591849946375</c:v>
                </c:pt>
                <c:pt idx="607">
                  <c:v>0.988143155695893</c:v>
                </c:pt>
                <c:pt idx="608">
                  <c:v>0.9883098800083695</c:v>
                </c:pt>
                <c:pt idx="609">
                  <c:v>0.9883514568252794</c:v>
                </c:pt>
                <c:pt idx="610">
                  <c:v>0.9883929229976407</c:v>
                </c:pt>
                <c:pt idx="611">
                  <c:v>0.9884341040475114</c:v>
                </c:pt>
                <c:pt idx="612">
                  <c:v>0.9884752042417505</c:v>
                </c:pt>
                <c:pt idx="613">
                  <c:v>0.9885154788574347</c:v>
                </c:pt>
                <c:pt idx="614">
                  <c:v>0.9885557321953212</c:v>
                </c:pt>
                <c:pt idx="615">
                  <c:v>0.9886359367263653</c:v>
                </c:pt>
                <c:pt idx="616">
                  <c:v>0.9886757091860213</c:v>
                </c:pt>
                <c:pt idx="617">
                  <c:v>0.9887152986566162</c:v>
                </c:pt>
                <c:pt idx="618">
                  <c:v>0.9887548242938178</c:v>
                </c:pt>
                <c:pt idx="619">
                  <c:v>0.988794081830767</c:v>
                </c:pt>
                <c:pt idx="620">
                  <c:v>0.9888331989342507</c:v>
                </c:pt>
                <c:pt idx="621">
                  <c:v>0.988871979848529</c:v>
                </c:pt>
                <c:pt idx="622">
                  <c:v>0.9890255076708072</c:v>
                </c:pt>
                <c:pt idx="623">
                  <c:v>0.9890630629839321</c:v>
                </c:pt>
                <c:pt idx="624">
                  <c:v>0.989100618297057</c:v>
                </c:pt>
                <c:pt idx="625">
                  <c:v>0.9891381650990627</c:v>
                </c:pt>
                <c:pt idx="626">
                  <c:v>0.9892126842025334</c:v>
                </c:pt>
                <c:pt idx="627">
                  <c:v>0.9892496352262006</c:v>
                </c:pt>
                <c:pt idx="628">
                  <c:v>0.9892863649607706</c:v>
                </c:pt>
                <c:pt idx="629">
                  <c:v>0.9893589350179625</c:v>
                </c:pt>
                <c:pt idx="630">
                  <c:v>0.989430470974181</c:v>
                </c:pt>
                <c:pt idx="631">
                  <c:v>0.9894656346628327</c:v>
                </c:pt>
                <c:pt idx="632">
                  <c:v>0.9895007004736144</c:v>
                </c:pt>
                <c:pt idx="633">
                  <c:v>0.9895356258509306</c:v>
                </c:pt>
                <c:pt idx="634">
                  <c:v>0.9896052468053468</c:v>
                </c:pt>
                <c:pt idx="635">
                  <c:v>0.9896399679158041</c:v>
                </c:pt>
                <c:pt idx="636">
                  <c:v>0.9896740804812442</c:v>
                </c:pt>
                <c:pt idx="637">
                  <c:v>0.9897421481564206</c:v>
                </c:pt>
                <c:pt idx="638">
                  <c:v>0.9897760351772039</c:v>
                </c:pt>
                <c:pt idx="639">
                  <c:v>0.9898098668757129</c:v>
                </c:pt>
                <c:pt idx="640">
                  <c:v>0.989910898115248</c:v>
                </c:pt>
                <c:pt idx="641">
                  <c:v>0.9900111548429429</c:v>
                </c:pt>
                <c:pt idx="642">
                  <c:v>0.9900443482075179</c:v>
                </c:pt>
                <c:pt idx="643">
                  <c:v>0.9900773713497103</c:v>
                </c:pt>
                <c:pt idx="644">
                  <c:v>0.9901100880916144</c:v>
                </c:pt>
                <c:pt idx="645">
                  <c:v>0.9901426303555765</c:v>
                </c:pt>
                <c:pt idx="646">
                  <c:v>0.9901749981415966</c:v>
                </c:pt>
                <c:pt idx="647">
                  <c:v>0.9902393847577527</c:v>
                </c:pt>
                <c:pt idx="648">
                  <c:v>0.9903034351847037</c:v>
                </c:pt>
                <c:pt idx="649">
                  <c:v>0.9903353689036486</c:v>
                </c:pt>
                <c:pt idx="650">
                  <c:v>0.9903984107629836</c:v>
                </c:pt>
                <c:pt idx="651">
                  <c:v>0.9904299104148533</c:v>
                </c:pt>
                <c:pt idx="652">
                  <c:v>0.9904927352406506</c:v>
                </c:pt>
                <c:pt idx="653">
                  <c:v>0.9905551685549684</c:v>
                </c:pt>
                <c:pt idx="654">
                  <c:v>0.9905861532841312</c:v>
                </c:pt>
                <c:pt idx="655">
                  <c:v>0.9906169677909117</c:v>
                </c:pt>
                <c:pt idx="656">
                  <c:v>0.9906782010374333</c:v>
                </c:pt>
                <c:pt idx="657">
                  <c:v>0.9907087304217231</c:v>
                </c:pt>
                <c:pt idx="658">
                  <c:v>0.9907391576725835</c:v>
                </c:pt>
                <c:pt idx="659">
                  <c:v>0.9907689806339862</c:v>
                </c:pt>
                <c:pt idx="660">
                  <c:v>0.990798773806472</c:v>
                </c:pt>
                <c:pt idx="661">
                  <c:v>0.9908285669789577</c:v>
                </c:pt>
                <c:pt idx="662">
                  <c:v>0.9908583005736097</c:v>
                </c:pt>
                <c:pt idx="663">
                  <c:v>0.9908876894679371</c:v>
                </c:pt>
                <c:pt idx="664">
                  <c:v>0.9909170017621926</c:v>
                </c:pt>
                <c:pt idx="665">
                  <c:v>0.9909462459674949</c:v>
                </c:pt>
                <c:pt idx="666">
                  <c:v>0.9910329104379524</c:v>
                </c:pt>
                <c:pt idx="667">
                  <c:v>0.9910615716315949</c:v>
                </c:pt>
                <c:pt idx="668">
                  <c:v>0.9910902243141184</c:v>
                </c:pt>
                <c:pt idx="669">
                  <c:v>0.9911470360342564</c:v>
                </c:pt>
                <c:pt idx="670">
                  <c:v>0.9911753780609319</c:v>
                </c:pt>
                <c:pt idx="671">
                  <c:v>0.9912035030540698</c:v>
                </c:pt>
                <c:pt idx="672">
                  <c:v>0.9912314195247892</c:v>
                </c:pt>
                <c:pt idx="673">
                  <c:v>0.9912868481880698</c:v>
                </c:pt>
                <c:pt idx="674">
                  <c:v>0.9913417491619648</c:v>
                </c:pt>
                <c:pt idx="675">
                  <c:v>0.9913687251540213</c:v>
                </c:pt>
                <c:pt idx="676">
                  <c:v>0.9913956415682439</c:v>
                </c:pt>
                <c:pt idx="677">
                  <c:v>0.9914224430823584</c:v>
                </c:pt>
                <c:pt idx="678">
                  <c:v>0.9914491594852817</c:v>
                </c:pt>
                <c:pt idx="679">
                  <c:v>0.9914757482214182</c:v>
                </c:pt>
                <c:pt idx="680">
                  <c:v>0.9915023199353163</c:v>
                </c:pt>
                <c:pt idx="681">
                  <c:v>0.9915553782519215</c:v>
                </c:pt>
                <c:pt idx="682">
                  <c:v>0.9915817286767226</c:v>
                </c:pt>
                <c:pt idx="683">
                  <c:v>0.9916080578237257</c:v>
                </c:pt>
                <c:pt idx="684">
                  <c:v>0.9916342890928591</c:v>
                </c:pt>
                <c:pt idx="685">
                  <c:v>0.991686730353328</c:v>
                </c:pt>
                <c:pt idx="686">
                  <c:v>0.9917129190668657</c:v>
                </c:pt>
                <c:pt idx="687">
                  <c:v>0.9917390609692481</c:v>
                </c:pt>
                <c:pt idx="688">
                  <c:v>0.991765160316035</c:v>
                </c:pt>
                <c:pt idx="689">
                  <c:v>0.9917912256183454</c:v>
                </c:pt>
                <c:pt idx="690">
                  <c:v>0.9918172653872985</c:v>
                </c:pt>
                <c:pt idx="691">
                  <c:v>0.9918432881340133</c:v>
                </c:pt>
                <c:pt idx="692">
                  <c:v>0.9918692342806561</c:v>
                </c:pt>
                <c:pt idx="693">
                  <c:v>0.9919205520734009</c:v>
                </c:pt>
                <c:pt idx="694">
                  <c:v>0.9919461237308023</c:v>
                </c:pt>
                <c:pt idx="695">
                  <c:v>0.991971691132644</c:v>
                </c:pt>
                <c:pt idx="696">
                  <c:v>0.9919972372566881</c:v>
                </c:pt>
                <c:pt idx="697">
                  <c:v>0.9920479720377731</c:v>
                </c:pt>
                <c:pt idx="698">
                  <c:v>0.9920732415504456</c:v>
                </c:pt>
                <c:pt idx="699">
                  <c:v>0.9921484628212438</c:v>
                </c:pt>
                <c:pt idx="700">
                  <c:v>0.9921733280557581</c:v>
                </c:pt>
                <c:pt idx="701">
                  <c:v>0.9921980911568429</c:v>
                </c:pt>
                <c:pt idx="702">
                  <c:v>0.992295913704469</c:v>
                </c:pt>
                <c:pt idx="703">
                  <c:v>0.9923446781614773</c:v>
                </c:pt>
                <c:pt idx="704">
                  <c:v>0.9923689944288082</c:v>
                </c:pt>
                <c:pt idx="705">
                  <c:v>0.9923932553738648</c:v>
                </c:pt>
                <c:pt idx="706">
                  <c:v>0.9924412708523903</c:v>
                </c:pt>
                <c:pt idx="707">
                  <c:v>0.9924652253971585</c:v>
                </c:pt>
                <c:pt idx="708">
                  <c:v>0.9924891373863312</c:v>
                </c:pt>
                <c:pt idx="709">
                  <c:v>0.9925127685085727</c:v>
                </c:pt>
                <c:pt idx="710">
                  <c:v>0.9925363017529445</c:v>
                </c:pt>
                <c:pt idx="711">
                  <c:v>0.9925597541416845</c:v>
                </c:pt>
                <c:pt idx="712">
                  <c:v>0.9925831639748289</c:v>
                </c:pt>
                <c:pt idx="713">
                  <c:v>0.9926064886967821</c:v>
                </c:pt>
                <c:pt idx="714">
                  <c:v>0.9926297921409376</c:v>
                </c:pt>
                <c:pt idx="715">
                  <c:v>0.9926763266847359</c:v>
                </c:pt>
                <c:pt idx="716">
                  <c:v>0.992722388861423</c:v>
                </c:pt>
                <c:pt idx="717">
                  <c:v>0.9927451390828356</c:v>
                </c:pt>
                <c:pt idx="718">
                  <c:v>0.992857341166218</c:v>
                </c:pt>
                <c:pt idx="719">
                  <c:v>0.9928793807091839</c:v>
                </c:pt>
                <c:pt idx="720">
                  <c:v>0.9929014159965902</c:v>
                </c:pt>
                <c:pt idx="721">
                  <c:v>0.9929233661728053</c:v>
                </c:pt>
                <c:pt idx="722">
                  <c:v>0.9929453120934608</c:v>
                </c:pt>
                <c:pt idx="723">
                  <c:v>0.9929671175806508</c:v>
                </c:pt>
                <c:pt idx="724">
                  <c:v>0.993010562588208</c:v>
                </c:pt>
                <c:pt idx="725">
                  <c:v>0.993032125508503</c:v>
                </c:pt>
                <c:pt idx="726">
                  <c:v>0.9930750811267106</c:v>
                </c:pt>
                <c:pt idx="727">
                  <c:v>0.9931802232367816</c:v>
                </c:pt>
                <c:pt idx="728">
                  <c:v>0.993200939300724</c:v>
                </c:pt>
                <c:pt idx="729">
                  <c:v>0.9932628406700966</c:v>
                </c:pt>
                <c:pt idx="730">
                  <c:v>0.9933243930835853</c:v>
                </c:pt>
                <c:pt idx="731">
                  <c:v>0.9933444027246406</c:v>
                </c:pt>
                <c:pt idx="732">
                  <c:v>0.993403980558493</c:v>
                </c:pt>
                <c:pt idx="733">
                  <c:v>0.9934236837992599</c:v>
                </c:pt>
                <c:pt idx="734">
                  <c:v>0.9934627881360649</c:v>
                </c:pt>
                <c:pt idx="735">
                  <c:v>0.9935212084577167</c:v>
                </c:pt>
                <c:pt idx="736">
                  <c:v>0.9935600957609841</c:v>
                </c:pt>
                <c:pt idx="737">
                  <c:v>0.9936376363117431</c:v>
                </c:pt>
                <c:pt idx="738">
                  <c:v>0.993656845907601</c:v>
                </c:pt>
                <c:pt idx="739">
                  <c:v>0.9937140874392545</c:v>
                </c:pt>
                <c:pt idx="740">
                  <c:v>0.99373302893486</c:v>
                </c:pt>
                <c:pt idx="741">
                  <c:v>0.9938085140503512</c:v>
                </c:pt>
                <c:pt idx="742">
                  <c:v>0.9938271534012278</c:v>
                </c:pt>
                <c:pt idx="743">
                  <c:v>0.9938457884965449</c:v>
                </c:pt>
                <c:pt idx="744">
                  <c:v>0.9939926521125508</c:v>
                </c:pt>
                <c:pt idx="745">
                  <c:v>0.9940106701517316</c:v>
                </c:pt>
                <c:pt idx="746">
                  <c:v>0.9940461657740289</c:v>
                </c:pt>
                <c:pt idx="747">
                  <c:v>0.9940637582572537</c:v>
                </c:pt>
                <c:pt idx="748">
                  <c:v>0.9940811975403342</c:v>
                </c:pt>
                <c:pt idx="749">
                  <c:v>0.9940985474566639</c:v>
                </c:pt>
                <c:pt idx="750">
                  <c:v>0.9941158675840768</c:v>
                </c:pt>
                <c:pt idx="751">
                  <c:v>0.9941676279550159</c:v>
                </c:pt>
                <c:pt idx="752">
                  <c:v>0.994219039370071</c:v>
                </c:pt>
                <c:pt idx="753">
                  <c:v>0.9942360828861123</c:v>
                </c:pt>
                <c:pt idx="754">
                  <c:v>0.9942870304451753</c:v>
                </c:pt>
                <c:pt idx="755">
                  <c:v>0.9943539746526276</c:v>
                </c:pt>
                <c:pt idx="756">
                  <c:v>0.9943705287793195</c:v>
                </c:pt>
                <c:pt idx="757">
                  <c:v>0.9944689088052481</c:v>
                </c:pt>
                <c:pt idx="758">
                  <c:v>0.9945332954214043</c:v>
                </c:pt>
                <c:pt idx="759">
                  <c:v>0.9945492920697937</c:v>
                </c:pt>
                <c:pt idx="760">
                  <c:v>0.9945652291403492</c:v>
                </c:pt>
                <c:pt idx="761">
                  <c:v>0.9946129041741097</c:v>
                </c:pt>
                <c:pt idx="762">
                  <c:v>0.9946285986777703</c:v>
                </c:pt>
                <c:pt idx="763">
                  <c:v>0.9946441867924418</c:v>
                </c:pt>
                <c:pt idx="764">
                  <c:v>0.9946752353549981</c:v>
                </c:pt>
                <c:pt idx="765">
                  <c:v>0.9947061136951719</c:v>
                </c:pt>
                <c:pt idx="766">
                  <c:v>0.9947215060541037</c:v>
                </c:pt>
                <c:pt idx="767">
                  <c:v>0.9947368218129633</c:v>
                </c:pt>
                <c:pt idx="768">
                  <c:v>0.9947521162940252</c:v>
                </c:pt>
                <c:pt idx="769">
                  <c:v>0.9947673511972531</c:v>
                </c:pt>
                <c:pt idx="770">
                  <c:v>0.994828116332223</c:v>
                </c:pt>
                <c:pt idx="771">
                  <c:v>0.9948731869635324</c:v>
                </c:pt>
                <c:pt idx="772">
                  <c:v>0.9948881112109125</c:v>
                </c:pt>
                <c:pt idx="773">
                  <c:v>0.9949178831056005</c:v>
                </c:pt>
                <c:pt idx="774">
                  <c:v>0.9949475571224186</c:v>
                </c:pt>
                <c:pt idx="775">
                  <c:v>0.9949771034724498</c:v>
                </c:pt>
                <c:pt idx="776">
                  <c:v>0.9949918532418879</c:v>
                </c:pt>
                <c:pt idx="777">
                  <c:v>0.9950212591584536</c:v>
                </c:pt>
                <c:pt idx="778">
                  <c:v>0.9950359153055813</c:v>
                </c:pt>
                <c:pt idx="779">
                  <c:v>0.9950505586860303</c:v>
                </c:pt>
                <c:pt idx="780">
                  <c:v>0.9950797305468202</c:v>
                </c:pt>
                <c:pt idx="781">
                  <c:v>0.9951231159765435</c:v>
                </c:pt>
                <c:pt idx="782">
                  <c:v>0.9951519048369729</c:v>
                </c:pt>
                <c:pt idx="783">
                  <c:v>0.9951662716060504</c:v>
                </c:pt>
                <c:pt idx="784">
                  <c:v>0.9952088059238615</c:v>
                </c:pt>
                <c:pt idx="785">
                  <c:v>0.9952228918260081</c:v>
                </c:pt>
                <c:pt idx="786">
                  <c:v>0.9952369734725951</c:v>
                </c:pt>
                <c:pt idx="787">
                  <c:v>0.9953761260146764</c:v>
                </c:pt>
                <c:pt idx="788">
                  <c:v>0.995389833172022</c:v>
                </c:pt>
                <c:pt idx="789">
                  <c:v>0.9954306482437705</c:v>
                </c:pt>
                <c:pt idx="790">
                  <c:v>0.9955233853977213</c:v>
                </c:pt>
                <c:pt idx="791">
                  <c:v>0.9955624003677755</c:v>
                </c:pt>
                <c:pt idx="792">
                  <c:v>0.9955753457799598</c:v>
                </c:pt>
                <c:pt idx="793">
                  <c:v>0.9955882741699057</c:v>
                </c:pt>
                <c:pt idx="794">
                  <c:v>0.9956011642598156</c:v>
                </c:pt>
                <c:pt idx="795">
                  <c:v>0.9956269231618377</c:v>
                </c:pt>
                <c:pt idx="796">
                  <c:v>0.9956524522636434</c:v>
                </c:pt>
                <c:pt idx="797">
                  <c:v>0.9957277629011926</c:v>
                </c:pt>
                <c:pt idx="798">
                  <c:v>0.9957647990360511</c:v>
                </c:pt>
                <c:pt idx="799">
                  <c:v>0.9957771231365394</c:v>
                </c:pt>
                <c:pt idx="800">
                  <c:v>0.9958015755817763</c:v>
                </c:pt>
                <c:pt idx="801">
                  <c:v>0.9958500804496513</c:v>
                </c:pt>
                <c:pt idx="802">
                  <c:v>0.9958861718502872</c:v>
                </c:pt>
                <c:pt idx="803">
                  <c:v>0.9959218802505626</c:v>
                </c:pt>
                <c:pt idx="804">
                  <c:v>0.9959337277283801</c:v>
                </c:pt>
                <c:pt idx="805">
                  <c:v>0.9959455198839233</c:v>
                </c:pt>
                <c:pt idx="806">
                  <c:v>0.995957307783907</c:v>
                </c:pt>
                <c:pt idx="807">
                  <c:v>0.9959690233393781</c:v>
                </c:pt>
                <c:pt idx="808">
                  <c:v>0.995980692083694</c:v>
                </c:pt>
                <c:pt idx="809">
                  <c:v>0.9959922629501401</c:v>
                </c:pt>
                <c:pt idx="810">
                  <c:v>0.996003757216514</c:v>
                </c:pt>
                <c:pt idx="811">
                  <c:v>0.9960718802139645</c:v>
                </c:pt>
                <c:pt idx="812">
                  <c:v>0.9960830425466928</c:v>
                </c:pt>
                <c:pt idx="813">
                  <c:v>0.9960941921127423</c:v>
                </c:pt>
                <c:pt idx="814">
                  <c:v>0.9961383052431504</c:v>
                </c:pt>
                <c:pt idx="815">
                  <c:v>0.9961492930979367</c:v>
                </c:pt>
                <c:pt idx="816">
                  <c:v>0.9961929849279483</c:v>
                </c:pt>
                <c:pt idx="817">
                  <c:v>0.9962037855381138</c:v>
                </c:pt>
                <c:pt idx="818">
                  <c:v>0.9962466603006899</c:v>
                </c:pt>
                <c:pt idx="819">
                  <c:v>0.9962786365752303</c:v>
                </c:pt>
                <c:pt idx="820">
                  <c:v>0.9963314906249765</c:v>
                </c:pt>
                <c:pt idx="821">
                  <c:v>0.9963732674531858</c:v>
                </c:pt>
                <c:pt idx="822">
                  <c:v>0.9963940260727238</c:v>
                </c:pt>
                <c:pt idx="823">
                  <c:v>0.9964455353656486</c:v>
                </c:pt>
                <c:pt idx="824">
                  <c:v>0.9964760179387832</c:v>
                </c:pt>
                <c:pt idx="825">
                  <c:v>0.9964962658911739</c:v>
                </c:pt>
                <c:pt idx="826">
                  <c:v>0.996526463341818</c:v>
                </c:pt>
                <c:pt idx="827">
                  <c:v>0.9965563926922097</c:v>
                </c:pt>
                <c:pt idx="828">
                  <c:v>0.9965663081459866</c:v>
                </c:pt>
                <c:pt idx="829">
                  <c:v>0.9966831530448499</c:v>
                </c:pt>
                <c:pt idx="830">
                  <c:v>0.9966927706094575</c:v>
                </c:pt>
                <c:pt idx="831">
                  <c:v>0.9967119461608389</c:v>
                </c:pt>
                <c:pt idx="832">
                  <c:v>0.9967500078855515</c:v>
                </c:pt>
                <c:pt idx="833">
                  <c:v>0.9967594722500148</c:v>
                </c:pt>
                <c:pt idx="834">
                  <c:v>0.9967783584233461</c:v>
                </c:pt>
                <c:pt idx="835">
                  <c:v>0.9967971850188434</c:v>
                </c:pt>
                <c:pt idx="836">
                  <c:v>0.9968252036229924</c:v>
                </c:pt>
                <c:pt idx="837">
                  <c:v>0.996871512622134</c:v>
                </c:pt>
                <c:pt idx="838">
                  <c:v>0.9968898413171627</c:v>
                </c:pt>
                <c:pt idx="839">
                  <c:v>0.9969081232010364</c:v>
                </c:pt>
                <c:pt idx="840">
                  <c:v>0.9969354268711791</c:v>
                </c:pt>
                <c:pt idx="841">
                  <c:v>0.9969444614241268</c:v>
                </c:pt>
                <c:pt idx="842">
                  <c:v>0.9970159250358329</c:v>
                </c:pt>
                <c:pt idx="843">
                  <c:v>0.9970246616996115</c:v>
                </c:pt>
                <c:pt idx="844">
                  <c:v>0.9970333770855921</c:v>
                </c:pt>
                <c:pt idx="845">
                  <c:v>0.9970678428624759</c:v>
                </c:pt>
                <c:pt idx="846">
                  <c:v>0.9971189138327661</c:v>
                </c:pt>
                <c:pt idx="847">
                  <c:v>0.9971853048174755</c:v>
                </c:pt>
                <c:pt idx="848">
                  <c:v>0.9972177364368889</c:v>
                </c:pt>
                <c:pt idx="849">
                  <c:v>0.9972257922111377</c:v>
                </c:pt>
                <c:pt idx="850">
                  <c:v>0.9972418526929205</c:v>
                </c:pt>
                <c:pt idx="851">
                  <c:v>0.997273760878508</c:v>
                </c:pt>
                <c:pt idx="852">
                  <c:v>0.9973052392525799</c:v>
                </c:pt>
                <c:pt idx="853">
                  <c:v>0.9973208954562043</c:v>
                </c:pt>
                <c:pt idx="854">
                  <c:v>0.9973364452708398</c:v>
                </c:pt>
                <c:pt idx="855">
                  <c:v>0.9974051597910694</c:v>
                </c:pt>
                <c:pt idx="856">
                  <c:v>0.9974277568123376</c:v>
                </c:pt>
                <c:pt idx="857">
                  <c:v>0.9974352168082479</c:v>
                </c:pt>
                <c:pt idx="858">
                  <c:v>0.9974426555263604</c:v>
                </c:pt>
                <c:pt idx="859">
                  <c:v>0.9974500942444728</c:v>
                </c:pt>
                <c:pt idx="860">
                  <c:v>0.9974648950806256</c:v>
                </c:pt>
                <c:pt idx="861">
                  <c:v>0.9975012758593118</c:v>
                </c:pt>
                <c:pt idx="862">
                  <c:v>0.9975298221528462</c:v>
                </c:pt>
                <c:pt idx="863">
                  <c:v>0.9975580790683305</c:v>
                </c:pt>
                <c:pt idx="864">
                  <c:v>0.9975650794638081</c:v>
                </c:pt>
                <c:pt idx="865">
                  <c:v>0.9975790291880487</c:v>
                </c:pt>
                <c:pt idx="866">
                  <c:v>0.9976204230158974</c:v>
                </c:pt>
                <c:pt idx="867">
                  <c:v>0.9976272276556353</c:v>
                </c:pt>
                <c:pt idx="868">
                  <c:v>0.9976407560794793</c:v>
                </c:pt>
                <c:pt idx="869">
                  <c:v>0.997667574615832</c:v>
                </c:pt>
                <c:pt idx="870">
                  <c:v>0.9977648567073938</c:v>
                </c:pt>
                <c:pt idx="871">
                  <c:v>0.9978935575951938</c:v>
                </c:pt>
                <c:pt idx="872">
                  <c:v>0.9978995238896982</c:v>
                </c:pt>
                <c:pt idx="873">
                  <c:v>0.9979991550501376</c:v>
                </c:pt>
                <c:pt idx="874">
                  <c:v>0.9980611159973442</c:v>
                </c:pt>
                <c:pt idx="875">
                  <c:v>0.9980943689397529</c:v>
                </c:pt>
                <c:pt idx="876">
                  <c:v>0.998105318494503</c:v>
                </c:pt>
                <c:pt idx="877">
                  <c:v>0.9981587513003497</c:v>
                </c:pt>
                <c:pt idx="878">
                  <c:v>0.9981846974469923</c:v>
                </c:pt>
                <c:pt idx="879">
                  <c:v>0.9982859286978266</c:v>
                </c:pt>
                <c:pt idx="880">
                  <c:v>0.9983441149637026</c:v>
                </c:pt>
                <c:pt idx="881">
                  <c:v>0.9983583498104337</c:v>
                </c:pt>
                <c:pt idx="882">
                  <c:v>0.9984048630764342</c:v>
                </c:pt>
                <c:pt idx="883">
                  <c:v>0.9985111286542291</c:v>
                </c:pt>
                <c:pt idx="884">
                  <c:v>0.9985153969804687</c:v>
                </c:pt>
                <c:pt idx="885">
                  <c:v>0.998595154677759</c:v>
                </c:pt>
                <c:pt idx="886">
                  <c:v>0.9986277437528763</c:v>
                </c:pt>
                <c:pt idx="887">
                  <c:v>0.9986357952715655</c:v>
                </c:pt>
                <c:pt idx="888">
                  <c:v>0.9986477874384081</c:v>
                </c:pt>
                <c:pt idx="889">
                  <c:v>0.9986517748977166</c:v>
                </c:pt>
                <c:pt idx="890">
                  <c:v>0.9986597200274168</c:v>
                </c:pt>
                <c:pt idx="891">
                  <c:v>0.998694470926791</c:v>
                </c:pt>
                <c:pt idx="892">
                  <c:v>0.9987789948507895</c:v>
                </c:pt>
                <c:pt idx="893">
                  <c:v>0.9987964809450252</c:v>
                </c:pt>
                <c:pt idx="894">
                  <c:v>0.9988411132536998</c:v>
                </c:pt>
                <c:pt idx="895">
                  <c:v>0.9989352164422697</c:v>
                </c:pt>
                <c:pt idx="896">
                  <c:v>0.998947668209545</c:v>
                </c:pt>
                <c:pt idx="897">
                  <c:v>0.9989538728153847</c:v>
                </c:pt>
                <c:pt idx="898">
                  <c:v>0.9989631286574296</c:v>
                </c:pt>
                <c:pt idx="899">
                  <c:v>0.9990350731473662</c:v>
                </c:pt>
                <c:pt idx="900">
                  <c:v>0.9990637768966043</c:v>
                </c:pt>
                <c:pt idx="901">
                  <c:v>0.999105528191456</c:v>
                </c:pt>
                <c:pt idx="902">
                  <c:v>0.9991716595870322</c:v>
                </c:pt>
                <c:pt idx="903">
                  <c:v>0.9992118448359655</c:v>
                </c:pt>
                <c:pt idx="904">
                  <c:v>0.9992167557516987</c:v>
                </c:pt>
                <c:pt idx="905">
                  <c:v>0.9992265137497719</c:v>
                </c:pt>
                <c:pt idx="906">
                  <c:v>0.9992434253434668</c:v>
                </c:pt>
                <c:pt idx="907">
                  <c:v>0.9992481830590558</c:v>
                </c:pt>
                <c:pt idx="908">
                  <c:v>0.9993268385664198</c:v>
                </c:pt>
                <c:pt idx="909">
                  <c:v>0.9993310728481829</c:v>
                </c:pt>
                <c:pt idx="910">
                  <c:v>0.9993415287580241</c:v>
                </c:pt>
                <c:pt idx="911">
                  <c:v>0.9993477376194234</c:v>
                </c:pt>
                <c:pt idx="912">
                  <c:v>0.9993559636160545</c:v>
                </c:pt>
                <c:pt idx="913">
                  <c:v>0.9993855908217175</c:v>
                </c:pt>
                <c:pt idx="914">
                  <c:v>0.999395170086289</c:v>
                </c:pt>
                <c:pt idx="915">
                  <c:v>0.9994214311443395</c:v>
                </c:pt>
                <c:pt idx="916">
                  <c:v>0.9994657400304872</c:v>
                </c:pt>
                <c:pt idx="917">
                  <c:v>0.9994842219256601</c:v>
                </c:pt>
                <c:pt idx="918">
                  <c:v>0.9994875242398793</c:v>
                </c:pt>
                <c:pt idx="919">
                  <c:v>0.9995245731414164</c:v>
                </c:pt>
                <c:pt idx="920">
                  <c:v>0.9995417273020063</c:v>
                </c:pt>
                <c:pt idx="921">
                  <c:v>0.9997038853990737</c:v>
                </c:pt>
                <c:pt idx="922">
                  <c:v>0.9997207331593753</c:v>
                </c:pt>
                <c:pt idx="923">
                  <c:v>0.9997864219767568</c:v>
                </c:pt>
                <c:pt idx="924">
                  <c:v>0.9998267263813577</c:v>
                </c:pt>
                <c:pt idx="925">
                  <c:v>0.9999774923454806</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1460</c:f>
              <c:strCache>
                <c:ptCount val="1459"/>
                <c:pt idx="0">
                  <c:v>Private Lab</c:v>
                </c:pt>
                <c:pt idx="1">
                  <c:v>Private Lab</c:v>
                </c:pt>
                <c:pt idx="2">
                  <c:v>Private Lab</c:v>
                </c:pt>
                <c:pt idx="3">
                  <c:v>Private Lab</c:v>
                </c:pt>
                <c:pt idx="4">
                  <c:v>Private Lab</c:v>
                </c:pt>
                <c:pt idx="5">
                  <c:v>Caprice Des</c:v>
                </c:pt>
                <c:pt idx="6">
                  <c:v>Private Lab</c:v>
                </c:pt>
                <c:pt idx="7">
                  <c:v>Private Lab</c:v>
                </c:pt>
                <c:pt idx="8">
                  <c:v>Private Lab</c:v>
                </c:pt>
                <c:pt idx="9">
                  <c:v>Private Lab</c:v>
                </c:pt>
                <c:pt idx="10">
                  <c:v>Private Lab</c:v>
                </c:pt>
                <c:pt idx="11">
                  <c:v>Private Lab</c:v>
                </c:pt>
                <c:pt idx="12">
                  <c:v>Private Lab</c:v>
                </c:pt>
                <c:pt idx="13">
                  <c:v>Private Lab</c:v>
                </c:pt>
                <c:pt idx="14">
                  <c:v>Coeur De Li</c:v>
                </c:pt>
                <c:pt idx="15">
                  <c:v>Private Lab</c:v>
                </c:pt>
                <c:pt idx="16">
                  <c:v>Mini Babybe</c:v>
                </c:pt>
                <c:pt idx="17">
                  <c:v>President</c:v>
                </c:pt>
                <c:pt idx="18">
                  <c:v>Soignon</c:v>
                </c:pt>
                <c:pt idx="19">
                  <c:v>Entremont</c:v>
                </c:pt>
                <c:pt idx="20">
                  <c:v>Private Lab</c:v>
                </c:pt>
                <c:pt idx="21">
                  <c:v>Private Lab</c:v>
                </c:pt>
                <c:pt idx="22">
                  <c:v>Richesmonts</c:v>
                </c:pt>
                <c:pt idx="23">
                  <c:v>Private Lab</c:v>
                </c:pt>
                <c:pt idx="24">
                  <c:v>Chaussee Au</c:v>
                </c:pt>
                <c:pt idx="25">
                  <c:v>Caprice Des</c:v>
                </c:pt>
                <c:pt idx="26">
                  <c:v>President</c:v>
                </c:pt>
                <c:pt idx="27">
                  <c:v>President</c:v>
                </c:pt>
                <c:pt idx="28">
                  <c:v>La Vache Qu</c:v>
                </c:pt>
                <c:pt idx="29">
                  <c:v>President</c:v>
                </c:pt>
                <c:pt idx="30">
                  <c:v>Private Lab</c:v>
                </c:pt>
                <c:pt idx="31">
                  <c:v>Private Lab</c:v>
                </c:pt>
                <c:pt idx="32">
                  <c:v>Entremont</c:v>
                </c:pt>
                <c:pt idx="33">
                  <c:v>President</c:v>
                </c:pt>
                <c:pt idx="34">
                  <c:v>Private Lab</c:v>
                </c:pt>
                <c:pt idx="35">
                  <c:v>Soignon</c:v>
                </c:pt>
                <c:pt idx="36">
                  <c:v>Private Lab</c:v>
                </c:pt>
                <c:pt idx="37">
                  <c:v>Le Rustique</c:v>
                </c:pt>
                <c:pt idx="38">
                  <c:v>Private Lab</c:v>
                </c:pt>
                <c:pt idx="39">
                  <c:v>Private Lab</c:v>
                </c:pt>
                <c:pt idx="40">
                  <c:v>St Moret</c:v>
                </c:pt>
                <c:pt idx="41">
                  <c:v>Private Lab</c:v>
                </c:pt>
                <c:pt idx="42">
                  <c:v>St Moret</c:v>
                </c:pt>
                <c:pt idx="43">
                  <c:v>Private Lab</c:v>
                </c:pt>
                <c:pt idx="44">
                  <c:v>Private Lab</c:v>
                </c:pt>
                <c:pt idx="45">
                  <c:v>President</c:v>
                </c:pt>
                <c:pt idx="46">
                  <c:v>La Vache Qu</c:v>
                </c:pt>
                <c:pt idx="47">
                  <c:v>Leerdammer</c:v>
                </c:pt>
                <c:pt idx="48">
                  <c:v>Private Lab</c:v>
                </c:pt>
                <c:pt idx="49">
                  <c:v>President</c:v>
                </c:pt>
                <c:pt idx="50">
                  <c:v>Private Lab</c:v>
                </c:pt>
                <c:pt idx="51">
                  <c:v>Societe</c:v>
                </c:pt>
                <c:pt idx="52">
                  <c:v>Private Lab</c:v>
                </c:pt>
                <c:pt idx="53">
                  <c:v>Private Lab</c:v>
                </c:pt>
                <c:pt idx="54">
                  <c:v>Private Lab</c:v>
                </c:pt>
                <c:pt idx="55">
                  <c:v>President</c:v>
                </c:pt>
                <c:pt idx="56">
                  <c:v>Private Lab</c:v>
                </c:pt>
                <c:pt idx="57">
                  <c:v>Private Lab</c:v>
                </c:pt>
                <c:pt idx="58">
                  <c:v>Chaussee Au</c:v>
                </c:pt>
                <c:pt idx="59">
                  <c:v>St Moret</c:v>
                </c:pt>
                <c:pt idx="60">
                  <c:v>Saint Agur</c:v>
                </c:pt>
                <c:pt idx="61">
                  <c:v>Private Lab</c:v>
                </c:pt>
                <c:pt idx="62">
                  <c:v>Tartare</c:v>
                </c:pt>
                <c:pt idx="63">
                  <c:v>Private Lab</c:v>
                </c:pt>
                <c:pt idx="64">
                  <c:v>Private Lab</c:v>
                </c:pt>
                <c:pt idx="65">
                  <c:v>Galbani</c:v>
                </c:pt>
                <c:pt idx="66">
                  <c:v>Mini Babybe</c:v>
                </c:pt>
                <c:pt idx="67">
                  <c:v>Private Lab</c:v>
                </c:pt>
                <c:pt idx="68">
                  <c:v>La Vache Qu</c:v>
                </c:pt>
                <c:pt idx="69">
                  <c:v>Leerdammer</c:v>
                </c:pt>
                <c:pt idx="70">
                  <c:v>Coeur De Li</c:v>
                </c:pt>
                <c:pt idx="71">
                  <c:v>Entremont</c:v>
                </c:pt>
                <c:pt idx="72">
                  <c:v>Private Lab</c:v>
                </c:pt>
                <c:pt idx="73">
                  <c:v>Entremont</c:v>
                </c:pt>
                <c:pt idx="74">
                  <c:v>St Moret</c:v>
                </c:pt>
                <c:pt idx="75">
                  <c:v>Private Lab</c:v>
                </c:pt>
                <c:pt idx="76">
                  <c:v>Entremont</c:v>
                </c:pt>
                <c:pt idx="77">
                  <c:v>Soignon</c:v>
                </c:pt>
                <c:pt idx="78">
                  <c:v>Leerdammer</c:v>
                </c:pt>
                <c:pt idx="79">
                  <c:v>Private Lab</c:v>
                </c:pt>
                <c:pt idx="80">
                  <c:v>President</c:v>
                </c:pt>
                <c:pt idx="81">
                  <c:v>Entremont</c:v>
                </c:pt>
                <c:pt idx="82">
                  <c:v>Salakis</c:v>
                </c:pt>
                <c:pt idx="83">
                  <c:v>Entremont</c:v>
                </c:pt>
                <c:pt idx="84">
                  <c:v>Kiri</c:v>
                </c:pt>
                <c:pt idx="85">
                  <c:v>Private Lab</c:v>
                </c:pt>
                <c:pt idx="86">
                  <c:v>Private Lab</c:v>
                </c:pt>
                <c:pt idx="87">
                  <c:v>All Others</c:v>
                </c:pt>
                <c:pt idx="88">
                  <c:v>Private Lab</c:v>
                </c:pt>
                <c:pt idx="89">
                  <c:v>Private Lab</c:v>
                </c:pt>
                <c:pt idx="90">
                  <c:v>Bresse Bleu</c:v>
                </c:pt>
                <c:pt idx="91">
                  <c:v>Private Lab</c:v>
                </c:pt>
                <c:pt idx="92">
                  <c:v>Juraflore</c:v>
                </c:pt>
                <c:pt idx="93">
                  <c:v>Private Lab</c:v>
                </c:pt>
                <c:pt idx="94">
                  <c:v>Private Lab</c:v>
                </c:pt>
                <c:pt idx="95">
                  <c:v>Private Lab</c:v>
                </c:pt>
                <c:pt idx="96">
                  <c:v>Apericube</c:v>
                </c:pt>
                <c:pt idx="97">
                  <c:v>Private Lab</c:v>
                </c:pt>
                <c:pt idx="98">
                  <c:v>President</c:v>
                </c:pt>
                <c:pt idx="99">
                  <c:v>President</c:v>
                </c:pt>
                <c:pt idx="100">
                  <c:v>Kiri</c:v>
                </c:pt>
                <c:pt idx="101">
                  <c:v>Saint Agur</c:v>
                </c:pt>
                <c:pt idx="102">
                  <c:v>Saint Albra</c:v>
                </c:pt>
                <c:pt idx="103">
                  <c:v>Private Lab</c:v>
                </c:pt>
                <c:pt idx="104">
                  <c:v>Private Lab</c:v>
                </c:pt>
                <c:pt idx="105">
                  <c:v>Entremont</c:v>
                </c:pt>
                <c:pt idx="106">
                  <c:v>Galbani</c:v>
                </c:pt>
                <c:pt idx="107">
                  <c:v>Private Lab</c:v>
                </c:pt>
                <c:pt idx="108">
                  <c:v>L'Ortolan</c:v>
                </c:pt>
                <c:pt idx="109">
                  <c:v>President</c:v>
                </c:pt>
                <c:pt idx="110">
                  <c:v>Private Lab</c:v>
                </c:pt>
                <c:pt idx="111">
                  <c:v>Private Lab</c:v>
                </c:pt>
                <c:pt idx="112">
                  <c:v>Apericube</c:v>
                </c:pt>
                <c:pt idx="113">
                  <c:v>Private Lab</c:v>
                </c:pt>
                <c:pt idx="114">
                  <c:v>Galbani</c:v>
                </c:pt>
                <c:pt idx="115">
                  <c:v>Private Lab</c:v>
                </c:pt>
                <c:pt idx="116">
                  <c:v>Private Lab</c:v>
                </c:pt>
                <c:pt idx="117">
                  <c:v>Leerdammer</c:v>
                </c:pt>
                <c:pt idx="118">
                  <c:v>Richesmonts</c:v>
                </c:pt>
                <c:pt idx="119">
                  <c:v>Private Lab</c:v>
                </c:pt>
                <c:pt idx="120">
                  <c:v>Private Lab</c:v>
                </c:pt>
                <c:pt idx="121">
                  <c:v>Paysan Bret</c:v>
                </c:pt>
                <c:pt idx="122">
                  <c:v>Istara</c:v>
                </c:pt>
                <c:pt idx="123">
                  <c:v>Private Lab</c:v>
                </c:pt>
                <c:pt idx="124">
                  <c:v>Richesmonts</c:v>
                </c:pt>
                <c:pt idx="125">
                  <c:v>Parmareggio</c:v>
                </c:pt>
                <c:pt idx="126">
                  <c:v>Paysan Bret</c:v>
                </c:pt>
                <c:pt idx="127">
                  <c:v>Private Lab</c:v>
                </c:pt>
                <c:pt idx="128">
                  <c:v>Apericube</c:v>
                </c:pt>
                <c:pt idx="129">
                  <c:v>Private Lab</c:v>
                </c:pt>
                <c:pt idx="130">
                  <c:v>Private Lab</c:v>
                </c:pt>
                <c:pt idx="131">
                  <c:v>Saint Albra</c:v>
                </c:pt>
                <c:pt idx="132">
                  <c:v>Pochat</c:v>
                </c:pt>
                <c:pt idx="133">
                  <c:v>Tartare</c:v>
                </c:pt>
                <c:pt idx="134">
                  <c:v>Ficello</c:v>
                </c:pt>
                <c:pt idx="135">
                  <c:v>L'Ortolan</c:v>
                </c:pt>
                <c:pt idx="136">
                  <c:v>Leerdammer</c:v>
                </c:pt>
                <c:pt idx="137">
                  <c:v>Boursin</c:v>
                </c:pt>
                <c:pt idx="138">
                  <c:v>Private Lab</c:v>
                </c:pt>
                <c:pt idx="139">
                  <c:v>President</c:v>
                </c:pt>
                <c:pt idx="140">
                  <c:v>Entremont</c:v>
                </c:pt>
                <c:pt idx="141">
                  <c:v>Boursin</c:v>
                </c:pt>
                <c:pt idx="142">
                  <c:v>Private Lab</c:v>
                </c:pt>
                <c:pt idx="143">
                  <c:v>Casa Azzurr</c:v>
                </c:pt>
                <c:pt idx="144">
                  <c:v>Kiri</c:v>
                </c:pt>
                <c:pt idx="145">
                  <c:v>Lou Perac</c:v>
                </c:pt>
                <c:pt idx="146">
                  <c:v>Leerdammer</c:v>
                </c:pt>
                <c:pt idx="147">
                  <c:v>Galbani</c:v>
                </c:pt>
                <c:pt idx="148">
                  <c:v>Private Lab</c:v>
                </c:pt>
                <c:pt idx="149">
                  <c:v>Private Lab</c:v>
                </c:pt>
                <c:pt idx="150">
                  <c:v>President</c:v>
                </c:pt>
                <c:pt idx="151">
                  <c:v>All Others</c:v>
                </c:pt>
                <c:pt idx="152">
                  <c:v>President</c:v>
                </c:pt>
                <c:pt idx="153">
                  <c:v>Private Lab</c:v>
                </c:pt>
                <c:pt idx="154">
                  <c:v>Private Lab</c:v>
                </c:pt>
                <c:pt idx="155">
                  <c:v>St Moret</c:v>
                </c:pt>
                <c:pt idx="156">
                  <c:v>Caprice Des</c:v>
                </c:pt>
                <c:pt idx="157">
                  <c:v>Lepetit</c:v>
                </c:pt>
                <c:pt idx="158">
                  <c:v>Carre Frais</c:v>
                </c:pt>
                <c:pt idx="159">
                  <c:v>Galbani</c:v>
                </c:pt>
                <c:pt idx="160">
                  <c:v>Apericube</c:v>
                </c:pt>
                <c:pt idx="161">
                  <c:v>Galbani</c:v>
                </c:pt>
                <c:pt idx="162">
                  <c:v>Kiri</c:v>
                </c:pt>
                <c:pt idx="163">
                  <c:v>Entremont</c:v>
                </c:pt>
                <c:pt idx="164">
                  <c:v>Islos</c:v>
                </c:pt>
                <c:pt idx="165">
                  <c:v>Boursin</c:v>
                </c:pt>
                <c:pt idx="166">
                  <c:v>Private Lab</c:v>
                </c:pt>
                <c:pt idx="167">
                  <c:v>Private Lab</c:v>
                </c:pt>
                <c:pt idx="168">
                  <c:v>Coeur De Li</c:v>
                </c:pt>
                <c:pt idx="169">
                  <c:v>Private Lab</c:v>
                </c:pt>
                <c:pt idx="170">
                  <c:v>President</c:v>
                </c:pt>
                <c:pt idx="171">
                  <c:v>Salakis</c:v>
                </c:pt>
                <c:pt idx="172">
                  <c:v>President</c:v>
                </c:pt>
                <c:pt idx="173">
                  <c:v>Port Salut</c:v>
                </c:pt>
                <c:pt idx="174">
                  <c:v>Leerdammer</c:v>
                </c:pt>
                <c:pt idx="175">
                  <c:v>Entremont</c:v>
                </c:pt>
                <c:pt idx="176">
                  <c:v>Private Lab</c:v>
                </c:pt>
                <c:pt idx="177">
                  <c:v>President</c:v>
                </c:pt>
                <c:pt idx="178">
                  <c:v>Carre Frais</c:v>
                </c:pt>
                <c:pt idx="179">
                  <c:v>Richesmonts</c:v>
                </c:pt>
                <c:pt idx="180">
                  <c:v>Boursin</c:v>
                </c:pt>
                <c:pt idx="181">
                  <c:v>Private Lab</c:v>
                </c:pt>
                <c:pt idx="182">
                  <c:v>Entremont</c:v>
                </c:pt>
                <c:pt idx="183">
                  <c:v>Private Lab</c:v>
                </c:pt>
                <c:pt idx="184">
                  <c:v>Entremont</c:v>
                </c:pt>
                <c:pt idx="185">
                  <c:v>Apericube</c:v>
                </c:pt>
                <c:pt idx="186">
                  <c:v>Philadelphi</c:v>
                </c:pt>
                <c:pt idx="187">
                  <c:v>Soignon</c:v>
                </c:pt>
                <c:pt idx="188">
                  <c:v>Private Lab</c:v>
                </c:pt>
                <c:pt idx="189">
                  <c:v>Private Lab</c:v>
                </c:pt>
                <c:pt idx="190">
                  <c:v>Coeur De Li</c:v>
                </c:pt>
                <c:pt idx="191">
                  <c:v>Coeur De Li</c:v>
                </c:pt>
                <c:pt idx="192">
                  <c:v>All Others</c:v>
                </c:pt>
                <c:pt idx="193">
                  <c:v>Galbani</c:v>
                </c:pt>
                <c:pt idx="194">
                  <c:v>President</c:v>
                </c:pt>
                <c:pt idx="195">
                  <c:v>Galbani</c:v>
                </c:pt>
                <c:pt idx="196">
                  <c:v>St Moret</c:v>
                </c:pt>
                <c:pt idx="197">
                  <c:v>Private Lab</c:v>
                </c:pt>
                <c:pt idx="198">
                  <c:v>President</c:v>
                </c:pt>
                <c:pt idx="199">
                  <c:v>President</c:v>
                </c:pt>
                <c:pt idx="200">
                  <c:v>Private Lab</c:v>
                </c:pt>
                <c:pt idx="201">
                  <c:v>Pave D'Affi</c:v>
                </c:pt>
                <c:pt idx="202">
                  <c:v>Private Lab</c:v>
                </c:pt>
                <c:pt idx="203">
                  <c:v>Richesmonts</c:v>
                </c:pt>
                <c:pt idx="204">
                  <c:v>Mini Babybe</c:v>
                </c:pt>
                <c:pt idx="205">
                  <c:v>Societe</c:v>
                </c:pt>
                <c:pt idx="206">
                  <c:v>Kiri</c:v>
                </c:pt>
                <c:pt idx="207">
                  <c:v>Le Rustique</c:v>
                </c:pt>
                <c:pt idx="208">
                  <c:v>Private Lab</c:v>
                </c:pt>
                <c:pt idx="209">
                  <c:v>Istara</c:v>
                </c:pt>
                <c:pt idx="210">
                  <c:v>Vieux Pane</c:v>
                </c:pt>
                <c:pt idx="211">
                  <c:v>President</c:v>
                </c:pt>
                <c:pt idx="212">
                  <c:v>Private Lab</c:v>
                </c:pt>
                <c:pt idx="213">
                  <c:v>Private Lab</c:v>
                </c:pt>
                <c:pt idx="214">
                  <c:v>Saint Agur</c:v>
                </c:pt>
                <c:pt idx="215">
                  <c:v>Petit Billy</c:v>
                </c:pt>
                <c:pt idx="216">
                  <c:v>Apericube</c:v>
                </c:pt>
                <c:pt idx="217">
                  <c:v>Entremont</c:v>
                </c:pt>
                <c:pt idx="218">
                  <c:v>Private Lab</c:v>
                </c:pt>
                <c:pt idx="219">
                  <c:v>Private Lab</c:v>
                </c:pt>
                <c:pt idx="220">
                  <c:v>Private Lab</c:v>
                </c:pt>
                <c:pt idx="221">
                  <c:v>Private Lab</c:v>
                </c:pt>
                <c:pt idx="222">
                  <c:v>Private Lab</c:v>
                </c:pt>
                <c:pt idx="223">
                  <c:v>Private Lab</c:v>
                </c:pt>
                <c:pt idx="224">
                  <c:v>Private Lab</c:v>
                </c:pt>
                <c:pt idx="225">
                  <c:v>Private Lab</c:v>
                </c:pt>
                <c:pt idx="226">
                  <c:v>All Others</c:v>
                </c:pt>
                <c:pt idx="227">
                  <c:v>President</c:v>
                </c:pt>
                <c:pt idx="228">
                  <c:v>Saint Agur</c:v>
                </c:pt>
                <c:pt idx="229">
                  <c:v>Private Lab</c:v>
                </c:pt>
                <c:pt idx="230">
                  <c:v>Apericube</c:v>
                </c:pt>
                <c:pt idx="231">
                  <c:v>Private Lab</c:v>
                </c:pt>
                <c:pt idx="232">
                  <c:v>Babybel</c:v>
                </c:pt>
                <c:pt idx="233">
                  <c:v>President</c:v>
                </c:pt>
                <c:pt idx="234">
                  <c:v>Le Rustique</c:v>
                </c:pt>
                <c:pt idx="235">
                  <c:v>Pochat</c:v>
                </c:pt>
                <c:pt idx="236">
                  <c:v>Private Lab</c:v>
                </c:pt>
                <c:pt idx="237">
                  <c:v>Aperivrais</c:v>
                </c:pt>
                <c:pt idx="238">
                  <c:v>Entremont</c:v>
                </c:pt>
                <c:pt idx="239">
                  <c:v>Private Lab</c:v>
                </c:pt>
                <c:pt idx="240">
                  <c:v>Cousteron</c:v>
                </c:pt>
                <c:pt idx="241">
                  <c:v>Private Lab</c:v>
                </c:pt>
                <c:pt idx="242">
                  <c:v>Soignon</c:v>
                </c:pt>
                <c:pt idx="243">
                  <c:v>Private Lab</c:v>
                </c:pt>
                <c:pt idx="244">
                  <c:v>Private Lab</c:v>
                </c:pt>
                <c:pt idx="245">
                  <c:v>Private Lab</c:v>
                </c:pt>
                <c:pt idx="246">
                  <c:v>Ficello</c:v>
                </c:pt>
                <c:pt idx="247">
                  <c:v>Saint Agur</c:v>
                </c:pt>
                <c:pt idx="248">
                  <c:v>Soignon</c:v>
                </c:pt>
                <c:pt idx="249">
                  <c:v>Apericube</c:v>
                </c:pt>
                <c:pt idx="250">
                  <c:v>Private Lab</c:v>
                </c:pt>
                <c:pt idx="251">
                  <c:v>Private Lab</c:v>
                </c:pt>
                <c:pt idx="252">
                  <c:v>Etorki</c:v>
                </c:pt>
                <c:pt idx="253">
                  <c:v>Philadelphi</c:v>
                </c:pt>
                <c:pt idx="254">
                  <c:v>Private Lab</c:v>
                </c:pt>
                <c:pt idx="255">
                  <c:v>Private Lab</c:v>
                </c:pt>
                <c:pt idx="256">
                  <c:v>Private Lab</c:v>
                </c:pt>
                <c:pt idx="257">
                  <c:v>Soignon</c:v>
                </c:pt>
                <c:pt idx="258">
                  <c:v>Private Lab</c:v>
                </c:pt>
                <c:pt idx="259">
                  <c:v>Societe</c:v>
                </c:pt>
                <c:pt idx="260">
                  <c:v>Private Lab</c:v>
                </c:pt>
                <c:pt idx="261">
                  <c:v>Private Lab</c:v>
                </c:pt>
                <c:pt idx="262">
                  <c:v>All Others</c:v>
                </c:pt>
                <c:pt idx="263">
                  <c:v>Richesmonts</c:v>
                </c:pt>
                <c:pt idx="264">
                  <c:v>Casa Azzurr</c:v>
                </c:pt>
                <c:pt idx="265">
                  <c:v>All Others</c:v>
                </c:pt>
                <c:pt idx="266">
                  <c:v>St Moret</c:v>
                </c:pt>
                <c:pt idx="267">
                  <c:v>Lactalis: A</c:v>
                </c:pt>
                <c:pt idx="268">
                  <c:v>Societe</c:v>
                </c:pt>
                <c:pt idx="269">
                  <c:v>Private Lab</c:v>
                </c:pt>
                <c:pt idx="270">
                  <c:v>Private Lab</c:v>
                </c:pt>
                <c:pt idx="271">
                  <c:v>Private Lab</c:v>
                </c:pt>
                <c:pt idx="272">
                  <c:v>Leerdammer</c:v>
                </c:pt>
                <c:pt idx="273">
                  <c:v>Private Lab</c:v>
                </c:pt>
                <c:pt idx="274">
                  <c:v>Private Lab</c:v>
                </c:pt>
                <c:pt idx="275">
                  <c:v>Tartare</c:v>
                </c:pt>
                <c:pt idx="276">
                  <c:v>Private Lab</c:v>
                </c:pt>
                <c:pt idx="277">
                  <c:v>Private Lab</c:v>
                </c:pt>
                <c:pt idx="278">
                  <c:v>Boursin</c:v>
                </c:pt>
                <c:pt idx="279">
                  <c:v>Private Lab</c:v>
                </c:pt>
                <c:pt idx="280">
                  <c:v>Private Lab</c:v>
                </c:pt>
                <c:pt idx="281">
                  <c:v>President</c:v>
                </c:pt>
                <c:pt idx="282">
                  <c:v>All Others</c:v>
                </c:pt>
                <c:pt idx="283">
                  <c:v>Richesmonts</c:v>
                </c:pt>
                <c:pt idx="284">
                  <c:v>Caprice Des</c:v>
                </c:pt>
                <c:pt idx="285">
                  <c:v>Private Lab</c:v>
                </c:pt>
                <c:pt idx="286">
                  <c:v>Coeur De Li</c:v>
                </c:pt>
                <c:pt idx="287">
                  <c:v>Casa Azzurr</c:v>
                </c:pt>
                <c:pt idx="288">
                  <c:v>Apericube</c:v>
                </c:pt>
                <c:pt idx="289">
                  <c:v>Private Lab</c:v>
                </c:pt>
                <c:pt idx="290">
                  <c:v>All Others</c:v>
                </c:pt>
                <c:pt idx="291">
                  <c:v>La Vache Qu</c:v>
                </c:pt>
                <c:pt idx="292">
                  <c:v>Soignon</c:v>
                </c:pt>
                <c:pt idx="293">
                  <c:v>Parmareggio</c:v>
                </c:pt>
                <c:pt idx="294">
                  <c:v>Private Lab</c:v>
                </c:pt>
                <c:pt idx="295">
                  <c:v>La Vache Qu</c:v>
                </c:pt>
                <c:pt idx="296">
                  <c:v>P'Tit Louis</c:v>
                </c:pt>
                <c:pt idx="297">
                  <c:v>Private Lab</c:v>
                </c:pt>
                <c:pt idx="298">
                  <c:v>Entremont</c:v>
                </c:pt>
                <c:pt idx="299">
                  <c:v>All Others</c:v>
                </c:pt>
                <c:pt idx="300">
                  <c:v>Pave D'Affi</c:v>
                </c:pt>
                <c:pt idx="301">
                  <c:v>Casa Azzurr</c:v>
                </c:pt>
                <c:pt idx="302">
                  <c:v>Fol Epi</c:v>
                </c:pt>
                <c:pt idx="303">
                  <c:v>Ficello</c:v>
                </c:pt>
                <c:pt idx="304">
                  <c:v>All Others</c:v>
                </c:pt>
                <c:pt idx="305">
                  <c:v>Leerdammer</c:v>
                </c:pt>
                <c:pt idx="306">
                  <c:v>Private Lab</c:v>
                </c:pt>
                <c:pt idx="307">
                  <c:v>Private Lab</c:v>
                </c:pt>
                <c:pt idx="308">
                  <c:v>Soignon</c:v>
                </c:pt>
                <c:pt idx="309">
                  <c:v>Chavroux</c:v>
                </c:pt>
                <c:pt idx="310">
                  <c:v>Private Lab</c:v>
                </c:pt>
                <c:pt idx="311">
                  <c:v>Private Lab</c:v>
                </c:pt>
                <c:pt idx="312">
                  <c:v>Private Lab</c:v>
                </c:pt>
                <c:pt idx="313">
                  <c:v>Paysan Bret</c:v>
                </c:pt>
                <c:pt idx="314">
                  <c:v>President</c:v>
                </c:pt>
                <c:pt idx="315">
                  <c:v>Richesmonts</c:v>
                </c:pt>
                <c:pt idx="316">
                  <c:v>President</c:v>
                </c:pt>
                <c:pt idx="317">
                  <c:v>Lactalis: A</c:v>
                </c:pt>
                <c:pt idx="318">
                  <c:v>Boursin</c:v>
                </c:pt>
                <c:pt idx="319">
                  <c:v>Bresse Bleu</c:v>
                </c:pt>
                <c:pt idx="320">
                  <c:v>All Others</c:v>
                </c:pt>
                <c:pt idx="321">
                  <c:v>Le Brebiou</c:v>
                </c:pt>
                <c:pt idx="322">
                  <c:v>Private Lab</c:v>
                </c:pt>
                <c:pt idx="323">
                  <c:v>Private Lab</c:v>
                </c:pt>
                <c:pt idx="324">
                  <c:v>St Moret</c:v>
                </c:pt>
                <c:pt idx="325">
                  <c:v>Boursin</c:v>
                </c:pt>
                <c:pt idx="326">
                  <c:v>Galbani</c:v>
                </c:pt>
                <c:pt idx="327">
                  <c:v>Private Lab</c:v>
                </c:pt>
                <c:pt idx="328">
                  <c:v>Apericube</c:v>
                </c:pt>
                <c:pt idx="329">
                  <c:v>Savencia: A</c:v>
                </c:pt>
                <c:pt idx="330">
                  <c:v>Private Lab</c:v>
                </c:pt>
                <c:pt idx="331">
                  <c:v>Private Lab</c:v>
                </c:pt>
                <c:pt idx="332">
                  <c:v>Soignon</c:v>
                </c:pt>
                <c:pt idx="333">
                  <c:v>Boursin</c:v>
                </c:pt>
                <c:pt idx="334">
                  <c:v>Savencia: A</c:v>
                </c:pt>
                <c:pt idx="335">
                  <c:v>Private Lab</c:v>
                </c:pt>
                <c:pt idx="336">
                  <c:v>Salakis</c:v>
                </c:pt>
                <c:pt idx="337">
                  <c:v>Private Lab</c:v>
                </c:pt>
                <c:pt idx="338">
                  <c:v>Casa Azzurr</c:v>
                </c:pt>
                <c:pt idx="339">
                  <c:v>Pave D'Affi</c:v>
                </c:pt>
                <c:pt idx="340">
                  <c:v>Private Lab</c:v>
                </c:pt>
                <c:pt idx="341">
                  <c:v>Soignon</c:v>
                </c:pt>
                <c:pt idx="342">
                  <c:v>President</c:v>
                </c:pt>
                <c:pt idx="343">
                  <c:v>Entremont</c:v>
                </c:pt>
                <c:pt idx="344">
                  <c:v>Le Rustique</c:v>
                </c:pt>
                <c:pt idx="345">
                  <c:v>Aperivrais</c:v>
                </c:pt>
                <c:pt idx="346">
                  <c:v>Milleret: A</c:v>
                </c:pt>
                <c:pt idx="347">
                  <c:v>Boursin</c:v>
                </c:pt>
                <c:pt idx="348">
                  <c:v>Galbani</c:v>
                </c:pt>
                <c:pt idx="349">
                  <c:v>Aperivrais</c:v>
                </c:pt>
                <c:pt idx="350">
                  <c:v>Private Lab</c:v>
                </c:pt>
                <c:pt idx="351">
                  <c:v>Private Lab</c:v>
                </c:pt>
                <c:pt idx="352">
                  <c:v>Paysan Bret</c:v>
                </c:pt>
                <c:pt idx="353">
                  <c:v>All Others</c:v>
                </c:pt>
                <c:pt idx="354">
                  <c:v>Soignon</c:v>
                </c:pt>
                <c:pt idx="355">
                  <c:v>Private Lab</c:v>
                </c:pt>
                <c:pt idx="356">
                  <c:v>Private Lab</c:v>
                </c:pt>
                <c:pt idx="357">
                  <c:v>Paysan Bret</c:v>
                </c:pt>
                <c:pt idx="358">
                  <c:v>All Others</c:v>
                </c:pt>
                <c:pt idx="359">
                  <c:v>Casa Azzurr</c:v>
                </c:pt>
                <c:pt idx="360">
                  <c:v>Private Lab</c:v>
                </c:pt>
                <c:pt idx="361">
                  <c:v>Private Lab</c:v>
                </c:pt>
                <c:pt idx="362">
                  <c:v>Private Lab</c:v>
                </c:pt>
                <c:pt idx="363">
                  <c:v>President</c:v>
                </c:pt>
                <c:pt idx="364">
                  <c:v>All Others</c:v>
                </c:pt>
                <c:pt idx="365">
                  <c:v>Salakis</c:v>
                </c:pt>
                <c:pt idx="366">
                  <c:v>Private Lab</c:v>
                </c:pt>
                <c:pt idx="367">
                  <c:v>Casa Azzurr</c:v>
                </c:pt>
                <c:pt idx="368">
                  <c:v>Savencia: A</c:v>
                </c:pt>
                <c:pt idx="369">
                  <c:v>Private Lab</c:v>
                </c:pt>
                <c:pt idx="370">
                  <c:v>Paturages</c:v>
                </c:pt>
                <c:pt idx="371">
                  <c:v>Galbani</c:v>
                </c:pt>
                <c:pt idx="372">
                  <c:v>Fauquet</c:v>
                </c:pt>
                <c:pt idx="373">
                  <c:v>Private Lab</c:v>
                </c:pt>
                <c:pt idx="374">
                  <c:v>La Vache Qu</c:v>
                </c:pt>
                <c:pt idx="375">
                  <c:v>Societe</c:v>
                </c:pt>
                <c:pt idx="376">
                  <c:v>Entremont</c:v>
                </c:pt>
                <c:pt idx="377">
                  <c:v>Carre Frais</c:v>
                </c:pt>
                <c:pt idx="378">
                  <c:v>Private Lab</c:v>
                </c:pt>
                <c:pt idx="379">
                  <c:v>Galbani</c:v>
                </c:pt>
                <c:pt idx="380">
                  <c:v>Private Lab</c:v>
                </c:pt>
                <c:pt idx="381">
                  <c:v>Private Lab</c:v>
                </c:pt>
                <c:pt idx="382">
                  <c:v>Soignon</c:v>
                </c:pt>
                <c:pt idx="383">
                  <c:v>Paysan Bret</c:v>
                </c:pt>
                <c:pt idx="384">
                  <c:v>Private Lab</c:v>
                </c:pt>
                <c:pt idx="385">
                  <c:v>Private Lab</c:v>
                </c:pt>
                <c:pt idx="386">
                  <c:v>Lou Perac</c:v>
                </c:pt>
                <c:pt idx="387">
                  <c:v>Tartare</c:v>
                </c:pt>
                <c:pt idx="388">
                  <c:v>Richesmonts</c:v>
                </c:pt>
                <c:pt idx="389">
                  <c:v>Boursin</c:v>
                </c:pt>
                <c:pt idx="390">
                  <c:v>Private Lab</c:v>
                </c:pt>
                <c:pt idx="391">
                  <c:v>Societe</c:v>
                </c:pt>
                <c:pt idx="392">
                  <c:v>Casa Azzurr</c:v>
                </c:pt>
                <c:pt idx="393">
                  <c:v>L'Ortolan</c:v>
                </c:pt>
                <c:pt idx="394">
                  <c:v>Pave D'Affi</c:v>
                </c:pt>
                <c:pt idx="395">
                  <c:v>Chavroux</c:v>
                </c:pt>
                <c:pt idx="396">
                  <c:v>Galbani</c:v>
                </c:pt>
                <c:pt idx="397">
                  <c:v>Galbani</c:v>
                </c:pt>
                <c:pt idx="398">
                  <c:v>Lactalis: A</c:v>
                </c:pt>
                <c:pt idx="399">
                  <c:v>Private Lab</c:v>
                </c:pt>
                <c:pt idx="400">
                  <c:v>Galbani</c:v>
                </c:pt>
                <c:pt idx="401">
                  <c:v>Private Lab</c:v>
                </c:pt>
                <c:pt idx="402">
                  <c:v>Private Lab</c:v>
                </c:pt>
                <c:pt idx="403">
                  <c:v>Entremont</c:v>
                </c:pt>
                <c:pt idx="404">
                  <c:v>All Others</c:v>
                </c:pt>
                <c:pt idx="405">
                  <c:v>All Others</c:v>
                </c:pt>
                <c:pt idx="406">
                  <c:v>Private Lab</c:v>
                </c:pt>
                <c:pt idx="407">
                  <c:v>Private Lab</c:v>
                </c:pt>
                <c:pt idx="408">
                  <c:v>Eurial Autr</c:v>
                </c:pt>
                <c:pt idx="409">
                  <c:v>Private Lab</c:v>
                </c:pt>
                <c:pt idx="410">
                  <c:v>Caprice Des</c:v>
                </c:pt>
                <c:pt idx="411">
                  <c:v>All Others</c:v>
                </c:pt>
                <c:pt idx="412">
                  <c:v>Private Lab</c:v>
                </c:pt>
                <c:pt idx="413">
                  <c:v>Private Lab</c:v>
                </c:pt>
                <c:pt idx="414">
                  <c:v>Boursin</c:v>
                </c:pt>
                <c:pt idx="415">
                  <c:v>Private Lab</c:v>
                </c:pt>
                <c:pt idx="416">
                  <c:v>Private Lab</c:v>
                </c:pt>
                <c:pt idx="417">
                  <c:v>Private Lab</c:v>
                </c:pt>
                <c:pt idx="418">
                  <c:v>Private Lab</c:v>
                </c:pt>
                <c:pt idx="419">
                  <c:v>Private Lab</c:v>
                </c:pt>
                <c:pt idx="420">
                  <c:v>President</c:v>
                </c:pt>
                <c:pt idx="421">
                  <c:v>Boursin</c:v>
                </c:pt>
                <c:pt idx="422">
                  <c:v>Paysan Bret</c:v>
                </c:pt>
                <c:pt idx="423">
                  <c:v>Casa Azzurr</c:v>
                </c:pt>
                <c:pt idx="424">
                  <c:v>All Others</c:v>
                </c:pt>
                <c:pt idx="425">
                  <c:v>Boursin</c:v>
                </c:pt>
                <c:pt idx="426">
                  <c:v>Boursin</c:v>
                </c:pt>
                <c:pt idx="427">
                  <c:v>Societe</c:v>
                </c:pt>
                <c:pt idx="428">
                  <c:v>All Others</c:v>
                </c:pt>
                <c:pt idx="429">
                  <c:v>Private Lab</c:v>
                </c:pt>
                <c:pt idx="430">
                  <c:v>Casa Azzurr</c:v>
                </c:pt>
                <c:pt idx="431">
                  <c:v>Richesmonts</c:v>
                </c:pt>
                <c:pt idx="432">
                  <c:v>Mini Babybe</c:v>
                </c:pt>
                <c:pt idx="433">
                  <c:v>Private Lab</c:v>
                </c:pt>
                <c:pt idx="434">
                  <c:v>St Moret</c:v>
                </c:pt>
                <c:pt idx="435">
                  <c:v>President</c:v>
                </c:pt>
                <c:pt idx="436">
                  <c:v>Leerdammer</c:v>
                </c:pt>
                <c:pt idx="437">
                  <c:v>Private Lab</c:v>
                </c:pt>
                <c:pt idx="438">
                  <c:v>Private Lab</c:v>
                </c:pt>
                <c:pt idx="439">
                  <c:v>All Others</c:v>
                </c:pt>
                <c:pt idx="440">
                  <c:v>Tartare</c:v>
                </c:pt>
                <c:pt idx="441">
                  <c:v>Private Lab</c:v>
                </c:pt>
                <c:pt idx="442">
                  <c:v>Top Budget</c:v>
                </c:pt>
                <c:pt idx="443">
                  <c:v>Savencia: A</c:v>
                </c:pt>
                <c:pt idx="444">
                  <c:v>Richesmonts</c:v>
                </c:pt>
                <c:pt idx="445">
                  <c:v>St Moret</c:v>
                </c:pt>
                <c:pt idx="446">
                  <c:v>La Belle Et</c:v>
                </c:pt>
                <c:pt idx="447">
                  <c:v>Mini Babybe</c:v>
                </c:pt>
                <c:pt idx="448">
                  <c:v>Salakis</c:v>
                </c:pt>
                <c:pt idx="449">
                  <c:v>Juraflore</c:v>
                </c:pt>
                <c:pt idx="450">
                  <c:v>Private Lab</c:v>
                </c:pt>
                <c:pt idx="451">
                  <c:v>Eurial Autr</c:v>
                </c:pt>
                <c:pt idx="452">
                  <c:v>Etorki</c:v>
                </c:pt>
                <c:pt idx="453">
                  <c:v>Private Lab</c:v>
                </c:pt>
                <c:pt idx="454">
                  <c:v>Lactalis: A</c:v>
                </c:pt>
                <c:pt idx="455">
                  <c:v>Galbani</c:v>
                </c:pt>
                <c:pt idx="456">
                  <c:v>President</c:v>
                </c:pt>
                <c:pt idx="457">
                  <c:v>Private Lab</c:v>
                </c:pt>
                <c:pt idx="458">
                  <c:v>Lou Perac</c:v>
                </c:pt>
                <c:pt idx="459">
                  <c:v>Savencia: A</c:v>
                </c:pt>
                <c:pt idx="460">
                  <c:v>Private Lab</c:v>
                </c:pt>
                <c:pt idx="461">
                  <c:v>Saint Agur</c:v>
                </c:pt>
                <c:pt idx="462">
                  <c:v>Paysan Bret</c:v>
                </c:pt>
                <c:pt idx="463">
                  <c:v>Private Lab</c:v>
                </c:pt>
                <c:pt idx="464">
                  <c:v>Salakis</c:v>
                </c:pt>
                <c:pt idx="465">
                  <c:v>Lou Perac</c:v>
                </c:pt>
                <c:pt idx="466">
                  <c:v>Private Lab</c:v>
                </c:pt>
                <c:pt idx="467">
                  <c:v>Pave D'Affi</c:v>
                </c:pt>
                <c:pt idx="468">
                  <c:v>Entremont</c:v>
                </c:pt>
                <c:pt idx="469">
                  <c:v>Kiri</c:v>
                </c:pt>
                <c:pt idx="470">
                  <c:v>Caprice Des</c:v>
                </c:pt>
                <c:pt idx="471">
                  <c:v>Private Lab</c:v>
                </c:pt>
                <c:pt idx="472">
                  <c:v>Casa Azzurr</c:v>
                </c:pt>
                <c:pt idx="473">
                  <c:v>Caprice Des</c:v>
                </c:pt>
                <c:pt idx="474">
                  <c:v>Aperivrais</c:v>
                </c:pt>
                <c:pt idx="475">
                  <c:v>President</c:v>
                </c:pt>
                <c:pt idx="476">
                  <c:v>Apericube</c:v>
                </c:pt>
                <c:pt idx="477">
                  <c:v>Vieux Pane</c:v>
                </c:pt>
                <c:pt idx="478">
                  <c:v>All Others</c:v>
                </c:pt>
                <c:pt idx="479">
                  <c:v>Boursin</c:v>
                </c:pt>
                <c:pt idx="480">
                  <c:v>Vieux Pane</c:v>
                </c:pt>
                <c:pt idx="481">
                  <c:v>Aperivrais</c:v>
                </c:pt>
                <c:pt idx="482">
                  <c:v>Private Lab</c:v>
                </c:pt>
                <c:pt idx="483">
                  <c:v>La Vache Qu</c:v>
                </c:pt>
                <c:pt idx="484">
                  <c:v>Tartare</c:v>
                </c:pt>
                <c:pt idx="485">
                  <c:v>St Moret</c:v>
                </c:pt>
                <c:pt idx="486">
                  <c:v>Paysan Bret</c:v>
                </c:pt>
                <c:pt idx="487">
                  <c:v>Etoile Du V</c:v>
                </c:pt>
                <c:pt idx="488">
                  <c:v>All Others</c:v>
                </c:pt>
                <c:pt idx="489">
                  <c:v>Tartare</c:v>
                </c:pt>
                <c:pt idx="490">
                  <c:v>Le Rustique</c:v>
                </c:pt>
                <c:pt idx="491">
                  <c:v>Private Lab</c:v>
                </c:pt>
                <c:pt idx="492">
                  <c:v>Soignon</c:v>
                </c:pt>
                <c:pt idx="493">
                  <c:v>St Moret</c:v>
                </c:pt>
                <c:pt idx="494">
                  <c:v>Istara</c:v>
                </c:pt>
                <c:pt idx="495">
                  <c:v>Private Lab</c:v>
                </c:pt>
                <c:pt idx="496">
                  <c:v>Private Lab</c:v>
                </c:pt>
                <c:pt idx="497">
                  <c:v>Juraflore</c:v>
                </c:pt>
                <c:pt idx="498">
                  <c:v>Pochat</c:v>
                </c:pt>
                <c:pt idx="499">
                  <c:v>Tartare</c:v>
                </c:pt>
                <c:pt idx="500">
                  <c:v>Entremont</c:v>
                </c:pt>
                <c:pt idx="501">
                  <c:v>All Others</c:v>
                </c:pt>
                <c:pt idx="502">
                  <c:v>La Belle Et</c:v>
                </c:pt>
                <c:pt idx="503">
                  <c:v>Private Lab</c:v>
                </c:pt>
                <c:pt idx="504">
                  <c:v>Private Lab</c:v>
                </c:pt>
                <c:pt idx="505">
                  <c:v>Kiri</c:v>
                </c:pt>
                <c:pt idx="506">
                  <c:v>Private Lab</c:v>
                </c:pt>
                <c:pt idx="507">
                  <c:v>L'Ortolan</c:v>
                </c:pt>
                <c:pt idx="508">
                  <c:v>All Others</c:v>
                </c:pt>
                <c:pt idx="509">
                  <c:v>All Others</c:v>
                </c:pt>
                <c:pt idx="510">
                  <c:v>Soignon</c:v>
                </c:pt>
                <c:pt idx="511">
                  <c:v>Bresse Bleu</c:v>
                </c:pt>
                <c:pt idx="512">
                  <c:v>Entremont</c:v>
                </c:pt>
                <c:pt idx="513">
                  <c:v>Casa Azzurr</c:v>
                </c:pt>
                <c:pt idx="514">
                  <c:v>L'Ortolan</c:v>
                </c:pt>
                <c:pt idx="515">
                  <c:v>Le Coq Crem</c:v>
                </c:pt>
                <c:pt idx="516">
                  <c:v>Soignon</c:v>
                </c:pt>
                <c:pt idx="517">
                  <c:v>All Others</c:v>
                </c:pt>
                <c:pt idx="518">
                  <c:v>Kiri</c:v>
                </c:pt>
                <c:pt idx="519">
                  <c:v>All Others</c:v>
                </c:pt>
                <c:pt idx="520">
                  <c:v>Savencia: A</c:v>
                </c:pt>
                <c:pt idx="521">
                  <c:v>Galbani</c:v>
                </c:pt>
                <c:pt idx="522">
                  <c:v>St Moret</c:v>
                </c:pt>
                <c:pt idx="523">
                  <c:v>Private Lab</c:v>
                </c:pt>
                <c:pt idx="524">
                  <c:v>Entremont</c:v>
                </c:pt>
                <c:pt idx="525">
                  <c:v>Private Lab</c:v>
                </c:pt>
                <c:pt idx="526">
                  <c:v>Paturages</c:v>
                </c:pt>
                <c:pt idx="527">
                  <c:v>President</c:v>
                </c:pt>
                <c:pt idx="528">
                  <c:v>Soignon</c:v>
                </c:pt>
                <c:pt idx="529">
                  <c:v>All Others</c:v>
                </c:pt>
                <c:pt idx="530">
                  <c:v>Galbani</c:v>
                </c:pt>
                <c:pt idx="531">
                  <c:v>Apericube</c:v>
                </c:pt>
                <c:pt idx="532">
                  <c:v>All Others</c:v>
                </c:pt>
                <c:pt idx="533">
                  <c:v>Casa Azzurr</c:v>
                </c:pt>
                <c:pt idx="534">
                  <c:v>Paysan Bret</c:v>
                </c:pt>
                <c:pt idx="535">
                  <c:v>Mini Babybe</c:v>
                </c:pt>
                <c:pt idx="536">
                  <c:v>Coeur De Li</c:v>
                </c:pt>
                <c:pt idx="537">
                  <c:v>All Others</c:v>
                </c:pt>
                <c:pt idx="538">
                  <c:v>Soignon</c:v>
                </c:pt>
                <c:pt idx="539">
                  <c:v>All Others</c:v>
                </c:pt>
                <c:pt idx="540">
                  <c:v>Pochat</c:v>
                </c:pt>
                <c:pt idx="541">
                  <c:v>Lactalis: A</c:v>
                </c:pt>
                <c:pt idx="542">
                  <c:v>Private Lab</c:v>
                </c:pt>
                <c:pt idx="543">
                  <c:v>All Others</c:v>
                </c:pt>
                <c:pt idx="544">
                  <c:v>All Others</c:v>
                </c:pt>
                <c:pt idx="545">
                  <c:v>Private Lab</c:v>
                </c:pt>
                <c:pt idx="546">
                  <c:v>All Others</c:v>
                </c:pt>
                <c:pt idx="547">
                  <c:v>All Others</c:v>
                </c:pt>
                <c:pt idx="548">
                  <c:v>Leerdammer</c:v>
                </c:pt>
                <c:pt idx="549">
                  <c:v>Casa Azzurr</c:v>
                </c:pt>
                <c:pt idx="550">
                  <c:v>Private Lab</c:v>
                </c:pt>
                <c:pt idx="551">
                  <c:v>Islos</c:v>
                </c:pt>
                <c:pt idx="552">
                  <c:v>Corsica</c:v>
                </c:pt>
                <c:pt idx="553">
                  <c:v>Eurial Autr</c:v>
                </c:pt>
                <c:pt idx="554">
                  <c:v>All Others</c:v>
                </c:pt>
                <c:pt idx="555">
                  <c:v>Entremont</c:v>
                </c:pt>
                <c:pt idx="556">
                  <c:v>Fol Epi</c:v>
                </c:pt>
                <c:pt idx="557">
                  <c:v>Private Lab</c:v>
                </c:pt>
                <c:pt idx="558">
                  <c:v>Paturages</c:v>
                </c:pt>
                <c:pt idx="559">
                  <c:v>Le Saint Am</c:v>
                </c:pt>
                <c:pt idx="560">
                  <c:v>Soignon</c:v>
                </c:pt>
                <c:pt idx="561">
                  <c:v>Richesmonts</c:v>
                </c:pt>
                <c:pt idx="562">
                  <c:v>Top Budget</c:v>
                </c:pt>
                <c:pt idx="563">
                  <c:v>Raguin</c:v>
                </c:pt>
                <c:pt idx="564">
                  <c:v>Boursin</c:v>
                </c:pt>
                <c:pt idx="565">
                  <c:v>Paysan Bret</c:v>
                </c:pt>
                <c:pt idx="566">
                  <c:v>Mini Babybe</c:v>
                </c:pt>
                <c:pt idx="567">
                  <c:v>Casa Azzurr</c:v>
                </c:pt>
                <c:pt idx="568">
                  <c:v>Entremont</c:v>
                </c:pt>
                <c:pt idx="569">
                  <c:v>All Others</c:v>
                </c:pt>
                <c:pt idx="570">
                  <c:v>Societe</c:v>
                </c:pt>
                <c:pt idx="571">
                  <c:v>Kiri</c:v>
                </c:pt>
                <c:pt idx="572">
                  <c:v>Lactalis: A</c:v>
                </c:pt>
                <c:pt idx="573">
                  <c:v>All Others</c:v>
                </c:pt>
                <c:pt idx="574">
                  <c:v>All Others</c:v>
                </c:pt>
                <c:pt idx="575">
                  <c:v>Ranou</c:v>
                </c:pt>
                <c:pt idx="576">
                  <c:v>Kiri</c:v>
                </c:pt>
                <c:pt idx="577">
                  <c:v>Milleret: A</c:v>
                </c:pt>
                <c:pt idx="578">
                  <c:v>Paysan Bret</c:v>
                </c:pt>
                <c:pt idx="579">
                  <c:v>All Others</c:v>
                </c:pt>
                <c:pt idx="580">
                  <c:v>Savencia: A</c:v>
                </c:pt>
                <c:pt idx="581">
                  <c:v>All Others</c:v>
                </c:pt>
                <c:pt idx="582">
                  <c:v>Raguin</c:v>
                </c:pt>
                <c:pt idx="583">
                  <c:v>All Others</c:v>
                </c:pt>
                <c:pt idx="584">
                  <c:v>All Others</c:v>
                </c:pt>
                <c:pt idx="585">
                  <c:v>Milleret: A</c:v>
                </c:pt>
                <c:pt idx="586">
                  <c:v>La Belle Et</c:v>
                </c:pt>
                <c:pt idx="587">
                  <c:v>All Others</c:v>
                </c:pt>
                <c:pt idx="588">
                  <c:v>La Belle Et</c:v>
                </c:pt>
                <c:pt idx="589">
                  <c:v>All Others</c:v>
                </c:pt>
                <c:pt idx="590">
                  <c:v>Soignon</c:v>
                </c:pt>
                <c:pt idx="591">
                  <c:v>Private Lab</c:v>
                </c:pt>
                <c:pt idx="592">
                  <c:v>Private Lab</c:v>
                </c:pt>
                <c:pt idx="593">
                  <c:v>Entremont</c:v>
                </c:pt>
                <c:pt idx="594">
                  <c:v>P'Tit Louis</c:v>
                </c:pt>
                <c:pt idx="595">
                  <c:v>Etoile Du Q</c:v>
                </c:pt>
                <c:pt idx="596">
                  <c:v>Galbani</c:v>
                </c:pt>
                <c:pt idx="597">
                  <c:v>Private Lab</c:v>
                </c:pt>
                <c:pt idx="598">
                  <c:v>Violife</c:v>
                </c:pt>
                <c:pt idx="599">
                  <c:v>Private Lab</c:v>
                </c:pt>
                <c:pt idx="600">
                  <c:v>Etoile Du V</c:v>
                </c:pt>
                <c:pt idx="601">
                  <c:v>Bresse Bleu</c:v>
                </c:pt>
                <c:pt idx="602">
                  <c:v>La Belle Et</c:v>
                </c:pt>
                <c:pt idx="603">
                  <c:v>Saint Albra</c:v>
                </c:pt>
                <c:pt idx="604">
                  <c:v>Salakis</c:v>
                </c:pt>
                <c:pt idx="605">
                  <c:v>Mini Babybe</c:v>
                </c:pt>
                <c:pt idx="606">
                  <c:v>All Others</c:v>
                </c:pt>
                <c:pt idx="607">
                  <c:v>Savencia: A</c:v>
                </c:pt>
                <c:pt idx="608">
                  <c:v>All Others</c:v>
                </c:pt>
                <c:pt idx="609">
                  <c:v>All Others</c:v>
                </c:pt>
                <c:pt idx="610">
                  <c:v>Private Lab</c:v>
                </c:pt>
                <c:pt idx="611">
                  <c:v>Lactalis: A</c:v>
                </c:pt>
                <c:pt idx="612">
                  <c:v>Triballat N</c:v>
                </c:pt>
                <c:pt idx="613">
                  <c:v>Le Brebiou</c:v>
                </c:pt>
                <c:pt idx="614">
                  <c:v>Galbani</c:v>
                </c:pt>
                <c:pt idx="615">
                  <c:v>Etoile Du V</c:v>
                </c:pt>
                <c:pt idx="616">
                  <c:v>Caprice Des</c:v>
                </c:pt>
                <c:pt idx="617">
                  <c:v>All Others</c:v>
                </c:pt>
                <c:pt idx="618">
                  <c:v>Raguin</c:v>
                </c:pt>
                <c:pt idx="619">
                  <c:v>Raguin</c:v>
                </c:pt>
                <c:pt idx="620">
                  <c:v>All Others</c:v>
                </c:pt>
                <c:pt idx="621">
                  <c:v>Boursin</c:v>
                </c:pt>
                <c:pt idx="622">
                  <c:v>All Others</c:v>
                </c:pt>
                <c:pt idx="623">
                  <c:v>All Others</c:v>
                </c:pt>
                <c:pt idx="624">
                  <c:v>All Others</c:v>
                </c:pt>
                <c:pt idx="625">
                  <c:v>Saint Agur</c:v>
                </c:pt>
                <c:pt idx="626">
                  <c:v>Lactalis: A</c:v>
                </c:pt>
                <c:pt idx="627">
                  <c:v>L'Ortolan</c:v>
                </c:pt>
                <c:pt idx="628">
                  <c:v>Paysan Bret</c:v>
                </c:pt>
                <c:pt idx="629">
                  <c:v>All Others</c:v>
                </c:pt>
                <c:pt idx="630">
                  <c:v>Etorki</c:v>
                </c:pt>
                <c:pt idx="631">
                  <c:v>All Others</c:v>
                </c:pt>
                <c:pt idx="632">
                  <c:v>Galbani</c:v>
                </c:pt>
                <c:pt idx="633">
                  <c:v>Saint Agur</c:v>
                </c:pt>
                <c:pt idx="634">
                  <c:v>Paysan Bret</c:v>
                </c:pt>
                <c:pt idx="635">
                  <c:v>Paysan Bret</c:v>
                </c:pt>
                <c:pt idx="636">
                  <c:v>Pochat</c:v>
                </c:pt>
                <c:pt idx="637">
                  <c:v>President</c:v>
                </c:pt>
                <c:pt idx="638">
                  <c:v>Entremont</c:v>
                </c:pt>
                <c:pt idx="639">
                  <c:v>Entremont</c:v>
                </c:pt>
                <c:pt idx="640">
                  <c:v>All Others</c:v>
                </c:pt>
                <c:pt idx="641">
                  <c:v>Eurial Autr</c:v>
                </c:pt>
                <c:pt idx="642">
                  <c:v>All Others</c:v>
                </c:pt>
                <c:pt idx="643">
                  <c:v>Lactalis: A</c:v>
                </c:pt>
                <c:pt idx="644">
                  <c:v>Islos</c:v>
                </c:pt>
                <c:pt idx="645">
                  <c:v>Milleret: A</c:v>
                </c:pt>
                <c:pt idx="646">
                  <c:v>All Others</c:v>
                </c:pt>
                <c:pt idx="647">
                  <c:v>Lactalis: A</c:v>
                </c:pt>
                <c:pt idx="648">
                  <c:v>Savencia: A</c:v>
                </c:pt>
                <c:pt idx="649">
                  <c:v>Milleret: A</c:v>
                </c:pt>
                <c:pt idx="650">
                  <c:v>All Others</c:v>
                </c:pt>
                <c:pt idx="651">
                  <c:v>Savencia: A</c:v>
                </c:pt>
                <c:pt idx="652">
                  <c:v>All Others</c:v>
                </c:pt>
                <c:pt idx="653">
                  <c:v>Salakis</c:v>
                </c:pt>
                <c:pt idx="654">
                  <c:v>All Others</c:v>
                </c:pt>
                <c:pt idx="655">
                  <c:v>All Others</c:v>
                </c:pt>
                <c:pt idx="656">
                  <c:v>Milleret: A</c:v>
                </c:pt>
                <c:pt idx="657">
                  <c:v>Private Lab</c:v>
                </c:pt>
                <c:pt idx="658">
                  <c:v>Savencia: A</c:v>
                </c:pt>
                <c:pt idx="659">
                  <c:v>Carre Frais</c:v>
                </c:pt>
                <c:pt idx="660">
                  <c:v>All Others</c:v>
                </c:pt>
                <c:pt idx="661">
                  <c:v>Apericube</c:v>
                </c:pt>
                <c:pt idx="662">
                  <c:v>All Others</c:v>
                </c:pt>
                <c:pt idx="663">
                  <c:v>All Others</c:v>
                </c:pt>
                <c:pt idx="664">
                  <c:v>Milleret: A</c:v>
                </c:pt>
                <c:pt idx="665">
                  <c:v>Istara</c:v>
                </c:pt>
                <c:pt idx="666">
                  <c:v>Entremont</c:v>
                </c:pt>
                <c:pt idx="667">
                  <c:v>Entremont</c:v>
                </c:pt>
                <c:pt idx="668">
                  <c:v>All Others</c:v>
                </c:pt>
                <c:pt idx="669">
                  <c:v>All Others</c:v>
                </c:pt>
                <c:pt idx="670">
                  <c:v>Pochat</c:v>
                </c:pt>
                <c:pt idx="671">
                  <c:v>All Others</c:v>
                </c:pt>
                <c:pt idx="672">
                  <c:v>Galbani</c:v>
                </c:pt>
                <c:pt idx="673">
                  <c:v>All Others</c:v>
                </c:pt>
                <c:pt idx="674">
                  <c:v>Paysan Bret</c:v>
                </c:pt>
                <c:pt idx="675">
                  <c:v>All Others</c:v>
                </c:pt>
                <c:pt idx="676">
                  <c:v>All Others</c:v>
                </c:pt>
                <c:pt idx="677">
                  <c:v>Nurishh</c:v>
                </c:pt>
                <c:pt idx="678">
                  <c:v>Lactalis: A</c:v>
                </c:pt>
                <c:pt idx="679">
                  <c:v>All Others</c:v>
                </c:pt>
                <c:pt idx="680">
                  <c:v>All Others</c:v>
                </c:pt>
                <c:pt idx="681">
                  <c:v>Private Lab</c:v>
                </c:pt>
                <c:pt idx="682">
                  <c:v>All Others</c:v>
                </c:pt>
                <c:pt idx="683">
                  <c:v>Entremont</c:v>
                </c:pt>
                <c:pt idx="684">
                  <c:v>Entremont</c:v>
                </c:pt>
                <c:pt idx="685">
                  <c:v>La Belle Et</c:v>
                </c:pt>
                <c:pt idx="686">
                  <c:v>Entremont</c:v>
                </c:pt>
                <c:pt idx="687">
                  <c:v>All Others</c:v>
                </c:pt>
                <c:pt idx="688">
                  <c:v>Richesmonts</c:v>
                </c:pt>
                <c:pt idx="689">
                  <c:v>Triballat N</c:v>
                </c:pt>
                <c:pt idx="690">
                  <c:v>Savencia: A</c:v>
                </c:pt>
                <c:pt idx="691">
                  <c:v>All Others</c:v>
                </c:pt>
                <c:pt idx="692">
                  <c:v>Etoile Du V</c:v>
                </c:pt>
                <c:pt idx="693">
                  <c:v>All Others</c:v>
                </c:pt>
                <c:pt idx="694">
                  <c:v>All Others</c:v>
                </c:pt>
                <c:pt idx="695">
                  <c:v>All Others</c:v>
                </c:pt>
                <c:pt idx="696">
                  <c:v>Casa Azzurr</c:v>
                </c:pt>
                <c:pt idx="697">
                  <c:v>Chavroux</c:v>
                </c:pt>
                <c:pt idx="698">
                  <c:v>Triballat N</c:v>
                </c:pt>
                <c:pt idx="699">
                  <c:v>Casa Azzurr</c:v>
                </c:pt>
                <c:pt idx="700">
                  <c:v>All Others</c:v>
                </c:pt>
                <c:pt idx="701">
                  <c:v>All Others</c:v>
                </c:pt>
                <c:pt idx="702">
                  <c:v>All Others</c:v>
                </c:pt>
                <c:pt idx="703">
                  <c:v>All Others</c:v>
                </c:pt>
                <c:pt idx="704">
                  <c:v>Fol Epi</c:v>
                </c:pt>
                <c:pt idx="705">
                  <c:v>All Others</c:v>
                </c:pt>
                <c:pt idx="706">
                  <c:v>Boursin</c:v>
                </c:pt>
                <c:pt idx="707">
                  <c:v>Apericube</c:v>
                </c:pt>
                <c:pt idx="708">
                  <c:v>All Others</c:v>
                </c:pt>
                <c:pt idx="709">
                  <c:v>All Others</c:v>
                </c:pt>
                <c:pt idx="710">
                  <c:v>Savencia: A</c:v>
                </c:pt>
                <c:pt idx="711">
                  <c:v>President</c:v>
                </c:pt>
                <c:pt idx="712">
                  <c:v>Lactalis: A</c:v>
                </c:pt>
                <c:pt idx="713">
                  <c:v>All Others</c:v>
                </c:pt>
                <c:pt idx="714">
                  <c:v>Casa Azzurr</c:v>
                </c:pt>
                <c:pt idx="715">
                  <c:v>Private Lab</c:v>
                </c:pt>
                <c:pt idx="716">
                  <c:v>All Others</c:v>
                </c:pt>
                <c:pt idx="717">
                  <c:v>All Others</c:v>
                </c:pt>
                <c:pt idx="718">
                  <c:v>All Others</c:v>
                </c:pt>
                <c:pt idx="719">
                  <c:v>All Others</c:v>
                </c:pt>
                <c:pt idx="720">
                  <c:v>Violife</c:v>
                </c:pt>
                <c:pt idx="721">
                  <c:v>Lactalis: A</c:v>
                </c:pt>
                <c:pt idx="722">
                  <c:v>Casa Azzurr</c:v>
                </c:pt>
                <c:pt idx="723">
                  <c:v>Richesmonts</c:v>
                </c:pt>
                <c:pt idx="724">
                  <c:v>All Others</c:v>
                </c:pt>
                <c:pt idx="725">
                  <c:v>All Others</c:v>
                </c:pt>
                <c:pt idx="726">
                  <c:v>All Others</c:v>
                </c:pt>
                <c:pt idx="727">
                  <c:v>Nurishh</c:v>
                </c:pt>
                <c:pt idx="728">
                  <c:v>President</c:v>
                </c:pt>
                <c:pt idx="729">
                  <c:v>Aperivrais</c:v>
                </c:pt>
                <c:pt idx="730">
                  <c:v>Entremont</c:v>
                </c:pt>
                <c:pt idx="731">
                  <c:v>All Others</c:v>
                </c:pt>
                <c:pt idx="732">
                  <c:v>All Others</c:v>
                </c:pt>
                <c:pt idx="733">
                  <c:v>All Others</c:v>
                </c:pt>
                <c:pt idx="734">
                  <c:v>All Others</c:v>
                </c:pt>
                <c:pt idx="735">
                  <c:v>Fauquet</c:v>
                </c:pt>
                <c:pt idx="736">
                  <c:v>All Others</c:v>
                </c:pt>
                <c:pt idx="737">
                  <c:v>All Others</c:v>
                </c:pt>
                <c:pt idx="738">
                  <c:v>Boursin</c:v>
                </c:pt>
                <c:pt idx="739">
                  <c:v>Tartare</c:v>
                </c:pt>
                <c:pt idx="740">
                  <c:v>Etoile Du V</c:v>
                </c:pt>
                <c:pt idx="741">
                  <c:v>All Others</c:v>
                </c:pt>
                <c:pt idx="742">
                  <c:v>Etoile Du V</c:v>
                </c:pt>
                <c:pt idx="743">
                  <c:v>All Others</c:v>
                </c:pt>
                <c:pt idx="744">
                  <c:v>All Others</c:v>
                </c:pt>
                <c:pt idx="745">
                  <c:v>L'Ortolan</c:v>
                </c:pt>
                <c:pt idx="746">
                  <c:v>All Others</c:v>
                </c:pt>
                <c:pt idx="747">
                  <c:v>All Others</c:v>
                </c:pt>
                <c:pt idx="748">
                  <c:v>All Others</c:v>
                </c:pt>
                <c:pt idx="749">
                  <c:v>All Others</c:v>
                </c:pt>
                <c:pt idx="750">
                  <c:v>Pave D'Affi</c:v>
                </c:pt>
                <c:pt idx="751">
                  <c:v>All Others</c:v>
                </c:pt>
                <c:pt idx="752">
                  <c:v>All Others</c:v>
                </c:pt>
                <c:pt idx="753">
                  <c:v>All Others</c:v>
                </c:pt>
                <c:pt idx="754">
                  <c:v>Private Lab</c:v>
                </c:pt>
                <c:pt idx="755">
                  <c:v>All Others</c:v>
                </c:pt>
                <c:pt idx="756">
                  <c:v>La Belle Et</c:v>
                </c:pt>
                <c:pt idx="757">
                  <c:v>Entremont</c:v>
                </c:pt>
                <c:pt idx="758">
                  <c:v>All Others</c:v>
                </c:pt>
                <c:pt idx="759">
                  <c:v>Triballat N</c:v>
                </c:pt>
                <c:pt idx="760">
                  <c:v>All Others</c:v>
                </c:pt>
                <c:pt idx="761">
                  <c:v>Tartare</c:v>
                </c:pt>
                <c:pt idx="762">
                  <c:v>President</c:v>
                </c:pt>
                <c:pt idx="763">
                  <c:v>All Others</c:v>
                </c:pt>
                <c:pt idx="764">
                  <c:v>All Others</c:v>
                </c:pt>
                <c:pt idx="765">
                  <c:v>Pochat</c:v>
                </c:pt>
                <c:pt idx="766">
                  <c:v>Entremont</c:v>
                </c:pt>
                <c:pt idx="767">
                  <c:v>Boursin</c:v>
                </c:pt>
                <c:pt idx="768">
                  <c:v>All Others</c:v>
                </c:pt>
                <c:pt idx="769">
                  <c:v>All Others</c:v>
                </c:pt>
                <c:pt idx="770">
                  <c:v>Violife</c:v>
                </c:pt>
                <c:pt idx="771">
                  <c:v>All Others</c:v>
                </c:pt>
                <c:pt idx="772">
                  <c:v>Ids</c:v>
                </c:pt>
                <c:pt idx="773">
                  <c:v>Lactalis: A</c:v>
                </c:pt>
                <c:pt idx="774">
                  <c:v>All Others</c:v>
                </c:pt>
                <c:pt idx="775">
                  <c:v>Mini Babybe</c:v>
                </c:pt>
                <c:pt idx="776">
                  <c:v>All Others</c:v>
                </c:pt>
                <c:pt idx="777">
                  <c:v>All Others</c:v>
                </c:pt>
                <c:pt idx="778">
                  <c:v>All Others</c:v>
                </c:pt>
                <c:pt idx="779">
                  <c:v>All Others</c:v>
                </c:pt>
                <c:pt idx="780">
                  <c:v>All Others</c:v>
                </c:pt>
                <c:pt idx="781">
                  <c:v>Paturages</c:v>
                </c:pt>
                <c:pt idx="782">
                  <c:v>All Others</c:v>
                </c:pt>
                <c:pt idx="783">
                  <c:v>All Others</c:v>
                </c:pt>
                <c:pt idx="784">
                  <c:v>Coeur Lion</c:v>
                </c:pt>
                <c:pt idx="785">
                  <c:v>All Others</c:v>
                </c:pt>
                <c:pt idx="786">
                  <c:v>All Others</c:v>
                </c:pt>
                <c:pt idx="787">
                  <c:v>All Others</c:v>
                </c:pt>
                <c:pt idx="788">
                  <c:v>Milleret: A</c:v>
                </c:pt>
                <c:pt idx="789">
                  <c:v>Lactalis: A</c:v>
                </c:pt>
                <c:pt idx="790">
                  <c:v>All Others</c:v>
                </c:pt>
                <c:pt idx="791">
                  <c:v>All Others</c:v>
                </c:pt>
                <c:pt idx="792">
                  <c:v>Casa Azzur</c:v>
                </c:pt>
                <c:pt idx="793">
                  <c:v>All Others</c:v>
                </c:pt>
                <c:pt idx="794">
                  <c:v>All Others</c:v>
                </c:pt>
                <c:pt idx="795">
                  <c:v>All Others</c:v>
                </c:pt>
                <c:pt idx="796">
                  <c:v>All Others</c:v>
                </c:pt>
                <c:pt idx="797">
                  <c:v>All Others</c:v>
                </c:pt>
                <c:pt idx="798">
                  <c:v>Savencia: A</c:v>
                </c:pt>
                <c:pt idx="799">
                  <c:v>All Others</c:v>
                </c:pt>
                <c:pt idx="800">
                  <c:v>All Others</c:v>
                </c:pt>
                <c:pt idx="801">
                  <c:v>Etoile Du V</c:v>
                </c:pt>
                <c:pt idx="802">
                  <c:v>All Others</c:v>
                </c:pt>
                <c:pt idx="803">
                  <c:v>Aperivrais</c:v>
                </c:pt>
                <c:pt idx="804">
                  <c:v>All Others</c:v>
                </c:pt>
                <c:pt idx="805">
                  <c:v>All Others</c:v>
                </c:pt>
                <c:pt idx="806">
                  <c:v>All Others</c:v>
                </c:pt>
                <c:pt idx="807">
                  <c:v>All Others</c:v>
                </c:pt>
                <c:pt idx="808">
                  <c:v>Chavroux</c:v>
                </c:pt>
                <c:pt idx="809">
                  <c:v>Entremont</c:v>
                </c:pt>
                <c:pt idx="810">
                  <c:v>Apericube</c:v>
                </c:pt>
                <c:pt idx="811">
                  <c:v>Paysan Bret</c:v>
                </c:pt>
                <c:pt idx="812">
                  <c:v>All Others</c:v>
                </c:pt>
                <c:pt idx="813">
                  <c:v>All Others</c:v>
                </c:pt>
                <c:pt idx="814">
                  <c:v>All Others</c:v>
                </c:pt>
                <c:pt idx="815">
                  <c:v>All Others</c:v>
                </c:pt>
                <c:pt idx="816">
                  <c:v>Soignon</c:v>
                </c:pt>
                <c:pt idx="817">
                  <c:v>All Others</c:v>
                </c:pt>
                <c:pt idx="818">
                  <c:v>Boursin</c:v>
                </c:pt>
                <c:pt idx="819">
                  <c:v>All Others</c:v>
                </c:pt>
                <c:pt idx="820">
                  <c:v>All Others</c:v>
                </c:pt>
                <c:pt idx="821">
                  <c:v>La Belle Et</c:v>
                </c:pt>
                <c:pt idx="822">
                  <c:v>All Others</c:v>
                </c:pt>
                <c:pt idx="823">
                  <c:v>Nurishh</c:v>
                </c:pt>
                <c:pt idx="824">
                  <c:v>All Others</c:v>
                </c:pt>
                <c:pt idx="825">
                  <c:v>Nurishh</c:v>
                </c:pt>
                <c:pt idx="826">
                  <c:v>Apericube</c:v>
                </c:pt>
                <c:pt idx="827">
                  <c:v>All Others</c:v>
                </c:pt>
                <c:pt idx="828">
                  <c:v>Nurishh</c:v>
                </c:pt>
                <c:pt idx="829">
                  <c:v>All Others</c:v>
                </c:pt>
                <c:pt idx="830">
                  <c:v>All Others</c:v>
                </c:pt>
                <c:pt idx="831">
                  <c:v>Chaussee Au</c:v>
                </c:pt>
                <c:pt idx="832">
                  <c:v>All Others</c:v>
                </c:pt>
                <c:pt idx="833">
                  <c:v>Nurishh</c:v>
                </c:pt>
                <c:pt idx="834">
                  <c:v>All Others</c:v>
                </c:pt>
                <c:pt idx="835">
                  <c:v>All Others</c:v>
                </c:pt>
                <c:pt idx="836">
                  <c:v>Aperivrais</c:v>
                </c:pt>
                <c:pt idx="837">
                  <c:v>Milleret: A</c:v>
                </c:pt>
                <c:pt idx="838">
                  <c:v>La Belle Et</c:v>
                </c:pt>
                <c:pt idx="839">
                  <c:v>All Others</c:v>
                </c:pt>
                <c:pt idx="840">
                  <c:v>Entremont</c:v>
                </c:pt>
                <c:pt idx="841">
                  <c:v>La Belle Et</c:v>
                </c:pt>
                <c:pt idx="842">
                  <c:v>All Others</c:v>
                </c:pt>
                <c:pt idx="843">
                  <c:v>La Belle Et</c:v>
                </c:pt>
                <c:pt idx="844">
                  <c:v>All Others</c:v>
                </c:pt>
                <c:pt idx="845">
                  <c:v>Boursin</c:v>
                </c:pt>
                <c:pt idx="846">
                  <c:v>All Others</c:v>
                </c:pt>
                <c:pt idx="847">
                  <c:v>All Others</c:v>
                </c:pt>
                <c:pt idx="848">
                  <c:v>All Others</c:v>
                </c:pt>
                <c:pt idx="849">
                  <c:v>All Others</c:v>
                </c:pt>
                <c:pt idx="850">
                  <c:v>All Others</c:v>
                </c:pt>
                <c:pt idx="851">
                  <c:v>All Others</c:v>
                </c:pt>
                <c:pt idx="852">
                  <c:v>All Others</c:v>
                </c:pt>
                <c:pt idx="853">
                  <c:v>La Belle Et</c:v>
                </c:pt>
                <c:pt idx="854">
                  <c:v>La Belle Et</c:v>
                </c:pt>
                <c:pt idx="855">
                  <c:v>All Others</c:v>
                </c:pt>
                <c:pt idx="856">
                  <c:v>All Others</c:v>
                </c:pt>
                <c:pt idx="857">
                  <c:v>Boursin</c:v>
                </c:pt>
                <c:pt idx="858">
                  <c:v>All Others</c:v>
                </c:pt>
                <c:pt idx="859">
                  <c:v>Savencia: A</c:v>
                </c:pt>
                <c:pt idx="860">
                  <c:v>All Others</c:v>
                </c:pt>
                <c:pt idx="861">
                  <c:v>All Others</c:v>
                </c:pt>
                <c:pt idx="862">
                  <c:v>Chavroux</c:v>
                </c:pt>
                <c:pt idx="863">
                  <c:v>Salakis</c:v>
                </c:pt>
                <c:pt idx="864">
                  <c:v>All Others</c:v>
                </c:pt>
                <c:pt idx="865">
                  <c:v>All Others</c:v>
                </c:pt>
                <c:pt idx="866">
                  <c:v>All Others</c:v>
                </c:pt>
                <c:pt idx="867">
                  <c:v>All Others</c:v>
                </c:pt>
                <c:pt idx="868">
                  <c:v>Societe</c:v>
                </c:pt>
                <c:pt idx="869">
                  <c:v>All Others</c:v>
                </c:pt>
                <c:pt idx="870">
                  <c:v>All Others</c:v>
                </c:pt>
                <c:pt idx="871">
                  <c:v>All Others</c:v>
                </c:pt>
                <c:pt idx="872">
                  <c:v>Boursin</c:v>
                </c:pt>
                <c:pt idx="873">
                  <c:v>All Others</c:v>
                </c:pt>
                <c:pt idx="874">
                  <c:v>All Others</c:v>
                </c:pt>
                <c:pt idx="875">
                  <c:v>All Others</c:v>
                </c:pt>
                <c:pt idx="876">
                  <c:v>All Others</c:v>
                </c:pt>
                <c:pt idx="877">
                  <c:v>All Others</c:v>
                </c:pt>
                <c:pt idx="878">
                  <c:v>All Others</c:v>
                </c:pt>
                <c:pt idx="879">
                  <c:v>All Others</c:v>
                </c:pt>
                <c:pt idx="880">
                  <c:v>All Others</c:v>
                </c:pt>
                <c:pt idx="881">
                  <c:v>All Others</c:v>
                </c:pt>
                <c:pt idx="882">
                  <c:v>All Others</c:v>
                </c:pt>
                <c:pt idx="883">
                  <c:v>All Others</c:v>
                </c:pt>
                <c:pt idx="884">
                  <c:v>All Others</c:v>
                </c:pt>
                <c:pt idx="885">
                  <c:v>All Others</c:v>
                </c:pt>
                <c:pt idx="886">
                  <c:v>Etoile Du V</c:v>
                </c:pt>
                <c:pt idx="887">
                  <c:v>Lactalis: A</c:v>
                </c:pt>
                <c:pt idx="888">
                  <c:v>President</c:v>
                </c:pt>
                <c:pt idx="889">
                  <c:v>All Others</c:v>
                </c:pt>
                <c:pt idx="890">
                  <c:v>All Others</c:v>
                </c:pt>
                <c:pt idx="891">
                  <c:v>All Others</c:v>
                </c:pt>
                <c:pt idx="892">
                  <c:v>All Others</c:v>
                </c:pt>
                <c:pt idx="893">
                  <c:v>All Others</c:v>
                </c:pt>
                <c:pt idx="894">
                  <c:v>All Others</c:v>
                </c:pt>
                <c:pt idx="895">
                  <c:v>All Others</c:v>
                </c:pt>
                <c:pt idx="896">
                  <c:v>All Others</c:v>
                </c:pt>
                <c:pt idx="897">
                  <c:v>Milleret: A</c:v>
                </c:pt>
                <c:pt idx="898">
                  <c:v>All Others</c:v>
                </c:pt>
                <c:pt idx="899">
                  <c:v>All Others</c:v>
                </c:pt>
                <c:pt idx="900">
                  <c:v>All Others</c:v>
                </c:pt>
                <c:pt idx="901">
                  <c:v>All Others</c:v>
                </c:pt>
                <c:pt idx="902">
                  <c:v>L'Ortolan</c:v>
                </c:pt>
                <c:pt idx="903">
                  <c:v>All Others</c:v>
                </c:pt>
                <c:pt idx="904">
                  <c:v>All Others</c:v>
                </c:pt>
                <c:pt idx="905">
                  <c:v>Chavroux</c:v>
                </c:pt>
                <c:pt idx="906">
                  <c:v>All Others</c:v>
                </c:pt>
                <c:pt idx="907">
                  <c:v>La Belle Et</c:v>
                </c:pt>
                <c:pt idx="908">
                  <c:v>Lactalis: A</c:v>
                </c:pt>
                <c:pt idx="909">
                  <c:v>All Others</c:v>
                </c:pt>
                <c:pt idx="910">
                  <c:v>All Others</c:v>
                </c:pt>
                <c:pt idx="911">
                  <c:v>All Others</c:v>
                </c:pt>
                <c:pt idx="912">
                  <c:v>All Others</c:v>
                </c:pt>
                <c:pt idx="913">
                  <c:v>Salakis</c:v>
                </c:pt>
                <c:pt idx="914">
                  <c:v>All Others</c:v>
                </c:pt>
                <c:pt idx="915">
                  <c:v>All Others</c:v>
                </c:pt>
                <c:pt idx="916">
                  <c:v>All Others</c:v>
                </c:pt>
                <c:pt idx="917">
                  <c:v>All Others</c:v>
                </c:pt>
                <c:pt idx="918">
                  <c:v>All Others</c:v>
                </c:pt>
                <c:pt idx="919">
                  <c:v>All Others</c:v>
                </c:pt>
                <c:pt idx="920">
                  <c:v>All Others</c:v>
                </c:pt>
                <c:pt idx="921">
                  <c:v>All Others</c:v>
                </c:pt>
                <c:pt idx="922">
                  <c:v>Entremont</c:v>
                </c:pt>
                <c:pt idx="923">
                  <c:v>Petit Billy</c:v>
                </c:pt>
                <c:pt idx="924">
                  <c:v>All Others</c:v>
                </c:pt>
                <c:pt idx="925">
                  <c:v>La Vache Qu</c:v>
                </c:pt>
                <c:pt idx="926">
                  <c:v>All Others</c:v>
                </c:pt>
                <c:pt idx="927">
                  <c:v>All Others</c:v>
                </c:pt>
                <c:pt idx="928">
                  <c:v>All Others</c:v>
                </c:pt>
                <c:pt idx="929">
                  <c:v>All Others</c:v>
                </c:pt>
                <c:pt idx="930">
                  <c:v>All Others</c:v>
                </c:pt>
                <c:pt idx="931">
                  <c:v>All Others</c:v>
                </c:pt>
                <c:pt idx="932">
                  <c:v>Lactalis: A</c:v>
                </c:pt>
                <c:pt idx="933">
                  <c:v>Private Lab</c:v>
                </c:pt>
                <c:pt idx="934">
                  <c:v>All Others</c:v>
                </c:pt>
                <c:pt idx="935">
                  <c:v>All Others</c:v>
                </c:pt>
                <c:pt idx="936">
                  <c:v>All Others</c:v>
                </c:pt>
                <c:pt idx="937">
                  <c:v>Lactalis: A</c:v>
                </c:pt>
                <c:pt idx="938">
                  <c:v>All Others</c:v>
                </c:pt>
                <c:pt idx="939">
                  <c:v>All Others</c:v>
                </c:pt>
                <c:pt idx="940">
                  <c:v>Chavroux</c:v>
                </c:pt>
                <c:pt idx="941">
                  <c:v>All Others</c:v>
                </c:pt>
                <c:pt idx="942">
                  <c:v>All Others</c:v>
                </c:pt>
                <c:pt idx="943">
                  <c:v>All Others</c:v>
                </c:pt>
                <c:pt idx="944">
                  <c:v>Entremont</c:v>
                </c:pt>
                <c:pt idx="945">
                  <c:v>All Others</c:v>
                </c:pt>
                <c:pt idx="946">
                  <c:v>All Others</c:v>
                </c:pt>
                <c:pt idx="947">
                  <c:v>All Others</c:v>
                </c:pt>
                <c:pt idx="948">
                  <c:v>All Others</c:v>
                </c:pt>
                <c:pt idx="949">
                  <c:v>All Others</c:v>
                </c:pt>
                <c:pt idx="950">
                  <c:v>All Others</c:v>
                </c:pt>
                <c:pt idx="951">
                  <c:v>Galbani</c:v>
                </c:pt>
                <c:pt idx="952">
                  <c:v>All Others</c:v>
                </c:pt>
                <c:pt idx="953">
                  <c:v>All Others</c:v>
                </c:pt>
                <c:pt idx="954">
                  <c:v>All Others</c:v>
                </c:pt>
                <c:pt idx="955">
                  <c:v>All Others</c:v>
                </c:pt>
                <c:pt idx="956">
                  <c:v>Private Lab</c:v>
                </c:pt>
                <c:pt idx="957">
                  <c:v>La Belle Et</c:v>
                </c:pt>
                <c:pt idx="958">
                  <c:v>Lactalis: A</c:v>
                </c:pt>
                <c:pt idx="959">
                  <c:v>All Others</c:v>
                </c:pt>
                <c:pt idx="960">
                  <c:v>All Others</c:v>
                </c:pt>
                <c:pt idx="961">
                  <c:v>La Belle Et</c:v>
                </c:pt>
                <c:pt idx="962">
                  <c:v>All Others</c:v>
                </c:pt>
                <c:pt idx="963">
                  <c:v>All Others</c:v>
                </c:pt>
                <c:pt idx="964">
                  <c:v>Lactalis: A</c:v>
                </c:pt>
                <c:pt idx="965">
                  <c:v>All Others</c:v>
                </c:pt>
                <c:pt idx="966">
                  <c:v>All Others</c:v>
                </c:pt>
                <c:pt idx="967">
                  <c:v>Mini Babybe</c:v>
                </c:pt>
                <c:pt idx="968">
                  <c:v>All Others</c:v>
                </c:pt>
                <c:pt idx="969">
                  <c:v>All Others</c:v>
                </c:pt>
                <c:pt idx="970">
                  <c:v>All Others</c:v>
                </c:pt>
                <c:pt idx="971">
                  <c:v>All Others</c:v>
                </c:pt>
                <c:pt idx="972">
                  <c:v>All Others</c:v>
                </c:pt>
                <c:pt idx="973">
                  <c:v>All Others</c:v>
                </c:pt>
                <c:pt idx="974">
                  <c:v>All Others</c:v>
                </c:pt>
                <c:pt idx="975">
                  <c:v>All Others</c:v>
                </c:pt>
                <c:pt idx="976">
                  <c:v>All Others</c:v>
                </c:pt>
                <c:pt idx="977">
                  <c:v>All Others</c:v>
                </c:pt>
                <c:pt idx="978">
                  <c:v>All Others</c:v>
                </c:pt>
                <c:pt idx="979">
                  <c:v>All Others</c:v>
                </c:pt>
                <c:pt idx="980">
                  <c:v>All Others</c:v>
                </c:pt>
                <c:pt idx="981">
                  <c:v>All Others</c:v>
                </c:pt>
                <c:pt idx="982">
                  <c:v>All Others</c:v>
                </c:pt>
                <c:pt idx="983">
                  <c:v>All Others</c:v>
                </c:pt>
                <c:pt idx="984">
                  <c:v>All Others</c:v>
                </c:pt>
                <c:pt idx="985">
                  <c:v>All Others</c:v>
                </c:pt>
                <c:pt idx="986">
                  <c:v>All Others</c:v>
                </c:pt>
                <c:pt idx="987">
                  <c:v>All Others</c:v>
                </c:pt>
                <c:pt idx="988">
                  <c:v>All Others</c:v>
                </c:pt>
                <c:pt idx="989">
                  <c:v>All Others</c:v>
                </c:pt>
                <c:pt idx="990">
                  <c:v>All Others</c:v>
                </c:pt>
                <c:pt idx="991">
                  <c:v>All Others</c:v>
                </c:pt>
                <c:pt idx="992">
                  <c:v>All Others</c:v>
                </c:pt>
                <c:pt idx="993">
                  <c:v>All Others</c:v>
                </c:pt>
                <c:pt idx="994">
                  <c:v>All Others</c:v>
                </c:pt>
                <c:pt idx="995">
                  <c:v>All Others</c:v>
                </c:pt>
                <c:pt idx="996">
                  <c:v>All Others</c:v>
                </c:pt>
                <c:pt idx="997">
                  <c:v>All Others</c:v>
                </c:pt>
                <c:pt idx="998">
                  <c:v>All Others</c:v>
                </c:pt>
                <c:pt idx="999">
                  <c:v>Lactalis: A</c:v>
                </c:pt>
                <c:pt idx="1000">
                  <c:v>All Others</c:v>
                </c:pt>
                <c:pt idx="1001">
                  <c:v>All Others</c:v>
                </c:pt>
                <c:pt idx="1002">
                  <c:v>All Others</c:v>
                </c:pt>
                <c:pt idx="1003">
                  <c:v>All Others</c:v>
                </c:pt>
                <c:pt idx="1004">
                  <c:v>Corsica</c:v>
                </c:pt>
                <c:pt idx="1005">
                  <c:v>All Others</c:v>
                </c:pt>
                <c:pt idx="1006">
                  <c:v>All Others</c:v>
                </c:pt>
                <c:pt idx="1007">
                  <c:v>All Others</c:v>
                </c:pt>
                <c:pt idx="1008">
                  <c:v>All Others</c:v>
                </c:pt>
                <c:pt idx="1009">
                  <c:v>Rians</c:v>
                </c:pt>
                <c:pt idx="1010">
                  <c:v>Lactalis: A</c:v>
                </c:pt>
                <c:pt idx="1011">
                  <c:v>All Others</c:v>
                </c:pt>
                <c:pt idx="1012">
                  <c:v>All Others</c:v>
                </c:pt>
                <c:pt idx="1013">
                  <c:v>All Others</c:v>
                </c:pt>
                <c:pt idx="1014">
                  <c:v>British H</c:v>
                </c:pt>
                <c:pt idx="1015">
                  <c:v>All Others</c:v>
                </c:pt>
                <c:pt idx="1016">
                  <c:v>All Others</c:v>
                </c:pt>
                <c:pt idx="1017">
                  <c:v>All Others</c:v>
                </c:pt>
                <c:pt idx="1018">
                  <c:v>La Belle Et</c:v>
                </c:pt>
                <c:pt idx="1019">
                  <c:v>La Belle Et</c:v>
                </c:pt>
                <c:pt idx="1020">
                  <c:v>All Others</c:v>
                </c:pt>
                <c:pt idx="1021">
                  <c:v>All Others</c:v>
                </c:pt>
                <c:pt idx="1022">
                  <c:v>All Others</c:v>
                </c:pt>
                <c:pt idx="1023">
                  <c:v>All Others</c:v>
                </c:pt>
                <c:pt idx="1024">
                  <c:v>All Others</c:v>
                </c:pt>
                <c:pt idx="1025">
                  <c:v>All Others</c:v>
                </c:pt>
                <c:pt idx="1026">
                  <c:v>All Others</c:v>
                </c:pt>
                <c:pt idx="1027">
                  <c:v>Raguin</c:v>
                </c:pt>
                <c:pt idx="1028">
                  <c:v>Paysan Bret</c:v>
                </c:pt>
                <c:pt idx="1029">
                  <c:v>Richesmonts</c:v>
                </c:pt>
                <c:pt idx="1030">
                  <c:v>All Others</c:v>
                </c:pt>
                <c:pt idx="1031">
                  <c:v>Mini Babybe</c:v>
                </c:pt>
                <c:pt idx="1032">
                  <c:v>Paysan Bret</c:v>
                </c:pt>
                <c:pt idx="1033">
                  <c:v>All Others</c:v>
                </c:pt>
                <c:pt idx="1034">
                  <c:v>All Others</c:v>
                </c:pt>
                <c:pt idx="1035">
                  <c:v>All Others</c:v>
                </c:pt>
                <c:pt idx="1036">
                  <c:v>All Others</c:v>
                </c:pt>
                <c:pt idx="1037">
                  <c:v>All Others</c:v>
                </c:pt>
                <c:pt idx="1038">
                  <c:v>Etoile Du V</c:v>
                </c:pt>
                <c:pt idx="1039">
                  <c:v>All Others</c:v>
                </c:pt>
                <c:pt idx="1040">
                  <c:v>All Others</c:v>
                </c:pt>
                <c:pt idx="1041">
                  <c:v>All Others</c:v>
                </c:pt>
                <c:pt idx="1042">
                  <c:v>All Others</c:v>
                </c:pt>
                <c:pt idx="1043">
                  <c:v>Entremont</c:v>
                </c:pt>
                <c:pt idx="1044">
                  <c:v>All Others</c:v>
                </c:pt>
                <c:pt idx="1045">
                  <c:v>All Others</c:v>
                </c:pt>
                <c:pt idx="1046">
                  <c:v>All Others</c:v>
                </c:pt>
                <c:pt idx="1047">
                  <c:v>All Others</c:v>
                </c:pt>
                <c:pt idx="1048">
                  <c:v>Kiri</c:v>
                </c:pt>
                <c:pt idx="1049">
                  <c:v>All Others</c:v>
                </c:pt>
                <c:pt idx="1050">
                  <c:v>All Others</c:v>
                </c:pt>
                <c:pt idx="1051">
                  <c:v>All Others</c:v>
                </c:pt>
                <c:pt idx="1052">
                  <c:v>All Others</c:v>
                </c:pt>
                <c:pt idx="1053">
                  <c:v>All Others</c:v>
                </c:pt>
                <c:pt idx="1054">
                  <c:v>All Others</c:v>
                </c:pt>
                <c:pt idx="1055">
                  <c:v>All Others</c:v>
                </c:pt>
                <c:pt idx="1056">
                  <c:v>All Others</c:v>
                </c:pt>
                <c:pt idx="1057">
                  <c:v>All Others</c:v>
                </c:pt>
                <c:pt idx="1058">
                  <c:v>Raguin</c:v>
                </c:pt>
                <c:pt idx="1059">
                  <c:v>Lactalis: A</c:v>
                </c:pt>
                <c:pt idx="1060">
                  <c:v>All Others</c:v>
                </c:pt>
                <c:pt idx="1061">
                  <c:v>All Others</c:v>
                </c:pt>
                <c:pt idx="1062">
                  <c:v>All Others</c:v>
                </c:pt>
                <c:pt idx="1063">
                  <c:v>All Others</c:v>
                </c:pt>
                <c:pt idx="1064">
                  <c:v>All Others</c:v>
                </c:pt>
                <c:pt idx="1065">
                  <c:v>All Others</c:v>
                </c:pt>
                <c:pt idx="1066">
                  <c:v>Private Lab</c:v>
                </c:pt>
                <c:pt idx="1067">
                  <c:v>All Others</c:v>
                </c:pt>
                <c:pt idx="1068">
                  <c:v>Savencia: A</c:v>
                </c:pt>
                <c:pt idx="1069">
                  <c:v>All Others</c:v>
                </c:pt>
                <c:pt idx="1070">
                  <c:v>All Others</c:v>
                </c:pt>
                <c:pt idx="1071">
                  <c:v>La Belle Et</c:v>
                </c:pt>
                <c:pt idx="1072">
                  <c:v>All Others</c:v>
                </c:pt>
                <c:pt idx="1073">
                  <c:v>All Others</c:v>
                </c:pt>
                <c:pt idx="1074">
                  <c:v>All Others</c:v>
                </c:pt>
                <c:pt idx="1075">
                  <c:v>All Others</c:v>
                </c:pt>
                <c:pt idx="1076">
                  <c:v>All Others</c:v>
                </c:pt>
                <c:pt idx="1077">
                  <c:v>Raguin</c:v>
                </c:pt>
                <c:pt idx="1078">
                  <c:v>All Others</c:v>
                </c:pt>
                <c:pt idx="1079">
                  <c:v>All Others</c:v>
                </c:pt>
                <c:pt idx="1080">
                  <c:v>Fol Epi</c:v>
                </c:pt>
                <c:pt idx="1081">
                  <c:v>All Others</c:v>
                </c:pt>
                <c:pt idx="1082">
                  <c:v>Casa Azzurr</c:v>
                </c:pt>
                <c:pt idx="1083">
                  <c:v>All Others</c:v>
                </c:pt>
                <c:pt idx="1084">
                  <c:v>All Others</c:v>
                </c:pt>
                <c:pt idx="1085">
                  <c:v>All Others</c:v>
                </c:pt>
                <c:pt idx="1086">
                  <c:v>All Others</c:v>
                </c:pt>
                <c:pt idx="1087">
                  <c:v>All Others</c:v>
                </c:pt>
                <c:pt idx="1088">
                  <c:v>All Others</c:v>
                </c:pt>
                <c:pt idx="1089">
                  <c:v>All Others</c:v>
                </c:pt>
                <c:pt idx="1090">
                  <c:v>All Others</c:v>
                </c:pt>
                <c:pt idx="1091">
                  <c:v>All Others</c:v>
                </c:pt>
                <c:pt idx="1092">
                  <c:v>All Others</c:v>
                </c:pt>
                <c:pt idx="1093">
                  <c:v>All Others</c:v>
                </c:pt>
                <c:pt idx="1094">
                  <c:v>Pave D'Affi</c:v>
                </c:pt>
                <c:pt idx="1095">
                  <c:v>Savencia: A</c:v>
                </c:pt>
                <c:pt idx="1096">
                  <c:v>All Others</c:v>
                </c:pt>
                <c:pt idx="1097">
                  <c:v>All Others</c:v>
                </c:pt>
                <c:pt idx="1098">
                  <c:v>All Others</c:v>
                </c:pt>
                <c:pt idx="1099">
                  <c:v>All Others</c:v>
                </c:pt>
                <c:pt idx="1100">
                  <c:v>All Others</c:v>
                </c:pt>
                <c:pt idx="1101">
                  <c:v>All Others</c:v>
                </c:pt>
                <c:pt idx="1102">
                  <c:v>All Others</c:v>
                </c:pt>
                <c:pt idx="1103">
                  <c:v>Richesmonts</c:v>
                </c:pt>
                <c:pt idx="1104">
                  <c:v>All Others</c:v>
                </c:pt>
                <c:pt idx="1105">
                  <c:v>All Others</c:v>
                </c:pt>
                <c:pt idx="1106">
                  <c:v>All Others</c:v>
                </c:pt>
                <c:pt idx="1107">
                  <c:v>Baillon</c:v>
                </c:pt>
                <c:pt idx="1108">
                  <c:v>All Others</c:v>
                </c:pt>
                <c:pt idx="1109">
                  <c:v>All Others</c:v>
                </c:pt>
                <c:pt idx="1110">
                  <c:v>All Others</c:v>
                </c:pt>
                <c:pt idx="1111">
                  <c:v>Gillot</c:v>
                </c:pt>
                <c:pt idx="1112">
                  <c:v>Violife</c:v>
                </c:pt>
                <c:pt idx="1113">
                  <c:v>All Others</c:v>
                </c:pt>
                <c:pt idx="1114">
                  <c:v>All Others</c:v>
                </c:pt>
                <c:pt idx="1115">
                  <c:v>All Others</c:v>
                </c:pt>
                <c:pt idx="1116">
                  <c:v>All Others</c:v>
                </c:pt>
                <c:pt idx="1117">
                  <c:v>All Others</c:v>
                </c:pt>
                <c:pt idx="1118">
                  <c:v>All Others</c:v>
                </c:pt>
                <c:pt idx="1119">
                  <c:v>All Others</c:v>
                </c:pt>
                <c:pt idx="1120">
                  <c:v>All Others</c:v>
                </c:pt>
                <c:pt idx="1121">
                  <c:v>All Others</c:v>
                </c:pt>
                <c:pt idx="1122">
                  <c:v>All Others</c:v>
                </c:pt>
                <c:pt idx="1123">
                  <c:v>Casa Sant</c:v>
                </c:pt>
                <c:pt idx="1124">
                  <c:v>All Others</c:v>
                </c:pt>
                <c:pt idx="1125">
                  <c:v>All Others</c:v>
                </c:pt>
                <c:pt idx="1126">
                  <c:v>Vivaldi</c:v>
                </c:pt>
                <c:pt idx="1127">
                  <c:v>Juraflore</c:v>
                </c:pt>
                <c:pt idx="1128">
                  <c:v>All Others</c:v>
                </c:pt>
                <c:pt idx="1129">
                  <c:v>All Others</c:v>
                </c:pt>
                <c:pt idx="1130">
                  <c:v>All Others</c:v>
                </c:pt>
                <c:pt idx="1131">
                  <c:v>All Others</c:v>
                </c:pt>
                <c:pt idx="1132">
                  <c:v>All Others</c:v>
                </c:pt>
                <c:pt idx="1133">
                  <c:v>All Others</c:v>
                </c:pt>
                <c:pt idx="1134">
                  <c:v>Milleret</c:v>
                </c:pt>
                <c:pt idx="1135">
                  <c:v>All Others</c:v>
                </c:pt>
                <c:pt idx="1136">
                  <c:v>All Others</c:v>
                </c:pt>
                <c:pt idx="1137">
                  <c:v>All Others</c:v>
                </c:pt>
                <c:pt idx="1138">
                  <c:v>Milleret</c:v>
                </c:pt>
                <c:pt idx="1139">
                  <c:v>All Others</c:v>
                </c:pt>
                <c:pt idx="1140">
                  <c:v>All Others</c:v>
                </c:pt>
                <c:pt idx="1141">
                  <c:v>All Others</c:v>
                </c:pt>
                <c:pt idx="1142">
                  <c:v>All Others</c:v>
                </c:pt>
                <c:pt idx="1143">
                  <c:v>Paysan Bret</c:v>
                </c:pt>
                <c:pt idx="1144">
                  <c:v>All Others</c:v>
                </c:pt>
                <c:pt idx="1145">
                  <c:v>All Others</c:v>
                </c:pt>
                <c:pt idx="1146">
                  <c:v>Limiano</c:v>
                </c:pt>
                <c:pt idx="1147">
                  <c:v>All Others</c:v>
                </c:pt>
                <c:pt idx="1148">
                  <c:v>All Others</c:v>
                </c:pt>
                <c:pt idx="1149">
                  <c:v>All Others</c:v>
                </c:pt>
                <c:pt idx="1150">
                  <c:v>All Others</c:v>
                </c:pt>
                <c:pt idx="1151">
                  <c:v>All Others</c:v>
                </c:pt>
                <c:pt idx="1152">
                  <c:v>All Others</c:v>
                </c:pt>
                <c:pt idx="1153">
                  <c:v>All Others</c:v>
                </c:pt>
                <c:pt idx="1154">
                  <c:v>All Others</c:v>
                </c:pt>
                <c:pt idx="1155">
                  <c:v>All Others</c:v>
                </c:pt>
                <c:pt idx="1156">
                  <c:v>All Others</c:v>
                </c:pt>
                <c:pt idx="1157">
                  <c:v>All Others</c:v>
                </c:pt>
                <c:pt idx="1158">
                  <c:v>Etoile Du V</c:v>
                </c:pt>
                <c:pt idx="1159">
                  <c:v>All Others</c:v>
                </c:pt>
                <c:pt idx="1160">
                  <c:v>All Others</c:v>
                </c:pt>
                <c:pt idx="1161">
                  <c:v>All Others</c:v>
                </c:pt>
                <c:pt idx="1162">
                  <c:v>All Others</c:v>
                </c:pt>
                <c:pt idx="1163">
                  <c:v>All Others</c:v>
                </c:pt>
                <c:pt idx="1164">
                  <c:v>All Others</c:v>
                </c:pt>
                <c:pt idx="1165">
                  <c:v>La Table M</c:v>
                </c:pt>
                <c:pt idx="1166">
                  <c:v>All Others</c:v>
                </c:pt>
                <c:pt idx="1167">
                  <c:v>All Others</c:v>
                </c:pt>
                <c:pt idx="1168">
                  <c:v>All Others</c:v>
                </c:pt>
                <c:pt idx="1169">
                  <c:v>All Others</c:v>
                </c:pt>
                <c:pt idx="1170">
                  <c:v>All Others</c:v>
                </c:pt>
                <c:pt idx="1171">
                  <c:v>All Others</c:v>
                </c:pt>
                <c:pt idx="1172">
                  <c:v>All Others</c:v>
                </c:pt>
                <c:pt idx="1173">
                  <c:v>All Others</c:v>
                </c:pt>
                <c:pt idx="1174">
                  <c:v>All Others</c:v>
                </c:pt>
                <c:pt idx="1175">
                  <c:v>All Others</c:v>
                </c:pt>
                <c:pt idx="1176">
                  <c:v>All Others</c:v>
                </c:pt>
                <c:pt idx="1177">
                  <c:v>All Others</c:v>
                </c:pt>
                <c:pt idx="1178">
                  <c:v>All Others</c:v>
                </c:pt>
                <c:pt idx="1179">
                  <c:v>All Others</c:v>
                </c:pt>
                <c:pt idx="1180">
                  <c:v>All Others</c:v>
                </c:pt>
                <c:pt idx="1181">
                  <c:v>All Others</c:v>
                </c:pt>
                <c:pt idx="1182">
                  <c:v>All Others</c:v>
                </c:pt>
                <c:pt idx="1183">
                  <c:v>All Others</c:v>
                </c:pt>
                <c:pt idx="1184">
                  <c:v>All Others</c:v>
                </c:pt>
                <c:pt idx="1185">
                  <c:v>All Others</c:v>
                </c:pt>
                <c:pt idx="1186">
                  <c:v>All Others</c:v>
                </c:pt>
                <c:pt idx="1187">
                  <c:v>All Others</c:v>
                </c:pt>
                <c:pt idx="1188">
                  <c:v>All Others</c:v>
                </c:pt>
                <c:pt idx="1189">
                  <c:v>All Others</c:v>
                </c:pt>
                <c:pt idx="1190">
                  <c:v>All Others</c:v>
                </c:pt>
                <c:pt idx="1191">
                  <c:v>All Others</c:v>
                </c:pt>
                <c:pt idx="1192">
                  <c:v>All Others</c:v>
                </c:pt>
                <c:pt idx="1193">
                  <c:v>All Others</c:v>
                </c:pt>
                <c:pt idx="1194">
                  <c:v>All Others</c:v>
                </c:pt>
                <c:pt idx="1195">
                  <c:v>Rians</c:v>
                </c:pt>
                <c:pt idx="1196">
                  <c:v>Savall</c:v>
                </c:pt>
                <c:pt idx="1197">
                  <c:v>All Others</c:v>
                </c:pt>
                <c:pt idx="1198">
                  <c:v>All Others</c:v>
                </c:pt>
                <c:pt idx="1199">
                  <c:v>All Others</c:v>
                </c:pt>
                <c:pt idx="1200">
                  <c:v>All Others</c:v>
                </c:pt>
                <c:pt idx="1201">
                  <c:v>All Others</c:v>
                </c:pt>
                <c:pt idx="1202">
                  <c:v>All Others</c:v>
                </c:pt>
                <c:pt idx="1203">
                  <c:v>Raguin</c:v>
                </c:pt>
                <c:pt idx="1204">
                  <c:v>All Others</c:v>
                </c:pt>
                <c:pt idx="1205">
                  <c:v>All Others</c:v>
                </c:pt>
                <c:pt idx="1206">
                  <c:v>All Others</c:v>
                </c:pt>
                <c:pt idx="1207">
                  <c:v>Etoile Du V</c:v>
                </c:pt>
                <c:pt idx="1208">
                  <c:v>All Others</c:v>
                </c:pt>
                <c:pt idx="1209">
                  <c:v>All Others</c:v>
                </c:pt>
                <c:pt idx="1210">
                  <c:v>All Others</c:v>
                </c:pt>
                <c:pt idx="1211">
                  <c:v>All Others</c:v>
                </c:pt>
                <c:pt idx="1212">
                  <c:v>All Others</c:v>
                </c:pt>
                <c:pt idx="1213">
                  <c:v>Raguin</c:v>
                </c:pt>
                <c:pt idx="1214">
                  <c:v>All Others</c:v>
                </c:pt>
                <c:pt idx="1215">
                  <c:v>All Others</c:v>
                </c:pt>
                <c:pt idx="1216">
                  <c:v>All Others</c:v>
                </c:pt>
                <c:pt idx="1217">
                  <c:v>All Others</c:v>
                </c:pt>
                <c:pt idx="1218">
                  <c:v>All Others</c:v>
                </c:pt>
                <c:pt idx="1219">
                  <c:v>All Others</c:v>
                </c:pt>
                <c:pt idx="1220">
                  <c:v>All Others</c:v>
                </c:pt>
                <c:pt idx="1221">
                  <c:v>All Others</c:v>
                </c:pt>
                <c:pt idx="1222">
                  <c:v>All Others</c:v>
                </c:pt>
                <c:pt idx="1223">
                  <c:v>All Others</c:v>
                </c:pt>
                <c:pt idx="1224">
                  <c:v>Jperrin</c:v>
                </c:pt>
                <c:pt idx="1225">
                  <c:v>All Others</c:v>
                </c:pt>
                <c:pt idx="1226">
                  <c:v>All Others</c:v>
                </c:pt>
                <c:pt idx="1227">
                  <c:v>All Others</c:v>
                </c:pt>
                <c:pt idx="1228">
                  <c:v>All Others</c:v>
                </c:pt>
                <c:pt idx="1229">
                  <c:v>All Others</c:v>
                </c:pt>
                <c:pt idx="1230">
                  <c:v>All Others</c:v>
                </c:pt>
                <c:pt idx="1231">
                  <c:v>All Others</c:v>
                </c:pt>
                <c:pt idx="1232">
                  <c:v>All Others</c:v>
                </c:pt>
                <c:pt idx="1233">
                  <c:v>All Others</c:v>
                </c:pt>
                <c:pt idx="1234">
                  <c:v>All Others</c:v>
                </c:pt>
                <c:pt idx="1235">
                  <c:v>All Others</c:v>
                </c:pt>
                <c:pt idx="1236">
                  <c:v>Rians</c:v>
                </c:pt>
                <c:pt idx="1237">
                  <c:v>All Others</c:v>
                </c:pt>
                <c:pt idx="1238">
                  <c:v>All Others</c:v>
                </c:pt>
                <c:pt idx="1239">
                  <c:v>All Others</c:v>
                </c:pt>
                <c:pt idx="1240">
                  <c:v>Jperrin</c:v>
                </c:pt>
                <c:pt idx="1241">
                  <c:v>All Others</c:v>
                </c:pt>
                <c:pt idx="1242">
                  <c:v>Lindahls Pr</c:v>
                </c:pt>
                <c:pt idx="1243">
                  <c:v>Pave D'Affi</c:v>
                </c:pt>
                <c:pt idx="1244">
                  <c:v>Raguin</c:v>
                </c:pt>
                <c:pt idx="1245">
                  <c:v>All Others</c:v>
                </c:pt>
                <c:pt idx="1246">
                  <c:v>All Others</c:v>
                </c:pt>
                <c:pt idx="1247">
                  <c:v>All Others</c:v>
                </c:pt>
                <c:pt idx="1248">
                  <c:v>Lactalis: A</c:v>
                </c:pt>
                <c:pt idx="1249">
                  <c:v>All Others</c:v>
                </c:pt>
                <c:pt idx="1250">
                  <c:v>All Others</c:v>
                </c:pt>
                <c:pt idx="1251">
                  <c:v>All Others</c:v>
                </c:pt>
                <c:pt idx="1252">
                  <c:v>All Others</c:v>
                </c:pt>
                <c:pt idx="1253">
                  <c:v>All Others</c:v>
                </c:pt>
                <c:pt idx="1254">
                  <c:v>Gillot</c:v>
                </c:pt>
                <c:pt idx="1255">
                  <c:v>All Others</c:v>
                </c:pt>
                <c:pt idx="1256">
                  <c:v>All Others</c:v>
                </c:pt>
                <c:pt idx="1257">
                  <c:v>All Others</c:v>
                </c:pt>
                <c:pt idx="1258">
                  <c:v>All Others</c:v>
                </c:pt>
                <c:pt idx="1259">
                  <c:v>All Others</c:v>
                </c:pt>
                <c:pt idx="1260">
                  <c:v>All Others</c:v>
                </c:pt>
                <c:pt idx="1261">
                  <c:v>Limiano</c:v>
                </c:pt>
                <c:pt idx="1262">
                  <c:v>All Others</c:v>
                </c:pt>
                <c:pt idx="1263">
                  <c:v>All Others</c:v>
                </c:pt>
                <c:pt idx="1264">
                  <c:v>All Others</c:v>
                </c:pt>
                <c:pt idx="1265">
                  <c:v>All Others</c:v>
                </c:pt>
                <c:pt idx="1266">
                  <c:v>All Others</c:v>
                </c:pt>
                <c:pt idx="1267">
                  <c:v>All Others</c:v>
                </c:pt>
                <c:pt idx="1268">
                  <c:v>All Others</c:v>
                </c:pt>
                <c:pt idx="1269">
                  <c:v>Casa Sant</c:v>
                </c:pt>
                <c:pt idx="1270">
                  <c:v>All Others</c:v>
                </c:pt>
                <c:pt idx="1271">
                  <c:v>All Others</c:v>
                </c:pt>
                <c:pt idx="1272">
                  <c:v>All Others</c:v>
                </c:pt>
                <c:pt idx="1273">
                  <c:v>Raguin</c:v>
                </c:pt>
                <c:pt idx="1274">
                  <c:v>All Others</c:v>
                </c:pt>
                <c:pt idx="1275">
                  <c:v>All Others</c:v>
                </c:pt>
                <c:pt idx="1276">
                  <c:v>All Others</c:v>
                </c:pt>
                <c:pt idx="1277">
                  <c:v>Raguin</c:v>
                </c:pt>
                <c:pt idx="1278">
                  <c:v>Lincet</c:v>
                </c:pt>
                <c:pt idx="1279">
                  <c:v>All Others</c:v>
                </c:pt>
                <c:pt idx="1280">
                  <c:v>All Others</c:v>
                </c:pt>
                <c:pt idx="1281">
                  <c:v>Raguin</c:v>
                </c:pt>
                <c:pt idx="1282">
                  <c:v>All Others</c:v>
                </c:pt>
                <c:pt idx="1283">
                  <c:v>All Others</c:v>
                </c:pt>
                <c:pt idx="1284">
                  <c:v>Dodin</c:v>
                </c:pt>
                <c:pt idx="1285">
                  <c:v>All Others</c:v>
                </c:pt>
                <c:pt idx="1286">
                  <c:v>All Others</c:v>
                </c:pt>
                <c:pt idx="1287">
                  <c:v>Ambrosi</c:v>
                </c:pt>
                <c:pt idx="1288">
                  <c:v>Savencia: A</c:v>
                </c:pt>
                <c:pt idx="1289">
                  <c:v>All Others</c:v>
                </c:pt>
                <c:pt idx="1290">
                  <c:v>All Others</c:v>
                </c:pt>
                <c:pt idx="1291">
                  <c:v>All Others</c:v>
                </c:pt>
                <c:pt idx="1292">
                  <c:v>All Others</c:v>
                </c:pt>
                <c:pt idx="1293">
                  <c:v>All Others</c:v>
                </c:pt>
                <c:pt idx="1294">
                  <c:v>All Others</c:v>
                </c:pt>
                <c:pt idx="1295">
                  <c:v>All Others</c:v>
                </c:pt>
                <c:pt idx="1296">
                  <c:v>All Others</c:v>
                </c:pt>
                <c:pt idx="1297">
                  <c:v>All Others</c:v>
                </c:pt>
                <c:pt idx="1298">
                  <c:v>All Others</c:v>
                </c:pt>
                <c:pt idx="1299">
                  <c:v>Pave D'Affi</c:v>
                </c:pt>
                <c:pt idx="1300">
                  <c:v>All Others</c:v>
                </c:pt>
                <c:pt idx="1301">
                  <c:v>All Others</c:v>
                </c:pt>
                <c:pt idx="1302">
                  <c:v>All Others</c:v>
                </c:pt>
                <c:pt idx="1303">
                  <c:v>All Others</c:v>
                </c:pt>
                <c:pt idx="1304">
                  <c:v>All Others</c:v>
                </c:pt>
                <c:pt idx="1305">
                  <c:v>All Others</c:v>
                </c:pt>
                <c:pt idx="1306">
                  <c:v>All Others</c:v>
                </c:pt>
                <c:pt idx="1307">
                  <c:v>All Others</c:v>
                </c:pt>
                <c:pt idx="1308">
                  <c:v>All Others</c:v>
                </c:pt>
                <c:pt idx="1309">
                  <c:v>All Others</c:v>
                </c:pt>
                <c:pt idx="1310">
                  <c:v>All Others</c:v>
                </c:pt>
                <c:pt idx="1311">
                  <c:v>All Others</c:v>
                </c:pt>
                <c:pt idx="1312">
                  <c:v>All Others</c:v>
                </c:pt>
                <c:pt idx="1313">
                  <c:v>All Others</c:v>
                </c:pt>
                <c:pt idx="1314">
                  <c:v>Gillot</c:v>
                </c:pt>
                <c:pt idx="1315">
                  <c:v>All Others</c:v>
                </c:pt>
                <c:pt idx="1316">
                  <c:v>All Others</c:v>
                </c:pt>
                <c:pt idx="1317">
                  <c:v>All Others</c:v>
                </c:pt>
                <c:pt idx="1318">
                  <c:v>All Others</c:v>
                </c:pt>
                <c:pt idx="1319">
                  <c:v>All Others</c:v>
                </c:pt>
                <c:pt idx="1320">
                  <c:v>All Others</c:v>
                </c:pt>
                <c:pt idx="1321">
                  <c:v>Tomasoni</c:v>
                </c:pt>
                <c:pt idx="1322">
                  <c:v>All Others</c:v>
                </c:pt>
                <c:pt idx="1323">
                  <c:v>All Others</c:v>
                </c:pt>
                <c:pt idx="1324">
                  <c:v>All Others</c:v>
                </c:pt>
                <c:pt idx="1325">
                  <c:v>All Others</c:v>
                </c:pt>
                <c:pt idx="1326">
                  <c:v>All Others</c:v>
                </c:pt>
                <c:pt idx="1327">
                  <c:v>All Others</c:v>
                </c:pt>
                <c:pt idx="1328">
                  <c:v>All Others</c:v>
                </c:pt>
                <c:pt idx="1329">
                  <c:v>All Others</c:v>
                </c:pt>
                <c:pt idx="1330">
                  <c:v>All Others</c:v>
                </c:pt>
                <c:pt idx="1331">
                  <c:v>All Others</c:v>
                </c:pt>
                <c:pt idx="1332">
                  <c:v>All Others</c:v>
                </c:pt>
                <c:pt idx="1333">
                  <c:v>All Others</c:v>
                </c:pt>
                <c:pt idx="1334">
                  <c:v>All Others</c:v>
                </c:pt>
                <c:pt idx="1335">
                  <c:v>All Others</c:v>
                </c:pt>
                <c:pt idx="1336">
                  <c:v>All Others</c:v>
                </c:pt>
                <c:pt idx="1337">
                  <c:v>All Others</c:v>
                </c:pt>
                <c:pt idx="1338">
                  <c:v>All Others</c:v>
                </c:pt>
                <c:pt idx="1339">
                  <c:v>All Others</c:v>
                </c:pt>
                <c:pt idx="1340">
                  <c:v>All Others</c:v>
                </c:pt>
                <c:pt idx="1341">
                  <c:v>All Others</c:v>
                </c:pt>
                <c:pt idx="1342">
                  <c:v>All Others</c:v>
                </c:pt>
                <c:pt idx="1343">
                  <c:v>All Others</c:v>
                </c:pt>
                <c:pt idx="1344">
                  <c:v>All Others</c:v>
                </c:pt>
                <c:pt idx="1345">
                  <c:v>All Others</c:v>
                </c:pt>
                <c:pt idx="1346">
                  <c:v>All Others</c:v>
                </c:pt>
                <c:pt idx="1347">
                  <c:v>All Others</c:v>
                </c:pt>
                <c:pt idx="1348">
                  <c:v>All Others</c:v>
                </c:pt>
                <c:pt idx="1349">
                  <c:v>All Others</c:v>
                </c:pt>
                <c:pt idx="1350">
                  <c:v>All Others</c:v>
                </c:pt>
                <c:pt idx="1351">
                  <c:v>All Others</c:v>
                </c:pt>
                <c:pt idx="1352">
                  <c:v>All Others</c:v>
                </c:pt>
                <c:pt idx="1353">
                  <c:v>All Others</c:v>
                </c:pt>
                <c:pt idx="1354">
                  <c:v>All Others</c:v>
                </c:pt>
                <c:pt idx="1355">
                  <c:v>All Others</c:v>
                </c:pt>
                <c:pt idx="1356">
                  <c:v>Caprice Des</c:v>
                </c:pt>
                <c:pt idx="1357">
                  <c:v>All Others</c:v>
                </c:pt>
                <c:pt idx="1358">
                  <c:v>All Others</c:v>
                </c:pt>
                <c:pt idx="1359">
                  <c:v>All Others</c:v>
                </c:pt>
                <c:pt idx="1360">
                  <c:v>All Others</c:v>
                </c:pt>
                <c:pt idx="1361">
                  <c:v>All Others</c:v>
                </c:pt>
                <c:pt idx="1362">
                  <c:v>All Others</c:v>
                </c:pt>
                <c:pt idx="1363">
                  <c:v>All Others</c:v>
                </c:pt>
                <c:pt idx="1364">
                  <c:v>All Others</c:v>
                </c:pt>
                <c:pt idx="1365">
                  <c:v>Alsacelait</c:v>
                </c:pt>
                <c:pt idx="1366">
                  <c:v>All Others</c:v>
                </c:pt>
                <c:pt idx="1367">
                  <c:v>All Others</c:v>
                </c:pt>
                <c:pt idx="1368">
                  <c:v>All Others</c:v>
                </c:pt>
                <c:pt idx="1369">
                  <c:v>Gioiella</c:v>
                </c:pt>
                <c:pt idx="1370">
                  <c:v>All Others</c:v>
                </c:pt>
                <c:pt idx="1371">
                  <c:v>All Others</c:v>
                </c:pt>
                <c:pt idx="1372">
                  <c:v>All Others</c:v>
                </c:pt>
                <c:pt idx="1373">
                  <c:v>All Others</c:v>
                </c:pt>
                <c:pt idx="1374">
                  <c:v>All Others</c:v>
                </c:pt>
                <c:pt idx="1375">
                  <c:v>All Others</c:v>
                </c:pt>
                <c:pt idx="1376">
                  <c:v>All Others</c:v>
                </c:pt>
                <c:pt idx="1377">
                  <c:v>All Others</c:v>
                </c:pt>
                <c:pt idx="1378">
                  <c:v>All Others</c:v>
                </c:pt>
                <c:pt idx="1379">
                  <c:v>Vivaldi</c:v>
                </c:pt>
                <c:pt idx="1380">
                  <c:v>All Others</c:v>
                </c:pt>
                <c:pt idx="1381">
                  <c:v>All Others</c:v>
                </c:pt>
                <c:pt idx="1382">
                  <c:v>All Others</c:v>
                </c:pt>
                <c:pt idx="1383">
                  <c:v>Ambrosi</c:v>
                </c:pt>
                <c:pt idx="1384">
                  <c:v>All Others</c:v>
                </c:pt>
                <c:pt idx="1385">
                  <c:v>Private Lab</c:v>
                </c:pt>
                <c:pt idx="1386">
                  <c:v>All Others</c:v>
                </c:pt>
                <c:pt idx="1387">
                  <c:v>All Others</c:v>
                </c:pt>
                <c:pt idx="1388">
                  <c:v>All Others</c:v>
                </c:pt>
                <c:pt idx="1389">
                  <c:v>Richesmonts</c:v>
                </c:pt>
                <c:pt idx="1390">
                  <c:v>All Others</c:v>
                </c:pt>
                <c:pt idx="1391">
                  <c:v>Lactalis: A</c:v>
                </c:pt>
                <c:pt idx="1392">
                  <c:v>Ambrosi</c:v>
                </c:pt>
                <c:pt idx="1393">
                  <c:v>Casa Azzur</c:v>
                </c:pt>
                <c:pt idx="1394">
                  <c:v>Milleret: A</c:v>
                </c:pt>
                <c:pt idx="1395">
                  <c:v>Pays Auge</c:v>
                </c:pt>
                <c:pt idx="1396">
                  <c:v>All Others</c:v>
                </c:pt>
                <c:pt idx="1397">
                  <c:v>All Others</c:v>
                </c:pt>
                <c:pt idx="1398">
                  <c:v>All Others</c:v>
                </c:pt>
                <c:pt idx="1399">
                  <c:v>All Others</c:v>
                </c:pt>
                <c:pt idx="1400">
                  <c:v>All Others</c:v>
                </c:pt>
                <c:pt idx="1401">
                  <c:v>All Others</c:v>
                </c:pt>
                <c:pt idx="1402">
                  <c:v>All Others</c:v>
                </c:pt>
                <c:pt idx="1403">
                  <c:v>All Others</c:v>
                </c:pt>
                <c:pt idx="1404">
                  <c:v>All Others</c:v>
                </c:pt>
                <c:pt idx="1405">
                  <c:v>La Vache Qu</c:v>
                </c:pt>
                <c:pt idx="1406">
                  <c:v>All Others</c:v>
                </c:pt>
                <c:pt idx="1407">
                  <c:v>All Others</c:v>
                </c:pt>
                <c:pt idx="1408">
                  <c:v>Savencia: A</c:v>
                </c:pt>
                <c:pt idx="1409">
                  <c:v>All Others</c:v>
                </c:pt>
                <c:pt idx="1410">
                  <c:v>Delamelie</c:v>
                </c:pt>
                <c:pt idx="1411">
                  <c:v>Raguin</c:v>
                </c:pt>
                <c:pt idx="1412">
                  <c:v>All Others</c:v>
                </c:pt>
                <c:pt idx="1413">
                  <c:v>Private Lab</c:v>
                </c:pt>
                <c:pt idx="1414">
                  <c:v>All Others</c:v>
                </c:pt>
                <c:pt idx="1415">
                  <c:v>All Others</c:v>
                </c:pt>
                <c:pt idx="1416">
                  <c:v>Private Lab</c:v>
                </c:pt>
                <c:pt idx="1417">
                  <c:v>Lactalis: A</c:v>
                </c:pt>
                <c:pt idx="1418">
                  <c:v>All Others</c:v>
                </c:pt>
                <c:pt idx="1419">
                  <c:v>All Others</c:v>
                </c:pt>
                <c:pt idx="1420">
                  <c:v>All Others</c:v>
                </c:pt>
                <c:pt idx="1421">
                  <c:v>Etoile Du V</c:v>
                </c:pt>
                <c:pt idx="1422">
                  <c:v>All Others</c:v>
                </c:pt>
                <c:pt idx="1423">
                  <c:v>All Others</c:v>
                </c:pt>
                <c:pt idx="1424">
                  <c:v>All Others</c:v>
                </c:pt>
                <c:pt idx="1425">
                  <c:v>All Others</c:v>
                </c:pt>
                <c:pt idx="1426">
                  <c:v>Private Lab</c:v>
                </c:pt>
                <c:pt idx="1427">
                  <c:v>R Du Nord</c:v>
                </c:pt>
                <c:pt idx="1428">
                  <c:v>All Others</c:v>
                </c:pt>
                <c:pt idx="1429">
                  <c:v>All Others</c:v>
                </c:pt>
                <c:pt idx="1430">
                  <c:v>All Others</c:v>
                </c:pt>
                <c:pt idx="1431">
                  <c:v>All Others</c:v>
                </c:pt>
                <c:pt idx="1432">
                  <c:v>All Others</c:v>
                </c:pt>
                <c:pt idx="1433">
                  <c:v>All Others</c:v>
                </c:pt>
                <c:pt idx="1434">
                  <c:v>All Others</c:v>
                </c:pt>
                <c:pt idx="1435">
                  <c:v>All Others</c:v>
                </c:pt>
                <c:pt idx="1436">
                  <c:v>Private Lab</c:v>
                </c:pt>
                <c:pt idx="1437">
                  <c:v>All Others</c:v>
                </c:pt>
                <c:pt idx="1438">
                  <c:v>Chirag</c:v>
                </c:pt>
                <c:pt idx="1439">
                  <c:v>Gillot</c:v>
                </c:pt>
                <c:pt idx="1440">
                  <c:v>Private Lab</c:v>
                </c:pt>
                <c:pt idx="1441">
                  <c:v>All Others</c:v>
                </c:pt>
                <c:pt idx="1442">
                  <c:v>Private Lab</c:v>
                </c:pt>
                <c:pt idx="1443">
                  <c:v>Pave D'Affi</c:v>
                </c:pt>
                <c:pt idx="1444">
                  <c:v>All Others</c:v>
                </c:pt>
                <c:pt idx="1445">
                  <c:v>All Others</c:v>
                </c:pt>
                <c:pt idx="1446">
                  <c:v>All Others</c:v>
                </c:pt>
                <c:pt idx="1447">
                  <c:v>All Others</c:v>
                </c:pt>
                <c:pt idx="1448">
                  <c:v>All Others</c:v>
                </c:pt>
                <c:pt idx="1449">
                  <c:v>All Others</c:v>
                </c:pt>
                <c:pt idx="1450">
                  <c:v>Private Lab</c:v>
                </c:pt>
                <c:pt idx="1451">
                  <c:v>O'Tapas Ape</c:v>
                </c:pt>
                <c:pt idx="1452">
                  <c:v>All Others</c:v>
                </c:pt>
                <c:pt idx="1453">
                  <c:v>O'Tapas Ape</c:v>
                </c:pt>
                <c:pt idx="1454">
                  <c:v>Private Lab</c:v>
                </c:pt>
                <c:pt idx="1455">
                  <c:v>All Others</c:v>
                </c:pt>
                <c:pt idx="1456">
                  <c:v>All Others</c:v>
                </c:pt>
                <c:pt idx="1457">
                  <c:v>All Others</c:v>
                </c:pt>
                <c:pt idx="1458">
                  <c:v>All Others</c:v>
                </c:pt>
              </c:strCache>
            </c:strRef>
          </c:cat>
          <c:val>
            <c:numRef>
              <c:f>Sheet1!$B$2:$B$1460</c:f>
              <c:numCache>
                <c:formatCode>General</c:formatCode>
                <c:ptCount val="1459"/>
                <c:pt idx="0">
                  <c:v>1.0</c:v>
                </c:pt>
                <c:pt idx="1">
                  <c:v>1.0</c:v>
                </c:pt>
                <c:pt idx="2">
                  <c:v>1.0</c:v>
                </c:pt>
                <c:pt idx="3">
                  <c:v>1.0</c:v>
                </c:pt>
                <c:pt idx="4">
                  <c:v>1.0</c:v>
                </c:pt>
                <c:pt idx="5">
                  <c:v>1.0</c:v>
                </c:pt>
                <c:pt idx="6">
                  <c:v>0.99</c:v>
                </c:pt>
                <c:pt idx="7">
                  <c:v>1.0</c:v>
                </c:pt>
                <c:pt idx="8">
                  <c:v>0.99</c:v>
                </c:pt>
                <c:pt idx="9">
                  <c:v>1.0</c:v>
                </c:pt>
                <c:pt idx="10">
                  <c:v>1.0</c:v>
                </c:pt>
                <c:pt idx="11">
                  <c:v>1.0</c:v>
                </c:pt>
                <c:pt idx="12">
                  <c:v>0.81</c:v>
                </c:pt>
                <c:pt idx="13">
                  <c:v>1.0</c:v>
                </c:pt>
                <c:pt idx="14">
                  <c:v>1.0</c:v>
                </c:pt>
                <c:pt idx="15">
                  <c:v>0.99</c:v>
                </c:pt>
                <c:pt idx="16">
                  <c:v>1.0</c:v>
                </c:pt>
                <c:pt idx="17">
                  <c:v>1.0</c:v>
                </c:pt>
                <c:pt idx="18">
                  <c:v>1.0</c:v>
                </c:pt>
                <c:pt idx="19">
                  <c:v>0.96</c:v>
                </c:pt>
                <c:pt idx="20">
                  <c:v>1.0</c:v>
                </c:pt>
                <c:pt idx="21">
                  <c:v>0.99</c:v>
                </c:pt>
                <c:pt idx="22">
                  <c:v>0.99</c:v>
                </c:pt>
                <c:pt idx="23">
                  <c:v>0.98</c:v>
                </c:pt>
                <c:pt idx="24">
                  <c:v>1.0</c:v>
                </c:pt>
                <c:pt idx="25">
                  <c:v>0.99</c:v>
                </c:pt>
                <c:pt idx="26">
                  <c:v>1.0</c:v>
                </c:pt>
                <c:pt idx="27">
                  <c:v>1.0</c:v>
                </c:pt>
                <c:pt idx="28">
                  <c:v>0.98</c:v>
                </c:pt>
                <c:pt idx="29">
                  <c:v>0.99</c:v>
                </c:pt>
                <c:pt idx="30">
                  <c:v>1.0</c:v>
                </c:pt>
                <c:pt idx="31">
                  <c:v>1.0</c:v>
                </c:pt>
                <c:pt idx="32">
                  <c:v>0.99</c:v>
                </c:pt>
                <c:pt idx="33">
                  <c:v>1.0</c:v>
                </c:pt>
                <c:pt idx="34">
                  <c:v>1.0</c:v>
                </c:pt>
                <c:pt idx="35">
                  <c:v>0.99</c:v>
                </c:pt>
                <c:pt idx="36">
                  <c:v>0.99</c:v>
                </c:pt>
                <c:pt idx="37">
                  <c:v>1.0</c:v>
                </c:pt>
                <c:pt idx="38">
                  <c:v>1.0</c:v>
                </c:pt>
                <c:pt idx="39">
                  <c:v>1.0</c:v>
                </c:pt>
                <c:pt idx="40">
                  <c:v>0.98</c:v>
                </c:pt>
                <c:pt idx="41">
                  <c:v>0.97</c:v>
                </c:pt>
                <c:pt idx="42">
                  <c:v>0.99</c:v>
                </c:pt>
                <c:pt idx="43">
                  <c:v>0.99</c:v>
                </c:pt>
                <c:pt idx="44">
                  <c:v>0.98</c:v>
                </c:pt>
                <c:pt idx="45">
                  <c:v>1.0</c:v>
                </c:pt>
                <c:pt idx="46">
                  <c:v>1.0</c:v>
                </c:pt>
                <c:pt idx="47">
                  <c:v>0.99</c:v>
                </c:pt>
                <c:pt idx="48">
                  <c:v>1.0</c:v>
                </c:pt>
                <c:pt idx="49">
                  <c:v>1.0</c:v>
                </c:pt>
                <c:pt idx="50">
                  <c:v>0.95</c:v>
                </c:pt>
                <c:pt idx="51">
                  <c:v>1.0</c:v>
                </c:pt>
                <c:pt idx="52">
                  <c:v>0.98</c:v>
                </c:pt>
                <c:pt idx="53">
                  <c:v>0.99</c:v>
                </c:pt>
                <c:pt idx="54">
                  <c:v>1.0</c:v>
                </c:pt>
                <c:pt idx="55">
                  <c:v>0.99</c:v>
                </c:pt>
                <c:pt idx="56">
                  <c:v>0.96</c:v>
                </c:pt>
                <c:pt idx="57">
                  <c:v>1.0</c:v>
                </c:pt>
                <c:pt idx="58">
                  <c:v>0.98</c:v>
                </c:pt>
                <c:pt idx="59">
                  <c:v>1.0</c:v>
                </c:pt>
                <c:pt idx="60">
                  <c:v>0.99</c:v>
                </c:pt>
                <c:pt idx="61">
                  <c:v>1.0</c:v>
                </c:pt>
                <c:pt idx="62">
                  <c:v>1.0</c:v>
                </c:pt>
                <c:pt idx="63">
                  <c:v>0.99</c:v>
                </c:pt>
                <c:pt idx="64">
                  <c:v>0.92</c:v>
                </c:pt>
                <c:pt idx="65">
                  <c:v>1.0</c:v>
                </c:pt>
                <c:pt idx="66">
                  <c:v>1.0</c:v>
                </c:pt>
                <c:pt idx="67">
                  <c:v>0.95</c:v>
                </c:pt>
                <c:pt idx="68">
                  <c:v>0.97</c:v>
                </c:pt>
                <c:pt idx="69">
                  <c:v>0.99</c:v>
                </c:pt>
                <c:pt idx="70">
                  <c:v>1.0</c:v>
                </c:pt>
                <c:pt idx="71">
                  <c:v>0.98</c:v>
                </c:pt>
                <c:pt idx="72">
                  <c:v>0.89</c:v>
                </c:pt>
                <c:pt idx="73">
                  <c:v>0.92</c:v>
                </c:pt>
                <c:pt idx="74">
                  <c:v>1.0</c:v>
                </c:pt>
                <c:pt idx="75">
                  <c:v>1.0</c:v>
                </c:pt>
                <c:pt idx="76">
                  <c:v>0.97</c:v>
                </c:pt>
                <c:pt idx="77">
                  <c:v>0.95</c:v>
                </c:pt>
                <c:pt idx="78">
                  <c:v>0.97</c:v>
                </c:pt>
                <c:pt idx="79">
                  <c:v>0.98</c:v>
                </c:pt>
                <c:pt idx="80">
                  <c:v>0.99</c:v>
                </c:pt>
                <c:pt idx="81">
                  <c:v>0.98</c:v>
                </c:pt>
                <c:pt idx="82">
                  <c:v>0.99</c:v>
                </c:pt>
                <c:pt idx="83">
                  <c:v>0.99</c:v>
                </c:pt>
                <c:pt idx="84">
                  <c:v>0.99</c:v>
                </c:pt>
                <c:pt idx="85">
                  <c:v>1.0</c:v>
                </c:pt>
                <c:pt idx="86">
                  <c:v>0.99</c:v>
                </c:pt>
                <c:pt idx="87">
                  <c:v>0.99</c:v>
                </c:pt>
                <c:pt idx="88">
                  <c:v>1.0</c:v>
                </c:pt>
                <c:pt idx="89">
                  <c:v>0.98</c:v>
                </c:pt>
                <c:pt idx="90">
                  <c:v>0.96</c:v>
                </c:pt>
                <c:pt idx="91">
                  <c:v>1.0</c:v>
                </c:pt>
                <c:pt idx="92">
                  <c:v>0.97</c:v>
                </c:pt>
                <c:pt idx="93">
                  <c:v>0.97</c:v>
                </c:pt>
                <c:pt idx="94">
                  <c:v>0.99</c:v>
                </c:pt>
                <c:pt idx="95">
                  <c:v>1.0</c:v>
                </c:pt>
                <c:pt idx="96">
                  <c:v>0.98</c:v>
                </c:pt>
                <c:pt idx="97">
                  <c:v>1.0</c:v>
                </c:pt>
                <c:pt idx="98">
                  <c:v>0.81</c:v>
                </c:pt>
                <c:pt idx="99">
                  <c:v>0.97</c:v>
                </c:pt>
                <c:pt idx="100">
                  <c:v>0.89</c:v>
                </c:pt>
                <c:pt idx="101">
                  <c:v>1.0</c:v>
                </c:pt>
                <c:pt idx="102">
                  <c:v>1.0</c:v>
                </c:pt>
                <c:pt idx="103">
                  <c:v>0.99</c:v>
                </c:pt>
                <c:pt idx="104">
                  <c:v>0.99</c:v>
                </c:pt>
                <c:pt idx="105">
                  <c:v>0.95</c:v>
                </c:pt>
                <c:pt idx="106">
                  <c:v>0.98</c:v>
                </c:pt>
                <c:pt idx="107">
                  <c:v>0.99</c:v>
                </c:pt>
                <c:pt idx="108">
                  <c:v>0.93</c:v>
                </c:pt>
                <c:pt idx="109">
                  <c:v>0.99</c:v>
                </c:pt>
                <c:pt idx="110">
                  <c:v>1.0</c:v>
                </c:pt>
                <c:pt idx="111">
                  <c:v>0.99</c:v>
                </c:pt>
                <c:pt idx="112">
                  <c:v>0.98</c:v>
                </c:pt>
                <c:pt idx="113">
                  <c:v>0.92</c:v>
                </c:pt>
                <c:pt idx="114">
                  <c:v>0.97</c:v>
                </c:pt>
                <c:pt idx="115">
                  <c:v>0.98</c:v>
                </c:pt>
                <c:pt idx="116">
                  <c:v>0.91</c:v>
                </c:pt>
                <c:pt idx="117">
                  <c:v>0.98</c:v>
                </c:pt>
                <c:pt idx="118">
                  <c:v>0.97</c:v>
                </c:pt>
                <c:pt idx="119">
                  <c:v>0.99</c:v>
                </c:pt>
                <c:pt idx="120">
                  <c:v>0.99</c:v>
                </c:pt>
                <c:pt idx="121">
                  <c:v>0.98</c:v>
                </c:pt>
                <c:pt idx="122">
                  <c:v>0.97</c:v>
                </c:pt>
                <c:pt idx="123">
                  <c:v>0.99</c:v>
                </c:pt>
                <c:pt idx="124">
                  <c:v>0.97</c:v>
                </c:pt>
                <c:pt idx="125">
                  <c:v>0.98</c:v>
                </c:pt>
                <c:pt idx="126">
                  <c:v>1.0</c:v>
                </c:pt>
                <c:pt idx="127">
                  <c:v>1.0</c:v>
                </c:pt>
                <c:pt idx="128">
                  <c:v>0.96</c:v>
                </c:pt>
                <c:pt idx="129">
                  <c:v>0.99</c:v>
                </c:pt>
                <c:pt idx="130">
                  <c:v>0.77</c:v>
                </c:pt>
                <c:pt idx="131">
                  <c:v>0.99</c:v>
                </c:pt>
                <c:pt idx="132">
                  <c:v>0.72</c:v>
                </c:pt>
                <c:pt idx="133">
                  <c:v>0.99</c:v>
                </c:pt>
                <c:pt idx="134">
                  <c:v>0.71</c:v>
                </c:pt>
                <c:pt idx="135">
                  <c:v>0.84</c:v>
                </c:pt>
                <c:pt idx="136">
                  <c:v>0.98</c:v>
                </c:pt>
                <c:pt idx="137">
                  <c:v>0.99</c:v>
                </c:pt>
                <c:pt idx="138">
                  <c:v>1.0</c:v>
                </c:pt>
                <c:pt idx="139">
                  <c:v>0.96</c:v>
                </c:pt>
                <c:pt idx="140">
                  <c:v>0.94</c:v>
                </c:pt>
                <c:pt idx="141">
                  <c:v>0.99</c:v>
                </c:pt>
                <c:pt idx="142">
                  <c:v>0.98</c:v>
                </c:pt>
                <c:pt idx="143">
                  <c:v>0.96</c:v>
                </c:pt>
                <c:pt idx="144">
                  <c:v>0.96</c:v>
                </c:pt>
                <c:pt idx="145">
                  <c:v>0.99</c:v>
                </c:pt>
                <c:pt idx="146">
                  <c:v>0.99</c:v>
                </c:pt>
                <c:pt idx="147">
                  <c:v>0.99</c:v>
                </c:pt>
                <c:pt idx="148">
                  <c:v>1.0</c:v>
                </c:pt>
                <c:pt idx="149">
                  <c:v>0.9</c:v>
                </c:pt>
                <c:pt idx="150">
                  <c:v>0.89</c:v>
                </c:pt>
                <c:pt idx="151">
                  <c:v>0.72</c:v>
                </c:pt>
                <c:pt idx="152">
                  <c:v>0.92</c:v>
                </c:pt>
                <c:pt idx="153">
                  <c:v>1.0</c:v>
                </c:pt>
                <c:pt idx="154">
                  <c:v>1.0</c:v>
                </c:pt>
                <c:pt idx="155">
                  <c:v>0.88</c:v>
                </c:pt>
                <c:pt idx="156">
                  <c:v>0.97</c:v>
                </c:pt>
                <c:pt idx="157">
                  <c:v>0.96</c:v>
                </c:pt>
                <c:pt idx="158">
                  <c:v>0.99</c:v>
                </c:pt>
                <c:pt idx="159">
                  <c:v>0.95</c:v>
                </c:pt>
                <c:pt idx="160">
                  <c:v>0.96</c:v>
                </c:pt>
                <c:pt idx="161">
                  <c:v>0.98</c:v>
                </c:pt>
                <c:pt idx="162">
                  <c:v>0.99</c:v>
                </c:pt>
                <c:pt idx="163">
                  <c:v>0.98</c:v>
                </c:pt>
                <c:pt idx="164">
                  <c:v>0.96</c:v>
                </c:pt>
                <c:pt idx="165">
                  <c:v>1.0</c:v>
                </c:pt>
                <c:pt idx="166">
                  <c:v>1.0</c:v>
                </c:pt>
                <c:pt idx="167">
                  <c:v>0.97</c:v>
                </c:pt>
                <c:pt idx="168">
                  <c:v>0.99</c:v>
                </c:pt>
                <c:pt idx="169">
                  <c:v>0.98</c:v>
                </c:pt>
                <c:pt idx="170">
                  <c:v>0.99</c:v>
                </c:pt>
                <c:pt idx="171">
                  <c:v>1.0</c:v>
                </c:pt>
                <c:pt idx="172">
                  <c:v>0.99</c:v>
                </c:pt>
                <c:pt idx="173">
                  <c:v>0.99</c:v>
                </c:pt>
                <c:pt idx="174">
                  <c:v>0.93</c:v>
                </c:pt>
                <c:pt idx="175">
                  <c:v>0.89</c:v>
                </c:pt>
                <c:pt idx="176">
                  <c:v>0.99</c:v>
                </c:pt>
                <c:pt idx="177">
                  <c:v>0.95</c:v>
                </c:pt>
                <c:pt idx="178">
                  <c:v>0.97</c:v>
                </c:pt>
                <c:pt idx="179">
                  <c:v>0.98</c:v>
                </c:pt>
                <c:pt idx="180">
                  <c:v>0.98</c:v>
                </c:pt>
                <c:pt idx="181">
                  <c:v>0.96</c:v>
                </c:pt>
                <c:pt idx="182">
                  <c:v>0.88</c:v>
                </c:pt>
                <c:pt idx="183">
                  <c:v>0.97</c:v>
                </c:pt>
                <c:pt idx="184">
                  <c:v>0.91</c:v>
                </c:pt>
                <c:pt idx="185">
                  <c:v>0.91</c:v>
                </c:pt>
                <c:pt idx="186">
                  <c:v>0.92</c:v>
                </c:pt>
                <c:pt idx="187">
                  <c:v>0.95</c:v>
                </c:pt>
                <c:pt idx="188">
                  <c:v>0.96</c:v>
                </c:pt>
                <c:pt idx="189">
                  <c:v>0.81</c:v>
                </c:pt>
                <c:pt idx="190">
                  <c:v>0.98</c:v>
                </c:pt>
                <c:pt idx="191">
                  <c:v>0.95</c:v>
                </c:pt>
                <c:pt idx="192">
                  <c:v>0.98</c:v>
                </c:pt>
                <c:pt idx="193">
                  <c:v>0.91</c:v>
                </c:pt>
                <c:pt idx="194">
                  <c:v>0.99</c:v>
                </c:pt>
                <c:pt idx="195">
                  <c:v>0.96</c:v>
                </c:pt>
                <c:pt idx="196">
                  <c:v>0.97</c:v>
                </c:pt>
                <c:pt idx="197">
                  <c:v>0.91</c:v>
                </c:pt>
                <c:pt idx="198">
                  <c:v>0.99</c:v>
                </c:pt>
                <c:pt idx="199">
                  <c:v>0.83</c:v>
                </c:pt>
                <c:pt idx="200">
                  <c:v>0.99</c:v>
                </c:pt>
                <c:pt idx="201">
                  <c:v>1.0</c:v>
                </c:pt>
                <c:pt idx="202">
                  <c:v>0.96</c:v>
                </c:pt>
                <c:pt idx="203">
                  <c:v>0.94</c:v>
                </c:pt>
                <c:pt idx="204">
                  <c:v>0.9</c:v>
                </c:pt>
                <c:pt idx="205">
                  <c:v>0.98</c:v>
                </c:pt>
                <c:pt idx="206">
                  <c:v>0.99</c:v>
                </c:pt>
                <c:pt idx="207">
                  <c:v>0.96</c:v>
                </c:pt>
                <c:pt idx="208">
                  <c:v>0.99</c:v>
                </c:pt>
                <c:pt idx="209">
                  <c:v>0.8</c:v>
                </c:pt>
                <c:pt idx="210">
                  <c:v>0.99</c:v>
                </c:pt>
                <c:pt idx="211">
                  <c:v>0.99</c:v>
                </c:pt>
                <c:pt idx="212">
                  <c:v>0.95</c:v>
                </c:pt>
                <c:pt idx="213">
                  <c:v>0.96</c:v>
                </c:pt>
                <c:pt idx="214">
                  <c:v>0.91</c:v>
                </c:pt>
                <c:pt idx="215">
                  <c:v>0.94</c:v>
                </c:pt>
                <c:pt idx="216">
                  <c:v>0.93</c:v>
                </c:pt>
                <c:pt idx="217">
                  <c:v>0.38</c:v>
                </c:pt>
                <c:pt idx="218">
                  <c:v>0.97</c:v>
                </c:pt>
                <c:pt idx="219">
                  <c:v>0.99</c:v>
                </c:pt>
                <c:pt idx="220">
                  <c:v>0.99</c:v>
                </c:pt>
                <c:pt idx="221">
                  <c:v>1.0</c:v>
                </c:pt>
                <c:pt idx="222">
                  <c:v>0.97</c:v>
                </c:pt>
                <c:pt idx="223">
                  <c:v>0.86</c:v>
                </c:pt>
                <c:pt idx="224">
                  <c:v>0.95</c:v>
                </c:pt>
                <c:pt idx="225">
                  <c:v>0.91</c:v>
                </c:pt>
                <c:pt idx="226">
                  <c:v>0.49</c:v>
                </c:pt>
                <c:pt idx="227">
                  <c:v>0.99</c:v>
                </c:pt>
                <c:pt idx="228">
                  <c:v>0.91</c:v>
                </c:pt>
                <c:pt idx="229">
                  <c:v>0.98</c:v>
                </c:pt>
                <c:pt idx="230">
                  <c:v>0.96</c:v>
                </c:pt>
                <c:pt idx="231">
                  <c:v>0.88</c:v>
                </c:pt>
                <c:pt idx="232">
                  <c:v>0.99</c:v>
                </c:pt>
                <c:pt idx="233">
                  <c:v>1.0</c:v>
                </c:pt>
                <c:pt idx="234">
                  <c:v>0.97</c:v>
                </c:pt>
                <c:pt idx="235">
                  <c:v>0.84</c:v>
                </c:pt>
                <c:pt idx="236">
                  <c:v>0.85</c:v>
                </c:pt>
                <c:pt idx="237">
                  <c:v>0.99</c:v>
                </c:pt>
                <c:pt idx="238">
                  <c:v>0.95</c:v>
                </c:pt>
                <c:pt idx="239">
                  <c:v>0.85</c:v>
                </c:pt>
                <c:pt idx="240">
                  <c:v>0.97</c:v>
                </c:pt>
                <c:pt idx="241">
                  <c:v>0.75</c:v>
                </c:pt>
                <c:pt idx="242">
                  <c:v>0.99</c:v>
                </c:pt>
                <c:pt idx="243">
                  <c:v>0.99</c:v>
                </c:pt>
                <c:pt idx="244">
                  <c:v>0.91</c:v>
                </c:pt>
                <c:pt idx="245">
                  <c:v>0.88</c:v>
                </c:pt>
                <c:pt idx="246">
                  <c:v>0.96</c:v>
                </c:pt>
                <c:pt idx="247">
                  <c:v>0.85</c:v>
                </c:pt>
                <c:pt idx="248">
                  <c:v>0.95</c:v>
                </c:pt>
                <c:pt idx="249">
                  <c:v>0.91</c:v>
                </c:pt>
                <c:pt idx="250">
                  <c:v>0.92</c:v>
                </c:pt>
                <c:pt idx="251">
                  <c:v>0.98</c:v>
                </c:pt>
                <c:pt idx="252">
                  <c:v>0.91</c:v>
                </c:pt>
                <c:pt idx="253">
                  <c:v>0.98</c:v>
                </c:pt>
                <c:pt idx="254">
                  <c:v>0.98</c:v>
                </c:pt>
                <c:pt idx="255">
                  <c:v>0.64</c:v>
                </c:pt>
                <c:pt idx="256">
                  <c:v>0.91</c:v>
                </c:pt>
                <c:pt idx="257">
                  <c:v>0.91</c:v>
                </c:pt>
                <c:pt idx="258">
                  <c:v>0.93</c:v>
                </c:pt>
                <c:pt idx="259">
                  <c:v>0.93</c:v>
                </c:pt>
                <c:pt idx="260">
                  <c:v>0.86</c:v>
                </c:pt>
                <c:pt idx="261">
                  <c:v>0.79</c:v>
                </c:pt>
                <c:pt idx="262">
                  <c:v>0.74</c:v>
                </c:pt>
                <c:pt idx="263">
                  <c:v>0.97</c:v>
                </c:pt>
                <c:pt idx="264">
                  <c:v>0.93</c:v>
                </c:pt>
                <c:pt idx="265">
                  <c:v>0.89</c:v>
                </c:pt>
                <c:pt idx="266">
                  <c:v>0.9</c:v>
                </c:pt>
                <c:pt idx="267">
                  <c:v>0.85</c:v>
                </c:pt>
                <c:pt idx="268">
                  <c:v>0.92</c:v>
                </c:pt>
                <c:pt idx="269">
                  <c:v>0.91</c:v>
                </c:pt>
                <c:pt idx="270">
                  <c:v>0.94</c:v>
                </c:pt>
                <c:pt idx="271">
                  <c:v>0.99</c:v>
                </c:pt>
                <c:pt idx="272">
                  <c:v>0.89</c:v>
                </c:pt>
                <c:pt idx="273">
                  <c:v>0.83</c:v>
                </c:pt>
                <c:pt idx="274">
                  <c:v>0.95</c:v>
                </c:pt>
                <c:pt idx="275">
                  <c:v>0.96</c:v>
                </c:pt>
                <c:pt idx="276">
                  <c:v>0.95</c:v>
                </c:pt>
                <c:pt idx="277">
                  <c:v>0.91</c:v>
                </c:pt>
                <c:pt idx="278">
                  <c:v>0.95</c:v>
                </c:pt>
                <c:pt idx="279">
                  <c:v>0.98</c:v>
                </c:pt>
                <c:pt idx="280">
                  <c:v>0.93</c:v>
                </c:pt>
                <c:pt idx="281">
                  <c:v>0.97</c:v>
                </c:pt>
                <c:pt idx="282">
                  <c:v>0.96</c:v>
                </c:pt>
                <c:pt idx="283">
                  <c:v>0.96</c:v>
                </c:pt>
                <c:pt idx="284">
                  <c:v>0.9</c:v>
                </c:pt>
                <c:pt idx="285">
                  <c:v>0.93</c:v>
                </c:pt>
                <c:pt idx="286">
                  <c:v>0.94</c:v>
                </c:pt>
                <c:pt idx="287">
                  <c:v>0.97</c:v>
                </c:pt>
                <c:pt idx="288">
                  <c:v>0.94</c:v>
                </c:pt>
                <c:pt idx="289">
                  <c:v>0.86</c:v>
                </c:pt>
                <c:pt idx="290">
                  <c:v>0.95</c:v>
                </c:pt>
                <c:pt idx="291">
                  <c:v>0.97</c:v>
                </c:pt>
                <c:pt idx="292">
                  <c:v>0.93</c:v>
                </c:pt>
                <c:pt idx="293">
                  <c:v>0.62</c:v>
                </c:pt>
                <c:pt idx="294">
                  <c:v>0.95</c:v>
                </c:pt>
                <c:pt idx="295">
                  <c:v>0.89</c:v>
                </c:pt>
                <c:pt idx="296">
                  <c:v>0.93</c:v>
                </c:pt>
                <c:pt idx="297">
                  <c:v>0.78</c:v>
                </c:pt>
                <c:pt idx="298">
                  <c:v>0.98</c:v>
                </c:pt>
                <c:pt idx="299">
                  <c:v>0.96</c:v>
                </c:pt>
                <c:pt idx="300">
                  <c:v>0.93</c:v>
                </c:pt>
                <c:pt idx="301">
                  <c:v>0.9</c:v>
                </c:pt>
                <c:pt idx="302">
                  <c:v>0.94</c:v>
                </c:pt>
                <c:pt idx="303">
                  <c:v>0.91</c:v>
                </c:pt>
                <c:pt idx="304">
                  <c:v>0.9</c:v>
                </c:pt>
                <c:pt idx="305">
                  <c:v>0.87</c:v>
                </c:pt>
                <c:pt idx="306">
                  <c:v>0.91</c:v>
                </c:pt>
                <c:pt idx="307">
                  <c:v>0.92</c:v>
                </c:pt>
                <c:pt idx="308">
                  <c:v>0.86</c:v>
                </c:pt>
                <c:pt idx="309">
                  <c:v>0.99</c:v>
                </c:pt>
                <c:pt idx="310">
                  <c:v>0.97</c:v>
                </c:pt>
                <c:pt idx="311">
                  <c:v>0.63</c:v>
                </c:pt>
                <c:pt idx="312">
                  <c:v>0.87</c:v>
                </c:pt>
                <c:pt idx="313">
                  <c:v>0.71</c:v>
                </c:pt>
                <c:pt idx="314">
                  <c:v>0.96</c:v>
                </c:pt>
                <c:pt idx="315">
                  <c:v>0.93</c:v>
                </c:pt>
                <c:pt idx="316">
                  <c:v>0.98</c:v>
                </c:pt>
                <c:pt idx="317">
                  <c:v>0.62</c:v>
                </c:pt>
                <c:pt idx="318">
                  <c:v>0.97</c:v>
                </c:pt>
                <c:pt idx="319">
                  <c:v>0.77</c:v>
                </c:pt>
                <c:pt idx="320">
                  <c:v>0.56</c:v>
                </c:pt>
                <c:pt idx="321">
                  <c:v>0.89</c:v>
                </c:pt>
                <c:pt idx="322">
                  <c:v>0.86</c:v>
                </c:pt>
                <c:pt idx="323">
                  <c:v>0.68</c:v>
                </c:pt>
                <c:pt idx="324">
                  <c:v>0.95</c:v>
                </c:pt>
                <c:pt idx="325">
                  <c:v>0.98</c:v>
                </c:pt>
                <c:pt idx="326">
                  <c:v>0.87</c:v>
                </c:pt>
                <c:pt idx="327">
                  <c:v>0.91</c:v>
                </c:pt>
                <c:pt idx="328">
                  <c:v>0.87</c:v>
                </c:pt>
                <c:pt idx="329">
                  <c:v>0.74</c:v>
                </c:pt>
                <c:pt idx="330">
                  <c:v>0.9</c:v>
                </c:pt>
                <c:pt idx="331">
                  <c:v>0.74</c:v>
                </c:pt>
                <c:pt idx="332">
                  <c:v>0.87</c:v>
                </c:pt>
                <c:pt idx="333">
                  <c:v>0.96</c:v>
                </c:pt>
                <c:pt idx="334">
                  <c:v>0.79</c:v>
                </c:pt>
                <c:pt idx="335">
                  <c:v>0.8</c:v>
                </c:pt>
                <c:pt idx="336">
                  <c:v>0.9</c:v>
                </c:pt>
                <c:pt idx="337">
                  <c:v>0.72</c:v>
                </c:pt>
                <c:pt idx="338">
                  <c:v>0.8</c:v>
                </c:pt>
                <c:pt idx="339">
                  <c:v>0.98</c:v>
                </c:pt>
                <c:pt idx="340">
                  <c:v>0.97</c:v>
                </c:pt>
                <c:pt idx="341">
                  <c:v>0.86</c:v>
                </c:pt>
                <c:pt idx="342">
                  <c:v>0.87</c:v>
                </c:pt>
                <c:pt idx="343">
                  <c:v>0.42</c:v>
                </c:pt>
                <c:pt idx="344">
                  <c:v>0.94</c:v>
                </c:pt>
                <c:pt idx="345">
                  <c:v>0.97</c:v>
                </c:pt>
                <c:pt idx="346">
                  <c:v>0.8</c:v>
                </c:pt>
                <c:pt idx="347">
                  <c:v>0.99</c:v>
                </c:pt>
                <c:pt idx="348">
                  <c:v>0.58</c:v>
                </c:pt>
                <c:pt idx="349">
                  <c:v>0.98</c:v>
                </c:pt>
                <c:pt idx="350">
                  <c:v>0.87</c:v>
                </c:pt>
                <c:pt idx="351">
                  <c:v>0.77</c:v>
                </c:pt>
                <c:pt idx="352">
                  <c:v>0.67</c:v>
                </c:pt>
                <c:pt idx="353">
                  <c:v>0.95</c:v>
                </c:pt>
                <c:pt idx="354">
                  <c:v>0.98</c:v>
                </c:pt>
                <c:pt idx="355">
                  <c:v>0.85</c:v>
                </c:pt>
                <c:pt idx="356">
                  <c:v>0.94</c:v>
                </c:pt>
                <c:pt idx="357">
                  <c:v>0.53</c:v>
                </c:pt>
                <c:pt idx="358">
                  <c:v>0.98</c:v>
                </c:pt>
                <c:pt idx="359">
                  <c:v>0.83</c:v>
                </c:pt>
                <c:pt idx="360">
                  <c:v>0.7</c:v>
                </c:pt>
                <c:pt idx="361">
                  <c:v>0.94</c:v>
                </c:pt>
                <c:pt idx="362">
                  <c:v>0.94</c:v>
                </c:pt>
                <c:pt idx="363">
                  <c:v>0.97</c:v>
                </c:pt>
                <c:pt idx="364">
                  <c:v>0.95</c:v>
                </c:pt>
                <c:pt idx="365">
                  <c:v>0.97</c:v>
                </c:pt>
                <c:pt idx="366">
                  <c:v>0.66</c:v>
                </c:pt>
                <c:pt idx="367">
                  <c:v>0.89</c:v>
                </c:pt>
                <c:pt idx="368">
                  <c:v>0.88</c:v>
                </c:pt>
                <c:pt idx="369">
                  <c:v>0.74</c:v>
                </c:pt>
                <c:pt idx="370">
                  <c:v>0.92</c:v>
                </c:pt>
                <c:pt idx="371">
                  <c:v>0.94</c:v>
                </c:pt>
                <c:pt idx="372">
                  <c:v>0.57</c:v>
                </c:pt>
                <c:pt idx="373">
                  <c:v>0.79</c:v>
                </c:pt>
                <c:pt idx="374">
                  <c:v>0.87</c:v>
                </c:pt>
                <c:pt idx="375">
                  <c:v>0.87</c:v>
                </c:pt>
                <c:pt idx="376">
                  <c:v>0.39</c:v>
                </c:pt>
                <c:pt idx="377">
                  <c:v>0.79</c:v>
                </c:pt>
                <c:pt idx="378">
                  <c:v>0.54</c:v>
                </c:pt>
                <c:pt idx="379">
                  <c:v>0.57</c:v>
                </c:pt>
                <c:pt idx="380">
                  <c:v>0.7</c:v>
                </c:pt>
                <c:pt idx="381">
                  <c:v>0.78</c:v>
                </c:pt>
                <c:pt idx="382">
                  <c:v>0.82</c:v>
                </c:pt>
                <c:pt idx="383">
                  <c:v>0.42</c:v>
                </c:pt>
                <c:pt idx="384">
                  <c:v>0.94</c:v>
                </c:pt>
                <c:pt idx="385">
                  <c:v>0.7</c:v>
                </c:pt>
                <c:pt idx="386">
                  <c:v>0.77</c:v>
                </c:pt>
                <c:pt idx="387">
                  <c:v>0.96</c:v>
                </c:pt>
                <c:pt idx="388">
                  <c:v>0.89</c:v>
                </c:pt>
                <c:pt idx="389">
                  <c:v>0.99</c:v>
                </c:pt>
                <c:pt idx="390">
                  <c:v>0.75</c:v>
                </c:pt>
                <c:pt idx="391">
                  <c:v>0.78</c:v>
                </c:pt>
                <c:pt idx="392">
                  <c:v>0.95</c:v>
                </c:pt>
                <c:pt idx="393">
                  <c:v>0.69</c:v>
                </c:pt>
                <c:pt idx="394">
                  <c:v>0.8</c:v>
                </c:pt>
                <c:pt idx="395">
                  <c:v>0.85</c:v>
                </c:pt>
                <c:pt idx="396">
                  <c:v>0.85</c:v>
                </c:pt>
                <c:pt idx="397">
                  <c:v>0.87</c:v>
                </c:pt>
                <c:pt idx="398">
                  <c:v>0.59</c:v>
                </c:pt>
                <c:pt idx="399">
                  <c:v>0.8</c:v>
                </c:pt>
                <c:pt idx="400">
                  <c:v>0.9</c:v>
                </c:pt>
                <c:pt idx="401">
                  <c:v>0.74</c:v>
                </c:pt>
                <c:pt idx="402">
                  <c:v>0.74</c:v>
                </c:pt>
                <c:pt idx="403">
                  <c:v>0.39</c:v>
                </c:pt>
                <c:pt idx="404">
                  <c:v>0.76</c:v>
                </c:pt>
                <c:pt idx="405">
                  <c:v>0.75</c:v>
                </c:pt>
                <c:pt idx="406">
                  <c:v>0.84</c:v>
                </c:pt>
                <c:pt idx="407">
                  <c:v>0.79</c:v>
                </c:pt>
                <c:pt idx="408">
                  <c:v>0.41</c:v>
                </c:pt>
                <c:pt idx="409">
                  <c:v>0.77</c:v>
                </c:pt>
                <c:pt idx="410">
                  <c:v>0.9</c:v>
                </c:pt>
                <c:pt idx="411">
                  <c:v>0.43</c:v>
                </c:pt>
                <c:pt idx="412">
                  <c:v>0.9</c:v>
                </c:pt>
                <c:pt idx="413">
                  <c:v>0.82</c:v>
                </c:pt>
                <c:pt idx="414">
                  <c:v>0.87</c:v>
                </c:pt>
                <c:pt idx="415">
                  <c:v>0.93</c:v>
                </c:pt>
                <c:pt idx="416">
                  <c:v>0.51</c:v>
                </c:pt>
                <c:pt idx="417">
                  <c:v>0.89</c:v>
                </c:pt>
                <c:pt idx="418">
                  <c:v>0.81</c:v>
                </c:pt>
                <c:pt idx="419">
                  <c:v>0.57</c:v>
                </c:pt>
                <c:pt idx="420">
                  <c:v>0.95</c:v>
                </c:pt>
                <c:pt idx="421">
                  <c:v>0.88</c:v>
                </c:pt>
                <c:pt idx="422">
                  <c:v>0.57</c:v>
                </c:pt>
                <c:pt idx="423">
                  <c:v>0.21</c:v>
                </c:pt>
                <c:pt idx="424">
                  <c:v>0.24</c:v>
                </c:pt>
                <c:pt idx="425">
                  <c:v>0.9</c:v>
                </c:pt>
                <c:pt idx="426">
                  <c:v>0.96</c:v>
                </c:pt>
                <c:pt idx="427">
                  <c:v>0.76</c:v>
                </c:pt>
                <c:pt idx="428">
                  <c:v>0.19</c:v>
                </c:pt>
                <c:pt idx="429">
                  <c:v>0.82</c:v>
                </c:pt>
                <c:pt idx="430">
                  <c:v>0.68</c:v>
                </c:pt>
                <c:pt idx="431">
                  <c:v>0.94</c:v>
                </c:pt>
                <c:pt idx="432">
                  <c:v>0.81</c:v>
                </c:pt>
                <c:pt idx="433">
                  <c:v>0.87</c:v>
                </c:pt>
                <c:pt idx="434">
                  <c:v>0.89</c:v>
                </c:pt>
                <c:pt idx="435">
                  <c:v>0.85</c:v>
                </c:pt>
                <c:pt idx="436">
                  <c:v>0.97</c:v>
                </c:pt>
                <c:pt idx="437">
                  <c:v>0.78</c:v>
                </c:pt>
                <c:pt idx="438">
                  <c:v>0.63</c:v>
                </c:pt>
                <c:pt idx="439">
                  <c:v>0.56</c:v>
                </c:pt>
                <c:pt idx="440">
                  <c:v>0.92</c:v>
                </c:pt>
                <c:pt idx="441">
                  <c:v>0.91</c:v>
                </c:pt>
                <c:pt idx="442">
                  <c:v>0.9</c:v>
                </c:pt>
                <c:pt idx="443">
                  <c:v>0.68</c:v>
                </c:pt>
                <c:pt idx="444">
                  <c:v>0.72</c:v>
                </c:pt>
                <c:pt idx="445">
                  <c:v>0.91</c:v>
                </c:pt>
                <c:pt idx="446">
                  <c:v>0.06</c:v>
                </c:pt>
                <c:pt idx="447">
                  <c:v>0.85</c:v>
                </c:pt>
                <c:pt idx="448">
                  <c:v>0.58</c:v>
                </c:pt>
                <c:pt idx="449">
                  <c:v>0.8</c:v>
                </c:pt>
                <c:pt idx="450">
                  <c:v>0.63</c:v>
                </c:pt>
                <c:pt idx="451">
                  <c:v>0.78</c:v>
                </c:pt>
                <c:pt idx="452">
                  <c:v>0.45</c:v>
                </c:pt>
                <c:pt idx="453">
                  <c:v>0.65</c:v>
                </c:pt>
                <c:pt idx="454">
                  <c:v>0.63</c:v>
                </c:pt>
                <c:pt idx="455">
                  <c:v>0.44</c:v>
                </c:pt>
                <c:pt idx="456">
                  <c:v>0.57</c:v>
                </c:pt>
                <c:pt idx="457">
                  <c:v>0.68</c:v>
                </c:pt>
                <c:pt idx="458">
                  <c:v>0.76</c:v>
                </c:pt>
                <c:pt idx="459">
                  <c:v>0.87</c:v>
                </c:pt>
                <c:pt idx="460">
                  <c:v>0.64</c:v>
                </c:pt>
                <c:pt idx="461">
                  <c:v>0.87</c:v>
                </c:pt>
                <c:pt idx="462">
                  <c:v>0.24</c:v>
                </c:pt>
                <c:pt idx="463">
                  <c:v>0.59</c:v>
                </c:pt>
                <c:pt idx="464">
                  <c:v>0.95</c:v>
                </c:pt>
                <c:pt idx="465">
                  <c:v>0.54</c:v>
                </c:pt>
                <c:pt idx="466">
                  <c:v>0.6</c:v>
                </c:pt>
                <c:pt idx="467">
                  <c:v>0.49</c:v>
                </c:pt>
                <c:pt idx="468">
                  <c:v>0.95</c:v>
                </c:pt>
                <c:pt idx="469">
                  <c:v>0.87</c:v>
                </c:pt>
                <c:pt idx="470">
                  <c:v>0.85</c:v>
                </c:pt>
                <c:pt idx="471">
                  <c:v>0.76</c:v>
                </c:pt>
                <c:pt idx="472">
                  <c:v>0.34</c:v>
                </c:pt>
                <c:pt idx="473">
                  <c:v>0.84</c:v>
                </c:pt>
                <c:pt idx="474">
                  <c:v>0.89</c:v>
                </c:pt>
                <c:pt idx="475">
                  <c:v>0.95</c:v>
                </c:pt>
                <c:pt idx="476">
                  <c:v>0.79</c:v>
                </c:pt>
                <c:pt idx="477">
                  <c:v>0.62</c:v>
                </c:pt>
                <c:pt idx="478">
                  <c:v>0.01</c:v>
                </c:pt>
                <c:pt idx="479">
                  <c:v>0.83</c:v>
                </c:pt>
                <c:pt idx="480">
                  <c:v>0.94</c:v>
                </c:pt>
                <c:pt idx="481">
                  <c:v>0.89</c:v>
                </c:pt>
                <c:pt idx="482">
                  <c:v>0.81</c:v>
                </c:pt>
                <c:pt idx="483">
                  <c:v>0.69</c:v>
                </c:pt>
                <c:pt idx="484">
                  <c:v>0.83</c:v>
                </c:pt>
                <c:pt idx="485">
                  <c:v>0.66</c:v>
                </c:pt>
                <c:pt idx="486">
                  <c:v>0.55</c:v>
                </c:pt>
                <c:pt idx="487">
                  <c:v>0.44</c:v>
                </c:pt>
                <c:pt idx="488">
                  <c:v>0.07</c:v>
                </c:pt>
                <c:pt idx="489">
                  <c:v>0.9</c:v>
                </c:pt>
                <c:pt idx="490">
                  <c:v>0.61</c:v>
                </c:pt>
                <c:pt idx="491">
                  <c:v>0.7</c:v>
                </c:pt>
                <c:pt idx="492">
                  <c:v>0.74</c:v>
                </c:pt>
                <c:pt idx="493">
                  <c:v>0.2</c:v>
                </c:pt>
                <c:pt idx="494">
                  <c:v>0.41</c:v>
                </c:pt>
                <c:pt idx="495">
                  <c:v>0.41</c:v>
                </c:pt>
                <c:pt idx="496">
                  <c:v>0.46</c:v>
                </c:pt>
                <c:pt idx="497">
                  <c:v>0.4</c:v>
                </c:pt>
                <c:pt idx="498">
                  <c:v>0.46</c:v>
                </c:pt>
                <c:pt idx="499">
                  <c:v>0.86</c:v>
                </c:pt>
                <c:pt idx="500">
                  <c:v>0.7</c:v>
                </c:pt>
                <c:pt idx="501">
                  <c:v>0.94</c:v>
                </c:pt>
                <c:pt idx="502">
                  <c:v>0.06</c:v>
                </c:pt>
                <c:pt idx="503">
                  <c:v>0.37</c:v>
                </c:pt>
                <c:pt idx="504">
                  <c:v>0.75</c:v>
                </c:pt>
                <c:pt idx="505">
                  <c:v>0.6</c:v>
                </c:pt>
                <c:pt idx="506">
                  <c:v>0.45</c:v>
                </c:pt>
                <c:pt idx="507">
                  <c:v>0.26</c:v>
                </c:pt>
                <c:pt idx="508">
                  <c:v>0.39</c:v>
                </c:pt>
                <c:pt idx="509">
                  <c:v>0.44</c:v>
                </c:pt>
                <c:pt idx="510">
                  <c:v>0.93</c:v>
                </c:pt>
                <c:pt idx="511">
                  <c:v>0.56</c:v>
                </c:pt>
                <c:pt idx="512">
                  <c:v>0.68</c:v>
                </c:pt>
                <c:pt idx="513">
                  <c:v>0.31</c:v>
                </c:pt>
                <c:pt idx="514">
                  <c:v>0.46</c:v>
                </c:pt>
                <c:pt idx="515">
                  <c:v>0.59</c:v>
                </c:pt>
                <c:pt idx="516">
                  <c:v>0.88</c:v>
                </c:pt>
                <c:pt idx="517">
                  <c:v>0.31</c:v>
                </c:pt>
                <c:pt idx="518">
                  <c:v>0.68</c:v>
                </c:pt>
                <c:pt idx="519">
                  <c:v>0.24</c:v>
                </c:pt>
                <c:pt idx="520">
                  <c:v>0.43</c:v>
                </c:pt>
                <c:pt idx="521">
                  <c:v>0.33</c:v>
                </c:pt>
                <c:pt idx="522">
                  <c:v>0.84</c:v>
                </c:pt>
                <c:pt idx="523">
                  <c:v>0.44</c:v>
                </c:pt>
                <c:pt idx="524">
                  <c:v>0.93</c:v>
                </c:pt>
                <c:pt idx="525">
                  <c:v>0.56</c:v>
                </c:pt>
                <c:pt idx="526">
                  <c:v>0.73</c:v>
                </c:pt>
                <c:pt idx="527">
                  <c:v>0.46</c:v>
                </c:pt>
                <c:pt idx="528">
                  <c:v>0.75</c:v>
                </c:pt>
                <c:pt idx="529">
                  <c:v>0.19</c:v>
                </c:pt>
                <c:pt idx="530">
                  <c:v>0.48</c:v>
                </c:pt>
                <c:pt idx="531">
                  <c:v>0.8</c:v>
                </c:pt>
                <c:pt idx="532">
                  <c:v>0.4</c:v>
                </c:pt>
                <c:pt idx="533">
                  <c:v>0.84</c:v>
                </c:pt>
                <c:pt idx="534">
                  <c:v>0.5</c:v>
                </c:pt>
                <c:pt idx="535">
                  <c:v>0.73</c:v>
                </c:pt>
                <c:pt idx="536">
                  <c:v>0.82</c:v>
                </c:pt>
                <c:pt idx="537">
                  <c:v>0.9</c:v>
                </c:pt>
                <c:pt idx="538">
                  <c:v>0.68</c:v>
                </c:pt>
                <c:pt idx="539">
                  <c:v>0.36</c:v>
                </c:pt>
                <c:pt idx="540">
                  <c:v>0.36</c:v>
                </c:pt>
                <c:pt idx="541">
                  <c:v>0.11</c:v>
                </c:pt>
                <c:pt idx="542">
                  <c:v>0.94</c:v>
                </c:pt>
                <c:pt idx="543">
                  <c:v>0.06</c:v>
                </c:pt>
                <c:pt idx="544">
                  <c:v>0.1</c:v>
                </c:pt>
                <c:pt idx="545">
                  <c:v>0.7</c:v>
                </c:pt>
                <c:pt idx="546">
                  <c:v>0.11</c:v>
                </c:pt>
                <c:pt idx="547">
                  <c:v>0.18</c:v>
                </c:pt>
                <c:pt idx="548">
                  <c:v>0.92</c:v>
                </c:pt>
                <c:pt idx="549">
                  <c:v>0.81</c:v>
                </c:pt>
                <c:pt idx="550">
                  <c:v>0.43</c:v>
                </c:pt>
                <c:pt idx="551">
                  <c:v>0.71</c:v>
                </c:pt>
                <c:pt idx="552">
                  <c:v>0.24</c:v>
                </c:pt>
                <c:pt idx="553">
                  <c:v>0.53</c:v>
                </c:pt>
                <c:pt idx="554">
                  <c:v>0.24</c:v>
                </c:pt>
                <c:pt idx="555">
                  <c:v>0.39</c:v>
                </c:pt>
                <c:pt idx="556">
                  <c:v>0.92</c:v>
                </c:pt>
                <c:pt idx="557">
                  <c:v>0.27</c:v>
                </c:pt>
                <c:pt idx="558">
                  <c:v>0.89</c:v>
                </c:pt>
                <c:pt idx="559">
                  <c:v>0.35</c:v>
                </c:pt>
                <c:pt idx="560">
                  <c:v>0.7</c:v>
                </c:pt>
                <c:pt idx="561">
                  <c:v>0.74</c:v>
                </c:pt>
                <c:pt idx="562">
                  <c:v>0.82</c:v>
                </c:pt>
                <c:pt idx="563">
                  <c:v>0.05</c:v>
                </c:pt>
                <c:pt idx="564">
                  <c:v>0.86</c:v>
                </c:pt>
                <c:pt idx="565">
                  <c:v>0.22</c:v>
                </c:pt>
                <c:pt idx="566">
                  <c:v>0.89</c:v>
                </c:pt>
                <c:pt idx="567">
                  <c:v>0.3</c:v>
                </c:pt>
                <c:pt idx="568">
                  <c:v>0.32</c:v>
                </c:pt>
                <c:pt idx="569">
                  <c:v>0.21</c:v>
                </c:pt>
                <c:pt idx="570">
                  <c:v>0.75</c:v>
                </c:pt>
                <c:pt idx="571">
                  <c:v>0.94</c:v>
                </c:pt>
                <c:pt idx="572">
                  <c:v>0.09</c:v>
                </c:pt>
                <c:pt idx="573">
                  <c:v>0.21</c:v>
                </c:pt>
                <c:pt idx="574">
                  <c:v>0.17</c:v>
                </c:pt>
                <c:pt idx="575">
                  <c:v>0.53</c:v>
                </c:pt>
                <c:pt idx="576">
                  <c:v>0.83</c:v>
                </c:pt>
                <c:pt idx="577">
                  <c:v>0.13</c:v>
                </c:pt>
                <c:pt idx="578">
                  <c:v>0.22</c:v>
                </c:pt>
                <c:pt idx="579">
                  <c:v>0.04</c:v>
                </c:pt>
                <c:pt idx="580">
                  <c:v>0.12</c:v>
                </c:pt>
                <c:pt idx="581">
                  <c:v>0.13</c:v>
                </c:pt>
                <c:pt idx="582">
                  <c:v>0.07</c:v>
                </c:pt>
                <c:pt idx="583">
                  <c:v>0.28</c:v>
                </c:pt>
                <c:pt idx="584">
                  <c:v>0.12</c:v>
                </c:pt>
                <c:pt idx="585">
                  <c:v>0.3</c:v>
                </c:pt>
                <c:pt idx="586">
                  <c:v>0.1</c:v>
                </c:pt>
                <c:pt idx="587">
                  <c:v>0.39</c:v>
                </c:pt>
                <c:pt idx="588">
                  <c:v>0.1</c:v>
                </c:pt>
                <c:pt idx="589">
                  <c:v>0.18</c:v>
                </c:pt>
                <c:pt idx="590">
                  <c:v>0.47</c:v>
                </c:pt>
                <c:pt idx="591">
                  <c:v>0.65</c:v>
                </c:pt>
                <c:pt idx="592">
                  <c:v>0.47</c:v>
                </c:pt>
                <c:pt idx="593">
                  <c:v>0.93</c:v>
                </c:pt>
                <c:pt idx="594">
                  <c:v>0.35</c:v>
                </c:pt>
                <c:pt idx="595">
                  <c:v>0.19</c:v>
                </c:pt>
                <c:pt idx="596">
                  <c:v>0.54</c:v>
                </c:pt>
                <c:pt idx="597">
                  <c:v>0.34</c:v>
                </c:pt>
                <c:pt idx="598">
                  <c:v>0.27</c:v>
                </c:pt>
                <c:pt idx="599">
                  <c:v>0.48</c:v>
                </c:pt>
                <c:pt idx="600">
                  <c:v>0.24</c:v>
                </c:pt>
                <c:pt idx="601">
                  <c:v>0.13</c:v>
                </c:pt>
                <c:pt idx="602">
                  <c:v>0.04</c:v>
                </c:pt>
                <c:pt idx="603">
                  <c:v>0.37</c:v>
                </c:pt>
                <c:pt idx="604">
                  <c:v>0.42</c:v>
                </c:pt>
                <c:pt idx="605">
                  <c:v>0.77</c:v>
                </c:pt>
                <c:pt idx="606">
                  <c:v>0.17</c:v>
                </c:pt>
                <c:pt idx="607">
                  <c:v>0.56</c:v>
                </c:pt>
                <c:pt idx="608">
                  <c:v>0.13</c:v>
                </c:pt>
                <c:pt idx="609">
                  <c:v>0.18</c:v>
                </c:pt>
                <c:pt idx="610">
                  <c:v>0.4</c:v>
                </c:pt>
                <c:pt idx="611">
                  <c:v>0.29</c:v>
                </c:pt>
                <c:pt idx="612">
                  <c:v>0.6</c:v>
                </c:pt>
                <c:pt idx="613">
                  <c:v>0.91</c:v>
                </c:pt>
                <c:pt idx="614">
                  <c:v>0.36</c:v>
                </c:pt>
                <c:pt idx="615">
                  <c:v>0.09</c:v>
                </c:pt>
                <c:pt idx="616">
                  <c:v>0.11</c:v>
                </c:pt>
                <c:pt idx="617">
                  <c:v>0.21</c:v>
                </c:pt>
                <c:pt idx="618">
                  <c:v>0.07</c:v>
                </c:pt>
                <c:pt idx="619">
                  <c:v>0.04</c:v>
                </c:pt>
                <c:pt idx="620">
                  <c:v>0.17</c:v>
                </c:pt>
                <c:pt idx="621">
                  <c:v>0.88</c:v>
                </c:pt>
                <c:pt idx="622">
                  <c:v>0.24</c:v>
                </c:pt>
                <c:pt idx="623">
                  <c:v>0.13</c:v>
                </c:pt>
                <c:pt idx="624">
                  <c:v>0.11</c:v>
                </c:pt>
                <c:pt idx="625">
                  <c:v>0.75</c:v>
                </c:pt>
                <c:pt idx="626">
                  <c:v>0.4</c:v>
                </c:pt>
                <c:pt idx="627">
                  <c:v>0.24</c:v>
                </c:pt>
                <c:pt idx="628">
                  <c:v>0.19</c:v>
                </c:pt>
                <c:pt idx="629">
                  <c:v>0.3</c:v>
                </c:pt>
                <c:pt idx="630">
                  <c:v>0.43</c:v>
                </c:pt>
                <c:pt idx="631">
                  <c:v>0.12</c:v>
                </c:pt>
                <c:pt idx="632">
                  <c:v>0.28</c:v>
                </c:pt>
                <c:pt idx="633">
                  <c:v>0.86</c:v>
                </c:pt>
                <c:pt idx="634">
                  <c:v>0.06</c:v>
                </c:pt>
                <c:pt idx="635">
                  <c:v>0.09</c:v>
                </c:pt>
                <c:pt idx="636">
                  <c:v>0.12</c:v>
                </c:pt>
                <c:pt idx="637">
                  <c:v>0.42</c:v>
                </c:pt>
                <c:pt idx="638">
                  <c:v>0.3</c:v>
                </c:pt>
                <c:pt idx="639">
                  <c:v>0.95</c:v>
                </c:pt>
                <c:pt idx="640">
                  <c:v>0.02</c:v>
                </c:pt>
                <c:pt idx="641">
                  <c:v>0.53</c:v>
                </c:pt>
                <c:pt idx="642">
                  <c:v>0.09</c:v>
                </c:pt>
                <c:pt idx="643">
                  <c:v>0.18</c:v>
                </c:pt>
                <c:pt idx="644">
                  <c:v>0.56</c:v>
                </c:pt>
                <c:pt idx="645">
                  <c:v>0.28</c:v>
                </c:pt>
                <c:pt idx="646">
                  <c:v>0.05</c:v>
                </c:pt>
                <c:pt idx="647">
                  <c:v>0.19</c:v>
                </c:pt>
                <c:pt idx="648">
                  <c:v>0.31</c:v>
                </c:pt>
                <c:pt idx="649">
                  <c:v>0.24</c:v>
                </c:pt>
                <c:pt idx="650">
                  <c:v>0.24</c:v>
                </c:pt>
                <c:pt idx="651">
                  <c:v>0.22</c:v>
                </c:pt>
                <c:pt idx="652">
                  <c:v>0.27</c:v>
                </c:pt>
                <c:pt idx="653">
                  <c:v>0.43</c:v>
                </c:pt>
                <c:pt idx="654">
                  <c:v>0.17</c:v>
                </c:pt>
                <c:pt idx="655">
                  <c:v>0.33</c:v>
                </c:pt>
                <c:pt idx="656">
                  <c:v>0.27</c:v>
                </c:pt>
                <c:pt idx="657">
                  <c:v>0.26</c:v>
                </c:pt>
                <c:pt idx="658">
                  <c:v>0.17</c:v>
                </c:pt>
                <c:pt idx="659">
                  <c:v>0.26</c:v>
                </c:pt>
                <c:pt idx="660">
                  <c:v>0.13</c:v>
                </c:pt>
                <c:pt idx="661">
                  <c:v>0.5</c:v>
                </c:pt>
                <c:pt idx="662">
                  <c:v>0.24</c:v>
                </c:pt>
                <c:pt idx="663">
                  <c:v>0.05</c:v>
                </c:pt>
                <c:pt idx="664">
                  <c:v>0.12</c:v>
                </c:pt>
                <c:pt idx="665">
                  <c:v>0.16</c:v>
                </c:pt>
                <c:pt idx="666">
                  <c:v>0.39</c:v>
                </c:pt>
                <c:pt idx="667">
                  <c:v>0.94</c:v>
                </c:pt>
                <c:pt idx="668">
                  <c:v>0.26</c:v>
                </c:pt>
                <c:pt idx="669">
                  <c:v>0.07</c:v>
                </c:pt>
                <c:pt idx="670">
                  <c:v>0.19</c:v>
                </c:pt>
                <c:pt idx="671">
                  <c:v>0.15</c:v>
                </c:pt>
                <c:pt idx="672">
                  <c:v>0.56</c:v>
                </c:pt>
                <c:pt idx="673">
                  <c:v>0.03</c:v>
                </c:pt>
                <c:pt idx="674">
                  <c:v>0.11</c:v>
                </c:pt>
                <c:pt idx="675">
                  <c:v>0.24</c:v>
                </c:pt>
                <c:pt idx="676">
                  <c:v>0.02</c:v>
                </c:pt>
                <c:pt idx="677">
                  <c:v>0.81</c:v>
                </c:pt>
                <c:pt idx="678">
                  <c:v>0.06</c:v>
                </c:pt>
                <c:pt idx="679">
                  <c:v>0.16</c:v>
                </c:pt>
                <c:pt idx="680">
                  <c:v>0.05</c:v>
                </c:pt>
                <c:pt idx="681">
                  <c:v>0.67</c:v>
                </c:pt>
                <c:pt idx="682">
                  <c:v>0.13</c:v>
                </c:pt>
                <c:pt idx="683">
                  <c:v>0.25</c:v>
                </c:pt>
                <c:pt idx="684">
                  <c:v>0.9</c:v>
                </c:pt>
                <c:pt idx="685">
                  <c:v>0.02</c:v>
                </c:pt>
                <c:pt idx="686">
                  <c:v>0.29</c:v>
                </c:pt>
                <c:pt idx="687">
                  <c:v>0.04</c:v>
                </c:pt>
                <c:pt idx="688">
                  <c:v>0.23</c:v>
                </c:pt>
                <c:pt idx="689">
                  <c:v>0.53</c:v>
                </c:pt>
                <c:pt idx="690">
                  <c:v>0.28</c:v>
                </c:pt>
                <c:pt idx="691">
                  <c:v>0.08</c:v>
                </c:pt>
                <c:pt idx="692">
                  <c:v>0.07</c:v>
                </c:pt>
                <c:pt idx="693">
                  <c:v>0.17</c:v>
                </c:pt>
                <c:pt idx="694">
                  <c:v>0.16</c:v>
                </c:pt>
                <c:pt idx="695">
                  <c:v>0.07</c:v>
                </c:pt>
                <c:pt idx="696">
                  <c:v>0.15</c:v>
                </c:pt>
                <c:pt idx="697">
                  <c:v>0.82</c:v>
                </c:pt>
                <c:pt idx="698">
                  <c:v>0.23</c:v>
                </c:pt>
                <c:pt idx="699">
                  <c:v>0.26</c:v>
                </c:pt>
                <c:pt idx="700">
                  <c:v>0.03</c:v>
                </c:pt>
                <c:pt idx="701">
                  <c:v>0.14</c:v>
                </c:pt>
                <c:pt idx="702">
                  <c:v>0.07</c:v>
                </c:pt>
                <c:pt idx="703">
                  <c:v>0.07</c:v>
                </c:pt>
                <c:pt idx="704">
                  <c:v>0.85</c:v>
                </c:pt>
                <c:pt idx="705">
                  <c:v>0.24</c:v>
                </c:pt>
                <c:pt idx="706">
                  <c:v>0.67</c:v>
                </c:pt>
                <c:pt idx="707">
                  <c:v>0.67</c:v>
                </c:pt>
                <c:pt idx="708">
                  <c:v>0.21</c:v>
                </c:pt>
                <c:pt idx="709">
                  <c:v>0.23</c:v>
                </c:pt>
                <c:pt idx="710">
                  <c:v>0.14</c:v>
                </c:pt>
                <c:pt idx="711">
                  <c:v>0.35</c:v>
                </c:pt>
                <c:pt idx="712">
                  <c:v>0.36</c:v>
                </c:pt>
                <c:pt idx="713">
                  <c:v>0.08</c:v>
                </c:pt>
                <c:pt idx="714">
                  <c:v>0.25</c:v>
                </c:pt>
                <c:pt idx="715">
                  <c:v>0.22</c:v>
                </c:pt>
                <c:pt idx="716">
                  <c:v>0.21</c:v>
                </c:pt>
                <c:pt idx="717">
                  <c:v>0.31</c:v>
                </c:pt>
                <c:pt idx="718">
                  <c:v>0.16</c:v>
                </c:pt>
                <c:pt idx="719">
                  <c:v>0.1</c:v>
                </c:pt>
                <c:pt idx="720">
                  <c:v>0.26</c:v>
                </c:pt>
                <c:pt idx="721">
                  <c:v>0.1</c:v>
                </c:pt>
                <c:pt idx="722">
                  <c:v>0.3</c:v>
                </c:pt>
                <c:pt idx="723">
                  <c:v>0.31</c:v>
                </c:pt>
                <c:pt idx="724">
                  <c:v>0.01</c:v>
                </c:pt>
                <c:pt idx="725">
                  <c:v>0.18</c:v>
                </c:pt>
                <c:pt idx="726">
                  <c:v>0.1</c:v>
                </c:pt>
                <c:pt idx="727">
                  <c:v>0.25</c:v>
                </c:pt>
                <c:pt idx="728">
                  <c:v>0.18</c:v>
                </c:pt>
                <c:pt idx="729">
                  <c:v>0.28</c:v>
                </c:pt>
                <c:pt idx="730">
                  <c:v>0.33</c:v>
                </c:pt>
                <c:pt idx="731">
                  <c:v>0.2</c:v>
                </c:pt>
                <c:pt idx="732">
                  <c:v>0.12</c:v>
                </c:pt>
                <c:pt idx="733">
                  <c:v>0.2</c:v>
                </c:pt>
                <c:pt idx="734">
                  <c:v>0.13</c:v>
                </c:pt>
                <c:pt idx="735">
                  <c:v>0.08</c:v>
                </c:pt>
                <c:pt idx="736">
                  <c:v>0.18</c:v>
                </c:pt>
                <c:pt idx="737">
                  <c:v>0.14</c:v>
                </c:pt>
                <c:pt idx="738">
                  <c:v>0.83</c:v>
                </c:pt>
                <c:pt idx="739">
                  <c:v>0.49</c:v>
                </c:pt>
                <c:pt idx="740">
                  <c:v>0.04</c:v>
                </c:pt>
                <c:pt idx="741">
                  <c:v>0.13</c:v>
                </c:pt>
                <c:pt idx="742">
                  <c:v>0.07</c:v>
                </c:pt>
                <c:pt idx="743">
                  <c:v>0.15</c:v>
                </c:pt>
                <c:pt idx="744">
                  <c:v>0.03</c:v>
                </c:pt>
                <c:pt idx="745">
                  <c:v>0.11</c:v>
                </c:pt>
                <c:pt idx="746">
                  <c:v>0.16</c:v>
                </c:pt>
                <c:pt idx="747">
                  <c:v>0.04</c:v>
                </c:pt>
                <c:pt idx="748">
                  <c:v>0.1</c:v>
                </c:pt>
                <c:pt idx="749">
                  <c:v>0.15</c:v>
                </c:pt>
                <c:pt idx="750">
                  <c:v>0.86</c:v>
                </c:pt>
                <c:pt idx="751">
                  <c:v>0.07</c:v>
                </c:pt>
                <c:pt idx="752">
                  <c:v>0.06</c:v>
                </c:pt>
                <c:pt idx="753">
                  <c:v>0.13</c:v>
                </c:pt>
                <c:pt idx="754">
                  <c:v>0.31</c:v>
                </c:pt>
                <c:pt idx="755">
                  <c:v>0.04</c:v>
                </c:pt>
                <c:pt idx="756">
                  <c:v>0.05</c:v>
                </c:pt>
                <c:pt idx="757">
                  <c:v>0.5</c:v>
                </c:pt>
                <c:pt idx="758">
                  <c:v>0.05</c:v>
                </c:pt>
                <c:pt idx="759">
                  <c:v>0.25</c:v>
                </c:pt>
                <c:pt idx="760">
                  <c:v>0.03</c:v>
                </c:pt>
                <c:pt idx="761">
                  <c:v>0.61</c:v>
                </c:pt>
                <c:pt idx="762">
                  <c:v>0.31</c:v>
                </c:pt>
                <c:pt idx="763">
                  <c:v>0.14</c:v>
                </c:pt>
                <c:pt idx="764">
                  <c:v>0.06</c:v>
                </c:pt>
                <c:pt idx="765">
                  <c:v>0.13</c:v>
                </c:pt>
                <c:pt idx="766">
                  <c:v>0.84</c:v>
                </c:pt>
                <c:pt idx="767">
                  <c:v>0.29</c:v>
                </c:pt>
                <c:pt idx="768">
                  <c:v>0.15</c:v>
                </c:pt>
                <c:pt idx="769">
                  <c:v>0.1</c:v>
                </c:pt>
                <c:pt idx="770">
                  <c:v>0.21</c:v>
                </c:pt>
                <c:pt idx="771">
                  <c:v>0.12</c:v>
                </c:pt>
                <c:pt idx="772">
                  <c:v>0.57</c:v>
                </c:pt>
                <c:pt idx="773">
                  <c:v>0.05</c:v>
                </c:pt>
                <c:pt idx="774">
                  <c:v>0.18</c:v>
                </c:pt>
                <c:pt idx="775">
                  <c:v>0.59</c:v>
                </c:pt>
                <c:pt idx="776">
                  <c:v>0.07</c:v>
                </c:pt>
                <c:pt idx="777">
                  <c:v>0.1</c:v>
                </c:pt>
                <c:pt idx="778">
                  <c:v>0.04</c:v>
                </c:pt>
                <c:pt idx="779">
                  <c:v>0.08</c:v>
                </c:pt>
                <c:pt idx="780">
                  <c:v>0.1</c:v>
                </c:pt>
                <c:pt idx="781">
                  <c:v>0.46</c:v>
                </c:pt>
                <c:pt idx="782">
                  <c:v>0.12</c:v>
                </c:pt>
                <c:pt idx="783">
                  <c:v>0.12</c:v>
                </c:pt>
                <c:pt idx="784">
                  <c:v>0.41</c:v>
                </c:pt>
                <c:pt idx="785">
                  <c:v>0.12</c:v>
                </c:pt>
                <c:pt idx="786">
                  <c:v>0.15</c:v>
                </c:pt>
                <c:pt idx="787">
                  <c:v>0.07</c:v>
                </c:pt>
                <c:pt idx="788">
                  <c:v>0.16</c:v>
                </c:pt>
                <c:pt idx="789">
                  <c:v>0.26</c:v>
                </c:pt>
                <c:pt idx="790">
                  <c:v>0.16</c:v>
                </c:pt>
                <c:pt idx="791">
                  <c:v>0.07</c:v>
                </c:pt>
                <c:pt idx="792">
                  <c:v>0.68</c:v>
                </c:pt>
                <c:pt idx="793">
                  <c:v>0.05</c:v>
                </c:pt>
                <c:pt idx="794">
                  <c:v>0.06</c:v>
                </c:pt>
                <c:pt idx="795">
                  <c:v>0.12</c:v>
                </c:pt>
                <c:pt idx="796">
                  <c:v>0.08</c:v>
                </c:pt>
                <c:pt idx="797">
                  <c:v>0.03</c:v>
                </c:pt>
                <c:pt idx="798">
                  <c:v>0.04</c:v>
                </c:pt>
                <c:pt idx="799">
                  <c:v>0.02</c:v>
                </c:pt>
                <c:pt idx="800">
                  <c:v>0.17</c:v>
                </c:pt>
                <c:pt idx="801">
                  <c:v>0.06</c:v>
                </c:pt>
                <c:pt idx="802">
                  <c:v>0.08</c:v>
                </c:pt>
                <c:pt idx="803">
                  <c:v>0.8</c:v>
                </c:pt>
                <c:pt idx="804">
                  <c:v>0.03</c:v>
                </c:pt>
                <c:pt idx="805">
                  <c:v>0.03</c:v>
                </c:pt>
                <c:pt idx="806">
                  <c:v>0.09</c:v>
                </c:pt>
                <c:pt idx="807">
                  <c:v>0.11</c:v>
                </c:pt>
                <c:pt idx="808">
                  <c:v>0.25</c:v>
                </c:pt>
                <c:pt idx="809">
                  <c:v>0.86</c:v>
                </c:pt>
                <c:pt idx="810">
                  <c:v>0.24</c:v>
                </c:pt>
                <c:pt idx="811">
                  <c:v>0.06</c:v>
                </c:pt>
                <c:pt idx="812">
                  <c:v>0.06</c:v>
                </c:pt>
                <c:pt idx="813">
                  <c:v>0.07</c:v>
                </c:pt>
                <c:pt idx="814">
                  <c:v>0.05</c:v>
                </c:pt>
                <c:pt idx="815">
                  <c:v>0.02</c:v>
                </c:pt>
                <c:pt idx="816">
                  <c:v>0.56</c:v>
                </c:pt>
                <c:pt idx="817">
                  <c:v>0.15</c:v>
                </c:pt>
                <c:pt idx="818">
                  <c:v>0.8</c:v>
                </c:pt>
                <c:pt idx="819">
                  <c:v>0.07</c:v>
                </c:pt>
                <c:pt idx="820">
                  <c:v>0.28</c:v>
                </c:pt>
                <c:pt idx="821">
                  <c:v>0.04</c:v>
                </c:pt>
                <c:pt idx="822">
                  <c:v>0.13</c:v>
                </c:pt>
                <c:pt idx="823">
                  <c:v>0.17</c:v>
                </c:pt>
                <c:pt idx="824">
                  <c:v>0.04</c:v>
                </c:pt>
                <c:pt idx="825">
                  <c:v>0.7</c:v>
                </c:pt>
                <c:pt idx="826">
                  <c:v>0.23</c:v>
                </c:pt>
                <c:pt idx="827">
                  <c:v>0.01</c:v>
                </c:pt>
                <c:pt idx="828">
                  <c:v>0.14</c:v>
                </c:pt>
                <c:pt idx="829">
                  <c:v>0.04</c:v>
                </c:pt>
                <c:pt idx="830">
                  <c:v>0.07</c:v>
                </c:pt>
                <c:pt idx="831">
                  <c:v>0.3</c:v>
                </c:pt>
                <c:pt idx="832">
                  <c:v>0.15</c:v>
                </c:pt>
                <c:pt idx="833">
                  <c:v>0.14</c:v>
                </c:pt>
                <c:pt idx="834">
                  <c:v>0.04</c:v>
                </c:pt>
                <c:pt idx="835">
                  <c:v>0.03</c:v>
                </c:pt>
                <c:pt idx="836">
                  <c:v>0.72</c:v>
                </c:pt>
                <c:pt idx="837">
                  <c:v>0.14</c:v>
                </c:pt>
                <c:pt idx="838">
                  <c:v>0.04</c:v>
                </c:pt>
                <c:pt idx="839">
                  <c:v>0.28</c:v>
                </c:pt>
                <c:pt idx="840">
                  <c:v>0.28</c:v>
                </c:pt>
                <c:pt idx="841">
                  <c:v>0.04</c:v>
                </c:pt>
                <c:pt idx="842">
                  <c:v>0.07</c:v>
                </c:pt>
                <c:pt idx="843">
                  <c:v>0.04</c:v>
                </c:pt>
                <c:pt idx="844">
                  <c:v>0.05</c:v>
                </c:pt>
                <c:pt idx="845">
                  <c:v>0.7</c:v>
                </c:pt>
                <c:pt idx="846">
                  <c:v>0.01</c:v>
                </c:pt>
                <c:pt idx="847">
                  <c:v>0.08</c:v>
                </c:pt>
                <c:pt idx="848">
                  <c:v>0.08</c:v>
                </c:pt>
                <c:pt idx="849">
                  <c:v>0.01</c:v>
                </c:pt>
                <c:pt idx="850">
                  <c:v>0.12</c:v>
                </c:pt>
                <c:pt idx="851">
                  <c:v>0.11</c:v>
                </c:pt>
                <c:pt idx="852">
                  <c:v>0.15</c:v>
                </c:pt>
                <c:pt idx="853">
                  <c:v>0.05</c:v>
                </c:pt>
                <c:pt idx="854">
                  <c:v>0.05</c:v>
                </c:pt>
                <c:pt idx="855">
                  <c:v>0.05</c:v>
                </c:pt>
                <c:pt idx="856">
                  <c:v>0.04</c:v>
                </c:pt>
                <c:pt idx="857">
                  <c:v>0.4</c:v>
                </c:pt>
                <c:pt idx="858">
                  <c:v>0.05</c:v>
                </c:pt>
                <c:pt idx="859">
                  <c:v>0.06</c:v>
                </c:pt>
                <c:pt idx="860">
                  <c:v>0.04</c:v>
                </c:pt>
                <c:pt idx="861">
                  <c:v>0.05</c:v>
                </c:pt>
                <c:pt idx="862">
                  <c:v>0.28</c:v>
                </c:pt>
                <c:pt idx="863">
                  <c:v>0.24</c:v>
                </c:pt>
                <c:pt idx="864">
                  <c:v>0.04</c:v>
                </c:pt>
                <c:pt idx="865">
                  <c:v>0.06</c:v>
                </c:pt>
                <c:pt idx="866">
                  <c:v>0.06</c:v>
                </c:pt>
                <c:pt idx="867">
                  <c:v>0.03</c:v>
                </c:pt>
                <c:pt idx="868">
                  <c:v>0.36</c:v>
                </c:pt>
                <c:pt idx="869">
                  <c:v>0.07</c:v>
                </c:pt>
                <c:pt idx="870">
                  <c:v>0.06</c:v>
                </c:pt>
                <c:pt idx="871">
                  <c:v>0.03</c:v>
                </c:pt>
                <c:pt idx="872">
                  <c:v>0.7</c:v>
                </c:pt>
                <c:pt idx="873">
                  <c:v>0.08</c:v>
                </c:pt>
                <c:pt idx="874">
                  <c:v>0.01</c:v>
                </c:pt>
                <c:pt idx="875">
                  <c:v>0.02</c:v>
                </c:pt>
                <c:pt idx="876">
                  <c:v>0.1</c:v>
                </c:pt>
                <c:pt idx="877">
                  <c:v>0.05</c:v>
                </c:pt>
                <c:pt idx="878">
                  <c:v>0.1</c:v>
                </c:pt>
                <c:pt idx="879">
                  <c:v>0.08</c:v>
                </c:pt>
                <c:pt idx="880">
                  <c:v>0.07</c:v>
                </c:pt>
                <c:pt idx="881">
                  <c:v>0.11</c:v>
                </c:pt>
                <c:pt idx="882">
                  <c:v>0.12</c:v>
                </c:pt>
                <c:pt idx="883">
                  <c:v>0.09</c:v>
                </c:pt>
                <c:pt idx="884">
                  <c:v>0.13</c:v>
                </c:pt>
                <c:pt idx="885">
                  <c:v>0.1</c:v>
                </c:pt>
                <c:pt idx="886">
                  <c:v>0.09</c:v>
                </c:pt>
                <c:pt idx="887">
                  <c:v>0.12</c:v>
                </c:pt>
                <c:pt idx="888">
                  <c:v>0.37</c:v>
                </c:pt>
                <c:pt idx="889">
                  <c:v>0.08</c:v>
                </c:pt>
                <c:pt idx="890">
                  <c:v>0.13</c:v>
                </c:pt>
                <c:pt idx="891">
                  <c:v>0.06</c:v>
                </c:pt>
                <c:pt idx="892">
                  <c:v>0.14</c:v>
                </c:pt>
                <c:pt idx="893">
                  <c:v>0.06</c:v>
                </c:pt>
                <c:pt idx="894">
                  <c:v>0.04</c:v>
                </c:pt>
                <c:pt idx="895">
                  <c:v>0.16</c:v>
                </c:pt>
                <c:pt idx="896">
                  <c:v>0.03</c:v>
                </c:pt>
                <c:pt idx="897">
                  <c:v>0.16</c:v>
                </c:pt>
                <c:pt idx="898">
                  <c:v>0.01</c:v>
                </c:pt>
                <c:pt idx="899">
                  <c:v>0.04</c:v>
                </c:pt>
                <c:pt idx="900">
                  <c:v>0.04</c:v>
                </c:pt>
                <c:pt idx="901">
                  <c:v>0.08</c:v>
                </c:pt>
                <c:pt idx="902">
                  <c:v>0.16</c:v>
                </c:pt>
                <c:pt idx="903">
                  <c:v>0.44</c:v>
                </c:pt>
                <c:pt idx="904">
                  <c:v>0.01</c:v>
                </c:pt>
                <c:pt idx="905">
                  <c:v>0.73</c:v>
                </c:pt>
                <c:pt idx="906">
                  <c:v>0.02</c:v>
                </c:pt>
                <c:pt idx="907">
                  <c:v>0.08</c:v>
                </c:pt>
                <c:pt idx="908">
                  <c:v>0.15</c:v>
                </c:pt>
                <c:pt idx="909">
                  <c:v>0.1</c:v>
                </c:pt>
                <c:pt idx="910">
                  <c:v>0.09</c:v>
                </c:pt>
                <c:pt idx="911">
                  <c:v>0.05</c:v>
                </c:pt>
                <c:pt idx="912">
                  <c:v>0.04</c:v>
                </c:pt>
                <c:pt idx="913">
                  <c:v>0.23</c:v>
                </c:pt>
                <c:pt idx="914">
                  <c:v>0.02</c:v>
                </c:pt>
                <c:pt idx="915">
                  <c:v>0.05</c:v>
                </c:pt>
                <c:pt idx="916">
                  <c:v>0.02</c:v>
                </c:pt>
                <c:pt idx="917">
                  <c:v>0.11</c:v>
                </c:pt>
                <c:pt idx="918">
                  <c:v>0.02</c:v>
                </c:pt>
                <c:pt idx="919">
                  <c:v>0.07</c:v>
                </c:pt>
                <c:pt idx="920">
                  <c:v>0.1</c:v>
                </c:pt>
                <c:pt idx="921">
                  <c:v>0.03</c:v>
                </c:pt>
                <c:pt idx="922">
                  <c:v>0.39</c:v>
                </c:pt>
                <c:pt idx="923">
                  <c:v>0.14</c:v>
                </c:pt>
                <c:pt idx="924">
                  <c:v>0.04</c:v>
                </c:pt>
                <c:pt idx="925">
                  <c:v>0.25</c:v>
                </c:pt>
                <c:pt idx="926">
                  <c:v>0.04</c:v>
                </c:pt>
                <c:pt idx="927">
                  <c:v>0.06</c:v>
                </c:pt>
                <c:pt idx="928">
                  <c:v>0.03</c:v>
                </c:pt>
                <c:pt idx="929">
                  <c:v>0.01</c:v>
                </c:pt>
                <c:pt idx="930">
                  <c:v>0.08</c:v>
                </c:pt>
                <c:pt idx="931">
                  <c:v>0.04</c:v>
                </c:pt>
                <c:pt idx="932">
                  <c:v>0.15</c:v>
                </c:pt>
                <c:pt idx="933">
                  <c:v>0.16</c:v>
                </c:pt>
                <c:pt idx="934">
                  <c:v>0.06</c:v>
                </c:pt>
                <c:pt idx="935">
                  <c:v>0.02</c:v>
                </c:pt>
                <c:pt idx="936">
                  <c:v>0.12</c:v>
                </c:pt>
                <c:pt idx="937">
                  <c:v>0.04</c:v>
                </c:pt>
                <c:pt idx="938">
                  <c:v>0.04</c:v>
                </c:pt>
                <c:pt idx="939">
                  <c:v>0.11</c:v>
                </c:pt>
                <c:pt idx="940">
                  <c:v>0.66</c:v>
                </c:pt>
                <c:pt idx="941">
                  <c:v>0.03</c:v>
                </c:pt>
                <c:pt idx="942">
                  <c:v>0.05</c:v>
                </c:pt>
                <c:pt idx="943">
                  <c:v>0.02</c:v>
                </c:pt>
                <c:pt idx="944">
                  <c:v>0.4</c:v>
                </c:pt>
                <c:pt idx="945">
                  <c:v>0.01</c:v>
                </c:pt>
                <c:pt idx="946">
                  <c:v>0.07</c:v>
                </c:pt>
                <c:pt idx="947">
                  <c:v>0.07</c:v>
                </c:pt>
                <c:pt idx="948">
                  <c:v>0.12</c:v>
                </c:pt>
                <c:pt idx="949">
                  <c:v>0.06</c:v>
                </c:pt>
                <c:pt idx="950">
                  <c:v>0.08</c:v>
                </c:pt>
                <c:pt idx="951">
                  <c:v>0.12</c:v>
                </c:pt>
                <c:pt idx="952">
                  <c:v>0.15</c:v>
                </c:pt>
                <c:pt idx="953">
                  <c:v>0.04</c:v>
                </c:pt>
                <c:pt idx="954">
                  <c:v>0.11</c:v>
                </c:pt>
                <c:pt idx="955">
                  <c:v>0.1</c:v>
                </c:pt>
                <c:pt idx="956">
                  <c:v>0.16</c:v>
                </c:pt>
                <c:pt idx="957">
                  <c:v>0.03</c:v>
                </c:pt>
                <c:pt idx="958">
                  <c:v>0.02</c:v>
                </c:pt>
                <c:pt idx="959">
                  <c:v>0.14</c:v>
                </c:pt>
                <c:pt idx="960">
                  <c:v>0.08</c:v>
                </c:pt>
                <c:pt idx="961">
                  <c:v>0.04</c:v>
                </c:pt>
                <c:pt idx="962">
                  <c:v>0.11</c:v>
                </c:pt>
                <c:pt idx="963">
                  <c:v>0.07</c:v>
                </c:pt>
                <c:pt idx="964">
                  <c:v>0.13</c:v>
                </c:pt>
                <c:pt idx="965">
                  <c:v>0.02</c:v>
                </c:pt>
                <c:pt idx="966">
                  <c:v>0.02</c:v>
                </c:pt>
                <c:pt idx="967">
                  <c:v>0.31</c:v>
                </c:pt>
                <c:pt idx="968">
                  <c:v>0.12</c:v>
                </c:pt>
                <c:pt idx="969">
                  <c:v>0.02</c:v>
                </c:pt>
                <c:pt idx="970">
                  <c:v>0.02</c:v>
                </c:pt>
                <c:pt idx="971">
                  <c:v>0.03</c:v>
                </c:pt>
                <c:pt idx="972">
                  <c:v>0.05</c:v>
                </c:pt>
                <c:pt idx="973">
                  <c:v>0.01</c:v>
                </c:pt>
                <c:pt idx="974">
                  <c:v>0.12</c:v>
                </c:pt>
                <c:pt idx="975">
                  <c:v>0.01</c:v>
                </c:pt>
                <c:pt idx="976">
                  <c:v>0.1</c:v>
                </c:pt>
                <c:pt idx="977">
                  <c:v>0.06</c:v>
                </c:pt>
                <c:pt idx="978">
                  <c:v>0.01</c:v>
                </c:pt>
                <c:pt idx="979">
                  <c:v>0.08</c:v>
                </c:pt>
                <c:pt idx="980">
                  <c:v>0.02</c:v>
                </c:pt>
                <c:pt idx="981">
                  <c:v>0.03</c:v>
                </c:pt>
                <c:pt idx="982">
                  <c:v>0.07</c:v>
                </c:pt>
                <c:pt idx="983">
                  <c:v>0.09</c:v>
                </c:pt>
                <c:pt idx="984">
                  <c:v>0.07</c:v>
                </c:pt>
                <c:pt idx="985">
                  <c:v>0.08</c:v>
                </c:pt>
                <c:pt idx="986">
                  <c:v>0.06</c:v>
                </c:pt>
                <c:pt idx="987">
                  <c:v>0.09</c:v>
                </c:pt>
                <c:pt idx="988">
                  <c:v>0.01</c:v>
                </c:pt>
                <c:pt idx="989">
                  <c:v>0.09</c:v>
                </c:pt>
                <c:pt idx="990">
                  <c:v>0.07</c:v>
                </c:pt>
                <c:pt idx="991">
                  <c:v>0.03</c:v>
                </c:pt>
                <c:pt idx="992">
                  <c:v>0.11</c:v>
                </c:pt>
                <c:pt idx="993">
                  <c:v>0.14</c:v>
                </c:pt>
                <c:pt idx="994">
                  <c:v>0.07</c:v>
                </c:pt>
                <c:pt idx="995">
                  <c:v>0.06</c:v>
                </c:pt>
                <c:pt idx="996">
                  <c:v>0.03</c:v>
                </c:pt>
                <c:pt idx="997">
                  <c:v>0.02</c:v>
                </c:pt>
                <c:pt idx="998">
                  <c:v>0.02</c:v>
                </c:pt>
                <c:pt idx="999">
                  <c:v>0.14</c:v>
                </c:pt>
                <c:pt idx="1000">
                  <c:v>0.02</c:v>
                </c:pt>
                <c:pt idx="1001">
                  <c:v>0.11</c:v>
                </c:pt>
                <c:pt idx="1002">
                  <c:v>0.05</c:v>
                </c:pt>
                <c:pt idx="1003">
                  <c:v>0.01</c:v>
                </c:pt>
                <c:pt idx="1004">
                  <c:v>0.06</c:v>
                </c:pt>
                <c:pt idx="1005">
                  <c:v>0.03</c:v>
                </c:pt>
                <c:pt idx="1006">
                  <c:v>0.06</c:v>
                </c:pt>
                <c:pt idx="1007">
                  <c:v>0.12</c:v>
                </c:pt>
                <c:pt idx="1008">
                  <c:v>0.05</c:v>
                </c:pt>
                <c:pt idx="1009">
                  <c:v>0.26</c:v>
                </c:pt>
                <c:pt idx="1010">
                  <c:v>0.18</c:v>
                </c:pt>
                <c:pt idx="1011">
                  <c:v>0.08</c:v>
                </c:pt>
                <c:pt idx="1012">
                  <c:v>0.05</c:v>
                </c:pt>
                <c:pt idx="1013">
                  <c:v>0.1</c:v>
                </c:pt>
                <c:pt idx="1014">
                  <c:v>0.26</c:v>
                </c:pt>
                <c:pt idx="1015">
                  <c:v>0.09</c:v>
                </c:pt>
                <c:pt idx="1016">
                  <c:v>0.1</c:v>
                </c:pt>
                <c:pt idx="1017">
                  <c:v>0.06</c:v>
                </c:pt>
                <c:pt idx="1018">
                  <c:v>0.03</c:v>
                </c:pt>
                <c:pt idx="1019">
                  <c:v>0.03</c:v>
                </c:pt>
                <c:pt idx="1020">
                  <c:v>0.01</c:v>
                </c:pt>
                <c:pt idx="1021">
                  <c:v>0.07</c:v>
                </c:pt>
                <c:pt idx="1022">
                  <c:v>0.02</c:v>
                </c:pt>
                <c:pt idx="1023">
                  <c:v>0.04</c:v>
                </c:pt>
                <c:pt idx="1024">
                  <c:v>0.09</c:v>
                </c:pt>
                <c:pt idx="1025">
                  <c:v>0.11</c:v>
                </c:pt>
                <c:pt idx="1026">
                  <c:v>0.01</c:v>
                </c:pt>
                <c:pt idx="1027">
                  <c:v>0.01</c:v>
                </c:pt>
                <c:pt idx="1028">
                  <c:v>0.03</c:v>
                </c:pt>
                <c:pt idx="1029">
                  <c:v>0.21</c:v>
                </c:pt>
                <c:pt idx="1030">
                  <c:v>0.36</c:v>
                </c:pt>
                <c:pt idx="1031">
                  <c:v>0.09</c:v>
                </c:pt>
                <c:pt idx="1032">
                  <c:v>0.03</c:v>
                </c:pt>
                <c:pt idx="1033">
                  <c:v>0.08</c:v>
                </c:pt>
                <c:pt idx="1034">
                  <c:v>0.14</c:v>
                </c:pt>
                <c:pt idx="1035">
                  <c:v>0.08</c:v>
                </c:pt>
                <c:pt idx="1036">
                  <c:v>0.03</c:v>
                </c:pt>
                <c:pt idx="1037">
                  <c:v>0.1</c:v>
                </c:pt>
                <c:pt idx="1038">
                  <c:v>0.01</c:v>
                </c:pt>
                <c:pt idx="1039">
                  <c:v>0.01</c:v>
                </c:pt>
                <c:pt idx="1040">
                  <c:v>0.07</c:v>
                </c:pt>
                <c:pt idx="1041">
                  <c:v>0.03</c:v>
                </c:pt>
                <c:pt idx="1042">
                  <c:v>0.05</c:v>
                </c:pt>
                <c:pt idx="1043">
                  <c:v>0.34</c:v>
                </c:pt>
                <c:pt idx="1044">
                  <c:v>0.11</c:v>
                </c:pt>
                <c:pt idx="1045">
                  <c:v>0.07</c:v>
                </c:pt>
                <c:pt idx="1046">
                  <c:v>0.1</c:v>
                </c:pt>
                <c:pt idx="1047">
                  <c:v>0.02</c:v>
                </c:pt>
                <c:pt idx="1048">
                  <c:v>0.38</c:v>
                </c:pt>
                <c:pt idx="1049">
                  <c:v>0.05</c:v>
                </c:pt>
                <c:pt idx="1050">
                  <c:v>0.06</c:v>
                </c:pt>
                <c:pt idx="1051">
                  <c:v>0.11</c:v>
                </c:pt>
                <c:pt idx="1052">
                  <c:v>0.01</c:v>
                </c:pt>
                <c:pt idx="1053">
                  <c:v>0.08</c:v>
                </c:pt>
                <c:pt idx="1054">
                  <c:v>0.02</c:v>
                </c:pt>
                <c:pt idx="1055">
                  <c:v>0.06</c:v>
                </c:pt>
                <c:pt idx="1056">
                  <c:v>0.09</c:v>
                </c:pt>
                <c:pt idx="1057">
                  <c:v>0.12</c:v>
                </c:pt>
                <c:pt idx="1058">
                  <c:v>0.03</c:v>
                </c:pt>
                <c:pt idx="1059">
                  <c:v>0.01</c:v>
                </c:pt>
                <c:pt idx="1060">
                  <c:v>0.07</c:v>
                </c:pt>
                <c:pt idx="1061">
                  <c:v>0.07</c:v>
                </c:pt>
                <c:pt idx="1062">
                  <c:v>0.11</c:v>
                </c:pt>
                <c:pt idx="1063">
                  <c:v>0.12</c:v>
                </c:pt>
                <c:pt idx="1064">
                  <c:v>0.01</c:v>
                </c:pt>
                <c:pt idx="1065">
                  <c:v>0.01</c:v>
                </c:pt>
                <c:pt idx="1066">
                  <c:v>0.12</c:v>
                </c:pt>
                <c:pt idx="1067">
                  <c:v>0.1</c:v>
                </c:pt>
                <c:pt idx="1068">
                  <c:v>0.18</c:v>
                </c:pt>
                <c:pt idx="1069">
                  <c:v>0.11</c:v>
                </c:pt>
                <c:pt idx="1070">
                  <c:v>0.13</c:v>
                </c:pt>
                <c:pt idx="1071">
                  <c:v>0.03</c:v>
                </c:pt>
                <c:pt idx="1072">
                  <c:v>0.05</c:v>
                </c:pt>
                <c:pt idx="1073">
                  <c:v>0.07</c:v>
                </c:pt>
                <c:pt idx="1074">
                  <c:v>0.01</c:v>
                </c:pt>
                <c:pt idx="1075">
                  <c:v>0.01</c:v>
                </c:pt>
                <c:pt idx="1076">
                  <c:v>0.06</c:v>
                </c:pt>
                <c:pt idx="1077">
                  <c:v>0.02</c:v>
                </c:pt>
                <c:pt idx="1078">
                  <c:v>0.01</c:v>
                </c:pt>
                <c:pt idx="1079">
                  <c:v>0.07</c:v>
                </c:pt>
                <c:pt idx="1080">
                  <c:v>0.15</c:v>
                </c:pt>
                <c:pt idx="1081">
                  <c:v>0.08</c:v>
                </c:pt>
                <c:pt idx="1082">
                  <c:v>0.06</c:v>
                </c:pt>
                <c:pt idx="1083">
                  <c:v>0.01</c:v>
                </c:pt>
                <c:pt idx="1084">
                  <c:v>0.06</c:v>
                </c:pt>
                <c:pt idx="1085">
                  <c:v>0.02</c:v>
                </c:pt>
                <c:pt idx="1086">
                  <c:v>0.02</c:v>
                </c:pt>
                <c:pt idx="1087">
                  <c:v>0.01</c:v>
                </c:pt>
                <c:pt idx="1088">
                  <c:v>0.05</c:v>
                </c:pt>
                <c:pt idx="1089">
                  <c:v>0.1</c:v>
                </c:pt>
                <c:pt idx="1090">
                  <c:v>0.05</c:v>
                </c:pt>
                <c:pt idx="1091">
                  <c:v>0.01</c:v>
                </c:pt>
                <c:pt idx="1092">
                  <c:v>0.01</c:v>
                </c:pt>
                <c:pt idx="1093">
                  <c:v>0.05</c:v>
                </c:pt>
                <c:pt idx="1094">
                  <c:v>0.15</c:v>
                </c:pt>
                <c:pt idx="1095">
                  <c:v>0.2</c:v>
                </c:pt>
                <c:pt idx="1096">
                  <c:v>0.01</c:v>
                </c:pt>
                <c:pt idx="1097">
                  <c:v>0.02</c:v>
                </c:pt>
                <c:pt idx="1098">
                  <c:v>0.02</c:v>
                </c:pt>
                <c:pt idx="1099">
                  <c:v>0.03</c:v>
                </c:pt>
                <c:pt idx="1100">
                  <c:v>0.06</c:v>
                </c:pt>
                <c:pt idx="1101">
                  <c:v>0.02</c:v>
                </c:pt>
                <c:pt idx="1102">
                  <c:v>0.04</c:v>
                </c:pt>
                <c:pt idx="1103">
                  <c:v>0.1</c:v>
                </c:pt>
                <c:pt idx="1104">
                  <c:v>0.02</c:v>
                </c:pt>
                <c:pt idx="1105">
                  <c:v>0.02</c:v>
                </c:pt>
                <c:pt idx="1106">
                  <c:v>0.01</c:v>
                </c:pt>
                <c:pt idx="1107">
                  <c:v>0.02</c:v>
                </c:pt>
                <c:pt idx="1108">
                  <c:v>0.01</c:v>
                </c:pt>
                <c:pt idx="1109">
                  <c:v>0.02</c:v>
                </c:pt>
                <c:pt idx="1110">
                  <c:v>0.01</c:v>
                </c:pt>
                <c:pt idx="1111">
                  <c:v>0.09</c:v>
                </c:pt>
                <c:pt idx="1112">
                  <c:v>0.12</c:v>
                </c:pt>
                <c:pt idx="1113">
                  <c:v>0.01</c:v>
                </c:pt>
                <c:pt idx="1114">
                  <c:v>0.04</c:v>
                </c:pt>
                <c:pt idx="1115">
                  <c:v>0.04</c:v>
                </c:pt>
                <c:pt idx="1116">
                  <c:v>0.11</c:v>
                </c:pt>
                <c:pt idx="1117">
                  <c:v>0.09</c:v>
                </c:pt>
                <c:pt idx="1118">
                  <c:v>0.01</c:v>
                </c:pt>
                <c:pt idx="1119">
                  <c:v>0.01</c:v>
                </c:pt>
                <c:pt idx="1120">
                  <c:v>0.01</c:v>
                </c:pt>
                <c:pt idx="1121">
                  <c:v>0.11</c:v>
                </c:pt>
                <c:pt idx="1122">
                  <c:v>0.01</c:v>
                </c:pt>
                <c:pt idx="1123">
                  <c:v>0.04</c:v>
                </c:pt>
                <c:pt idx="1124">
                  <c:v>0.01</c:v>
                </c:pt>
                <c:pt idx="1125">
                  <c:v>0.09</c:v>
                </c:pt>
                <c:pt idx="1126">
                  <c:v>0.01</c:v>
                </c:pt>
                <c:pt idx="1127">
                  <c:v>0.01</c:v>
                </c:pt>
                <c:pt idx="1128">
                  <c:v>0.01</c:v>
                </c:pt>
                <c:pt idx="1129">
                  <c:v>0.03</c:v>
                </c:pt>
                <c:pt idx="1130">
                  <c:v>0.01</c:v>
                </c:pt>
                <c:pt idx="1131">
                  <c:v>0.02</c:v>
                </c:pt>
                <c:pt idx="1132">
                  <c:v>0.07</c:v>
                </c:pt>
                <c:pt idx="1133">
                  <c:v>0.1</c:v>
                </c:pt>
                <c:pt idx="1134">
                  <c:v>0.11</c:v>
                </c:pt>
                <c:pt idx="1135">
                  <c:v>0.06</c:v>
                </c:pt>
                <c:pt idx="1136">
                  <c:v>0.06</c:v>
                </c:pt>
                <c:pt idx="1137">
                  <c:v>0.02</c:v>
                </c:pt>
                <c:pt idx="1138">
                  <c:v>0.09</c:v>
                </c:pt>
                <c:pt idx="1139">
                  <c:v>0.03</c:v>
                </c:pt>
                <c:pt idx="1140">
                  <c:v>0.17</c:v>
                </c:pt>
                <c:pt idx="1141">
                  <c:v>0.02</c:v>
                </c:pt>
                <c:pt idx="1142">
                  <c:v>0.03</c:v>
                </c:pt>
                <c:pt idx="1143">
                  <c:v>0.13</c:v>
                </c:pt>
                <c:pt idx="1144">
                  <c:v>0.05</c:v>
                </c:pt>
                <c:pt idx="1145">
                  <c:v>0.11</c:v>
                </c:pt>
                <c:pt idx="1146">
                  <c:v>0.01</c:v>
                </c:pt>
                <c:pt idx="1147">
                  <c:v>0.01</c:v>
                </c:pt>
                <c:pt idx="1148">
                  <c:v>0.02</c:v>
                </c:pt>
                <c:pt idx="1149">
                  <c:v>0.01</c:v>
                </c:pt>
                <c:pt idx="1150">
                  <c:v>0.01</c:v>
                </c:pt>
                <c:pt idx="1151">
                  <c:v>0.06</c:v>
                </c:pt>
                <c:pt idx="1152">
                  <c:v>0.01</c:v>
                </c:pt>
                <c:pt idx="1153">
                  <c:v>0.01</c:v>
                </c:pt>
                <c:pt idx="1154">
                  <c:v>0.01</c:v>
                </c:pt>
                <c:pt idx="1155">
                  <c:v>0.01</c:v>
                </c:pt>
                <c:pt idx="1156">
                  <c:v>0.11</c:v>
                </c:pt>
                <c:pt idx="1157">
                  <c:v>0.07</c:v>
                </c:pt>
                <c:pt idx="1158">
                  <c:v>0.03</c:v>
                </c:pt>
                <c:pt idx="1159">
                  <c:v>0.03</c:v>
                </c:pt>
                <c:pt idx="1160">
                  <c:v>0.01</c:v>
                </c:pt>
                <c:pt idx="1161">
                  <c:v>0.09</c:v>
                </c:pt>
                <c:pt idx="1162">
                  <c:v>0.05</c:v>
                </c:pt>
                <c:pt idx="1163">
                  <c:v>0.01</c:v>
                </c:pt>
                <c:pt idx="1164">
                  <c:v>0.01</c:v>
                </c:pt>
                <c:pt idx="1165">
                  <c:v>0.02</c:v>
                </c:pt>
                <c:pt idx="1166">
                  <c:v>0.02</c:v>
                </c:pt>
                <c:pt idx="1167">
                  <c:v>0.03</c:v>
                </c:pt>
                <c:pt idx="1168">
                  <c:v>0.02</c:v>
                </c:pt>
                <c:pt idx="1169">
                  <c:v>0.04</c:v>
                </c:pt>
                <c:pt idx="1170">
                  <c:v>0.11</c:v>
                </c:pt>
                <c:pt idx="1171">
                  <c:v>0.04</c:v>
                </c:pt>
                <c:pt idx="1172">
                  <c:v>0.1</c:v>
                </c:pt>
                <c:pt idx="1173">
                  <c:v>0.01</c:v>
                </c:pt>
                <c:pt idx="1174">
                  <c:v>0.12</c:v>
                </c:pt>
                <c:pt idx="1175">
                  <c:v>0.01</c:v>
                </c:pt>
                <c:pt idx="1176">
                  <c:v>0.01</c:v>
                </c:pt>
                <c:pt idx="1177">
                  <c:v>0.01</c:v>
                </c:pt>
                <c:pt idx="1178">
                  <c:v>0.03</c:v>
                </c:pt>
                <c:pt idx="1179">
                  <c:v>0.06</c:v>
                </c:pt>
                <c:pt idx="1180">
                  <c:v>0.01</c:v>
                </c:pt>
                <c:pt idx="1181">
                  <c:v>0.07</c:v>
                </c:pt>
                <c:pt idx="1182">
                  <c:v>0.01</c:v>
                </c:pt>
                <c:pt idx="1183">
                  <c:v>0.02</c:v>
                </c:pt>
                <c:pt idx="1184">
                  <c:v>0.02</c:v>
                </c:pt>
                <c:pt idx="1185">
                  <c:v>0.05</c:v>
                </c:pt>
                <c:pt idx="1186">
                  <c:v>0.02</c:v>
                </c:pt>
                <c:pt idx="1187">
                  <c:v>0.06</c:v>
                </c:pt>
                <c:pt idx="1188">
                  <c:v>0.28</c:v>
                </c:pt>
                <c:pt idx="1189">
                  <c:v>0.02</c:v>
                </c:pt>
                <c:pt idx="1190">
                  <c:v>0.01</c:v>
                </c:pt>
                <c:pt idx="1191">
                  <c:v>0.04</c:v>
                </c:pt>
                <c:pt idx="1192">
                  <c:v>0.01</c:v>
                </c:pt>
                <c:pt idx="1193">
                  <c:v>0.02</c:v>
                </c:pt>
                <c:pt idx="1194">
                  <c:v>0.11</c:v>
                </c:pt>
                <c:pt idx="1195">
                  <c:v>0.25</c:v>
                </c:pt>
                <c:pt idx="1196">
                  <c:v>0.01</c:v>
                </c:pt>
                <c:pt idx="1197">
                  <c:v>0.02</c:v>
                </c:pt>
                <c:pt idx="1198">
                  <c:v>0.01</c:v>
                </c:pt>
                <c:pt idx="1199">
                  <c:v>0.03</c:v>
                </c:pt>
                <c:pt idx="1200">
                  <c:v>0.01</c:v>
                </c:pt>
                <c:pt idx="1201">
                  <c:v>0.01</c:v>
                </c:pt>
                <c:pt idx="1202">
                  <c:v>0.01</c:v>
                </c:pt>
                <c:pt idx="1203">
                  <c:v>0.02</c:v>
                </c:pt>
                <c:pt idx="1204">
                  <c:v>0.01</c:v>
                </c:pt>
                <c:pt idx="1205">
                  <c:v>0.04</c:v>
                </c:pt>
                <c:pt idx="1206">
                  <c:v>0.02</c:v>
                </c:pt>
                <c:pt idx="1207">
                  <c:v>0.1</c:v>
                </c:pt>
                <c:pt idx="1208">
                  <c:v>0.1</c:v>
                </c:pt>
                <c:pt idx="1209">
                  <c:v>0.05</c:v>
                </c:pt>
                <c:pt idx="1210">
                  <c:v>0.04</c:v>
                </c:pt>
                <c:pt idx="1211">
                  <c:v>0.01</c:v>
                </c:pt>
                <c:pt idx="1212">
                  <c:v>0.04</c:v>
                </c:pt>
                <c:pt idx="1213">
                  <c:v>0.01</c:v>
                </c:pt>
                <c:pt idx="1214">
                  <c:v>0.02</c:v>
                </c:pt>
                <c:pt idx="1215">
                  <c:v>0.02</c:v>
                </c:pt>
                <c:pt idx="1216">
                  <c:v>0.07</c:v>
                </c:pt>
                <c:pt idx="1217">
                  <c:v>0.01</c:v>
                </c:pt>
                <c:pt idx="1218">
                  <c:v>0.01</c:v>
                </c:pt>
                <c:pt idx="1219">
                  <c:v>0.01</c:v>
                </c:pt>
                <c:pt idx="1220">
                  <c:v>0.02</c:v>
                </c:pt>
                <c:pt idx="1221">
                  <c:v>0.02</c:v>
                </c:pt>
                <c:pt idx="1222">
                  <c:v>0.02</c:v>
                </c:pt>
                <c:pt idx="1223">
                  <c:v>0.02</c:v>
                </c:pt>
                <c:pt idx="1224">
                  <c:v>0.03</c:v>
                </c:pt>
                <c:pt idx="1225">
                  <c:v>0.05</c:v>
                </c:pt>
                <c:pt idx="1226">
                  <c:v>0.18</c:v>
                </c:pt>
                <c:pt idx="1227">
                  <c:v>0.01</c:v>
                </c:pt>
                <c:pt idx="1228">
                  <c:v>0.01</c:v>
                </c:pt>
                <c:pt idx="1229">
                  <c:v>0.07</c:v>
                </c:pt>
                <c:pt idx="1230">
                  <c:v>0.02</c:v>
                </c:pt>
                <c:pt idx="1231">
                  <c:v>0.01</c:v>
                </c:pt>
                <c:pt idx="1232">
                  <c:v>0.02</c:v>
                </c:pt>
                <c:pt idx="1233">
                  <c:v>0.01</c:v>
                </c:pt>
                <c:pt idx="1234">
                  <c:v>0.01</c:v>
                </c:pt>
                <c:pt idx="1235">
                  <c:v>0.03</c:v>
                </c:pt>
                <c:pt idx="1236">
                  <c:v>0.37</c:v>
                </c:pt>
                <c:pt idx="1237">
                  <c:v>0.01</c:v>
                </c:pt>
                <c:pt idx="1238">
                  <c:v>0.01</c:v>
                </c:pt>
                <c:pt idx="1239">
                  <c:v>0.01</c:v>
                </c:pt>
                <c:pt idx="1240">
                  <c:v>0.03</c:v>
                </c:pt>
                <c:pt idx="1241">
                  <c:v>0.01</c:v>
                </c:pt>
                <c:pt idx="1242">
                  <c:v>0.1</c:v>
                </c:pt>
                <c:pt idx="1243">
                  <c:v>0.09</c:v>
                </c:pt>
                <c:pt idx="1244">
                  <c:v>0.02</c:v>
                </c:pt>
                <c:pt idx="1245">
                  <c:v>0.05</c:v>
                </c:pt>
                <c:pt idx="1246">
                  <c:v>0.06</c:v>
                </c:pt>
                <c:pt idx="1247">
                  <c:v>0.02</c:v>
                </c:pt>
                <c:pt idx="1248">
                  <c:v>0.02</c:v>
                </c:pt>
                <c:pt idx="1249">
                  <c:v>0.03</c:v>
                </c:pt>
                <c:pt idx="1250">
                  <c:v>0.01</c:v>
                </c:pt>
                <c:pt idx="1251">
                  <c:v>0.02</c:v>
                </c:pt>
                <c:pt idx="1252">
                  <c:v>0.01</c:v>
                </c:pt>
                <c:pt idx="1253">
                  <c:v>0.03</c:v>
                </c:pt>
                <c:pt idx="1254">
                  <c:v>0.04</c:v>
                </c:pt>
                <c:pt idx="1255">
                  <c:v>0.04</c:v>
                </c:pt>
                <c:pt idx="1256">
                  <c:v>0.01</c:v>
                </c:pt>
                <c:pt idx="1257">
                  <c:v>0.01</c:v>
                </c:pt>
                <c:pt idx="1258">
                  <c:v>0.01</c:v>
                </c:pt>
                <c:pt idx="1259">
                  <c:v>0.03</c:v>
                </c:pt>
                <c:pt idx="1260">
                  <c:v>0.01</c:v>
                </c:pt>
                <c:pt idx="1261">
                  <c:v>0.01</c:v>
                </c:pt>
                <c:pt idx="1262">
                  <c:v>0.03</c:v>
                </c:pt>
                <c:pt idx="1263">
                  <c:v>0.01</c:v>
                </c:pt>
                <c:pt idx="1264">
                  <c:v>0.01</c:v>
                </c:pt>
                <c:pt idx="1265">
                  <c:v>0.01</c:v>
                </c:pt>
                <c:pt idx="1266">
                  <c:v>0.06</c:v>
                </c:pt>
                <c:pt idx="1267">
                  <c:v>0.01</c:v>
                </c:pt>
                <c:pt idx="1268">
                  <c:v>0.01</c:v>
                </c:pt>
                <c:pt idx="1269">
                  <c:v>0.03</c:v>
                </c:pt>
                <c:pt idx="1270">
                  <c:v>0.05</c:v>
                </c:pt>
                <c:pt idx="1271">
                  <c:v>0.05</c:v>
                </c:pt>
                <c:pt idx="1272">
                  <c:v>0.01</c:v>
                </c:pt>
                <c:pt idx="1273">
                  <c:v>0.01</c:v>
                </c:pt>
                <c:pt idx="1274">
                  <c:v>0.01</c:v>
                </c:pt>
                <c:pt idx="1275">
                  <c:v>0.07</c:v>
                </c:pt>
                <c:pt idx="1276">
                  <c:v>0.01</c:v>
                </c:pt>
                <c:pt idx="1277">
                  <c:v>0.01</c:v>
                </c:pt>
                <c:pt idx="1278">
                  <c:v>0.03</c:v>
                </c:pt>
                <c:pt idx="1279">
                  <c:v>0.01</c:v>
                </c:pt>
                <c:pt idx="1280">
                  <c:v>0.01</c:v>
                </c:pt>
                <c:pt idx="1281">
                  <c:v>0.01</c:v>
                </c:pt>
                <c:pt idx="1282">
                  <c:v>0.01</c:v>
                </c:pt>
                <c:pt idx="1283">
                  <c:v>0.01</c:v>
                </c:pt>
                <c:pt idx="1284">
                  <c:v>0.08</c:v>
                </c:pt>
                <c:pt idx="1285">
                  <c:v>0.01</c:v>
                </c:pt>
                <c:pt idx="1286">
                  <c:v>0.01</c:v>
                </c:pt>
                <c:pt idx="1287">
                  <c:v>0.02</c:v>
                </c:pt>
                <c:pt idx="1288">
                  <c:v>0.01</c:v>
                </c:pt>
                <c:pt idx="1289">
                  <c:v>0.01</c:v>
                </c:pt>
                <c:pt idx="1290">
                  <c:v>0.01</c:v>
                </c:pt>
                <c:pt idx="1291">
                  <c:v>0.03</c:v>
                </c:pt>
                <c:pt idx="1292">
                  <c:v>0.01</c:v>
                </c:pt>
                <c:pt idx="1293">
                  <c:v>0.02</c:v>
                </c:pt>
                <c:pt idx="1294">
                  <c:v>0.05</c:v>
                </c:pt>
                <c:pt idx="1295">
                  <c:v>0.01</c:v>
                </c:pt>
                <c:pt idx="1296">
                  <c:v>0.02</c:v>
                </c:pt>
                <c:pt idx="1297">
                  <c:v>0.01</c:v>
                </c:pt>
                <c:pt idx="1298">
                  <c:v>0.02</c:v>
                </c:pt>
                <c:pt idx="1299">
                  <c:v>0.07</c:v>
                </c:pt>
                <c:pt idx="1300">
                  <c:v>0.01</c:v>
                </c:pt>
                <c:pt idx="1301">
                  <c:v>0.01</c:v>
                </c:pt>
                <c:pt idx="1302">
                  <c:v>0.01</c:v>
                </c:pt>
                <c:pt idx="1303">
                  <c:v>0.01</c:v>
                </c:pt>
                <c:pt idx="1304">
                  <c:v>0.05</c:v>
                </c:pt>
                <c:pt idx="1305">
                  <c:v>0.01</c:v>
                </c:pt>
                <c:pt idx="1306">
                  <c:v>0.01</c:v>
                </c:pt>
                <c:pt idx="1307">
                  <c:v>0.01</c:v>
                </c:pt>
                <c:pt idx="1308">
                  <c:v>0.05</c:v>
                </c:pt>
                <c:pt idx="1309">
                  <c:v>0.01</c:v>
                </c:pt>
                <c:pt idx="1310">
                  <c:v>0.02</c:v>
                </c:pt>
                <c:pt idx="1311">
                  <c:v>0.01</c:v>
                </c:pt>
                <c:pt idx="1312">
                  <c:v>0.01</c:v>
                </c:pt>
                <c:pt idx="1313">
                  <c:v>0.01</c:v>
                </c:pt>
                <c:pt idx="1314">
                  <c:v>0.03</c:v>
                </c:pt>
                <c:pt idx="1315">
                  <c:v>0.03</c:v>
                </c:pt>
                <c:pt idx="1316">
                  <c:v>0.01</c:v>
                </c:pt>
                <c:pt idx="1317">
                  <c:v>0.02</c:v>
                </c:pt>
                <c:pt idx="1318">
                  <c:v>0.02</c:v>
                </c:pt>
                <c:pt idx="1319">
                  <c:v>0.03</c:v>
                </c:pt>
                <c:pt idx="1320">
                  <c:v>0.05</c:v>
                </c:pt>
                <c:pt idx="1321">
                  <c:v>0.03</c:v>
                </c:pt>
                <c:pt idx="1322">
                  <c:v>0.01</c:v>
                </c:pt>
                <c:pt idx="1323">
                  <c:v>0.04</c:v>
                </c:pt>
                <c:pt idx="1324">
                  <c:v>0.02</c:v>
                </c:pt>
                <c:pt idx="1325">
                  <c:v>0.02</c:v>
                </c:pt>
                <c:pt idx="1326">
                  <c:v>0.02</c:v>
                </c:pt>
                <c:pt idx="1327">
                  <c:v>0.02</c:v>
                </c:pt>
                <c:pt idx="1328">
                  <c:v>0.01</c:v>
                </c:pt>
                <c:pt idx="1329">
                  <c:v>0.02</c:v>
                </c:pt>
                <c:pt idx="1330">
                  <c:v>0.01</c:v>
                </c:pt>
                <c:pt idx="1331">
                  <c:v>0.01</c:v>
                </c:pt>
                <c:pt idx="1332">
                  <c:v>0.01</c:v>
                </c:pt>
                <c:pt idx="1333">
                  <c:v>0.01</c:v>
                </c:pt>
                <c:pt idx="1334">
                  <c:v>0.04</c:v>
                </c:pt>
                <c:pt idx="1335">
                  <c:v>0.01</c:v>
                </c:pt>
                <c:pt idx="1336">
                  <c:v>0.04</c:v>
                </c:pt>
                <c:pt idx="1337">
                  <c:v>0.01</c:v>
                </c:pt>
                <c:pt idx="1338">
                  <c:v>0.01</c:v>
                </c:pt>
                <c:pt idx="1339">
                  <c:v>0.01</c:v>
                </c:pt>
                <c:pt idx="1340">
                  <c:v>0.01</c:v>
                </c:pt>
                <c:pt idx="1341">
                  <c:v>0.02</c:v>
                </c:pt>
                <c:pt idx="1342">
                  <c:v>0.01</c:v>
                </c:pt>
                <c:pt idx="1343">
                  <c:v>0.02</c:v>
                </c:pt>
                <c:pt idx="1344">
                  <c:v>0.01</c:v>
                </c:pt>
                <c:pt idx="1345">
                  <c:v>0.02</c:v>
                </c:pt>
                <c:pt idx="1346">
                  <c:v>0.01</c:v>
                </c:pt>
                <c:pt idx="1347">
                  <c:v>0.01</c:v>
                </c:pt>
                <c:pt idx="1348">
                  <c:v>0.04</c:v>
                </c:pt>
                <c:pt idx="1349">
                  <c:v>0.02</c:v>
                </c:pt>
                <c:pt idx="1350">
                  <c:v>0.01</c:v>
                </c:pt>
                <c:pt idx="1351">
                  <c:v>0.01</c:v>
                </c:pt>
                <c:pt idx="1352">
                  <c:v>0.01</c:v>
                </c:pt>
                <c:pt idx="1353">
                  <c:v>0.01</c:v>
                </c:pt>
                <c:pt idx="1354">
                  <c:v>0.01</c:v>
                </c:pt>
                <c:pt idx="1355">
                  <c:v>0.01</c:v>
                </c:pt>
                <c:pt idx="1356">
                  <c:v>0.04</c:v>
                </c:pt>
                <c:pt idx="1357">
                  <c:v>0.01</c:v>
                </c:pt>
                <c:pt idx="1358">
                  <c:v>0.02</c:v>
                </c:pt>
                <c:pt idx="1359">
                  <c:v>0.01</c:v>
                </c:pt>
                <c:pt idx="1360">
                  <c:v>0.01</c:v>
                </c:pt>
                <c:pt idx="1361">
                  <c:v>0.01</c:v>
                </c:pt>
                <c:pt idx="1362">
                  <c:v>0.01</c:v>
                </c:pt>
                <c:pt idx="1363">
                  <c:v>0.02</c:v>
                </c:pt>
                <c:pt idx="1364">
                  <c:v>0.01</c:v>
                </c:pt>
                <c:pt idx="1365">
                  <c:v>0.02</c:v>
                </c:pt>
                <c:pt idx="1366">
                  <c:v>0.01</c:v>
                </c:pt>
                <c:pt idx="1367">
                  <c:v>0.02</c:v>
                </c:pt>
                <c:pt idx="1368">
                  <c:v>0.01</c:v>
                </c:pt>
                <c:pt idx="1369">
                  <c:v>0.04</c:v>
                </c:pt>
                <c:pt idx="1370">
                  <c:v>0.01</c:v>
                </c:pt>
                <c:pt idx="1371">
                  <c:v>0.04</c:v>
                </c:pt>
                <c:pt idx="1372">
                  <c:v>0.01</c:v>
                </c:pt>
                <c:pt idx="1373">
                  <c:v>0.01</c:v>
                </c:pt>
                <c:pt idx="1374">
                  <c:v>0.01</c:v>
                </c:pt>
                <c:pt idx="1375">
                  <c:v>0.01</c:v>
                </c:pt>
                <c:pt idx="1376">
                  <c:v>0.01</c:v>
                </c:pt>
                <c:pt idx="1377">
                  <c:v>0.01</c:v>
                </c:pt>
                <c:pt idx="1378">
                  <c:v>0.01</c:v>
                </c:pt>
                <c:pt idx="1379">
                  <c:v>0.01</c:v>
                </c:pt>
                <c:pt idx="1380">
                  <c:v>0.02</c:v>
                </c:pt>
                <c:pt idx="1381">
                  <c:v>0.01</c:v>
                </c:pt>
                <c:pt idx="1382">
                  <c:v>0.01</c:v>
                </c:pt>
                <c:pt idx="1383">
                  <c:v>0.01</c:v>
                </c:pt>
                <c:pt idx="1384">
                  <c:v>0.01</c:v>
                </c:pt>
                <c:pt idx="1385">
                  <c:v>0.02</c:v>
                </c:pt>
                <c:pt idx="1386">
                  <c:v>0.01</c:v>
                </c:pt>
                <c:pt idx="1387">
                  <c:v>0.02</c:v>
                </c:pt>
                <c:pt idx="1388">
                  <c:v>0.05</c:v>
                </c:pt>
                <c:pt idx="1389">
                  <c:v>0.02</c:v>
                </c:pt>
                <c:pt idx="1390">
                  <c:v>0.01</c:v>
                </c:pt>
                <c:pt idx="1391">
                  <c:v>0.01</c:v>
                </c:pt>
                <c:pt idx="1392">
                  <c:v>0.01</c:v>
                </c:pt>
                <c:pt idx="1393">
                  <c:v>0.02</c:v>
                </c:pt>
                <c:pt idx="1394">
                  <c:v>0.02</c:v>
                </c:pt>
                <c:pt idx="1395">
                  <c:v>0.01</c:v>
                </c:pt>
                <c:pt idx="1396">
                  <c:v>0.02</c:v>
                </c:pt>
                <c:pt idx="1397">
                  <c:v>0.01</c:v>
                </c:pt>
                <c:pt idx="1398">
                  <c:v>0.01</c:v>
                </c:pt>
                <c:pt idx="1399">
                  <c:v>0.01</c:v>
                </c:pt>
                <c:pt idx="1400">
                  <c:v>0.01</c:v>
                </c:pt>
                <c:pt idx="1401">
                  <c:v>0.01</c:v>
                </c:pt>
                <c:pt idx="1402">
                  <c:v>0.01</c:v>
                </c:pt>
                <c:pt idx="1403">
                  <c:v>0.01</c:v>
                </c:pt>
                <c:pt idx="1404">
                  <c:v>0.01</c:v>
                </c:pt>
                <c:pt idx="1405">
                  <c:v>0.12</c:v>
                </c:pt>
                <c:pt idx="1406">
                  <c:v>0.01</c:v>
                </c:pt>
                <c:pt idx="1407">
                  <c:v>0.02</c:v>
                </c:pt>
                <c:pt idx="1408">
                  <c:v>0.01</c:v>
                </c:pt>
                <c:pt idx="1409">
                  <c:v>0.02</c:v>
                </c:pt>
                <c:pt idx="1410">
                  <c:v>0.01</c:v>
                </c:pt>
                <c:pt idx="1411">
                  <c:v>0.01</c:v>
                </c:pt>
                <c:pt idx="1412">
                  <c:v>0.01</c:v>
                </c:pt>
                <c:pt idx="1413">
                  <c:v>0.02</c:v>
                </c:pt>
                <c:pt idx="1414">
                  <c:v>0.01</c:v>
                </c:pt>
                <c:pt idx="1415">
                  <c:v>0.04</c:v>
                </c:pt>
                <c:pt idx="1416">
                  <c:v>0.01</c:v>
                </c:pt>
                <c:pt idx="1417">
                  <c:v>0.01</c:v>
                </c:pt>
                <c:pt idx="1418">
                  <c:v>0.01</c:v>
                </c:pt>
                <c:pt idx="1419">
                  <c:v>0.01</c:v>
                </c:pt>
                <c:pt idx="1420">
                  <c:v>0.01</c:v>
                </c:pt>
                <c:pt idx="1421">
                  <c:v>0.01</c:v>
                </c:pt>
                <c:pt idx="1422">
                  <c:v>0.04</c:v>
                </c:pt>
                <c:pt idx="1423">
                  <c:v>0.04</c:v>
                </c:pt>
                <c:pt idx="1424">
                  <c:v>0.01</c:v>
                </c:pt>
                <c:pt idx="1425">
                  <c:v>0.01</c:v>
                </c:pt>
                <c:pt idx="1426">
                  <c:v>0.01</c:v>
                </c:pt>
                <c:pt idx="1427">
                  <c:v>0.01</c:v>
                </c:pt>
                <c:pt idx="1428">
                  <c:v>0.01</c:v>
                </c:pt>
                <c:pt idx="1429">
                  <c:v>0.01</c:v>
                </c:pt>
                <c:pt idx="1430">
                  <c:v>0.01</c:v>
                </c:pt>
                <c:pt idx="1431">
                  <c:v>0.01</c:v>
                </c:pt>
                <c:pt idx="1432">
                  <c:v>0.01</c:v>
                </c:pt>
                <c:pt idx="1433">
                  <c:v>0.02</c:v>
                </c:pt>
                <c:pt idx="1434">
                  <c:v>0.01</c:v>
                </c:pt>
                <c:pt idx="1435">
                  <c:v>0.01</c:v>
                </c:pt>
                <c:pt idx="1436">
                  <c:v>0.01</c:v>
                </c:pt>
                <c:pt idx="1437">
                  <c:v>0.01</c:v>
                </c:pt>
                <c:pt idx="1438">
                  <c:v>0.01</c:v>
                </c:pt>
                <c:pt idx="1439">
                  <c:v>0.01</c:v>
                </c:pt>
                <c:pt idx="1440">
                  <c:v>0.01</c:v>
                </c:pt>
                <c:pt idx="1441">
                  <c:v>0.01</c:v>
                </c:pt>
                <c:pt idx="1442">
                  <c:v>0.01</c:v>
                </c:pt>
                <c:pt idx="1443">
                  <c:v>0.01</c:v>
                </c:pt>
                <c:pt idx="1444">
                  <c:v>0.01</c:v>
                </c:pt>
                <c:pt idx="1445">
                  <c:v>0.03</c:v>
                </c:pt>
                <c:pt idx="1446">
                  <c:v>0.01</c:v>
                </c:pt>
                <c:pt idx="1447">
                  <c:v>0.01</c:v>
                </c:pt>
                <c:pt idx="1448">
                  <c:v>0.01</c:v>
                </c:pt>
                <c:pt idx="1449">
                  <c:v>0.01</c:v>
                </c:pt>
                <c:pt idx="1450">
                  <c:v>0.02</c:v>
                </c:pt>
                <c:pt idx="1451">
                  <c:v>0.02</c:v>
                </c:pt>
                <c:pt idx="1452">
                  <c:v>0.01</c:v>
                </c:pt>
                <c:pt idx="1453">
                  <c:v>0.02</c:v>
                </c:pt>
                <c:pt idx="1454">
                  <c:v>0.01</c:v>
                </c:pt>
                <c:pt idx="1455">
                  <c:v>0.01</c:v>
                </c:pt>
                <c:pt idx="1456">
                  <c:v>0.01</c:v>
                </c:pt>
                <c:pt idx="1457">
                  <c:v>0.01</c:v>
                </c:pt>
                <c:pt idx="1458">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Item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00A097"/>
              </a:solidFill>
            </c:spPr>
            <c:extLst>
              <c:ext xmlns:c16="http://schemas.microsoft.com/office/drawing/2014/chart" uri="{C3380CC4-5D6E-409C-BE32-E72D297353CC}">
                <c16:uniqueId val="{000000EB-2993-41DE-A2CB-63102DE87051}"/>
              </c:ext>
            </c:extLst>
          </c:dPt>
          <c:dPt>
            <c:idx val="117"/>
            <c:invertIfNegative val="1"/>
            <c:bubble3D val="0"/>
            <c:spPr>
              <a:solidFill>
                <a:srgbClr val="00A097"/>
              </a:solidFill>
            </c:spPr>
            <c:extLst>
              <c:ext xmlns:c16="http://schemas.microsoft.com/office/drawing/2014/chart" uri="{C3380CC4-5D6E-409C-BE32-E72D297353CC}">
                <c16:uniqueId val="{000000ED-2993-41DE-A2CB-63102DE87051}"/>
              </c:ext>
            </c:extLst>
          </c:dPt>
          <c:dPt>
            <c:idx val="118"/>
            <c:invertIfNegative val="1"/>
            <c:bubble3D val="0"/>
            <c:spPr>
              <a:solidFill>
                <a:srgbClr val="00A097"/>
              </a:solidFill>
            </c:spPr>
            <c:extLst>
              <c:ext xmlns:c16="http://schemas.microsoft.com/office/drawing/2014/chart" uri="{C3380CC4-5D6E-409C-BE32-E72D297353CC}">
                <c16:uniqueId val="{000000EF-2993-41DE-A2CB-63102DE87051}"/>
              </c:ext>
            </c:extLst>
          </c:dPt>
          <c:dPt>
            <c:idx val="119"/>
            <c:invertIfNegative val="1"/>
            <c:bubble3D val="0"/>
            <c:spPr>
              <a:solidFill>
                <a:srgbClr val="00A097"/>
              </a:solidFill>
            </c:spPr>
            <c:extLst>
              <c:ext xmlns:c16="http://schemas.microsoft.com/office/drawing/2014/chart" uri="{C3380CC4-5D6E-409C-BE32-E72D297353CC}">
                <c16:uniqueId val="{000000F1-2993-41DE-A2CB-63102DE87051}"/>
              </c:ext>
            </c:extLst>
          </c:dPt>
          <c:dPt>
            <c:idx val="120"/>
            <c:invertIfNegative val="1"/>
            <c:bubble3D val="0"/>
            <c:spPr>
              <a:solidFill>
                <a:srgbClr val="00A097"/>
              </a:solidFill>
            </c:spPr>
            <c:extLst>
              <c:ext xmlns:c16="http://schemas.microsoft.com/office/drawing/2014/chart" uri="{C3380CC4-5D6E-409C-BE32-E72D297353CC}">
                <c16:uniqueId val="{000000F3-2993-41DE-A2CB-63102DE87051}"/>
              </c:ext>
            </c:extLst>
          </c:dPt>
          <c:dPt>
            <c:idx val="121"/>
            <c:invertIfNegative val="1"/>
            <c:bubble3D val="0"/>
            <c:spPr>
              <a:solidFill>
                <a:srgbClr val="00A097"/>
              </a:solidFill>
            </c:spPr>
            <c:extLst>
              <c:ext xmlns:c16="http://schemas.microsoft.com/office/drawing/2014/chart" uri="{C3380CC4-5D6E-409C-BE32-E72D297353CC}">
                <c16:uniqueId val="{000000F5-2993-41DE-A2CB-63102DE87051}"/>
              </c:ext>
            </c:extLst>
          </c:dPt>
          <c:dPt>
            <c:idx val="122"/>
            <c:invertIfNegative val="1"/>
            <c:bubble3D val="0"/>
            <c:spPr>
              <a:solidFill>
                <a:srgbClr val="00A097"/>
              </a:solidFill>
            </c:spPr>
            <c:extLst>
              <c:ext xmlns:c16="http://schemas.microsoft.com/office/drawing/2014/chart" uri="{C3380CC4-5D6E-409C-BE32-E72D297353CC}">
                <c16:uniqueId val="{000000F7-2993-41DE-A2CB-63102DE87051}"/>
              </c:ext>
            </c:extLst>
          </c:dPt>
          <c:dPt>
            <c:idx val="123"/>
            <c:invertIfNegative val="1"/>
            <c:bubble3D val="0"/>
            <c:spPr>
              <a:solidFill>
                <a:srgbClr val="00A097"/>
              </a:solidFill>
            </c:spPr>
            <c:extLst>
              <c:ext xmlns:c16="http://schemas.microsoft.com/office/drawing/2014/chart" uri="{C3380CC4-5D6E-409C-BE32-E72D297353CC}">
                <c16:uniqueId val="{000000F9-2993-41DE-A2CB-63102DE87051}"/>
              </c:ext>
            </c:extLst>
          </c:dPt>
          <c:dPt>
            <c:idx val="124"/>
            <c:invertIfNegative val="1"/>
            <c:bubble3D val="0"/>
            <c:spPr>
              <a:solidFill>
                <a:srgbClr val="00A097"/>
              </a:solidFill>
            </c:spPr>
            <c:extLst>
              <c:ext xmlns:c16="http://schemas.microsoft.com/office/drawing/2014/chart" uri="{C3380CC4-5D6E-409C-BE32-E72D297353CC}">
                <c16:uniqueId val="{000000FB-2993-41DE-A2CB-63102DE87051}"/>
              </c:ext>
            </c:extLst>
          </c:dPt>
          <c:dPt>
            <c:idx val="125"/>
            <c:invertIfNegative val="1"/>
            <c:bubble3D val="0"/>
            <c:spPr>
              <a:solidFill>
                <a:srgbClr val="00A097"/>
              </a:solidFill>
            </c:spPr>
            <c:extLst>
              <c:ext xmlns:c16="http://schemas.microsoft.com/office/drawing/2014/chart" uri="{C3380CC4-5D6E-409C-BE32-E72D297353CC}">
                <c16:uniqueId val="{000000FD-2993-41DE-A2CB-63102DE87051}"/>
              </c:ext>
            </c:extLst>
          </c:dPt>
          <c:dPt>
            <c:idx val="126"/>
            <c:invertIfNegative val="1"/>
            <c:bubble3D val="0"/>
            <c:spPr>
              <a:solidFill>
                <a:srgbClr val="00A097"/>
              </a:solidFill>
            </c:spPr>
            <c:extLst>
              <c:ext xmlns:c16="http://schemas.microsoft.com/office/drawing/2014/chart" uri="{C3380CC4-5D6E-409C-BE32-E72D297353CC}">
                <c16:uniqueId val="{000000FF-2993-41DE-A2CB-63102DE87051}"/>
              </c:ext>
            </c:extLst>
          </c:dPt>
          <c:dPt>
            <c:idx val="127"/>
            <c:invertIfNegative val="1"/>
            <c:bubble3D val="0"/>
            <c:spPr>
              <a:solidFill>
                <a:srgbClr val="00A097"/>
              </a:solidFill>
            </c:spPr>
            <c:extLst>
              <c:ext xmlns:c16="http://schemas.microsoft.com/office/drawing/2014/chart" uri="{C3380CC4-5D6E-409C-BE32-E72D297353CC}">
                <c16:uniqueId val="{00000101-2993-41DE-A2CB-63102DE87051}"/>
              </c:ext>
            </c:extLst>
          </c:dPt>
          <c:dPt>
            <c:idx val="128"/>
            <c:invertIfNegative val="1"/>
            <c:bubble3D val="0"/>
            <c:spPr>
              <a:solidFill>
                <a:srgbClr val="00A097"/>
              </a:solidFill>
            </c:spPr>
            <c:extLst>
              <c:ext xmlns:c16="http://schemas.microsoft.com/office/drawing/2014/chart" uri="{C3380CC4-5D6E-409C-BE32-E72D297353CC}">
                <c16:uniqueId val="{00000103-2993-41DE-A2CB-63102DE87051}"/>
              </c:ext>
            </c:extLst>
          </c:dPt>
          <c:dPt>
            <c:idx val="129"/>
            <c:invertIfNegative val="1"/>
            <c:bubble3D val="0"/>
            <c:spPr>
              <a:solidFill>
                <a:srgbClr val="00A097"/>
              </a:solidFill>
            </c:spPr>
            <c:extLst>
              <c:ext xmlns:c16="http://schemas.microsoft.com/office/drawing/2014/chart" uri="{C3380CC4-5D6E-409C-BE32-E72D297353CC}">
                <c16:uniqueId val="{00000105-2993-41DE-A2CB-63102DE87051}"/>
              </c:ext>
            </c:extLst>
          </c:dPt>
          <c:dPt>
            <c:idx val="130"/>
            <c:invertIfNegative val="1"/>
            <c:bubble3D val="0"/>
            <c:spPr>
              <a:solidFill>
                <a:srgbClr val="00A097"/>
              </a:solidFill>
            </c:spPr>
            <c:extLst>
              <c:ext xmlns:c16="http://schemas.microsoft.com/office/drawing/2014/chart" uri="{C3380CC4-5D6E-409C-BE32-E72D297353CC}">
                <c16:uniqueId val="{00000107-2993-41DE-A2CB-63102DE87051}"/>
              </c:ext>
            </c:extLst>
          </c:dPt>
          <c:dPt>
            <c:idx val="131"/>
            <c:invertIfNegative val="1"/>
            <c:bubble3D val="0"/>
            <c:spPr>
              <a:solidFill>
                <a:srgbClr val="00A097"/>
              </a:solidFill>
            </c:spPr>
            <c:extLst>
              <c:ext xmlns:c16="http://schemas.microsoft.com/office/drawing/2014/chart" uri="{C3380CC4-5D6E-409C-BE32-E72D297353CC}">
                <c16:uniqueId val="{00000109-2993-41DE-A2CB-63102DE87051}"/>
              </c:ext>
            </c:extLst>
          </c:dPt>
          <c:dPt>
            <c:idx val="132"/>
            <c:invertIfNegative val="1"/>
            <c:bubble3D val="0"/>
            <c:spPr>
              <a:solidFill>
                <a:srgbClr val="00A097"/>
              </a:solidFill>
            </c:spPr>
            <c:extLst>
              <c:ext xmlns:c16="http://schemas.microsoft.com/office/drawing/2014/chart" uri="{C3380CC4-5D6E-409C-BE32-E72D297353CC}">
                <c16:uniqueId val="{0000010B-2993-41DE-A2CB-63102DE87051}"/>
              </c:ext>
            </c:extLst>
          </c:dPt>
          <c:dPt>
            <c:idx val="133"/>
            <c:invertIfNegative val="1"/>
            <c:bubble3D val="0"/>
            <c:spPr>
              <a:solidFill>
                <a:srgbClr val="00A097"/>
              </a:solidFill>
            </c:spPr>
            <c:extLst>
              <c:ext xmlns:c16="http://schemas.microsoft.com/office/drawing/2014/chart" uri="{C3380CC4-5D6E-409C-BE32-E72D297353CC}">
                <c16:uniqueId val="{0000010D-2993-41DE-A2CB-63102DE87051}"/>
              </c:ext>
            </c:extLst>
          </c:dPt>
          <c:dPt>
            <c:idx val="134"/>
            <c:invertIfNegative val="1"/>
            <c:bubble3D val="0"/>
            <c:spPr>
              <a:solidFill>
                <a:srgbClr val="00A097"/>
              </a:solidFill>
            </c:spPr>
            <c:extLst>
              <c:ext xmlns:c16="http://schemas.microsoft.com/office/drawing/2014/chart" uri="{C3380CC4-5D6E-409C-BE32-E72D297353CC}">
                <c16:uniqueId val="{0000010F-2993-41DE-A2CB-63102DE87051}"/>
              </c:ext>
            </c:extLst>
          </c:dPt>
          <c:dPt>
            <c:idx val="135"/>
            <c:invertIfNegative val="1"/>
            <c:bubble3D val="0"/>
            <c:spPr>
              <a:solidFill>
                <a:srgbClr val="00A097"/>
              </a:solidFill>
            </c:spPr>
            <c:extLst>
              <c:ext xmlns:c16="http://schemas.microsoft.com/office/drawing/2014/chart" uri="{C3380CC4-5D6E-409C-BE32-E72D297353CC}">
                <c16:uniqueId val="{00000111-2993-41DE-A2CB-63102DE87051}"/>
              </c:ext>
            </c:extLst>
          </c:dPt>
          <c:dPt>
            <c:idx val="136"/>
            <c:invertIfNegative val="1"/>
            <c:bubble3D val="0"/>
            <c:spPr>
              <a:solidFill>
                <a:srgbClr val="00A097"/>
              </a:solidFill>
            </c:spPr>
            <c:extLst>
              <c:ext xmlns:c16="http://schemas.microsoft.com/office/drawing/2014/chart" uri="{C3380CC4-5D6E-409C-BE32-E72D297353CC}">
                <c16:uniqueId val="{00000113-2993-41DE-A2CB-63102DE87051}"/>
              </c:ext>
            </c:extLst>
          </c:dPt>
          <c:dPt>
            <c:idx val="137"/>
            <c:invertIfNegative val="1"/>
            <c:bubble3D val="0"/>
            <c:spPr>
              <a:solidFill>
                <a:srgbClr val="00A097"/>
              </a:solidFill>
            </c:spPr>
            <c:extLst>
              <c:ext xmlns:c16="http://schemas.microsoft.com/office/drawing/2014/chart" uri="{C3380CC4-5D6E-409C-BE32-E72D297353CC}">
                <c16:uniqueId val="{00000115-2993-41DE-A2CB-63102DE87051}"/>
              </c:ext>
            </c:extLst>
          </c:dPt>
          <c:dPt>
            <c:idx val="138"/>
            <c:invertIfNegative val="1"/>
            <c:bubble3D val="0"/>
            <c:spPr>
              <a:solidFill>
                <a:srgbClr val="00A097"/>
              </a:solidFill>
            </c:spPr>
            <c:extLst>
              <c:ext xmlns:c16="http://schemas.microsoft.com/office/drawing/2014/chart" uri="{C3380CC4-5D6E-409C-BE32-E72D297353CC}">
                <c16:uniqueId val="{00000117-2993-41DE-A2CB-63102DE87051}"/>
              </c:ext>
            </c:extLst>
          </c:dPt>
          <c:dPt>
            <c:idx val="139"/>
            <c:invertIfNegative val="1"/>
            <c:bubble3D val="0"/>
            <c:spPr>
              <a:solidFill>
                <a:srgbClr val="00A097"/>
              </a:solidFill>
            </c:spPr>
            <c:extLst>
              <c:ext xmlns:c16="http://schemas.microsoft.com/office/drawing/2014/chart" uri="{C3380CC4-5D6E-409C-BE32-E72D297353CC}">
                <c16:uniqueId val="{00000119-2993-41DE-A2CB-63102DE87051}"/>
              </c:ext>
            </c:extLst>
          </c:dPt>
          <c:dPt>
            <c:idx val="140"/>
            <c:invertIfNegative val="1"/>
            <c:bubble3D val="0"/>
            <c:spPr>
              <a:solidFill>
                <a:srgbClr val="00A097"/>
              </a:solidFill>
            </c:spPr>
            <c:extLst>
              <c:ext xmlns:c16="http://schemas.microsoft.com/office/drawing/2014/chart" uri="{C3380CC4-5D6E-409C-BE32-E72D297353CC}">
                <c16:uniqueId val="{0000011B-2993-41DE-A2CB-63102DE87051}"/>
              </c:ext>
            </c:extLst>
          </c:dPt>
          <c:dPt>
            <c:idx val="141"/>
            <c:invertIfNegative val="1"/>
            <c:bubble3D val="0"/>
            <c:spPr>
              <a:solidFill>
                <a:srgbClr val="00A097"/>
              </a:solidFill>
            </c:spPr>
            <c:extLst>
              <c:ext xmlns:c16="http://schemas.microsoft.com/office/drawing/2014/chart" uri="{C3380CC4-5D6E-409C-BE32-E72D297353CC}">
                <c16:uniqueId val="{0000011D-2993-41DE-A2CB-63102DE87051}"/>
              </c:ext>
            </c:extLst>
          </c:dPt>
          <c:dPt>
            <c:idx val="142"/>
            <c:invertIfNegative val="1"/>
            <c:bubble3D val="0"/>
            <c:spPr>
              <a:solidFill>
                <a:srgbClr val="00A097"/>
              </a:solidFill>
            </c:spPr>
            <c:extLst>
              <c:ext xmlns:c16="http://schemas.microsoft.com/office/drawing/2014/chart" uri="{C3380CC4-5D6E-409C-BE32-E72D297353CC}">
                <c16:uniqueId val="{0000011F-2993-41DE-A2CB-63102DE87051}"/>
              </c:ext>
            </c:extLst>
          </c:dPt>
          <c:dPt>
            <c:idx val="143"/>
            <c:invertIfNegative val="1"/>
            <c:bubble3D val="0"/>
            <c:spPr>
              <a:solidFill>
                <a:srgbClr val="00A097"/>
              </a:solidFill>
            </c:spPr>
            <c:extLst>
              <c:ext xmlns:c16="http://schemas.microsoft.com/office/drawing/2014/chart" uri="{C3380CC4-5D6E-409C-BE32-E72D297353CC}">
                <c16:uniqueId val="{00000121-2993-41DE-A2CB-63102DE87051}"/>
              </c:ext>
            </c:extLst>
          </c:dPt>
          <c:dPt>
            <c:idx val="144"/>
            <c:invertIfNegative val="1"/>
            <c:bubble3D val="0"/>
            <c:spPr>
              <a:solidFill>
                <a:srgbClr val="00A097"/>
              </a:solidFill>
            </c:spPr>
            <c:extLst>
              <c:ext xmlns:c16="http://schemas.microsoft.com/office/drawing/2014/chart" uri="{C3380CC4-5D6E-409C-BE32-E72D297353CC}">
                <c16:uniqueId val="{00000123-2993-41DE-A2CB-63102DE87051}"/>
              </c:ext>
            </c:extLst>
          </c:dPt>
          <c:dPt>
            <c:idx val="145"/>
            <c:invertIfNegative val="1"/>
            <c:bubble3D val="0"/>
            <c:spPr>
              <a:solidFill>
                <a:srgbClr val="00A097"/>
              </a:solidFill>
            </c:spPr>
            <c:extLst>
              <c:ext xmlns:c16="http://schemas.microsoft.com/office/drawing/2014/chart" uri="{C3380CC4-5D6E-409C-BE32-E72D297353CC}">
                <c16:uniqueId val="{00000125-2993-41DE-A2CB-63102DE87051}"/>
              </c:ext>
            </c:extLst>
          </c:dPt>
          <c:dPt>
            <c:idx val="146"/>
            <c:invertIfNegative val="1"/>
            <c:bubble3D val="0"/>
            <c:spPr>
              <a:solidFill>
                <a:srgbClr val="00A097"/>
              </a:solidFill>
            </c:spPr>
            <c:extLst>
              <c:ext xmlns:c16="http://schemas.microsoft.com/office/drawing/2014/chart" uri="{C3380CC4-5D6E-409C-BE32-E72D297353CC}">
                <c16:uniqueId val="{00000127-2993-41DE-A2CB-63102DE87051}"/>
              </c:ext>
            </c:extLst>
          </c:dPt>
          <c:dPt>
            <c:idx val="147"/>
            <c:invertIfNegative val="1"/>
            <c:bubble3D val="0"/>
            <c:spPr>
              <a:solidFill>
                <a:srgbClr val="00A097"/>
              </a:solidFill>
            </c:spPr>
            <c:extLst>
              <c:ext xmlns:c16="http://schemas.microsoft.com/office/drawing/2014/chart" uri="{C3380CC4-5D6E-409C-BE32-E72D297353CC}">
                <c16:uniqueId val="{00000129-2993-41DE-A2CB-63102DE87051}"/>
              </c:ext>
            </c:extLst>
          </c:dPt>
          <c:dPt>
            <c:idx val="148"/>
            <c:invertIfNegative val="1"/>
            <c:bubble3D val="0"/>
            <c:spPr>
              <a:solidFill>
                <a:srgbClr val="00A097"/>
              </a:solidFill>
            </c:spPr>
            <c:extLst>
              <c:ext xmlns:c16="http://schemas.microsoft.com/office/drawing/2014/chart" uri="{C3380CC4-5D6E-409C-BE32-E72D297353CC}">
                <c16:uniqueId val="{0000012B-2993-41DE-A2CB-63102DE87051}"/>
              </c:ext>
            </c:extLst>
          </c:dPt>
          <c:dPt>
            <c:idx val="149"/>
            <c:invertIfNegative val="1"/>
            <c:bubble3D val="0"/>
            <c:spPr>
              <a:solidFill>
                <a:srgbClr val="00A097"/>
              </a:solidFill>
            </c:spPr>
            <c:extLst>
              <c:ext xmlns:c16="http://schemas.microsoft.com/office/drawing/2014/chart" uri="{C3380CC4-5D6E-409C-BE32-E72D297353CC}">
                <c16:uniqueId val="{0000012D-2993-41DE-A2CB-63102DE87051}"/>
              </c:ext>
            </c:extLst>
          </c:dPt>
          <c:dPt>
            <c:idx val="150"/>
            <c:invertIfNegative val="1"/>
            <c:bubble3D val="0"/>
            <c:spPr>
              <a:solidFill>
                <a:srgbClr val="00A097"/>
              </a:solidFill>
            </c:spPr>
            <c:extLst>
              <c:ext xmlns:c16="http://schemas.microsoft.com/office/drawing/2014/chart" uri="{C3380CC4-5D6E-409C-BE32-E72D297353CC}">
                <c16:uniqueId val="{0000012F-2993-41DE-A2CB-63102DE87051}"/>
              </c:ext>
            </c:extLst>
          </c:dPt>
          <c:dPt>
            <c:idx val="151"/>
            <c:invertIfNegative val="1"/>
            <c:bubble3D val="0"/>
            <c:spPr>
              <a:solidFill>
                <a:srgbClr val="00A097"/>
              </a:solidFill>
            </c:spPr>
            <c:extLst>
              <c:ext xmlns:c16="http://schemas.microsoft.com/office/drawing/2014/chart" uri="{C3380CC4-5D6E-409C-BE32-E72D297353CC}">
                <c16:uniqueId val="{00000131-2993-41DE-A2CB-63102DE87051}"/>
              </c:ext>
            </c:extLst>
          </c:dPt>
          <c:dPt>
            <c:idx val="152"/>
            <c:invertIfNegative val="1"/>
            <c:bubble3D val="0"/>
            <c:spPr>
              <a:solidFill>
                <a:srgbClr val="00A097"/>
              </a:solidFill>
            </c:spPr>
            <c:extLst>
              <c:ext xmlns:c16="http://schemas.microsoft.com/office/drawing/2014/chart" uri="{C3380CC4-5D6E-409C-BE32-E72D297353CC}">
                <c16:uniqueId val="{00000133-2993-41DE-A2CB-63102DE87051}"/>
              </c:ext>
            </c:extLst>
          </c:dPt>
          <c:dPt>
            <c:idx val="153"/>
            <c:invertIfNegative val="1"/>
            <c:bubble3D val="0"/>
            <c:spPr>
              <a:solidFill>
                <a:srgbClr val="00A097"/>
              </a:solidFill>
            </c:spPr>
            <c:extLst>
              <c:ext xmlns:c16="http://schemas.microsoft.com/office/drawing/2014/chart" uri="{C3380CC4-5D6E-409C-BE32-E72D297353CC}">
                <c16:uniqueId val="{00000135-2993-41DE-A2CB-63102DE87051}"/>
              </c:ext>
            </c:extLst>
          </c:dPt>
          <c:dPt>
            <c:idx val="154"/>
            <c:invertIfNegative val="1"/>
            <c:bubble3D val="0"/>
            <c:spPr>
              <a:solidFill>
                <a:srgbClr val="00A097"/>
              </a:solidFill>
            </c:spPr>
            <c:extLst>
              <c:ext xmlns:c16="http://schemas.microsoft.com/office/drawing/2014/chart" uri="{C3380CC4-5D6E-409C-BE32-E72D297353CC}">
                <c16:uniqueId val="{00000137-2993-41DE-A2CB-63102DE87051}"/>
              </c:ext>
            </c:extLst>
          </c:dPt>
          <c:dPt>
            <c:idx val="155"/>
            <c:invertIfNegative val="1"/>
            <c:bubble3D val="0"/>
            <c:spPr>
              <a:solidFill>
                <a:srgbClr val="00A097"/>
              </a:solidFill>
            </c:spPr>
            <c:extLst>
              <c:ext xmlns:c16="http://schemas.microsoft.com/office/drawing/2014/chart" uri="{C3380CC4-5D6E-409C-BE32-E72D297353CC}">
                <c16:uniqueId val="{00000139-2993-41DE-A2CB-63102DE87051}"/>
              </c:ext>
            </c:extLst>
          </c:dPt>
          <c:dPt>
            <c:idx val="156"/>
            <c:invertIfNegative val="1"/>
            <c:bubble3D val="0"/>
            <c:spPr>
              <a:solidFill>
                <a:srgbClr val="00A097"/>
              </a:solidFill>
            </c:spPr>
            <c:extLst>
              <c:ext xmlns:c16="http://schemas.microsoft.com/office/drawing/2014/chart" uri="{C3380CC4-5D6E-409C-BE32-E72D297353CC}">
                <c16:uniqueId val="{0000013B-2993-41DE-A2CB-63102DE87051}"/>
              </c:ext>
            </c:extLst>
          </c:dPt>
          <c:dPt>
            <c:idx val="157"/>
            <c:invertIfNegative val="1"/>
            <c:bubble3D val="0"/>
            <c:spPr>
              <a:solidFill>
                <a:srgbClr val="00A097"/>
              </a:solidFill>
            </c:spPr>
            <c:extLst>
              <c:ext xmlns:c16="http://schemas.microsoft.com/office/drawing/2014/chart" uri="{C3380CC4-5D6E-409C-BE32-E72D297353CC}">
                <c16:uniqueId val="{0000013D-2993-41DE-A2CB-63102DE87051}"/>
              </c:ext>
            </c:extLst>
          </c:dPt>
          <c:dPt>
            <c:idx val="158"/>
            <c:invertIfNegative val="1"/>
            <c:bubble3D val="0"/>
            <c:spPr>
              <a:solidFill>
                <a:srgbClr val="00A097"/>
              </a:solidFill>
            </c:spPr>
            <c:extLst>
              <c:ext xmlns:c16="http://schemas.microsoft.com/office/drawing/2014/chart" uri="{C3380CC4-5D6E-409C-BE32-E72D297353CC}">
                <c16:uniqueId val="{0000013F-2993-41DE-A2CB-63102DE87051}"/>
              </c:ext>
            </c:extLst>
          </c:dPt>
          <c:dPt>
            <c:idx val="159"/>
            <c:invertIfNegative val="1"/>
            <c:bubble3D val="0"/>
            <c:spPr>
              <a:solidFill>
                <a:srgbClr val="00A097"/>
              </a:solidFill>
            </c:spPr>
            <c:extLst>
              <c:ext xmlns:c16="http://schemas.microsoft.com/office/drawing/2014/chart" uri="{C3380CC4-5D6E-409C-BE32-E72D297353CC}">
                <c16:uniqueId val="{00000141-2993-41DE-A2CB-63102DE87051}"/>
              </c:ext>
            </c:extLst>
          </c:dPt>
          <c:dPt>
            <c:idx val="160"/>
            <c:invertIfNegative val="1"/>
            <c:bubble3D val="0"/>
            <c:spPr>
              <a:solidFill>
                <a:srgbClr val="00A097"/>
              </a:solidFill>
            </c:spPr>
            <c:extLst>
              <c:ext xmlns:c16="http://schemas.microsoft.com/office/drawing/2014/chart" uri="{C3380CC4-5D6E-409C-BE32-E72D297353CC}">
                <c16:uniqueId val="{00000143-2993-41DE-A2CB-63102DE87051}"/>
              </c:ext>
            </c:extLst>
          </c:dPt>
          <c:dPt>
            <c:idx val="161"/>
            <c:invertIfNegative val="1"/>
            <c:bubble3D val="0"/>
            <c:spPr>
              <a:solidFill>
                <a:srgbClr val="00A097"/>
              </a:solidFill>
            </c:spPr>
            <c:extLst>
              <c:ext xmlns:c16="http://schemas.microsoft.com/office/drawing/2014/chart" uri="{C3380CC4-5D6E-409C-BE32-E72D297353CC}">
                <c16:uniqueId val="{00000145-2993-41DE-A2CB-63102DE87051}"/>
              </c:ext>
            </c:extLst>
          </c:dPt>
          <c:dPt>
            <c:idx val="162"/>
            <c:invertIfNegative val="1"/>
            <c:bubble3D val="0"/>
            <c:spPr>
              <a:solidFill>
                <a:srgbClr val="00A097"/>
              </a:solidFill>
            </c:spPr>
            <c:extLst>
              <c:ext xmlns:c16="http://schemas.microsoft.com/office/drawing/2014/chart" uri="{C3380CC4-5D6E-409C-BE32-E72D297353CC}">
                <c16:uniqueId val="{00000147-2993-41DE-A2CB-63102DE87051}"/>
              </c:ext>
            </c:extLst>
          </c:dPt>
          <c:dPt>
            <c:idx val="163"/>
            <c:invertIfNegative val="1"/>
            <c:bubble3D val="0"/>
            <c:spPr>
              <a:solidFill>
                <a:srgbClr val="00A097"/>
              </a:solidFill>
            </c:spPr>
            <c:extLst>
              <c:ext xmlns:c16="http://schemas.microsoft.com/office/drawing/2014/chart" uri="{C3380CC4-5D6E-409C-BE32-E72D297353CC}">
                <c16:uniqueId val="{00000149-2993-41DE-A2CB-63102DE87051}"/>
              </c:ext>
            </c:extLst>
          </c:dPt>
          <c:dPt>
            <c:idx val="164"/>
            <c:invertIfNegative val="1"/>
            <c:bubble3D val="0"/>
            <c:spPr>
              <a:solidFill>
                <a:srgbClr val="00A097"/>
              </a:solidFill>
            </c:spPr>
            <c:extLst>
              <c:ext xmlns:c16="http://schemas.microsoft.com/office/drawing/2014/chart" uri="{C3380CC4-5D6E-409C-BE32-E72D297353CC}">
                <c16:uniqueId val="{0000014B-2993-41DE-A2CB-63102DE87051}"/>
              </c:ext>
            </c:extLst>
          </c:dPt>
          <c:dPt>
            <c:idx val="165"/>
            <c:invertIfNegative val="1"/>
            <c:bubble3D val="0"/>
            <c:spPr>
              <a:solidFill>
                <a:srgbClr val="00A097"/>
              </a:solidFill>
            </c:spPr>
            <c:extLst>
              <c:ext xmlns:c16="http://schemas.microsoft.com/office/drawing/2014/chart" uri="{C3380CC4-5D6E-409C-BE32-E72D297353CC}">
                <c16:uniqueId val="{0000014D-2993-41DE-A2CB-63102DE87051}"/>
              </c:ext>
            </c:extLst>
          </c:dPt>
          <c:dPt>
            <c:idx val="166"/>
            <c:invertIfNegative val="1"/>
            <c:bubble3D val="0"/>
            <c:spPr>
              <a:solidFill>
                <a:srgbClr val="00A097"/>
              </a:solidFill>
            </c:spPr>
            <c:extLst>
              <c:ext xmlns:c16="http://schemas.microsoft.com/office/drawing/2014/chart" uri="{C3380CC4-5D6E-409C-BE32-E72D297353CC}">
                <c16:uniqueId val="{0000014F-2993-41DE-A2CB-63102DE87051}"/>
              </c:ext>
            </c:extLst>
          </c:dPt>
          <c:dPt>
            <c:idx val="167"/>
            <c:invertIfNegative val="1"/>
            <c:bubble3D val="0"/>
            <c:spPr>
              <a:solidFill>
                <a:srgbClr val="00A097"/>
              </a:solidFill>
            </c:spPr>
            <c:extLst>
              <c:ext xmlns:c16="http://schemas.microsoft.com/office/drawing/2014/chart" uri="{C3380CC4-5D6E-409C-BE32-E72D297353CC}">
                <c16:uniqueId val="{00000151-2993-41DE-A2CB-63102DE87051}"/>
              </c:ext>
            </c:extLst>
          </c:dPt>
          <c:dPt>
            <c:idx val="168"/>
            <c:invertIfNegative val="1"/>
            <c:bubble3D val="0"/>
            <c:spPr>
              <a:solidFill>
                <a:srgbClr val="00A097"/>
              </a:solidFill>
            </c:spPr>
            <c:extLst>
              <c:ext xmlns:c16="http://schemas.microsoft.com/office/drawing/2014/chart" uri="{C3380CC4-5D6E-409C-BE32-E72D297353CC}">
                <c16:uniqueId val="{00000153-2993-41DE-A2CB-63102DE87051}"/>
              </c:ext>
            </c:extLst>
          </c:dPt>
          <c:dPt>
            <c:idx val="169"/>
            <c:invertIfNegative val="1"/>
            <c:bubble3D val="0"/>
            <c:spPr>
              <a:solidFill>
                <a:srgbClr val="00A097"/>
              </a:solidFill>
            </c:spPr>
            <c:extLst>
              <c:ext xmlns:c16="http://schemas.microsoft.com/office/drawing/2014/chart" uri="{C3380CC4-5D6E-409C-BE32-E72D297353CC}">
                <c16:uniqueId val="{00000155-2993-41DE-A2CB-63102DE87051}"/>
              </c:ext>
            </c:extLst>
          </c:dPt>
          <c:dPt>
            <c:idx val="170"/>
            <c:invertIfNegative val="1"/>
            <c:bubble3D val="0"/>
            <c:spPr>
              <a:solidFill>
                <a:srgbClr val="00A097"/>
              </a:solidFill>
            </c:spPr>
            <c:extLst>
              <c:ext xmlns:c16="http://schemas.microsoft.com/office/drawing/2014/chart" uri="{C3380CC4-5D6E-409C-BE32-E72D297353CC}">
                <c16:uniqueId val="{00000157-2993-41DE-A2CB-63102DE87051}"/>
              </c:ext>
            </c:extLst>
          </c:dPt>
          <c:dPt>
            <c:idx val="171"/>
            <c:invertIfNegative val="1"/>
            <c:bubble3D val="0"/>
            <c:spPr>
              <a:solidFill>
                <a:srgbClr val="00A097"/>
              </a:solidFill>
            </c:spPr>
            <c:extLst>
              <c:ext xmlns:c16="http://schemas.microsoft.com/office/drawing/2014/chart" uri="{C3380CC4-5D6E-409C-BE32-E72D297353CC}">
                <c16:uniqueId val="{00000159-2993-41DE-A2CB-63102DE87051}"/>
              </c:ext>
            </c:extLst>
          </c:dPt>
          <c:dPt>
            <c:idx val="172"/>
            <c:invertIfNegative val="1"/>
            <c:bubble3D val="0"/>
            <c:spPr>
              <a:solidFill>
                <a:srgbClr val="00A097"/>
              </a:solidFill>
            </c:spPr>
            <c:extLst>
              <c:ext xmlns:c16="http://schemas.microsoft.com/office/drawing/2014/chart" uri="{C3380CC4-5D6E-409C-BE32-E72D297353CC}">
                <c16:uniqueId val="{0000015B-2993-41DE-A2CB-63102DE87051}"/>
              </c:ext>
            </c:extLst>
          </c:dPt>
          <c:dPt>
            <c:idx val="173"/>
            <c:invertIfNegative val="1"/>
            <c:bubble3D val="0"/>
            <c:spPr>
              <a:solidFill>
                <a:srgbClr val="00A097"/>
              </a:solidFill>
            </c:spPr>
            <c:extLst>
              <c:ext xmlns:c16="http://schemas.microsoft.com/office/drawing/2014/chart" uri="{C3380CC4-5D6E-409C-BE32-E72D297353CC}">
                <c16:uniqueId val="{0000015D-2993-41DE-A2CB-63102DE87051}"/>
              </c:ext>
            </c:extLst>
          </c:dPt>
          <c:dPt>
            <c:idx val="174"/>
            <c:invertIfNegative val="1"/>
            <c:bubble3D val="0"/>
            <c:spPr>
              <a:solidFill>
                <a:srgbClr val="00A097"/>
              </a:solidFill>
            </c:spPr>
            <c:extLst>
              <c:ext xmlns:c16="http://schemas.microsoft.com/office/drawing/2014/chart" uri="{C3380CC4-5D6E-409C-BE32-E72D297353CC}">
                <c16:uniqueId val="{0000015F-2993-41DE-A2CB-63102DE87051}"/>
              </c:ext>
            </c:extLst>
          </c:dPt>
          <c:dPt>
            <c:idx val="175"/>
            <c:invertIfNegative val="1"/>
            <c:bubble3D val="0"/>
            <c:spPr>
              <a:solidFill>
                <a:srgbClr val="00A097"/>
              </a:solidFill>
            </c:spPr>
            <c:extLst>
              <c:ext xmlns:c16="http://schemas.microsoft.com/office/drawing/2014/chart" uri="{C3380CC4-5D6E-409C-BE32-E72D297353CC}">
                <c16:uniqueId val="{00000161-2993-41DE-A2CB-63102DE87051}"/>
              </c:ext>
            </c:extLst>
          </c:dPt>
          <c:dPt>
            <c:idx val="176"/>
            <c:invertIfNegative val="1"/>
            <c:bubble3D val="0"/>
            <c:spPr>
              <a:solidFill>
                <a:srgbClr val="00A097"/>
              </a:solidFill>
            </c:spPr>
            <c:extLst>
              <c:ext xmlns:c16="http://schemas.microsoft.com/office/drawing/2014/chart" uri="{C3380CC4-5D6E-409C-BE32-E72D297353CC}">
                <c16:uniqueId val="{00000163-2993-41DE-A2CB-63102DE87051}"/>
              </c:ext>
            </c:extLst>
          </c:dPt>
          <c:dPt>
            <c:idx val="177"/>
            <c:invertIfNegative val="1"/>
            <c:bubble3D val="0"/>
            <c:spPr>
              <a:solidFill>
                <a:srgbClr val="00A097"/>
              </a:solidFill>
            </c:spPr>
            <c:extLst>
              <c:ext xmlns:c16="http://schemas.microsoft.com/office/drawing/2014/chart" uri="{C3380CC4-5D6E-409C-BE32-E72D297353CC}">
                <c16:uniqueId val="{00000165-2993-41DE-A2CB-63102DE87051}"/>
              </c:ext>
            </c:extLst>
          </c:dPt>
          <c:dPt>
            <c:idx val="178"/>
            <c:invertIfNegative val="1"/>
            <c:bubble3D val="0"/>
            <c:spPr>
              <a:solidFill>
                <a:srgbClr val="00A097"/>
              </a:solidFill>
            </c:spPr>
            <c:extLst>
              <c:ext xmlns:c16="http://schemas.microsoft.com/office/drawing/2014/chart" uri="{C3380CC4-5D6E-409C-BE32-E72D297353CC}">
                <c16:uniqueId val="{00000167-2993-41DE-A2CB-63102DE87051}"/>
              </c:ext>
            </c:extLst>
          </c:dPt>
          <c:dPt>
            <c:idx val="179"/>
            <c:invertIfNegative val="1"/>
            <c:bubble3D val="0"/>
            <c:spPr>
              <a:solidFill>
                <a:srgbClr val="00A097"/>
              </a:solidFill>
            </c:spPr>
            <c:extLst>
              <c:ext xmlns:c16="http://schemas.microsoft.com/office/drawing/2014/chart" uri="{C3380CC4-5D6E-409C-BE32-E72D297353CC}">
                <c16:uniqueId val="{00000169-2993-41DE-A2CB-63102DE87051}"/>
              </c:ext>
            </c:extLst>
          </c:dPt>
          <c:dPt>
            <c:idx val="180"/>
            <c:invertIfNegative val="1"/>
            <c:bubble3D val="0"/>
            <c:spPr>
              <a:solidFill>
                <a:srgbClr val="00A097"/>
              </a:solidFill>
            </c:spPr>
            <c:extLst>
              <c:ext xmlns:c16="http://schemas.microsoft.com/office/drawing/2014/chart" uri="{C3380CC4-5D6E-409C-BE32-E72D297353CC}">
                <c16:uniqueId val="{0000016B-2993-41DE-A2CB-63102DE87051}"/>
              </c:ext>
            </c:extLst>
          </c:dPt>
          <c:dPt>
            <c:idx val="181"/>
            <c:invertIfNegative val="1"/>
            <c:bubble3D val="0"/>
            <c:spPr>
              <a:solidFill>
                <a:srgbClr val="00A097"/>
              </a:solidFill>
            </c:spPr>
            <c:extLst>
              <c:ext xmlns:c16="http://schemas.microsoft.com/office/drawing/2014/chart" uri="{C3380CC4-5D6E-409C-BE32-E72D297353CC}">
                <c16:uniqueId val="{0000016D-2993-41DE-A2CB-63102DE87051}"/>
              </c:ext>
            </c:extLst>
          </c:dPt>
          <c:dPt>
            <c:idx val="182"/>
            <c:invertIfNegative val="1"/>
            <c:bubble3D val="0"/>
            <c:spPr>
              <a:solidFill>
                <a:srgbClr val="00A097"/>
              </a:solidFill>
            </c:spPr>
            <c:extLst>
              <c:ext xmlns:c16="http://schemas.microsoft.com/office/drawing/2014/chart" uri="{C3380CC4-5D6E-409C-BE32-E72D297353CC}">
                <c16:uniqueId val="{0000016F-2993-41DE-A2CB-63102DE87051}"/>
              </c:ext>
            </c:extLst>
          </c:dPt>
          <c:dPt>
            <c:idx val="183"/>
            <c:invertIfNegative val="1"/>
            <c:bubble3D val="0"/>
            <c:spPr>
              <a:solidFill>
                <a:srgbClr val="00A097"/>
              </a:solidFill>
            </c:spPr>
            <c:extLst>
              <c:ext xmlns:c16="http://schemas.microsoft.com/office/drawing/2014/chart" uri="{C3380CC4-5D6E-409C-BE32-E72D297353CC}">
                <c16:uniqueId val="{00000171-2993-41DE-A2CB-63102DE87051}"/>
              </c:ext>
            </c:extLst>
          </c:dPt>
          <c:dPt>
            <c:idx val="184"/>
            <c:invertIfNegative val="1"/>
            <c:bubble3D val="0"/>
            <c:spPr>
              <a:solidFill>
                <a:srgbClr val="00A097"/>
              </a:solidFill>
            </c:spPr>
            <c:extLst>
              <c:ext xmlns:c16="http://schemas.microsoft.com/office/drawing/2014/chart" uri="{C3380CC4-5D6E-409C-BE32-E72D297353CC}">
                <c16:uniqueId val="{00000173-2993-41DE-A2CB-63102DE87051}"/>
              </c:ext>
            </c:extLst>
          </c:dPt>
          <c:dPt>
            <c:idx val="185"/>
            <c:invertIfNegative val="1"/>
            <c:bubble3D val="0"/>
            <c:spPr>
              <a:solidFill>
                <a:srgbClr val="00A097"/>
              </a:solidFill>
            </c:spPr>
            <c:extLst>
              <c:ext xmlns:c16="http://schemas.microsoft.com/office/drawing/2014/chart" uri="{C3380CC4-5D6E-409C-BE32-E72D297353CC}">
                <c16:uniqueId val="{00000175-2993-41DE-A2CB-63102DE87051}"/>
              </c:ext>
            </c:extLst>
          </c:dPt>
          <c:dPt>
            <c:idx val="186"/>
            <c:invertIfNegative val="1"/>
            <c:bubble3D val="0"/>
            <c:spPr>
              <a:solidFill>
                <a:srgbClr val="00A097"/>
              </a:solidFill>
            </c:spPr>
            <c:extLst>
              <c:ext xmlns:c16="http://schemas.microsoft.com/office/drawing/2014/chart" uri="{C3380CC4-5D6E-409C-BE32-E72D297353CC}">
                <c16:uniqueId val="{00000177-2993-41DE-A2CB-63102DE87051}"/>
              </c:ext>
            </c:extLst>
          </c:dPt>
          <c:dPt>
            <c:idx val="187"/>
            <c:invertIfNegative val="1"/>
            <c:bubble3D val="0"/>
            <c:spPr>
              <a:solidFill>
                <a:srgbClr val="00A097"/>
              </a:solidFill>
            </c:spPr>
            <c:extLst>
              <c:ext xmlns:c16="http://schemas.microsoft.com/office/drawing/2014/chart" uri="{C3380CC4-5D6E-409C-BE32-E72D297353CC}">
                <c16:uniqueId val="{00000179-2993-41DE-A2CB-63102DE87051}"/>
              </c:ext>
            </c:extLst>
          </c:dPt>
          <c:dPt>
            <c:idx val="188"/>
            <c:invertIfNegative val="1"/>
            <c:bubble3D val="0"/>
            <c:spPr>
              <a:solidFill>
                <a:srgbClr val="00A097"/>
              </a:solidFill>
            </c:spPr>
            <c:extLst>
              <c:ext xmlns:c16="http://schemas.microsoft.com/office/drawing/2014/chart" uri="{C3380CC4-5D6E-409C-BE32-E72D297353CC}">
                <c16:uniqueId val="{0000017B-2993-41DE-A2CB-63102DE87051}"/>
              </c:ext>
            </c:extLst>
          </c:dPt>
          <c:dPt>
            <c:idx val="189"/>
            <c:invertIfNegative val="1"/>
            <c:bubble3D val="0"/>
            <c:spPr>
              <a:solidFill>
                <a:srgbClr val="00A097"/>
              </a:solidFill>
            </c:spPr>
            <c:extLst>
              <c:ext xmlns:c16="http://schemas.microsoft.com/office/drawing/2014/chart" uri="{C3380CC4-5D6E-409C-BE32-E72D297353CC}">
                <c16:uniqueId val="{0000017D-2993-41DE-A2CB-63102DE87051}"/>
              </c:ext>
            </c:extLst>
          </c:dPt>
          <c:dPt>
            <c:idx val="190"/>
            <c:invertIfNegative val="1"/>
            <c:bubble3D val="0"/>
            <c:spPr>
              <a:solidFill>
                <a:srgbClr val="00A097"/>
              </a:solidFill>
            </c:spPr>
            <c:extLst>
              <c:ext xmlns:c16="http://schemas.microsoft.com/office/drawing/2014/chart" uri="{C3380CC4-5D6E-409C-BE32-E72D297353CC}">
                <c16:uniqueId val="{0000017F-2993-41DE-A2CB-63102DE87051}"/>
              </c:ext>
            </c:extLst>
          </c:dPt>
          <c:dPt>
            <c:idx val="191"/>
            <c:invertIfNegative val="1"/>
            <c:bubble3D val="0"/>
            <c:spPr>
              <a:solidFill>
                <a:srgbClr val="00A097"/>
              </a:solidFill>
            </c:spPr>
            <c:extLst>
              <c:ext xmlns:c16="http://schemas.microsoft.com/office/drawing/2014/chart" uri="{C3380CC4-5D6E-409C-BE32-E72D297353CC}">
                <c16:uniqueId val="{00000181-2993-41DE-A2CB-63102DE87051}"/>
              </c:ext>
            </c:extLst>
          </c:dPt>
          <c:dPt>
            <c:idx val="192"/>
            <c:invertIfNegative val="1"/>
            <c:bubble3D val="0"/>
            <c:spPr>
              <a:solidFill>
                <a:srgbClr val="00A097"/>
              </a:solidFill>
            </c:spPr>
            <c:extLst>
              <c:ext xmlns:c16="http://schemas.microsoft.com/office/drawing/2014/chart" uri="{C3380CC4-5D6E-409C-BE32-E72D297353CC}">
                <c16:uniqueId val="{00000183-2993-41DE-A2CB-63102DE87051}"/>
              </c:ext>
            </c:extLst>
          </c:dPt>
          <c:dPt>
            <c:idx val="193"/>
            <c:invertIfNegative val="1"/>
            <c:bubble3D val="0"/>
            <c:spPr>
              <a:solidFill>
                <a:srgbClr val="00A097"/>
              </a:solidFill>
            </c:spPr>
            <c:extLst>
              <c:ext xmlns:c16="http://schemas.microsoft.com/office/drawing/2014/chart" uri="{C3380CC4-5D6E-409C-BE32-E72D297353CC}">
                <c16:uniqueId val="{00000185-2993-41DE-A2CB-63102DE87051}"/>
              </c:ext>
            </c:extLst>
          </c:dPt>
          <c:dPt>
            <c:idx val="194"/>
            <c:invertIfNegative val="1"/>
            <c:bubble3D val="0"/>
            <c:spPr>
              <a:solidFill>
                <a:srgbClr val="00A097"/>
              </a:solidFill>
            </c:spPr>
            <c:extLst>
              <c:ext xmlns:c16="http://schemas.microsoft.com/office/drawing/2014/chart" uri="{C3380CC4-5D6E-409C-BE32-E72D297353CC}">
                <c16:uniqueId val="{00000187-2993-41DE-A2CB-63102DE87051}"/>
              </c:ext>
            </c:extLst>
          </c:dPt>
          <c:dPt>
            <c:idx val="195"/>
            <c:invertIfNegative val="1"/>
            <c:bubble3D val="0"/>
            <c:spPr>
              <a:solidFill>
                <a:srgbClr val="00A097"/>
              </a:solidFill>
            </c:spPr>
            <c:extLst>
              <c:ext xmlns:c16="http://schemas.microsoft.com/office/drawing/2014/chart" uri="{C3380CC4-5D6E-409C-BE32-E72D297353CC}">
                <c16:uniqueId val="{00000189-2993-41DE-A2CB-63102DE87051}"/>
              </c:ext>
            </c:extLst>
          </c:dPt>
          <c:dPt>
            <c:idx val="196"/>
            <c:invertIfNegative val="1"/>
            <c:bubble3D val="0"/>
            <c:spPr>
              <a:solidFill>
                <a:srgbClr val="00A097"/>
              </a:solidFill>
            </c:spPr>
            <c:extLst>
              <c:ext xmlns:c16="http://schemas.microsoft.com/office/drawing/2014/chart" uri="{C3380CC4-5D6E-409C-BE32-E72D297353CC}">
                <c16:uniqueId val="{0000018B-2993-41DE-A2CB-63102DE87051}"/>
              </c:ext>
            </c:extLst>
          </c:dPt>
          <c:dPt>
            <c:idx val="197"/>
            <c:invertIfNegative val="1"/>
            <c:bubble3D val="0"/>
            <c:spPr>
              <a:solidFill>
                <a:srgbClr val="00A097"/>
              </a:solidFill>
            </c:spPr>
            <c:extLst>
              <c:ext xmlns:c16="http://schemas.microsoft.com/office/drawing/2014/chart" uri="{C3380CC4-5D6E-409C-BE32-E72D297353CC}">
                <c16:uniqueId val="{0000018D-2993-41DE-A2CB-63102DE87051}"/>
              </c:ext>
            </c:extLst>
          </c:dPt>
          <c:dPt>
            <c:idx val="198"/>
            <c:invertIfNegative val="1"/>
            <c:bubble3D val="0"/>
            <c:spPr>
              <a:solidFill>
                <a:srgbClr val="00A097"/>
              </a:solidFill>
            </c:spPr>
            <c:extLst>
              <c:ext xmlns:c16="http://schemas.microsoft.com/office/drawing/2014/chart" uri="{C3380CC4-5D6E-409C-BE32-E72D297353CC}">
                <c16:uniqueId val="{0000018F-2993-41DE-A2CB-63102DE87051}"/>
              </c:ext>
            </c:extLst>
          </c:dPt>
          <c:dPt>
            <c:idx val="199"/>
            <c:invertIfNegative val="1"/>
            <c:bubble3D val="0"/>
            <c:spPr>
              <a:solidFill>
                <a:srgbClr val="00A097"/>
              </a:solidFill>
            </c:spPr>
            <c:extLst>
              <c:ext xmlns:c16="http://schemas.microsoft.com/office/drawing/2014/chart" uri="{C3380CC4-5D6E-409C-BE32-E72D297353CC}">
                <c16:uniqueId val="{00000191-2993-41DE-A2CB-63102DE87051}"/>
              </c:ext>
            </c:extLst>
          </c:dPt>
          <c:dPt>
            <c:idx val="200"/>
            <c:invertIfNegative val="1"/>
            <c:bubble3D val="0"/>
            <c:spPr>
              <a:solidFill>
                <a:srgbClr val="00A097"/>
              </a:solidFill>
            </c:spPr>
            <c:extLst>
              <c:ext xmlns:c16="http://schemas.microsoft.com/office/drawing/2014/chart" uri="{C3380CC4-5D6E-409C-BE32-E72D297353CC}">
                <c16:uniqueId val="{00000193-2993-41DE-A2CB-63102DE87051}"/>
              </c:ext>
            </c:extLst>
          </c:dPt>
          <c:dPt>
            <c:idx val="201"/>
            <c:invertIfNegative val="1"/>
            <c:bubble3D val="0"/>
            <c:spPr>
              <a:solidFill>
                <a:srgbClr val="00A097"/>
              </a:solidFill>
            </c:spPr>
            <c:extLst>
              <c:ext xmlns:c16="http://schemas.microsoft.com/office/drawing/2014/chart" uri="{C3380CC4-5D6E-409C-BE32-E72D297353CC}">
                <c16:uniqueId val="{00000195-2993-41DE-A2CB-63102DE87051}"/>
              </c:ext>
            </c:extLst>
          </c:dPt>
          <c:dPt>
            <c:idx val="202"/>
            <c:invertIfNegative val="1"/>
            <c:bubble3D val="0"/>
            <c:spPr>
              <a:solidFill>
                <a:srgbClr val="00A097"/>
              </a:solidFill>
            </c:spPr>
            <c:extLst>
              <c:ext xmlns:c16="http://schemas.microsoft.com/office/drawing/2014/chart" uri="{C3380CC4-5D6E-409C-BE32-E72D297353CC}">
                <c16:uniqueId val="{00000197-2993-41DE-A2CB-63102DE87051}"/>
              </c:ext>
            </c:extLst>
          </c:dPt>
          <c:dPt>
            <c:idx val="203"/>
            <c:invertIfNegative val="1"/>
            <c:bubble3D val="0"/>
            <c:spPr>
              <a:solidFill>
                <a:srgbClr val="00A097"/>
              </a:solidFill>
            </c:spPr>
            <c:extLst>
              <c:ext xmlns:c16="http://schemas.microsoft.com/office/drawing/2014/chart" uri="{C3380CC4-5D6E-409C-BE32-E72D297353CC}">
                <c16:uniqueId val="{00000199-2993-41DE-A2CB-63102DE87051}"/>
              </c:ext>
            </c:extLst>
          </c:dPt>
          <c:dPt>
            <c:idx val="204"/>
            <c:invertIfNegative val="1"/>
            <c:bubble3D val="0"/>
            <c:spPr>
              <a:solidFill>
                <a:srgbClr val="00A097"/>
              </a:solidFill>
            </c:spPr>
            <c:extLst>
              <c:ext xmlns:c16="http://schemas.microsoft.com/office/drawing/2014/chart" uri="{C3380CC4-5D6E-409C-BE32-E72D297353CC}">
                <c16:uniqueId val="{0000019B-2993-41DE-A2CB-63102DE87051}"/>
              </c:ext>
            </c:extLst>
          </c:dPt>
          <c:dPt>
            <c:idx val="205"/>
            <c:invertIfNegative val="1"/>
            <c:bubble3D val="0"/>
            <c:spPr>
              <a:solidFill>
                <a:srgbClr val="00A097"/>
              </a:solidFill>
            </c:spPr>
            <c:extLst>
              <c:ext xmlns:c16="http://schemas.microsoft.com/office/drawing/2014/chart" uri="{C3380CC4-5D6E-409C-BE32-E72D297353CC}">
                <c16:uniqueId val="{0000019D-2993-41DE-A2CB-63102DE87051}"/>
              </c:ext>
            </c:extLst>
          </c:dPt>
          <c:dPt>
            <c:idx val="206"/>
            <c:invertIfNegative val="1"/>
            <c:bubble3D val="0"/>
            <c:spPr>
              <a:solidFill>
                <a:srgbClr val="00A097"/>
              </a:solidFill>
            </c:spPr>
            <c:extLst>
              <c:ext xmlns:c16="http://schemas.microsoft.com/office/drawing/2014/chart" uri="{C3380CC4-5D6E-409C-BE32-E72D297353CC}">
                <c16:uniqueId val="{0000019F-2993-41DE-A2CB-63102DE87051}"/>
              </c:ext>
            </c:extLst>
          </c:dPt>
          <c:dPt>
            <c:idx val="207"/>
            <c:invertIfNegative val="1"/>
            <c:bubble3D val="0"/>
            <c:spPr>
              <a:solidFill>
                <a:srgbClr val="00A097"/>
              </a:solidFill>
            </c:spPr>
            <c:extLst>
              <c:ext xmlns:c16="http://schemas.microsoft.com/office/drawing/2014/chart" uri="{C3380CC4-5D6E-409C-BE32-E72D297353CC}">
                <c16:uniqueId val="{000001A1-2993-41DE-A2CB-63102DE87051}"/>
              </c:ext>
            </c:extLst>
          </c:dPt>
          <c:dPt>
            <c:idx val="208"/>
            <c:invertIfNegative val="1"/>
            <c:bubble3D val="0"/>
            <c:spPr>
              <a:solidFill>
                <a:srgbClr val="00A097"/>
              </a:solidFill>
            </c:spPr>
            <c:extLst>
              <c:ext xmlns:c16="http://schemas.microsoft.com/office/drawing/2014/chart" uri="{C3380CC4-5D6E-409C-BE32-E72D297353CC}">
                <c16:uniqueId val="{000001A3-2993-41DE-A2CB-63102DE87051}"/>
              </c:ext>
            </c:extLst>
          </c:dPt>
          <c:dPt>
            <c:idx val="209"/>
            <c:invertIfNegative val="1"/>
            <c:bubble3D val="0"/>
            <c:spPr>
              <a:solidFill>
                <a:srgbClr val="00A097"/>
              </a:solidFill>
            </c:spPr>
            <c:extLst>
              <c:ext xmlns:c16="http://schemas.microsoft.com/office/drawing/2014/chart" uri="{C3380CC4-5D6E-409C-BE32-E72D297353CC}">
                <c16:uniqueId val="{000001A5-2993-41DE-A2CB-63102DE87051}"/>
              </c:ext>
            </c:extLst>
          </c:dPt>
          <c:dPt>
            <c:idx val="210"/>
            <c:spPr>
              <a:solidFill>
                <a:srgbClr val="00A097"/>
              </a:solidFill>
            </c:spPr>
          </c:dPt>
          <c:dPt>
            <c:idx val="211"/>
            <c:spPr>
              <a:solidFill>
                <a:srgbClr val="00A097"/>
              </a:solidFill>
            </c:spPr>
          </c:dPt>
          <c:dPt>
            <c:idx val="212"/>
            <c:spPr>
              <a:solidFill>
                <a:srgbClr val="00A097"/>
              </a:solidFill>
            </c:spPr>
          </c:dPt>
          <c:dPt>
            <c:idx val="213"/>
            <c:spPr>
              <a:solidFill>
                <a:srgbClr val="00A097"/>
              </a:solidFill>
            </c:spPr>
          </c:dPt>
          <c:dPt>
            <c:idx val="214"/>
            <c:spPr>
              <a:solidFill>
                <a:srgbClr val="00A097"/>
              </a:solidFill>
            </c:spPr>
          </c:dPt>
          <c:dPt>
            <c:idx val="215"/>
            <c:spPr>
              <a:solidFill>
                <a:srgbClr val="00A097"/>
              </a:solidFill>
            </c:spPr>
          </c:dPt>
          <c:dPt>
            <c:idx val="216"/>
            <c:spPr>
              <a:solidFill>
                <a:srgbClr val="00A097"/>
              </a:solidFill>
            </c:spPr>
          </c:dPt>
          <c:dPt>
            <c:idx val="217"/>
            <c:spPr>
              <a:solidFill>
                <a:srgbClr val="00A097"/>
              </a:solidFill>
            </c:spPr>
          </c:dPt>
          <c:dPt>
            <c:idx val="218"/>
            <c:spPr>
              <a:solidFill>
                <a:srgbClr val="00A097"/>
              </a:solidFill>
            </c:spPr>
          </c:dPt>
          <c:dPt>
            <c:idx val="219"/>
            <c:spPr>
              <a:solidFill>
                <a:srgbClr val="00A097"/>
              </a:solidFill>
            </c:spPr>
          </c:dPt>
          <c:dPt>
            <c:idx val="220"/>
            <c:spPr>
              <a:solidFill>
                <a:srgbClr val="00A097"/>
              </a:solidFill>
            </c:spPr>
          </c:dPt>
          <c:dPt>
            <c:idx val="221"/>
            <c:spPr>
              <a:solidFill>
                <a:srgbClr val="00A097"/>
              </a:solidFill>
            </c:spPr>
          </c:dPt>
          <c:dPt>
            <c:idx val="222"/>
            <c:spPr>
              <a:solidFill>
                <a:srgbClr val="00A097"/>
              </a:solidFill>
            </c:spPr>
          </c:dPt>
          <c:dPt>
            <c:idx val="223"/>
            <c:spPr>
              <a:solidFill>
                <a:srgbClr val="00A097"/>
              </a:solidFill>
            </c:spPr>
          </c:dPt>
          <c:dPt>
            <c:idx val="224"/>
            <c:spPr>
              <a:solidFill>
                <a:srgbClr val="00A097"/>
              </a:solidFill>
            </c:spPr>
          </c:dPt>
          <c:dPt>
            <c:idx val="225"/>
            <c:spPr>
              <a:solidFill>
                <a:srgbClr val="00A097"/>
              </a:solidFill>
            </c:spPr>
          </c:dPt>
          <c:dPt>
            <c:idx val="226"/>
            <c:spPr>
              <a:solidFill>
                <a:srgbClr val="00A097"/>
              </a:solidFill>
            </c:spPr>
          </c:dPt>
          <c:dPt>
            <c:idx val="227"/>
            <c:spPr>
              <a:solidFill>
                <a:srgbClr val="00A097"/>
              </a:solidFill>
            </c:spPr>
          </c:dPt>
          <c:dPt>
            <c:idx val="228"/>
            <c:spPr>
              <a:solidFill>
                <a:srgbClr val="00A097"/>
              </a:solidFill>
            </c:spPr>
          </c:dPt>
          <c:dPt>
            <c:idx val="229"/>
            <c:spPr>
              <a:solidFill>
                <a:srgbClr val="00A097"/>
              </a:solidFill>
            </c:spPr>
          </c:dPt>
          <c:dPt>
            <c:idx val="230"/>
            <c:spPr>
              <a:solidFill>
                <a:srgbClr val="00A097"/>
              </a:solidFill>
            </c:spPr>
          </c:dPt>
          <c:dPt>
            <c:idx val="231"/>
            <c:spPr>
              <a:solidFill>
                <a:srgbClr val="00A097"/>
              </a:solidFill>
            </c:spPr>
          </c:dPt>
          <c:dPt>
            <c:idx val="232"/>
            <c:spPr>
              <a:solidFill>
                <a:srgbClr val="00A097"/>
              </a:solidFill>
            </c:spPr>
          </c:dPt>
          <c:dPt>
            <c:idx val="233"/>
            <c:spPr>
              <a:solidFill>
                <a:srgbClr val="00A097"/>
              </a:solidFill>
            </c:spPr>
          </c:dPt>
          <c:dPt>
            <c:idx val="234"/>
            <c:spPr>
              <a:solidFill>
                <a:srgbClr val="00A097"/>
              </a:solidFill>
            </c:spPr>
          </c:dPt>
          <c:dPt>
            <c:idx val="235"/>
            <c:spPr>
              <a:solidFill>
                <a:srgbClr val="00A097"/>
              </a:solidFill>
            </c:spPr>
          </c:dPt>
          <c:dPt>
            <c:idx val="236"/>
            <c:spPr>
              <a:solidFill>
                <a:srgbClr val="00A097"/>
              </a:solidFill>
            </c:spPr>
          </c:dPt>
          <c:dPt>
            <c:idx val="237"/>
            <c:spPr>
              <a:solidFill>
                <a:srgbClr val="00A097"/>
              </a:solidFill>
            </c:spPr>
          </c:dPt>
          <c:dPt>
            <c:idx val="238"/>
            <c:spPr>
              <a:solidFill>
                <a:srgbClr val="00A097"/>
              </a:solidFill>
            </c:spPr>
          </c:dPt>
          <c:dPt>
            <c:idx val="239"/>
            <c:spPr>
              <a:solidFill>
                <a:srgbClr val="00A097"/>
              </a:solidFill>
            </c:spPr>
          </c:dPt>
          <c:dPt>
            <c:idx val="240"/>
            <c:spPr>
              <a:solidFill>
                <a:srgbClr val="00A097"/>
              </a:solidFill>
            </c:spPr>
          </c:dPt>
          <c:dPt>
            <c:idx val="241"/>
            <c:spPr>
              <a:solidFill>
                <a:srgbClr val="00A097"/>
              </a:solidFill>
            </c:spPr>
          </c:dPt>
          <c:dPt>
            <c:idx val="242"/>
            <c:spPr>
              <a:solidFill>
                <a:srgbClr val="00A097"/>
              </a:solidFill>
            </c:spPr>
          </c:dPt>
          <c:dPt>
            <c:idx val="243"/>
            <c:spPr>
              <a:solidFill>
                <a:srgbClr val="00A097"/>
              </a:solidFill>
            </c:spPr>
          </c:dPt>
          <c:dPt>
            <c:idx val="244"/>
            <c:spPr>
              <a:solidFill>
                <a:srgbClr val="00A097"/>
              </a:solidFill>
            </c:spPr>
          </c:dPt>
          <c:dPt>
            <c:idx val="245"/>
            <c:spPr>
              <a:solidFill>
                <a:srgbClr val="00A097"/>
              </a:solidFill>
            </c:spPr>
          </c:dPt>
          <c:dPt>
            <c:idx val="246"/>
            <c:spPr>
              <a:solidFill>
                <a:srgbClr val="00A097"/>
              </a:solidFill>
            </c:spPr>
          </c:dPt>
          <c:dPt>
            <c:idx val="247"/>
            <c:spPr>
              <a:solidFill>
                <a:srgbClr val="00A097"/>
              </a:solidFill>
            </c:spPr>
          </c:dPt>
          <c:dPt>
            <c:idx val="248"/>
            <c:spPr>
              <a:solidFill>
                <a:srgbClr val="00A097"/>
              </a:solidFill>
            </c:spPr>
          </c:dPt>
          <c:dPt>
            <c:idx val="249"/>
            <c:spPr>
              <a:solidFill>
                <a:srgbClr val="00A097"/>
              </a:solidFill>
            </c:spPr>
          </c:dPt>
          <c:dPt>
            <c:idx val="250"/>
            <c:spPr>
              <a:solidFill>
                <a:srgbClr val="00A097"/>
              </a:solidFill>
            </c:spPr>
          </c:dPt>
          <c:dPt>
            <c:idx val="251"/>
            <c:spPr>
              <a:solidFill>
                <a:srgbClr val="00A097"/>
              </a:solidFill>
            </c:spPr>
          </c:dPt>
          <c:dPt>
            <c:idx val="252"/>
            <c:spPr>
              <a:solidFill>
                <a:srgbClr val="00A097"/>
              </a:solidFill>
            </c:spPr>
          </c:dPt>
          <c:dPt>
            <c:idx val="253"/>
            <c:spPr>
              <a:solidFill>
                <a:srgbClr val="00A097"/>
              </a:solidFill>
            </c:spPr>
          </c:dPt>
          <c:dPt>
            <c:idx val="254"/>
            <c:spPr>
              <a:solidFill>
                <a:srgbClr val="00A097"/>
              </a:solidFill>
            </c:spPr>
          </c:dPt>
          <c:dPt>
            <c:idx val="255"/>
            <c:spPr>
              <a:solidFill>
                <a:srgbClr val="00A097"/>
              </a:solidFill>
            </c:spPr>
          </c:dPt>
          <c:dPt>
            <c:idx val="256"/>
            <c:spPr>
              <a:solidFill>
                <a:srgbClr val="00A097"/>
              </a:solidFill>
            </c:spPr>
          </c:dPt>
          <c:dPt>
            <c:idx val="257"/>
            <c:spPr>
              <a:solidFill>
                <a:srgbClr val="00A097"/>
              </a:solidFill>
            </c:spPr>
          </c:dPt>
          <c:dPt>
            <c:idx val="258"/>
            <c:spPr>
              <a:solidFill>
                <a:srgbClr val="00A097"/>
              </a:solidFill>
            </c:spPr>
          </c:dPt>
          <c:dPt>
            <c:idx val="259"/>
            <c:spPr>
              <a:solidFill>
                <a:srgbClr val="00A097"/>
              </a:solidFill>
            </c:spPr>
          </c:dPt>
          <c:dPt>
            <c:idx val="260"/>
            <c:spPr>
              <a:solidFill>
                <a:srgbClr val="00A097"/>
              </a:solidFill>
            </c:spPr>
          </c:dPt>
          <c:dPt>
            <c:idx val="261"/>
            <c:spPr>
              <a:solidFill>
                <a:srgbClr val="7ECAC4"/>
              </a:solidFill>
            </c:spPr>
          </c:dPt>
          <c:dPt>
            <c:idx val="262"/>
            <c:spPr>
              <a:solidFill>
                <a:srgbClr val="7ECAC4"/>
              </a:solidFill>
            </c:spPr>
          </c:dPt>
          <c:dPt>
            <c:idx val="263"/>
            <c:spPr>
              <a:solidFill>
                <a:srgbClr val="7ECAC4"/>
              </a:solidFill>
            </c:spPr>
          </c:dPt>
          <c:dPt>
            <c:idx val="264"/>
            <c:spPr>
              <a:solidFill>
                <a:srgbClr val="7ECAC4"/>
              </a:solidFill>
            </c:spPr>
          </c:dPt>
          <c:dPt>
            <c:idx val="265"/>
            <c:spPr>
              <a:solidFill>
                <a:srgbClr val="7ECAC4"/>
              </a:solidFill>
            </c:spPr>
          </c:dPt>
          <c:dPt>
            <c:idx val="266"/>
            <c:spPr>
              <a:solidFill>
                <a:srgbClr val="7ECAC4"/>
              </a:solidFill>
            </c:spPr>
          </c:dPt>
          <c:dPt>
            <c:idx val="267"/>
            <c:spPr>
              <a:solidFill>
                <a:srgbClr val="7ECAC4"/>
              </a:solidFill>
            </c:spPr>
          </c:dPt>
          <c:dPt>
            <c:idx val="268"/>
            <c:spPr>
              <a:solidFill>
                <a:srgbClr val="7ECAC4"/>
              </a:solidFill>
            </c:spPr>
          </c:dPt>
          <c:dPt>
            <c:idx val="269"/>
            <c:spPr>
              <a:solidFill>
                <a:srgbClr val="7ECAC4"/>
              </a:solidFill>
            </c:spPr>
          </c:dPt>
          <c:dPt>
            <c:idx val="270"/>
            <c:spPr>
              <a:solidFill>
                <a:srgbClr val="7ECAC4"/>
              </a:solidFill>
            </c:spPr>
          </c:dPt>
          <c:dPt>
            <c:idx val="271"/>
            <c:spPr>
              <a:solidFill>
                <a:srgbClr val="7ECAC4"/>
              </a:solidFill>
            </c:spPr>
          </c:dPt>
          <c:dPt>
            <c:idx val="272"/>
            <c:spPr>
              <a:solidFill>
                <a:srgbClr val="7ECAC4"/>
              </a:solidFill>
            </c:spPr>
          </c:dPt>
          <c:dPt>
            <c:idx val="273"/>
            <c:spPr>
              <a:solidFill>
                <a:srgbClr val="7ECAC4"/>
              </a:solidFill>
            </c:spPr>
          </c:dPt>
          <c:dPt>
            <c:idx val="274"/>
            <c:spPr>
              <a:solidFill>
                <a:srgbClr val="7ECAC4"/>
              </a:solidFill>
            </c:spPr>
          </c:dPt>
          <c:dPt>
            <c:idx val="275"/>
            <c:spPr>
              <a:solidFill>
                <a:srgbClr val="7ECAC4"/>
              </a:solidFill>
            </c:spPr>
          </c:dPt>
          <c:dPt>
            <c:idx val="276"/>
            <c:spPr>
              <a:solidFill>
                <a:srgbClr val="7ECAC4"/>
              </a:solidFill>
            </c:spPr>
          </c:dPt>
          <c:dPt>
            <c:idx val="277"/>
            <c:spPr>
              <a:solidFill>
                <a:srgbClr val="7ECAC4"/>
              </a:solidFill>
            </c:spPr>
          </c:dPt>
          <c:dPt>
            <c:idx val="278"/>
            <c:spPr>
              <a:solidFill>
                <a:srgbClr val="7ECAC4"/>
              </a:solidFill>
            </c:spPr>
          </c:dPt>
          <c:dPt>
            <c:idx val="279"/>
            <c:spPr>
              <a:solidFill>
                <a:srgbClr val="7ECAC4"/>
              </a:solidFill>
            </c:spPr>
          </c:dPt>
          <c:dPt>
            <c:idx val="280"/>
            <c:spPr>
              <a:solidFill>
                <a:srgbClr val="7ECAC4"/>
              </a:solidFill>
            </c:spPr>
          </c:dPt>
          <c:dPt>
            <c:idx val="281"/>
            <c:spPr>
              <a:solidFill>
                <a:srgbClr val="7ECAC4"/>
              </a:solidFill>
            </c:spPr>
          </c:dPt>
          <c:dPt>
            <c:idx val="282"/>
            <c:spPr>
              <a:solidFill>
                <a:srgbClr val="7ECAC4"/>
              </a:solidFill>
            </c:spPr>
          </c:dPt>
          <c:dPt>
            <c:idx val="283"/>
            <c:spPr>
              <a:solidFill>
                <a:srgbClr val="7ECAC4"/>
              </a:solidFill>
            </c:spPr>
          </c:dPt>
          <c:dPt>
            <c:idx val="284"/>
            <c:spPr>
              <a:solidFill>
                <a:srgbClr val="7ECAC4"/>
              </a:solidFill>
            </c:spPr>
          </c:dPt>
          <c:dPt>
            <c:idx val="285"/>
            <c:spPr>
              <a:solidFill>
                <a:srgbClr val="7ECAC4"/>
              </a:solidFill>
            </c:spPr>
          </c:dPt>
          <c:dPt>
            <c:idx val="286"/>
            <c:spPr>
              <a:solidFill>
                <a:srgbClr val="7ECAC4"/>
              </a:solidFill>
            </c:spPr>
          </c:dPt>
          <c:dPt>
            <c:idx val="287"/>
            <c:spPr>
              <a:solidFill>
                <a:srgbClr val="7ECAC4"/>
              </a:solidFill>
            </c:spPr>
          </c:dPt>
          <c:dPt>
            <c:idx val="288"/>
            <c:spPr>
              <a:solidFill>
                <a:srgbClr val="7ECAC4"/>
              </a:solidFill>
            </c:spPr>
          </c:dPt>
          <c:dPt>
            <c:idx val="289"/>
            <c:spPr>
              <a:solidFill>
                <a:srgbClr val="7ECAC4"/>
              </a:solidFill>
            </c:spPr>
          </c:dPt>
          <c:dPt>
            <c:idx val="290"/>
            <c:spPr>
              <a:solidFill>
                <a:srgbClr val="7ECAC4"/>
              </a:solidFill>
            </c:spPr>
          </c:dPt>
          <c:dPt>
            <c:idx val="291"/>
            <c:spPr>
              <a:solidFill>
                <a:srgbClr val="7ECAC4"/>
              </a:solidFill>
            </c:spPr>
          </c:dPt>
          <c:dPt>
            <c:idx val="292"/>
            <c:spPr>
              <a:solidFill>
                <a:srgbClr val="7ECAC4"/>
              </a:solidFill>
            </c:spPr>
          </c:dPt>
          <c:dPt>
            <c:idx val="293"/>
            <c:spPr>
              <a:solidFill>
                <a:srgbClr val="7ECAC4"/>
              </a:solidFill>
            </c:spPr>
          </c:dPt>
          <c:dPt>
            <c:idx val="294"/>
            <c:spPr>
              <a:solidFill>
                <a:srgbClr val="7ECAC4"/>
              </a:solidFill>
            </c:spPr>
          </c:dPt>
          <c:dPt>
            <c:idx val="295"/>
            <c:spPr>
              <a:solidFill>
                <a:srgbClr val="7ECAC4"/>
              </a:solidFill>
            </c:spPr>
          </c:dPt>
          <c:dPt>
            <c:idx val="296"/>
            <c:spPr>
              <a:solidFill>
                <a:srgbClr val="7ECAC4"/>
              </a:solidFill>
            </c:spPr>
          </c:dPt>
          <c:dPt>
            <c:idx val="297"/>
            <c:spPr>
              <a:solidFill>
                <a:srgbClr val="7ECAC4"/>
              </a:solidFill>
            </c:spPr>
          </c:dPt>
          <c:dPt>
            <c:idx val="298"/>
            <c:spPr>
              <a:solidFill>
                <a:srgbClr val="7ECAC4"/>
              </a:solidFill>
            </c:spPr>
          </c:dPt>
          <c:dPt>
            <c:idx val="299"/>
            <c:spPr>
              <a:solidFill>
                <a:srgbClr val="7ECAC4"/>
              </a:solidFill>
            </c:spPr>
          </c:dPt>
          <c:dPt>
            <c:idx val="300"/>
            <c:spPr>
              <a:solidFill>
                <a:srgbClr val="7ECAC4"/>
              </a:solidFill>
            </c:spPr>
          </c:dPt>
          <c:dPt>
            <c:idx val="301"/>
            <c:spPr>
              <a:solidFill>
                <a:srgbClr val="7ECAC4"/>
              </a:solidFill>
            </c:spPr>
          </c:dPt>
          <c:dPt>
            <c:idx val="302"/>
            <c:spPr>
              <a:solidFill>
                <a:srgbClr val="7ECAC4"/>
              </a:solidFill>
            </c:spPr>
          </c:dPt>
          <c:dPt>
            <c:idx val="303"/>
            <c:spPr>
              <a:solidFill>
                <a:srgbClr val="7ECAC4"/>
              </a:solidFill>
            </c:spPr>
          </c:dPt>
          <c:dPt>
            <c:idx val="304"/>
            <c:spPr>
              <a:solidFill>
                <a:srgbClr val="7ECAC4"/>
              </a:solidFill>
            </c:spPr>
          </c:dPt>
          <c:dPt>
            <c:idx val="305"/>
            <c:spPr>
              <a:solidFill>
                <a:srgbClr val="7ECAC4"/>
              </a:solidFill>
            </c:spPr>
          </c:dPt>
          <c:dPt>
            <c:idx val="306"/>
            <c:spPr>
              <a:solidFill>
                <a:srgbClr val="7ECAC4"/>
              </a:solidFill>
            </c:spPr>
          </c:dPt>
          <c:dPt>
            <c:idx val="307"/>
            <c:spPr>
              <a:solidFill>
                <a:srgbClr val="7ECAC4"/>
              </a:solidFill>
            </c:spPr>
          </c:dPt>
          <c:dPt>
            <c:idx val="308"/>
            <c:spPr>
              <a:solidFill>
                <a:srgbClr val="7ECAC4"/>
              </a:solidFill>
            </c:spPr>
          </c:dPt>
          <c:dPt>
            <c:idx val="309"/>
            <c:spPr>
              <a:solidFill>
                <a:srgbClr val="7ECAC4"/>
              </a:solidFill>
            </c:spPr>
          </c:dPt>
          <c:dPt>
            <c:idx val="310"/>
            <c:spPr>
              <a:solidFill>
                <a:srgbClr val="7ECAC4"/>
              </a:solidFill>
            </c:spPr>
          </c:dPt>
          <c:dPt>
            <c:idx val="311"/>
            <c:spPr>
              <a:solidFill>
                <a:srgbClr val="7ECAC4"/>
              </a:solidFill>
            </c:spPr>
          </c:dPt>
          <c:dPt>
            <c:idx val="312"/>
            <c:spPr>
              <a:solidFill>
                <a:srgbClr val="7ECAC4"/>
              </a:solidFill>
            </c:spPr>
          </c:dPt>
          <c:dPt>
            <c:idx val="313"/>
            <c:spPr>
              <a:solidFill>
                <a:srgbClr val="7ECAC4"/>
              </a:solidFill>
            </c:spPr>
          </c:dPt>
          <c:dPt>
            <c:idx val="314"/>
            <c:spPr>
              <a:solidFill>
                <a:srgbClr val="7ECAC4"/>
              </a:solidFill>
            </c:spPr>
          </c:dPt>
          <c:dPt>
            <c:idx val="315"/>
            <c:spPr>
              <a:solidFill>
                <a:srgbClr val="7ECAC4"/>
              </a:solidFill>
            </c:spPr>
          </c:dPt>
          <c:dPt>
            <c:idx val="316"/>
            <c:spPr>
              <a:solidFill>
                <a:srgbClr val="7ECAC4"/>
              </a:solidFill>
            </c:spPr>
          </c:dPt>
          <c:dPt>
            <c:idx val="317"/>
            <c:spPr>
              <a:solidFill>
                <a:srgbClr val="7ECAC4"/>
              </a:solidFill>
            </c:spPr>
          </c:dPt>
          <c:dPt>
            <c:idx val="318"/>
            <c:spPr>
              <a:solidFill>
                <a:srgbClr val="7ECAC4"/>
              </a:solidFill>
            </c:spPr>
          </c:dPt>
          <c:dPt>
            <c:idx val="319"/>
            <c:spPr>
              <a:solidFill>
                <a:srgbClr val="7ECAC4"/>
              </a:solidFill>
            </c:spPr>
          </c:dPt>
          <c:dPt>
            <c:idx val="320"/>
            <c:spPr>
              <a:solidFill>
                <a:srgbClr val="7ECAC4"/>
              </a:solidFill>
            </c:spPr>
          </c:dPt>
          <c:dPt>
            <c:idx val="321"/>
            <c:spPr>
              <a:solidFill>
                <a:srgbClr val="7ECAC4"/>
              </a:solidFill>
            </c:spPr>
          </c:dPt>
          <c:dPt>
            <c:idx val="322"/>
            <c:spPr>
              <a:solidFill>
                <a:srgbClr val="7ECAC4"/>
              </a:solidFill>
            </c:spPr>
          </c:dPt>
          <c:dPt>
            <c:idx val="323"/>
            <c:spPr>
              <a:solidFill>
                <a:srgbClr val="7ECAC4"/>
              </a:solidFill>
            </c:spPr>
          </c:dPt>
          <c:dPt>
            <c:idx val="324"/>
            <c:spPr>
              <a:solidFill>
                <a:srgbClr val="7ECAC4"/>
              </a:solidFill>
            </c:spPr>
          </c:dPt>
          <c:dPt>
            <c:idx val="325"/>
            <c:spPr>
              <a:solidFill>
                <a:srgbClr val="7ECAC4"/>
              </a:solidFill>
            </c:spPr>
          </c:dPt>
          <c:dPt>
            <c:idx val="326"/>
            <c:spPr>
              <a:solidFill>
                <a:srgbClr val="7ECAC4"/>
              </a:solidFill>
            </c:spPr>
          </c:dPt>
          <c:dPt>
            <c:idx val="327"/>
            <c:spPr>
              <a:solidFill>
                <a:srgbClr val="7ECAC4"/>
              </a:solidFill>
            </c:spPr>
          </c:dPt>
          <c:dPt>
            <c:idx val="328"/>
            <c:spPr>
              <a:solidFill>
                <a:srgbClr val="7ECAC4"/>
              </a:solidFill>
            </c:spPr>
          </c:dPt>
          <c:dPt>
            <c:idx val="329"/>
            <c:spPr>
              <a:solidFill>
                <a:srgbClr val="7ECAC4"/>
              </a:solidFill>
            </c:spPr>
          </c:dPt>
          <c:dPt>
            <c:idx val="330"/>
            <c:spPr>
              <a:solidFill>
                <a:srgbClr val="7ECAC4"/>
              </a:solidFill>
            </c:spPr>
          </c:dPt>
          <c:dPt>
            <c:idx val="331"/>
            <c:spPr>
              <a:solidFill>
                <a:srgbClr val="7ECAC4"/>
              </a:solidFill>
            </c:spPr>
          </c:dPt>
          <c:dPt>
            <c:idx val="332"/>
            <c:spPr>
              <a:solidFill>
                <a:srgbClr val="7ECAC4"/>
              </a:solidFill>
            </c:spPr>
          </c:dPt>
          <c:dPt>
            <c:idx val="333"/>
            <c:spPr>
              <a:solidFill>
                <a:srgbClr val="7ECAC4"/>
              </a:solidFill>
            </c:spPr>
          </c:dPt>
          <c:dPt>
            <c:idx val="334"/>
            <c:spPr>
              <a:solidFill>
                <a:srgbClr val="7ECAC4"/>
              </a:solidFill>
            </c:spPr>
          </c:dPt>
          <c:dPt>
            <c:idx val="335"/>
            <c:spPr>
              <a:solidFill>
                <a:srgbClr val="7ECAC4"/>
              </a:solidFill>
            </c:spPr>
          </c:dPt>
          <c:dPt>
            <c:idx val="336"/>
            <c:spPr>
              <a:solidFill>
                <a:srgbClr val="7ECAC4"/>
              </a:solidFill>
            </c:spPr>
          </c:dPt>
          <c:dPt>
            <c:idx val="337"/>
            <c:spPr>
              <a:solidFill>
                <a:srgbClr val="7ECAC4"/>
              </a:solidFill>
            </c:spPr>
          </c:dPt>
          <c:dPt>
            <c:idx val="338"/>
            <c:spPr>
              <a:solidFill>
                <a:srgbClr val="7ECAC4"/>
              </a:solidFill>
            </c:spPr>
          </c:dPt>
          <c:dPt>
            <c:idx val="339"/>
            <c:spPr>
              <a:solidFill>
                <a:srgbClr val="7ECAC4"/>
              </a:solidFill>
            </c:spPr>
          </c:dPt>
          <c:dPt>
            <c:idx val="340"/>
            <c:spPr>
              <a:solidFill>
                <a:srgbClr val="7ECAC4"/>
              </a:solidFill>
            </c:spPr>
          </c:dPt>
          <c:dPt>
            <c:idx val="341"/>
            <c:spPr>
              <a:solidFill>
                <a:srgbClr val="7ECAC4"/>
              </a:solidFill>
            </c:spPr>
          </c:dPt>
          <c:dPt>
            <c:idx val="342"/>
            <c:spPr>
              <a:solidFill>
                <a:srgbClr val="7ECAC4"/>
              </a:solidFill>
            </c:spPr>
          </c:dPt>
          <c:dPt>
            <c:idx val="343"/>
            <c:spPr>
              <a:solidFill>
                <a:srgbClr val="7ECAC4"/>
              </a:solidFill>
            </c:spPr>
          </c:dPt>
          <c:dPt>
            <c:idx val="344"/>
            <c:spPr>
              <a:solidFill>
                <a:srgbClr val="7ECAC4"/>
              </a:solidFill>
            </c:spPr>
          </c:dPt>
          <c:dPt>
            <c:idx val="345"/>
            <c:spPr>
              <a:solidFill>
                <a:srgbClr val="7ECAC4"/>
              </a:solidFill>
            </c:spPr>
          </c:dPt>
          <c:dPt>
            <c:idx val="346"/>
            <c:spPr>
              <a:solidFill>
                <a:srgbClr val="7ECAC4"/>
              </a:solidFill>
            </c:spPr>
          </c:dPt>
          <c:dPt>
            <c:idx val="347"/>
            <c:spPr>
              <a:solidFill>
                <a:srgbClr val="7ECAC4"/>
              </a:solidFill>
            </c:spPr>
          </c:dPt>
          <c:dPt>
            <c:idx val="348"/>
            <c:spPr>
              <a:solidFill>
                <a:srgbClr val="7ECAC4"/>
              </a:solidFill>
            </c:spPr>
          </c:dPt>
          <c:dPt>
            <c:idx val="349"/>
            <c:spPr>
              <a:solidFill>
                <a:srgbClr val="7ECAC4"/>
              </a:solidFill>
            </c:spPr>
          </c:dPt>
          <c:dPt>
            <c:idx val="350"/>
            <c:spPr>
              <a:solidFill>
                <a:srgbClr val="7ECAC4"/>
              </a:solidFill>
            </c:spPr>
          </c:dPt>
          <c:dPt>
            <c:idx val="351"/>
            <c:spPr>
              <a:solidFill>
                <a:srgbClr val="7ECAC4"/>
              </a:solidFill>
            </c:spPr>
          </c:dPt>
          <c:dPt>
            <c:idx val="352"/>
            <c:spPr>
              <a:solidFill>
                <a:srgbClr val="7ECAC4"/>
              </a:solidFill>
            </c:spPr>
          </c:dPt>
          <c:dPt>
            <c:idx val="353"/>
            <c:spPr>
              <a:solidFill>
                <a:srgbClr val="7ECAC4"/>
              </a:solidFill>
            </c:spPr>
          </c:dPt>
          <c:dPt>
            <c:idx val="354"/>
            <c:spPr>
              <a:solidFill>
                <a:srgbClr val="7ECAC4"/>
              </a:solidFill>
            </c:spPr>
          </c:dPt>
          <c:dPt>
            <c:idx val="355"/>
            <c:spPr>
              <a:solidFill>
                <a:srgbClr val="7ECAC4"/>
              </a:solidFill>
            </c:spPr>
          </c:dPt>
          <c:dPt>
            <c:idx val="356"/>
            <c:spPr>
              <a:solidFill>
                <a:srgbClr val="7ECAC4"/>
              </a:solidFill>
            </c:spPr>
          </c:dPt>
          <c:dPt>
            <c:idx val="357"/>
            <c:spPr>
              <a:solidFill>
                <a:srgbClr val="7ECAC4"/>
              </a:solidFill>
            </c:spPr>
          </c:dPt>
          <c:dPt>
            <c:idx val="358"/>
            <c:spPr>
              <a:solidFill>
                <a:srgbClr val="7ECAC4"/>
              </a:solidFill>
            </c:spPr>
          </c:dPt>
          <c:dPt>
            <c:idx val="359"/>
            <c:spPr>
              <a:solidFill>
                <a:srgbClr val="7ECAC4"/>
              </a:solidFill>
            </c:spPr>
          </c:dPt>
          <c:dPt>
            <c:idx val="360"/>
            <c:spPr>
              <a:solidFill>
                <a:srgbClr val="7ECAC4"/>
              </a:solidFill>
            </c:spPr>
          </c:dPt>
          <c:dPt>
            <c:idx val="361"/>
            <c:spPr>
              <a:solidFill>
                <a:srgbClr val="7ECAC4"/>
              </a:solidFill>
            </c:spPr>
          </c:dPt>
          <c:dPt>
            <c:idx val="362"/>
            <c:spPr>
              <a:solidFill>
                <a:srgbClr val="7ECAC4"/>
              </a:solidFill>
            </c:spPr>
          </c:dPt>
          <c:dPt>
            <c:idx val="363"/>
            <c:spPr>
              <a:solidFill>
                <a:srgbClr val="7ECAC4"/>
              </a:solidFill>
            </c:spPr>
          </c:dPt>
          <c:dPt>
            <c:idx val="364"/>
            <c:spPr>
              <a:solidFill>
                <a:srgbClr val="7ECAC4"/>
              </a:solidFill>
            </c:spPr>
          </c:dPt>
          <c:dPt>
            <c:idx val="365"/>
            <c:spPr>
              <a:solidFill>
                <a:srgbClr val="7ECAC4"/>
              </a:solidFill>
            </c:spPr>
          </c:dPt>
          <c:dPt>
            <c:idx val="366"/>
            <c:spPr>
              <a:solidFill>
                <a:srgbClr val="7ECAC4"/>
              </a:solidFill>
            </c:spPr>
          </c:dPt>
          <c:dPt>
            <c:idx val="367"/>
            <c:spPr>
              <a:solidFill>
                <a:srgbClr val="7ECAC4"/>
              </a:solidFill>
            </c:spPr>
          </c:dPt>
          <c:dPt>
            <c:idx val="368"/>
            <c:spPr>
              <a:solidFill>
                <a:srgbClr val="7ECAC4"/>
              </a:solidFill>
            </c:spPr>
          </c:dPt>
          <c:dPt>
            <c:idx val="369"/>
            <c:spPr>
              <a:solidFill>
                <a:srgbClr val="7ECAC4"/>
              </a:solidFill>
            </c:spPr>
          </c:dPt>
          <c:dPt>
            <c:idx val="370"/>
            <c:spPr>
              <a:solidFill>
                <a:srgbClr val="7ECAC4"/>
              </a:solidFill>
            </c:spPr>
          </c:dPt>
          <c:dPt>
            <c:idx val="371"/>
            <c:spPr>
              <a:solidFill>
                <a:srgbClr val="7ECAC4"/>
              </a:solidFill>
            </c:spPr>
          </c:dPt>
          <c:dPt>
            <c:idx val="372"/>
            <c:spPr>
              <a:solidFill>
                <a:srgbClr val="7ECAC4"/>
              </a:solidFill>
            </c:spPr>
          </c:dPt>
          <c:dPt>
            <c:idx val="373"/>
            <c:spPr>
              <a:solidFill>
                <a:srgbClr val="7ECAC4"/>
              </a:solidFill>
            </c:spPr>
          </c:dPt>
          <c:dPt>
            <c:idx val="374"/>
            <c:spPr>
              <a:solidFill>
                <a:srgbClr val="7ECAC4"/>
              </a:solidFill>
            </c:spPr>
          </c:dPt>
          <c:dPt>
            <c:idx val="375"/>
            <c:spPr>
              <a:solidFill>
                <a:srgbClr val="7ECAC4"/>
              </a:solidFill>
            </c:spPr>
          </c:dPt>
          <c:dPt>
            <c:idx val="376"/>
            <c:spPr>
              <a:solidFill>
                <a:srgbClr val="7ECAC4"/>
              </a:solidFill>
            </c:spPr>
          </c:dPt>
          <c:dPt>
            <c:idx val="377"/>
            <c:spPr>
              <a:solidFill>
                <a:srgbClr val="7ECAC4"/>
              </a:solidFill>
            </c:spPr>
          </c:dPt>
          <c:dPt>
            <c:idx val="378"/>
            <c:spPr>
              <a:solidFill>
                <a:srgbClr val="7ECAC4"/>
              </a:solidFill>
            </c:spPr>
          </c:dPt>
          <c:dPt>
            <c:idx val="379"/>
            <c:spPr>
              <a:solidFill>
                <a:srgbClr val="7ECAC4"/>
              </a:solidFill>
            </c:spPr>
          </c:dPt>
          <c:dPt>
            <c:idx val="380"/>
            <c:spPr>
              <a:solidFill>
                <a:srgbClr val="7ECAC4"/>
              </a:solidFill>
            </c:spPr>
          </c:dPt>
          <c:dPt>
            <c:idx val="381"/>
            <c:spPr>
              <a:solidFill>
                <a:srgbClr val="7ECAC4"/>
              </a:solidFill>
            </c:spPr>
          </c:dPt>
          <c:dPt>
            <c:idx val="382"/>
            <c:spPr>
              <a:solidFill>
                <a:srgbClr val="7ECAC4"/>
              </a:solidFill>
            </c:spPr>
          </c:dPt>
          <c:dPt>
            <c:idx val="383"/>
            <c:spPr>
              <a:solidFill>
                <a:srgbClr val="7ECAC4"/>
              </a:solidFill>
            </c:spPr>
          </c:dPt>
          <c:dPt>
            <c:idx val="384"/>
            <c:spPr>
              <a:solidFill>
                <a:srgbClr val="7ECAC4"/>
              </a:solidFill>
            </c:spPr>
          </c:dPt>
          <c:dPt>
            <c:idx val="385"/>
            <c:spPr>
              <a:solidFill>
                <a:srgbClr val="7ECAC4"/>
              </a:solidFill>
            </c:spPr>
          </c:dPt>
          <c:dPt>
            <c:idx val="386"/>
            <c:spPr>
              <a:solidFill>
                <a:srgbClr val="7ECAC4"/>
              </a:solidFill>
            </c:spPr>
          </c:dPt>
          <c:dPt>
            <c:idx val="387"/>
            <c:spPr>
              <a:solidFill>
                <a:srgbClr val="7ECAC4"/>
              </a:solidFill>
            </c:spPr>
          </c:dPt>
          <c:dPt>
            <c:idx val="388"/>
            <c:spPr>
              <a:solidFill>
                <a:srgbClr val="7ECAC4"/>
              </a:solidFill>
            </c:spPr>
          </c:dPt>
          <c:dPt>
            <c:idx val="389"/>
            <c:spPr>
              <a:solidFill>
                <a:srgbClr val="7ECAC4"/>
              </a:solidFill>
            </c:spPr>
          </c:dPt>
          <c:dPt>
            <c:idx val="390"/>
            <c:spPr>
              <a:solidFill>
                <a:srgbClr val="7ECAC4"/>
              </a:solidFill>
            </c:spPr>
          </c:dPt>
          <c:dPt>
            <c:idx val="391"/>
            <c:spPr>
              <a:solidFill>
                <a:srgbClr val="7ECAC4"/>
              </a:solidFill>
            </c:spPr>
          </c:dPt>
          <c:dPt>
            <c:idx val="392"/>
            <c:spPr>
              <a:solidFill>
                <a:srgbClr val="7ECAC4"/>
              </a:solidFill>
            </c:spPr>
          </c:dPt>
          <c:dPt>
            <c:idx val="393"/>
            <c:spPr>
              <a:solidFill>
                <a:srgbClr val="7ECAC4"/>
              </a:solidFill>
            </c:spPr>
          </c:dPt>
          <c:dPt>
            <c:idx val="394"/>
            <c:spPr>
              <a:solidFill>
                <a:srgbClr val="7ECAC4"/>
              </a:solidFill>
            </c:spPr>
          </c:dPt>
          <c:dPt>
            <c:idx val="395"/>
            <c:spPr>
              <a:solidFill>
                <a:srgbClr val="7ECAC4"/>
              </a:solidFill>
            </c:spPr>
          </c:dPt>
          <c:dPt>
            <c:idx val="396"/>
            <c:spPr>
              <a:solidFill>
                <a:srgbClr val="7ECAC4"/>
              </a:solidFill>
            </c:spPr>
          </c:dPt>
          <c:dPt>
            <c:idx val="397"/>
            <c:spPr>
              <a:solidFill>
                <a:srgbClr val="7ECAC4"/>
              </a:solidFill>
            </c:spPr>
          </c:dPt>
          <c:dPt>
            <c:idx val="398"/>
            <c:spPr>
              <a:solidFill>
                <a:srgbClr val="7ECAC4"/>
              </a:solidFill>
            </c:spPr>
          </c:dPt>
          <c:dPt>
            <c:idx val="399"/>
            <c:spPr>
              <a:solidFill>
                <a:srgbClr val="7ECAC4"/>
              </a:solidFill>
            </c:spPr>
          </c:dPt>
          <c:dPt>
            <c:idx val="400"/>
            <c:spPr>
              <a:solidFill>
                <a:srgbClr val="7ECAC4"/>
              </a:solidFill>
            </c:spPr>
          </c:dPt>
          <c:dPt>
            <c:idx val="401"/>
            <c:spPr>
              <a:solidFill>
                <a:srgbClr val="7ECAC4"/>
              </a:solidFill>
            </c:spPr>
          </c:dPt>
          <c:dPt>
            <c:idx val="402"/>
            <c:spPr>
              <a:solidFill>
                <a:srgbClr val="7ECAC4"/>
              </a:solidFill>
            </c:spPr>
          </c:dPt>
          <c:dPt>
            <c:idx val="403"/>
            <c:spPr>
              <a:solidFill>
                <a:srgbClr val="7ECAC4"/>
              </a:solidFill>
            </c:spPr>
          </c:dPt>
          <c:dPt>
            <c:idx val="404"/>
            <c:spPr>
              <a:solidFill>
                <a:srgbClr val="7ECAC4"/>
              </a:solidFill>
            </c:spPr>
          </c:dPt>
          <c:dPt>
            <c:idx val="405"/>
            <c:spPr>
              <a:solidFill>
                <a:srgbClr val="7ECAC4"/>
              </a:solidFill>
            </c:spPr>
          </c:dPt>
          <c:dPt>
            <c:idx val="406"/>
            <c:spPr>
              <a:solidFill>
                <a:srgbClr val="7ECAC4"/>
              </a:solidFill>
            </c:spPr>
          </c:dPt>
          <c:dPt>
            <c:idx val="407"/>
            <c:spPr>
              <a:solidFill>
                <a:srgbClr val="7ECAC4"/>
              </a:solidFill>
            </c:spPr>
          </c:dPt>
          <c:dPt>
            <c:idx val="408"/>
            <c:spPr>
              <a:solidFill>
                <a:srgbClr val="7ECAC4"/>
              </a:solidFill>
            </c:spPr>
          </c:dPt>
          <c:dPt>
            <c:idx val="409"/>
            <c:spPr>
              <a:solidFill>
                <a:srgbClr val="7ECAC4"/>
              </a:solidFill>
            </c:spPr>
          </c:dPt>
          <c:dPt>
            <c:idx val="410"/>
            <c:spPr>
              <a:solidFill>
                <a:srgbClr val="7ECAC4"/>
              </a:solidFill>
            </c:spPr>
          </c:dPt>
          <c:dPt>
            <c:idx val="411"/>
            <c:spPr>
              <a:solidFill>
                <a:srgbClr val="7ECAC4"/>
              </a:solidFill>
            </c:spPr>
          </c:dPt>
          <c:dPt>
            <c:idx val="412"/>
            <c:spPr>
              <a:solidFill>
                <a:srgbClr val="7ECAC4"/>
              </a:solidFill>
            </c:spPr>
          </c:dPt>
          <c:dPt>
            <c:idx val="413"/>
            <c:spPr>
              <a:solidFill>
                <a:srgbClr val="7ECAC4"/>
              </a:solidFill>
            </c:spPr>
          </c:dPt>
          <c:dPt>
            <c:idx val="414"/>
            <c:spPr>
              <a:solidFill>
                <a:srgbClr val="7ECAC4"/>
              </a:solidFill>
            </c:spPr>
          </c:dPt>
          <c:dPt>
            <c:idx val="415"/>
            <c:spPr>
              <a:solidFill>
                <a:srgbClr val="7ECAC4"/>
              </a:solidFill>
            </c:spPr>
          </c:dPt>
          <c:dPt>
            <c:idx val="416"/>
            <c:spPr>
              <a:solidFill>
                <a:srgbClr val="7ECAC4"/>
              </a:solidFill>
            </c:spPr>
          </c:dPt>
          <c:dPt>
            <c:idx val="417"/>
            <c:spPr>
              <a:solidFill>
                <a:srgbClr val="7ECAC4"/>
              </a:solidFill>
            </c:spPr>
          </c:dPt>
          <c:dPt>
            <c:idx val="418"/>
            <c:spPr>
              <a:solidFill>
                <a:srgbClr val="7ECAC4"/>
              </a:solidFill>
            </c:spPr>
          </c:dPt>
          <c:dPt>
            <c:idx val="419"/>
            <c:spPr>
              <a:solidFill>
                <a:srgbClr val="7ECAC4"/>
              </a:solidFill>
            </c:spPr>
          </c:dPt>
          <c:dPt>
            <c:idx val="420"/>
            <c:spPr>
              <a:solidFill>
                <a:srgbClr val="7ECAC4"/>
              </a:solidFill>
            </c:spPr>
          </c:dPt>
          <c:dPt>
            <c:idx val="421"/>
            <c:spPr>
              <a:solidFill>
                <a:srgbClr val="7ECAC4"/>
              </a:solidFill>
            </c:spPr>
          </c:dPt>
          <c:dPt>
            <c:idx val="422"/>
            <c:spPr>
              <a:solidFill>
                <a:srgbClr val="7ECAC4"/>
              </a:solidFill>
            </c:spPr>
          </c:dPt>
          <c:dPt>
            <c:idx val="423"/>
            <c:spPr>
              <a:solidFill>
                <a:srgbClr val="7ECAC4"/>
              </a:solidFill>
            </c:spPr>
          </c:dPt>
          <c:dPt>
            <c:idx val="424"/>
            <c:spPr>
              <a:solidFill>
                <a:srgbClr val="7ECAC4"/>
              </a:solidFill>
            </c:spPr>
          </c:dPt>
          <c:dPt>
            <c:idx val="425"/>
            <c:spPr>
              <a:solidFill>
                <a:srgbClr val="7ECAC4"/>
              </a:solidFill>
            </c:spPr>
          </c:dPt>
          <c:dPt>
            <c:idx val="426"/>
            <c:spPr>
              <a:solidFill>
                <a:srgbClr val="7ECAC4"/>
              </a:solidFill>
            </c:spPr>
          </c:dPt>
          <c:dPt>
            <c:idx val="427"/>
            <c:spPr>
              <a:solidFill>
                <a:srgbClr val="7ECAC4"/>
              </a:solidFill>
            </c:spPr>
          </c:dPt>
          <c:dPt>
            <c:idx val="428"/>
            <c:spPr>
              <a:solidFill>
                <a:srgbClr val="7ECAC4"/>
              </a:solidFill>
            </c:spPr>
          </c:dPt>
          <c:dPt>
            <c:idx val="429"/>
            <c:spPr>
              <a:solidFill>
                <a:srgbClr val="7ECAC4"/>
              </a:solidFill>
            </c:spPr>
          </c:dPt>
          <c:dPt>
            <c:idx val="430"/>
            <c:spPr>
              <a:solidFill>
                <a:srgbClr val="7ECAC4"/>
              </a:solidFill>
            </c:spPr>
          </c:dPt>
          <c:dPt>
            <c:idx val="431"/>
            <c:spPr>
              <a:solidFill>
                <a:srgbClr val="7ECAC4"/>
              </a:solidFill>
            </c:spPr>
          </c:dPt>
          <c:dPt>
            <c:idx val="432"/>
            <c:spPr>
              <a:solidFill>
                <a:srgbClr val="7ECAC4"/>
              </a:solidFill>
            </c:spPr>
          </c:dPt>
          <c:dPt>
            <c:idx val="433"/>
            <c:spPr>
              <a:solidFill>
                <a:srgbClr val="7ECAC4"/>
              </a:solidFill>
            </c:spPr>
          </c:dPt>
          <c:dPt>
            <c:idx val="434"/>
            <c:spPr>
              <a:solidFill>
                <a:srgbClr val="7ECAC4"/>
              </a:solidFill>
            </c:spPr>
          </c:dPt>
          <c:dPt>
            <c:idx val="435"/>
            <c:spPr>
              <a:solidFill>
                <a:srgbClr val="7ECAC4"/>
              </a:solidFill>
            </c:spPr>
          </c:dPt>
          <c:dPt>
            <c:idx val="436"/>
            <c:spPr>
              <a:solidFill>
                <a:srgbClr val="7ECAC4"/>
              </a:solidFill>
            </c:spPr>
          </c:dPt>
          <c:dPt>
            <c:idx val="437"/>
            <c:spPr>
              <a:solidFill>
                <a:srgbClr val="7ECAC4"/>
              </a:solidFill>
            </c:spPr>
          </c:dPt>
          <c:dPt>
            <c:idx val="438"/>
            <c:spPr>
              <a:solidFill>
                <a:srgbClr val="7ECAC4"/>
              </a:solidFill>
            </c:spPr>
          </c:dPt>
          <c:dPt>
            <c:idx val="439"/>
            <c:spPr>
              <a:solidFill>
                <a:srgbClr val="7ECAC4"/>
              </a:solidFill>
            </c:spPr>
          </c:dPt>
          <c:dPt>
            <c:idx val="440"/>
            <c:spPr>
              <a:solidFill>
                <a:srgbClr val="7ECAC4"/>
              </a:solidFill>
            </c:spPr>
          </c:dPt>
          <c:dPt>
            <c:idx val="441"/>
            <c:spPr>
              <a:solidFill>
                <a:srgbClr val="7ECAC4"/>
              </a:solidFill>
            </c:spPr>
          </c:dPt>
          <c:dPt>
            <c:idx val="442"/>
            <c:spPr>
              <a:solidFill>
                <a:srgbClr val="7ECAC4"/>
              </a:solidFill>
            </c:spPr>
          </c:dPt>
          <c:dPt>
            <c:idx val="443"/>
            <c:spPr>
              <a:solidFill>
                <a:srgbClr val="7ECAC4"/>
              </a:solidFill>
            </c:spPr>
          </c:dPt>
          <c:dPt>
            <c:idx val="444"/>
            <c:spPr>
              <a:solidFill>
                <a:srgbClr val="7ECAC4"/>
              </a:solidFill>
            </c:spPr>
          </c:dPt>
          <c:dPt>
            <c:idx val="445"/>
            <c:spPr>
              <a:solidFill>
                <a:srgbClr val="7ECAC4"/>
              </a:solidFill>
            </c:spPr>
          </c:dPt>
          <c:dPt>
            <c:idx val="446"/>
            <c:spPr>
              <a:solidFill>
                <a:srgbClr val="7ECAC4"/>
              </a:solidFill>
            </c:spPr>
          </c:dPt>
          <c:dPt>
            <c:idx val="447"/>
            <c:spPr>
              <a:solidFill>
                <a:srgbClr val="7ECAC4"/>
              </a:solidFill>
            </c:spPr>
          </c:dPt>
          <c:dPt>
            <c:idx val="448"/>
            <c:spPr>
              <a:solidFill>
                <a:srgbClr val="7ECAC4"/>
              </a:solidFill>
            </c:spPr>
          </c:dPt>
          <c:dPt>
            <c:idx val="449"/>
            <c:spPr>
              <a:solidFill>
                <a:srgbClr val="7ECAC4"/>
              </a:solidFill>
            </c:spPr>
          </c:dPt>
          <c:dPt>
            <c:idx val="450"/>
            <c:spPr>
              <a:solidFill>
                <a:srgbClr val="7ECAC4"/>
              </a:solidFill>
            </c:spPr>
          </c:dPt>
          <c:dPt>
            <c:idx val="451"/>
            <c:spPr>
              <a:solidFill>
                <a:srgbClr val="7ECAC4"/>
              </a:solidFill>
            </c:spPr>
          </c:dPt>
          <c:dPt>
            <c:idx val="452"/>
            <c:spPr>
              <a:solidFill>
                <a:srgbClr val="7ECAC4"/>
              </a:solidFill>
            </c:spPr>
          </c:dPt>
          <c:dPt>
            <c:idx val="453"/>
            <c:spPr>
              <a:solidFill>
                <a:srgbClr val="7ECAC4"/>
              </a:solidFill>
            </c:spPr>
          </c:dPt>
          <c:dPt>
            <c:idx val="454"/>
            <c:spPr>
              <a:solidFill>
                <a:srgbClr val="7ECAC4"/>
              </a:solidFill>
            </c:spPr>
          </c:dPt>
          <c:dPt>
            <c:idx val="455"/>
            <c:spPr>
              <a:solidFill>
                <a:srgbClr val="7ECAC4"/>
              </a:solidFill>
            </c:spPr>
          </c:dPt>
          <c:dPt>
            <c:idx val="456"/>
            <c:spPr>
              <a:solidFill>
                <a:srgbClr val="7ECAC4"/>
              </a:solidFill>
            </c:spPr>
          </c:dPt>
          <c:dPt>
            <c:idx val="457"/>
            <c:spPr>
              <a:solidFill>
                <a:srgbClr val="7ECAC4"/>
              </a:solidFill>
            </c:spPr>
          </c:dPt>
          <c:dPt>
            <c:idx val="458"/>
            <c:spPr>
              <a:solidFill>
                <a:srgbClr val="7ECAC4"/>
              </a:solidFill>
            </c:spPr>
          </c:dPt>
          <c:dPt>
            <c:idx val="459"/>
            <c:spPr>
              <a:solidFill>
                <a:srgbClr val="7ECAC4"/>
              </a:solidFill>
            </c:spPr>
          </c:dPt>
          <c:dPt>
            <c:idx val="460"/>
            <c:spPr>
              <a:solidFill>
                <a:srgbClr val="7ECAC4"/>
              </a:solidFill>
            </c:spPr>
          </c:dPt>
          <c:dPt>
            <c:idx val="461"/>
            <c:spPr>
              <a:solidFill>
                <a:srgbClr val="7ECAC4"/>
              </a:solidFill>
            </c:spPr>
          </c:dPt>
          <c:dPt>
            <c:idx val="462"/>
            <c:spPr>
              <a:solidFill>
                <a:srgbClr val="7ECAC4"/>
              </a:solidFill>
            </c:spPr>
          </c:dPt>
          <c:dPt>
            <c:idx val="463"/>
            <c:spPr>
              <a:solidFill>
                <a:srgbClr val="7ECAC4"/>
              </a:solidFill>
            </c:spPr>
          </c:dPt>
          <c:dPt>
            <c:idx val="464"/>
            <c:spPr>
              <a:solidFill>
                <a:srgbClr val="7ECAC4"/>
              </a:solidFill>
            </c:spPr>
          </c:dPt>
          <c:dPt>
            <c:idx val="465"/>
            <c:spPr>
              <a:solidFill>
                <a:srgbClr val="7ECAC4"/>
              </a:solidFill>
            </c:spPr>
          </c:dPt>
          <c:dPt>
            <c:idx val="466"/>
            <c:spPr>
              <a:solidFill>
                <a:srgbClr val="7ECAC4"/>
              </a:solidFill>
            </c:spPr>
          </c:dPt>
          <c:dPt>
            <c:idx val="467"/>
            <c:spPr>
              <a:solidFill>
                <a:srgbClr val="7ECAC4"/>
              </a:solidFill>
            </c:spPr>
          </c:dPt>
          <c:dPt>
            <c:idx val="468"/>
            <c:spPr>
              <a:solidFill>
                <a:srgbClr val="7ECAC4"/>
              </a:solidFill>
            </c:spPr>
          </c:dPt>
          <c:dPt>
            <c:idx val="469"/>
            <c:spPr>
              <a:solidFill>
                <a:srgbClr val="7ECAC4"/>
              </a:solidFill>
            </c:spPr>
          </c:dPt>
          <c:dPt>
            <c:idx val="470"/>
            <c:spPr>
              <a:solidFill>
                <a:srgbClr val="7ECAC4"/>
              </a:solidFill>
            </c:spPr>
          </c:dPt>
          <c:dPt>
            <c:idx val="471"/>
            <c:spPr>
              <a:solidFill>
                <a:srgbClr val="7ECAC4"/>
              </a:solidFill>
            </c:spPr>
          </c:dPt>
          <c:dPt>
            <c:idx val="472"/>
            <c:spPr>
              <a:solidFill>
                <a:srgbClr val="7ECAC4"/>
              </a:solidFill>
            </c:spPr>
          </c:dPt>
          <c:dPt>
            <c:idx val="473"/>
            <c:spPr>
              <a:solidFill>
                <a:srgbClr val="7ECAC4"/>
              </a:solidFill>
            </c:spPr>
          </c:dPt>
          <c:dPt>
            <c:idx val="474"/>
            <c:spPr>
              <a:solidFill>
                <a:srgbClr val="7ECAC4"/>
              </a:solidFill>
            </c:spPr>
          </c:dPt>
          <c:dPt>
            <c:idx val="475"/>
            <c:spPr>
              <a:solidFill>
                <a:srgbClr val="7ECAC4"/>
              </a:solidFill>
            </c:spPr>
          </c:dPt>
          <c:dPt>
            <c:idx val="476"/>
            <c:spPr>
              <a:solidFill>
                <a:srgbClr val="7ECAC4"/>
              </a:solidFill>
            </c:spPr>
          </c:dPt>
          <c:dPt>
            <c:idx val="477"/>
            <c:spPr>
              <a:solidFill>
                <a:srgbClr val="7ECAC4"/>
              </a:solidFill>
            </c:spPr>
          </c:dPt>
          <c:dPt>
            <c:idx val="478"/>
            <c:spPr>
              <a:solidFill>
                <a:srgbClr val="7ECAC4"/>
              </a:solidFill>
            </c:spPr>
          </c:dPt>
          <c:dPt>
            <c:idx val="479"/>
            <c:spPr>
              <a:solidFill>
                <a:srgbClr val="7ECAC4"/>
              </a:solidFill>
            </c:spPr>
          </c:dPt>
          <c:dPt>
            <c:idx val="480"/>
            <c:spPr>
              <a:solidFill>
                <a:srgbClr val="7ECAC4"/>
              </a:solidFill>
            </c:spPr>
          </c:dPt>
          <c:dPt>
            <c:idx val="481"/>
            <c:spPr>
              <a:solidFill>
                <a:srgbClr val="7ECAC4"/>
              </a:solidFill>
            </c:spPr>
          </c:dPt>
          <c:dPt>
            <c:idx val="482"/>
            <c:spPr>
              <a:solidFill>
                <a:srgbClr val="7ECAC4"/>
              </a:solidFill>
            </c:spPr>
          </c:dPt>
          <c:dPt>
            <c:idx val="483"/>
            <c:spPr>
              <a:solidFill>
                <a:srgbClr val="7ECAC4"/>
              </a:solidFill>
            </c:spPr>
          </c:dPt>
          <c:dPt>
            <c:idx val="484"/>
            <c:spPr>
              <a:solidFill>
                <a:srgbClr val="7ECAC4"/>
              </a:solidFill>
            </c:spPr>
          </c:dPt>
          <c:dPt>
            <c:idx val="485"/>
            <c:spPr>
              <a:solidFill>
                <a:srgbClr val="7ECAC4"/>
              </a:solidFill>
            </c:spPr>
          </c:dPt>
          <c:dPt>
            <c:idx val="486"/>
            <c:spPr>
              <a:solidFill>
                <a:srgbClr val="7ECAC4"/>
              </a:solidFill>
            </c:spPr>
          </c:dPt>
          <c:dPt>
            <c:idx val="487"/>
            <c:spPr>
              <a:solidFill>
                <a:srgbClr val="7ECAC4"/>
              </a:solidFill>
            </c:spPr>
          </c:dPt>
          <c:dPt>
            <c:idx val="488"/>
            <c:spPr>
              <a:solidFill>
                <a:srgbClr val="7ECAC4"/>
              </a:solidFill>
            </c:spPr>
          </c:dPt>
          <c:dPt>
            <c:idx val="489"/>
            <c:spPr>
              <a:solidFill>
                <a:srgbClr val="7ECAC4"/>
              </a:solidFill>
            </c:spPr>
          </c:dPt>
          <c:dPt>
            <c:idx val="490"/>
            <c:spPr>
              <a:solidFill>
                <a:srgbClr val="7ECAC4"/>
              </a:solidFill>
            </c:spPr>
          </c:dPt>
          <c:dPt>
            <c:idx val="491"/>
            <c:spPr>
              <a:solidFill>
                <a:srgbClr val="7ECAC4"/>
              </a:solidFill>
            </c:spPr>
          </c:dPt>
          <c:dPt>
            <c:idx val="492"/>
            <c:spPr>
              <a:solidFill>
                <a:srgbClr val="7ECAC4"/>
              </a:solidFill>
            </c:spPr>
          </c:dPt>
          <c:dPt>
            <c:idx val="493"/>
            <c:spPr>
              <a:solidFill>
                <a:srgbClr val="7ECAC4"/>
              </a:solidFill>
            </c:spPr>
          </c:dPt>
          <c:dPt>
            <c:idx val="494"/>
            <c:spPr>
              <a:solidFill>
                <a:srgbClr val="7ECAC4"/>
              </a:solidFill>
            </c:spPr>
          </c:dPt>
          <c:dPt>
            <c:idx val="495"/>
            <c:spPr>
              <a:solidFill>
                <a:srgbClr val="7ECAC4"/>
              </a:solidFill>
            </c:spPr>
          </c:dPt>
          <c:dPt>
            <c:idx val="496"/>
            <c:spPr>
              <a:solidFill>
                <a:srgbClr val="AEABAB"/>
              </a:solidFill>
            </c:spPr>
          </c:dPt>
          <c:dPt>
            <c:idx val="497"/>
            <c:spPr>
              <a:solidFill>
                <a:srgbClr val="AEABAB"/>
              </a:solidFill>
            </c:spPr>
          </c:dPt>
          <c:dPt>
            <c:idx val="498"/>
            <c:spPr>
              <a:solidFill>
                <a:srgbClr val="AEABAB"/>
              </a:solidFill>
            </c:spPr>
          </c:dPt>
          <c:dPt>
            <c:idx val="499"/>
            <c:spPr>
              <a:solidFill>
                <a:srgbClr val="AEABAB"/>
              </a:solidFill>
            </c:spPr>
          </c:dPt>
          <c:dPt>
            <c:idx val="500"/>
            <c:spPr>
              <a:solidFill>
                <a:srgbClr val="AEABAB"/>
              </a:solidFill>
            </c:spPr>
          </c:dPt>
          <c:dPt>
            <c:idx val="501"/>
            <c:spPr>
              <a:solidFill>
                <a:srgbClr val="AEABAB"/>
              </a:solidFill>
            </c:spPr>
          </c:dPt>
          <c:dPt>
            <c:idx val="502"/>
            <c:spPr>
              <a:solidFill>
                <a:srgbClr val="AEABAB"/>
              </a:solidFill>
            </c:spPr>
          </c:dPt>
          <c:dPt>
            <c:idx val="503"/>
            <c:spPr>
              <a:solidFill>
                <a:srgbClr val="AEABAB"/>
              </a:solidFill>
            </c:spPr>
          </c:dPt>
          <c:dPt>
            <c:idx val="504"/>
            <c:spPr>
              <a:solidFill>
                <a:srgbClr val="AEABAB"/>
              </a:solidFill>
            </c:spPr>
          </c:dPt>
          <c:dPt>
            <c:idx val="505"/>
            <c:spPr>
              <a:solidFill>
                <a:srgbClr val="AEABAB"/>
              </a:solidFill>
            </c:spPr>
          </c:dPt>
          <c:dPt>
            <c:idx val="506"/>
            <c:spPr>
              <a:solidFill>
                <a:srgbClr val="AEABAB"/>
              </a:solidFill>
            </c:spPr>
          </c:dPt>
          <c:dPt>
            <c:idx val="507"/>
            <c:spPr>
              <a:solidFill>
                <a:srgbClr val="AEABAB"/>
              </a:solidFill>
            </c:spPr>
          </c:dPt>
          <c:dPt>
            <c:idx val="508"/>
            <c:spPr>
              <a:solidFill>
                <a:srgbClr val="AEABAB"/>
              </a:solidFill>
            </c:spPr>
          </c:dPt>
          <c:dPt>
            <c:idx val="509"/>
            <c:spPr>
              <a:solidFill>
                <a:srgbClr val="AEABAB"/>
              </a:solidFill>
            </c:spPr>
          </c:dPt>
          <c:dPt>
            <c:idx val="510"/>
            <c:spPr>
              <a:solidFill>
                <a:srgbClr val="AEABAB"/>
              </a:solidFill>
            </c:spPr>
          </c:dPt>
          <c:dPt>
            <c:idx val="511"/>
            <c:spPr>
              <a:solidFill>
                <a:srgbClr val="AEABAB"/>
              </a:solidFill>
            </c:spPr>
          </c:dPt>
          <c:dPt>
            <c:idx val="512"/>
            <c:spPr>
              <a:solidFill>
                <a:srgbClr val="AEABAB"/>
              </a:solidFill>
            </c:spPr>
          </c:dPt>
          <c:dPt>
            <c:idx val="513"/>
            <c:spPr>
              <a:solidFill>
                <a:srgbClr val="AEABAB"/>
              </a:solidFill>
            </c:spPr>
          </c:dPt>
          <c:dPt>
            <c:idx val="514"/>
            <c:spPr>
              <a:solidFill>
                <a:srgbClr val="AEABAB"/>
              </a:solidFill>
            </c:spPr>
          </c:dPt>
          <c:dPt>
            <c:idx val="515"/>
            <c:spPr>
              <a:solidFill>
                <a:srgbClr val="AEABAB"/>
              </a:solidFill>
            </c:spPr>
          </c:dPt>
          <c:dPt>
            <c:idx val="516"/>
            <c:spPr>
              <a:solidFill>
                <a:srgbClr val="AEABAB"/>
              </a:solidFill>
            </c:spPr>
          </c:dPt>
          <c:dPt>
            <c:idx val="517"/>
            <c:spPr>
              <a:solidFill>
                <a:srgbClr val="AEABAB"/>
              </a:solidFill>
            </c:spPr>
          </c:dPt>
          <c:dPt>
            <c:idx val="518"/>
            <c:spPr>
              <a:solidFill>
                <a:srgbClr val="AEABAB"/>
              </a:solidFill>
            </c:spPr>
          </c:dPt>
          <c:dPt>
            <c:idx val="519"/>
            <c:spPr>
              <a:solidFill>
                <a:srgbClr val="AEABAB"/>
              </a:solidFill>
            </c:spPr>
          </c:dPt>
          <c:dPt>
            <c:idx val="520"/>
            <c:spPr>
              <a:solidFill>
                <a:srgbClr val="AEABAB"/>
              </a:solidFill>
            </c:spPr>
          </c:dPt>
          <c:dPt>
            <c:idx val="521"/>
            <c:spPr>
              <a:solidFill>
                <a:srgbClr val="AEABAB"/>
              </a:solidFill>
            </c:spPr>
          </c:dPt>
          <c:dPt>
            <c:idx val="522"/>
            <c:spPr>
              <a:solidFill>
                <a:srgbClr val="AEABAB"/>
              </a:solidFill>
            </c:spPr>
          </c:dPt>
          <c:dPt>
            <c:idx val="523"/>
            <c:spPr>
              <a:solidFill>
                <a:srgbClr val="AEABAB"/>
              </a:solidFill>
            </c:spPr>
          </c:dPt>
          <c:dPt>
            <c:idx val="524"/>
            <c:spPr>
              <a:solidFill>
                <a:srgbClr val="AEABAB"/>
              </a:solidFill>
            </c:spPr>
          </c:dPt>
          <c:dPt>
            <c:idx val="525"/>
            <c:spPr>
              <a:solidFill>
                <a:srgbClr val="AEABAB"/>
              </a:solidFill>
            </c:spPr>
          </c:dPt>
          <c:dPt>
            <c:idx val="526"/>
            <c:spPr>
              <a:solidFill>
                <a:srgbClr val="AEABAB"/>
              </a:solidFill>
            </c:spPr>
          </c:dPt>
          <c:dPt>
            <c:idx val="527"/>
            <c:spPr>
              <a:solidFill>
                <a:srgbClr val="AEABAB"/>
              </a:solidFill>
            </c:spPr>
          </c:dPt>
          <c:dPt>
            <c:idx val="528"/>
            <c:spPr>
              <a:solidFill>
                <a:srgbClr val="AEABAB"/>
              </a:solidFill>
            </c:spPr>
          </c:dPt>
          <c:dPt>
            <c:idx val="529"/>
            <c:spPr>
              <a:solidFill>
                <a:srgbClr val="AEABAB"/>
              </a:solidFill>
            </c:spPr>
          </c:dPt>
          <c:dPt>
            <c:idx val="530"/>
            <c:spPr>
              <a:solidFill>
                <a:srgbClr val="AEABAB"/>
              </a:solidFill>
            </c:spPr>
          </c:dPt>
          <c:dPt>
            <c:idx val="531"/>
            <c:spPr>
              <a:solidFill>
                <a:srgbClr val="AEABAB"/>
              </a:solidFill>
            </c:spPr>
          </c:dPt>
          <c:dPt>
            <c:idx val="532"/>
            <c:spPr>
              <a:solidFill>
                <a:srgbClr val="AEABAB"/>
              </a:solidFill>
            </c:spPr>
          </c:dPt>
          <c:dPt>
            <c:idx val="533"/>
            <c:spPr>
              <a:solidFill>
                <a:srgbClr val="AEABAB"/>
              </a:solidFill>
            </c:spPr>
          </c:dPt>
          <c:dPt>
            <c:idx val="534"/>
            <c:spPr>
              <a:solidFill>
                <a:srgbClr val="AEABAB"/>
              </a:solidFill>
            </c:spPr>
          </c:dPt>
          <c:dPt>
            <c:idx val="535"/>
            <c:spPr>
              <a:solidFill>
                <a:srgbClr val="AEABAB"/>
              </a:solidFill>
            </c:spPr>
          </c:dPt>
          <c:dPt>
            <c:idx val="536"/>
            <c:spPr>
              <a:solidFill>
                <a:srgbClr val="AEABAB"/>
              </a:solidFill>
            </c:spPr>
          </c:dPt>
          <c:dPt>
            <c:idx val="537"/>
            <c:spPr>
              <a:solidFill>
                <a:srgbClr val="AEABAB"/>
              </a:solidFill>
            </c:spPr>
          </c:dPt>
          <c:dPt>
            <c:idx val="538"/>
            <c:spPr>
              <a:solidFill>
                <a:srgbClr val="AEABAB"/>
              </a:solidFill>
            </c:spPr>
          </c:dPt>
          <c:dPt>
            <c:idx val="539"/>
            <c:spPr>
              <a:solidFill>
                <a:srgbClr val="AEABAB"/>
              </a:solidFill>
            </c:spPr>
          </c:dPt>
          <c:dPt>
            <c:idx val="540"/>
            <c:spPr>
              <a:solidFill>
                <a:srgbClr val="AEABAB"/>
              </a:solidFill>
            </c:spPr>
          </c:dPt>
          <c:dPt>
            <c:idx val="541"/>
            <c:spPr>
              <a:solidFill>
                <a:srgbClr val="AEABAB"/>
              </a:solidFill>
            </c:spPr>
          </c:dPt>
          <c:dPt>
            <c:idx val="542"/>
            <c:spPr>
              <a:solidFill>
                <a:srgbClr val="AEABAB"/>
              </a:solidFill>
            </c:spPr>
          </c:dPt>
          <c:dPt>
            <c:idx val="543"/>
            <c:spPr>
              <a:solidFill>
                <a:srgbClr val="AEABAB"/>
              </a:solidFill>
            </c:spPr>
          </c:dPt>
          <c:dPt>
            <c:idx val="544"/>
            <c:spPr>
              <a:solidFill>
                <a:srgbClr val="AEABAB"/>
              </a:solidFill>
            </c:spPr>
          </c:dPt>
          <c:dPt>
            <c:idx val="545"/>
            <c:spPr>
              <a:solidFill>
                <a:srgbClr val="AEABAB"/>
              </a:solidFill>
            </c:spPr>
          </c:dPt>
          <c:dPt>
            <c:idx val="546"/>
            <c:spPr>
              <a:solidFill>
                <a:srgbClr val="AEABAB"/>
              </a:solidFill>
            </c:spPr>
          </c:dPt>
          <c:dPt>
            <c:idx val="547"/>
            <c:spPr>
              <a:solidFill>
                <a:srgbClr val="AEABAB"/>
              </a:solidFill>
            </c:spPr>
          </c:dPt>
          <c:dPt>
            <c:idx val="548"/>
            <c:spPr>
              <a:solidFill>
                <a:srgbClr val="AEABAB"/>
              </a:solidFill>
            </c:spPr>
          </c:dPt>
          <c:dPt>
            <c:idx val="549"/>
            <c:spPr>
              <a:solidFill>
                <a:srgbClr val="AEABAB"/>
              </a:solidFill>
            </c:spPr>
          </c:dPt>
          <c:dPt>
            <c:idx val="550"/>
            <c:spPr>
              <a:solidFill>
                <a:srgbClr val="AEABAB"/>
              </a:solidFill>
            </c:spPr>
          </c:dPt>
          <c:dPt>
            <c:idx val="551"/>
            <c:spPr>
              <a:solidFill>
                <a:srgbClr val="AEABAB"/>
              </a:solidFill>
            </c:spPr>
          </c:dPt>
          <c:dPt>
            <c:idx val="552"/>
            <c:spPr>
              <a:solidFill>
                <a:srgbClr val="AEABAB"/>
              </a:solidFill>
            </c:spPr>
          </c:dPt>
          <c:dPt>
            <c:idx val="553"/>
            <c:spPr>
              <a:solidFill>
                <a:srgbClr val="AEABAB"/>
              </a:solidFill>
            </c:spPr>
          </c:dPt>
          <c:dPt>
            <c:idx val="554"/>
            <c:spPr>
              <a:solidFill>
                <a:srgbClr val="AEABAB"/>
              </a:solidFill>
            </c:spPr>
          </c:dPt>
          <c:dPt>
            <c:idx val="555"/>
            <c:spPr>
              <a:solidFill>
                <a:srgbClr val="AEABAB"/>
              </a:solidFill>
            </c:spPr>
          </c:dPt>
          <c:dPt>
            <c:idx val="556"/>
            <c:spPr>
              <a:solidFill>
                <a:srgbClr val="AEABAB"/>
              </a:solidFill>
            </c:spPr>
          </c:dPt>
          <c:dPt>
            <c:idx val="557"/>
            <c:spPr>
              <a:solidFill>
                <a:srgbClr val="AEABAB"/>
              </a:solidFill>
            </c:spPr>
          </c:dPt>
          <c:dPt>
            <c:idx val="558"/>
            <c:spPr>
              <a:solidFill>
                <a:srgbClr val="AEABAB"/>
              </a:solidFill>
            </c:spPr>
          </c:dPt>
          <c:dPt>
            <c:idx val="559"/>
            <c:spPr>
              <a:solidFill>
                <a:srgbClr val="AEABAB"/>
              </a:solidFill>
            </c:spPr>
          </c:dPt>
          <c:dPt>
            <c:idx val="560"/>
            <c:spPr>
              <a:solidFill>
                <a:srgbClr val="AEABAB"/>
              </a:solidFill>
            </c:spPr>
          </c:dPt>
          <c:dPt>
            <c:idx val="561"/>
            <c:spPr>
              <a:solidFill>
                <a:srgbClr val="AEABAB"/>
              </a:solidFill>
            </c:spPr>
          </c:dPt>
          <c:dPt>
            <c:idx val="562"/>
            <c:spPr>
              <a:solidFill>
                <a:srgbClr val="AEABAB"/>
              </a:solidFill>
            </c:spPr>
          </c:dPt>
          <c:dPt>
            <c:idx val="563"/>
            <c:spPr>
              <a:solidFill>
                <a:srgbClr val="AEABAB"/>
              </a:solidFill>
            </c:spPr>
          </c:dPt>
          <c:dPt>
            <c:idx val="564"/>
            <c:spPr>
              <a:solidFill>
                <a:srgbClr val="AEABAB"/>
              </a:solidFill>
            </c:spPr>
          </c:dPt>
          <c:dPt>
            <c:idx val="565"/>
            <c:spPr>
              <a:solidFill>
                <a:srgbClr val="AEABAB"/>
              </a:solidFill>
            </c:spPr>
          </c:dPt>
          <c:dPt>
            <c:idx val="566"/>
            <c:spPr>
              <a:solidFill>
                <a:srgbClr val="AEABAB"/>
              </a:solidFill>
            </c:spPr>
          </c:dPt>
          <c:dPt>
            <c:idx val="567"/>
            <c:spPr>
              <a:solidFill>
                <a:srgbClr val="AEABAB"/>
              </a:solidFill>
            </c:spPr>
          </c:dPt>
          <c:dPt>
            <c:idx val="568"/>
            <c:spPr>
              <a:solidFill>
                <a:srgbClr val="AEABAB"/>
              </a:solidFill>
            </c:spPr>
          </c:dPt>
          <c:dPt>
            <c:idx val="569"/>
            <c:spPr>
              <a:solidFill>
                <a:srgbClr val="AEABAB"/>
              </a:solidFill>
            </c:spPr>
          </c:dPt>
          <c:dPt>
            <c:idx val="570"/>
            <c:spPr>
              <a:solidFill>
                <a:srgbClr val="AEABAB"/>
              </a:solidFill>
            </c:spPr>
          </c:dPt>
          <c:dPt>
            <c:idx val="571"/>
            <c:spPr>
              <a:solidFill>
                <a:srgbClr val="AEABAB"/>
              </a:solidFill>
            </c:spPr>
          </c:dPt>
          <c:dPt>
            <c:idx val="572"/>
            <c:spPr>
              <a:solidFill>
                <a:srgbClr val="AEABAB"/>
              </a:solidFill>
            </c:spPr>
          </c:dPt>
          <c:dPt>
            <c:idx val="573"/>
            <c:spPr>
              <a:solidFill>
                <a:srgbClr val="AEABAB"/>
              </a:solidFill>
            </c:spPr>
          </c:dPt>
          <c:dPt>
            <c:idx val="574"/>
            <c:spPr>
              <a:solidFill>
                <a:srgbClr val="AEABAB"/>
              </a:solidFill>
            </c:spPr>
          </c:dPt>
          <c:dPt>
            <c:idx val="575"/>
            <c:spPr>
              <a:solidFill>
                <a:srgbClr val="AEABAB"/>
              </a:solidFill>
            </c:spPr>
          </c:dPt>
          <c:dPt>
            <c:idx val="576"/>
            <c:spPr>
              <a:solidFill>
                <a:srgbClr val="AEABAB"/>
              </a:solidFill>
            </c:spPr>
          </c:dPt>
          <c:dPt>
            <c:idx val="577"/>
            <c:spPr>
              <a:solidFill>
                <a:srgbClr val="AEABAB"/>
              </a:solidFill>
            </c:spPr>
          </c:dPt>
          <c:dPt>
            <c:idx val="578"/>
            <c:spPr>
              <a:solidFill>
                <a:srgbClr val="AEABAB"/>
              </a:solidFill>
            </c:spPr>
          </c:dPt>
          <c:dPt>
            <c:idx val="579"/>
            <c:spPr>
              <a:solidFill>
                <a:srgbClr val="AEABAB"/>
              </a:solidFill>
            </c:spPr>
          </c:dPt>
          <c:dPt>
            <c:idx val="580"/>
            <c:spPr>
              <a:solidFill>
                <a:srgbClr val="AEABAB"/>
              </a:solidFill>
            </c:spPr>
          </c:dPt>
          <c:dPt>
            <c:idx val="581"/>
            <c:spPr>
              <a:solidFill>
                <a:srgbClr val="AEABAB"/>
              </a:solidFill>
            </c:spPr>
          </c:dPt>
          <c:dPt>
            <c:idx val="582"/>
            <c:spPr>
              <a:solidFill>
                <a:srgbClr val="AEABAB"/>
              </a:solidFill>
            </c:spPr>
          </c:dPt>
          <c:dPt>
            <c:idx val="583"/>
            <c:spPr>
              <a:solidFill>
                <a:srgbClr val="AEABAB"/>
              </a:solidFill>
            </c:spPr>
          </c:dPt>
          <c:dPt>
            <c:idx val="584"/>
            <c:spPr>
              <a:solidFill>
                <a:srgbClr val="AEABAB"/>
              </a:solidFill>
            </c:spPr>
          </c:dPt>
          <c:dPt>
            <c:idx val="585"/>
            <c:spPr>
              <a:solidFill>
                <a:srgbClr val="AEABAB"/>
              </a:solidFill>
            </c:spPr>
          </c:dPt>
          <c:dPt>
            <c:idx val="586"/>
            <c:spPr>
              <a:solidFill>
                <a:srgbClr val="AEABAB"/>
              </a:solidFill>
            </c:spPr>
          </c:dPt>
          <c:dPt>
            <c:idx val="587"/>
            <c:spPr>
              <a:solidFill>
                <a:srgbClr val="AEABAB"/>
              </a:solidFill>
            </c:spPr>
          </c:dPt>
          <c:dPt>
            <c:idx val="588"/>
            <c:spPr>
              <a:solidFill>
                <a:srgbClr val="AEABAB"/>
              </a:solidFill>
            </c:spPr>
          </c:dPt>
          <c:dPt>
            <c:idx val="589"/>
            <c:spPr>
              <a:solidFill>
                <a:srgbClr val="AEABAB"/>
              </a:solidFill>
            </c:spPr>
          </c:dPt>
          <c:dPt>
            <c:idx val="590"/>
            <c:spPr>
              <a:solidFill>
                <a:srgbClr val="AEABAB"/>
              </a:solidFill>
            </c:spPr>
          </c:dPt>
          <c:dPt>
            <c:idx val="591"/>
            <c:spPr>
              <a:solidFill>
                <a:srgbClr val="AEABAB"/>
              </a:solidFill>
            </c:spPr>
          </c:dPt>
          <c:dPt>
            <c:idx val="592"/>
            <c:spPr>
              <a:solidFill>
                <a:srgbClr val="AEABAB"/>
              </a:solidFill>
            </c:spPr>
          </c:dPt>
          <c:dPt>
            <c:idx val="593"/>
            <c:spPr>
              <a:solidFill>
                <a:srgbClr val="AEABAB"/>
              </a:solidFill>
            </c:spPr>
          </c:dPt>
          <c:dPt>
            <c:idx val="594"/>
            <c:spPr>
              <a:solidFill>
                <a:srgbClr val="AEABAB"/>
              </a:solidFill>
            </c:spPr>
          </c:dPt>
          <c:dPt>
            <c:idx val="595"/>
            <c:spPr>
              <a:solidFill>
                <a:srgbClr val="AEABAB"/>
              </a:solidFill>
            </c:spPr>
          </c:dPt>
          <c:dPt>
            <c:idx val="596"/>
            <c:spPr>
              <a:solidFill>
                <a:srgbClr val="AEABAB"/>
              </a:solidFill>
            </c:spPr>
          </c:dPt>
          <c:dPt>
            <c:idx val="597"/>
            <c:spPr>
              <a:solidFill>
                <a:srgbClr val="AEABAB"/>
              </a:solidFill>
            </c:spPr>
          </c:dPt>
          <c:dPt>
            <c:idx val="598"/>
            <c:spPr>
              <a:solidFill>
                <a:srgbClr val="AEABAB"/>
              </a:solidFill>
            </c:spPr>
          </c:dPt>
          <c:dPt>
            <c:idx val="599"/>
            <c:spPr>
              <a:solidFill>
                <a:srgbClr val="AEABAB"/>
              </a:solidFill>
            </c:spPr>
          </c:dPt>
          <c:dPt>
            <c:idx val="600"/>
            <c:spPr>
              <a:solidFill>
                <a:srgbClr val="AEABAB"/>
              </a:solidFill>
            </c:spPr>
          </c:dPt>
          <c:dPt>
            <c:idx val="601"/>
            <c:spPr>
              <a:solidFill>
                <a:srgbClr val="AEABAB"/>
              </a:solidFill>
            </c:spPr>
          </c:dPt>
          <c:dPt>
            <c:idx val="602"/>
            <c:spPr>
              <a:solidFill>
                <a:srgbClr val="AEABAB"/>
              </a:solidFill>
            </c:spPr>
          </c:dPt>
          <c:dPt>
            <c:idx val="603"/>
            <c:spPr>
              <a:solidFill>
                <a:srgbClr val="AEABAB"/>
              </a:solidFill>
            </c:spPr>
          </c:dPt>
          <c:dPt>
            <c:idx val="604"/>
            <c:spPr>
              <a:solidFill>
                <a:srgbClr val="AEABAB"/>
              </a:solidFill>
            </c:spPr>
          </c:dPt>
          <c:dPt>
            <c:idx val="605"/>
            <c:spPr>
              <a:solidFill>
                <a:srgbClr val="AEABAB"/>
              </a:solidFill>
            </c:spPr>
          </c:dPt>
          <c:dPt>
            <c:idx val="606"/>
            <c:spPr>
              <a:solidFill>
                <a:srgbClr val="AEABAB"/>
              </a:solidFill>
            </c:spPr>
          </c:dPt>
          <c:dPt>
            <c:idx val="607"/>
            <c:spPr>
              <a:solidFill>
                <a:srgbClr val="AEABAB"/>
              </a:solidFill>
            </c:spPr>
          </c:dPt>
          <c:dPt>
            <c:idx val="608"/>
            <c:spPr>
              <a:solidFill>
                <a:srgbClr val="AEABAB"/>
              </a:solidFill>
            </c:spPr>
          </c:dPt>
          <c:dPt>
            <c:idx val="609"/>
            <c:spPr>
              <a:solidFill>
                <a:srgbClr val="AEABAB"/>
              </a:solidFill>
            </c:spPr>
          </c:dPt>
          <c:dPt>
            <c:idx val="610"/>
            <c:spPr>
              <a:solidFill>
                <a:srgbClr val="AEABAB"/>
              </a:solidFill>
            </c:spPr>
          </c:dPt>
          <c:dPt>
            <c:idx val="611"/>
            <c:spPr>
              <a:solidFill>
                <a:srgbClr val="AEABAB"/>
              </a:solidFill>
            </c:spPr>
          </c:dPt>
          <c:dPt>
            <c:idx val="612"/>
            <c:spPr>
              <a:solidFill>
                <a:srgbClr val="AEABAB"/>
              </a:solidFill>
            </c:spPr>
          </c:dPt>
          <c:dPt>
            <c:idx val="613"/>
            <c:spPr>
              <a:solidFill>
                <a:srgbClr val="AEABAB"/>
              </a:solidFill>
            </c:spPr>
          </c:dPt>
          <c:dPt>
            <c:idx val="614"/>
            <c:spPr>
              <a:solidFill>
                <a:srgbClr val="AEABAB"/>
              </a:solidFill>
            </c:spPr>
          </c:dPt>
          <c:dPt>
            <c:idx val="615"/>
            <c:spPr>
              <a:solidFill>
                <a:srgbClr val="AEABAB"/>
              </a:solidFill>
            </c:spPr>
          </c:dPt>
          <c:dPt>
            <c:idx val="616"/>
            <c:spPr>
              <a:solidFill>
                <a:srgbClr val="AEABAB"/>
              </a:solidFill>
            </c:spPr>
          </c:dPt>
          <c:dPt>
            <c:idx val="617"/>
            <c:spPr>
              <a:solidFill>
                <a:srgbClr val="AEABAB"/>
              </a:solidFill>
            </c:spPr>
          </c:dPt>
          <c:dPt>
            <c:idx val="618"/>
            <c:spPr>
              <a:solidFill>
                <a:srgbClr val="AEABAB"/>
              </a:solidFill>
            </c:spPr>
          </c:dPt>
          <c:dPt>
            <c:idx val="619"/>
            <c:spPr>
              <a:solidFill>
                <a:srgbClr val="AEABAB"/>
              </a:solidFill>
            </c:spPr>
          </c:dPt>
          <c:dPt>
            <c:idx val="620"/>
            <c:spPr>
              <a:solidFill>
                <a:srgbClr val="AEABAB"/>
              </a:solidFill>
            </c:spPr>
          </c:dPt>
          <c:dPt>
            <c:idx val="621"/>
            <c:spPr>
              <a:solidFill>
                <a:srgbClr val="AEABAB"/>
              </a:solidFill>
            </c:spPr>
          </c:dPt>
          <c:dPt>
            <c:idx val="622"/>
            <c:spPr>
              <a:solidFill>
                <a:srgbClr val="AEABAB"/>
              </a:solidFill>
            </c:spPr>
          </c:dPt>
          <c:dPt>
            <c:idx val="623"/>
            <c:spPr>
              <a:solidFill>
                <a:srgbClr val="AEABAB"/>
              </a:solidFill>
            </c:spPr>
          </c:dPt>
          <c:dPt>
            <c:idx val="624"/>
            <c:spPr>
              <a:solidFill>
                <a:srgbClr val="AEABAB"/>
              </a:solidFill>
            </c:spPr>
          </c:dPt>
          <c:dPt>
            <c:idx val="625"/>
            <c:spPr>
              <a:solidFill>
                <a:srgbClr val="AEABAB"/>
              </a:solidFill>
            </c:spPr>
          </c:dPt>
          <c:dPt>
            <c:idx val="626"/>
            <c:spPr>
              <a:solidFill>
                <a:srgbClr val="AEABAB"/>
              </a:solidFill>
            </c:spPr>
          </c:dPt>
          <c:dPt>
            <c:idx val="627"/>
            <c:spPr>
              <a:solidFill>
                <a:srgbClr val="AEABAB"/>
              </a:solidFill>
            </c:spPr>
          </c:dPt>
          <c:dPt>
            <c:idx val="628"/>
            <c:spPr>
              <a:solidFill>
                <a:srgbClr val="AEABAB"/>
              </a:solidFill>
            </c:spPr>
          </c:dPt>
          <c:dPt>
            <c:idx val="629"/>
            <c:spPr>
              <a:solidFill>
                <a:srgbClr val="AEABAB"/>
              </a:solidFill>
            </c:spPr>
          </c:dPt>
          <c:dPt>
            <c:idx val="630"/>
            <c:spPr>
              <a:solidFill>
                <a:srgbClr val="AEABAB"/>
              </a:solidFill>
            </c:spPr>
          </c:dPt>
          <c:dPt>
            <c:idx val="631"/>
            <c:spPr>
              <a:solidFill>
                <a:srgbClr val="AEABAB"/>
              </a:solidFill>
            </c:spPr>
          </c:dPt>
          <c:dPt>
            <c:idx val="632"/>
            <c:spPr>
              <a:solidFill>
                <a:srgbClr val="AEABAB"/>
              </a:solidFill>
            </c:spPr>
          </c:dPt>
          <c:dPt>
            <c:idx val="633"/>
            <c:spPr>
              <a:solidFill>
                <a:srgbClr val="AEABAB"/>
              </a:solidFill>
            </c:spPr>
          </c:dPt>
          <c:dPt>
            <c:idx val="634"/>
            <c:spPr>
              <a:solidFill>
                <a:srgbClr val="AEABAB"/>
              </a:solidFill>
            </c:spPr>
          </c:dPt>
          <c:dPt>
            <c:idx val="635"/>
            <c:spPr>
              <a:solidFill>
                <a:srgbClr val="AEABAB"/>
              </a:solidFill>
            </c:spPr>
          </c:dPt>
          <c:dPt>
            <c:idx val="636"/>
            <c:spPr>
              <a:solidFill>
                <a:srgbClr val="AEABAB"/>
              </a:solidFill>
            </c:spPr>
          </c:dPt>
          <c:dPt>
            <c:idx val="637"/>
            <c:spPr>
              <a:solidFill>
                <a:srgbClr val="AEABAB"/>
              </a:solidFill>
            </c:spPr>
          </c:dPt>
          <c:dPt>
            <c:idx val="638"/>
            <c:spPr>
              <a:solidFill>
                <a:srgbClr val="AEABAB"/>
              </a:solidFill>
            </c:spPr>
          </c:dPt>
          <c:dPt>
            <c:idx val="639"/>
            <c:spPr>
              <a:solidFill>
                <a:srgbClr val="AEABAB"/>
              </a:solidFill>
            </c:spPr>
          </c:dPt>
          <c:dPt>
            <c:idx val="640"/>
            <c:spPr>
              <a:solidFill>
                <a:srgbClr val="AEABAB"/>
              </a:solidFill>
            </c:spPr>
          </c:dPt>
          <c:dPt>
            <c:idx val="641"/>
            <c:spPr>
              <a:solidFill>
                <a:srgbClr val="AEABAB"/>
              </a:solidFill>
            </c:spPr>
          </c:dPt>
          <c:dPt>
            <c:idx val="642"/>
            <c:spPr>
              <a:solidFill>
                <a:srgbClr val="AEABAB"/>
              </a:solidFill>
            </c:spPr>
          </c:dPt>
          <c:dPt>
            <c:idx val="643"/>
            <c:spPr>
              <a:solidFill>
                <a:srgbClr val="AEABAB"/>
              </a:solidFill>
            </c:spPr>
          </c:dPt>
          <c:dPt>
            <c:idx val="644"/>
            <c:spPr>
              <a:solidFill>
                <a:srgbClr val="AEABAB"/>
              </a:solidFill>
            </c:spPr>
          </c:dPt>
          <c:dPt>
            <c:idx val="645"/>
            <c:spPr>
              <a:solidFill>
                <a:srgbClr val="AEABAB"/>
              </a:solidFill>
            </c:spPr>
          </c:dPt>
          <c:dPt>
            <c:idx val="646"/>
            <c:spPr>
              <a:solidFill>
                <a:srgbClr val="AEABAB"/>
              </a:solidFill>
            </c:spPr>
          </c:dPt>
          <c:dPt>
            <c:idx val="647"/>
            <c:spPr>
              <a:solidFill>
                <a:srgbClr val="AEABAB"/>
              </a:solidFill>
            </c:spPr>
          </c:dPt>
          <c:dPt>
            <c:idx val="648"/>
            <c:spPr>
              <a:solidFill>
                <a:srgbClr val="AEABAB"/>
              </a:solidFill>
            </c:spPr>
          </c:dPt>
          <c:dPt>
            <c:idx val="649"/>
            <c:spPr>
              <a:solidFill>
                <a:srgbClr val="AEABAB"/>
              </a:solidFill>
            </c:spPr>
          </c:dPt>
          <c:dPt>
            <c:idx val="650"/>
            <c:spPr>
              <a:solidFill>
                <a:srgbClr val="AEABAB"/>
              </a:solidFill>
            </c:spPr>
          </c:dPt>
          <c:dPt>
            <c:idx val="651"/>
            <c:spPr>
              <a:solidFill>
                <a:srgbClr val="AEABAB"/>
              </a:solidFill>
            </c:spPr>
          </c:dPt>
          <c:dPt>
            <c:idx val="652"/>
            <c:spPr>
              <a:solidFill>
                <a:srgbClr val="AEABAB"/>
              </a:solidFill>
            </c:spPr>
          </c:dPt>
          <c:dPt>
            <c:idx val="653"/>
            <c:spPr>
              <a:solidFill>
                <a:srgbClr val="AEABAB"/>
              </a:solidFill>
            </c:spPr>
          </c:dPt>
          <c:dPt>
            <c:idx val="654"/>
            <c:spPr>
              <a:solidFill>
                <a:srgbClr val="AEABAB"/>
              </a:solidFill>
            </c:spPr>
          </c:dPt>
          <c:dPt>
            <c:idx val="655"/>
            <c:spPr>
              <a:solidFill>
                <a:srgbClr val="AEABAB"/>
              </a:solidFill>
            </c:spPr>
          </c:dPt>
          <c:dPt>
            <c:idx val="656"/>
            <c:spPr>
              <a:solidFill>
                <a:srgbClr val="AEABAB"/>
              </a:solidFill>
            </c:spPr>
          </c:dPt>
          <c:dPt>
            <c:idx val="657"/>
            <c:spPr>
              <a:solidFill>
                <a:srgbClr val="AEABAB"/>
              </a:solidFill>
            </c:spPr>
          </c:dPt>
          <c:dPt>
            <c:idx val="658"/>
            <c:spPr>
              <a:solidFill>
                <a:srgbClr val="AEABAB"/>
              </a:solidFill>
            </c:spPr>
          </c:dPt>
          <c:dPt>
            <c:idx val="659"/>
            <c:spPr>
              <a:solidFill>
                <a:srgbClr val="AEABAB"/>
              </a:solidFill>
            </c:spPr>
          </c:dPt>
          <c:dPt>
            <c:idx val="660"/>
            <c:spPr>
              <a:solidFill>
                <a:srgbClr val="AEABAB"/>
              </a:solidFill>
            </c:spPr>
          </c:dPt>
          <c:dPt>
            <c:idx val="661"/>
            <c:spPr>
              <a:solidFill>
                <a:srgbClr val="AEABAB"/>
              </a:solidFill>
            </c:spPr>
          </c:dPt>
          <c:dPt>
            <c:idx val="662"/>
            <c:spPr>
              <a:solidFill>
                <a:srgbClr val="AEABAB"/>
              </a:solidFill>
            </c:spPr>
          </c:dPt>
          <c:dPt>
            <c:idx val="663"/>
            <c:spPr>
              <a:solidFill>
                <a:srgbClr val="AEABAB"/>
              </a:solidFill>
            </c:spPr>
          </c:dPt>
          <c:dPt>
            <c:idx val="664"/>
            <c:spPr>
              <a:solidFill>
                <a:srgbClr val="AEABAB"/>
              </a:solidFill>
            </c:spPr>
          </c:dPt>
          <c:dPt>
            <c:idx val="665"/>
            <c:spPr>
              <a:solidFill>
                <a:srgbClr val="AEABAB"/>
              </a:solidFill>
            </c:spPr>
          </c:dPt>
          <c:dPt>
            <c:idx val="666"/>
            <c:spPr>
              <a:solidFill>
                <a:srgbClr val="AEABAB"/>
              </a:solidFill>
            </c:spPr>
          </c:dPt>
          <c:dPt>
            <c:idx val="667"/>
            <c:spPr>
              <a:solidFill>
                <a:srgbClr val="AEABAB"/>
              </a:solidFill>
            </c:spPr>
          </c:dPt>
          <c:dPt>
            <c:idx val="668"/>
            <c:spPr>
              <a:solidFill>
                <a:srgbClr val="AEABAB"/>
              </a:solidFill>
            </c:spPr>
          </c:dPt>
          <c:dPt>
            <c:idx val="669"/>
            <c:spPr>
              <a:solidFill>
                <a:srgbClr val="AEABAB"/>
              </a:solidFill>
            </c:spPr>
          </c:dPt>
          <c:dPt>
            <c:idx val="670"/>
            <c:spPr>
              <a:solidFill>
                <a:srgbClr val="AEABAB"/>
              </a:solidFill>
            </c:spPr>
          </c:dPt>
          <c:dPt>
            <c:idx val="671"/>
            <c:spPr>
              <a:solidFill>
                <a:srgbClr val="AEABAB"/>
              </a:solidFill>
            </c:spPr>
          </c:dPt>
          <c:dPt>
            <c:idx val="672"/>
            <c:spPr>
              <a:solidFill>
                <a:srgbClr val="AEABAB"/>
              </a:solidFill>
            </c:spPr>
          </c:dPt>
          <c:dPt>
            <c:idx val="673"/>
            <c:spPr>
              <a:solidFill>
                <a:srgbClr val="AEABAB"/>
              </a:solidFill>
            </c:spPr>
          </c:dPt>
          <c:dPt>
            <c:idx val="674"/>
            <c:spPr>
              <a:solidFill>
                <a:srgbClr val="AEABAB"/>
              </a:solidFill>
            </c:spPr>
          </c:dPt>
          <c:dPt>
            <c:idx val="675"/>
            <c:spPr>
              <a:solidFill>
                <a:srgbClr val="AEABAB"/>
              </a:solidFill>
            </c:spPr>
          </c:dPt>
          <c:dPt>
            <c:idx val="676"/>
            <c:spPr>
              <a:solidFill>
                <a:srgbClr val="AEABAB"/>
              </a:solidFill>
            </c:spPr>
          </c:dPt>
          <c:dPt>
            <c:idx val="677"/>
            <c:spPr>
              <a:solidFill>
                <a:srgbClr val="AEABAB"/>
              </a:solidFill>
            </c:spPr>
          </c:dPt>
          <c:dPt>
            <c:idx val="678"/>
            <c:spPr>
              <a:solidFill>
                <a:srgbClr val="AEABAB"/>
              </a:solidFill>
            </c:spPr>
          </c:dPt>
          <c:dPt>
            <c:idx val="679"/>
            <c:spPr>
              <a:solidFill>
                <a:srgbClr val="AEABAB"/>
              </a:solidFill>
            </c:spPr>
          </c:dPt>
          <c:dPt>
            <c:idx val="680"/>
            <c:spPr>
              <a:solidFill>
                <a:srgbClr val="AEABAB"/>
              </a:solidFill>
            </c:spPr>
          </c:dPt>
          <c:dPt>
            <c:idx val="681"/>
            <c:spPr>
              <a:solidFill>
                <a:srgbClr val="AEABAB"/>
              </a:solidFill>
            </c:spPr>
          </c:dPt>
          <c:dPt>
            <c:idx val="682"/>
            <c:spPr>
              <a:solidFill>
                <a:srgbClr val="AEABAB"/>
              </a:solidFill>
            </c:spPr>
          </c:dPt>
          <c:dPt>
            <c:idx val="683"/>
            <c:spPr>
              <a:solidFill>
                <a:srgbClr val="AEABAB"/>
              </a:solidFill>
            </c:spPr>
          </c:dPt>
          <c:dPt>
            <c:idx val="684"/>
            <c:spPr>
              <a:solidFill>
                <a:srgbClr val="AEABAB"/>
              </a:solidFill>
            </c:spPr>
          </c:dPt>
          <c:dPt>
            <c:idx val="685"/>
            <c:spPr>
              <a:solidFill>
                <a:srgbClr val="AEABAB"/>
              </a:solidFill>
            </c:spPr>
          </c:dPt>
          <c:dPt>
            <c:idx val="686"/>
            <c:spPr>
              <a:solidFill>
                <a:srgbClr val="AEABAB"/>
              </a:solidFill>
            </c:spPr>
          </c:dPt>
          <c:dPt>
            <c:idx val="687"/>
            <c:spPr>
              <a:solidFill>
                <a:srgbClr val="AEABAB"/>
              </a:solidFill>
            </c:spPr>
          </c:dPt>
          <c:dPt>
            <c:idx val="688"/>
            <c:spPr>
              <a:solidFill>
                <a:srgbClr val="AEABAB"/>
              </a:solidFill>
            </c:spPr>
          </c:dPt>
          <c:dPt>
            <c:idx val="689"/>
            <c:spPr>
              <a:solidFill>
                <a:srgbClr val="AEABAB"/>
              </a:solidFill>
            </c:spPr>
          </c:dPt>
          <c:dPt>
            <c:idx val="690"/>
            <c:spPr>
              <a:solidFill>
                <a:srgbClr val="AEABAB"/>
              </a:solidFill>
            </c:spPr>
          </c:dPt>
          <c:dPt>
            <c:idx val="691"/>
            <c:spPr>
              <a:solidFill>
                <a:srgbClr val="AEABAB"/>
              </a:solidFill>
            </c:spPr>
          </c:dPt>
          <c:dPt>
            <c:idx val="692"/>
            <c:spPr>
              <a:solidFill>
                <a:srgbClr val="AEABAB"/>
              </a:solidFill>
            </c:spPr>
          </c:dPt>
          <c:dPt>
            <c:idx val="693"/>
            <c:spPr>
              <a:solidFill>
                <a:srgbClr val="AEABAB"/>
              </a:solidFill>
            </c:spPr>
          </c:dPt>
          <c:dPt>
            <c:idx val="694"/>
            <c:spPr>
              <a:solidFill>
                <a:srgbClr val="AEABAB"/>
              </a:solidFill>
            </c:spPr>
          </c:dPt>
          <c:dPt>
            <c:idx val="695"/>
            <c:spPr>
              <a:solidFill>
                <a:srgbClr val="AEABAB"/>
              </a:solidFill>
            </c:spPr>
          </c:dPt>
          <c:dPt>
            <c:idx val="696"/>
            <c:spPr>
              <a:solidFill>
                <a:srgbClr val="AEABAB"/>
              </a:solidFill>
            </c:spPr>
          </c:dPt>
          <c:dPt>
            <c:idx val="697"/>
            <c:spPr>
              <a:solidFill>
                <a:srgbClr val="AEABAB"/>
              </a:solidFill>
            </c:spPr>
          </c:dPt>
          <c:dPt>
            <c:idx val="698"/>
            <c:spPr>
              <a:solidFill>
                <a:srgbClr val="AEABAB"/>
              </a:solidFill>
            </c:spPr>
          </c:dPt>
          <c:dPt>
            <c:idx val="699"/>
            <c:spPr>
              <a:solidFill>
                <a:srgbClr val="AEABAB"/>
              </a:solidFill>
            </c:spPr>
          </c:dPt>
          <c:dPt>
            <c:idx val="700"/>
            <c:spPr>
              <a:solidFill>
                <a:srgbClr val="AEABAB"/>
              </a:solidFill>
            </c:spPr>
          </c:dPt>
          <c:dPt>
            <c:idx val="701"/>
            <c:spPr>
              <a:solidFill>
                <a:srgbClr val="AEABAB"/>
              </a:solidFill>
            </c:spPr>
          </c:dPt>
          <c:dPt>
            <c:idx val="702"/>
            <c:spPr>
              <a:solidFill>
                <a:srgbClr val="AEABAB"/>
              </a:solidFill>
            </c:spPr>
          </c:dPt>
          <c:dPt>
            <c:idx val="703"/>
            <c:spPr>
              <a:solidFill>
                <a:srgbClr val="AEABAB"/>
              </a:solidFill>
            </c:spPr>
          </c:dPt>
          <c:dPt>
            <c:idx val="704"/>
            <c:spPr>
              <a:solidFill>
                <a:srgbClr val="AEABAB"/>
              </a:solidFill>
            </c:spPr>
          </c:dPt>
          <c:dPt>
            <c:idx val="705"/>
            <c:spPr>
              <a:solidFill>
                <a:srgbClr val="AEABAB"/>
              </a:solidFill>
            </c:spPr>
          </c:dPt>
          <c:dPt>
            <c:idx val="706"/>
            <c:spPr>
              <a:solidFill>
                <a:srgbClr val="AEABAB"/>
              </a:solidFill>
            </c:spPr>
          </c:dPt>
          <c:dPt>
            <c:idx val="707"/>
            <c:spPr>
              <a:solidFill>
                <a:srgbClr val="AEABAB"/>
              </a:solidFill>
            </c:spPr>
          </c:dPt>
          <c:dPt>
            <c:idx val="708"/>
            <c:spPr>
              <a:solidFill>
                <a:srgbClr val="AEABAB"/>
              </a:solidFill>
            </c:spPr>
          </c:dPt>
          <c:dPt>
            <c:idx val="709"/>
            <c:spPr>
              <a:solidFill>
                <a:srgbClr val="AEABAB"/>
              </a:solidFill>
            </c:spPr>
          </c:dPt>
          <c:dPt>
            <c:idx val="710"/>
            <c:spPr>
              <a:solidFill>
                <a:srgbClr val="AEABAB"/>
              </a:solidFill>
            </c:spPr>
          </c:dPt>
          <c:dPt>
            <c:idx val="711"/>
            <c:spPr>
              <a:solidFill>
                <a:srgbClr val="AEABAB"/>
              </a:solidFill>
            </c:spPr>
          </c:dPt>
          <c:dPt>
            <c:idx val="712"/>
            <c:spPr>
              <a:solidFill>
                <a:srgbClr val="AEABAB"/>
              </a:solidFill>
            </c:spPr>
          </c:dPt>
          <c:dPt>
            <c:idx val="713"/>
            <c:spPr>
              <a:solidFill>
                <a:srgbClr val="AEABAB"/>
              </a:solidFill>
            </c:spPr>
          </c:dPt>
          <c:dPt>
            <c:idx val="714"/>
            <c:spPr>
              <a:solidFill>
                <a:srgbClr val="AEABAB"/>
              </a:solidFill>
            </c:spPr>
          </c:dPt>
          <c:dPt>
            <c:idx val="715"/>
            <c:spPr>
              <a:solidFill>
                <a:srgbClr val="AEABAB"/>
              </a:solidFill>
            </c:spPr>
          </c:dPt>
          <c:dPt>
            <c:idx val="716"/>
            <c:spPr>
              <a:solidFill>
                <a:srgbClr val="AEABAB"/>
              </a:solidFill>
            </c:spPr>
          </c:dPt>
          <c:dPt>
            <c:idx val="717"/>
            <c:spPr>
              <a:solidFill>
                <a:srgbClr val="AEABAB"/>
              </a:solidFill>
            </c:spPr>
          </c:dPt>
          <c:dPt>
            <c:idx val="718"/>
            <c:spPr>
              <a:solidFill>
                <a:srgbClr val="AEABAB"/>
              </a:solidFill>
            </c:spPr>
          </c:dPt>
          <c:dPt>
            <c:idx val="719"/>
            <c:spPr>
              <a:solidFill>
                <a:srgbClr val="AEABAB"/>
              </a:solidFill>
            </c:spPr>
          </c:dPt>
          <c:dPt>
            <c:idx val="720"/>
            <c:spPr>
              <a:solidFill>
                <a:srgbClr val="AEABAB"/>
              </a:solidFill>
            </c:spPr>
          </c:dPt>
          <c:dPt>
            <c:idx val="721"/>
            <c:spPr>
              <a:solidFill>
                <a:srgbClr val="AEABAB"/>
              </a:solidFill>
            </c:spPr>
          </c:dPt>
          <c:dPt>
            <c:idx val="722"/>
            <c:spPr>
              <a:solidFill>
                <a:srgbClr val="AEABAB"/>
              </a:solidFill>
            </c:spPr>
          </c:dPt>
          <c:dPt>
            <c:idx val="723"/>
            <c:spPr>
              <a:solidFill>
                <a:srgbClr val="AEABAB"/>
              </a:solidFill>
            </c:spPr>
          </c:dPt>
          <c:dPt>
            <c:idx val="724"/>
            <c:spPr>
              <a:solidFill>
                <a:srgbClr val="AEABAB"/>
              </a:solidFill>
            </c:spPr>
          </c:dPt>
          <c:dPt>
            <c:idx val="725"/>
            <c:spPr>
              <a:solidFill>
                <a:srgbClr val="AEABAB"/>
              </a:solidFill>
            </c:spPr>
          </c:dPt>
          <c:dPt>
            <c:idx val="726"/>
            <c:spPr>
              <a:solidFill>
                <a:srgbClr val="AEABAB"/>
              </a:solidFill>
            </c:spPr>
          </c:dPt>
          <c:dPt>
            <c:idx val="727"/>
            <c:spPr>
              <a:solidFill>
                <a:srgbClr val="AEABAB"/>
              </a:solidFill>
            </c:spPr>
          </c:dPt>
          <c:dPt>
            <c:idx val="728"/>
            <c:spPr>
              <a:solidFill>
                <a:srgbClr val="AEABAB"/>
              </a:solidFill>
            </c:spPr>
          </c:dPt>
          <c:dPt>
            <c:idx val="729"/>
            <c:spPr>
              <a:solidFill>
                <a:srgbClr val="AEABAB"/>
              </a:solidFill>
            </c:spPr>
          </c:dPt>
          <c:dPt>
            <c:idx val="730"/>
            <c:spPr>
              <a:solidFill>
                <a:srgbClr val="AEABAB"/>
              </a:solidFill>
            </c:spPr>
          </c:dPt>
          <c:dPt>
            <c:idx val="731"/>
            <c:spPr>
              <a:solidFill>
                <a:srgbClr val="AEABAB"/>
              </a:solidFill>
            </c:spPr>
          </c:dPt>
          <c:dPt>
            <c:idx val="732"/>
            <c:spPr>
              <a:solidFill>
                <a:srgbClr val="AEABAB"/>
              </a:solidFill>
            </c:spPr>
          </c:dPt>
          <c:dPt>
            <c:idx val="733"/>
            <c:spPr>
              <a:solidFill>
                <a:srgbClr val="AEABAB"/>
              </a:solidFill>
            </c:spPr>
          </c:dPt>
          <c:dPt>
            <c:idx val="734"/>
            <c:spPr>
              <a:solidFill>
                <a:srgbClr val="AEABAB"/>
              </a:solidFill>
            </c:spPr>
          </c:dPt>
          <c:dPt>
            <c:idx val="735"/>
            <c:spPr>
              <a:solidFill>
                <a:srgbClr val="AEABAB"/>
              </a:solidFill>
            </c:spPr>
          </c:dPt>
          <c:dPt>
            <c:idx val="736"/>
            <c:spPr>
              <a:solidFill>
                <a:srgbClr val="AEABAB"/>
              </a:solidFill>
            </c:spPr>
          </c:dPt>
          <c:dPt>
            <c:idx val="737"/>
            <c:spPr>
              <a:solidFill>
                <a:srgbClr val="AEABAB"/>
              </a:solidFill>
            </c:spPr>
          </c:dPt>
          <c:dPt>
            <c:idx val="738"/>
            <c:spPr>
              <a:solidFill>
                <a:srgbClr val="AEABAB"/>
              </a:solidFill>
            </c:spPr>
          </c:dPt>
          <c:dPt>
            <c:idx val="739"/>
            <c:spPr>
              <a:solidFill>
                <a:srgbClr val="AEABAB"/>
              </a:solidFill>
            </c:spPr>
          </c:dPt>
          <c:dPt>
            <c:idx val="740"/>
            <c:spPr>
              <a:solidFill>
                <a:srgbClr val="AEABAB"/>
              </a:solidFill>
            </c:spPr>
          </c:dPt>
          <c:dPt>
            <c:idx val="741"/>
            <c:spPr>
              <a:solidFill>
                <a:srgbClr val="AEABAB"/>
              </a:solidFill>
            </c:spPr>
          </c:dPt>
          <c:dPt>
            <c:idx val="742"/>
            <c:spPr>
              <a:solidFill>
                <a:srgbClr val="AEABAB"/>
              </a:solidFill>
            </c:spPr>
          </c:dPt>
          <c:dPt>
            <c:idx val="743"/>
            <c:spPr>
              <a:solidFill>
                <a:srgbClr val="AEABAB"/>
              </a:solidFill>
            </c:spPr>
          </c:dPt>
          <c:dPt>
            <c:idx val="744"/>
            <c:spPr>
              <a:solidFill>
                <a:srgbClr val="AEABAB"/>
              </a:solidFill>
            </c:spPr>
          </c:dPt>
          <c:dPt>
            <c:idx val="745"/>
            <c:spPr>
              <a:solidFill>
                <a:srgbClr val="AEABAB"/>
              </a:solidFill>
            </c:spPr>
          </c:dPt>
          <c:dPt>
            <c:idx val="746"/>
            <c:spPr>
              <a:solidFill>
                <a:srgbClr val="AEABAB"/>
              </a:solidFill>
            </c:spPr>
          </c:dPt>
          <c:dPt>
            <c:idx val="747"/>
            <c:spPr>
              <a:solidFill>
                <a:srgbClr val="AEABAB"/>
              </a:solidFill>
            </c:spPr>
          </c:dPt>
          <c:dPt>
            <c:idx val="748"/>
            <c:spPr>
              <a:solidFill>
                <a:srgbClr val="AEABAB"/>
              </a:solidFill>
            </c:spPr>
          </c:dPt>
          <c:dPt>
            <c:idx val="749"/>
            <c:spPr>
              <a:solidFill>
                <a:srgbClr val="AEABAB"/>
              </a:solidFill>
            </c:spPr>
          </c:dPt>
          <c:dPt>
            <c:idx val="750"/>
            <c:spPr>
              <a:solidFill>
                <a:srgbClr val="AEABAB"/>
              </a:solidFill>
            </c:spPr>
          </c:dPt>
          <c:dPt>
            <c:idx val="751"/>
            <c:spPr>
              <a:solidFill>
                <a:srgbClr val="AEABAB"/>
              </a:solidFill>
            </c:spPr>
          </c:dPt>
          <c:dPt>
            <c:idx val="752"/>
            <c:spPr>
              <a:solidFill>
                <a:srgbClr val="AEABAB"/>
              </a:solidFill>
            </c:spPr>
          </c:dPt>
          <c:dPt>
            <c:idx val="753"/>
            <c:spPr>
              <a:solidFill>
                <a:srgbClr val="AEABAB"/>
              </a:solidFill>
            </c:spPr>
          </c:dPt>
          <c:dPt>
            <c:idx val="754"/>
            <c:spPr>
              <a:solidFill>
                <a:srgbClr val="AEABAB"/>
              </a:solidFill>
            </c:spPr>
          </c:dPt>
          <c:dPt>
            <c:idx val="755"/>
            <c:spPr>
              <a:solidFill>
                <a:srgbClr val="AEABAB"/>
              </a:solidFill>
            </c:spPr>
          </c:dPt>
          <c:dPt>
            <c:idx val="756"/>
            <c:spPr>
              <a:solidFill>
                <a:srgbClr val="AEABAB"/>
              </a:solidFill>
            </c:spPr>
          </c:dPt>
          <c:dPt>
            <c:idx val="757"/>
            <c:spPr>
              <a:solidFill>
                <a:srgbClr val="AEABAB"/>
              </a:solidFill>
            </c:spPr>
          </c:dPt>
          <c:dPt>
            <c:idx val="758"/>
            <c:spPr>
              <a:solidFill>
                <a:srgbClr val="AEABAB"/>
              </a:solidFill>
            </c:spPr>
          </c:dPt>
          <c:dPt>
            <c:idx val="759"/>
            <c:spPr>
              <a:solidFill>
                <a:srgbClr val="AEABAB"/>
              </a:solidFill>
            </c:spPr>
          </c:dPt>
          <c:dPt>
            <c:idx val="760"/>
            <c:spPr>
              <a:solidFill>
                <a:srgbClr val="AEABAB"/>
              </a:solidFill>
            </c:spPr>
          </c:dPt>
          <c:dPt>
            <c:idx val="761"/>
            <c:spPr>
              <a:solidFill>
                <a:srgbClr val="AEABAB"/>
              </a:solidFill>
            </c:spPr>
          </c:dPt>
          <c:dPt>
            <c:idx val="762"/>
            <c:spPr>
              <a:solidFill>
                <a:srgbClr val="AEABAB"/>
              </a:solidFill>
            </c:spPr>
          </c:dPt>
          <c:dPt>
            <c:idx val="763"/>
            <c:spPr>
              <a:solidFill>
                <a:srgbClr val="AEABAB"/>
              </a:solidFill>
            </c:spPr>
          </c:dPt>
          <c:dPt>
            <c:idx val="764"/>
            <c:spPr>
              <a:solidFill>
                <a:srgbClr val="AEABAB"/>
              </a:solidFill>
            </c:spPr>
          </c:dPt>
          <c:dPt>
            <c:idx val="765"/>
            <c:spPr>
              <a:solidFill>
                <a:srgbClr val="AEABAB"/>
              </a:solidFill>
            </c:spPr>
          </c:dPt>
          <c:dPt>
            <c:idx val="766"/>
            <c:spPr>
              <a:solidFill>
                <a:srgbClr val="AEABAB"/>
              </a:solidFill>
            </c:spPr>
          </c:dPt>
          <c:dPt>
            <c:idx val="767"/>
            <c:spPr>
              <a:solidFill>
                <a:srgbClr val="AEABAB"/>
              </a:solidFill>
            </c:spPr>
          </c:dPt>
          <c:dPt>
            <c:idx val="768"/>
            <c:spPr>
              <a:solidFill>
                <a:srgbClr val="AEABAB"/>
              </a:solidFill>
            </c:spPr>
          </c:dPt>
          <c:dPt>
            <c:idx val="769"/>
            <c:spPr>
              <a:solidFill>
                <a:srgbClr val="AEABAB"/>
              </a:solidFill>
            </c:spPr>
          </c:dPt>
          <c:dPt>
            <c:idx val="770"/>
            <c:spPr>
              <a:solidFill>
                <a:srgbClr val="AEABAB"/>
              </a:solidFill>
            </c:spPr>
          </c:dPt>
          <c:dPt>
            <c:idx val="771"/>
            <c:spPr>
              <a:solidFill>
                <a:srgbClr val="AEABAB"/>
              </a:solidFill>
            </c:spPr>
          </c:dPt>
          <c:dPt>
            <c:idx val="772"/>
            <c:spPr>
              <a:solidFill>
                <a:srgbClr val="AEABAB"/>
              </a:solidFill>
            </c:spPr>
          </c:dPt>
          <c:dPt>
            <c:idx val="773"/>
            <c:spPr>
              <a:solidFill>
                <a:srgbClr val="AEABAB"/>
              </a:solidFill>
            </c:spPr>
          </c:dPt>
          <c:dPt>
            <c:idx val="774"/>
            <c:spPr>
              <a:solidFill>
                <a:srgbClr val="AEABAB"/>
              </a:solidFill>
            </c:spPr>
          </c:dPt>
          <c:dPt>
            <c:idx val="775"/>
            <c:spPr>
              <a:solidFill>
                <a:srgbClr val="AEABAB"/>
              </a:solidFill>
            </c:spPr>
          </c:dPt>
          <c:dPt>
            <c:idx val="776"/>
            <c:spPr>
              <a:solidFill>
                <a:srgbClr val="AEABAB"/>
              </a:solidFill>
            </c:spPr>
          </c:dPt>
          <c:dPt>
            <c:idx val="777"/>
            <c:spPr>
              <a:solidFill>
                <a:srgbClr val="AEABAB"/>
              </a:solidFill>
            </c:spPr>
          </c:dPt>
          <c:dPt>
            <c:idx val="778"/>
            <c:spPr>
              <a:solidFill>
                <a:srgbClr val="AEABAB"/>
              </a:solidFill>
            </c:spPr>
          </c:dPt>
          <c:dPt>
            <c:idx val="779"/>
            <c:spPr>
              <a:solidFill>
                <a:srgbClr val="AEABAB"/>
              </a:solidFill>
            </c:spPr>
          </c:dPt>
          <c:dPt>
            <c:idx val="780"/>
            <c:spPr>
              <a:solidFill>
                <a:srgbClr val="AEABAB"/>
              </a:solidFill>
            </c:spPr>
          </c:dPt>
          <c:dPt>
            <c:idx val="781"/>
            <c:spPr>
              <a:solidFill>
                <a:srgbClr val="AEABAB"/>
              </a:solidFill>
            </c:spPr>
          </c:dPt>
          <c:dPt>
            <c:idx val="782"/>
            <c:spPr>
              <a:solidFill>
                <a:srgbClr val="AEABAB"/>
              </a:solidFill>
            </c:spPr>
          </c:dPt>
          <c:dPt>
            <c:idx val="783"/>
            <c:spPr>
              <a:solidFill>
                <a:srgbClr val="AEABAB"/>
              </a:solidFill>
            </c:spPr>
          </c:dPt>
          <c:dPt>
            <c:idx val="784"/>
            <c:spPr>
              <a:solidFill>
                <a:srgbClr val="AEABAB"/>
              </a:solidFill>
            </c:spPr>
          </c:dPt>
          <c:dPt>
            <c:idx val="785"/>
            <c:spPr>
              <a:solidFill>
                <a:srgbClr val="AEABAB"/>
              </a:solidFill>
            </c:spPr>
          </c:dPt>
          <c:dPt>
            <c:idx val="786"/>
            <c:spPr>
              <a:solidFill>
                <a:srgbClr val="AEABAB"/>
              </a:solidFill>
            </c:spPr>
          </c:dPt>
          <c:dPt>
            <c:idx val="787"/>
            <c:spPr>
              <a:solidFill>
                <a:srgbClr val="AEABAB"/>
              </a:solidFill>
            </c:spPr>
          </c:dPt>
          <c:dPt>
            <c:idx val="788"/>
            <c:spPr>
              <a:solidFill>
                <a:srgbClr val="AEABAB"/>
              </a:solidFill>
            </c:spPr>
          </c:dPt>
          <c:dPt>
            <c:idx val="789"/>
            <c:spPr>
              <a:solidFill>
                <a:srgbClr val="AEABAB"/>
              </a:solidFill>
            </c:spPr>
          </c:dPt>
          <c:dPt>
            <c:idx val="790"/>
            <c:spPr>
              <a:solidFill>
                <a:srgbClr val="AEABAB"/>
              </a:solidFill>
            </c:spPr>
          </c:dPt>
          <c:dPt>
            <c:idx val="791"/>
            <c:spPr>
              <a:solidFill>
                <a:srgbClr val="AEABAB"/>
              </a:solidFill>
            </c:spPr>
          </c:dPt>
          <c:dPt>
            <c:idx val="792"/>
            <c:spPr>
              <a:solidFill>
                <a:srgbClr val="AEABAB"/>
              </a:solidFill>
            </c:spPr>
          </c:dPt>
          <c:dPt>
            <c:idx val="793"/>
            <c:spPr>
              <a:solidFill>
                <a:srgbClr val="AEABAB"/>
              </a:solidFill>
            </c:spPr>
          </c:dPt>
          <c:dPt>
            <c:idx val="794"/>
            <c:spPr>
              <a:solidFill>
                <a:srgbClr val="AEABAB"/>
              </a:solidFill>
            </c:spPr>
          </c:dPt>
          <c:dPt>
            <c:idx val="795"/>
            <c:spPr>
              <a:solidFill>
                <a:srgbClr val="AEABAB"/>
              </a:solidFill>
            </c:spPr>
          </c:dPt>
          <c:dPt>
            <c:idx val="796"/>
            <c:spPr>
              <a:solidFill>
                <a:srgbClr val="AEABAB"/>
              </a:solidFill>
            </c:spPr>
          </c:dPt>
          <c:dPt>
            <c:idx val="797"/>
            <c:spPr>
              <a:solidFill>
                <a:srgbClr val="AEABAB"/>
              </a:solidFill>
            </c:spPr>
          </c:dPt>
          <c:dPt>
            <c:idx val="798"/>
            <c:spPr>
              <a:solidFill>
                <a:srgbClr val="AEABAB"/>
              </a:solidFill>
            </c:spPr>
          </c:dPt>
          <c:dPt>
            <c:idx val="799"/>
            <c:spPr>
              <a:solidFill>
                <a:srgbClr val="AEABAB"/>
              </a:solidFill>
            </c:spPr>
          </c:dPt>
          <c:dPt>
            <c:idx val="800"/>
            <c:spPr>
              <a:solidFill>
                <a:srgbClr val="AEABAB"/>
              </a:solidFill>
            </c:spPr>
          </c:dPt>
          <c:dPt>
            <c:idx val="801"/>
            <c:spPr>
              <a:solidFill>
                <a:srgbClr val="AEABAB"/>
              </a:solidFill>
            </c:spPr>
          </c:dPt>
          <c:dPt>
            <c:idx val="802"/>
            <c:spPr>
              <a:solidFill>
                <a:srgbClr val="AEABAB"/>
              </a:solidFill>
            </c:spPr>
          </c:dPt>
          <c:dPt>
            <c:idx val="803"/>
            <c:spPr>
              <a:solidFill>
                <a:srgbClr val="AEABAB"/>
              </a:solidFill>
            </c:spPr>
          </c:dPt>
          <c:dPt>
            <c:idx val="804"/>
            <c:spPr>
              <a:solidFill>
                <a:srgbClr val="AEABAB"/>
              </a:solidFill>
            </c:spPr>
          </c:dPt>
          <c:dPt>
            <c:idx val="805"/>
            <c:spPr>
              <a:solidFill>
                <a:srgbClr val="AEABAB"/>
              </a:solidFill>
            </c:spPr>
          </c:dPt>
          <c:dPt>
            <c:idx val="806"/>
            <c:spPr>
              <a:solidFill>
                <a:srgbClr val="AEABAB"/>
              </a:solidFill>
            </c:spPr>
          </c:dPt>
          <c:dPt>
            <c:idx val="807"/>
            <c:spPr>
              <a:solidFill>
                <a:srgbClr val="AEABAB"/>
              </a:solidFill>
            </c:spPr>
          </c:dPt>
          <c:dPt>
            <c:idx val="808"/>
            <c:spPr>
              <a:solidFill>
                <a:srgbClr val="AEABAB"/>
              </a:solidFill>
            </c:spPr>
          </c:dPt>
          <c:dPt>
            <c:idx val="809"/>
            <c:spPr>
              <a:solidFill>
                <a:srgbClr val="AEABAB"/>
              </a:solidFill>
            </c:spPr>
          </c:dPt>
          <c:dPt>
            <c:idx val="810"/>
            <c:spPr>
              <a:solidFill>
                <a:srgbClr val="AEABAB"/>
              </a:solidFill>
            </c:spPr>
          </c:dPt>
          <c:dPt>
            <c:idx val="811"/>
            <c:spPr>
              <a:solidFill>
                <a:srgbClr val="AEABAB"/>
              </a:solidFill>
            </c:spPr>
          </c:dPt>
          <c:dPt>
            <c:idx val="812"/>
            <c:spPr>
              <a:solidFill>
                <a:srgbClr val="AEABAB"/>
              </a:solidFill>
            </c:spPr>
          </c:dPt>
          <c:dPt>
            <c:idx val="813"/>
            <c:spPr>
              <a:solidFill>
                <a:srgbClr val="AEABAB"/>
              </a:solidFill>
            </c:spPr>
          </c:dPt>
          <c:dPt>
            <c:idx val="814"/>
            <c:spPr>
              <a:solidFill>
                <a:srgbClr val="AEABAB"/>
              </a:solidFill>
            </c:spPr>
          </c:dPt>
          <c:dPt>
            <c:idx val="815"/>
            <c:spPr>
              <a:solidFill>
                <a:srgbClr val="AEABAB"/>
              </a:solidFill>
            </c:spPr>
          </c:dPt>
          <c:dPt>
            <c:idx val="816"/>
            <c:spPr>
              <a:solidFill>
                <a:srgbClr val="AEABAB"/>
              </a:solidFill>
            </c:spPr>
          </c:dPt>
          <c:dPt>
            <c:idx val="817"/>
            <c:spPr>
              <a:solidFill>
                <a:srgbClr val="AEABAB"/>
              </a:solidFill>
            </c:spPr>
          </c:dPt>
          <c:dPt>
            <c:idx val="818"/>
            <c:spPr>
              <a:solidFill>
                <a:srgbClr val="AEABAB"/>
              </a:solidFill>
            </c:spPr>
          </c:dPt>
          <c:dPt>
            <c:idx val="819"/>
            <c:spPr>
              <a:solidFill>
                <a:srgbClr val="AEABAB"/>
              </a:solidFill>
            </c:spPr>
          </c:dPt>
          <c:dPt>
            <c:idx val="820"/>
            <c:spPr>
              <a:solidFill>
                <a:srgbClr val="AEABAB"/>
              </a:solidFill>
            </c:spPr>
          </c:dPt>
          <c:dPt>
            <c:idx val="821"/>
            <c:spPr>
              <a:solidFill>
                <a:srgbClr val="AEABAB"/>
              </a:solidFill>
            </c:spPr>
          </c:dPt>
          <c:dPt>
            <c:idx val="822"/>
            <c:spPr>
              <a:solidFill>
                <a:srgbClr val="AEABAB"/>
              </a:solidFill>
            </c:spPr>
          </c:dPt>
          <c:dPt>
            <c:idx val="823"/>
            <c:spPr>
              <a:solidFill>
                <a:srgbClr val="AEABAB"/>
              </a:solidFill>
            </c:spPr>
          </c:dPt>
          <c:dPt>
            <c:idx val="824"/>
            <c:spPr>
              <a:solidFill>
                <a:srgbClr val="AEABAB"/>
              </a:solidFill>
            </c:spPr>
          </c:dPt>
          <c:dPt>
            <c:idx val="825"/>
            <c:spPr>
              <a:solidFill>
                <a:srgbClr val="AEABAB"/>
              </a:solidFill>
            </c:spPr>
          </c:dPt>
          <c:dPt>
            <c:idx val="826"/>
            <c:spPr>
              <a:solidFill>
                <a:srgbClr val="AEABAB"/>
              </a:solidFill>
            </c:spPr>
          </c:dPt>
          <c:dPt>
            <c:idx val="827"/>
            <c:spPr>
              <a:solidFill>
                <a:srgbClr val="AEABAB"/>
              </a:solidFill>
            </c:spPr>
          </c:dPt>
          <c:dPt>
            <c:idx val="828"/>
            <c:spPr>
              <a:solidFill>
                <a:srgbClr val="AEABAB"/>
              </a:solidFill>
            </c:spPr>
          </c:dPt>
          <c:dPt>
            <c:idx val="829"/>
            <c:spPr>
              <a:solidFill>
                <a:srgbClr val="AEABAB"/>
              </a:solidFill>
            </c:spPr>
          </c:dPt>
          <c:dPt>
            <c:idx val="830"/>
            <c:spPr>
              <a:solidFill>
                <a:srgbClr val="AEABAB"/>
              </a:solidFill>
            </c:spPr>
          </c:dPt>
          <c:dPt>
            <c:idx val="831"/>
            <c:spPr>
              <a:solidFill>
                <a:srgbClr val="AEABAB"/>
              </a:solidFill>
            </c:spPr>
          </c:dPt>
          <c:dPt>
            <c:idx val="832"/>
            <c:spPr>
              <a:solidFill>
                <a:srgbClr val="AEABAB"/>
              </a:solidFill>
            </c:spPr>
          </c:dPt>
          <c:dPt>
            <c:idx val="833"/>
            <c:spPr>
              <a:solidFill>
                <a:srgbClr val="AEABAB"/>
              </a:solidFill>
            </c:spPr>
          </c:dPt>
          <c:dPt>
            <c:idx val="834"/>
            <c:spPr>
              <a:solidFill>
                <a:srgbClr val="AEABAB"/>
              </a:solidFill>
            </c:spPr>
          </c:dPt>
          <c:dPt>
            <c:idx val="835"/>
            <c:spPr>
              <a:solidFill>
                <a:srgbClr val="AEABAB"/>
              </a:solidFill>
            </c:spPr>
          </c:dPt>
          <c:dPt>
            <c:idx val="836"/>
            <c:spPr>
              <a:solidFill>
                <a:srgbClr val="AEABAB"/>
              </a:solidFill>
            </c:spPr>
          </c:dPt>
          <c:dPt>
            <c:idx val="837"/>
            <c:spPr>
              <a:solidFill>
                <a:srgbClr val="AEABAB"/>
              </a:solidFill>
            </c:spPr>
          </c:dPt>
          <c:dPt>
            <c:idx val="838"/>
            <c:spPr>
              <a:solidFill>
                <a:srgbClr val="AEABAB"/>
              </a:solidFill>
            </c:spPr>
          </c:dPt>
          <c:dPt>
            <c:idx val="839"/>
            <c:spPr>
              <a:solidFill>
                <a:srgbClr val="AEABAB"/>
              </a:solidFill>
            </c:spPr>
          </c:dPt>
          <c:dPt>
            <c:idx val="840"/>
            <c:spPr>
              <a:solidFill>
                <a:srgbClr val="AEABAB"/>
              </a:solidFill>
            </c:spPr>
          </c:dPt>
          <c:dPt>
            <c:idx val="841"/>
            <c:spPr>
              <a:solidFill>
                <a:srgbClr val="AEABAB"/>
              </a:solidFill>
            </c:spPr>
          </c:dPt>
          <c:dPt>
            <c:idx val="842"/>
            <c:spPr>
              <a:solidFill>
                <a:srgbClr val="AEABAB"/>
              </a:solidFill>
            </c:spPr>
          </c:dPt>
          <c:dPt>
            <c:idx val="843"/>
            <c:spPr>
              <a:solidFill>
                <a:srgbClr val="AEABAB"/>
              </a:solidFill>
            </c:spPr>
          </c:dPt>
          <c:dPt>
            <c:idx val="844"/>
            <c:spPr>
              <a:solidFill>
                <a:srgbClr val="AEABAB"/>
              </a:solidFill>
            </c:spPr>
          </c:dPt>
          <c:dPt>
            <c:idx val="845"/>
            <c:spPr>
              <a:solidFill>
                <a:srgbClr val="AEABAB"/>
              </a:solidFill>
            </c:spPr>
          </c:dPt>
          <c:dPt>
            <c:idx val="846"/>
            <c:spPr>
              <a:solidFill>
                <a:srgbClr val="AEABAB"/>
              </a:solidFill>
            </c:spPr>
          </c:dPt>
          <c:dPt>
            <c:idx val="847"/>
            <c:spPr>
              <a:solidFill>
                <a:srgbClr val="AEABAB"/>
              </a:solidFill>
            </c:spPr>
          </c:dPt>
          <c:dPt>
            <c:idx val="848"/>
            <c:spPr>
              <a:solidFill>
                <a:srgbClr val="AEABAB"/>
              </a:solidFill>
            </c:spPr>
          </c:dPt>
          <c:dPt>
            <c:idx val="849"/>
            <c:spPr>
              <a:solidFill>
                <a:srgbClr val="AEABAB"/>
              </a:solidFill>
            </c:spPr>
          </c:dPt>
          <c:dPt>
            <c:idx val="850"/>
            <c:spPr>
              <a:solidFill>
                <a:srgbClr val="AEABAB"/>
              </a:solidFill>
            </c:spPr>
          </c:dPt>
          <c:dPt>
            <c:idx val="851"/>
            <c:spPr>
              <a:solidFill>
                <a:srgbClr val="AEABAB"/>
              </a:solidFill>
            </c:spPr>
          </c:dPt>
          <c:dPt>
            <c:idx val="852"/>
            <c:spPr>
              <a:solidFill>
                <a:srgbClr val="AEABAB"/>
              </a:solidFill>
            </c:spPr>
          </c:dPt>
          <c:dPt>
            <c:idx val="853"/>
            <c:spPr>
              <a:solidFill>
                <a:srgbClr val="AEABAB"/>
              </a:solidFill>
            </c:spPr>
          </c:dPt>
          <c:dPt>
            <c:idx val="854"/>
            <c:spPr>
              <a:solidFill>
                <a:srgbClr val="AEABAB"/>
              </a:solidFill>
            </c:spPr>
          </c:dPt>
          <c:dPt>
            <c:idx val="855"/>
            <c:spPr>
              <a:solidFill>
                <a:srgbClr val="AEABAB"/>
              </a:solidFill>
            </c:spPr>
          </c:dPt>
          <c:dPt>
            <c:idx val="856"/>
            <c:spPr>
              <a:solidFill>
                <a:srgbClr val="AEABAB"/>
              </a:solidFill>
            </c:spPr>
          </c:dPt>
          <c:dPt>
            <c:idx val="857"/>
            <c:spPr>
              <a:solidFill>
                <a:srgbClr val="AEABAB"/>
              </a:solidFill>
            </c:spPr>
          </c:dPt>
          <c:dPt>
            <c:idx val="858"/>
            <c:spPr>
              <a:solidFill>
                <a:srgbClr val="AEABAB"/>
              </a:solidFill>
            </c:spPr>
          </c:dPt>
          <c:dPt>
            <c:idx val="859"/>
            <c:spPr>
              <a:solidFill>
                <a:srgbClr val="AEABAB"/>
              </a:solidFill>
            </c:spPr>
          </c:dPt>
          <c:dPt>
            <c:idx val="860"/>
            <c:spPr>
              <a:solidFill>
                <a:srgbClr val="AEABAB"/>
              </a:solidFill>
            </c:spPr>
          </c:dPt>
          <c:dPt>
            <c:idx val="861"/>
            <c:spPr>
              <a:solidFill>
                <a:srgbClr val="AEABAB"/>
              </a:solidFill>
            </c:spPr>
          </c:dPt>
          <c:dPt>
            <c:idx val="862"/>
            <c:spPr>
              <a:solidFill>
                <a:srgbClr val="AEABAB"/>
              </a:solidFill>
            </c:spPr>
          </c:dPt>
          <c:dPt>
            <c:idx val="863"/>
            <c:spPr>
              <a:solidFill>
                <a:srgbClr val="AEABAB"/>
              </a:solidFill>
            </c:spPr>
          </c:dPt>
          <c:dPt>
            <c:idx val="864"/>
            <c:spPr>
              <a:solidFill>
                <a:srgbClr val="AEABAB"/>
              </a:solidFill>
            </c:spPr>
          </c:dPt>
          <c:dPt>
            <c:idx val="865"/>
            <c:spPr>
              <a:solidFill>
                <a:srgbClr val="AEABAB"/>
              </a:solidFill>
            </c:spPr>
          </c:dPt>
          <c:dPt>
            <c:idx val="866"/>
            <c:spPr>
              <a:solidFill>
                <a:srgbClr val="AEABAB"/>
              </a:solidFill>
            </c:spPr>
          </c:dPt>
          <c:dPt>
            <c:idx val="867"/>
            <c:spPr>
              <a:solidFill>
                <a:srgbClr val="AEABAB"/>
              </a:solidFill>
            </c:spPr>
          </c:dPt>
          <c:dPt>
            <c:idx val="868"/>
            <c:spPr>
              <a:solidFill>
                <a:srgbClr val="AEABAB"/>
              </a:solidFill>
            </c:spPr>
          </c:dPt>
          <c:dPt>
            <c:idx val="869"/>
            <c:spPr>
              <a:solidFill>
                <a:srgbClr val="AEABAB"/>
              </a:solidFill>
            </c:spPr>
          </c:dPt>
          <c:dPt>
            <c:idx val="870"/>
            <c:spPr>
              <a:solidFill>
                <a:srgbClr val="AEABAB"/>
              </a:solidFill>
            </c:spPr>
          </c:dPt>
          <c:dPt>
            <c:idx val="871"/>
            <c:spPr>
              <a:solidFill>
                <a:srgbClr val="AEABAB"/>
              </a:solidFill>
            </c:spPr>
          </c:dPt>
          <c:dPt>
            <c:idx val="872"/>
            <c:spPr>
              <a:solidFill>
                <a:srgbClr val="AEABAB"/>
              </a:solidFill>
            </c:spPr>
          </c:dPt>
          <c:dPt>
            <c:idx val="873"/>
            <c:spPr>
              <a:solidFill>
                <a:srgbClr val="AEABAB"/>
              </a:solidFill>
            </c:spPr>
          </c:dPt>
          <c:dPt>
            <c:idx val="874"/>
            <c:spPr>
              <a:solidFill>
                <a:srgbClr val="AEABAB"/>
              </a:solidFill>
            </c:spPr>
          </c:dPt>
          <c:dPt>
            <c:idx val="875"/>
            <c:spPr>
              <a:solidFill>
                <a:srgbClr val="AEABAB"/>
              </a:solidFill>
            </c:spPr>
          </c:dPt>
          <c:dPt>
            <c:idx val="876"/>
            <c:spPr>
              <a:solidFill>
                <a:srgbClr val="AEABAB"/>
              </a:solidFill>
            </c:spPr>
          </c:dPt>
          <c:dPt>
            <c:idx val="877"/>
            <c:spPr>
              <a:solidFill>
                <a:srgbClr val="AEABAB"/>
              </a:solidFill>
            </c:spPr>
          </c:dPt>
          <c:dPt>
            <c:idx val="878"/>
            <c:spPr>
              <a:solidFill>
                <a:srgbClr val="AEABAB"/>
              </a:solidFill>
            </c:spPr>
          </c:dPt>
          <c:dPt>
            <c:idx val="879"/>
            <c:spPr>
              <a:solidFill>
                <a:srgbClr val="AEABAB"/>
              </a:solidFill>
            </c:spPr>
          </c:dPt>
          <c:dPt>
            <c:idx val="880"/>
            <c:spPr>
              <a:solidFill>
                <a:srgbClr val="AEABAB"/>
              </a:solidFill>
            </c:spPr>
          </c:dPt>
          <c:dPt>
            <c:idx val="881"/>
            <c:spPr>
              <a:solidFill>
                <a:srgbClr val="AEABAB"/>
              </a:solidFill>
            </c:spPr>
          </c:dPt>
          <c:dPt>
            <c:idx val="882"/>
            <c:spPr>
              <a:solidFill>
                <a:srgbClr val="AEABAB"/>
              </a:solidFill>
            </c:spPr>
          </c:dPt>
          <c:dPt>
            <c:idx val="883"/>
            <c:spPr>
              <a:solidFill>
                <a:srgbClr val="AEABAB"/>
              </a:solidFill>
            </c:spPr>
          </c:dPt>
          <c:dPt>
            <c:idx val="884"/>
            <c:spPr>
              <a:solidFill>
                <a:srgbClr val="AEABAB"/>
              </a:solidFill>
            </c:spPr>
          </c:dPt>
          <c:dPt>
            <c:idx val="885"/>
            <c:spPr>
              <a:solidFill>
                <a:srgbClr val="AEABAB"/>
              </a:solidFill>
            </c:spPr>
          </c:dPt>
          <c:dPt>
            <c:idx val="886"/>
            <c:spPr>
              <a:solidFill>
                <a:srgbClr val="AEABAB"/>
              </a:solidFill>
            </c:spPr>
          </c:dPt>
          <c:dPt>
            <c:idx val="887"/>
            <c:spPr>
              <a:solidFill>
                <a:srgbClr val="AEABAB"/>
              </a:solidFill>
            </c:spPr>
          </c:dPt>
          <c:dPt>
            <c:idx val="888"/>
            <c:spPr>
              <a:solidFill>
                <a:srgbClr val="AEABAB"/>
              </a:solidFill>
            </c:spPr>
          </c:dPt>
          <c:dPt>
            <c:idx val="889"/>
            <c:spPr>
              <a:solidFill>
                <a:srgbClr val="AEABAB"/>
              </a:solidFill>
            </c:spPr>
          </c:dPt>
          <c:dPt>
            <c:idx val="890"/>
            <c:spPr>
              <a:solidFill>
                <a:srgbClr val="AEABAB"/>
              </a:solidFill>
            </c:spPr>
          </c:dPt>
          <c:dPt>
            <c:idx val="891"/>
            <c:spPr>
              <a:solidFill>
                <a:srgbClr val="AEABAB"/>
              </a:solidFill>
            </c:spPr>
          </c:dPt>
          <c:dPt>
            <c:idx val="892"/>
            <c:spPr>
              <a:solidFill>
                <a:srgbClr val="AEABAB"/>
              </a:solidFill>
            </c:spPr>
          </c:dPt>
          <c:dPt>
            <c:idx val="893"/>
            <c:spPr>
              <a:solidFill>
                <a:srgbClr val="AEABAB"/>
              </a:solidFill>
            </c:spPr>
          </c:dPt>
          <c:dPt>
            <c:idx val="894"/>
            <c:spPr>
              <a:solidFill>
                <a:srgbClr val="AEABAB"/>
              </a:solidFill>
            </c:spPr>
          </c:dPt>
          <c:dPt>
            <c:idx val="895"/>
            <c:spPr>
              <a:solidFill>
                <a:srgbClr val="AEABAB"/>
              </a:solidFill>
            </c:spPr>
          </c:dPt>
          <c:dPt>
            <c:idx val="896"/>
            <c:spPr>
              <a:solidFill>
                <a:srgbClr val="AEABAB"/>
              </a:solidFill>
            </c:spPr>
          </c:dPt>
          <c:dPt>
            <c:idx val="897"/>
            <c:spPr>
              <a:solidFill>
                <a:srgbClr val="AEABAB"/>
              </a:solidFill>
            </c:spPr>
          </c:dPt>
          <c:dPt>
            <c:idx val="898"/>
            <c:spPr>
              <a:solidFill>
                <a:srgbClr val="AEABAB"/>
              </a:solidFill>
            </c:spPr>
          </c:dPt>
          <c:dPt>
            <c:idx val="899"/>
            <c:spPr>
              <a:solidFill>
                <a:srgbClr val="AEABAB"/>
              </a:solidFill>
            </c:spPr>
          </c:dPt>
          <c:dPt>
            <c:idx val="900"/>
            <c:spPr>
              <a:solidFill>
                <a:srgbClr val="AEABAB"/>
              </a:solidFill>
            </c:spPr>
          </c:dPt>
          <c:dPt>
            <c:idx val="901"/>
            <c:spPr>
              <a:solidFill>
                <a:srgbClr val="AEABAB"/>
              </a:solidFill>
            </c:spPr>
          </c:dPt>
          <c:dPt>
            <c:idx val="902"/>
            <c:spPr>
              <a:solidFill>
                <a:srgbClr val="AEABAB"/>
              </a:solidFill>
            </c:spPr>
          </c:dPt>
          <c:dPt>
            <c:idx val="903"/>
            <c:spPr>
              <a:solidFill>
                <a:srgbClr val="AEABAB"/>
              </a:solidFill>
            </c:spPr>
          </c:dPt>
          <c:dPt>
            <c:idx val="904"/>
            <c:spPr>
              <a:solidFill>
                <a:srgbClr val="AEABAB"/>
              </a:solidFill>
            </c:spPr>
          </c:dPt>
          <c:dPt>
            <c:idx val="905"/>
            <c:spPr>
              <a:solidFill>
                <a:srgbClr val="AEABAB"/>
              </a:solidFill>
            </c:spPr>
          </c:dPt>
          <c:dPt>
            <c:idx val="906"/>
            <c:spPr>
              <a:solidFill>
                <a:srgbClr val="AEABAB"/>
              </a:solidFill>
            </c:spPr>
          </c:dPt>
          <c:dPt>
            <c:idx val="907"/>
            <c:spPr>
              <a:solidFill>
                <a:srgbClr val="AEABAB"/>
              </a:solidFill>
            </c:spPr>
          </c:dPt>
          <c:dPt>
            <c:idx val="908"/>
            <c:spPr>
              <a:solidFill>
                <a:srgbClr val="AEABAB"/>
              </a:solidFill>
            </c:spPr>
          </c:dPt>
          <c:dPt>
            <c:idx val="909"/>
            <c:spPr>
              <a:solidFill>
                <a:srgbClr val="AEABAB"/>
              </a:solidFill>
            </c:spPr>
          </c:dPt>
          <c:dPt>
            <c:idx val="910"/>
            <c:spPr>
              <a:solidFill>
                <a:srgbClr val="AEABAB"/>
              </a:solidFill>
            </c:spPr>
          </c:dPt>
          <c:dPt>
            <c:idx val="911"/>
            <c:spPr>
              <a:solidFill>
                <a:srgbClr val="AEABAB"/>
              </a:solidFill>
            </c:spPr>
          </c:dPt>
          <c:dPt>
            <c:idx val="912"/>
            <c:spPr>
              <a:solidFill>
                <a:srgbClr val="AEABAB"/>
              </a:solidFill>
            </c:spPr>
          </c:dPt>
          <c:dPt>
            <c:idx val="913"/>
            <c:spPr>
              <a:solidFill>
                <a:srgbClr val="AEABAB"/>
              </a:solidFill>
            </c:spPr>
          </c:dPt>
          <c:dPt>
            <c:idx val="914"/>
            <c:spPr>
              <a:solidFill>
                <a:srgbClr val="AEABAB"/>
              </a:solidFill>
            </c:spPr>
          </c:dPt>
          <c:dPt>
            <c:idx val="915"/>
            <c:spPr>
              <a:solidFill>
                <a:srgbClr val="AEABAB"/>
              </a:solidFill>
            </c:spPr>
          </c:dPt>
          <c:dPt>
            <c:idx val="916"/>
            <c:spPr>
              <a:solidFill>
                <a:srgbClr val="AEABAB"/>
              </a:solidFill>
            </c:spPr>
          </c:dPt>
          <c:dPt>
            <c:idx val="917"/>
            <c:spPr>
              <a:solidFill>
                <a:srgbClr val="AEABAB"/>
              </a:solidFill>
            </c:spPr>
          </c:dPt>
          <c:dPt>
            <c:idx val="918"/>
            <c:spPr>
              <a:solidFill>
                <a:srgbClr val="AEABAB"/>
              </a:solidFill>
            </c:spPr>
          </c:dPt>
          <c:dPt>
            <c:idx val="919"/>
            <c:spPr>
              <a:solidFill>
                <a:srgbClr val="AEABAB"/>
              </a:solidFill>
            </c:spPr>
          </c:dPt>
          <c:dPt>
            <c:idx val="920"/>
            <c:spPr>
              <a:solidFill>
                <a:srgbClr val="AEABAB"/>
              </a:solidFill>
            </c:spPr>
          </c:dPt>
          <c:dPt>
            <c:idx val="921"/>
            <c:spPr>
              <a:solidFill>
                <a:srgbClr val="AEABAB"/>
              </a:solidFill>
            </c:spPr>
          </c:dPt>
          <c:dPt>
            <c:idx val="922"/>
            <c:spPr>
              <a:solidFill>
                <a:srgbClr val="AEABAB"/>
              </a:solidFill>
            </c:spPr>
          </c:dPt>
          <c:dPt>
            <c:idx val="923"/>
            <c:spPr>
              <a:solidFill>
                <a:srgbClr val="AEABAB"/>
              </a:solidFill>
            </c:spPr>
          </c:dPt>
          <c:dPt>
            <c:idx val="924"/>
            <c:spPr>
              <a:solidFill>
                <a:srgbClr val="AEABAB"/>
              </a:solidFill>
            </c:spPr>
          </c:dPt>
          <c:dPt>
            <c:idx val="925"/>
            <c:spPr>
              <a:solidFill>
                <a:srgbClr val="AEABAB"/>
              </a:solidFill>
            </c:spPr>
          </c:dPt>
          <c:dPt>
            <c:idx val="926"/>
            <c:spPr>
              <a:solidFill>
                <a:srgbClr val="AEABAB"/>
              </a:solidFill>
            </c:spPr>
          </c:dPt>
          <c:dPt>
            <c:idx val="927"/>
            <c:spPr>
              <a:solidFill>
                <a:srgbClr val="AEABAB"/>
              </a:solidFill>
            </c:spPr>
          </c:dPt>
          <c:dPt>
            <c:idx val="928"/>
            <c:spPr>
              <a:solidFill>
                <a:srgbClr val="AEABAB"/>
              </a:solidFill>
            </c:spPr>
          </c:dPt>
          <c:dPt>
            <c:idx val="929"/>
            <c:spPr>
              <a:solidFill>
                <a:srgbClr val="AEABAB"/>
              </a:solidFill>
            </c:spPr>
          </c:dPt>
          <c:dPt>
            <c:idx val="930"/>
            <c:spPr>
              <a:solidFill>
                <a:srgbClr val="AEABAB"/>
              </a:solidFill>
            </c:spPr>
          </c:dPt>
          <c:dPt>
            <c:idx val="931"/>
            <c:spPr>
              <a:solidFill>
                <a:srgbClr val="AEABAB"/>
              </a:solidFill>
            </c:spPr>
          </c:dPt>
          <c:dPt>
            <c:idx val="932"/>
            <c:spPr>
              <a:solidFill>
                <a:srgbClr val="AEABAB"/>
              </a:solidFill>
            </c:spPr>
          </c:dPt>
          <c:dPt>
            <c:idx val="933"/>
            <c:spPr>
              <a:solidFill>
                <a:srgbClr val="AEABAB"/>
              </a:solidFill>
            </c:spPr>
          </c:dPt>
          <c:dPt>
            <c:idx val="934"/>
            <c:spPr>
              <a:solidFill>
                <a:srgbClr val="AEABAB"/>
              </a:solidFill>
            </c:spPr>
          </c:dPt>
          <c:dPt>
            <c:idx val="935"/>
            <c:spPr>
              <a:solidFill>
                <a:srgbClr val="AEABAB"/>
              </a:solidFill>
            </c:spPr>
          </c:dPt>
          <c:dPt>
            <c:idx val="936"/>
            <c:spPr>
              <a:solidFill>
                <a:srgbClr val="AEABAB"/>
              </a:solidFill>
            </c:spPr>
          </c:dPt>
          <c:dPt>
            <c:idx val="937"/>
            <c:spPr>
              <a:solidFill>
                <a:srgbClr val="AEABAB"/>
              </a:solidFill>
            </c:spPr>
          </c:dPt>
          <c:dPt>
            <c:idx val="938"/>
            <c:spPr>
              <a:solidFill>
                <a:srgbClr val="AEABAB"/>
              </a:solidFill>
            </c:spPr>
          </c:dPt>
          <c:dPt>
            <c:idx val="939"/>
            <c:spPr>
              <a:solidFill>
                <a:srgbClr val="AEABAB"/>
              </a:solidFill>
            </c:spPr>
          </c:dPt>
          <c:dPt>
            <c:idx val="940"/>
            <c:spPr>
              <a:solidFill>
                <a:srgbClr val="AEABAB"/>
              </a:solidFill>
            </c:spPr>
          </c:dPt>
          <c:dPt>
            <c:idx val="941"/>
            <c:spPr>
              <a:solidFill>
                <a:srgbClr val="AEABAB"/>
              </a:solidFill>
            </c:spPr>
          </c:dPt>
          <c:dPt>
            <c:idx val="942"/>
            <c:spPr>
              <a:solidFill>
                <a:srgbClr val="AEABAB"/>
              </a:solidFill>
            </c:spPr>
          </c:dPt>
          <c:dPt>
            <c:idx val="943"/>
            <c:spPr>
              <a:solidFill>
                <a:srgbClr val="AEABAB"/>
              </a:solidFill>
            </c:spPr>
          </c:dPt>
          <c:dPt>
            <c:idx val="944"/>
            <c:spPr>
              <a:solidFill>
                <a:srgbClr val="AEABAB"/>
              </a:solidFill>
            </c:spPr>
          </c:dPt>
          <c:dPt>
            <c:idx val="945"/>
            <c:spPr>
              <a:solidFill>
                <a:srgbClr val="AEABAB"/>
              </a:solidFill>
            </c:spPr>
          </c:dPt>
          <c:dPt>
            <c:idx val="946"/>
            <c:spPr>
              <a:solidFill>
                <a:srgbClr val="AEABAB"/>
              </a:solidFill>
            </c:spPr>
          </c:dPt>
          <c:dPt>
            <c:idx val="947"/>
            <c:spPr>
              <a:solidFill>
                <a:srgbClr val="AEABAB"/>
              </a:solidFill>
            </c:spPr>
          </c:dPt>
          <c:dPt>
            <c:idx val="948"/>
            <c:spPr>
              <a:solidFill>
                <a:srgbClr val="AEABAB"/>
              </a:solidFill>
            </c:spPr>
          </c:dPt>
          <c:dPt>
            <c:idx val="949"/>
            <c:spPr>
              <a:solidFill>
                <a:srgbClr val="AEABAB"/>
              </a:solidFill>
            </c:spPr>
          </c:dPt>
          <c:dPt>
            <c:idx val="950"/>
            <c:spPr>
              <a:solidFill>
                <a:srgbClr val="AEABAB"/>
              </a:solidFill>
            </c:spPr>
          </c:dPt>
          <c:dPt>
            <c:idx val="951"/>
            <c:spPr>
              <a:solidFill>
                <a:srgbClr val="AEABAB"/>
              </a:solidFill>
            </c:spPr>
          </c:dPt>
          <c:dPt>
            <c:idx val="952"/>
            <c:spPr>
              <a:solidFill>
                <a:srgbClr val="AEABAB"/>
              </a:solidFill>
            </c:spPr>
          </c:dPt>
          <c:dPt>
            <c:idx val="953"/>
            <c:spPr>
              <a:solidFill>
                <a:srgbClr val="AEABAB"/>
              </a:solidFill>
            </c:spPr>
          </c:dPt>
          <c:dPt>
            <c:idx val="954"/>
            <c:spPr>
              <a:solidFill>
                <a:srgbClr val="AEABAB"/>
              </a:solidFill>
            </c:spPr>
          </c:dPt>
          <c:dPt>
            <c:idx val="955"/>
            <c:spPr>
              <a:solidFill>
                <a:srgbClr val="AEABAB"/>
              </a:solidFill>
            </c:spPr>
          </c:dPt>
          <c:dPt>
            <c:idx val="956"/>
            <c:spPr>
              <a:solidFill>
                <a:srgbClr val="AEABAB"/>
              </a:solidFill>
            </c:spPr>
          </c:dPt>
          <c:dPt>
            <c:idx val="957"/>
            <c:spPr>
              <a:solidFill>
                <a:srgbClr val="AEABAB"/>
              </a:solidFill>
            </c:spPr>
          </c:dPt>
          <c:dPt>
            <c:idx val="958"/>
            <c:spPr>
              <a:solidFill>
                <a:srgbClr val="AEABAB"/>
              </a:solidFill>
            </c:spPr>
          </c:dPt>
          <c:dPt>
            <c:idx val="959"/>
            <c:spPr>
              <a:solidFill>
                <a:srgbClr val="AEABAB"/>
              </a:solidFill>
            </c:spPr>
          </c:dPt>
          <c:dPt>
            <c:idx val="960"/>
            <c:spPr>
              <a:solidFill>
                <a:srgbClr val="AEABAB"/>
              </a:solidFill>
            </c:spPr>
          </c:dPt>
          <c:dPt>
            <c:idx val="961"/>
            <c:spPr>
              <a:solidFill>
                <a:srgbClr val="AEABAB"/>
              </a:solidFill>
            </c:spPr>
          </c:dPt>
          <c:dPt>
            <c:idx val="962"/>
            <c:spPr>
              <a:solidFill>
                <a:srgbClr val="AEABAB"/>
              </a:solidFill>
            </c:spPr>
          </c:dPt>
          <c:dPt>
            <c:idx val="963"/>
            <c:spPr>
              <a:solidFill>
                <a:srgbClr val="AEABAB"/>
              </a:solidFill>
            </c:spPr>
          </c:dPt>
          <c:dPt>
            <c:idx val="964"/>
            <c:spPr>
              <a:solidFill>
                <a:srgbClr val="AEABAB"/>
              </a:solidFill>
            </c:spPr>
          </c:dPt>
          <c:dPt>
            <c:idx val="965"/>
            <c:spPr>
              <a:solidFill>
                <a:srgbClr val="AEABAB"/>
              </a:solidFill>
            </c:spPr>
          </c:dPt>
          <c:dPt>
            <c:idx val="966"/>
            <c:spPr>
              <a:solidFill>
                <a:srgbClr val="AEABAB"/>
              </a:solidFill>
            </c:spPr>
          </c:dPt>
          <c:dPt>
            <c:idx val="967"/>
            <c:spPr>
              <a:solidFill>
                <a:srgbClr val="AEABAB"/>
              </a:solidFill>
            </c:spPr>
          </c:dPt>
          <c:dPt>
            <c:idx val="968"/>
            <c:spPr>
              <a:solidFill>
                <a:srgbClr val="AEABAB"/>
              </a:solidFill>
            </c:spPr>
          </c:dPt>
          <c:dPt>
            <c:idx val="969"/>
            <c:spPr>
              <a:solidFill>
                <a:srgbClr val="AEABAB"/>
              </a:solidFill>
            </c:spPr>
          </c:dPt>
          <c:dPt>
            <c:idx val="970"/>
            <c:spPr>
              <a:solidFill>
                <a:srgbClr val="AEABAB"/>
              </a:solidFill>
            </c:spPr>
          </c:dPt>
          <c:dPt>
            <c:idx val="971"/>
            <c:spPr>
              <a:solidFill>
                <a:srgbClr val="AEABAB"/>
              </a:solidFill>
            </c:spPr>
          </c:dPt>
          <c:dPt>
            <c:idx val="972"/>
            <c:spPr>
              <a:solidFill>
                <a:srgbClr val="AEABAB"/>
              </a:solidFill>
            </c:spPr>
          </c:dPt>
          <c:dPt>
            <c:idx val="973"/>
            <c:spPr>
              <a:solidFill>
                <a:srgbClr val="AEABAB"/>
              </a:solidFill>
            </c:spPr>
          </c:dPt>
          <c:dPt>
            <c:idx val="974"/>
            <c:spPr>
              <a:solidFill>
                <a:srgbClr val="AEABAB"/>
              </a:solidFill>
            </c:spPr>
          </c:dPt>
          <c:dPt>
            <c:idx val="975"/>
            <c:spPr>
              <a:solidFill>
                <a:srgbClr val="AEABAB"/>
              </a:solidFill>
            </c:spPr>
          </c:dPt>
          <c:dPt>
            <c:idx val="976"/>
            <c:spPr>
              <a:solidFill>
                <a:srgbClr val="AEABAB"/>
              </a:solidFill>
            </c:spPr>
          </c:dPt>
          <c:dPt>
            <c:idx val="977"/>
            <c:spPr>
              <a:solidFill>
                <a:srgbClr val="AEABAB"/>
              </a:solidFill>
            </c:spPr>
          </c:dPt>
          <c:dPt>
            <c:idx val="978"/>
            <c:spPr>
              <a:solidFill>
                <a:srgbClr val="AEABAB"/>
              </a:solidFill>
            </c:spPr>
          </c:dPt>
          <c:dPt>
            <c:idx val="979"/>
            <c:spPr>
              <a:solidFill>
                <a:srgbClr val="AEABAB"/>
              </a:solidFill>
            </c:spPr>
          </c:dPt>
          <c:dPt>
            <c:idx val="980"/>
            <c:spPr>
              <a:solidFill>
                <a:srgbClr val="AEABAB"/>
              </a:solidFill>
            </c:spPr>
          </c:dPt>
          <c:dPt>
            <c:idx val="981"/>
            <c:spPr>
              <a:solidFill>
                <a:srgbClr val="AEABAB"/>
              </a:solidFill>
            </c:spPr>
          </c:dPt>
          <c:dPt>
            <c:idx val="982"/>
            <c:spPr>
              <a:solidFill>
                <a:srgbClr val="AEABAB"/>
              </a:solidFill>
            </c:spPr>
          </c:dPt>
          <c:dPt>
            <c:idx val="983"/>
            <c:spPr>
              <a:solidFill>
                <a:srgbClr val="AEABAB"/>
              </a:solidFill>
            </c:spPr>
          </c:dPt>
          <c:dPt>
            <c:idx val="984"/>
            <c:spPr>
              <a:solidFill>
                <a:srgbClr val="AEABAB"/>
              </a:solidFill>
            </c:spPr>
          </c:dPt>
          <c:dPt>
            <c:idx val="985"/>
            <c:spPr>
              <a:solidFill>
                <a:srgbClr val="AEABAB"/>
              </a:solidFill>
            </c:spPr>
          </c:dPt>
          <c:dPt>
            <c:idx val="986"/>
            <c:spPr>
              <a:solidFill>
                <a:srgbClr val="AEABAB"/>
              </a:solidFill>
            </c:spPr>
          </c:dPt>
          <c:dPt>
            <c:idx val="987"/>
            <c:spPr>
              <a:solidFill>
                <a:srgbClr val="AEABAB"/>
              </a:solidFill>
            </c:spPr>
          </c:dPt>
          <c:dPt>
            <c:idx val="988"/>
            <c:spPr>
              <a:solidFill>
                <a:srgbClr val="AEABAB"/>
              </a:solidFill>
            </c:spPr>
          </c:dPt>
          <c:dPt>
            <c:idx val="989"/>
            <c:spPr>
              <a:solidFill>
                <a:srgbClr val="AEABAB"/>
              </a:solidFill>
            </c:spPr>
          </c:dPt>
          <c:dPt>
            <c:idx val="990"/>
            <c:spPr>
              <a:solidFill>
                <a:srgbClr val="AEABAB"/>
              </a:solidFill>
            </c:spPr>
          </c:dPt>
          <c:dPt>
            <c:idx val="991"/>
            <c:spPr>
              <a:solidFill>
                <a:srgbClr val="AEABAB"/>
              </a:solidFill>
            </c:spPr>
          </c:dPt>
          <c:dPt>
            <c:idx val="992"/>
            <c:spPr>
              <a:solidFill>
                <a:srgbClr val="AEABAB"/>
              </a:solidFill>
            </c:spPr>
          </c:dPt>
          <c:dPt>
            <c:idx val="993"/>
            <c:spPr>
              <a:solidFill>
                <a:srgbClr val="AEABAB"/>
              </a:solidFill>
            </c:spPr>
          </c:dPt>
          <c:dPt>
            <c:idx val="994"/>
            <c:spPr>
              <a:solidFill>
                <a:srgbClr val="AEABAB"/>
              </a:solidFill>
            </c:spPr>
          </c:dPt>
          <c:dPt>
            <c:idx val="995"/>
            <c:spPr>
              <a:solidFill>
                <a:srgbClr val="AEABAB"/>
              </a:solidFill>
            </c:spPr>
          </c:dPt>
          <c:dPt>
            <c:idx val="996"/>
            <c:spPr>
              <a:solidFill>
                <a:srgbClr val="AEABAB"/>
              </a:solidFill>
            </c:spPr>
          </c:dPt>
          <c:dPt>
            <c:idx val="997"/>
            <c:spPr>
              <a:solidFill>
                <a:srgbClr val="AEABAB"/>
              </a:solidFill>
            </c:spPr>
          </c:dPt>
          <c:dPt>
            <c:idx val="998"/>
            <c:spPr>
              <a:solidFill>
                <a:srgbClr val="AEABAB"/>
              </a:solidFill>
            </c:spPr>
          </c:dPt>
          <c:dPt>
            <c:idx val="999"/>
            <c:spPr>
              <a:solidFill>
                <a:srgbClr val="AEABAB"/>
              </a:solidFill>
            </c:spPr>
          </c:dPt>
          <c:dPt>
            <c:idx val="1000"/>
            <c:spPr>
              <a:solidFill>
                <a:srgbClr val="AEABAB"/>
              </a:solidFill>
            </c:spPr>
          </c:dPt>
          <c:dPt>
            <c:idx val="1001"/>
            <c:spPr>
              <a:solidFill>
                <a:srgbClr val="AEABAB"/>
              </a:solidFill>
            </c:spPr>
          </c:dPt>
          <c:dPt>
            <c:idx val="1002"/>
            <c:spPr>
              <a:solidFill>
                <a:srgbClr val="AEABAB"/>
              </a:solidFill>
            </c:spPr>
          </c:dPt>
          <c:dPt>
            <c:idx val="1003"/>
            <c:spPr>
              <a:solidFill>
                <a:srgbClr val="AEABAB"/>
              </a:solidFill>
            </c:spPr>
          </c:dPt>
          <c:dPt>
            <c:idx val="1004"/>
            <c:spPr>
              <a:solidFill>
                <a:srgbClr val="AEABAB"/>
              </a:solidFill>
            </c:spPr>
          </c:dPt>
          <c:dPt>
            <c:idx val="1005"/>
            <c:spPr>
              <a:solidFill>
                <a:srgbClr val="AEABAB"/>
              </a:solidFill>
            </c:spPr>
          </c:dPt>
          <c:dPt>
            <c:idx val="1006"/>
            <c:spPr>
              <a:solidFill>
                <a:srgbClr val="AEABAB"/>
              </a:solidFill>
            </c:spPr>
          </c:dPt>
          <c:dPt>
            <c:idx val="1007"/>
            <c:spPr>
              <a:solidFill>
                <a:srgbClr val="AEABAB"/>
              </a:solidFill>
            </c:spPr>
          </c:dPt>
          <c:dPt>
            <c:idx val="1008"/>
            <c:spPr>
              <a:solidFill>
                <a:srgbClr val="AEABAB"/>
              </a:solidFill>
            </c:spPr>
          </c:dPt>
          <c:dPt>
            <c:idx val="1009"/>
            <c:spPr>
              <a:solidFill>
                <a:srgbClr val="AEABAB"/>
              </a:solidFill>
            </c:spPr>
          </c:dPt>
          <c:dPt>
            <c:idx val="1010"/>
            <c:spPr>
              <a:solidFill>
                <a:srgbClr val="AEABAB"/>
              </a:solidFill>
            </c:spPr>
          </c:dPt>
          <c:dPt>
            <c:idx val="1011"/>
            <c:spPr>
              <a:solidFill>
                <a:srgbClr val="AEABAB"/>
              </a:solidFill>
            </c:spPr>
          </c:dPt>
          <c:dPt>
            <c:idx val="1012"/>
            <c:spPr>
              <a:solidFill>
                <a:srgbClr val="AEABAB"/>
              </a:solidFill>
            </c:spPr>
          </c:dPt>
          <c:dPt>
            <c:idx val="1013"/>
            <c:spPr>
              <a:solidFill>
                <a:srgbClr val="AEABAB"/>
              </a:solidFill>
            </c:spPr>
          </c:dPt>
          <c:dPt>
            <c:idx val="1014"/>
            <c:spPr>
              <a:solidFill>
                <a:srgbClr val="AEABAB"/>
              </a:solidFill>
            </c:spPr>
          </c:dPt>
          <c:dPt>
            <c:idx val="1015"/>
            <c:spPr>
              <a:solidFill>
                <a:srgbClr val="AEABAB"/>
              </a:solidFill>
            </c:spPr>
          </c:dPt>
          <c:dPt>
            <c:idx val="1016"/>
            <c:spPr>
              <a:solidFill>
                <a:srgbClr val="AEABAB"/>
              </a:solidFill>
            </c:spPr>
          </c:dPt>
          <c:dPt>
            <c:idx val="1017"/>
            <c:spPr>
              <a:solidFill>
                <a:srgbClr val="AEABAB"/>
              </a:solidFill>
            </c:spPr>
          </c:dPt>
          <c:dPt>
            <c:idx val="1018"/>
            <c:spPr>
              <a:solidFill>
                <a:srgbClr val="AEABAB"/>
              </a:solidFill>
            </c:spPr>
          </c:dPt>
          <c:dPt>
            <c:idx val="1019"/>
            <c:spPr>
              <a:solidFill>
                <a:srgbClr val="AEABAB"/>
              </a:solidFill>
            </c:spPr>
          </c:dPt>
          <c:dPt>
            <c:idx val="1020"/>
            <c:spPr>
              <a:solidFill>
                <a:srgbClr val="AEABAB"/>
              </a:solidFill>
            </c:spPr>
          </c:dPt>
          <c:dPt>
            <c:idx val="1021"/>
            <c:spPr>
              <a:solidFill>
                <a:srgbClr val="AEABAB"/>
              </a:solidFill>
            </c:spPr>
          </c:dPt>
          <c:dPt>
            <c:idx val="1022"/>
            <c:spPr>
              <a:solidFill>
                <a:srgbClr val="AEABAB"/>
              </a:solidFill>
            </c:spPr>
          </c:dPt>
          <c:dPt>
            <c:idx val="1023"/>
            <c:spPr>
              <a:solidFill>
                <a:srgbClr val="AEABAB"/>
              </a:solidFill>
            </c:spPr>
          </c:dPt>
          <c:dPt>
            <c:idx val="1024"/>
            <c:spPr>
              <a:solidFill>
                <a:srgbClr val="AEABAB"/>
              </a:solidFill>
            </c:spPr>
          </c:dPt>
          <c:dPt>
            <c:idx val="1025"/>
            <c:spPr>
              <a:solidFill>
                <a:srgbClr val="AEABAB"/>
              </a:solidFill>
            </c:spPr>
          </c:dPt>
          <c:dPt>
            <c:idx val="1026"/>
            <c:spPr>
              <a:solidFill>
                <a:srgbClr val="AEABAB"/>
              </a:solidFill>
            </c:spPr>
          </c:dPt>
          <c:dPt>
            <c:idx val="1027"/>
            <c:spPr>
              <a:solidFill>
                <a:srgbClr val="AEABAB"/>
              </a:solidFill>
            </c:spPr>
          </c:dPt>
          <c:dPt>
            <c:idx val="1028"/>
            <c:spPr>
              <a:solidFill>
                <a:srgbClr val="AEABAB"/>
              </a:solidFill>
            </c:spPr>
          </c:dPt>
          <c:dPt>
            <c:idx val="1029"/>
            <c:spPr>
              <a:solidFill>
                <a:srgbClr val="AEABAB"/>
              </a:solidFill>
            </c:spPr>
          </c:dPt>
          <c:dPt>
            <c:idx val="1030"/>
            <c:spPr>
              <a:solidFill>
                <a:srgbClr val="AEABAB"/>
              </a:solidFill>
            </c:spPr>
          </c:dPt>
          <c:dPt>
            <c:idx val="1031"/>
            <c:spPr>
              <a:solidFill>
                <a:srgbClr val="AEABAB"/>
              </a:solidFill>
            </c:spPr>
          </c:dPt>
          <c:dPt>
            <c:idx val="1032"/>
            <c:spPr>
              <a:solidFill>
                <a:srgbClr val="AEABAB"/>
              </a:solidFill>
            </c:spPr>
          </c:dPt>
          <c:dPt>
            <c:idx val="1033"/>
            <c:spPr>
              <a:solidFill>
                <a:srgbClr val="AEABAB"/>
              </a:solidFill>
            </c:spPr>
          </c:dPt>
          <c:dPt>
            <c:idx val="1034"/>
            <c:spPr>
              <a:solidFill>
                <a:srgbClr val="AEABAB"/>
              </a:solidFill>
            </c:spPr>
          </c:dPt>
          <c:dPt>
            <c:idx val="1035"/>
            <c:spPr>
              <a:solidFill>
                <a:srgbClr val="AEABAB"/>
              </a:solidFill>
            </c:spPr>
          </c:dPt>
          <c:dPt>
            <c:idx val="1036"/>
            <c:spPr>
              <a:solidFill>
                <a:srgbClr val="AEABAB"/>
              </a:solidFill>
            </c:spPr>
          </c:dPt>
          <c:dPt>
            <c:idx val="1037"/>
            <c:spPr>
              <a:solidFill>
                <a:srgbClr val="AEABAB"/>
              </a:solidFill>
            </c:spPr>
          </c:dPt>
          <c:dPt>
            <c:idx val="1038"/>
            <c:spPr>
              <a:solidFill>
                <a:srgbClr val="AEABAB"/>
              </a:solidFill>
            </c:spPr>
          </c:dPt>
          <c:dPt>
            <c:idx val="1039"/>
            <c:spPr>
              <a:solidFill>
                <a:srgbClr val="AEABAB"/>
              </a:solidFill>
            </c:spPr>
          </c:dPt>
          <c:dPt>
            <c:idx val="1040"/>
            <c:spPr>
              <a:solidFill>
                <a:srgbClr val="AEABAB"/>
              </a:solidFill>
            </c:spPr>
          </c:dPt>
          <c:dPt>
            <c:idx val="1041"/>
            <c:spPr>
              <a:solidFill>
                <a:srgbClr val="AEABAB"/>
              </a:solidFill>
            </c:spPr>
          </c:dPt>
          <c:dPt>
            <c:idx val="1042"/>
            <c:spPr>
              <a:solidFill>
                <a:srgbClr val="AEABAB"/>
              </a:solidFill>
            </c:spPr>
          </c:dPt>
          <c:dPt>
            <c:idx val="1043"/>
            <c:spPr>
              <a:solidFill>
                <a:srgbClr val="AEABAB"/>
              </a:solidFill>
            </c:spPr>
          </c:dPt>
          <c:dPt>
            <c:idx val="1044"/>
            <c:spPr>
              <a:solidFill>
                <a:srgbClr val="AEABAB"/>
              </a:solidFill>
            </c:spPr>
          </c:dPt>
          <c:dPt>
            <c:idx val="1045"/>
            <c:spPr>
              <a:solidFill>
                <a:srgbClr val="AEABAB"/>
              </a:solidFill>
            </c:spPr>
          </c:dPt>
          <c:dPt>
            <c:idx val="1046"/>
            <c:spPr>
              <a:solidFill>
                <a:srgbClr val="AEABAB"/>
              </a:solidFill>
            </c:spPr>
          </c:dPt>
          <c:dPt>
            <c:idx val="1047"/>
            <c:spPr>
              <a:solidFill>
                <a:srgbClr val="AEABAB"/>
              </a:solidFill>
            </c:spPr>
          </c:dPt>
          <c:dPt>
            <c:idx val="1048"/>
            <c:spPr>
              <a:solidFill>
                <a:srgbClr val="AEABAB"/>
              </a:solidFill>
            </c:spPr>
          </c:dPt>
          <c:dPt>
            <c:idx val="1049"/>
            <c:spPr>
              <a:solidFill>
                <a:srgbClr val="AEABAB"/>
              </a:solidFill>
            </c:spPr>
          </c:dPt>
          <c:dPt>
            <c:idx val="1050"/>
            <c:spPr>
              <a:solidFill>
                <a:srgbClr val="AEABAB"/>
              </a:solidFill>
            </c:spPr>
          </c:dPt>
          <c:dPt>
            <c:idx val="1051"/>
            <c:spPr>
              <a:solidFill>
                <a:srgbClr val="AEABAB"/>
              </a:solidFill>
            </c:spPr>
          </c:dPt>
          <c:dPt>
            <c:idx val="1052"/>
            <c:spPr>
              <a:solidFill>
                <a:srgbClr val="AEABAB"/>
              </a:solidFill>
            </c:spPr>
          </c:dPt>
          <c:dPt>
            <c:idx val="1053"/>
            <c:spPr>
              <a:solidFill>
                <a:srgbClr val="AEABAB"/>
              </a:solidFill>
            </c:spPr>
          </c:dPt>
          <c:dPt>
            <c:idx val="1054"/>
            <c:spPr>
              <a:solidFill>
                <a:srgbClr val="AEABAB"/>
              </a:solidFill>
            </c:spPr>
          </c:dPt>
          <c:dPt>
            <c:idx val="1055"/>
            <c:spPr>
              <a:solidFill>
                <a:srgbClr val="AEABAB"/>
              </a:solidFill>
            </c:spPr>
          </c:dPt>
          <c:dPt>
            <c:idx val="1056"/>
            <c:spPr>
              <a:solidFill>
                <a:srgbClr val="AEABAB"/>
              </a:solidFill>
            </c:spPr>
          </c:dPt>
          <c:dPt>
            <c:idx val="1057"/>
            <c:spPr>
              <a:solidFill>
                <a:srgbClr val="AEABAB"/>
              </a:solidFill>
            </c:spPr>
          </c:dPt>
          <c:dPt>
            <c:idx val="1058"/>
            <c:spPr>
              <a:solidFill>
                <a:srgbClr val="AEABAB"/>
              </a:solidFill>
            </c:spPr>
          </c:dPt>
          <c:dPt>
            <c:idx val="1059"/>
            <c:spPr>
              <a:solidFill>
                <a:srgbClr val="AEABAB"/>
              </a:solidFill>
            </c:spPr>
          </c:dPt>
          <c:dPt>
            <c:idx val="1060"/>
            <c:spPr>
              <a:solidFill>
                <a:srgbClr val="AEABAB"/>
              </a:solidFill>
            </c:spPr>
          </c:dPt>
          <c:dPt>
            <c:idx val="1061"/>
            <c:spPr>
              <a:solidFill>
                <a:srgbClr val="AEABAB"/>
              </a:solidFill>
            </c:spPr>
          </c:dPt>
          <c:dPt>
            <c:idx val="1062"/>
            <c:spPr>
              <a:solidFill>
                <a:srgbClr val="AEABAB"/>
              </a:solidFill>
            </c:spPr>
          </c:dPt>
          <c:dPt>
            <c:idx val="1063"/>
            <c:spPr>
              <a:solidFill>
                <a:srgbClr val="AEABAB"/>
              </a:solidFill>
            </c:spPr>
          </c:dPt>
          <c:dPt>
            <c:idx val="1064"/>
            <c:spPr>
              <a:solidFill>
                <a:srgbClr val="AEABAB"/>
              </a:solidFill>
            </c:spPr>
          </c:dPt>
          <c:dPt>
            <c:idx val="1065"/>
            <c:spPr>
              <a:solidFill>
                <a:srgbClr val="AEABAB"/>
              </a:solidFill>
            </c:spPr>
          </c:dPt>
          <c:dPt>
            <c:idx val="1066"/>
            <c:spPr>
              <a:solidFill>
                <a:srgbClr val="AEABAB"/>
              </a:solidFill>
            </c:spPr>
          </c:dPt>
          <c:dPt>
            <c:idx val="1067"/>
            <c:spPr>
              <a:solidFill>
                <a:srgbClr val="AEABAB"/>
              </a:solidFill>
            </c:spPr>
          </c:dPt>
          <c:dPt>
            <c:idx val="1068"/>
            <c:spPr>
              <a:solidFill>
                <a:srgbClr val="AEABAB"/>
              </a:solidFill>
            </c:spPr>
          </c:dPt>
          <c:dPt>
            <c:idx val="1069"/>
            <c:spPr>
              <a:solidFill>
                <a:srgbClr val="AEABAB"/>
              </a:solidFill>
            </c:spPr>
          </c:dPt>
          <c:dPt>
            <c:idx val="1070"/>
            <c:spPr>
              <a:solidFill>
                <a:srgbClr val="AEABAB"/>
              </a:solidFill>
            </c:spPr>
          </c:dPt>
          <c:dPt>
            <c:idx val="1071"/>
            <c:spPr>
              <a:solidFill>
                <a:srgbClr val="AEABAB"/>
              </a:solidFill>
            </c:spPr>
          </c:dPt>
          <c:dPt>
            <c:idx val="1072"/>
            <c:spPr>
              <a:solidFill>
                <a:srgbClr val="AEABAB"/>
              </a:solidFill>
            </c:spPr>
          </c:dPt>
          <c:dPt>
            <c:idx val="1073"/>
            <c:spPr>
              <a:solidFill>
                <a:srgbClr val="AEABAB"/>
              </a:solidFill>
            </c:spPr>
          </c:dPt>
          <c:dPt>
            <c:idx val="1074"/>
            <c:spPr>
              <a:solidFill>
                <a:srgbClr val="AEABAB"/>
              </a:solidFill>
            </c:spPr>
          </c:dPt>
          <c:dPt>
            <c:idx val="1075"/>
            <c:spPr>
              <a:solidFill>
                <a:srgbClr val="AEABAB"/>
              </a:solidFill>
            </c:spPr>
          </c:dPt>
          <c:dPt>
            <c:idx val="1076"/>
            <c:spPr>
              <a:solidFill>
                <a:srgbClr val="AEABAB"/>
              </a:solidFill>
            </c:spPr>
          </c:dPt>
          <c:dPt>
            <c:idx val="1077"/>
            <c:spPr>
              <a:solidFill>
                <a:srgbClr val="AEABAB"/>
              </a:solidFill>
            </c:spPr>
          </c:dPt>
          <c:dPt>
            <c:idx val="1078"/>
            <c:spPr>
              <a:solidFill>
                <a:srgbClr val="AEABAB"/>
              </a:solidFill>
            </c:spPr>
          </c:dPt>
          <c:dPt>
            <c:idx val="1079"/>
            <c:spPr>
              <a:solidFill>
                <a:srgbClr val="AEABAB"/>
              </a:solidFill>
            </c:spPr>
          </c:dPt>
          <c:dPt>
            <c:idx val="1080"/>
            <c:spPr>
              <a:solidFill>
                <a:srgbClr val="AEABAB"/>
              </a:solidFill>
            </c:spPr>
          </c:dPt>
          <c:dPt>
            <c:idx val="1081"/>
            <c:spPr>
              <a:solidFill>
                <a:srgbClr val="AEABAB"/>
              </a:solidFill>
            </c:spPr>
          </c:dPt>
          <c:dPt>
            <c:idx val="1082"/>
            <c:spPr>
              <a:solidFill>
                <a:srgbClr val="AEABAB"/>
              </a:solidFill>
            </c:spPr>
          </c:dPt>
          <c:dPt>
            <c:idx val="1083"/>
            <c:spPr>
              <a:solidFill>
                <a:srgbClr val="AEABAB"/>
              </a:solidFill>
            </c:spPr>
          </c:dPt>
          <c:dPt>
            <c:idx val="1084"/>
            <c:spPr>
              <a:solidFill>
                <a:srgbClr val="AEABAB"/>
              </a:solidFill>
            </c:spPr>
          </c:dPt>
          <c:dPt>
            <c:idx val="1085"/>
            <c:spPr>
              <a:solidFill>
                <a:srgbClr val="AEABAB"/>
              </a:solidFill>
            </c:spPr>
          </c:dPt>
          <c:dPt>
            <c:idx val="1086"/>
            <c:spPr>
              <a:solidFill>
                <a:srgbClr val="AEABAB"/>
              </a:solidFill>
            </c:spPr>
          </c:dPt>
          <c:dPt>
            <c:idx val="1087"/>
            <c:spPr>
              <a:solidFill>
                <a:srgbClr val="AEABAB"/>
              </a:solidFill>
            </c:spPr>
          </c:dPt>
          <c:dPt>
            <c:idx val="1088"/>
            <c:spPr>
              <a:solidFill>
                <a:srgbClr val="AEABAB"/>
              </a:solidFill>
            </c:spPr>
          </c:dPt>
          <c:dPt>
            <c:idx val="1089"/>
            <c:spPr>
              <a:solidFill>
                <a:srgbClr val="AEABAB"/>
              </a:solidFill>
            </c:spPr>
          </c:dPt>
          <c:dPt>
            <c:idx val="1090"/>
            <c:spPr>
              <a:solidFill>
                <a:srgbClr val="AEABAB"/>
              </a:solidFill>
            </c:spPr>
          </c:dPt>
          <c:dPt>
            <c:idx val="1091"/>
            <c:spPr>
              <a:solidFill>
                <a:srgbClr val="AEABAB"/>
              </a:solidFill>
            </c:spPr>
          </c:dPt>
          <c:dPt>
            <c:idx val="1092"/>
            <c:spPr>
              <a:solidFill>
                <a:srgbClr val="AEABAB"/>
              </a:solidFill>
            </c:spPr>
          </c:dPt>
          <c:dPt>
            <c:idx val="1093"/>
            <c:spPr>
              <a:solidFill>
                <a:srgbClr val="AEABAB"/>
              </a:solidFill>
            </c:spPr>
          </c:dPt>
          <c:dPt>
            <c:idx val="1094"/>
            <c:spPr>
              <a:solidFill>
                <a:srgbClr val="AEABAB"/>
              </a:solidFill>
            </c:spPr>
          </c:dPt>
          <c:dPt>
            <c:idx val="1095"/>
            <c:spPr>
              <a:solidFill>
                <a:srgbClr val="AEABAB"/>
              </a:solidFill>
            </c:spPr>
          </c:dPt>
          <c:dPt>
            <c:idx val="1096"/>
            <c:spPr>
              <a:solidFill>
                <a:srgbClr val="AEABAB"/>
              </a:solidFill>
            </c:spPr>
          </c:dPt>
          <c:dPt>
            <c:idx val="1097"/>
            <c:spPr>
              <a:solidFill>
                <a:srgbClr val="AEABAB"/>
              </a:solidFill>
            </c:spPr>
          </c:dPt>
          <c:dPt>
            <c:idx val="1098"/>
            <c:spPr>
              <a:solidFill>
                <a:srgbClr val="AEABAB"/>
              </a:solidFill>
            </c:spPr>
          </c:dPt>
          <c:dPt>
            <c:idx val="1099"/>
            <c:spPr>
              <a:solidFill>
                <a:srgbClr val="AEABAB"/>
              </a:solidFill>
            </c:spPr>
          </c:dPt>
          <c:dPt>
            <c:idx val="1100"/>
            <c:spPr>
              <a:solidFill>
                <a:srgbClr val="AEABAB"/>
              </a:solidFill>
            </c:spPr>
          </c:dPt>
          <c:dPt>
            <c:idx val="1101"/>
            <c:spPr>
              <a:solidFill>
                <a:srgbClr val="AEABAB"/>
              </a:solidFill>
            </c:spPr>
          </c:dPt>
          <c:dPt>
            <c:idx val="1102"/>
            <c:spPr>
              <a:solidFill>
                <a:srgbClr val="AEABAB"/>
              </a:solidFill>
            </c:spPr>
          </c:dPt>
          <c:dPt>
            <c:idx val="1103"/>
            <c:spPr>
              <a:solidFill>
                <a:srgbClr val="AEABAB"/>
              </a:solidFill>
            </c:spPr>
          </c:dPt>
          <c:dPt>
            <c:idx val="1104"/>
            <c:spPr>
              <a:solidFill>
                <a:srgbClr val="AEABAB"/>
              </a:solidFill>
            </c:spPr>
          </c:dPt>
          <c:dPt>
            <c:idx val="1105"/>
            <c:spPr>
              <a:solidFill>
                <a:srgbClr val="AEABAB"/>
              </a:solidFill>
            </c:spPr>
          </c:dPt>
          <c:dPt>
            <c:idx val="1106"/>
            <c:spPr>
              <a:solidFill>
                <a:srgbClr val="AEABAB"/>
              </a:solidFill>
            </c:spPr>
          </c:dPt>
          <c:dPt>
            <c:idx val="1107"/>
            <c:spPr>
              <a:solidFill>
                <a:srgbClr val="AEABAB"/>
              </a:solidFill>
            </c:spPr>
          </c:dPt>
          <c:dPt>
            <c:idx val="1108"/>
            <c:spPr>
              <a:solidFill>
                <a:srgbClr val="AEABAB"/>
              </a:solidFill>
            </c:spPr>
          </c:dPt>
          <c:dPt>
            <c:idx val="1109"/>
            <c:spPr>
              <a:solidFill>
                <a:srgbClr val="AEABAB"/>
              </a:solidFill>
            </c:spPr>
          </c:dPt>
          <c:dPt>
            <c:idx val="1110"/>
            <c:spPr>
              <a:solidFill>
                <a:srgbClr val="AEABAB"/>
              </a:solidFill>
            </c:spPr>
          </c:dPt>
          <c:dPt>
            <c:idx val="1111"/>
            <c:spPr>
              <a:solidFill>
                <a:srgbClr val="AEABAB"/>
              </a:solidFill>
            </c:spPr>
          </c:dPt>
          <c:dPt>
            <c:idx val="1112"/>
            <c:spPr>
              <a:solidFill>
                <a:srgbClr val="AEABAB"/>
              </a:solidFill>
            </c:spPr>
          </c:dPt>
          <c:dPt>
            <c:idx val="1113"/>
            <c:spPr>
              <a:solidFill>
                <a:srgbClr val="AEABAB"/>
              </a:solidFill>
            </c:spPr>
          </c:dPt>
          <c:dPt>
            <c:idx val="1114"/>
            <c:spPr>
              <a:solidFill>
                <a:srgbClr val="AEABAB"/>
              </a:solidFill>
            </c:spPr>
          </c:dPt>
          <c:dPt>
            <c:idx val="1115"/>
            <c:spPr>
              <a:solidFill>
                <a:srgbClr val="AEABAB"/>
              </a:solidFill>
            </c:spPr>
          </c:dPt>
          <c:dPt>
            <c:idx val="1116"/>
            <c:spPr>
              <a:solidFill>
                <a:srgbClr val="AEABAB"/>
              </a:solidFill>
            </c:spPr>
          </c:dPt>
          <c:dPt>
            <c:idx val="1117"/>
            <c:spPr>
              <a:solidFill>
                <a:srgbClr val="AEABAB"/>
              </a:solidFill>
            </c:spPr>
          </c:dPt>
          <c:dPt>
            <c:idx val="1118"/>
            <c:spPr>
              <a:solidFill>
                <a:srgbClr val="AEABAB"/>
              </a:solidFill>
            </c:spPr>
          </c:dPt>
          <c:dPt>
            <c:idx val="1119"/>
            <c:spPr>
              <a:solidFill>
                <a:srgbClr val="AEABAB"/>
              </a:solidFill>
            </c:spPr>
          </c:dPt>
          <c:dPt>
            <c:idx val="1120"/>
            <c:spPr>
              <a:solidFill>
                <a:srgbClr val="AEABAB"/>
              </a:solidFill>
            </c:spPr>
          </c:dPt>
          <c:dPt>
            <c:idx val="1121"/>
            <c:spPr>
              <a:solidFill>
                <a:srgbClr val="AEABAB"/>
              </a:solidFill>
            </c:spPr>
          </c:dPt>
          <c:dPt>
            <c:idx val="1122"/>
            <c:spPr>
              <a:solidFill>
                <a:srgbClr val="AEABAB"/>
              </a:solidFill>
            </c:spPr>
          </c:dPt>
          <c:dPt>
            <c:idx val="1123"/>
            <c:spPr>
              <a:solidFill>
                <a:srgbClr val="AEABAB"/>
              </a:solidFill>
            </c:spPr>
          </c:dPt>
          <c:dPt>
            <c:idx val="1124"/>
            <c:spPr>
              <a:solidFill>
                <a:srgbClr val="AEABAB"/>
              </a:solidFill>
            </c:spPr>
          </c:dPt>
          <c:dPt>
            <c:idx val="1125"/>
            <c:spPr>
              <a:solidFill>
                <a:srgbClr val="AEABAB"/>
              </a:solidFill>
            </c:spPr>
          </c:dPt>
          <c:dPt>
            <c:idx val="1126"/>
            <c:spPr>
              <a:solidFill>
                <a:srgbClr val="AEABAB"/>
              </a:solidFill>
            </c:spPr>
          </c:dPt>
          <c:dPt>
            <c:idx val="1127"/>
            <c:spPr>
              <a:solidFill>
                <a:srgbClr val="AEABAB"/>
              </a:solidFill>
            </c:spPr>
          </c:dPt>
          <c:dPt>
            <c:idx val="1128"/>
            <c:spPr>
              <a:solidFill>
                <a:srgbClr val="AEABAB"/>
              </a:solidFill>
            </c:spPr>
          </c:dPt>
          <c:dPt>
            <c:idx val="1129"/>
            <c:spPr>
              <a:solidFill>
                <a:srgbClr val="AEABAB"/>
              </a:solidFill>
            </c:spPr>
          </c:dPt>
          <c:dPt>
            <c:idx val="1130"/>
            <c:spPr>
              <a:solidFill>
                <a:srgbClr val="AEABAB"/>
              </a:solidFill>
            </c:spPr>
          </c:dPt>
          <c:dPt>
            <c:idx val="1131"/>
            <c:spPr>
              <a:solidFill>
                <a:srgbClr val="AEABAB"/>
              </a:solidFill>
            </c:spPr>
          </c:dPt>
          <c:dPt>
            <c:idx val="1132"/>
            <c:spPr>
              <a:solidFill>
                <a:srgbClr val="AEABAB"/>
              </a:solidFill>
            </c:spPr>
          </c:dPt>
          <c:dPt>
            <c:idx val="1133"/>
            <c:spPr>
              <a:solidFill>
                <a:srgbClr val="AEABAB"/>
              </a:solidFill>
            </c:spPr>
          </c:dPt>
          <c:dPt>
            <c:idx val="1134"/>
            <c:spPr>
              <a:solidFill>
                <a:srgbClr val="AEABAB"/>
              </a:solidFill>
            </c:spPr>
          </c:dPt>
          <c:dPt>
            <c:idx val="1135"/>
            <c:spPr>
              <a:solidFill>
                <a:srgbClr val="AEABAB"/>
              </a:solidFill>
            </c:spPr>
          </c:dPt>
          <c:dPt>
            <c:idx val="1136"/>
            <c:spPr>
              <a:solidFill>
                <a:srgbClr val="AEABAB"/>
              </a:solidFill>
            </c:spPr>
          </c:dPt>
          <c:dPt>
            <c:idx val="1137"/>
            <c:spPr>
              <a:solidFill>
                <a:srgbClr val="AEABAB"/>
              </a:solidFill>
            </c:spPr>
          </c:dPt>
          <c:dPt>
            <c:idx val="1138"/>
            <c:spPr>
              <a:solidFill>
                <a:srgbClr val="AEABAB"/>
              </a:solidFill>
            </c:spPr>
          </c:dPt>
          <c:dPt>
            <c:idx val="1139"/>
            <c:spPr>
              <a:solidFill>
                <a:srgbClr val="AEABAB"/>
              </a:solidFill>
            </c:spPr>
          </c:dPt>
          <c:dPt>
            <c:idx val="1140"/>
            <c:spPr>
              <a:solidFill>
                <a:srgbClr val="AEABAB"/>
              </a:solidFill>
            </c:spPr>
          </c:dPt>
          <c:dPt>
            <c:idx val="1141"/>
            <c:spPr>
              <a:solidFill>
                <a:srgbClr val="AEABAB"/>
              </a:solidFill>
            </c:spPr>
          </c:dPt>
          <c:dPt>
            <c:idx val="1142"/>
            <c:spPr>
              <a:solidFill>
                <a:srgbClr val="AEABAB"/>
              </a:solidFill>
            </c:spPr>
          </c:dPt>
          <c:dPt>
            <c:idx val="1143"/>
            <c:spPr>
              <a:solidFill>
                <a:srgbClr val="AEABAB"/>
              </a:solidFill>
            </c:spPr>
          </c:dPt>
          <c:dPt>
            <c:idx val="1144"/>
            <c:spPr>
              <a:solidFill>
                <a:srgbClr val="AEABAB"/>
              </a:solidFill>
            </c:spPr>
          </c:dPt>
          <c:dPt>
            <c:idx val="1145"/>
            <c:spPr>
              <a:solidFill>
                <a:srgbClr val="AEABAB"/>
              </a:solidFill>
            </c:spPr>
          </c:dPt>
          <c:dPt>
            <c:idx val="1146"/>
            <c:spPr>
              <a:solidFill>
                <a:srgbClr val="AEABAB"/>
              </a:solidFill>
            </c:spPr>
          </c:dPt>
          <c:dPt>
            <c:idx val="1147"/>
            <c:spPr>
              <a:solidFill>
                <a:srgbClr val="AEABAB"/>
              </a:solidFill>
            </c:spPr>
          </c:dPt>
          <c:dPt>
            <c:idx val="1148"/>
            <c:spPr>
              <a:solidFill>
                <a:srgbClr val="AEABAB"/>
              </a:solidFill>
            </c:spPr>
          </c:dPt>
          <c:dPt>
            <c:idx val="1149"/>
            <c:spPr>
              <a:solidFill>
                <a:srgbClr val="AEABAB"/>
              </a:solidFill>
            </c:spPr>
          </c:dPt>
          <c:dPt>
            <c:idx val="1150"/>
            <c:spPr>
              <a:solidFill>
                <a:srgbClr val="AEABAB"/>
              </a:solidFill>
            </c:spPr>
          </c:dPt>
          <c:dPt>
            <c:idx val="1151"/>
            <c:spPr>
              <a:solidFill>
                <a:srgbClr val="AEABAB"/>
              </a:solidFill>
            </c:spPr>
          </c:dPt>
          <c:dPt>
            <c:idx val="1152"/>
            <c:spPr>
              <a:solidFill>
                <a:srgbClr val="AEABAB"/>
              </a:solidFill>
            </c:spPr>
          </c:dPt>
          <c:dPt>
            <c:idx val="1153"/>
            <c:spPr>
              <a:solidFill>
                <a:srgbClr val="AEABAB"/>
              </a:solidFill>
            </c:spPr>
          </c:dPt>
          <c:dPt>
            <c:idx val="1154"/>
            <c:spPr>
              <a:solidFill>
                <a:srgbClr val="AEABAB"/>
              </a:solidFill>
            </c:spPr>
          </c:dPt>
          <c:dPt>
            <c:idx val="1155"/>
            <c:spPr>
              <a:solidFill>
                <a:srgbClr val="AEABAB"/>
              </a:solidFill>
            </c:spPr>
          </c:dPt>
          <c:dPt>
            <c:idx val="1156"/>
            <c:spPr>
              <a:solidFill>
                <a:srgbClr val="AEABAB"/>
              </a:solidFill>
            </c:spPr>
          </c:dPt>
          <c:dPt>
            <c:idx val="1157"/>
            <c:spPr>
              <a:solidFill>
                <a:srgbClr val="AEABAB"/>
              </a:solidFill>
            </c:spPr>
          </c:dPt>
          <c:dPt>
            <c:idx val="1158"/>
            <c:spPr>
              <a:solidFill>
                <a:srgbClr val="AEABAB"/>
              </a:solidFill>
            </c:spPr>
          </c:dPt>
          <c:dPt>
            <c:idx val="1159"/>
            <c:spPr>
              <a:solidFill>
                <a:srgbClr val="AEABAB"/>
              </a:solidFill>
            </c:spPr>
          </c:dPt>
          <c:dPt>
            <c:idx val="1160"/>
            <c:spPr>
              <a:solidFill>
                <a:srgbClr val="AEABAB"/>
              </a:solidFill>
            </c:spPr>
          </c:dPt>
          <c:dPt>
            <c:idx val="1161"/>
            <c:spPr>
              <a:solidFill>
                <a:srgbClr val="AEABAB"/>
              </a:solidFill>
            </c:spPr>
          </c:dPt>
          <c:dPt>
            <c:idx val="1162"/>
            <c:spPr>
              <a:solidFill>
                <a:srgbClr val="AEABAB"/>
              </a:solidFill>
            </c:spPr>
          </c:dPt>
          <c:dPt>
            <c:idx val="1163"/>
            <c:spPr>
              <a:solidFill>
                <a:srgbClr val="AEABAB"/>
              </a:solidFill>
            </c:spPr>
          </c:dPt>
          <c:dPt>
            <c:idx val="1164"/>
            <c:spPr>
              <a:solidFill>
                <a:srgbClr val="AEABAB"/>
              </a:solidFill>
            </c:spPr>
          </c:dPt>
          <c:dPt>
            <c:idx val="1165"/>
            <c:spPr>
              <a:solidFill>
                <a:srgbClr val="AEABAB"/>
              </a:solidFill>
            </c:spPr>
          </c:dPt>
          <c:dPt>
            <c:idx val="1166"/>
            <c:spPr>
              <a:solidFill>
                <a:srgbClr val="AEABAB"/>
              </a:solidFill>
            </c:spPr>
          </c:dPt>
          <c:dPt>
            <c:idx val="1167"/>
            <c:spPr>
              <a:solidFill>
                <a:srgbClr val="AEABAB"/>
              </a:solidFill>
            </c:spPr>
          </c:dPt>
          <c:dPt>
            <c:idx val="1168"/>
            <c:spPr>
              <a:solidFill>
                <a:srgbClr val="AEABAB"/>
              </a:solidFill>
            </c:spPr>
          </c:dPt>
          <c:dPt>
            <c:idx val="1169"/>
            <c:spPr>
              <a:solidFill>
                <a:srgbClr val="AEABAB"/>
              </a:solidFill>
            </c:spPr>
          </c:dPt>
          <c:dPt>
            <c:idx val="1170"/>
            <c:spPr>
              <a:solidFill>
                <a:srgbClr val="AEABAB"/>
              </a:solidFill>
            </c:spPr>
          </c:dPt>
          <c:dPt>
            <c:idx val="1171"/>
            <c:spPr>
              <a:solidFill>
                <a:srgbClr val="AEABAB"/>
              </a:solidFill>
            </c:spPr>
          </c:dPt>
          <c:dPt>
            <c:idx val="1172"/>
            <c:spPr>
              <a:solidFill>
                <a:srgbClr val="AEABAB"/>
              </a:solidFill>
            </c:spPr>
          </c:dPt>
          <c:dPt>
            <c:idx val="1173"/>
            <c:spPr>
              <a:solidFill>
                <a:srgbClr val="AEABAB"/>
              </a:solidFill>
            </c:spPr>
          </c:dPt>
          <c:dPt>
            <c:idx val="1174"/>
            <c:spPr>
              <a:solidFill>
                <a:srgbClr val="AEABAB"/>
              </a:solidFill>
            </c:spPr>
          </c:dPt>
          <c:dPt>
            <c:idx val="1175"/>
            <c:spPr>
              <a:solidFill>
                <a:srgbClr val="AEABAB"/>
              </a:solidFill>
            </c:spPr>
          </c:dPt>
          <c:dPt>
            <c:idx val="1176"/>
            <c:spPr>
              <a:solidFill>
                <a:srgbClr val="AEABAB"/>
              </a:solidFill>
            </c:spPr>
          </c:dPt>
          <c:dPt>
            <c:idx val="1177"/>
            <c:spPr>
              <a:solidFill>
                <a:srgbClr val="AEABAB"/>
              </a:solidFill>
            </c:spPr>
          </c:dPt>
          <c:dPt>
            <c:idx val="1178"/>
            <c:spPr>
              <a:solidFill>
                <a:srgbClr val="AEABAB"/>
              </a:solidFill>
            </c:spPr>
          </c:dPt>
          <c:dPt>
            <c:idx val="1179"/>
            <c:spPr>
              <a:solidFill>
                <a:srgbClr val="AEABAB"/>
              </a:solidFill>
            </c:spPr>
          </c:dPt>
          <c:dPt>
            <c:idx val="1180"/>
            <c:spPr>
              <a:solidFill>
                <a:srgbClr val="AEABAB"/>
              </a:solidFill>
            </c:spPr>
          </c:dPt>
          <c:dPt>
            <c:idx val="1181"/>
            <c:spPr>
              <a:solidFill>
                <a:srgbClr val="AEABAB"/>
              </a:solidFill>
            </c:spPr>
          </c:dPt>
          <c:dPt>
            <c:idx val="1182"/>
            <c:spPr>
              <a:solidFill>
                <a:srgbClr val="AEABAB"/>
              </a:solidFill>
            </c:spPr>
          </c:dPt>
          <c:dPt>
            <c:idx val="1183"/>
            <c:spPr>
              <a:solidFill>
                <a:srgbClr val="AEABAB"/>
              </a:solidFill>
            </c:spPr>
          </c:dPt>
          <c:dPt>
            <c:idx val="1184"/>
            <c:spPr>
              <a:solidFill>
                <a:srgbClr val="AEABAB"/>
              </a:solidFill>
            </c:spPr>
          </c:dPt>
          <c:dPt>
            <c:idx val="1185"/>
            <c:spPr>
              <a:solidFill>
                <a:srgbClr val="AEABAB"/>
              </a:solidFill>
            </c:spPr>
          </c:dPt>
          <c:dPt>
            <c:idx val="1186"/>
            <c:spPr>
              <a:solidFill>
                <a:srgbClr val="AEABAB"/>
              </a:solidFill>
            </c:spPr>
          </c:dPt>
          <c:dPt>
            <c:idx val="1187"/>
            <c:spPr>
              <a:solidFill>
                <a:srgbClr val="AEABAB"/>
              </a:solidFill>
            </c:spPr>
          </c:dPt>
          <c:dPt>
            <c:idx val="1188"/>
            <c:spPr>
              <a:solidFill>
                <a:srgbClr val="AEABAB"/>
              </a:solidFill>
            </c:spPr>
          </c:dPt>
          <c:dPt>
            <c:idx val="1189"/>
            <c:spPr>
              <a:solidFill>
                <a:srgbClr val="AEABAB"/>
              </a:solidFill>
            </c:spPr>
          </c:dPt>
          <c:dPt>
            <c:idx val="1190"/>
            <c:spPr>
              <a:solidFill>
                <a:srgbClr val="AEABAB"/>
              </a:solidFill>
            </c:spPr>
          </c:dPt>
          <c:dPt>
            <c:idx val="1191"/>
            <c:spPr>
              <a:solidFill>
                <a:srgbClr val="AEABAB"/>
              </a:solidFill>
            </c:spPr>
          </c:dPt>
          <c:dPt>
            <c:idx val="1192"/>
            <c:spPr>
              <a:solidFill>
                <a:srgbClr val="AEABAB"/>
              </a:solidFill>
            </c:spPr>
          </c:dPt>
          <c:dPt>
            <c:idx val="1193"/>
            <c:spPr>
              <a:solidFill>
                <a:srgbClr val="AEABAB"/>
              </a:solidFill>
            </c:spPr>
          </c:dPt>
          <c:dPt>
            <c:idx val="1194"/>
            <c:spPr>
              <a:solidFill>
                <a:srgbClr val="AEABAB"/>
              </a:solidFill>
            </c:spPr>
          </c:dPt>
          <c:dPt>
            <c:idx val="1195"/>
            <c:spPr>
              <a:solidFill>
                <a:srgbClr val="AEABAB"/>
              </a:solidFill>
            </c:spPr>
          </c:dPt>
          <c:dPt>
            <c:idx val="1196"/>
            <c:spPr>
              <a:solidFill>
                <a:srgbClr val="AEABAB"/>
              </a:solidFill>
            </c:spPr>
          </c:dPt>
          <c:dPt>
            <c:idx val="1197"/>
            <c:spPr>
              <a:solidFill>
                <a:srgbClr val="AEABAB"/>
              </a:solidFill>
            </c:spPr>
          </c:dPt>
          <c:dPt>
            <c:idx val="1198"/>
            <c:spPr>
              <a:solidFill>
                <a:srgbClr val="AEABAB"/>
              </a:solidFill>
            </c:spPr>
          </c:dPt>
          <c:dPt>
            <c:idx val="1199"/>
            <c:spPr>
              <a:solidFill>
                <a:srgbClr val="AEABAB"/>
              </a:solidFill>
            </c:spPr>
          </c:dPt>
          <c:dPt>
            <c:idx val="1200"/>
            <c:spPr>
              <a:solidFill>
                <a:srgbClr val="AEABAB"/>
              </a:solidFill>
            </c:spPr>
          </c:dPt>
          <c:dPt>
            <c:idx val="1201"/>
            <c:spPr>
              <a:solidFill>
                <a:srgbClr val="AEABAB"/>
              </a:solidFill>
            </c:spPr>
          </c:dPt>
          <c:dPt>
            <c:idx val="1202"/>
            <c:spPr>
              <a:solidFill>
                <a:srgbClr val="AEABAB"/>
              </a:solidFill>
            </c:spPr>
          </c:dPt>
          <c:dPt>
            <c:idx val="1203"/>
            <c:spPr>
              <a:solidFill>
                <a:srgbClr val="AEABAB"/>
              </a:solidFill>
            </c:spPr>
          </c:dPt>
          <c:dPt>
            <c:idx val="1204"/>
            <c:spPr>
              <a:solidFill>
                <a:srgbClr val="AEABAB"/>
              </a:solidFill>
            </c:spPr>
          </c:dPt>
          <c:dPt>
            <c:idx val="1205"/>
            <c:spPr>
              <a:solidFill>
                <a:srgbClr val="AEABAB"/>
              </a:solidFill>
            </c:spPr>
          </c:dPt>
          <c:dPt>
            <c:idx val="1206"/>
            <c:spPr>
              <a:solidFill>
                <a:srgbClr val="AEABAB"/>
              </a:solidFill>
            </c:spPr>
          </c:dPt>
          <c:dPt>
            <c:idx val="1207"/>
            <c:spPr>
              <a:solidFill>
                <a:srgbClr val="AEABAB"/>
              </a:solidFill>
            </c:spPr>
          </c:dPt>
          <c:dPt>
            <c:idx val="1208"/>
            <c:spPr>
              <a:solidFill>
                <a:srgbClr val="AEABAB"/>
              </a:solidFill>
            </c:spPr>
          </c:dPt>
          <c:dPt>
            <c:idx val="1209"/>
            <c:spPr>
              <a:solidFill>
                <a:srgbClr val="AEABAB"/>
              </a:solidFill>
            </c:spPr>
          </c:dPt>
          <c:dPt>
            <c:idx val="1210"/>
            <c:spPr>
              <a:solidFill>
                <a:srgbClr val="AEABAB"/>
              </a:solidFill>
            </c:spPr>
          </c:dPt>
          <c:dPt>
            <c:idx val="1211"/>
            <c:spPr>
              <a:solidFill>
                <a:srgbClr val="AEABAB"/>
              </a:solidFill>
            </c:spPr>
          </c:dPt>
          <c:dPt>
            <c:idx val="1212"/>
            <c:spPr>
              <a:solidFill>
                <a:srgbClr val="AEABAB"/>
              </a:solidFill>
            </c:spPr>
          </c:dPt>
          <c:dPt>
            <c:idx val="1213"/>
            <c:spPr>
              <a:solidFill>
                <a:srgbClr val="AEABAB"/>
              </a:solidFill>
            </c:spPr>
          </c:dPt>
          <c:dPt>
            <c:idx val="1214"/>
            <c:spPr>
              <a:solidFill>
                <a:srgbClr val="AEABAB"/>
              </a:solidFill>
            </c:spPr>
          </c:dPt>
          <c:dPt>
            <c:idx val="1215"/>
            <c:spPr>
              <a:solidFill>
                <a:srgbClr val="AEABAB"/>
              </a:solidFill>
            </c:spPr>
          </c:dPt>
          <c:dPt>
            <c:idx val="1216"/>
            <c:spPr>
              <a:solidFill>
                <a:srgbClr val="AEABAB"/>
              </a:solidFill>
            </c:spPr>
          </c:dPt>
          <c:dPt>
            <c:idx val="1217"/>
            <c:spPr>
              <a:solidFill>
                <a:srgbClr val="AEABAB"/>
              </a:solidFill>
            </c:spPr>
          </c:dPt>
          <c:dPt>
            <c:idx val="1218"/>
            <c:spPr>
              <a:solidFill>
                <a:srgbClr val="AEABAB"/>
              </a:solidFill>
            </c:spPr>
          </c:dPt>
          <c:dPt>
            <c:idx val="1219"/>
            <c:spPr>
              <a:solidFill>
                <a:srgbClr val="AEABAB"/>
              </a:solidFill>
            </c:spPr>
          </c:dPt>
          <c:dPt>
            <c:idx val="1220"/>
            <c:spPr>
              <a:solidFill>
                <a:srgbClr val="AEABAB"/>
              </a:solidFill>
            </c:spPr>
          </c:dPt>
          <c:dPt>
            <c:idx val="1221"/>
            <c:spPr>
              <a:solidFill>
                <a:srgbClr val="AEABAB"/>
              </a:solidFill>
            </c:spPr>
          </c:dPt>
          <c:dPt>
            <c:idx val="1222"/>
            <c:spPr>
              <a:solidFill>
                <a:srgbClr val="AEABAB"/>
              </a:solidFill>
            </c:spPr>
          </c:dPt>
          <c:dPt>
            <c:idx val="1223"/>
            <c:spPr>
              <a:solidFill>
                <a:srgbClr val="AEABAB"/>
              </a:solidFill>
            </c:spPr>
          </c:dPt>
          <c:dPt>
            <c:idx val="1224"/>
            <c:spPr>
              <a:solidFill>
                <a:srgbClr val="AEABAB"/>
              </a:solidFill>
            </c:spPr>
          </c:dPt>
          <c:dPt>
            <c:idx val="1225"/>
            <c:spPr>
              <a:solidFill>
                <a:srgbClr val="AEABAB"/>
              </a:solidFill>
            </c:spPr>
          </c:dPt>
          <c:dPt>
            <c:idx val="1226"/>
            <c:spPr>
              <a:solidFill>
                <a:srgbClr val="AEABAB"/>
              </a:solidFill>
            </c:spPr>
          </c:dPt>
          <c:dPt>
            <c:idx val="1227"/>
            <c:spPr>
              <a:solidFill>
                <a:srgbClr val="AEABAB"/>
              </a:solidFill>
            </c:spPr>
          </c:dPt>
          <c:dPt>
            <c:idx val="1228"/>
            <c:spPr>
              <a:solidFill>
                <a:srgbClr val="AEABAB"/>
              </a:solidFill>
            </c:spPr>
          </c:dPt>
          <c:dPt>
            <c:idx val="1229"/>
            <c:spPr>
              <a:solidFill>
                <a:srgbClr val="AEABAB"/>
              </a:solidFill>
            </c:spPr>
          </c:dPt>
          <c:dPt>
            <c:idx val="1230"/>
            <c:spPr>
              <a:solidFill>
                <a:srgbClr val="AEABAB"/>
              </a:solidFill>
            </c:spPr>
          </c:dPt>
          <c:dPt>
            <c:idx val="1231"/>
            <c:spPr>
              <a:solidFill>
                <a:srgbClr val="AEABAB"/>
              </a:solidFill>
            </c:spPr>
          </c:dPt>
          <c:dPt>
            <c:idx val="1232"/>
            <c:spPr>
              <a:solidFill>
                <a:srgbClr val="AEABAB"/>
              </a:solidFill>
            </c:spPr>
          </c:dPt>
          <c:dPt>
            <c:idx val="1233"/>
            <c:spPr>
              <a:solidFill>
                <a:srgbClr val="AEABAB"/>
              </a:solidFill>
            </c:spPr>
          </c:dPt>
          <c:dPt>
            <c:idx val="1234"/>
            <c:spPr>
              <a:solidFill>
                <a:srgbClr val="AEABAB"/>
              </a:solidFill>
            </c:spPr>
          </c:dPt>
          <c:dPt>
            <c:idx val="1235"/>
            <c:spPr>
              <a:solidFill>
                <a:srgbClr val="AEABAB"/>
              </a:solidFill>
            </c:spPr>
          </c:dPt>
          <c:dPt>
            <c:idx val="1236"/>
            <c:spPr>
              <a:solidFill>
                <a:srgbClr val="AEABAB"/>
              </a:solidFill>
            </c:spPr>
          </c:dPt>
          <c:dPt>
            <c:idx val="1237"/>
            <c:spPr>
              <a:solidFill>
                <a:srgbClr val="AEABAB"/>
              </a:solidFill>
            </c:spPr>
          </c:dPt>
          <c:dPt>
            <c:idx val="1238"/>
            <c:spPr>
              <a:solidFill>
                <a:srgbClr val="AEABAB"/>
              </a:solidFill>
            </c:spPr>
          </c:dPt>
          <c:dPt>
            <c:idx val="1239"/>
            <c:spPr>
              <a:solidFill>
                <a:srgbClr val="AEABAB"/>
              </a:solidFill>
            </c:spPr>
          </c:dPt>
          <c:dPt>
            <c:idx val="1240"/>
            <c:spPr>
              <a:solidFill>
                <a:srgbClr val="AEABAB"/>
              </a:solidFill>
            </c:spPr>
          </c:dPt>
          <c:dPt>
            <c:idx val="1241"/>
            <c:spPr>
              <a:solidFill>
                <a:srgbClr val="AEABAB"/>
              </a:solidFill>
            </c:spPr>
          </c:dPt>
          <c:dPt>
            <c:idx val="1242"/>
            <c:spPr>
              <a:solidFill>
                <a:srgbClr val="AEABAB"/>
              </a:solidFill>
            </c:spPr>
          </c:dPt>
          <c:dPt>
            <c:idx val="1243"/>
            <c:spPr>
              <a:solidFill>
                <a:srgbClr val="AEABAB"/>
              </a:solidFill>
            </c:spPr>
          </c:dPt>
          <c:dPt>
            <c:idx val="1244"/>
            <c:spPr>
              <a:solidFill>
                <a:srgbClr val="AEABAB"/>
              </a:solidFill>
            </c:spPr>
          </c:dPt>
          <c:dPt>
            <c:idx val="1245"/>
            <c:spPr>
              <a:solidFill>
                <a:srgbClr val="AEABAB"/>
              </a:solidFill>
            </c:spPr>
          </c:dPt>
          <c:dPt>
            <c:idx val="1246"/>
            <c:spPr>
              <a:solidFill>
                <a:srgbClr val="AEABAB"/>
              </a:solidFill>
            </c:spPr>
          </c:dPt>
          <c:dPt>
            <c:idx val="1247"/>
            <c:spPr>
              <a:solidFill>
                <a:srgbClr val="AEABAB"/>
              </a:solidFill>
            </c:spPr>
          </c:dPt>
          <c:dPt>
            <c:idx val="1248"/>
            <c:spPr>
              <a:solidFill>
                <a:srgbClr val="AEABAB"/>
              </a:solidFill>
            </c:spPr>
          </c:dPt>
          <c:dPt>
            <c:idx val="1249"/>
            <c:spPr>
              <a:solidFill>
                <a:srgbClr val="AEABAB"/>
              </a:solidFill>
            </c:spPr>
          </c:dPt>
          <c:dPt>
            <c:idx val="1250"/>
            <c:spPr>
              <a:solidFill>
                <a:srgbClr val="AEABAB"/>
              </a:solidFill>
            </c:spPr>
          </c:dPt>
          <c:dPt>
            <c:idx val="1251"/>
            <c:spPr>
              <a:solidFill>
                <a:srgbClr val="AEABAB"/>
              </a:solidFill>
            </c:spPr>
          </c:dPt>
          <c:dPt>
            <c:idx val="1252"/>
            <c:spPr>
              <a:solidFill>
                <a:srgbClr val="AEABAB"/>
              </a:solidFill>
            </c:spPr>
          </c:dPt>
          <c:dPt>
            <c:idx val="1253"/>
            <c:spPr>
              <a:solidFill>
                <a:srgbClr val="AEABAB"/>
              </a:solidFill>
            </c:spPr>
          </c:dPt>
          <c:dPt>
            <c:idx val="1254"/>
            <c:spPr>
              <a:solidFill>
                <a:srgbClr val="AEABAB"/>
              </a:solidFill>
            </c:spPr>
          </c:dPt>
          <c:dPt>
            <c:idx val="1255"/>
            <c:spPr>
              <a:solidFill>
                <a:srgbClr val="AEABAB"/>
              </a:solidFill>
            </c:spPr>
          </c:dPt>
          <c:dPt>
            <c:idx val="1256"/>
            <c:spPr>
              <a:solidFill>
                <a:srgbClr val="AEABAB"/>
              </a:solidFill>
            </c:spPr>
          </c:dPt>
          <c:dPt>
            <c:idx val="1257"/>
            <c:spPr>
              <a:solidFill>
                <a:srgbClr val="AEABAB"/>
              </a:solidFill>
            </c:spPr>
          </c:dPt>
          <c:dPt>
            <c:idx val="1258"/>
            <c:spPr>
              <a:solidFill>
                <a:srgbClr val="AEABAB"/>
              </a:solidFill>
            </c:spPr>
          </c:dPt>
          <c:dPt>
            <c:idx val="1259"/>
            <c:spPr>
              <a:solidFill>
                <a:srgbClr val="AEABAB"/>
              </a:solidFill>
            </c:spPr>
          </c:dPt>
          <c:dPt>
            <c:idx val="1260"/>
            <c:spPr>
              <a:solidFill>
                <a:srgbClr val="AEABAB"/>
              </a:solidFill>
            </c:spPr>
          </c:dPt>
          <c:dPt>
            <c:idx val="1261"/>
            <c:spPr>
              <a:solidFill>
                <a:srgbClr val="AEABAB"/>
              </a:solidFill>
            </c:spPr>
          </c:dPt>
          <c:dPt>
            <c:idx val="1262"/>
            <c:spPr>
              <a:solidFill>
                <a:srgbClr val="AEABAB"/>
              </a:solidFill>
            </c:spPr>
          </c:dPt>
          <c:dPt>
            <c:idx val="1263"/>
            <c:spPr>
              <a:solidFill>
                <a:srgbClr val="AEABAB"/>
              </a:solidFill>
            </c:spPr>
          </c:dPt>
          <c:dPt>
            <c:idx val="1264"/>
            <c:spPr>
              <a:solidFill>
                <a:srgbClr val="AEABAB"/>
              </a:solidFill>
            </c:spPr>
          </c:dPt>
          <c:dPt>
            <c:idx val="1265"/>
            <c:spPr>
              <a:solidFill>
                <a:srgbClr val="AEABAB"/>
              </a:solidFill>
            </c:spPr>
          </c:dPt>
          <c:dPt>
            <c:idx val="1266"/>
            <c:spPr>
              <a:solidFill>
                <a:srgbClr val="AEABAB"/>
              </a:solidFill>
            </c:spPr>
          </c:dPt>
          <c:dPt>
            <c:idx val="1267"/>
            <c:spPr>
              <a:solidFill>
                <a:srgbClr val="AEABAB"/>
              </a:solidFill>
            </c:spPr>
          </c:dPt>
          <c:dPt>
            <c:idx val="1268"/>
            <c:spPr>
              <a:solidFill>
                <a:srgbClr val="AEABAB"/>
              </a:solidFill>
            </c:spPr>
          </c:dPt>
          <c:dPt>
            <c:idx val="1269"/>
            <c:spPr>
              <a:solidFill>
                <a:srgbClr val="AEABAB"/>
              </a:solidFill>
            </c:spPr>
          </c:dPt>
          <c:dPt>
            <c:idx val="1270"/>
            <c:spPr>
              <a:solidFill>
                <a:srgbClr val="AEABAB"/>
              </a:solidFill>
            </c:spPr>
          </c:dPt>
          <c:dPt>
            <c:idx val="1271"/>
            <c:spPr>
              <a:solidFill>
                <a:srgbClr val="AEABAB"/>
              </a:solidFill>
            </c:spPr>
          </c:dPt>
          <c:dPt>
            <c:idx val="1272"/>
            <c:spPr>
              <a:solidFill>
                <a:srgbClr val="AEABAB"/>
              </a:solidFill>
            </c:spPr>
          </c:dPt>
          <c:dPt>
            <c:idx val="1273"/>
            <c:spPr>
              <a:solidFill>
                <a:srgbClr val="AEABAB"/>
              </a:solidFill>
            </c:spPr>
          </c:dPt>
          <c:dPt>
            <c:idx val="1274"/>
            <c:spPr>
              <a:solidFill>
                <a:srgbClr val="AEABAB"/>
              </a:solidFill>
            </c:spPr>
          </c:dPt>
          <c:dPt>
            <c:idx val="1275"/>
            <c:spPr>
              <a:solidFill>
                <a:srgbClr val="AEABAB"/>
              </a:solidFill>
            </c:spPr>
          </c:dPt>
          <c:dPt>
            <c:idx val="1276"/>
            <c:spPr>
              <a:solidFill>
                <a:srgbClr val="AEABAB"/>
              </a:solidFill>
            </c:spPr>
          </c:dPt>
          <c:dPt>
            <c:idx val="1277"/>
            <c:spPr>
              <a:solidFill>
                <a:srgbClr val="AEABAB"/>
              </a:solidFill>
            </c:spPr>
          </c:dPt>
          <c:dPt>
            <c:idx val="1278"/>
            <c:spPr>
              <a:solidFill>
                <a:srgbClr val="AEABAB"/>
              </a:solidFill>
            </c:spPr>
          </c:dPt>
          <c:dPt>
            <c:idx val="1279"/>
            <c:spPr>
              <a:solidFill>
                <a:srgbClr val="AEABAB"/>
              </a:solidFill>
            </c:spPr>
          </c:dPt>
          <c:dPt>
            <c:idx val="1280"/>
            <c:spPr>
              <a:solidFill>
                <a:srgbClr val="AEABAB"/>
              </a:solidFill>
            </c:spPr>
          </c:dPt>
          <c:dPt>
            <c:idx val="1281"/>
            <c:spPr>
              <a:solidFill>
                <a:srgbClr val="AEABAB"/>
              </a:solidFill>
            </c:spPr>
          </c:dPt>
          <c:dPt>
            <c:idx val="1282"/>
            <c:spPr>
              <a:solidFill>
                <a:srgbClr val="AEABAB"/>
              </a:solidFill>
            </c:spPr>
          </c:dPt>
          <c:dPt>
            <c:idx val="1283"/>
            <c:spPr>
              <a:solidFill>
                <a:srgbClr val="AEABAB"/>
              </a:solidFill>
            </c:spPr>
          </c:dPt>
          <c:dPt>
            <c:idx val="1284"/>
            <c:spPr>
              <a:solidFill>
                <a:srgbClr val="AEABAB"/>
              </a:solidFill>
            </c:spPr>
          </c:dPt>
          <c:dPt>
            <c:idx val="1285"/>
            <c:spPr>
              <a:solidFill>
                <a:srgbClr val="AEABAB"/>
              </a:solidFill>
            </c:spPr>
          </c:dPt>
          <c:dPt>
            <c:idx val="1286"/>
            <c:spPr>
              <a:solidFill>
                <a:srgbClr val="AEABAB"/>
              </a:solidFill>
            </c:spPr>
          </c:dPt>
          <c:dPt>
            <c:idx val="1287"/>
            <c:spPr>
              <a:solidFill>
                <a:srgbClr val="AEABAB"/>
              </a:solidFill>
            </c:spPr>
          </c:dPt>
          <c:dPt>
            <c:idx val="1288"/>
            <c:spPr>
              <a:solidFill>
                <a:srgbClr val="AEABAB"/>
              </a:solidFill>
            </c:spPr>
          </c:dPt>
          <c:dPt>
            <c:idx val="1289"/>
            <c:spPr>
              <a:solidFill>
                <a:srgbClr val="AEABAB"/>
              </a:solidFill>
            </c:spPr>
          </c:dPt>
          <c:dPt>
            <c:idx val="1290"/>
            <c:spPr>
              <a:solidFill>
                <a:srgbClr val="AEABAB"/>
              </a:solidFill>
            </c:spPr>
          </c:dPt>
          <c:dPt>
            <c:idx val="1291"/>
            <c:spPr>
              <a:solidFill>
                <a:srgbClr val="AEABAB"/>
              </a:solidFill>
            </c:spPr>
          </c:dPt>
          <c:dPt>
            <c:idx val="1292"/>
            <c:spPr>
              <a:solidFill>
                <a:srgbClr val="AEABAB"/>
              </a:solidFill>
            </c:spPr>
          </c:dPt>
          <c:dPt>
            <c:idx val="1293"/>
            <c:spPr>
              <a:solidFill>
                <a:srgbClr val="AEABAB"/>
              </a:solidFill>
            </c:spPr>
          </c:dPt>
          <c:dPt>
            <c:idx val="1294"/>
            <c:spPr>
              <a:solidFill>
                <a:srgbClr val="AEABAB"/>
              </a:solidFill>
            </c:spPr>
          </c:dPt>
          <c:dPt>
            <c:idx val="1295"/>
            <c:spPr>
              <a:solidFill>
                <a:srgbClr val="AEABAB"/>
              </a:solidFill>
            </c:spPr>
          </c:dPt>
          <c:dPt>
            <c:idx val="1296"/>
            <c:spPr>
              <a:solidFill>
                <a:srgbClr val="AEABAB"/>
              </a:solidFill>
            </c:spPr>
          </c:dPt>
          <c:dPt>
            <c:idx val="1297"/>
            <c:spPr>
              <a:solidFill>
                <a:srgbClr val="AEABAB"/>
              </a:solidFill>
            </c:spPr>
          </c:dPt>
          <c:dPt>
            <c:idx val="1298"/>
            <c:spPr>
              <a:solidFill>
                <a:srgbClr val="AEABAB"/>
              </a:solidFill>
            </c:spPr>
          </c:dPt>
          <c:dPt>
            <c:idx val="1299"/>
            <c:spPr>
              <a:solidFill>
                <a:srgbClr val="AEABAB"/>
              </a:solidFill>
            </c:spPr>
          </c:dPt>
          <c:dPt>
            <c:idx val="1300"/>
            <c:spPr>
              <a:solidFill>
                <a:srgbClr val="AEABAB"/>
              </a:solidFill>
            </c:spPr>
          </c:dPt>
          <c:dPt>
            <c:idx val="1301"/>
            <c:spPr>
              <a:solidFill>
                <a:srgbClr val="AEABAB"/>
              </a:solidFill>
            </c:spPr>
          </c:dPt>
          <c:dPt>
            <c:idx val="1302"/>
            <c:spPr>
              <a:solidFill>
                <a:srgbClr val="AEABAB"/>
              </a:solidFill>
            </c:spPr>
          </c:dPt>
          <c:dPt>
            <c:idx val="1303"/>
            <c:spPr>
              <a:solidFill>
                <a:srgbClr val="AEABAB"/>
              </a:solidFill>
            </c:spPr>
          </c:dPt>
          <c:dPt>
            <c:idx val="1304"/>
            <c:spPr>
              <a:solidFill>
                <a:srgbClr val="AEABAB"/>
              </a:solidFill>
            </c:spPr>
          </c:dPt>
          <c:dPt>
            <c:idx val="1305"/>
            <c:spPr>
              <a:solidFill>
                <a:srgbClr val="AEABAB"/>
              </a:solidFill>
            </c:spPr>
          </c:dPt>
          <c:dPt>
            <c:idx val="1306"/>
            <c:spPr>
              <a:solidFill>
                <a:srgbClr val="AEABAB"/>
              </a:solidFill>
            </c:spPr>
          </c:dPt>
          <c:dPt>
            <c:idx val="1307"/>
            <c:spPr>
              <a:solidFill>
                <a:srgbClr val="AEABAB"/>
              </a:solidFill>
            </c:spPr>
          </c:dPt>
          <c:dPt>
            <c:idx val="1308"/>
            <c:spPr>
              <a:solidFill>
                <a:srgbClr val="AEABAB"/>
              </a:solidFill>
            </c:spPr>
          </c:dPt>
          <c:dPt>
            <c:idx val="1309"/>
            <c:spPr>
              <a:solidFill>
                <a:srgbClr val="AEABAB"/>
              </a:solidFill>
            </c:spPr>
          </c:dPt>
          <c:dPt>
            <c:idx val="1310"/>
            <c:spPr>
              <a:solidFill>
                <a:srgbClr val="AEABAB"/>
              </a:solidFill>
            </c:spPr>
          </c:dPt>
          <c:dPt>
            <c:idx val="1311"/>
            <c:spPr>
              <a:solidFill>
                <a:srgbClr val="AEABAB"/>
              </a:solidFill>
            </c:spPr>
          </c:dPt>
          <c:dPt>
            <c:idx val="1312"/>
            <c:spPr>
              <a:solidFill>
                <a:srgbClr val="AEABAB"/>
              </a:solidFill>
            </c:spPr>
          </c:dPt>
          <c:dPt>
            <c:idx val="1313"/>
            <c:spPr>
              <a:solidFill>
                <a:srgbClr val="AEABAB"/>
              </a:solidFill>
            </c:spPr>
          </c:dPt>
          <c:dPt>
            <c:idx val="1314"/>
            <c:spPr>
              <a:solidFill>
                <a:srgbClr val="AEABAB"/>
              </a:solidFill>
            </c:spPr>
          </c:dPt>
          <c:dPt>
            <c:idx val="1315"/>
            <c:spPr>
              <a:solidFill>
                <a:srgbClr val="AEABAB"/>
              </a:solidFill>
            </c:spPr>
          </c:dPt>
          <c:dPt>
            <c:idx val="1316"/>
            <c:spPr>
              <a:solidFill>
                <a:srgbClr val="AEABAB"/>
              </a:solidFill>
            </c:spPr>
          </c:dPt>
          <c:dPt>
            <c:idx val="1317"/>
            <c:spPr>
              <a:solidFill>
                <a:srgbClr val="AEABAB"/>
              </a:solidFill>
            </c:spPr>
          </c:dPt>
          <c:dPt>
            <c:idx val="1318"/>
            <c:spPr>
              <a:solidFill>
                <a:srgbClr val="AEABAB"/>
              </a:solidFill>
            </c:spPr>
          </c:dPt>
          <c:dPt>
            <c:idx val="1319"/>
            <c:spPr>
              <a:solidFill>
                <a:srgbClr val="AEABAB"/>
              </a:solidFill>
            </c:spPr>
          </c:dPt>
          <c:dPt>
            <c:idx val="1320"/>
            <c:spPr>
              <a:solidFill>
                <a:srgbClr val="AEABAB"/>
              </a:solidFill>
            </c:spPr>
          </c:dPt>
          <c:dPt>
            <c:idx val="1321"/>
            <c:spPr>
              <a:solidFill>
                <a:srgbClr val="AEABAB"/>
              </a:solidFill>
            </c:spPr>
          </c:dPt>
          <c:dPt>
            <c:idx val="1322"/>
            <c:spPr>
              <a:solidFill>
                <a:srgbClr val="AEABAB"/>
              </a:solidFill>
            </c:spPr>
          </c:dPt>
          <c:dPt>
            <c:idx val="1323"/>
            <c:spPr>
              <a:solidFill>
                <a:srgbClr val="AEABAB"/>
              </a:solidFill>
            </c:spPr>
          </c:dPt>
          <c:dPt>
            <c:idx val="1324"/>
            <c:spPr>
              <a:solidFill>
                <a:srgbClr val="AEABAB"/>
              </a:solidFill>
            </c:spPr>
          </c:dPt>
          <c:dPt>
            <c:idx val="1325"/>
            <c:spPr>
              <a:solidFill>
                <a:srgbClr val="AEABAB"/>
              </a:solidFill>
            </c:spPr>
          </c:dPt>
          <c:dPt>
            <c:idx val="1326"/>
            <c:spPr>
              <a:solidFill>
                <a:srgbClr val="AEABAB"/>
              </a:solidFill>
            </c:spPr>
          </c:dPt>
          <c:dPt>
            <c:idx val="1327"/>
            <c:spPr>
              <a:solidFill>
                <a:srgbClr val="AEABAB"/>
              </a:solidFill>
            </c:spPr>
          </c:dPt>
          <c:dPt>
            <c:idx val="1328"/>
            <c:spPr>
              <a:solidFill>
                <a:srgbClr val="AEABAB"/>
              </a:solidFill>
            </c:spPr>
          </c:dPt>
          <c:dPt>
            <c:idx val="1329"/>
            <c:spPr>
              <a:solidFill>
                <a:srgbClr val="AEABAB"/>
              </a:solidFill>
            </c:spPr>
          </c:dPt>
          <c:dPt>
            <c:idx val="1330"/>
            <c:spPr>
              <a:solidFill>
                <a:srgbClr val="AEABAB"/>
              </a:solidFill>
            </c:spPr>
          </c:dPt>
          <c:dPt>
            <c:idx val="1331"/>
            <c:spPr>
              <a:solidFill>
                <a:srgbClr val="AEABAB"/>
              </a:solidFill>
            </c:spPr>
          </c:dPt>
          <c:dPt>
            <c:idx val="1332"/>
            <c:spPr>
              <a:solidFill>
                <a:srgbClr val="AEABAB"/>
              </a:solidFill>
            </c:spPr>
          </c:dPt>
          <c:dPt>
            <c:idx val="1333"/>
            <c:spPr>
              <a:solidFill>
                <a:srgbClr val="AEABAB"/>
              </a:solidFill>
            </c:spPr>
          </c:dPt>
          <c:dPt>
            <c:idx val="1334"/>
            <c:spPr>
              <a:solidFill>
                <a:srgbClr val="AEABAB"/>
              </a:solidFill>
            </c:spPr>
          </c:dPt>
          <c:dPt>
            <c:idx val="1335"/>
            <c:spPr>
              <a:solidFill>
                <a:srgbClr val="AEABAB"/>
              </a:solidFill>
            </c:spPr>
          </c:dPt>
          <c:dPt>
            <c:idx val="1336"/>
            <c:spPr>
              <a:solidFill>
                <a:srgbClr val="AEABAB"/>
              </a:solidFill>
            </c:spPr>
          </c:dPt>
          <c:dPt>
            <c:idx val="1337"/>
            <c:spPr>
              <a:solidFill>
                <a:srgbClr val="AEABAB"/>
              </a:solidFill>
            </c:spPr>
          </c:dPt>
          <c:dPt>
            <c:idx val="1338"/>
            <c:spPr>
              <a:solidFill>
                <a:srgbClr val="AEABAB"/>
              </a:solidFill>
            </c:spPr>
          </c:dPt>
          <c:dPt>
            <c:idx val="1339"/>
            <c:spPr>
              <a:solidFill>
                <a:srgbClr val="AEABAB"/>
              </a:solidFill>
            </c:spPr>
          </c:dPt>
          <c:dPt>
            <c:idx val="1340"/>
            <c:spPr>
              <a:solidFill>
                <a:srgbClr val="AEABAB"/>
              </a:solidFill>
            </c:spPr>
          </c:dPt>
          <c:dPt>
            <c:idx val="1341"/>
            <c:spPr>
              <a:solidFill>
                <a:srgbClr val="AEABAB"/>
              </a:solidFill>
            </c:spPr>
          </c:dPt>
          <c:dPt>
            <c:idx val="1342"/>
            <c:spPr>
              <a:solidFill>
                <a:srgbClr val="AEABAB"/>
              </a:solidFill>
            </c:spPr>
          </c:dPt>
          <c:dPt>
            <c:idx val="1343"/>
            <c:spPr>
              <a:solidFill>
                <a:srgbClr val="AEABAB"/>
              </a:solidFill>
            </c:spPr>
          </c:dPt>
          <c:dPt>
            <c:idx val="1344"/>
            <c:spPr>
              <a:solidFill>
                <a:srgbClr val="AEABAB"/>
              </a:solidFill>
            </c:spPr>
          </c:dPt>
          <c:dPt>
            <c:idx val="1345"/>
            <c:spPr>
              <a:solidFill>
                <a:srgbClr val="AEABAB"/>
              </a:solidFill>
            </c:spPr>
          </c:dPt>
          <c:dPt>
            <c:idx val="1346"/>
            <c:spPr>
              <a:solidFill>
                <a:srgbClr val="AEABAB"/>
              </a:solidFill>
            </c:spPr>
          </c:dPt>
          <c:dPt>
            <c:idx val="1347"/>
            <c:spPr>
              <a:solidFill>
                <a:srgbClr val="AEABAB"/>
              </a:solidFill>
            </c:spPr>
          </c:dPt>
          <c:dPt>
            <c:idx val="1348"/>
            <c:spPr>
              <a:solidFill>
                <a:srgbClr val="AEABAB"/>
              </a:solidFill>
            </c:spPr>
          </c:dPt>
          <c:dPt>
            <c:idx val="1349"/>
            <c:spPr>
              <a:solidFill>
                <a:srgbClr val="AEABAB"/>
              </a:solidFill>
            </c:spPr>
          </c:dPt>
          <c:dPt>
            <c:idx val="1350"/>
            <c:spPr>
              <a:solidFill>
                <a:srgbClr val="AEABAB"/>
              </a:solidFill>
            </c:spPr>
          </c:dPt>
          <c:dPt>
            <c:idx val="1351"/>
            <c:spPr>
              <a:solidFill>
                <a:srgbClr val="AEABAB"/>
              </a:solidFill>
            </c:spPr>
          </c:dPt>
          <c:dPt>
            <c:idx val="1352"/>
            <c:spPr>
              <a:solidFill>
                <a:srgbClr val="AEABAB"/>
              </a:solidFill>
            </c:spPr>
          </c:dPt>
          <c:dPt>
            <c:idx val="1353"/>
            <c:spPr>
              <a:solidFill>
                <a:srgbClr val="AEABAB"/>
              </a:solidFill>
            </c:spPr>
          </c:dPt>
          <c:dPt>
            <c:idx val="1354"/>
            <c:spPr>
              <a:solidFill>
                <a:srgbClr val="AEABAB"/>
              </a:solidFill>
            </c:spPr>
          </c:dPt>
          <c:dPt>
            <c:idx val="1355"/>
            <c:spPr>
              <a:solidFill>
                <a:srgbClr val="AEABAB"/>
              </a:solidFill>
            </c:spPr>
          </c:dPt>
          <c:dPt>
            <c:idx val="1356"/>
            <c:spPr>
              <a:solidFill>
                <a:srgbClr val="AEABAB"/>
              </a:solidFill>
            </c:spPr>
          </c:dPt>
          <c:dPt>
            <c:idx val="1357"/>
            <c:spPr>
              <a:solidFill>
                <a:srgbClr val="AEABAB"/>
              </a:solidFill>
            </c:spPr>
          </c:dPt>
          <c:dPt>
            <c:idx val="1358"/>
            <c:spPr>
              <a:solidFill>
                <a:srgbClr val="AEABAB"/>
              </a:solidFill>
            </c:spPr>
          </c:dPt>
          <c:dPt>
            <c:idx val="1359"/>
            <c:spPr>
              <a:solidFill>
                <a:srgbClr val="AEABAB"/>
              </a:solidFill>
            </c:spPr>
          </c:dPt>
          <c:dPt>
            <c:idx val="1360"/>
            <c:spPr>
              <a:solidFill>
                <a:srgbClr val="AEABAB"/>
              </a:solidFill>
            </c:spPr>
          </c:dPt>
          <c:dPt>
            <c:idx val="1361"/>
            <c:spPr>
              <a:solidFill>
                <a:srgbClr val="AEABAB"/>
              </a:solidFill>
            </c:spPr>
          </c:dPt>
          <c:dPt>
            <c:idx val="1362"/>
            <c:spPr>
              <a:solidFill>
                <a:srgbClr val="AEABAB"/>
              </a:solidFill>
            </c:spPr>
          </c:dPt>
          <c:dPt>
            <c:idx val="1363"/>
            <c:spPr>
              <a:solidFill>
                <a:srgbClr val="AEABAB"/>
              </a:solidFill>
            </c:spPr>
          </c:dPt>
          <c:dPt>
            <c:idx val="1364"/>
            <c:spPr>
              <a:solidFill>
                <a:srgbClr val="AEABAB"/>
              </a:solidFill>
            </c:spPr>
          </c:dPt>
          <c:dPt>
            <c:idx val="1365"/>
            <c:spPr>
              <a:solidFill>
                <a:srgbClr val="AEABAB"/>
              </a:solidFill>
            </c:spPr>
          </c:dPt>
          <c:dPt>
            <c:idx val="1366"/>
            <c:spPr>
              <a:solidFill>
                <a:srgbClr val="AEABAB"/>
              </a:solidFill>
            </c:spPr>
          </c:dPt>
          <c:dPt>
            <c:idx val="1367"/>
            <c:spPr>
              <a:solidFill>
                <a:srgbClr val="AEABAB"/>
              </a:solidFill>
            </c:spPr>
          </c:dPt>
          <c:dPt>
            <c:idx val="1368"/>
            <c:spPr>
              <a:solidFill>
                <a:srgbClr val="AEABAB"/>
              </a:solidFill>
            </c:spPr>
          </c:dPt>
          <c:dPt>
            <c:idx val="1369"/>
            <c:spPr>
              <a:solidFill>
                <a:srgbClr val="AEABAB"/>
              </a:solidFill>
            </c:spPr>
          </c:dPt>
          <c:dPt>
            <c:idx val="1370"/>
            <c:spPr>
              <a:solidFill>
                <a:srgbClr val="AEABAB"/>
              </a:solidFill>
            </c:spPr>
          </c:dPt>
          <c:dPt>
            <c:idx val="1371"/>
            <c:spPr>
              <a:solidFill>
                <a:srgbClr val="AEABAB"/>
              </a:solidFill>
            </c:spPr>
          </c:dPt>
          <c:dPt>
            <c:idx val="1372"/>
            <c:spPr>
              <a:solidFill>
                <a:srgbClr val="AEABAB"/>
              </a:solidFill>
            </c:spPr>
          </c:dPt>
          <c:dPt>
            <c:idx val="1373"/>
            <c:spPr>
              <a:solidFill>
                <a:srgbClr val="AEABAB"/>
              </a:solidFill>
            </c:spPr>
          </c:dPt>
          <c:dPt>
            <c:idx val="1374"/>
            <c:spPr>
              <a:solidFill>
                <a:srgbClr val="AEABAB"/>
              </a:solidFill>
            </c:spPr>
          </c:dPt>
          <c:dPt>
            <c:idx val="1375"/>
            <c:spPr>
              <a:solidFill>
                <a:srgbClr val="AEABAB"/>
              </a:solidFill>
            </c:spPr>
          </c:dPt>
          <c:dPt>
            <c:idx val="1376"/>
            <c:spPr>
              <a:solidFill>
                <a:srgbClr val="AEABAB"/>
              </a:solidFill>
            </c:spPr>
          </c:dPt>
          <c:dPt>
            <c:idx val="1377"/>
            <c:spPr>
              <a:solidFill>
                <a:srgbClr val="AEABAB"/>
              </a:solidFill>
            </c:spPr>
          </c:dPt>
          <c:dPt>
            <c:idx val="1378"/>
            <c:spPr>
              <a:solidFill>
                <a:srgbClr val="AEABAB"/>
              </a:solidFill>
            </c:spPr>
          </c:dPt>
          <c:dPt>
            <c:idx val="1379"/>
            <c:spPr>
              <a:solidFill>
                <a:srgbClr val="AEABAB"/>
              </a:solidFill>
            </c:spPr>
          </c:dPt>
          <c:dPt>
            <c:idx val="1380"/>
            <c:spPr>
              <a:solidFill>
                <a:srgbClr val="AEABAB"/>
              </a:solidFill>
            </c:spPr>
          </c:dPt>
          <c:dPt>
            <c:idx val="1381"/>
            <c:spPr>
              <a:solidFill>
                <a:srgbClr val="AEABAB"/>
              </a:solidFill>
            </c:spPr>
          </c:dPt>
          <c:dPt>
            <c:idx val="1382"/>
            <c:spPr>
              <a:solidFill>
                <a:srgbClr val="AEABAB"/>
              </a:solidFill>
            </c:spPr>
          </c:dPt>
          <c:dPt>
            <c:idx val="1383"/>
            <c:spPr>
              <a:solidFill>
                <a:srgbClr val="AEABAB"/>
              </a:solidFill>
            </c:spPr>
          </c:dPt>
          <c:dPt>
            <c:idx val="1384"/>
            <c:spPr>
              <a:solidFill>
                <a:srgbClr val="AEABAB"/>
              </a:solidFill>
            </c:spPr>
          </c:dPt>
          <c:dPt>
            <c:idx val="1385"/>
            <c:spPr>
              <a:solidFill>
                <a:srgbClr val="AEABAB"/>
              </a:solidFill>
            </c:spPr>
          </c:dPt>
          <c:dPt>
            <c:idx val="1386"/>
            <c:spPr>
              <a:solidFill>
                <a:srgbClr val="AEABAB"/>
              </a:solidFill>
            </c:spPr>
          </c:dPt>
          <c:dPt>
            <c:idx val="1387"/>
            <c:spPr>
              <a:solidFill>
                <a:srgbClr val="AEABAB"/>
              </a:solidFill>
            </c:spPr>
          </c:dPt>
          <c:dPt>
            <c:idx val="1388"/>
            <c:spPr>
              <a:solidFill>
                <a:srgbClr val="AEABAB"/>
              </a:solidFill>
            </c:spPr>
          </c:dPt>
          <c:dPt>
            <c:idx val="1389"/>
            <c:spPr>
              <a:solidFill>
                <a:srgbClr val="AEABAB"/>
              </a:solidFill>
            </c:spPr>
          </c:dPt>
          <c:dPt>
            <c:idx val="1390"/>
            <c:spPr>
              <a:solidFill>
                <a:srgbClr val="AEABAB"/>
              </a:solidFill>
            </c:spPr>
          </c:dPt>
          <c:dPt>
            <c:idx val="1391"/>
            <c:spPr>
              <a:solidFill>
                <a:srgbClr val="AEABAB"/>
              </a:solidFill>
            </c:spPr>
          </c:dPt>
          <c:dPt>
            <c:idx val="1392"/>
            <c:spPr>
              <a:solidFill>
                <a:srgbClr val="AEABAB"/>
              </a:solidFill>
            </c:spPr>
          </c:dPt>
          <c:dPt>
            <c:idx val="1393"/>
            <c:spPr>
              <a:solidFill>
                <a:srgbClr val="AEABAB"/>
              </a:solidFill>
            </c:spPr>
          </c:dPt>
          <c:dPt>
            <c:idx val="1394"/>
            <c:spPr>
              <a:solidFill>
                <a:srgbClr val="AEABAB"/>
              </a:solidFill>
            </c:spPr>
          </c:dPt>
          <c:dPt>
            <c:idx val="1395"/>
            <c:spPr>
              <a:solidFill>
                <a:srgbClr val="AEABAB"/>
              </a:solidFill>
            </c:spPr>
          </c:dPt>
          <c:dPt>
            <c:idx val="1396"/>
            <c:spPr>
              <a:solidFill>
                <a:srgbClr val="AEABAB"/>
              </a:solidFill>
            </c:spPr>
          </c:dPt>
          <c:dPt>
            <c:idx val="1397"/>
            <c:spPr>
              <a:solidFill>
                <a:srgbClr val="AEABAB"/>
              </a:solidFill>
            </c:spPr>
          </c:dPt>
          <c:dPt>
            <c:idx val="1398"/>
            <c:spPr>
              <a:solidFill>
                <a:srgbClr val="AEABAB"/>
              </a:solidFill>
            </c:spPr>
          </c:dPt>
          <c:dPt>
            <c:idx val="1399"/>
            <c:spPr>
              <a:solidFill>
                <a:srgbClr val="AEABAB"/>
              </a:solidFill>
            </c:spPr>
          </c:dPt>
          <c:dPt>
            <c:idx val="1400"/>
            <c:spPr>
              <a:solidFill>
                <a:srgbClr val="AEABAB"/>
              </a:solidFill>
            </c:spPr>
          </c:dPt>
          <c:dPt>
            <c:idx val="1401"/>
            <c:spPr>
              <a:solidFill>
                <a:srgbClr val="AEABAB"/>
              </a:solidFill>
            </c:spPr>
          </c:dPt>
          <c:dPt>
            <c:idx val="1402"/>
            <c:spPr>
              <a:solidFill>
                <a:srgbClr val="AEABAB"/>
              </a:solidFill>
            </c:spPr>
          </c:dPt>
          <c:dPt>
            <c:idx val="1403"/>
            <c:spPr>
              <a:solidFill>
                <a:srgbClr val="AEABAB"/>
              </a:solidFill>
            </c:spPr>
          </c:dPt>
          <c:dPt>
            <c:idx val="1404"/>
            <c:spPr>
              <a:solidFill>
                <a:srgbClr val="AEABAB"/>
              </a:solidFill>
            </c:spPr>
          </c:dPt>
          <c:dPt>
            <c:idx val="1405"/>
            <c:spPr>
              <a:solidFill>
                <a:srgbClr val="AEABAB"/>
              </a:solidFill>
            </c:spPr>
          </c:dPt>
          <c:dPt>
            <c:idx val="1406"/>
            <c:spPr>
              <a:solidFill>
                <a:srgbClr val="AEABAB"/>
              </a:solidFill>
            </c:spPr>
          </c:dPt>
          <c:dPt>
            <c:idx val="1407"/>
            <c:spPr>
              <a:solidFill>
                <a:srgbClr val="AEABAB"/>
              </a:solidFill>
            </c:spPr>
          </c:dPt>
          <c:dPt>
            <c:idx val="1408"/>
            <c:spPr>
              <a:solidFill>
                <a:srgbClr val="AEABAB"/>
              </a:solidFill>
            </c:spPr>
          </c:dPt>
          <c:dPt>
            <c:idx val="1409"/>
            <c:spPr>
              <a:solidFill>
                <a:srgbClr val="AEABAB"/>
              </a:solidFill>
            </c:spPr>
          </c:dPt>
          <c:dPt>
            <c:idx val="1410"/>
            <c:spPr>
              <a:solidFill>
                <a:srgbClr val="AEABAB"/>
              </a:solidFill>
            </c:spPr>
          </c:dPt>
          <c:dPt>
            <c:idx val="1411"/>
            <c:spPr>
              <a:solidFill>
                <a:srgbClr val="AEABAB"/>
              </a:solidFill>
            </c:spPr>
          </c:dPt>
          <c:dPt>
            <c:idx val="1412"/>
            <c:spPr>
              <a:solidFill>
                <a:srgbClr val="AEABAB"/>
              </a:solidFill>
            </c:spPr>
          </c:dPt>
          <c:dPt>
            <c:idx val="1413"/>
            <c:spPr>
              <a:solidFill>
                <a:srgbClr val="AEABAB"/>
              </a:solidFill>
            </c:spPr>
          </c:dPt>
          <c:dPt>
            <c:idx val="1414"/>
            <c:spPr>
              <a:solidFill>
                <a:srgbClr val="AEABAB"/>
              </a:solidFill>
            </c:spPr>
          </c:dPt>
          <c:dPt>
            <c:idx val="1415"/>
            <c:spPr>
              <a:solidFill>
                <a:srgbClr val="AEABAB"/>
              </a:solidFill>
            </c:spPr>
          </c:dPt>
          <c:dPt>
            <c:idx val="1416"/>
            <c:spPr>
              <a:solidFill>
                <a:srgbClr val="AEABAB"/>
              </a:solidFill>
            </c:spPr>
          </c:dPt>
          <c:dPt>
            <c:idx val="1417"/>
            <c:spPr>
              <a:solidFill>
                <a:srgbClr val="AEABAB"/>
              </a:solidFill>
            </c:spPr>
          </c:dPt>
          <c:dPt>
            <c:idx val="1418"/>
            <c:spPr>
              <a:solidFill>
                <a:srgbClr val="AEABAB"/>
              </a:solidFill>
            </c:spPr>
          </c:dPt>
          <c:dPt>
            <c:idx val="1419"/>
            <c:spPr>
              <a:solidFill>
                <a:srgbClr val="AEABAB"/>
              </a:solidFill>
            </c:spPr>
          </c:dPt>
          <c:dPt>
            <c:idx val="1420"/>
            <c:spPr>
              <a:solidFill>
                <a:srgbClr val="AEABAB"/>
              </a:solidFill>
            </c:spPr>
          </c:dPt>
          <c:dPt>
            <c:idx val="1421"/>
            <c:spPr>
              <a:solidFill>
                <a:srgbClr val="AEABAB"/>
              </a:solidFill>
            </c:spPr>
          </c:dPt>
          <c:dPt>
            <c:idx val="1422"/>
            <c:spPr>
              <a:solidFill>
                <a:srgbClr val="AEABAB"/>
              </a:solidFill>
            </c:spPr>
          </c:dPt>
          <c:dPt>
            <c:idx val="1423"/>
            <c:spPr>
              <a:solidFill>
                <a:srgbClr val="AEABAB"/>
              </a:solidFill>
            </c:spPr>
          </c:dPt>
          <c:dPt>
            <c:idx val="1424"/>
            <c:spPr>
              <a:solidFill>
                <a:srgbClr val="AEABAB"/>
              </a:solidFill>
            </c:spPr>
          </c:dPt>
          <c:dPt>
            <c:idx val="1425"/>
            <c:spPr>
              <a:solidFill>
                <a:srgbClr val="AEABAB"/>
              </a:solidFill>
            </c:spPr>
          </c:dPt>
          <c:dPt>
            <c:idx val="1426"/>
            <c:spPr>
              <a:solidFill>
                <a:srgbClr val="AEABAB"/>
              </a:solidFill>
            </c:spPr>
          </c:dPt>
          <c:dPt>
            <c:idx val="1427"/>
            <c:spPr>
              <a:solidFill>
                <a:srgbClr val="AEABAB"/>
              </a:solidFill>
            </c:spPr>
          </c:dPt>
          <c:dPt>
            <c:idx val="1428"/>
            <c:spPr>
              <a:solidFill>
                <a:srgbClr val="AEABAB"/>
              </a:solidFill>
            </c:spPr>
          </c:dPt>
          <c:dPt>
            <c:idx val="1429"/>
            <c:spPr>
              <a:solidFill>
                <a:srgbClr val="AEABAB"/>
              </a:solidFill>
            </c:spPr>
          </c:dPt>
          <c:dPt>
            <c:idx val="1430"/>
            <c:spPr>
              <a:solidFill>
                <a:srgbClr val="AEABAB"/>
              </a:solidFill>
            </c:spPr>
          </c:dPt>
          <c:dPt>
            <c:idx val="1431"/>
            <c:spPr>
              <a:solidFill>
                <a:srgbClr val="AEABAB"/>
              </a:solidFill>
            </c:spPr>
          </c:dPt>
          <c:dPt>
            <c:idx val="1432"/>
            <c:spPr>
              <a:solidFill>
                <a:srgbClr val="AEABAB"/>
              </a:solidFill>
            </c:spPr>
          </c:dPt>
          <c:dPt>
            <c:idx val="1433"/>
            <c:spPr>
              <a:solidFill>
                <a:srgbClr val="AEABAB"/>
              </a:solidFill>
            </c:spPr>
          </c:dPt>
          <c:dPt>
            <c:idx val="1434"/>
            <c:spPr>
              <a:solidFill>
                <a:srgbClr val="AEABAB"/>
              </a:solidFill>
            </c:spPr>
          </c:dPt>
          <c:dPt>
            <c:idx val="1435"/>
            <c:spPr>
              <a:solidFill>
                <a:srgbClr val="AEABAB"/>
              </a:solidFill>
            </c:spPr>
          </c:dPt>
          <c:dPt>
            <c:idx val="1436"/>
            <c:spPr>
              <a:solidFill>
                <a:srgbClr val="AEABAB"/>
              </a:solidFill>
            </c:spPr>
          </c:dPt>
          <c:dPt>
            <c:idx val="1437"/>
            <c:spPr>
              <a:solidFill>
                <a:srgbClr val="AEABAB"/>
              </a:solidFill>
            </c:spPr>
          </c:dPt>
          <c:dPt>
            <c:idx val="1438"/>
            <c:spPr>
              <a:solidFill>
                <a:srgbClr val="AEABAB"/>
              </a:solidFill>
            </c:spPr>
          </c:dPt>
          <c:dPt>
            <c:idx val="1439"/>
            <c:spPr>
              <a:solidFill>
                <a:srgbClr val="AEABAB"/>
              </a:solidFill>
            </c:spPr>
          </c:dPt>
          <c:dPt>
            <c:idx val="1440"/>
            <c:spPr>
              <a:solidFill>
                <a:srgbClr val="AEABAB"/>
              </a:solidFill>
            </c:spPr>
          </c:dPt>
          <c:dPt>
            <c:idx val="1441"/>
            <c:spPr>
              <a:solidFill>
                <a:srgbClr val="AEABAB"/>
              </a:solidFill>
            </c:spPr>
          </c:dPt>
          <c:dPt>
            <c:idx val="1442"/>
            <c:spPr>
              <a:solidFill>
                <a:srgbClr val="AEABAB"/>
              </a:solidFill>
            </c:spPr>
          </c:dPt>
          <c:dPt>
            <c:idx val="1443"/>
            <c:spPr>
              <a:solidFill>
                <a:srgbClr val="AEABAB"/>
              </a:solidFill>
            </c:spPr>
          </c:dPt>
          <c:dPt>
            <c:idx val="1444"/>
            <c:spPr>
              <a:solidFill>
                <a:srgbClr val="AEABAB"/>
              </a:solidFill>
            </c:spPr>
          </c:dPt>
          <c:dPt>
            <c:idx val="1445"/>
            <c:spPr>
              <a:solidFill>
                <a:srgbClr val="AEABAB"/>
              </a:solidFill>
            </c:spPr>
          </c:dPt>
          <c:dPt>
            <c:idx val="1446"/>
            <c:spPr>
              <a:solidFill>
                <a:srgbClr val="AEABAB"/>
              </a:solidFill>
            </c:spPr>
          </c:dPt>
          <c:dPt>
            <c:idx val="1447"/>
            <c:spPr>
              <a:solidFill>
                <a:srgbClr val="AEABAB"/>
              </a:solidFill>
            </c:spPr>
          </c:dPt>
          <c:dPt>
            <c:idx val="1448"/>
            <c:spPr>
              <a:solidFill>
                <a:srgbClr val="AEABAB"/>
              </a:solidFill>
            </c:spPr>
          </c:dPt>
          <c:dPt>
            <c:idx val="1449"/>
            <c:spPr>
              <a:solidFill>
                <a:srgbClr val="AEABAB"/>
              </a:solidFill>
            </c:spPr>
          </c:dPt>
          <c:dPt>
            <c:idx val="1450"/>
            <c:spPr>
              <a:solidFill>
                <a:srgbClr val="AEABAB"/>
              </a:solidFill>
            </c:spPr>
          </c:dPt>
          <c:dPt>
            <c:idx val="1451"/>
            <c:spPr>
              <a:solidFill>
                <a:srgbClr val="AEABAB"/>
              </a:solidFill>
            </c:spPr>
          </c:dPt>
          <c:dPt>
            <c:idx val="1452"/>
            <c:spPr>
              <a:solidFill>
                <a:srgbClr val="AEABAB"/>
              </a:solidFill>
            </c:spPr>
          </c:dPt>
          <c:dPt>
            <c:idx val="1453"/>
            <c:spPr>
              <a:solidFill>
                <a:srgbClr val="AEABAB"/>
              </a:solidFill>
            </c:spPr>
          </c:dPt>
          <c:dPt>
            <c:idx val="1454"/>
            <c:spPr>
              <a:solidFill>
                <a:srgbClr val="AEABAB"/>
              </a:solidFill>
            </c:spPr>
          </c:dPt>
          <c:dPt>
            <c:idx val="1455"/>
            <c:spPr>
              <a:solidFill>
                <a:srgbClr val="AEABAB"/>
              </a:solidFill>
            </c:spPr>
          </c:dPt>
          <c:dPt>
            <c:idx val="1456"/>
            <c:spPr>
              <a:solidFill>
                <a:srgbClr val="AEABAB"/>
              </a:solidFill>
            </c:spPr>
          </c:dPt>
          <c:dPt>
            <c:idx val="1457"/>
            <c:spPr>
              <a:solidFill>
                <a:srgbClr val="AEABAB"/>
              </a:solidFill>
            </c:spPr>
          </c:dPt>
          <c:dPt>
            <c:idx val="1458"/>
            <c:spPr>
              <a:solidFill>
                <a:srgbClr val="AEABAB"/>
              </a:solidFill>
            </c:spPr>
          </c:dPt>
          <c:cat>
            <c:strRef>
              <c:f>Sheet1!$A$2:$A$1460</c:f>
              <c:strCache>
                <c:ptCount val="1459"/>
                <c:pt idx="0">
                  <c:v>Private Lab</c:v>
                </c:pt>
                <c:pt idx="1">
                  <c:v>Private Lab</c:v>
                </c:pt>
                <c:pt idx="2">
                  <c:v>Private Lab</c:v>
                </c:pt>
                <c:pt idx="3">
                  <c:v>Private Lab</c:v>
                </c:pt>
                <c:pt idx="4">
                  <c:v>Private Lab</c:v>
                </c:pt>
                <c:pt idx="5">
                  <c:v>Caprice Des</c:v>
                </c:pt>
                <c:pt idx="6">
                  <c:v>Private Lab</c:v>
                </c:pt>
                <c:pt idx="7">
                  <c:v>Private Lab</c:v>
                </c:pt>
                <c:pt idx="8">
                  <c:v>Private Lab</c:v>
                </c:pt>
                <c:pt idx="9">
                  <c:v>Private Lab</c:v>
                </c:pt>
                <c:pt idx="10">
                  <c:v>Private Lab</c:v>
                </c:pt>
                <c:pt idx="11">
                  <c:v>Private Lab</c:v>
                </c:pt>
                <c:pt idx="12">
                  <c:v>Private Lab</c:v>
                </c:pt>
                <c:pt idx="13">
                  <c:v>Private Lab</c:v>
                </c:pt>
                <c:pt idx="14">
                  <c:v>Coeur De Li</c:v>
                </c:pt>
                <c:pt idx="15">
                  <c:v>Private Lab</c:v>
                </c:pt>
                <c:pt idx="16">
                  <c:v>Mini Babybe</c:v>
                </c:pt>
                <c:pt idx="17">
                  <c:v>President</c:v>
                </c:pt>
                <c:pt idx="18">
                  <c:v>Soignon</c:v>
                </c:pt>
                <c:pt idx="19">
                  <c:v>Entremont</c:v>
                </c:pt>
                <c:pt idx="20">
                  <c:v>Private Lab</c:v>
                </c:pt>
                <c:pt idx="21">
                  <c:v>Private Lab</c:v>
                </c:pt>
                <c:pt idx="22">
                  <c:v>Richesmonts</c:v>
                </c:pt>
                <c:pt idx="23">
                  <c:v>Private Lab</c:v>
                </c:pt>
                <c:pt idx="24">
                  <c:v>Chaussee Au</c:v>
                </c:pt>
                <c:pt idx="25">
                  <c:v>Caprice Des</c:v>
                </c:pt>
                <c:pt idx="26">
                  <c:v>President</c:v>
                </c:pt>
                <c:pt idx="27">
                  <c:v>President</c:v>
                </c:pt>
                <c:pt idx="28">
                  <c:v>La Vache Qu</c:v>
                </c:pt>
                <c:pt idx="29">
                  <c:v>President</c:v>
                </c:pt>
                <c:pt idx="30">
                  <c:v>Private Lab</c:v>
                </c:pt>
                <c:pt idx="31">
                  <c:v>Private Lab</c:v>
                </c:pt>
                <c:pt idx="32">
                  <c:v>Entremont</c:v>
                </c:pt>
                <c:pt idx="33">
                  <c:v>President</c:v>
                </c:pt>
                <c:pt idx="34">
                  <c:v>Private Lab</c:v>
                </c:pt>
                <c:pt idx="35">
                  <c:v>Soignon</c:v>
                </c:pt>
                <c:pt idx="36">
                  <c:v>Private Lab</c:v>
                </c:pt>
                <c:pt idx="37">
                  <c:v>Le Rustique</c:v>
                </c:pt>
                <c:pt idx="38">
                  <c:v>Private Lab</c:v>
                </c:pt>
                <c:pt idx="39">
                  <c:v>Private Lab</c:v>
                </c:pt>
                <c:pt idx="40">
                  <c:v>St Moret</c:v>
                </c:pt>
                <c:pt idx="41">
                  <c:v>Private Lab</c:v>
                </c:pt>
                <c:pt idx="42">
                  <c:v>St Moret</c:v>
                </c:pt>
                <c:pt idx="43">
                  <c:v>Private Lab</c:v>
                </c:pt>
                <c:pt idx="44">
                  <c:v>Private Lab</c:v>
                </c:pt>
                <c:pt idx="45">
                  <c:v>President</c:v>
                </c:pt>
                <c:pt idx="46">
                  <c:v>La Vache Qu</c:v>
                </c:pt>
                <c:pt idx="47">
                  <c:v>Leerdammer</c:v>
                </c:pt>
                <c:pt idx="48">
                  <c:v>Private Lab</c:v>
                </c:pt>
                <c:pt idx="49">
                  <c:v>President</c:v>
                </c:pt>
                <c:pt idx="50">
                  <c:v>Private Lab</c:v>
                </c:pt>
                <c:pt idx="51">
                  <c:v>Societe</c:v>
                </c:pt>
                <c:pt idx="52">
                  <c:v>Private Lab</c:v>
                </c:pt>
                <c:pt idx="53">
                  <c:v>Private Lab</c:v>
                </c:pt>
                <c:pt idx="54">
                  <c:v>Private Lab</c:v>
                </c:pt>
                <c:pt idx="55">
                  <c:v>President</c:v>
                </c:pt>
                <c:pt idx="56">
                  <c:v>Private Lab</c:v>
                </c:pt>
                <c:pt idx="57">
                  <c:v>Private Lab</c:v>
                </c:pt>
                <c:pt idx="58">
                  <c:v>Chaussee Au</c:v>
                </c:pt>
                <c:pt idx="59">
                  <c:v>St Moret</c:v>
                </c:pt>
                <c:pt idx="60">
                  <c:v>Saint Agur</c:v>
                </c:pt>
                <c:pt idx="61">
                  <c:v>Private Lab</c:v>
                </c:pt>
                <c:pt idx="62">
                  <c:v>Tartare</c:v>
                </c:pt>
                <c:pt idx="63">
                  <c:v>Private Lab</c:v>
                </c:pt>
                <c:pt idx="64">
                  <c:v>Private Lab</c:v>
                </c:pt>
                <c:pt idx="65">
                  <c:v>Galbani</c:v>
                </c:pt>
                <c:pt idx="66">
                  <c:v>Mini Babybe</c:v>
                </c:pt>
                <c:pt idx="67">
                  <c:v>Private Lab</c:v>
                </c:pt>
                <c:pt idx="68">
                  <c:v>La Vache Qu</c:v>
                </c:pt>
                <c:pt idx="69">
                  <c:v>Leerdammer</c:v>
                </c:pt>
                <c:pt idx="70">
                  <c:v>Coeur De Li</c:v>
                </c:pt>
                <c:pt idx="71">
                  <c:v>Entremont</c:v>
                </c:pt>
                <c:pt idx="72">
                  <c:v>Private Lab</c:v>
                </c:pt>
                <c:pt idx="73">
                  <c:v>Entremont</c:v>
                </c:pt>
                <c:pt idx="74">
                  <c:v>St Moret</c:v>
                </c:pt>
                <c:pt idx="75">
                  <c:v>Private Lab</c:v>
                </c:pt>
                <c:pt idx="76">
                  <c:v>Entremont</c:v>
                </c:pt>
                <c:pt idx="77">
                  <c:v>Soignon</c:v>
                </c:pt>
                <c:pt idx="78">
                  <c:v>Leerdammer</c:v>
                </c:pt>
                <c:pt idx="79">
                  <c:v>Private Lab</c:v>
                </c:pt>
                <c:pt idx="80">
                  <c:v>President</c:v>
                </c:pt>
                <c:pt idx="81">
                  <c:v>Entremont</c:v>
                </c:pt>
                <c:pt idx="82">
                  <c:v>Salakis</c:v>
                </c:pt>
                <c:pt idx="83">
                  <c:v>Entremont</c:v>
                </c:pt>
                <c:pt idx="84">
                  <c:v>Kiri</c:v>
                </c:pt>
                <c:pt idx="85">
                  <c:v>Private Lab</c:v>
                </c:pt>
                <c:pt idx="86">
                  <c:v>Private Lab</c:v>
                </c:pt>
                <c:pt idx="87">
                  <c:v>All Others</c:v>
                </c:pt>
                <c:pt idx="88">
                  <c:v>Private Lab</c:v>
                </c:pt>
                <c:pt idx="89">
                  <c:v>Private Lab</c:v>
                </c:pt>
                <c:pt idx="90">
                  <c:v>Bresse Bleu</c:v>
                </c:pt>
                <c:pt idx="91">
                  <c:v>Private Lab</c:v>
                </c:pt>
                <c:pt idx="92">
                  <c:v>Juraflore</c:v>
                </c:pt>
                <c:pt idx="93">
                  <c:v>Private Lab</c:v>
                </c:pt>
                <c:pt idx="94">
                  <c:v>Private Lab</c:v>
                </c:pt>
                <c:pt idx="95">
                  <c:v>Private Lab</c:v>
                </c:pt>
                <c:pt idx="96">
                  <c:v>Apericube</c:v>
                </c:pt>
                <c:pt idx="97">
                  <c:v>Private Lab</c:v>
                </c:pt>
                <c:pt idx="98">
                  <c:v>President</c:v>
                </c:pt>
                <c:pt idx="99">
                  <c:v>President</c:v>
                </c:pt>
                <c:pt idx="100">
                  <c:v>Kiri</c:v>
                </c:pt>
                <c:pt idx="101">
                  <c:v>Saint Agur</c:v>
                </c:pt>
                <c:pt idx="102">
                  <c:v>Saint Albra</c:v>
                </c:pt>
                <c:pt idx="103">
                  <c:v>Private Lab</c:v>
                </c:pt>
                <c:pt idx="104">
                  <c:v>Private Lab</c:v>
                </c:pt>
                <c:pt idx="105">
                  <c:v>Entremont</c:v>
                </c:pt>
                <c:pt idx="106">
                  <c:v>Galbani</c:v>
                </c:pt>
                <c:pt idx="107">
                  <c:v>Private Lab</c:v>
                </c:pt>
                <c:pt idx="108">
                  <c:v>L'Ortolan</c:v>
                </c:pt>
                <c:pt idx="109">
                  <c:v>President</c:v>
                </c:pt>
                <c:pt idx="110">
                  <c:v>Private Lab</c:v>
                </c:pt>
                <c:pt idx="111">
                  <c:v>Private Lab</c:v>
                </c:pt>
                <c:pt idx="112">
                  <c:v>Apericube</c:v>
                </c:pt>
                <c:pt idx="113">
                  <c:v>Private Lab</c:v>
                </c:pt>
                <c:pt idx="114">
                  <c:v>Galbani</c:v>
                </c:pt>
                <c:pt idx="115">
                  <c:v>Private Lab</c:v>
                </c:pt>
                <c:pt idx="116">
                  <c:v>Private Lab</c:v>
                </c:pt>
                <c:pt idx="117">
                  <c:v>Leerdammer</c:v>
                </c:pt>
                <c:pt idx="118">
                  <c:v>Richesmonts</c:v>
                </c:pt>
                <c:pt idx="119">
                  <c:v>Private Lab</c:v>
                </c:pt>
                <c:pt idx="120">
                  <c:v>Private Lab</c:v>
                </c:pt>
                <c:pt idx="121">
                  <c:v>Paysan Bret</c:v>
                </c:pt>
                <c:pt idx="122">
                  <c:v>Istara</c:v>
                </c:pt>
                <c:pt idx="123">
                  <c:v>Private Lab</c:v>
                </c:pt>
                <c:pt idx="124">
                  <c:v>Richesmonts</c:v>
                </c:pt>
                <c:pt idx="125">
                  <c:v>Parmareggio</c:v>
                </c:pt>
                <c:pt idx="126">
                  <c:v>Paysan Bret</c:v>
                </c:pt>
                <c:pt idx="127">
                  <c:v>Private Lab</c:v>
                </c:pt>
                <c:pt idx="128">
                  <c:v>Apericube</c:v>
                </c:pt>
                <c:pt idx="129">
                  <c:v>Private Lab</c:v>
                </c:pt>
                <c:pt idx="130">
                  <c:v>Private Lab</c:v>
                </c:pt>
                <c:pt idx="131">
                  <c:v>Saint Albra</c:v>
                </c:pt>
                <c:pt idx="132">
                  <c:v>Pochat</c:v>
                </c:pt>
                <c:pt idx="133">
                  <c:v>Tartare</c:v>
                </c:pt>
                <c:pt idx="134">
                  <c:v>Ficello</c:v>
                </c:pt>
                <c:pt idx="135">
                  <c:v>L'Ortolan</c:v>
                </c:pt>
                <c:pt idx="136">
                  <c:v>Leerdammer</c:v>
                </c:pt>
                <c:pt idx="137">
                  <c:v>Boursin</c:v>
                </c:pt>
                <c:pt idx="138">
                  <c:v>Private Lab</c:v>
                </c:pt>
                <c:pt idx="139">
                  <c:v>President</c:v>
                </c:pt>
                <c:pt idx="140">
                  <c:v>Entremont</c:v>
                </c:pt>
                <c:pt idx="141">
                  <c:v>Boursin</c:v>
                </c:pt>
                <c:pt idx="142">
                  <c:v>Private Lab</c:v>
                </c:pt>
                <c:pt idx="143">
                  <c:v>Casa Azzurr</c:v>
                </c:pt>
                <c:pt idx="144">
                  <c:v>Kiri</c:v>
                </c:pt>
                <c:pt idx="145">
                  <c:v>Lou Perac</c:v>
                </c:pt>
                <c:pt idx="146">
                  <c:v>Leerdammer</c:v>
                </c:pt>
                <c:pt idx="147">
                  <c:v>Galbani</c:v>
                </c:pt>
                <c:pt idx="148">
                  <c:v>Private Lab</c:v>
                </c:pt>
                <c:pt idx="149">
                  <c:v>Private Lab</c:v>
                </c:pt>
                <c:pt idx="150">
                  <c:v>President</c:v>
                </c:pt>
                <c:pt idx="151">
                  <c:v>All Others</c:v>
                </c:pt>
                <c:pt idx="152">
                  <c:v>President</c:v>
                </c:pt>
                <c:pt idx="153">
                  <c:v>Private Lab</c:v>
                </c:pt>
                <c:pt idx="154">
                  <c:v>Private Lab</c:v>
                </c:pt>
                <c:pt idx="155">
                  <c:v>St Moret</c:v>
                </c:pt>
                <c:pt idx="156">
                  <c:v>Caprice Des</c:v>
                </c:pt>
                <c:pt idx="157">
                  <c:v>Lepetit</c:v>
                </c:pt>
                <c:pt idx="158">
                  <c:v>Carre Frais</c:v>
                </c:pt>
                <c:pt idx="159">
                  <c:v>Galbani</c:v>
                </c:pt>
                <c:pt idx="160">
                  <c:v>Apericube</c:v>
                </c:pt>
                <c:pt idx="161">
                  <c:v>Galbani</c:v>
                </c:pt>
                <c:pt idx="162">
                  <c:v>Kiri</c:v>
                </c:pt>
                <c:pt idx="163">
                  <c:v>Entremont</c:v>
                </c:pt>
                <c:pt idx="164">
                  <c:v>Islos</c:v>
                </c:pt>
                <c:pt idx="165">
                  <c:v>Boursin</c:v>
                </c:pt>
                <c:pt idx="166">
                  <c:v>Private Lab</c:v>
                </c:pt>
                <c:pt idx="167">
                  <c:v>Private Lab</c:v>
                </c:pt>
                <c:pt idx="168">
                  <c:v>Coeur De Li</c:v>
                </c:pt>
                <c:pt idx="169">
                  <c:v>Private Lab</c:v>
                </c:pt>
                <c:pt idx="170">
                  <c:v>President</c:v>
                </c:pt>
                <c:pt idx="171">
                  <c:v>Salakis</c:v>
                </c:pt>
                <c:pt idx="172">
                  <c:v>President</c:v>
                </c:pt>
                <c:pt idx="173">
                  <c:v>Port Salut</c:v>
                </c:pt>
                <c:pt idx="174">
                  <c:v>Leerdammer</c:v>
                </c:pt>
                <c:pt idx="175">
                  <c:v>Entremont</c:v>
                </c:pt>
                <c:pt idx="176">
                  <c:v>Private Lab</c:v>
                </c:pt>
                <c:pt idx="177">
                  <c:v>President</c:v>
                </c:pt>
                <c:pt idx="178">
                  <c:v>Carre Frais</c:v>
                </c:pt>
                <c:pt idx="179">
                  <c:v>Richesmonts</c:v>
                </c:pt>
                <c:pt idx="180">
                  <c:v>Boursin</c:v>
                </c:pt>
                <c:pt idx="181">
                  <c:v>Private Lab</c:v>
                </c:pt>
                <c:pt idx="182">
                  <c:v>Entremont</c:v>
                </c:pt>
                <c:pt idx="183">
                  <c:v>Private Lab</c:v>
                </c:pt>
                <c:pt idx="184">
                  <c:v>Entremont</c:v>
                </c:pt>
                <c:pt idx="185">
                  <c:v>Apericube</c:v>
                </c:pt>
                <c:pt idx="186">
                  <c:v>Philadelphi</c:v>
                </c:pt>
                <c:pt idx="187">
                  <c:v>Soignon</c:v>
                </c:pt>
                <c:pt idx="188">
                  <c:v>Private Lab</c:v>
                </c:pt>
                <c:pt idx="189">
                  <c:v>Private Lab</c:v>
                </c:pt>
                <c:pt idx="190">
                  <c:v>Coeur De Li</c:v>
                </c:pt>
                <c:pt idx="191">
                  <c:v>Coeur De Li</c:v>
                </c:pt>
                <c:pt idx="192">
                  <c:v>All Others</c:v>
                </c:pt>
                <c:pt idx="193">
                  <c:v>Galbani</c:v>
                </c:pt>
                <c:pt idx="194">
                  <c:v>President</c:v>
                </c:pt>
                <c:pt idx="195">
                  <c:v>Galbani</c:v>
                </c:pt>
                <c:pt idx="196">
                  <c:v>St Moret</c:v>
                </c:pt>
                <c:pt idx="197">
                  <c:v>Private Lab</c:v>
                </c:pt>
                <c:pt idx="198">
                  <c:v>President</c:v>
                </c:pt>
                <c:pt idx="199">
                  <c:v>President</c:v>
                </c:pt>
                <c:pt idx="200">
                  <c:v>Private Lab</c:v>
                </c:pt>
                <c:pt idx="201">
                  <c:v>Pave D'Affi</c:v>
                </c:pt>
                <c:pt idx="202">
                  <c:v>Private Lab</c:v>
                </c:pt>
                <c:pt idx="203">
                  <c:v>Richesmonts</c:v>
                </c:pt>
                <c:pt idx="204">
                  <c:v>Mini Babybe</c:v>
                </c:pt>
                <c:pt idx="205">
                  <c:v>Societe</c:v>
                </c:pt>
                <c:pt idx="206">
                  <c:v>Kiri</c:v>
                </c:pt>
                <c:pt idx="207">
                  <c:v>Le Rustique</c:v>
                </c:pt>
                <c:pt idx="208">
                  <c:v>Private Lab</c:v>
                </c:pt>
                <c:pt idx="209">
                  <c:v>Istara</c:v>
                </c:pt>
                <c:pt idx="210">
                  <c:v>Vieux Pane</c:v>
                </c:pt>
                <c:pt idx="211">
                  <c:v>President</c:v>
                </c:pt>
                <c:pt idx="212">
                  <c:v>Private Lab</c:v>
                </c:pt>
                <c:pt idx="213">
                  <c:v>Private Lab</c:v>
                </c:pt>
                <c:pt idx="214">
                  <c:v>Saint Agur</c:v>
                </c:pt>
                <c:pt idx="215">
                  <c:v>Petit Billy</c:v>
                </c:pt>
                <c:pt idx="216">
                  <c:v>Apericube</c:v>
                </c:pt>
                <c:pt idx="217">
                  <c:v>Entremont</c:v>
                </c:pt>
                <c:pt idx="218">
                  <c:v>Private Lab</c:v>
                </c:pt>
                <c:pt idx="219">
                  <c:v>Private Lab</c:v>
                </c:pt>
                <c:pt idx="220">
                  <c:v>Private Lab</c:v>
                </c:pt>
                <c:pt idx="221">
                  <c:v>Private Lab</c:v>
                </c:pt>
                <c:pt idx="222">
                  <c:v>Private Lab</c:v>
                </c:pt>
                <c:pt idx="223">
                  <c:v>Private Lab</c:v>
                </c:pt>
                <c:pt idx="224">
                  <c:v>Private Lab</c:v>
                </c:pt>
                <c:pt idx="225">
                  <c:v>Private Lab</c:v>
                </c:pt>
                <c:pt idx="226">
                  <c:v>All Others</c:v>
                </c:pt>
                <c:pt idx="227">
                  <c:v>President</c:v>
                </c:pt>
                <c:pt idx="228">
                  <c:v>Saint Agur</c:v>
                </c:pt>
                <c:pt idx="229">
                  <c:v>Private Lab</c:v>
                </c:pt>
                <c:pt idx="230">
                  <c:v>Apericube</c:v>
                </c:pt>
                <c:pt idx="231">
                  <c:v>Private Lab</c:v>
                </c:pt>
                <c:pt idx="232">
                  <c:v>Babybel</c:v>
                </c:pt>
                <c:pt idx="233">
                  <c:v>President</c:v>
                </c:pt>
                <c:pt idx="234">
                  <c:v>Le Rustique</c:v>
                </c:pt>
                <c:pt idx="235">
                  <c:v>Pochat</c:v>
                </c:pt>
                <c:pt idx="236">
                  <c:v>Private Lab</c:v>
                </c:pt>
                <c:pt idx="237">
                  <c:v>Aperivrais</c:v>
                </c:pt>
                <c:pt idx="238">
                  <c:v>Entremont</c:v>
                </c:pt>
                <c:pt idx="239">
                  <c:v>Private Lab</c:v>
                </c:pt>
                <c:pt idx="240">
                  <c:v>Cousteron</c:v>
                </c:pt>
                <c:pt idx="241">
                  <c:v>Private Lab</c:v>
                </c:pt>
                <c:pt idx="242">
                  <c:v>Soignon</c:v>
                </c:pt>
                <c:pt idx="243">
                  <c:v>Private Lab</c:v>
                </c:pt>
                <c:pt idx="244">
                  <c:v>Private Lab</c:v>
                </c:pt>
                <c:pt idx="245">
                  <c:v>Private Lab</c:v>
                </c:pt>
                <c:pt idx="246">
                  <c:v>Ficello</c:v>
                </c:pt>
                <c:pt idx="247">
                  <c:v>Saint Agur</c:v>
                </c:pt>
                <c:pt idx="248">
                  <c:v>Soignon</c:v>
                </c:pt>
                <c:pt idx="249">
                  <c:v>Apericube</c:v>
                </c:pt>
                <c:pt idx="250">
                  <c:v>Private Lab</c:v>
                </c:pt>
                <c:pt idx="251">
                  <c:v>Private Lab</c:v>
                </c:pt>
                <c:pt idx="252">
                  <c:v>Etorki</c:v>
                </c:pt>
                <c:pt idx="253">
                  <c:v>Philadelphi</c:v>
                </c:pt>
                <c:pt idx="254">
                  <c:v>Private Lab</c:v>
                </c:pt>
                <c:pt idx="255">
                  <c:v>Private Lab</c:v>
                </c:pt>
                <c:pt idx="256">
                  <c:v>Private Lab</c:v>
                </c:pt>
                <c:pt idx="257">
                  <c:v>Soignon</c:v>
                </c:pt>
                <c:pt idx="258">
                  <c:v>Private Lab</c:v>
                </c:pt>
                <c:pt idx="259">
                  <c:v>Societe</c:v>
                </c:pt>
                <c:pt idx="260">
                  <c:v>Private Lab</c:v>
                </c:pt>
                <c:pt idx="261">
                  <c:v>Private Lab</c:v>
                </c:pt>
                <c:pt idx="262">
                  <c:v>All Others</c:v>
                </c:pt>
                <c:pt idx="263">
                  <c:v>Richesmonts</c:v>
                </c:pt>
                <c:pt idx="264">
                  <c:v>Casa Azzurr</c:v>
                </c:pt>
                <c:pt idx="265">
                  <c:v>All Others</c:v>
                </c:pt>
                <c:pt idx="266">
                  <c:v>St Moret</c:v>
                </c:pt>
                <c:pt idx="267">
                  <c:v>Lactalis: A</c:v>
                </c:pt>
                <c:pt idx="268">
                  <c:v>Societe</c:v>
                </c:pt>
                <c:pt idx="269">
                  <c:v>Private Lab</c:v>
                </c:pt>
                <c:pt idx="270">
                  <c:v>Private Lab</c:v>
                </c:pt>
                <c:pt idx="271">
                  <c:v>Private Lab</c:v>
                </c:pt>
                <c:pt idx="272">
                  <c:v>Leerdammer</c:v>
                </c:pt>
                <c:pt idx="273">
                  <c:v>Private Lab</c:v>
                </c:pt>
                <c:pt idx="274">
                  <c:v>Private Lab</c:v>
                </c:pt>
                <c:pt idx="275">
                  <c:v>Tartare</c:v>
                </c:pt>
                <c:pt idx="276">
                  <c:v>Private Lab</c:v>
                </c:pt>
                <c:pt idx="277">
                  <c:v>Private Lab</c:v>
                </c:pt>
                <c:pt idx="278">
                  <c:v>Boursin</c:v>
                </c:pt>
                <c:pt idx="279">
                  <c:v>Private Lab</c:v>
                </c:pt>
                <c:pt idx="280">
                  <c:v>Private Lab</c:v>
                </c:pt>
                <c:pt idx="281">
                  <c:v>President</c:v>
                </c:pt>
                <c:pt idx="282">
                  <c:v>All Others</c:v>
                </c:pt>
                <c:pt idx="283">
                  <c:v>Richesmonts</c:v>
                </c:pt>
                <c:pt idx="284">
                  <c:v>Caprice Des</c:v>
                </c:pt>
                <c:pt idx="285">
                  <c:v>Private Lab</c:v>
                </c:pt>
                <c:pt idx="286">
                  <c:v>Coeur De Li</c:v>
                </c:pt>
                <c:pt idx="287">
                  <c:v>Casa Azzurr</c:v>
                </c:pt>
                <c:pt idx="288">
                  <c:v>Apericube</c:v>
                </c:pt>
                <c:pt idx="289">
                  <c:v>Private Lab</c:v>
                </c:pt>
                <c:pt idx="290">
                  <c:v>All Others</c:v>
                </c:pt>
                <c:pt idx="291">
                  <c:v>La Vache Qu</c:v>
                </c:pt>
                <c:pt idx="292">
                  <c:v>Soignon</c:v>
                </c:pt>
                <c:pt idx="293">
                  <c:v>Parmareggio</c:v>
                </c:pt>
                <c:pt idx="294">
                  <c:v>Private Lab</c:v>
                </c:pt>
                <c:pt idx="295">
                  <c:v>La Vache Qu</c:v>
                </c:pt>
                <c:pt idx="296">
                  <c:v>P'Tit Louis</c:v>
                </c:pt>
                <c:pt idx="297">
                  <c:v>Private Lab</c:v>
                </c:pt>
                <c:pt idx="298">
                  <c:v>Entremont</c:v>
                </c:pt>
                <c:pt idx="299">
                  <c:v>All Others</c:v>
                </c:pt>
                <c:pt idx="300">
                  <c:v>Pave D'Affi</c:v>
                </c:pt>
                <c:pt idx="301">
                  <c:v>Casa Azzurr</c:v>
                </c:pt>
                <c:pt idx="302">
                  <c:v>Fol Epi</c:v>
                </c:pt>
                <c:pt idx="303">
                  <c:v>Ficello</c:v>
                </c:pt>
                <c:pt idx="304">
                  <c:v>All Others</c:v>
                </c:pt>
                <c:pt idx="305">
                  <c:v>Leerdammer</c:v>
                </c:pt>
                <c:pt idx="306">
                  <c:v>Private Lab</c:v>
                </c:pt>
                <c:pt idx="307">
                  <c:v>Private Lab</c:v>
                </c:pt>
                <c:pt idx="308">
                  <c:v>Soignon</c:v>
                </c:pt>
                <c:pt idx="309">
                  <c:v>Chavroux</c:v>
                </c:pt>
                <c:pt idx="310">
                  <c:v>Private Lab</c:v>
                </c:pt>
                <c:pt idx="311">
                  <c:v>Private Lab</c:v>
                </c:pt>
                <c:pt idx="312">
                  <c:v>Private Lab</c:v>
                </c:pt>
                <c:pt idx="313">
                  <c:v>Paysan Bret</c:v>
                </c:pt>
                <c:pt idx="314">
                  <c:v>President</c:v>
                </c:pt>
                <c:pt idx="315">
                  <c:v>Richesmonts</c:v>
                </c:pt>
                <c:pt idx="316">
                  <c:v>President</c:v>
                </c:pt>
                <c:pt idx="317">
                  <c:v>Lactalis: A</c:v>
                </c:pt>
                <c:pt idx="318">
                  <c:v>Boursin</c:v>
                </c:pt>
                <c:pt idx="319">
                  <c:v>Bresse Bleu</c:v>
                </c:pt>
                <c:pt idx="320">
                  <c:v>All Others</c:v>
                </c:pt>
                <c:pt idx="321">
                  <c:v>Le Brebiou</c:v>
                </c:pt>
                <c:pt idx="322">
                  <c:v>Private Lab</c:v>
                </c:pt>
                <c:pt idx="323">
                  <c:v>Private Lab</c:v>
                </c:pt>
                <c:pt idx="324">
                  <c:v>St Moret</c:v>
                </c:pt>
                <c:pt idx="325">
                  <c:v>Boursin</c:v>
                </c:pt>
                <c:pt idx="326">
                  <c:v>Galbani</c:v>
                </c:pt>
                <c:pt idx="327">
                  <c:v>Private Lab</c:v>
                </c:pt>
                <c:pt idx="328">
                  <c:v>Apericube</c:v>
                </c:pt>
                <c:pt idx="329">
                  <c:v>Savencia: A</c:v>
                </c:pt>
                <c:pt idx="330">
                  <c:v>Private Lab</c:v>
                </c:pt>
                <c:pt idx="331">
                  <c:v>Private Lab</c:v>
                </c:pt>
                <c:pt idx="332">
                  <c:v>Soignon</c:v>
                </c:pt>
                <c:pt idx="333">
                  <c:v>Boursin</c:v>
                </c:pt>
                <c:pt idx="334">
                  <c:v>Savencia: A</c:v>
                </c:pt>
                <c:pt idx="335">
                  <c:v>Private Lab</c:v>
                </c:pt>
                <c:pt idx="336">
                  <c:v>Salakis</c:v>
                </c:pt>
                <c:pt idx="337">
                  <c:v>Private Lab</c:v>
                </c:pt>
                <c:pt idx="338">
                  <c:v>Casa Azzurr</c:v>
                </c:pt>
                <c:pt idx="339">
                  <c:v>Pave D'Affi</c:v>
                </c:pt>
                <c:pt idx="340">
                  <c:v>Private Lab</c:v>
                </c:pt>
                <c:pt idx="341">
                  <c:v>Soignon</c:v>
                </c:pt>
                <c:pt idx="342">
                  <c:v>President</c:v>
                </c:pt>
                <c:pt idx="343">
                  <c:v>Entremont</c:v>
                </c:pt>
                <c:pt idx="344">
                  <c:v>Le Rustique</c:v>
                </c:pt>
                <c:pt idx="345">
                  <c:v>Aperivrais</c:v>
                </c:pt>
                <c:pt idx="346">
                  <c:v>Milleret: A</c:v>
                </c:pt>
                <c:pt idx="347">
                  <c:v>Boursin</c:v>
                </c:pt>
                <c:pt idx="348">
                  <c:v>Galbani</c:v>
                </c:pt>
                <c:pt idx="349">
                  <c:v>Aperivrais</c:v>
                </c:pt>
                <c:pt idx="350">
                  <c:v>Private Lab</c:v>
                </c:pt>
                <c:pt idx="351">
                  <c:v>Private Lab</c:v>
                </c:pt>
                <c:pt idx="352">
                  <c:v>Paysan Bret</c:v>
                </c:pt>
                <c:pt idx="353">
                  <c:v>All Others</c:v>
                </c:pt>
                <c:pt idx="354">
                  <c:v>Soignon</c:v>
                </c:pt>
                <c:pt idx="355">
                  <c:v>Private Lab</c:v>
                </c:pt>
                <c:pt idx="356">
                  <c:v>Private Lab</c:v>
                </c:pt>
                <c:pt idx="357">
                  <c:v>Paysan Bret</c:v>
                </c:pt>
                <c:pt idx="358">
                  <c:v>All Others</c:v>
                </c:pt>
                <c:pt idx="359">
                  <c:v>Casa Azzurr</c:v>
                </c:pt>
                <c:pt idx="360">
                  <c:v>Private Lab</c:v>
                </c:pt>
                <c:pt idx="361">
                  <c:v>Private Lab</c:v>
                </c:pt>
                <c:pt idx="362">
                  <c:v>Private Lab</c:v>
                </c:pt>
                <c:pt idx="363">
                  <c:v>President</c:v>
                </c:pt>
                <c:pt idx="364">
                  <c:v>All Others</c:v>
                </c:pt>
                <c:pt idx="365">
                  <c:v>Salakis</c:v>
                </c:pt>
                <c:pt idx="366">
                  <c:v>Private Lab</c:v>
                </c:pt>
                <c:pt idx="367">
                  <c:v>Casa Azzurr</c:v>
                </c:pt>
                <c:pt idx="368">
                  <c:v>Savencia: A</c:v>
                </c:pt>
                <c:pt idx="369">
                  <c:v>Private Lab</c:v>
                </c:pt>
                <c:pt idx="370">
                  <c:v>Paturages</c:v>
                </c:pt>
                <c:pt idx="371">
                  <c:v>Galbani</c:v>
                </c:pt>
                <c:pt idx="372">
                  <c:v>Fauquet</c:v>
                </c:pt>
                <c:pt idx="373">
                  <c:v>Private Lab</c:v>
                </c:pt>
                <c:pt idx="374">
                  <c:v>La Vache Qu</c:v>
                </c:pt>
                <c:pt idx="375">
                  <c:v>Societe</c:v>
                </c:pt>
                <c:pt idx="376">
                  <c:v>Entremont</c:v>
                </c:pt>
                <c:pt idx="377">
                  <c:v>Carre Frais</c:v>
                </c:pt>
                <c:pt idx="378">
                  <c:v>Private Lab</c:v>
                </c:pt>
                <c:pt idx="379">
                  <c:v>Galbani</c:v>
                </c:pt>
                <c:pt idx="380">
                  <c:v>Private Lab</c:v>
                </c:pt>
                <c:pt idx="381">
                  <c:v>Private Lab</c:v>
                </c:pt>
                <c:pt idx="382">
                  <c:v>Soignon</c:v>
                </c:pt>
                <c:pt idx="383">
                  <c:v>Paysan Bret</c:v>
                </c:pt>
                <c:pt idx="384">
                  <c:v>Private Lab</c:v>
                </c:pt>
                <c:pt idx="385">
                  <c:v>Private Lab</c:v>
                </c:pt>
                <c:pt idx="386">
                  <c:v>Lou Perac</c:v>
                </c:pt>
                <c:pt idx="387">
                  <c:v>Tartare</c:v>
                </c:pt>
                <c:pt idx="388">
                  <c:v>Richesmonts</c:v>
                </c:pt>
                <c:pt idx="389">
                  <c:v>Boursin</c:v>
                </c:pt>
                <c:pt idx="390">
                  <c:v>Private Lab</c:v>
                </c:pt>
                <c:pt idx="391">
                  <c:v>Societe</c:v>
                </c:pt>
                <c:pt idx="392">
                  <c:v>Casa Azzurr</c:v>
                </c:pt>
                <c:pt idx="393">
                  <c:v>L'Ortolan</c:v>
                </c:pt>
                <c:pt idx="394">
                  <c:v>Pave D'Affi</c:v>
                </c:pt>
                <c:pt idx="395">
                  <c:v>Chavroux</c:v>
                </c:pt>
                <c:pt idx="396">
                  <c:v>Galbani</c:v>
                </c:pt>
                <c:pt idx="397">
                  <c:v>Galbani</c:v>
                </c:pt>
                <c:pt idx="398">
                  <c:v>Lactalis: A</c:v>
                </c:pt>
                <c:pt idx="399">
                  <c:v>Private Lab</c:v>
                </c:pt>
                <c:pt idx="400">
                  <c:v>Galbani</c:v>
                </c:pt>
                <c:pt idx="401">
                  <c:v>Private Lab</c:v>
                </c:pt>
                <c:pt idx="402">
                  <c:v>Private Lab</c:v>
                </c:pt>
                <c:pt idx="403">
                  <c:v>Entremont</c:v>
                </c:pt>
                <c:pt idx="404">
                  <c:v>All Others</c:v>
                </c:pt>
                <c:pt idx="405">
                  <c:v>All Others</c:v>
                </c:pt>
                <c:pt idx="406">
                  <c:v>Private Lab</c:v>
                </c:pt>
                <c:pt idx="407">
                  <c:v>Private Lab</c:v>
                </c:pt>
                <c:pt idx="408">
                  <c:v>Eurial Autr</c:v>
                </c:pt>
                <c:pt idx="409">
                  <c:v>Private Lab</c:v>
                </c:pt>
                <c:pt idx="410">
                  <c:v>Caprice Des</c:v>
                </c:pt>
                <c:pt idx="411">
                  <c:v>All Others</c:v>
                </c:pt>
                <c:pt idx="412">
                  <c:v>Private Lab</c:v>
                </c:pt>
                <c:pt idx="413">
                  <c:v>Private Lab</c:v>
                </c:pt>
                <c:pt idx="414">
                  <c:v>Boursin</c:v>
                </c:pt>
                <c:pt idx="415">
                  <c:v>Private Lab</c:v>
                </c:pt>
                <c:pt idx="416">
                  <c:v>Private Lab</c:v>
                </c:pt>
                <c:pt idx="417">
                  <c:v>Private Lab</c:v>
                </c:pt>
                <c:pt idx="418">
                  <c:v>Private Lab</c:v>
                </c:pt>
                <c:pt idx="419">
                  <c:v>Private Lab</c:v>
                </c:pt>
                <c:pt idx="420">
                  <c:v>President</c:v>
                </c:pt>
                <c:pt idx="421">
                  <c:v>Boursin</c:v>
                </c:pt>
                <c:pt idx="422">
                  <c:v>Paysan Bret</c:v>
                </c:pt>
                <c:pt idx="423">
                  <c:v>Casa Azzurr</c:v>
                </c:pt>
                <c:pt idx="424">
                  <c:v>All Others</c:v>
                </c:pt>
                <c:pt idx="425">
                  <c:v>Boursin</c:v>
                </c:pt>
                <c:pt idx="426">
                  <c:v>Boursin</c:v>
                </c:pt>
                <c:pt idx="427">
                  <c:v>Societe</c:v>
                </c:pt>
                <c:pt idx="428">
                  <c:v>All Others</c:v>
                </c:pt>
                <c:pt idx="429">
                  <c:v>Private Lab</c:v>
                </c:pt>
                <c:pt idx="430">
                  <c:v>Casa Azzurr</c:v>
                </c:pt>
                <c:pt idx="431">
                  <c:v>Richesmonts</c:v>
                </c:pt>
                <c:pt idx="432">
                  <c:v>Mini Babybe</c:v>
                </c:pt>
                <c:pt idx="433">
                  <c:v>Private Lab</c:v>
                </c:pt>
                <c:pt idx="434">
                  <c:v>St Moret</c:v>
                </c:pt>
                <c:pt idx="435">
                  <c:v>President</c:v>
                </c:pt>
                <c:pt idx="436">
                  <c:v>Leerdammer</c:v>
                </c:pt>
                <c:pt idx="437">
                  <c:v>Private Lab</c:v>
                </c:pt>
                <c:pt idx="438">
                  <c:v>Private Lab</c:v>
                </c:pt>
                <c:pt idx="439">
                  <c:v>All Others</c:v>
                </c:pt>
                <c:pt idx="440">
                  <c:v>Tartare</c:v>
                </c:pt>
                <c:pt idx="441">
                  <c:v>Private Lab</c:v>
                </c:pt>
                <c:pt idx="442">
                  <c:v>Top Budget</c:v>
                </c:pt>
                <c:pt idx="443">
                  <c:v>Savencia: A</c:v>
                </c:pt>
                <c:pt idx="444">
                  <c:v>Richesmonts</c:v>
                </c:pt>
                <c:pt idx="445">
                  <c:v>St Moret</c:v>
                </c:pt>
                <c:pt idx="446">
                  <c:v>La Belle Et</c:v>
                </c:pt>
                <c:pt idx="447">
                  <c:v>Mini Babybe</c:v>
                </c:pt>
                <c:pt idx="448">
                  <c:v>Salakis</c:v>
                </c:pt>
                <c:pt idx="449">
                  <c:v>Juraflore</c:v>
                </c:pt>
                <c:pt idx="450">
                  <c:v>Private Lab</c:v>
                </c:pt>
                <c:pt idx="451">
                  <c:v>Eurial Autr</c:v>
                </c:pt>
                <c:pt idx="452">
                  <c:v>Etorki</c:v>
                </c:pt>
                <c:pt idx="453">
                  <c:v>Private Lab</c:v>
                </c:pt>
                <c:pt idx="454">
                  <c:v>Lactalis: A</c:v>
                </c:pt>
                <c:pt idx="455">
                  <c:v>Galbani</c:v>
                </c:pt>
                <c:pt idx="456">
                  <c:v>President</c:v>
                </c:pt>
                <c:pt idx="457">
                  <c:v>Private Lab</c:v>
                </c:pt>
                <c:pt idx="458">
                  <c:v>Lou Perac</c:v>
                </c:pt>
                <c:pt idx="459">
                  <c:v>Savencia: A</c:v>
                </c:pt>
                <c:pt idx="460">
                  <c:v>Private Lab</c:v>
                </c:pt>
                <c:pt idx="461">
                  <c:v>Saint Agur</c:v>
                </c:pt>
                <c:pt idx="462">
                  <c:v>Paysan Bret</c:v>
                </c:pt>
                <c:pt idx="463">
                  <c:v>Private Lab</c:v>
                </c:pt>
                <c:pt idx="464">
                  <c:v>Salakis</c:v>
                </c:pt>
                <c:pt idx="465">
                  <c:v>Lou Perac</c:v>
                </c:pt>
                <c:pt idx="466">
                  <c:v>Private Lab</c:v>
                </c:pt>
                <c:pt idx="467">
                  <c:v>Pave D'Affi</c:v>
                </c:pt>
                <c:pt idx="468">
                  <c:v>Entremont</c:v>
                </c:pt>
                <c:pt idx="469">
                  <c:v>Kiri</c:v>
                </c:pt>
                <c:pt idx="470">
                  <c:v>Caprice Des</c:v>
                </c:pt>
                <c:pt idx="471">
                  <c:v>Private Lab</c:v>
                </c:pt>
                <c:pt idx="472">
                  <c:v>Casa Azzurr</c:v>
                </c:pt>
                <c:pt idx="473">
                  <c:v>Caprice Des</c:v>
                </c:pt>
                <c:pt idx="474">
                  <c:v>Aperivrais</c:v>
                </c:pt>
                <c:pt idx="475">
                  <c:v>President</c:v>
                </c:pt>
                <c:pt idx="476">
                  <c:v>Apericube</c:v>
                </c:pt>
                <c:pt idx="477">
                  <c:v>Vieux Pane</c:v>
                </c:pt>
                <c:pt idx="478">
                  <c:v>All Others</c:v>
                </c:pt>
                <c:pt idx="479">
                  <c:v>Boursin</c:v>
                </c:pt>
                <c:pt idx="480">
                  <c:v>Vieux Pane</c:v>
                </c:pt>
                <c:pt idx="481">
                  <c:v>Aperivrais</c:v>
                </c:pt>
                <c:pt idx="482">
                  <c:v>Private Lab</c:v>
                </c:pt>
                <c:pt idx="483">
                  <c:v>La Vache Qu</c:v>
                </c:pt>
                <c:pt idx="484">
                  <c:v>Tartare</c:v>
                </c:pt>
                <c:pt idx="485">
                  <c:v>St Moret</c:v>
                </c:pt>
                <c:pt idx="486">
                  <c:v>Paysan Bret</c:v>
                </c:pt>
                <c:pt idx="487">
                  <c:v>Etoile Du V</c:v>
                </c:pt>
                <c:pt idx="488">
                  <c:v>All Others</c:v>
                </c:pt>
                <c:pt idx="489">
                  <c:v>Tartare</c:v>
                </c:pt>
                <c:pt idx="490">
                  <c:v>Le Rustique</c:v>
                </c:pt>
                <c:pt idx="491">
                  <c:v>Private Lab</c:v>
                </c:pt>
                <c:pt idx="492">
                  <c:v>Soignon</c:v>
                </c:pt>
                <c:pt idx="493">
                  <c:v>St Moret</c:v>
                </c:pt>
                <c:pt idx="494">
                  <c:v>Istara</c:v>
                </c:pt>
                <c:pt idx="495">
                  <c:v>Private Lab</c:v>
                </c:pt>
                <c:pt idx="496">
                  <c:v>Private Lab</c:v>
                </c:pt>
                <c:pt idx="497">
                  <c:v>Juraflore</c:v>
                </c:pt>
                <c:pt idx="498">
                  <c:v>Pochat</c:v>
                </c:pt>
                <c:pt idx="499">
                  <c:v>Tartare</c:v>
                </c:pt>
                <c:pt idx="500">
                  <c:v>Entremont</c:v>
                </c:pt>
                <c:pt idx="501">
                  <c:v>All Others</c:v>
                </c:pt>
                <c:pt idx="502">
                  <c:v>La Belle Et</c:v>
                </c:pt>
                <c:pt idx="503">
                  <c:v>Private Lab</c:v>
                </c:pt>
                <c:pt idx="504">
                  <c:v>Private Lab</c:v>
                </c:pt>
                <c:pt idx="505">
                  <c:v>Kiri</c:v>
                </c:pt>
                <c:pt idx="506">
                  <c:v>Private Lab</c:v>
                </c:pt>
                <c:pt idx="507">
                  <c:v>L'Ortolan</c:v>
                </c:pt>
                <c:pt idx="508">
                  <c:v>All Others</c:v>
                </c:pt>
                <c:pt idx="509">
                  <c:v>All Others</c:v>
                </c:pt>
                <c:pt idx="510">
                  <c:v>Soignon</c:v>
                </c:pt>
                <c:pt idx="511">
                  <c:v>Bresse Bleu</c:v>
                </c:pt>
                <c:pt idx="512">
                  <c:v>Entremont</c:v>
                </c:pt>
                <c:pt idx="513">
                  <c:v>Casa Azzurr</c:v>
                </c:pt>
                <c:pt idx="514">
                  <c:v>L'Ortolan</c:v>
                </c:pt>
                <c:pt idx="515">
                  <c:v>Le Coq Crem</c:v>
                </c:pt>
                <c:pt idx="516">
                  <c:v>Soignon</c:v>
                </c:pt>
                <c:pt idx="517">
                  <c:v>All Others</c:v>
                </c:pt>
                <c:pt idx="518">
                  <c:v>Kiri</c:v>
                </c:pt>
                <c:pt idx="519">
                  <c:v>All Others</c:v>
                </c:pt>
                <c:pt idx="520">
                  <c:v>Savencia: A</c:v>
                </c:pt>
                <c:pt idx="521">
                  <c:v>Galbani</c:v>
                </c:pt>
                <c:pt idx="522">
                  <c:v>St Moret</c:v>
                </c:pt>
                <c:pt idx="523">
                  <c:v>Private Lab</c:v>
                </c:pt>
                <c:pt idx="524">
                  <c:v>Entremont</c:v>
                </c:pt>
                <c:pt idx="525">
                  <c:v>Private Lab</c:v>
                </c:pt>
                <c:pt idx="526">
                  <c:v>Paturages</c:v>
                </c:pt>
                <c:pt idx="527">
                  <c:v>President</c:v>
                </c:pt>
                <c:pt idx="528">
                  <c:v>Soignon</c:v>
                </c:pt>
                <c:pt idx="529">
                  <c:v>All Others</c:v>
                </c:pt>
                <c:pt idx="530">
                  <c:v>Galbani</c:v>
                </c:pt>
                <c:pt idx="531">
                  <c:v>Apericube</c:v>
                </c:pt>
                <c:pt idx="532">
                  <c:v>All Others</c:v>
                </c:pt>
                <c:pt idx="533">
                  <c:v>Casa Azzurr</c:v>
                </c:pt>
                <c:pt idx="534">
                  <c:v>Paysan Bret</c:v>
                </c:pt>
                <c:pt idx="535">
                  <c:v>Mini Babybe</c:v>
                </c:pt>
                <c:pt idx="536">
                  <c:v>Coeur De Li</c:v>
                </c:pt>
                <c:pt idx="537">
                  <c:v>All Others</c:v>
                </c:pt>
                <c:pt idx="538">
                  <c:v>Soignon</c:v>
                </c:pt>
                <c:pt idx="539">
                  <c:v>All Others</c:v>
                </c:pt>
                <c:pt idx="540">
                  <c:v>Pochat</c:v>
                </c:pt>
                <c:pt idx="541">
                  <c:v>Lactalis: A</c:v>
                </c:pt>
                <c:pt idx="542">
                  <c:v>Private Lab</c:v>
                </c:pt>
                <c:pt idx="543">
                  <c:v>All Others</c:v>
                </c:pt>
                <c:pt idx="544">
                  <c:v>All Others</c:v>
                </c:pt>
                <c:pt idx="545">
                  <c:v>Private Lab</c:v>
                </c:pt>
                <c:pt idx="546">
                  <c:v>All Others</c:v>
                </c:pt>
                <c:pt idx="547">
                  <c:v>All Others</c:v>
                </c:pt>
                <c:pt idx="548">
                  <c:v>Leerdammer</c:v>
                </c:pt>
                <c:pt idx="549">
                  <c:v>Casa Azzurr</c:v>
                </c:pt>
                <c:pt idx="550">
                  <c:v>Private Lab</c:v>
                </c:pt>
                <c:pt idx="551">
                  <c:v>Islos</c:v>
                </c:pt>
                <c:pt idx="552">
                  <c:v>Corsica</c:v>
                </c:pt>
                <c:pt idx="553">
                  <c:v>Eurial Autr</c:v>
                </c:pt>
                <c:pt idx="554">
                  <c:v>All Others</c:v>
                </c:pt>
                <c:pt idx="555">
                  <c:v>Entremont</c:v>
                </c:pt>
                <c:pt idx="556">
                  <c:v>Fol Epi</c:v>
                </c:pt>
                <c:pt idx="557">
                  <c:v>Private Lab</c:v>
                </c:pt>
                <c:pt idx="558">
                  <c:v>Paturages</c:v>
                </c:pt>
                <c:pt idx="559">
                  <c:v>Le Saint Am</c:v>
                </c:pt>
                <c:pt idx="560">
                  <c:v>Soignon</c:v>
                </c:pt>
                <c:pt idx="561">
                  <c:v>Richesmonts</c:v>
                </c:pt>
                <c:pt idx="562">
                  <c:v>Top Budget</c:v>
                </c:pt>
                <c:pt idx="563">
                  <c:v>Raguin</c:v>
                </c:pt>
                <c:pt idx="564">
                  <c:v>Boursin</c:v>
                </c:pt>
                <c:pt idx="565">
                  <c:v>Paysan Bret</c:v>
                </c:pt>
                <c:pt idx="566">
                  <c:v>Mini Babybe</c:v>
                </c:pt>
                <c:pt idx="567">
                  <c:v>Casa Azzurr</c:v>
                </c:pt>
                <c:pt idx="568">
                  <c:v>Entremont</c:v>
                </c:pt>
                <c:pt idx="569">
                  <c:v>All Others</c:v>
                </c:pt>
                <c:pt idx="570">
                  <c:v>Societe</c:v>
                </c:pt>
                <c:pt idx="571">
                  <c:v>Kiri</c:v>
                </c:pt>
                <c:pt idx="572">
                  <c:v>Lactalis: A</c:v>
                </c:pt>
                <c:pt idx="573">
                  <c:v>All Others</c:v>
                </c:pt>
                <c:pt idx="574">
                  <c:v>All Others</c:v>
                </c:pt>
                <c:pt idx="575">
                  <c:v>Ranou</c:v>
                </c:pt>
                <c:pt idx="576">
                  <c:v>Kiri</c:v>
                </c:pt>
                <c:pt idx="577">
                  <c:v>Milleret: A</c:v>
                </c:pt>
                <c:pt idx="578">
                  <c:v>Paysan Bret</c:v>
                </c:pt>
                <c:pt idx="579">
                  <c:v>All Others</c:v>
                </c:pt>
                <c:pt idx="580">
                  <c:v>Savencia: A</c:v>
                </c:pt>
                <c:pt idx="581">
                  <c:v>All Others</c:v>
                </c:pt>
                <c:pt idx="582">
                  <c:v>Raguin</c:v>
                </c:pt>
                <c:pt idx="583">
                  <c:v>All Others</c:v>
                </c:pt>
                <c:pt idx="584">
                  <c:v>All Others</c:v>
                </c:pt>
                <c:pt idx="585">
                  <c:v>Milleret: A</c:v>
                </c:pt>
                <c:pt idx="586">
                  <c:v>La Belle Et</c:v>
                </c:pt>
                <c:pt idx="587">
                  <c:v>All Others</c:v>
                </c:pt>
                <c:pt idx="588">
                  <c:v>La Belle Et</c:v>
                </c:pt>
                <c:pt idx="589">
                  <c:v>All Others</c:v>
                </c:pt>
                <c:pt idx="590">
                  <c:v>Soignon</c:v>
                </c:pt>
                <c:pt idx="591">
                  <c:v>Private Lab</c:v>
                </c:pt>
                <c:pt idx="592">
                  <c:v>Private Lab</c:v>
                </c:pt>
                <c:pt idx="593">
                  <c:v>Entremont</c:v>
                </c:pt>
                <c:pt idx="594">
                  <c:v>P'Tit Louis</c:v>
                </c:pt>
                <c:pt idx="595">
                  <c:v>Etoile Du Q</c:v>
                </c:pt>
                <c:pt idx="596">
                  <c:v>Galbani</c:v>
                </c:pt>
                <c:pt idx="597">
                  <c:v>Private Lab</c:v>
                </c:pt>
                <c:pt idx="598">
                  <c:v>Violife</c:v>
                </c:pt>
                <c:pt idx="599">
                  <c:v>Private Lab</c:v>
                </c:pt>
                <c:pt idx="600">
                  <c:v>Etoile Du V</c:v>
                </c:pt>
                <c:pt idx="601">
                  <c:v>Bresse Bleu</c:v>
                </c:pt>
                <c:pt idx="602">
                  <c:v>La Belle Et</c:v>
                </c:pt>
                <c:pt idx="603">
                  <c:v>Saint Albra</c:v>
                </c:pt>
                <c:pt idx="604">
                  <c:v>Salakis</c:v>
                </c:pt>
                <c:pt idx="605">
                  <c:v>Mini Babybe</c:v>
                </c:pt>
                <c:pt idx="606">
                  <c:v>All Others</c:v>
                </c:pt>
                <c:pt idx="607">
                  <c:v>Savencia: A</c:v>
                </c:pt>
                <c:pt idx="608">
                  <c:v>All Others</c:v>
                </c:pt>
                <c:pt idx="609">
                  <c:v>All Others</c:v>
                </c:pt>
                <c:pt idx="610">
                  <c:v>Private Lab</c:v>
                </c:pt>
                <c:pt idx="611">
                  <c:v>Lactalis: A</c:v>
                </c:pt>
                <c:pt idx="612">
                  <c:v>Triballat N</c:v>
                </c:pt>
                <c:pt idx="613">
                  <c:v>Le Brebiou</c:v>
                </c:pt>
                <c:pt idx="614">
                  <c:v>Galbani</c:v>
                </c:pt>
                <c:pt idx="615">
                  <c:v>Etoile Du V</c:v>
                </c:pt>
                <c:pt idx="616">
                  <c:v>Caprice Des</c:v>
                </c:pt>
                <c:pt idx="617">
                  <c:v>All Others</c:v>
                </c:pt>
                <c:pt idx="618">
                  <c:v>Raguin</c:v>
                </c:pt>
                <c:pt idx="619">
                  <c:v>Raguin</c:v>
                </c:pt>
                <c:pt idx="620">
                  <c:v>All Others</c:v>
                </c:pt>
                <c:pt idx="621">
                  <c:v>Boursin</c:v>
                </c:pt>
                <c:pt idx="622">
                  <c:v>All Others</c:v>
                </c:pt>
                <c:pt idx="623">
                  <c:v>All Others</c:v>
                </c:pt>
                <c:pt idx="624">
                  <c:v>All Others</c:v>
                </c:pt>
                <c:pt idx="625">
                  <c:v>Saint Agur</c:v>
                </c:pt>
                <c:pt idx="626">
                  <c:v>Lactalis: A</c:v>
                </c:pt>
                <c:pt idx="627">
                  <c:v>L'Ortolan</c:v>
                </c:pt>
                <c:pt idx="628">
                  <c:v>Paysan Bret</c:v>
                </c:pt>
                <c:pt idx="629">
                  <c:v>All Others</c:v>
                </c:pt>
                <c:pt idx="630">
                  <c:v>Etorki</c:v>
                </c:pt>
                <c:pt idx="631">
                  <c:v>All Others</c:v>
                </c:pt>
                <c:pt idx="632">
                  <c:v>Galbani</c:v>
                </c:pt>
                <c:pt idx="633">
                  <c:v>Saint Agur</c:v>
                </c:pt>
                <c:pt idx="634">
                  <c:v>Paysan Bret</c:v>
                </c:pt>
                <c:pt idx="635">
                  <c:v>Paysan Bret</c:v>
                </c:pt>
                <c:pt idx="636">
                  <c:v>Pochat</c:v>
                </c:pt>
                <c:pt idx="637">
                  <c:v>President</c:v>
                </c:pt>
                <c:pt idx="638">
                  <c:v>Entremont</c:v>
                </c:pt>
                <c:pt idx="639">
                  <c:v>Entremont</c:v>
                </c:pt>
                <c:pt idx="640">
                  <c:v>All Others</c:v>
                </c:pt>
                <c:pt idx="641">
                  <c:v>Eurial Autr</c:v>
                </c:pt>
                <c:pt idx="642">
                  <c:v>All Others</c:v>
                </c:pt>
                <c:pt idx="643">
                  <c:v>Lactalis: A</c:v>
                </c:pt>
                <c:pt idx="644">
                  <c:v>Islos</c:v>
                </c:pt>
                <c:pt idx="645">
                  <c:v>Milleret: A</c:v>
                </c:pt>
                <c:pt idx="646">
                  <c:v>All Others</c:v>
                </c:pt>
                <c:pt idx="647">
                  <c:v>Lactalis: A</c:v>
                </c:pt>
                <c:pt idx="648">
                  <c:v>Savencia: A</c:v>
                </c:pt>
                <c:pt idx="649">
                  <c:v>Milleret: A</c:v>
                </c:pt>
                <c:pt idx="650">
                  <c:v>All Others</c:v>
                </c:pt>
                <c:pt idx="651">
                  <c:v>Savencia: A</c:v>
                </c:pt>
                <c:pt idx="652">
                  <c:v>All Others</c:v>
                </c:pt>
                <c:pt idx="653">
                  <c:v>Salakis</c:v>
                </c:pt>
                <c:pt idx="654">
                  <c:v>All Others</c:v>
                </c:pt>
                <c:pt idx="655">
                  <c:v>All Others</c:v>
                </c:pt>
                <c:pt idx="656">
                  <c:v>Milleret: A</c:v>
                </c:pt>
                <c:pt idx="657">
                  <c:v>Private Lab</c:v>
                </c:pt>
                <c:pt idx="658">
                  <c:v>Savencia: A</c:v>
                </c:pt>
                <c:pt idx="659">
                  <c:v>Carre Frais</c:v>
                </c:pt>
                <c:pt idx="660">
                  <c:v>All Others</c:v>
                </c:pt>
                <c:pt idx="661">
                  <c:v>Apericube</c:v>
                </c:pt>
                <c:pt idx="662">
                  <c:v>All Others</c:v>
                </c:pt>
                <c:pt idx="663">
                  <c:v>All Others</c:v>
                </c:pt>
                <c:pt idx="664">
                  <c:v>Milleret: A</c:v>
                </c:pt>
                <c:pt idx="665">
                  <c:v>Istara</c:v>
                </c:pt>
                <c:pt idx="666">
                  <c:v>Entremont</c:v>
                </c:pt>
                <c:pt idx="667">
                  <c:v>Entremont</c:v>
                </c:pt>
                <c:pt idx="668">
                  <c:v>All Others</c:v>
                </c:pt>
                <c:pt idx="669">
                  <c:v>All Others</c:v>
                </c:pt>
                <c:pt idx="670">
                  <c:v>Pochat</c:v>
                </c:pt>
                <c:pt idx="671">
                  <c:v>All Others</c:v>
                </c:pt>
                <c:pt idx="672">
                  <c:v>Galbani</c:v>
                </c:pt>
                <c:pt idx="673">
                  <c:v>All Others</c:v>
                </c:pt>
                <c:pt idx="674">
                  <c:v>Paysan Bret</c:v>
                </c:pt>
                <c:pt idx="675">
                  <c:v>All Others</c:v>
                </c:pt>
                <c:pt idx="676">
                  <c:v>All Others</c:v>
                </c:pt>
                <c:pt idx="677">
                  <c:v>Nurishh</c:v>
                </c:pt>
                <c:pt idx="678">
                  <c:v>Lactalis: A</c:v>
                </c:pt>
                <c:pt idx="679">
                  <c:v>All Others</c:v>
                </c:pt>
                <c:pt idx="680">
                  <c:v>All Others</c:v>
                </c:pt>
                <c:pt idx="681">
                  <c:v>Private Lab</c:v>
                </c:pt>
                <c:pt idx="682">
                  <c:v>All Others</c:v>
                </c:pt>
                <c:pt idx="683">
                  <c:v>Entremont</c:v>
                </c:pt>
                <c:pt idx="684">
                  <c:v>Entremont</c:v>
                </c:pt>
                <c:pt idx="685">
                  <c:v>La Belle Et</c:v>
                </c:pt>
                <c:pt idx="686">
                  <c:v>Entremont</c:v>
                </c:pt>
                <c:pt idx="687">
                  <c:v>All Others</c:v>
                </c:pt>
                <c:pt idx="688">
                  <c:v>Richesmonts</c:v>
                </c:pt>
                <c:pt idx="689">
                  <c:v>Triballat N</c:v>
                </c:pt>
                <c:pt idx="690">
                  <c:v>Savencia: A</c:v>
                </c:pt>
                <c:pt idx="691">
                  <c:v>All Others</c:v>
                </c:pt>
                <c:pt idx="692">
                  <c:v>Etoile Du V</c:v>
                </c:pt>
                <c:pt idx="693">
                  <c:v>All Others</c:v>
                </c:pt>
                <c:pt idx="694">
                  <c:v>All Others</c:v>
                </c:pt>
                <c:pt idx="695">
                  <c:v>All Others</c:v>
                </c:pt>
                <c:pt idx="696">
                  <c:v>Casa Azzurr</c:v>
                </c:pt>
                <c:pt idx="697">
                  <c:v>Chavroux</c:v>
                </c:pt>
                <c:pt idx="698">
                  <c:v>Triballat N</c:v>
                </c:pt>
                <c:pt idx="699">
                  <c:v>Casa Azzurr</c:v>
                </c:pt>
                <c:pt idx="700">
                  <c:v>All Others</c:v>
                </c:pt>
                <c:pt idx="701">
                  <c:v>All Others</c:v>
                </c:pt>
                <c:pt idx="702">
                  <c:v>All Others</c:v>
                </c:pt>
                <c:pt idx="703">
                  <c:v>All Others</c:v>
                </c:pt>
                <c:pt idx="704">
                  <c:v>Fol Epi</c:v>
                </c:pt>
                <c:pt idx="705">
                  <c:v>All Others</c:v>
                </c:pt>
                <c:pt idx="706">
                  <c:v>Boursin</c:v>
                </c:pt>
                <c:pt idx="707">
                  <c:v>Apericube</c:v>
                </c:pt>
                <c:pt idx="708">
                  <c:v>All Others</c:v>
                </c:pt>
                <c:pt idx="709">
                  <c:v>All Others</c:v>
                </c:pt>
                <c:pt idx="710">
                  <c:v>Savencia: A</c:v>
                </c:pt>
                <c:pt idx="711">
                  <c:v>President</c:v>
                </c:pt>
                <c:pt idx="712">
                  <c:v>Lactalis: A</c:v>
                </c:pt>
                <c:pt idx="713">
                  <c:v>All Others</c:v>
                </c:pt>
                <c:pt idx="714">
                  <c:v>Casa Azzurr</c:v>
                </c:pt>
                <c:pt idx="715">
                  <c:v>Private Lab</c:v>
                </c:pt>
                <c:pt idx="716">
                  <c:v>All Others</c:v>
                </c:pt>
                <c:pt idx="717">
                  <c:v>All Others</c:v>
                </c:pt>
                <c:pt idx="718">
                  <c:v>All Others</c:v>
                </c:pt>
                <c:pt idx="719">
                  <c:v>All Others</c:v>
                </c:pt>
                <c:pt idx="720">
                  <c:v>Violife</c:v>
                </c:pt>
                <c:pt idx="721">
                  <c:v>Lactalis: A</c:v>
                </c:pt>
                <c:pt idx="722">
                  <c:v>Casa Azzurr</c:v>
                </c:pt>
                <c:pt idx="723">
                  <c:v>Richesmonts</c:v>
                </c:pt>
                <c:pt idx="724">
                  <c:v>All Others</c:v>
                </c:pt>
                <c:pt idx="725">
                  <c:v>All Others</c:v>
                </c:pt>
                <c:pt idx="726">
                  <c:v>All Others</c:v>
                </c:pt>
                <c:pt idx="727">
                  <c:v>Nurishh</c:v>
                </c:pt>
                <c:pt idx="728">
                  <c:v>President</c:v>
                </c:pt>
                <c:pt idx="729">
                  <c:v>Aperivrais</c:v>
                </c:pt>
                <c:pt idx="730">
                  <c:v>Entremont</c:v>
                </c:pt>
                <c:pt idx="731">
                  <c:v>All Others</c:v>
                </c:pt>
                <c:pt idx="732">
                  <c:v>All Others</c:v>
                </c:pt>
                <c:pt idx="733">
                  <c:v>All Others</c:v>
                </c:pt>
                <c:pt idx="734">
                  <c:v>All Others</c:v>
                </c:pt>
                <c:pt idx="735">
                  <c:v>Fauquet</c:v>
                </c:pt>
                <c:pt idx="736">
                  <c:v>All Others</c:v>
                </c:pt>
                <c:pt idx="737">
                  <c:v>All Others</c:v>
                </c:pt>
                <c:pt idx="738">
                  <c:v>Boursin</c:v>
                </c:pt>
                <c:pt idx="739">
                  <c:v>Tartare</c:v>
                </c:pt>
                <c:pt idx="740">
                  <c:v>Etoile Du V</c:v>
                </c:pt>
                <c:pt idx="741">
                  <c:v>All Others</c:v>
                </c:pt>
                <c:pt idx="742">
                  <c:v>Etoile Du V</c:v>
                </c:pt>
                <c:pt idx="743">
                  <c:v>All Others</c:v>
                </c:pt>
                <c:pt idx="744">
                  <c:v>All Others</c:v>
                </c:pt>
                <c:pt idx="745">
                  <c:v>L'Ortolan</c:v>
                </c:pt>
                <c:pt idx="746">
                  <c:v>All Others</c:v>
                </c:pt>
                <c:pt idx="747">
                  <c:v>All Others</c:v>
                </c:pt>
                <c:pt idx="748">
                  <c:v>All Others</c:v>
                </c:pt>
                <c:pt idx="749">
                  <c:v>All Others</c:v>
                </c:pt>
                <c:pt idx="750">
                  <c:v>Pave D'Affi</c:v>
                </c:pt>
                <c:pt idx="751">
                  <c:v>All Others</c:v>
                </c:pt>
                <c:pt idx="752">
                  <c:v>All Others</c:v>
                </c:pt>
                <c:pt idx="753">
                  <c:v>All Others</c:v>
                </c:pt>
                <c:pt idx="754">
                  <c:v>Private Lab</c:v>
                </c:pt>
                <c:pt idx="755">
                  <c:v>All Others</c:v>
                </c:pt>
                <c:pt idx="756">
                  <c:v>La Belle Et</c:v>
                </c:pt>
                <c:pt idx="757">
                  <c:v>Entremont</c:v>
                </c:pt>
                <c:pt idx="758">
                  <c:v>All Others</c:v>
                </c:pt>
                <c:pt idx="759">
                  <c:v>Triballat N</c:v>
                </c:pt>
                <c:pt idx="760">
                  <c:v>All Others</c:v>
                </c:pt>
                <c:pt idx="761">
                  <c:v>Tartare</c:v>
                </c:pt>
                <c:pt idx="762">
                  <c:v>President</c:v>
                </c:pt>
                <c:pt idx="763">
                  <c:v>All Others</c:v>
                </c:pt>
                <c:pt idx="764">
                  <c:v>All Others</c:v>
                </c:pt>
                <c:pt idx="765">
                  <c:v>Pochat</c:v>
                </c:pt>
                <c:pt idx="766">
                  <c:v>Entremont</c:v>
                </c:pt>
                <c:pt idx="767">
                  <c:v>Boursin</c:v>
                </c:pt>
                <c:pt idx="768">
                  <c:v>All Others</c:v>
                </c:pt>
                <c:pt idx="769">
                  <c:v>All Others</c:v>
                </c:pt>
                <c:pt idx="770">
                  <c:v>Violife</c:v>
                </c:pt>
                <c:pt idx="771">
                  <c:v>All Others</c:v>
                </c:pt>
                <c:pt idx="772">
                  <c:v>Ids</c:v>
                </c:pt>
                <c:pt idx="773">
                  <c:v>Lactalis: A</c:v>
                </c:pt>
                <c:pt idx="774">
                  <c:v>All Others</c:v>
                </c:pt>
                <c:pt idx="775">
                  <c:v>Mini Babybe</c:v>
                </c:pt>
                <c:pt idx="776">
                  <c:v>All Others</c:v>
                </c:pt>
                <c:pt idx="777">
                  <c:v>All Others</c:v>
                </c:pt>
                <c:pt idx="778">
                  <c:v>All Others</c:v>
                </c:pt>
                <c:pt idx="779">
                  <c:v>All Others</c:v>
                </c:pt>
                <c:pt idx="780">
                  <c:v>All Others</c:v>
                </c:pt>
                <c:pt idx="781">
                  <c:v>Paturages</c:v>
                </c:pt>
                <c:pt idx="782">
                  <c:v>All Others</c:v>
                </c:pt>
                <c:pt idx="783">
                  <c:v>All Others</c:v>
                </c:pt>
                <c:pt idx="784">
                  <c:v>Coeur Lion</c:v>
                </c:pt>
                <c:pt idx="785">
                  <c:v>All Others</c:v>
                </c:pt>
                <c:pt idx="786">
                  <c:v>All Others</c:v>
                </c:pt>
                <c:pt idx="787">
                  <c:v>All Others</c:v>
                </c:pt>
                <c:pt idx="788">
                  <c:v>Milleret: A</c:v>
                </c:pt>
                <c:pt idx="789">
                  <c:v>Lactalis: A</c:v>
                </c:pt>
                <c:pt idx="790">
                  <c:v>All Others</c:v>
                </c:pt>
                <c:pt idx="791">
                  <c:v>All Others</c:v>
                </c:pt>
                <c:pt idx="792">
                  <c:v>Casa Azzur</c:v>
                </c:pt>
                <c:pt idx="793">
                  <c:v>All Others</c:v>
                </c:pt>
                <c:pt idx="794">
                  <c:v>All Others</c:v>
                </c:pt>
                <c:pt idx="795">
                  <c:v>All Others</c:v>
                </c:pt>
                <c:pt idx="796">
                  <c:v>All Others</c:v>
                </c:pt>
                <c:pt idx="797">
                  <c:v>All Others</c:v>
                </c:pt>
                <c:pt idx="798">
                  <c:v>Savencia: A</c:v>
                </c:pt>
                <c:pt idx="799">
                  <c:v>All Others</c:v>
                </c:pt>
                <c:pt idx="800">
                  <c:v>All Others</c:v>
                </c:pt>
                <c:pt idx="801">
                  <c:v>Etoile Du V</c:v>
                </c:pt>
                <c:pt idx="802">
                  <c:v>All Others</c:v>
                </c:pt>
                <c:pt idx="803">
                  <c:v>Aperivrais</c:v>
                </c:pt>
                <c:pt idx="804">
                  <c:v>All Others</c:v>
                </c:pt>
                <c:pt idx="805">
                  <c:v>All Others</c:v>
                </c:pt>
                <c:pt idx="806">
                  <c:v>All Others</c:v>
                </c:pt>
                <c:pt idx="807">
                  <c:v>All Others</c:v>
                </c:pt>
                <c:pt idx="808">
                  <c:v>Chavroux</c:v>
                </c:pt>
                <c:pt idx="809">
                  <c:v>Entremont</c:v>
                </c:pt>
                <c:pt idx="810">
                  <c:v>Apericube</c:v>
                </c:pt>
                <c:pt idx="811">
                  <c:v>Paysan Bret</c:v>
                </c:pt>
                <c:pt idx="812">
                  <c:v>All Others</c:v>
                </c:pt>
                <c:pt idx="813">
                  <c:v>All Others</c:v>
                </c:pt>
                <c:pt idx="814">
                  <c:v>All Others</c:v>
                </c:pt>
                <c:pt idx="815">
                  <c:v>All Others</c:v>
                </c:pt>
                <c:pt idx="816">
                  <c:v>Soignon</c:v>
                </c:pt>
                <c:pt idx="817">
                  <c:v>All Others</c:v>
                </c:pt>
                <c:pt idx="818">
                  <c:v>Boursin</c:v>
                </c:pt>
                <c:pt idx="819">
                  <c:v>All Others</c:v>
                </c:pt>
                <c:pt idx="820">
                  <c:v>All Others</c:v>
                </c:pt>
                <c:pt idx="821">
                  <c:v>La Belle Et</c:v>
                </c:pt>
                <c:pt idx="822">
                  <c:v>All Others</c:v>
                </c:pt>
                <c:pt idx="823">
                  <c:v>Nurishh</c:v>
                </c:pt>
                <c:pt idx="824">
                  <c:v>All Others</c:v>
                </c:pt>
                <c:pt idx="825">
                  <c:v>Nurishh</c:v>
                </c:pt>
                <c:pt idx="826">
                  <c:v>Apericube</c:v>
                </c:pt>
                <c:pt idx="827">
                  <c:v>All Others</c:v>
                </c:pt>
                <c:pt idx="828">
                  <c:v>Nurishh</c:v>
                </c:pt>
                <c:pt idx="829">
                  <c:v>All Others</c:v>
                </c:pt>
                <c:pt idx="830">
                  <c:v>All Others</c:v>
                </c:pt>
                <c:pt idx="831">
                  <c:v>Chaussee Au</c:v>
                </c:pt>
                <c:pt idx="832">
                  <c:v>All Others</c:v>
                </c:pt>
                <c:pt idx="833">
                  <c:v>Nurishh</c:v>
                </c:pt>
                <c:pt idx="834">
                  <c:v>All Others</c:v>
                </c:pt>
                <c:pt idx="835">
                  <c:v>All Others</c:v>
                </c:pt>
                <c:pt idx="836">
                  <c:v>Aperivrais</c:v>
                </c:pt>
                <c:pt idx="837">
                  <c:v>Milleret: A</c:v>
                </c:pt>
                <c:pt idx="838">
                  <c:v>La Belle Et</c:v>
                </c:pt>
                <c:pt idx="839">
                  <c:v>All Others</c:v>
                </c:pt>
                <c:pt idx="840">
                  <c:v>Entremont</c:v>
                </c:pt>
                <c:pt idx="841">
                  <c:v>La Belle Et</c:v>
                </c:pt>
                <c:pt idx="842">
                  <c:v>All Others</c:v>
                </c:pt>
                <c:pt idx="843">
                  <c:v>La Belle Et</c:v>
                </c:pt>
                <c:pt idx="844">
                  <c:v>All Others</c:v>
                </c:pt>
                <c:pt idx="845">
                  <c:v>Boursin</c:v>
                </c:pt>
                <c:pt idx="846">
                  <c:v>All Others</c:v>
                </c:pt>
                <c:pt idx="847">
                  <c:v>All Others</c:v>
                </c:pt>
                <c:pt idx="848">
                  <c:v>All Others</c:v>
                </c:pt>
                <c:pt idx="849">
                  <c:v>All Others</c:v>
                </c:pt>
                <c:pt idx="850">
                  <c:v>All Others</c:v>
                </c:pt>
                <c:pt idx="851">
                  <c:v>All Others</c:v>
                </c:pt>
                <c:pt idx="852">
                  <c:v>All Others</c:v>
                </c:pt>
                <c:pt idx="853">
                  <c:v>La Belle Et</c:v>
                </c:pt>
                <c:pt idx="854">
                  <c:v>La Belle Et</c:v>
                </c:pt>
                <c:pt idx="855">
                  <c:v>All Others</c:v>
                </c:pt>
                <c:pt idx="856">
                  <c:v>All Others</c:v>
                </c:pt>
                <c:pt idx="857">
                  <c:v>Boursin</c:v>
                </c:pt>
                <c:pt idx="858">
                  <c:v>All Others</c:v>
                </c:pt>
                <c:pt idx="859">
                  <c:v>Savencia: A</c:v>
                </c:pt>
                <c:pt idx="860">
                  <c:v>All Others</c:v>
                </c:pt>
                <c:pt idx="861">
                  <c:v>All Others</c:v>
                </c:pt>
                <c:pt idx="862">
                  <c:v>Chavroux</c:v>
                </c:pt>
                <c:pt idx="863">
                  <c:v>Salakis</c:v>
                </c:pt>
                <c:pt idx="864">
                  <c:v>All Others</c:v>
                </c:pt>
                <c:pt idx="865">
                  <c:v>All Others</c:v>
                </c:pt>
                <c:pt idx="866">
                  <c:v>All Others</c:v>
                </c:pt>
                <c:pt idx="867">
                  <c:v>All Others</c:v>
                </c:pt>
                <c:pt idx="868">
                  <c:v>Societe</c:v>
                </c:pt>
                <c:pt idx="869">
                  <c:v>All Others</c:v>
                </c:pt>
                <c:pt idx="870">
                  <c:v>All Others</c:v>
                </c:pt>
                <c:pt idx="871">
                  <c:v>All Others</c:v>
                </c:pt>
                <c:pt idx="872">
                  <c:v>Boursin</c:v>
                </c:pt>
                <c:pt idx="873">
                  <c:v>All Others</c:v>
                </c:pt>
                <c:pt idx="874">
                  <c:v>All Others</c:v>
                </c:pt>
                <c:pt idx="875">
                  <c:v>All Others</c:v>
                </c:pt>
                <c:pt idx="876">
                  <c:v>All Others</c:v>
                </c:pt>
                <c:pt idx="877">
                  <c:v>All Others</c:v>
                </c:pt>
                <c:pt idx="878">
                  <c:v>All Others</c:v>
                </c:pt>
                <c:pt idx="879">
                  <c:v>All Others</c:v>
                </c:pt>
                <c:pt idx="880">
                  <c:v>All Others</c:v>
                </c:pt>
                <c:pt idx="881">
                  <c:v>All Others</c:v>
                </c:pt>
                <c:pt idx="882">
                  <c:v>All Others</c:v>
                </c:pt>
                <c:pt idx="883">
                  <c:v>All Others</c:v>
                </c:pt>
                <c:pt idx="884">
                  <c:v>All Others</c:v>
                </c:pt>
                <c:pt idx="885">
                  <c:v>All Others</c:v>
                </c:pt>
                <c:pt idx="886">
                  <c:v>Etoile Du V</c:v>
                </c:pt>
                <c:pt idx="887">
                  <c:v>Lactalis: A</c:v>
                </c:pt>
                <c:pt idx="888">
                  <c:v>President</c:v>
                </c:pt>
                <c:pt idx="889">
                  <c:v>All Others</c:v>
                </c:pt>
                <c:pt idx="890">
                  <c:v>All Others</c:v>
                </c:pt>
                <c:pt idx="891">
                  <c:v>All Others</c:v>
                </c:pt>
                <c:pt idx="892">
                  <c:v>All Others</c:v>
                </c:pt>
                <c:pt idx="893">
                  <c:v>All Others</c:v>
                </c:pt>
                <c:pt idx="894">
                  <c:v>All Others</c:v>
                </c:pt>
                <c:pt idx="895">
                  <c:v>All Others</c:v>
                </c:pt>
                <c:pt idx="896">
                  <c:v>All Others</c:v>
                </c:pt>
                <c:pt idx="897">
                  <c:v>Milleret: A</c:v>
                </c:pt>
                <c:pt idx="898">
                  <c:v>All Others</c:v>
                </c:pt>
                <c:pt idx="899">
                  <c:v>All Others</c:v>
                </c:pt>
                <c:pt idx="900">
                  <c:v>All Others</c:v>
                </c:pt>
                <c:pt idx="901">
                  <c:v>All Others</c:v>
                </c:pt>
                <c:pt idx="902">
                  <c:v>L'Ortolan</c:v>
                </c:pt>
                <c:pt idx="903">
                  <c:v>All Others</c:v>
                </c:pt>
                <c:pt idx="904">
                  <c:v>All Others</c:v>
                </c:pt>
                <c:pt idx="905">
                  <c:v>Chavroux</c:v>
                </c:pt>
                <c:pt idx="906">
                  <c:v>All Others</c:v>
                </c:pt>
                <c:pt idx="907">
                  <c:v>La Belle Et</c:v>
                </c:pt>
                <c:pt idx="908">
                  <c:v>Lactalis: A</c:v>
                </c:pt>
                <c:pt idx="909">
                  <c:v>All Others</c:v>
                </c:pt>
                <c:pt idx="910">
                  <c:v>All Others</c:v>
                </c:pt>
                <c:pt idx="911">
                  <c:v>All Others</c:v>
                </c:pt>
                <c:pt idx="912">
                  <c:v>All Others</c:v>
                </c:pt>
                <c:pt idx="913">
                  <c:v>Salakis</c:v>
                </c:pt>
                <c:pt idx="914">
                  <c:v>All Others</c:v>
                </c:pt>
                <c:pt idx="915">
                  <c:v>All Others</c:v>
                </c:pt>
                <c:pt idx="916">
                  <c:v>All Others</c:v>
                </c:pt>
                <c:pt idx="917">
                  <c:v>All Others</c:v>
                </c:pt>
                <c:pt idx="918">
                  <c:v>All Others</c:v>
                </c:pt>
                <c:pt idx="919">
                  <c:v>All Others</c:v>
                </c:pt>
                <c:pt idx="920">
                  <c:v>All Others</c:v>
                </c:pt>
                <c:pt idx="921">
                  <c:v>All Others</c:v>
                </c:pt>
                <c:pt idx="922">
                  <c:v>Entremont</c:v>
                </c:pt>
                <c:pt idx="923">
                  <c:v>Petit Billy</c:v>
                </c:pt>
                <c:pt idx="924">
                  <c:v>All Others</c:v>
                </c:pt>
                <c:pt idx="925">
                  <c:v>La Vache Qu</c:v>
                </c:pt>
                <c:pt idx="926">
                  <c:v>All Others</c:v>
                </c:pt>
                <c:pt idx="927">
                  <c:v>All Others</c:v>
                </c:pt>
                <c:pt idx="928">
                  <c:v>All Others</c:v>
                </c:pt>
                <c:pt idx="929">
                  <c:v>All Others</c:v>
                </c:pt>
                <c:pt idx="930">
                  <c:v>All Others</c:v>
                </c:pt>
                <c:pt idx="931">
                  <c:v>All Others</c:v>
                </c:pt>
                <c:pt idx="932">
                  <c:v>Lactalis: A</c:v>
                </c:pt>
                <c:pt idx="933">
                  <c:v>Private Lab</c:v>
                </c:pt>
                <c:pt idx="934">
                  <c:v>All Others</c:v>
                </c:pt>
                <c:pt idx="935">
                  <c:v>All Others</c:v>
                </c:pt>
                <c:pt idx="936">
                  <c:v>All Others</c:v>
                </c:pt>
                <c:pt idx="937">
                  <c:v>Lactalis: A</c:v>
                </c:pt>
                <c:pt idx="938">
                  <c:v>All Others</c:v>
                </c:pt>
                <c:pt idx="939">
                  <c:v>All Others</c:v>
                </c:pt>
                <c:pt idx="940">
                  <c:v>Chavroux</c:v>
                </c:pt>
                <c:pt idx="941">
                  <c:v>All Others</c:v>
                </c:pt>
                <c:pt idx="942">
                  <c:v>All Others</c:v>
                </c:pt>
                <c:pt idx="943">
                  <c:v>All Others</c:v>
                </c:pt>
                <c:pt idx="944">
                  <c:v>Entremont</c:v>
                </c:pt>
                <c:pt idx="945">
                  <c:v>All Others</c:v>
                </c:pt>
                <c:pt idx="946">
                  <c:v>All Others</c:v>
                </c:pt>
                <c:pt idx="947">
                  <c:v>All Others</c:v>
                </c:pt>
                <c:pt idx="948">
                  <c:v>All Others</c:v>
                </c:pt>
                <c:pt idx="949">
                  <c:v>All Others</c:v>
                </c:pt>
                <c:pt idx="950">
                  <c:v>All Others</c:v>
                </c:pt>
                <c:pt idx="951">
                  <c:v>Galbani</c:v>
                </c:pt>
                <c:pt idx="952">
                  <c:v>All Others</c:v>
                </c:pt>
                <c:pt idx="953">
                  <c:v>All Others</c:v>
                </c:pt>
                <c:pt idx="954">
                  <c:v>All Others</c:v>
                </c:pt>
                <c:pt idx="955">
                  <c:v>All Others</c:v>
                </c:pt>
                <c:pt idx="956">
                  <c:v>Private Lab</c:v>
                </c:pt>
                <c:pt idx="957">
                  <c:v>La Belle Et</c:v>
                </c:pt>
                <c:pt idx="958">
                  <c:v>Lactalis: A</c:v>
                </c:pt>
                <c:pt idx="959">
                  <c:v>All Others</c:v>
                </c:pt>
                <c:pt idx="960">
                  <c:v>All Others</c:v>
                </c:pt>
                <c:pt idx="961">
                  <c:v>La Belle Et</c:v>
                </c:pt>
                <c:pt idx="962">
                  <c:v>All Others</c:v>
                </c:pt>
                <c:pt idx="963">
                  <c:v>All Others</c:v>
                </c:pt>
                <c:pt idx="964">
                  <c:v>Lactalis: A</c:v>
                </c:pt>
                <c:pt idx="965">
                  <c:v>All Others</c:v>
                </c:pt>
                <c:pt idx="966">
                  <c:v>All Others</c:v>
                </c:pt>
                <c:pt idx="967">
                  <c:v>Mini Babybe</c:v>
                </c:pt>
                <c:pt idx="968">
                  <c:v>All Others</c:v>
                </c:pt>
                <c:pt idx="969">
                  <c:v>All Others</c:v>
                </c:pt>
                <c:pt idx="970">
                  <c:v>All Others</c:v>
                </c:pt>
                <c:pt idx="971">
                  <c:v>All Others</c:v>
                </c:pt>
                <c:pt idx="972">
                  <c:v>All Others</c:v>
                </c:pt>
                <c:pt idx="973">
                  <c:v>All Others</c:v>
                </c:pt>
                <c:pt idx="974">
                  <c:v>All Others</c:v>
                </c:pt>
                <c:pt idx="975">
                  <c:v>All Others</c:v>
                </c:pt>
                <c:pt idx="976">
                  <c:v>All Others</c:v>
                </c:pt>
                <c:pt idx="977">
                  <c:v>All Others</c:v>
                </c:pt>
                <c:pt idx="978">
                  <c:v>All Others</c:v>
                </c:pt>
                <c:pt idx="979">
                  <c:v>All Others</c:v>
                </c:pt>
                <c:pt idx="980">
                  <c:v>All Others</c:v>
                </c:pt>
                <c:pt idx="981">
                  <c:v>All Others</c:v>
                </c:pt>
                <c:pt idx="982">
                  <c:v>All Others</c:v>
                </c:pt>
                <c:pt idx="983">
                  <c:v>All Others</c:v>
                </c:pt>
                <c:pt idx="984">
                  <c:v>All Others</c:v>
                </c:pt>
                <c:pt idx="985">
                  <c:v>All Others</c:v>
                </c:pt>
                <c:pt idx="986">
                  <c:v>All Others</c:v>
                </c:pt>
                <c:pt idx="987">
                  <c:v>All Others</c:v>
                </c:pt>
                <c:pt idx="988">
                  <c:v>All Others</c:v>
                </c:pt>
                <c:pt idx="989">
                  <c:v>All Others</c:v>
                </c:pt>
                <c:pt idx="990">
                  <c:v>All Others</c:v>
                </c:pt>
                <c:pt idx="991">
                  <c:v>All Others</c:v>
                </c:pt>
                <c:pt idx="992">
                  <c:v>All Others</c:v>
                </c:pt>
                <c:pt idx="993">
                  <c:v>All Others</c:v>
                </c:pt>
                <c:pt idx="994">
                  <c:v>All Others</c:v>
                </c:pt>
                <c:pt idx="995">
                  <c:v>All Others</c:v>
                </c:pt>
                <c:pt idx="996">
                  <c:v>All Others</c:v>
                </c:pt>
                <c:pt idx="997">
                  <c:v>All Others</c:v>
                </c:pt>
                <c:pt idx="998">
                  <c:v>All Others</c:v>
                </c:pt>
                <c:pt idx="999">
                  <c:v>Lactalis: A</c:v>
                </c:pt>
                <c:pt idx="1000">
                  <c:v>All Others</c:v>
                </c:pt>
                <c:pt idx="1001">
                  <c:v>All Others</c:v>
                </c:pt>
                <c:pt idx="1002">
                  <c:v>All Others</c:v>
                </c:pt>
                <c:pt idx="1003">
                  <c:v>All Others</c:v>
                </c:pt>
                <c:pt idx="1004">
                  <c:v>Corsica</c:v>
                </c:pt>
                <c:pt idx="1005">
                  <c:v>All Others</c:v>
                </c:pt>
                <c:pt idx="1006">
                  <c:v>All Others</c:v>
                </c:pt>
                <c:pt idx="1007">
                  <c:v>All Others</c:v>
                </c:pt>
                <c:pt idx="1008">
                  <c:v>All Others</c:v>
                </c:pt>
                <c:pt idx="1009">
                  <c:v>Rians</c:v>
                </c:pt>
                <c:pt idx="1010">
                  <c:v>Lactalis: A</c:v>
                </c:pt>
                <c:pt idx="1011">
                  <c:v>All Others</c:v>
                </c:pt>
                <c:pt idx="1012">
                  <c:v>All Others</c:v>
                </c:pt>
                <c:pt idx="1013">
                  <c:v>All Others</c:v>
                </c:pt>
                <c:pt idx="1014">
                  <c:v>British H</c:v>
                </c:pt>
                <c:pt idx="1015">
                  <c:v>All Others</c:v>
                </c:pt>
                <c:pt idx="1016">
                  <c:v>All Others</c:v>
                </c:pt>
                <c:pt idx="1017">
                  <c:v>All Others</c:v>
                </c:pt>
                <c:pt idx="1018">
                  <c:v>La Belle Et</c:v>
                </c:pt>
                <c:pt idx="1019">
                  <c:v>La Belle Et</c:v>
                </c:pt>
                <c:pt idx="1020">
                  <c:v>All Others</c:v>
                </c:pt>
                <c:pt idx="1021">
                  <c:v>All Others</c:v>
                </c:pt>
                <c:pt idx="1022">
                  <c:v>All Others</c:v>
                </c:pt>
                <c:pt idx="1023">
                  <c:v>All Others</c:v>
                </c:pt>
                <c:pt idx="1024">
                  <c:v>All Others</c:v>
                </c:pt>
                <c:pt idx="1025">
                  <c:v>All Others</c:v>
                </c:pt>
                <c:pt idx="1026">
                  <c:v>All Others</c:v>
                </c:pt>
                <c:pt idx="1027">
                  <c:v>Raguin</c:v>
                </c:pt>
                <c:pt idx="1028">
                  <c:v>Paysan Bret</c:v>
                </c:pt>
                <c:pt idx="1029">
                  <c:v>Richesmonts</c:v>
                </c:pt>
                <c:pt idx="1030">
                  <c:v>All Others</c:v>
                </c:pt>
                <c:pt idx="1031">
                  <c:v>Mini Babybe</c:v>
                </c:pt>
                <c:pt idx="1032">
                  <c:v>Paysan Bret</c:v>
                </c:pt>
                <c:pt idx="1033">
                  <c:v>All Others</c:v>
                </c:pt>
                <c:pt idx="1034">
                  <c:v>All Others</c:v>
                </c:pt>
                <c:pt idx="1035">
                  <c:v>All Others</c:v>
                </c:pt>
                <c:pt idx="1036">
                  <c:v>All Others</c:v>
                </c:pt>
                <c:pt idx="1037">
                  <c:v>All Others</c:v>
                </c:pt>
                <c:pt idx="1038">
                  <c:v>Etoile Du V</c:v>
                </c:pt>
                <c:pt idx="1039">
                  <c:v>All Others</c:v>
                </c:pt>
                <c:pt idx="1040">
                  <c:v>All Others</c:v>
                </c:pt>
                <c:pt idx="1041">
                  <c:v>All Others</c:v>
                </c:pt>
                <c:pt idx="1042">
                  <c:v>All Others</c:v>
                </c:pt>
                <c:pt idx="1043">
                  <c:v>Entremont</c:v>
                </c:pt>
                <c:pt idx="1044">
                  <c:v>All Others</c:v>
                </c:pt>
                <c:pt idx="1045">
                  <c:v>All Others</c:v>
                </c:pt>
                <c:pt idx="1046">
                  <c:v>All Others</c:v>
                </c:pt>
                <c:pt idx="1047">
                  <c:v>All Others</c:v>
                </c:pt>
                <c:pt idx="1048">
                  <c:v>Kiri</c:v>
                </c:pt>
                <c:pt idx="1049">
                  <c:v>All Others</c:v>
                </c:pt>
                <c:pt idx="1050">
                  <c:v>All Others</c:v>
                </c:pt>
                <c:pt idx="1051">
                  <c:v>All Others</c:v>
                </c:pt>
                <c:pt idx="1052">
                  <c:v>All Others</c:v>
                </c:pt>
                <c:pt idx="1053">
                  <c:v>All Others</c:v>
                </c:pt>
                <c:pt idx="1054">
                  <c:v>All Others</c:v>
                </c:pt>
                <c:pt idx="1055">
                  <c:v>All Others</c:v>
                </c:pt>
                <c:pt idx="1056">
                  <c:v>All Others</c:v>
                </c:pt>
                <c:pt idx="1057">
                  <c:v>All Others</c:v>
                </c:pt>
                <c:pt idx="1058">
                  <c:v>Raguin</c:v>
                </c:pt>
                <c:pt idx="1059">
                  <c:v>Lactalis: A</c:v>
                </c:pt>
                <c:pt idx="1060">
                  <c:v>All Others</c:v>
                </c:pt>
                <c:pt idx="1061">
                  <c:v>All Others</c:v>
                </c:pt>
                <c:pt idx="1062">
                  <c:v>All Others</c:v>
                </c:pt>
                <c:pt idx="1063">
                  <c:v>All Others</c:v>
                </c:pt>
                <c:pt idx="1064">
                  <c:v>All Others</c:v>
                </c:pt>
                <c:pt idx="1065">
                  <c:v>All Others</c:v>
                </c:pt>
                <c:pt idx="1066">
                  <c:v>Private Lab</c:v>
                </c:pt>
                <c:pt idx="1067">
                  <c:v>All Others</c:v>
                </c:pt>
                <c:pt idx="1068">
                  <c:v>Savencia: A</c:v>
                </c:pt>
                <c:pt idx="1069">
                  <c:v>All Others</c:v>
                </c:pt>
                <c:pt idx="1070">
                  <c:v>All Others</c:v>
                </c:pt>
                <c:pt idx="1071">
                  <c:v>La Belle Et</c:v>
                </c:pt>
                <c:pt idx="1072">
                  <c:v>All Others</c:v>
                </c:pt>
                <c:pt idx="1073">
                  <c:v>All Others</c:v>
                </c:pt>
                <c:pt idx="1074">
                  <c:v>All Others</c:v>
                </c:pt>
                <c:pt idx="1075">
                  <c:v>All Others</c:v>
                </c:pt>
                <c:pt idx="1076">
                  <c:v>All Others</c:v>
                </c:pt>
                <c:pt idx="1077">
                  <c:v>Raguin</c:v>
                </c:pt>
                <c:pt idx="1078">
                  <c:v>All Others</c:v>
                </c:pt>
                <c:pt idx="1079">
                  <c:v>All Others</c:v>
                </c:pt>
                <c:pt idx="1080">
                  <c:v>Fol Epi</c:v>
                </c:pt>
                <c:pt idx="1081">
                  <c:v>All Others</c:v>
                </c:pt>
                <c:pt idx="1082">
                  <c:v>Casa Azzurr</c:v>
                </c:pt>
                <c:pt idx="1083">
                  <c:v>All Others</c:v>
                </c:pt>
                <c:pt idx="1084">
                  <c:v>All Others</c:v>
                </c:pt>
                <c:pt idx="1085">
                  <c:v>All Others</c:v>
                </c:pt>
                <c:pt idx="1086">
                  <c:v>All Others</c:v>
                </c:pt>
                <c:pt idx="1087">
                  <c:v>All Others</c:v>
                </c:pt>
                <c:pt idx="1088">
                  <c:v>All Others</c:v>
                </c:pt>
                <c:pt idx="1089">
                  <c:v>All Others</c:v>
                </c:pt>
                <c:pt idx="1090">
                  <c:v>All Others</c:v>
                </c:pt>
                <c:pt idx="1091">
                  <c:v>All Others</c:v>
                </c:pt>
                <c:pt idx="1092">
                  <c:v>All Others</c:v>
                </c:pt>
                <c:pt idx="1093">
                  <c:v>All Others</c:v>
                </c:pt>
                <c:pt idx="1094">
                  <c:v>Pave D'Affi</c:v>
                </c:pt>
                <c:pt idx="1095">
                  <c:v>Savencia: A</c:v>
                </c:pt>
                <c:pt idx="1096">
                  <c:v>All Others</c:v>
                </c:pt>
                <c:pt idx="1097">
                  <c:v>All Others</c:v>
                </c:pt>
                <c:pt idx="1098">
                  <c:v>All Others</c:v>
                </c:pt>
                <c:pt idx="1099">
                  <c:v>All Others</c:v>
                </c:pt>
                <c:pt idx="1100">
                  <c:v>All Others</c:v>
                </c:pt>
                <c:pt idx="1101">
                  <c:v>All Others</c:v>
                </c:pt>
                <c:pt idx="1102">
                  <c:v>All Others</c:v>
                </c:pt>
                <c:pt idx="1103">
                  <c:v>Richesmonts</c:v>
                </c:pt>
                <c:pt idx="1104">
                  <c:v>All Others</c:v>
                </c:pt>
                <c:pt idx="1105">
                  <c:v>All Others</c:v>
                </c:pt>
                <c:pt idx="1106">
                  <c:v>All Others</c:v>
                </c:pt>
                <c:pt idx="1107">
                  <c:v>Baillon</c:v>
                </c:pt>
                <c:pt idx="1108">
                  <c:v>All Others</c:v>
                </c:pt>
                <c:pt idx="1109">
                  <c:v>All Others</c:v>
                </c:pt>
                <c:pt idx="1110">
                  <c:v>All Others</c:v>
                </c:pt>
                <c:pt idx="1111">
                  <c:v>Gillot</c:v>
                </c:pt>
                <c:pt idx="1112">
                  <c:v>Violife</c:v>
                </c:pt>
                <c:pt idx="1113">
                  <c:v>All Others</c:v>
                </c:pt>
                <c:pt idx="1114">
                  <c:v>All Others</c:v>
                </c:pt>
                <c:pt idx="1115">
                  <c:v>All Others</c:v>
                </c:pt>
                <c:pt idx="1116">
                  <c:v>All Others</c:v>
                </c:pt>
                <c:pt idx="1117">
                  <c:v>All Others</c:v>
                </c:pt>
                <c:pt idx="1118">
                  <c:v>All Others</c:v>
                </c:pt>
                <c:pt idx="1119">
                  <c:v>All Others</c:v>
                </c:pt>
                <c:pt idx="1120">
                  <c:v>All Others</c:v>
                </c:pt>
                <c:pt idx="1121">
                  <c:v>All Others</c:v>
                </c:pt>
                <c:pt idx="1122">
                  <c:v>All Others</c:v>
                </c:pt>
                <c:pt idx="1123">
                  <c:v>Casa Sant</c:v>
                </c:pt>
                <c:pt idx="1124">
                  <c:v>All Others</c:v>
                </c:pt>
                <c:pt idx="1125">
                  <c:v>All Others</c:v>
                </c:pt>
                <c:pt idx="1126">
                  <c:v>Vivaldi</c:v>
                </c:pt>
                <c:pt idx="1127">
                  <c:v>Juraflore</c:v>
                </c:pt>
                <c:pt idx="1128">
                  <c:v>All Others</c:v>
                </c:pt>
                <c:pt idx="1129">
                  <c:v>All Others</c:v>
                </c:pt>
                <c:pt idx="1130">
                  <c:v>All Others</c:v>
                </c:pt>
                <c:pt idx="1131">
                  <c:v>All Others</c:v>
                </c:pt>
                <c:pt idx="1132">
                  <c:v>All Others</c:v>
                </c:pt>
                <c:pt idx="1133">
                  <c:v>All Others</c:v>
                </c:pt>
                <c:pt idx="1134">
                  <c:v>Milleret</c:v>
                </c:pt>
                <c:pt idx="1135">
                  <c:v>All Others</c:v>
                </c:pt>
                <c:pt idx="1136">
                  <c:v>All Others</c:v>
                </c:pt>
                <c:pt idx="1137">
                  <c:v>All Others</c:v>
                </c:pt>
                <c:pt idx="1138">
                  <c:v>Milleret</c:v>
                </c:pt>
                <c:pt idx="1139">
                  <c:v>All Others</c:v>
                </c:pt>
                <c:pt idx="1140">
                  <c:v>All Others</c:v>
                </c:pt>
                <c:pt idx="1141">
                  <c:v>All Others</c:v>
                </c:pt>
                <c:pt idx="1142">
                  <c:v>All Others</c:v>
                </c:pt>
                <c:pt idx="1143">
                  <c:v>Paysan Bret</c:v>
                </c:pt>
                <c:pt idx="1144">
                  <c:v>All Others</c:v>
                </c:pt>
                <c:pt idx="1145">
                  <c:v>All Others</c:v>
                </c:pt>
                <c:pt idx="1146">
                  <c:v>Limiano</c:v>
                </c:pt>
                <c:pt idx="1147">
                  <c:v>All Others</c:v>
                </c:pt>
                <c:pt idx="1148">
                  <c:v>All Others</c:v>
                </c:pt>
                <c:pt idx="1149">
                  <c:v>All Others</c:v>
                </c:pt>
                <c:pt idx="1150">
                  <c:v>All Others</c:v>
                </c:pt>
                <c:pt idx="1151">
                  <c:v>All Others</c:v>
                </c:pt>
                <c:pt idx="1152">
                  <c:v>All Others</c:v>
                </c:pt>
                <c:pt idx="1153">
                  <c:v>All Others</c:v>
                </c:pt>
                <c:pt idx="1154">
                  <c:v>All Others</c:v>
                </c:pt>
                <c:pt idx="1155">
                  <c:v>All Others</c:v>
                </c:pt>
                <c:pt idx="1156">
                  <c:v>All Others</c:v>
                </c:pt>
                <c:pt idx="1157">
                  <c:v>All Others</c:v>
                </c:pt>
                <c:pt idx="1158">
                  <c:v>Etoile Du V</c:v>
                </c:pt>
                <c:pt idx="1159">
                  <c:v>All Others</c:v>
                </c:pt>
                <c:pt idx="1160">
                  <c:v>All Others</c:v>
                </c:pt>
                <c:pt idx="1161">
                  <c:v>All Others</c:v>
                </c:pt>
                <c:pt idx="1162">
                  <c:v>All Others</c:v>
                </c:pt>
                <c:pt idx="1163">
                  <c:v>All Others</c:v>
                </c:pt>
                <c:pt idx="1164">
                  <c:v>All Others</c:v>
                </c:pt>
                <c:pt idx="1165">
                  <c:v>La Table M</c:v>
                </c:pt>
                <c:pt idx="1166">
                  <c:v>All Others</c:v>
                </c:pt>
                <c:pt idx="1167">
                  <c:v>All Others</c:v>
                </c:pt>
                <c:pt idx="1168">
                  <c:v>All Others</c:v>
                </c:pt>
                <c:pt idx="1169">
                  <c:v>All Others</c:v>
                </c:pt>
                <c:pt idx="1170">
                  <c:v>All Others</c:v>
                </c:pt>
                <c:pt idx="1171">
                  <c:v>All Others</c:v>
                </c:pt>
                <c:pt idx="1172">
                  <c:v>All Others</c:v>
                </c:pt>
                <c:pt idx="1173">
                  <c:v>All Others</c:v>
                </c:pt>
                <c:pt idx="1174">
                  <c:v>All Others</c:v>
                </c:pt>
                <c:pt idx="1175">
                  <c:v>All Others</c:v>
                </c:pt>
                <c:pt idx="1176">
                  <c:v>All Others</c:v>
                </c:pt>
                <c:pt idx="1177">
                  <c:v>All Others</c:v>
                </c:pt>
                <c:pt idx="1178">
                  <c:v>All Others</c:v>
                </c:pt>
                <c:pt idx="1179">
                  <c:v>All Others</c:v>
                </c:pt>
                <c:pt idx="1180">
                  <c:v>All Others</c:v>
                </c:pt>
                <c:pt idx="1181">
                  <c:v>All Others</c:v>
                </c:pt>
                <c:pt idx="1182">
                  <c:v>All Others</c:v>
                </c:pt>
                <c:pt idx="1183">
                  <c:v>All Others</c:v>
                </c:pt>
                <c:pt idx="1184">
                  <c:v>All Others</c:v>
                </c:pt>
                <c:pt idx="1185">
                  <c:v>All Others</c:v>
                </c:pt>
                <c:pt idx="1186">
                  <c:v>All Others</c:v>
                </c:pt>
                <c:pt idx="1187">
                  <c:v>All Others</c:v>
                </c:pt>
                <c:pt idx="1188">
                  <c:v>All Others</c:v>
                </c:pt>
                <c:pt idx="1189">
                  <c:v>All Others</c:v>
                </c:pt>
                <c:pt idx="1190">
                  <c:v>All Others</c:v>
                </c:pt>
                <c:pt idx="1191">
                  <c:v>All Others</c:v>
                </c:pt>
                <c:pt idx="1192">
                  <c:v>All Others</c:v>
                </c:pt>
                <c:pt idx="1193">
                  <c:v>All Others</c:v>
                </c:pt>
                <c:pt idx="1194">
                  <c:v>All Others</c:v>
                </c:pt>
                <c:pt idx="1195">
                  <c:v>Rians</c:v>
                </c:pt>
                <c:pt idx="1196">
                  <c:v>Savall</c:v>
                </c:pt>
                <c:pt idx="1197">
                  <c:v>All Others</c:v>
                </c:pt>
                <c:pt idx="1198">
                  <c:v>All Others</c:v>
                </c:pt>
                <c:pt idx="1199">
                  <c:v>All Others</c:v>
                </c:pt>
                <c:pt idx="1200">
                  <c:v>All Others</c:v>
                </c:pt>
                <c:pt idx="1201">
                  <c:v>All Others</c:v>
                </c:pt>
                <c:pt idx="1202">
                  <c:v>All Others</c:v>
                </c:pt>
                <c:pt idx="1203">
                  <c:v>Raguin</c:v>
                </c:pt>
                <c:pt idx="1204">
                  <c:v>All Others</c:v>
                </c:pt>
                <c:pt idx="1205">
                  <c:v>All Others</c:v>
                </c:pt>
                <c:pt idx="1206">
                  <c:v>All Others</c:v>
                </c:pt>
                <c:pt idx="1207">
                  <c:v>Etoile Du V</c:v>
                </c:pt>
                <c:pt idx="1208">
                  <c:v>All Others</c:v>
                </c:pt>
                <c:pt idx="1209">
                  <c:v>All Others</c:v>
                </c:pt>
                <c:pt idx="1210">
                  <c:v>All Others</c:v>
                </c:pt>
                <c:pt idx="1211">
                  <c:v>All Others</c:v>
                </c:pt>
                <c:pt idx="1212">
                  <c:v>All Others</c:v>
                </c:pt>
                <c:pt idx="1213">
                  <c:v>Raguin</c:v>
                </c:pt>
                <c:pt idx="1214">
                  <c:v>All Others</c:v>
                </c:pt>
                <c:pt idx="1215">
                  <c:v>All Others</c:v>
                </c:pt>
                <c:pt idx="1216">
                  <c:v>All Others</c:v>
                </c:pt>
                <c:pt idx="1217">
                  <c:v>All Others</c:v>
                </c:pt>
                <c:pt idx="1218">
                  <c:v>All Others</c:v>
                </c:pt>
                <c:pt idx="1219">
                  <c:v>All Others</c:v>
                </c:pt>
                <c:pt idx="1220">
                  <c:v>All Others</c:v>
                </c:pt>
                <c:pt idx="1221">
                  <c:v>All Others</c:v>
                </c:pt>
                <c:pt idx="1222">
                  <c:v>All Others</c:v>
                </c:pt>
                <c:pt idx="1223">
                  <c:v>All Others</c:v>
                </c:pt>
                <c:pt idx="1224">
                  <c:v>Jperrin</c:v>
                </c:pt>
                <c:pt idx="1225">
                  <c:v>All Others</c:v>
                </c:pt>
                <c:pt idx="1226">
                  <c:v>All Others</c:v>
                </c:pt>
                <c:pt idx="1227">
                  <c:v>All Others</c:v>
                </c:pt>
                <c:pt idx="1228">
                  <c:v>All Others</c:v>
                </c:pt>
                <c:pt idx="1229">
                  <c:v>All Others</c:v>
                </c:pt>
                <c:pt idx="1230">
                  <c:v>All Others</c:v>
                </c:pt>
                <c:pt idx="1231">
                  <c:v>All Others</c:v>
                </c:pt>
                <c:pt idx="1232">
                  <c:v>All Others</c:v>
                </c:pt>
                <c:pt idx="1233">
                  <c:v>All Others</c:v>
                </c:pt>
                <c:pt idx="1234">
                  <c:v>All Others</c:v>
                </c:pt>
                <c:pt idx="1235">
                  <c:v>All Others</c:v>
                </c:pt>
                <c:pt idx="1236">
                  <c:v>Rians</c:v>
                </c:pt>
                <c:pt idx="1237">
                  <c:v>All Others</c:v>
                </c:pt>
                <c:pt idx="1238">
                  <c:v>All Others</c:v>
                </c:pt>
                <c:pt idx="1239">
                  <c:v>All Others</c:v>
                </c:pt>
                <c:pt idx="1240">
                  <c:v>Jperrin</c:v>
                </c:pt>
                <c:pt idx="1241">
                  <c:v>All Others</c:v>
                </c:pt>
                <c:pt idx="1242">
                  <c:v>Lindahls Pr</c:v>
                </c:pt>
                <c:pt idx="1243">
                  <c:v>Pave D'Affi</c:v>
                </c:pt>
                <c:pt idx="1244">
                  <c:v>Raguin</c:v>
                </c:pt>
                <c:pt idx="1245">
                  <c:v>All Others</c:v>
                </c:pt>
                <c:pt idx="1246">
                  <c:v>All Others</c:v>
                </c:pt>
                <c:pt idx="1247">
                  <c:v>All Others</c:v>
                </c:pt>
                <c:pt idx="1248">
                  <c:v>Lactalis: A</c:v>
                </c:pt>
                <c:pt idx="1249">
                  <c:v>All Others</c:v>
                </c:pt>
                <c:pt idx="1250">
                  <c:v>All Others</c:v>
                </c:pt>
                <c:pt idx="1251">
                  <c:v>All Others</c:v>
                </c:pt>
                <c:pt idx="1252">
                  <c:v>All Others</c:v>
                </c:pt>
                <c:pt idx="1253">
                  <c:v>All Others</c:v>
                </c:pt>
                <c:pt idx="1254">
                  <c:v>Gillot</c:v>
                </c:pt>
                <c:pt idx="1255">
                  <c:v>All Others</c:v>
                </c:pt>
                <c:pt idx="1256">
                  <c:v>All Others</c:v>
                </c:pt>
                <c:pt idx="1257">
                  <c:v>All Others</c:v>
                </c:pt>
                <c:pt idx="1258">
                  <c:v>All Others</c:v>
                </c:pt>
                <c:pt idx="1259">
                  <c:v>All Others</c:v>
                </c:pt>
                <c:pt idx="1260">
                  <c:v>All Others</c:v>
                </c:pt>
                <c:pt idx="1261">
                  <c:v>Limiano</c:v>
                </c:pt>
                <c:pt idx="1262">
                  <c:v>All Others</c:v>
                </c:pt>
                <c:pt idx="1263">
                  <c:v>All Others</c:v>
                </c:pt>
                <c:pt idx="1264">
                  <c:v>All Others</c:v>
                </c:pt>
                <c:pt idx="1265">
                  <c:v>All Others</c:v>
                </c:pt>
                <c:pt idx="1266">
                  <c:v>All Others</c:v>
                </c:pt>
                <c:pt idx="1267">
                  <c:v>All Others</c:v>
                </c:pt>
                <c:pt idx="1268">
                  <c:v>All Others</c:v>
                </c:pt>
                <c:pt idx="1269">
                  <c:v>Casa Sant</c:v>
                </c:pt>
                <c:pt idx="1270">
                  <c:v>All Others</c:v>
                </c:pt>
                <c:pt idx="1271">
                  <c:v>All Others</c:v>
                </c:pt>
                <c:pt idx="1272">
                  <c:v>All Others</c:v>
                </c:pt>
                <c:pt idx="1273">
                  <c:v>Raguin</c:v>
                </c:pt>
                <c:pt idx="1274">
                  <c:v>All Others</c:v>
                </c:pt>
                <c:pt idx="1275">
                  <c:v>All Others</c:v>
                </c:pt>
                <c:pt idx="1276">
                  <c:v>All Others</c:v>
                </c:pt>
                <c:pt idx="1277">
                  <c:v>Raguin</c:v>
                </c:pt>
                <c:pt idx="1278">
                  <c:v>Lincet</c:v>
                </c:pt>
                <c:pt idx="1279">
                  <c:v>All Others</c:v>
                </c:pt>
                <c:pt idx="1280">
                  <c:v>All Others</c:v>
                </c:pt>
                <c:pt idx="1281">
                  <c:v>Raguin</c:v>
                </c:pt>
                <c:pt idx="1282">
                  <c:v>All Others</c:v>
                </c:pt>
                <c:pt idx="1283">
                  <c:v>All Others</c:v>
                </c:pt>
                <c:pt idx="1284">
                  <c:v>Dodin</c:v>
                </c:pt>
                <c:pt idx="1285">
                  <c:v>All Others</c:v>
                </c:pt>
                <c:pt idx="1286">
                  <c:v>All Others</c:v>
                </c:pt>
                <c:pt idx="1287">
                  <c:v>Ambrosi</c:v>
                </c:pt>
                <c:pt idx="1288">
                  <c:v>Savencia: A</c:v>
                </c:pt>
                <c:pt idx="1289">
                  <c:v>All Others</c:v>
                </c:pt>
                <c:pt idx="1290">
                  <c:v>All Others</c:v>
                </c:pt>
                <c:pt idx="1291">
                  <c:v>All Others</c:v>
                </c:pt>
                <c:pt idx="1292">
                  <c:v>All Others</c:v>
                </c:pt>
                <c:pt idx="1293">
                  <c:v>All Others</c:v>
                </c:pt>
                <c:pt idx="1294">
                  <c:v>All Others</c:v>
                </c:pt>
                <c:pt idx="1295">
                  <c:v>All Others</c:v>
                </c:pt>
                <c:pt idx="1296">
                  <c:v>All Others</c:v>
                </c:pt>
                <c:pt idx="1297">
                  <c:v>All Others</c:v>
                </c:pt>
                <c:pt idx="1298">
                  <c:v>All Others</c:v>
                </c:pt>
                <c:pt idx="1299">
                  <c:v>Pave D'Affi</c:v>
                </c:pt>
                <c:pt idx="1300">
                  <c:v>All Others</c:v>
                </c:pt>
                <c:pt idx="1301">
                  <c:v>All Others</c:v>
                </c:pt>
                <c:pt idx="1302">
                  <c:v>All Others</c:v>
                </c:pt>
                <c:pt idx="1303">
                  <c:v>All Others</c:v>
                </c:pt>
                <c:pt idx="1304">
                  <c:v>All Others</c:v>
                </c:pt>
                <c:pt idx="1305">
                  <c:v>All Others</c:v>
                </c:pt>
                <c:pt idx="1306">
                  <c:v>All Others</c:v>
                </c:pt>
                <c:pt idx="1307">
                  <c:v>All Others</c:v>
                </c:pt>
                <c:pt idx="1308">
                  <c:v>All Others</c:v>
                </c:pt>
                <c:pt idx="1309">
                  <c:v>All Others</c:v>
                </c:pt>
                <c:pt idx="1310">
                  <c:v>All Others</c:v>
                </c:pt>
                <c:pt idx="1311">
                  <c:v>All Others</c:v>
                </c:pt>
                <c:pt idx="1312">
                  <c:v>All Others</c:v>
                </c:pt>
                <c:pt idx="1313">
                  <c:v>All Others</c:v>
                </c:pt>
                <c:pt idx="1314">
                  <c:v>Gillot</c:v>
                </c:pt>
                <c:pt idx="1315">
                  <c:v>All Others</c:v>
                </c:pt>
                <c:pt idx="1316">
                  <c:v>All Others</c:v>
                </c:pt>
                <c:pt idx="1317">
                  <c:v>All Others</c:v>
                </c:pt>
                <c:pt idx="1318">
                  <c:v>All Others</c:v>
                </c:pt>
                <c:pt idx="1319">
                  <c:v>All Others</c:v>
                </c:pt>
                <c:pt idx="1320">
                  <c:v>All Others</c:v>
                </c:pt>
                <c:pt idx="1321">
                  <c:v>Tomasoni</c:v>
                </c:pt>
                <c:pt idx="1322">
                  <c:v>All Others</c:v>
                </c:pt>
                <c:pt idx="1323">
                  <c:v>All Others</c:v>
                </c:pt>
                <c:pt idx="1324">
                  <c:v>All Others</c:v>
                </c:pt>
                <c:pt idx="1325">
                  <c:v>All Others</c:v>
                </c:pt>
                <c:pt idx="1326">
                  <c:v>All Others</c:v>
                </c:pt>
                <c:pt idx="1327">
                  <c:v>All Others</c:v>
                </c:pt>
                <c:pt idx="1328">
                  <c:v>All Others</c:v>
                </c:pt>
                <c:pt idx="1329">
                  <c:v>All Others</c:v>
                </c:pt>
                <c:pt idx="1330">
                  <c:v>All Others</c:v>
                </c:pt>
                <c:pt idx="1331">
                  <c:v>All Others</c:v>
                </c:pt>
                <c:pt idx="1332">
                  <c:v>All Others</c:v>
                </c:pt>
                <c:pt idx="1333">
                  <c:v>All Others</c:v>
                </c:pt>
                <c:pt idx="1334">
                  <c:v>All Others</c:v>
                </c:pt>
                <c:pt idx="1335">
                  <c:v>All Others</c:v>
                </c:pt>
                <c:pt idx="1336">
                  <c:v>All Others</c:v>
                </c:pt>
                <c:pt idx="1337">
                  <c:v>All Others</c:v>
                </c:pt>
                <c:pt idx="1338">
                  <c:v>All Others</c:v>
                </c:pt>
                <c:pt idx="1339">
                  <c:v>All Others</c:v>
                </c:pt>
                <c:pt idx="1340">
                  <c:v>All Others</c:v>
                </c:pt>
                <c:pt idx="1341">
                  <c:v>All Others</c:v>
                </c:pt>
                <c:pt idx="1342">
                  <c:v>All Others</c:v>
                </c:pt>
                <c:pt idx="1343">
                  <c:v>All Others</c:v>
                </c:pt>
                <c:pt idx="1344">
                  <c:v>All Others</c:v>
                </c:pt>
                <c:pt idx="1345">
                  <c:v>All Others</c:v>
                </c:pt>
                <c:pt idx="1346">
                  <c:v>All Others</c:v>
                </c:pt>
                <c:pt idx="1347">
                  <c:v>All Others</c:v>
                </c:pt>
                <c:pt idx="1348">
                  <c:v>All Others</c:v>
                </c:pt>
                <c:pt idx="1349">
                  <c:v>All Others</c:v>
                </c:pt>
                <c:pt idx="1350">
                  <c:v>All Others</c:v>
                </c:pt>
                <c:pt idx="1351">
                  <c:v>All Others</c:v>
                </c:pt>
                <c:pt idx="1352">
                  <c:v>All Others</c:v>
                </c:pt>
                <c:pt idx="1353">
                  <c:v>All Others</c:v>
                </c:pt>
                <c:pt idx="1354">
                  <c:v>All Others</c:v>
                </c:pt>
                <c:pt idx="1355">
                  <c:v>All Others</c:v>
                </c:pt>
                <c:pt idx="1356">
                  <c:v>Caprice Des</c:v>
                </c:pt>
                <c:pt idx="1357">
                  <c:v>All Others</c:v>
                </c:pt>
                <c:pt idx="1358">
                  <c:v>All Others</c:v>
                </c:pt>
                <c:pt idx="1359">
                  <c:v>All Others</c:v>
                </c:pt>
                <c:pt idx="1360">
                  <c:v>All Others</c:v>
                </c:pt>
                <c:pt idx="1361">
                  <c:v>All Others</c:v>
                </c:pt>
                <c:pt idx="1362">
                  <c:v>All Others</c:v>
                </c:pt>
                <c:pt idx="1363">
                  <c:v>All Others</c:v>
                </c:pt>
                <c:pt idx="1364">
                  <c:v>All Others</c:v>
                </c:pt>
                <c:pt idx="1365">
                  <c:v>Alsacelait</c:v>
                </c:pt>
                <c:pt idx="1366">
                  <c:v>All Others</c:v>
                </c:pt>
                <c:pt idx="1367">
                  <c:v>All Others</c:v>
                </c:pt>
                <c:pt idx="1368">
                  <c:v>All Others</c:v>
                </c:pt>
                <c:pt idx="1369">
                  <c:v>Gioiella</c:v>
                </c:pt>
                <c:pt idx="1370">
                  <c:v>All Others</c:v>
                </c:pt>
                <c:pt idx="1371">
                  <c:v>All Others</c:v>
                </c:pt>
                <c:pt idx="1372">
                  <c:v>All Others</c:v>
                </c:pt>
                <c:pt idx="1373">
                  <c:v>All Others</c:v>
                </c:pt>
                <c:pt idx="1374">
                  <c:v>All Others</c:v>
                </c:pt>
                <c:pt idx="1375">
                  <c:v>All Others</c:v>
                </c:pt>
                <c:pt idx="1376">
                  <c:v>All Others</c:v>
                </c:pt>
                <c:pt idx="1377">
                  <c:v>All Others</c:v>
                </c:pt>
                <c:pt idx="1378">
                  <c:v>All Others</c:v>
                </c:pt>
                <c:pt idx="1379">
                  <c:v>Vivaldi</c:v>
                </c:pt>
                <c:pt idx="1380">
                  <c:v>All Others</c:v>
                </c:pt>
                <c:pt idx="1381">
                  <c:v>All Others</c:v>
                </c:pt>
                <c:pt idx="1382">
                  <c:v>All Others</c:v>
                </c:pt>
                <c:pt idx="1383">
                  <c:v>Ambrosi</c:v>
                </c:pt>
                <c:pt idx="1384">
                  <c:v>All Others</c:v>
                </c:pt>
                <c:pt idx="1385">
                  <c:v>Private Lab</c:v>
                </c:pt>
                <c:pt idx="1386">
                  <c:v>All Others</c:v>
                </c:pt>
                <c:pt idx="1387">
                  <c:v>All Others</c:v>
                </c:pt>
                <c:pt idx="1388">
                  <c:v>All Others</c:v>
                </c:pt>
                <c:pt idx="1389">
                  <c:v>Richesmonts</c:v>
                </c:pt>
                <c:pt idx="1390">
                  <c:v>All Others</c:v>
                </c:pt>
                <c:pt idx="1391">
                  <c:v>Lactalis: A</c:v>
                </c:pt>
                <c:pt idx="1392">
                  <c:v>Ambrosi</c:v>
                </c:pt>
                <c:pt idx="1393">
                  <c:v>Casa Azzur</c:v>
                </c:pt>
                <c:pt idx="1394">
                  <c:v>Milleret: A</c:v>
                </c:pt>
                <c:pt idx="1395">
                  <c:v>Pays Auge</c:v>
                </c:pt>
                <c:pt idx="1396">
                  <c:v>All Others</c:v>
                </c:pt>
                <c:pt idx="1397">
                  <c:v>All Others</c:v>
                </c:pt>
                <c:pt idx="1398">
                  <c:v>All Others</c:v>
                </c:pt>
                <c:pt idx="1399">
                  <c:v>All Others</c:v>
                </c:pt>
                <c:pt idx="1400">
                  <c:v>All Others</c:v>
                </c:pt>
                <c:pt idx="1401">
                  <c:v>All Others</c:v>
                </c:pt>
                <c:pt idx="1402">
                  <c:v>All Others</c:v>
                </c:pt>
                <c:pt idx="1403">
                  <c:v>All Others</c:v>
                </c:pt>
                <c:pt idx="1404">
                  <c:v>All Others</c:v>
                </c:pt>
                <c:pt idx="1405">
                  <c:v>La Vache Qu</c:v>
                </c:pt>
                <c:pt idx="1406">
                  <c:v>All Others</c:v>
                </c:pt>
                <c:pt idx="1407">
                  <c:v>All Others</c:v>
                </c:pt>
                <c:pt idx="1408">
                  <c:v>Savencia: A</c:v>
                </c:pt>
                <c:pt idx="1409">
                  <c:v>All Others</c:v>
                </c:pt>
                <c:pt idx="1410">
                  <c:v>Delamelie</c:v>
                </c:pt>
                <c:pt idx="1411">
                  <c:v>Raguin</c:v>
                </c:pt>
                <c:pt idx="1412">
                  <c:v>All Others</c:v>
                </c:pt>
                <c:pt idx="1413">
                  <c:v>Private Lab</c:v>
                </c:pt>
                <c:pt idx="1414">
                  <c:v>All Others</c:v>
                </c:pt>
                <c:pt idx="1415">
                  <c:v>All Others</c:v>
                </c:pt>
                <c:pt idx="1416">
                  <c:v>Private Lab</c:v>
                </c:pt>
                <c:pt idx="1417">
                  <c:v>Lactalis: A</c:v>
                </c:pt>
                <c:pt idx="1418">
                  <c:v>All Others</c:v>
                </c:pt>
                <c:pt idx="1419">
                  <c:v>All Others</c:v>
                </c:pt>
                <c:pt idx="1420">
                  <c:v>All Others</c:v>
                </c:pt>
                <c:pt idx="1421">
                  <c:v>Etoile Du V</c:v>
                </c:pt>
                <c:pt idx="1422">
                  <c:v>All Others</c:v>
                </c:pt>
                <c:pt idx="1423">
                  <c:v>All Others</c:v>
                </c:pt>
                <c:pt idx="1424">
                  <c:v>All Others</c:v>
                </c:pt>
                <c:pt idx="1425">
                  <c:v>All Others</c:v>
                </c:pt>
                <c:pt idx="1426">
                  <c:v>Private Lab</c:v>
                </c:pt>
                <c:pt idx="1427">
                  <c:v>R Du Nord</c:v>
                </c:pt>
                <c:pt idx="1428">
                  <c:v>All Others</c:v>
                </c:pt>
                <c:pt idx="1429">
                  <c:v>All Others</c:v>
                </c:pt>
                <c:pt idx="1430">
                  <c:v>All Others</c:v>
                </c:pt>
                <c:pt idx="1431">
                  <c:v>All Others</c:v>
                </c:pt>
                <c:pt idx="1432">
                  <c:v>All Others</c:v>
                </c:pt>
                <c:pt idx="1433">
                  <c:v>All Others</c:v>
                </c:pt>
                <c:pt idx="1434">
                  <c:v>All Others</c:v>
                </c:pt>
                <c:pt idx="1435">
                  <c:v>All Others</c:v>
                </c:pt>
                <c:pt idx="1436">
                  <c:v>Private Lab</c:v>
                </c:pt>
                <c:pt idx="1437">
                  <c:v>All Others</c:v>
                </c:pt>
                <c:pt idx="1438">
                  <c:v>Chirag</c:v>
                </c:pt>
                <c:pt idx="1439">
                  <c:v>Gillot</c:v>
                </c:pt>
                <c:pt idx="1440">
                  <c:v>Private Lab</c:v>
                </c:pt>
                <c:pt idx="1441">
                  <c:v>All Others</c:v>
                </c:pt>
                <c:pt idx="1442">
                  <c:v>Private Lab</c:v>
                </c:pt>
                <c:pt idx="1443">
                  <c:v>Pave D'Affi</c:v>
                </c:pt>
                <c:pt idx="1444">
                  <c:v>All Others</c:v>
                </c:pt>
                <c:pt idx="1445">
                  <c:v>All Others</c:v>
                </c:pt>
                <c:pt idx="1446">
                  <c:v>All Others</c:v>
                </c:pt>
                <c:pt idx="1447">
                  <c:v>All Others</c:v>
                </c:pt>
                <c:pt idx="1448">
                  <c:v>All Others</c:v>
                </c:pt>
                <c:pt idx="1449">
                  <c:v>All Others</c:v>
                </c:pt>
                <c:pt idx="1450">
                  <c:v>Private Lab</c:v>
                </c:pt>
                <c:pt idx="1451">
                  <c:v>O'Tapas Ape</c:v>
                </c:pt>
                <c:pt idx="1452">
                  <c:v>All Others</c:v>
                </c:pt>
                <c:pt idx="1453">
                  <c:v>O'Tapas Ape</c:v>
                </c:pt>
                <c:pt idx="1454">
                  <c:v>Private Lab</c:v>
                </c:pt>
                <c:pt idx="1455">
                  <c:v>All Others</c:v>
                </c:pt>
                <c:pt idx="1456">
                  <c:v>All Others</c:v>
                </c:pt>
                <c:pt idx="1457">
                  <c:v>All Others</c:v>
                </c:pt>
                <c:pt idx="1458">
                  <c:v>All Others</c:v>
                </c:pt>
              </c:strCache>
            </c:strRef>
          </c:cat>
          <c:val>
            <c:numRef>
              <c:f>Sheet1!$C$2:$C$1460</c:f>
              <c:numCache>
                <c:formatCode>General</c:formatCode>
                <c:ptCount val="1459"/>
                <c:pt idx="0">
                  <c:v>0.02184191821321861</c:v>
                </c:pt>
                <c:pt idx="1">
                  <c:v>0.04089758747563591</c:v>
                </c:pt>
                <c:pt idx="2">
                  <c:v>0.05846827993305821</c:v>
                </c:pt>
                <c:pt idx="3">
                  <c:v>0.07321923072307428</c:v>
                </c:pt>
                <c:pt idx="4">
                  <c:v>0.08697586020840468</c:v>
                </c:pt>
                <c:pt idx="5">
                  <c:v>0.09792349072275022</c:v>
                </c:pt>
                <c:pt idx="6">
                  <c:v>0.10770027445077165</c:v>
                </c:pt>
                <c:pt idx="7">
                  <c:v>0.11651402644682926</c:v>
                </c:pt>
                <c:pt idx="8">
                  <c:v>0.12513052691360804</c:v>
                </c:pt>
                <c:pt idx="9">
                  <c:v>0.13361745900974728</c:v>
                </c:pt>
                <c:pt idx="10">
                  <c:v>0.1420088292659589</c:v>
                </c:pt>
                <c:pt idx="11">
                  <c:v>0.15034456634713625</c:v>
                </c:pt>
                <c:pt idx="12">
                  <c:v>0.1586303212604597</c:v>
                </c:pt>
                <c:pt idx="13">
                  <c:v>0.16655943609572937</c:v>
                </c:pt>
                <c:pt idx="14">
                  <c:v>0.17394967084836044</c:v>
                </c:pt>
                <c:pt idx="15">
                  <c:v>0.18111111801989896</c:v>
                </c:pt>
                <c:pt idx="16">
                  <c:v>0.18824855528389564</c:v>
                </c:pt>
                <c:pt idx="17">
                  <c:v>0.19537668132619707</c:v>
                </c:pt>
                <c:pt idx="18">
                  <c:v>0.2022304676072309</c:v>
                </c:pt>
                <c:pt idx="19">
                  <c:v>0.20904183388855005</c:v>
                </c:pt>
                <c:pt idx="20">
                  <c:v>0.21578728407671963</c:v>
                </c:pt>
                <c:pt idx="21">
                  <c:v>0.22246104961299237</c:v>
                </c:pt>
                <c:pt idx="22">
                  <c:v>0.22900862923016382</c:v>
                </c:pt>
                <c:pt idx="23">
                  <c:v>0.23547703786701987</c:v>
                </c:pt>
                <c:pt idx="24">
                  <c:v>0.24191120202604066</c:v>
                </c:pt>
                <c:pt idx="25">
                  <c:v>0.24800098844183033</c:v>
                </c:pt>
                <c:pt idx="26">
                  <c:v>0.25377029231435333</c:v>
                </c:pt>
                <c:pt idx="27">
                  <c:v>0.2592919093474131</c:v>
                </c:pt>
                <c:pt idx="28">
                  <c:v>0.26476607631129007</c:v>
                </c:pt>
                <c:pt idx="29">
                  <c:v>0.27021619544776493</c:v>
                </c:pt>
                <c:pt idx="30">
                  <c:v>0.2754919183027569</c:v>
                </c:pt>
                <c:pt idx="31">
                  <c:v>0.2807100844978011</c:v>
                </c:pt>
                <c:pt idx="32">
                  <c:v>0.285906812699828</c:v>
                </c:pt>
                <c:pt idx="33">
                  <c:v>0.29102409974253485</c:v>
                </c:pt>
                <c:pt idx="34">
                  <c:v>0.29613951544013617</c:v>
                </c:pt>
                <c:pt idx="35">
                  <c:v>0.3011795521434515</c:v>
                </c:pt>
                <c:pt idx="36">
                  <c:v>0.30608696129139806</c:v>
                </c:pt>
                <c:pt idx="37">
                  <c:v>0.31098847295307236</c:v>
                </c:pt>
                <c:pt idx="38">
                  <c:v>0.31587470480704105</c:v>
                </c:pt>
                <c:pt idx="39">
                  <c:v>0.32065927635955027</c:v>
                </c:pt>
                <c:pt idx="40">
                  <c:v>0.3254437787083145</c:v>
                </c:pt>
                <c:pt idx="41">
                  <c:v>0.330121891201044</c:v>
                </c:pt>
                <c:pt idx="42">
                  <c:v>0.33460370774497417</c:v>
                </c:pt>
                <c:pt idx="43">
                  <c:v>0.33900498534962875</c:v>
                </c:pt>
                <c:pt idx="44">
                  <c:v>0.3433473497113336</c:v>
                </c:pt>
                <c:pt idx="45">
                  <c:v>0.3476761169591335</c:v>
                </c:pt>
                <c:pt idx="46">
                  <c:v>0.35196194944511516</c:v>
                </c:pt>
                <c:pt idx="47">
                  <c:v>0.3562294666385747</c:v>
                </c:pt>
                <c:pt idx="48">
                  <c:v>0.36045167149497553</c:v>
                </c:pt>
                <c:pt idx="49">
                  <c:v>0.36466860359480247</c:v>
                </c:pt>
                <c:pt idx="50">
                  <c:v>0.3688590780601056</c:v>
                </c:pt>
                <c:pt idx="51">
                  <c:v>0.37304421056508974</c:v>
                </c:pt>
                <c:pt idx="52">
                  <c:v>0.37708751046861866</c:v>
                </c:pt>
                <c:pt idx="53">
                  <c:v>0.3811107479220624</c:v>
                </c:pt>
                <c:pt idx="54">
                  <c:v>0.38508847964716</c:v>
                </c:pt>
                <c:pt idx="55">
                  <c:v>0.3890535925907481</c:v>
                </c:pt>
                <c:pt idx="56">
                  <c:v>0.39289857541692397</c:v>
                </c:pt>
                <c:pt idx="57">
                  <c:v>0.3967300170609887</c:v>
                </c:pt>
                <c:pt idx="58">
                  <c:v>0.4005521560153268</c:v>
                </c:pt>
                <c:pt idx="59">
                  <c:v>0.4043653506226179</c:v>
                </c:pt>
                <c:pt idx="60">
                  <c:v>0.4081625221929417</c:v>
                </c:pt>
                <c:pt idx="61">
                  <c:v>0.4119455866272395</c:v>
                </c:pt>
                <c:pt idx="62">
                  <c:v>0.41571299300322534</c:v>
                </c:pt>
                <c:pt idx="63">
                  <c:v>0.41947617700276735</c:v>
                </c:pt>
                <c:pt idx="64">
                  <c:v>0.42322661518926796</c:v>
                </c:pt>
                <c:pt idx="65">
                  <c:v>0.42683188098261793</c:v>
                </c:pt>
                <c:pt idx="66">
                  <c:v>0.4304321963382065</c:v>
                </c:pt>
                <c:pt idx="67">
                  <c:v>0.4340036802760168</c:v>
                </c:pt>
                <c:pt idx="68">
                  <c:v>0.4375466835547566</c:v>
                </c:pt>
                <c:pt idx="69">
                  <c:v>0.4410808619340094</c:v>
                </c:pt>
                <c:pt idx="70">
                  <c:v>0.44458697961664445</c:v>
                </c:pt>
                <c:pt idx="71">
                  <c:v>0.44808591717373275</c:v>
                </c:pt>
                <c:pt idx="72">
                  <c:v>0.4515534589824904</c:v>
                </c:pt>
                <c:pt idx="73">
                  <c:v>0.45499807728770364</c:v>
                </c:pt>
                <c:pt idx="74">
                  <c:v>0.45839002964695064</c:v>
                </c:pt>
                <c:pt idx="75">
                  <c:v>0.46171356130627567</c:v>
                </c:pt>
                <c:pt idx="76">
                  <c:v>0.46499213328324274</c:v>
                </c:pt>
                <c:pt idx="77">
                  <c:v>0.4682692330216339</c:v>
                </c:pt>
                <c:pt idx="78">
                  <c:v>0.4715435996860944</c:v>
                </c:pt>
                <c:pt idx="79">
                  <c:v>0.47478423379083357</c:v>
                </c:pt>
                <c:pt idx="80">
                  <c:v>0.4780059980250938</c:v>
                </c:pt>
                <c:pt idx="81">
                  <c:v>0.48118538586747867</c:v>
                </c:pt>
                <c:pt idx="82">
                  <c:v>0.48434270624716524</c:v>
                </c:pt>
                <c:pt idx="83">
                  <c:v>0.4874925876982586</c:v>
                </c:pt>
                <c:pt idx="84">
                  <c:v>0.49063362813392436</c:v>
                </c:pt>
                <c:pt idx="85">
                  <c:v>0.4937116467097775</c:v>
                </c:pt>
                <c:pt idx="86">
                  <c:v>0.49674871373250584</c:v>
                </c:pt>
                <c:pt idx="87">
                  <c:v>0.4997584898317804</c:v>
                </c:pt>
                <c:pt idx="88">
                  <c:v>0.5027380769822781</c:v>
                </c:pt>
                <c:pt idx="89">
                  <c:v>0.5056992369766659</c:v>
                </c:pt>
                <c:pt idx="90">
                  <c:v>0.5086510819573723</c:v>
                </c:pt>
                <c:pt idx="91">
                  <c:v>0.5115759659174095</c:v>
                </c:pt>
                <c:pt idx="92">
                  <c:v>0.514477299748211</c:v>
                </c:pt>
                <c:pt idx="93">
                  <c:v>0.5173660034215449</c:v>
                </c:pt>
                <c:pt idx="94">
                  <c:v>0.5202496684934422</c:v>
                </c:pt>
                <c:pt idx="95">
                  <c:v>0.5231240128636793</c:v>
                </c:pt>
                <c:pt idx="96">
                  <c:v>0.5259275020789633</c:v>
                </c:pt>
                <c:pt idx="97">
                  <c:v>0.5287294498519265</c:v>
                </c:pt>
                <c:pt idx="98">
                  <c:v>0.5314719004160914</c:v>
                </c:pt>
                <c:pt idx="99">
                  <c:v>0.5342007785142604</c:v>
                </c:pt>
                <c:pt idx="100">
                  <c:v>0.5369233713955857</c:v>
                </c:pt>
                <c:pt idx="101">
                  <c:v>0.539639981470953</c:v>
                </c:pt>
                <c:pt idx="102">
                  <c:v>0.5423487885870684</c:v>
                </c:pt>
                <c:pt idx="103">
                  <c:v>0.5450460102378673</c:v>
                </c:pt>
                <c:pt idx="104">
                  <c:v>0.5477360802030147</c:v>
                </c:pt>
                <c:pt idx="105">
                  <c:v>0.5503864366984759</c:v>
                </c:pt>
                <c:pt idx="106">
                  <c:v>0.5530278384189286</c:v>
                </c:pt>
                <c:pt idx="107">
                  <c:v>0.5556556686213819</c:v>
                </c:pt>
                <c:pt idx="108">
                  <c:v>0.5582576317911355</c:v>
                </c:pt>
                <c:pt idx="109">
                  <c:v>0.5608414218678431</c:v>
                </c:pt>
                <c:pt idx="110">
                  <c:v>0.5634102468716856</c:v>
                </c:pt>
                <c:pt idx="111">
                  <c:v>0.5659781826548042</c:v>
                </c:pt>
                <c:pt idx="112">
                  <c:v>0.5684822357972814</c:v>
                </c:pt>
                <c:pt idx="113">
                  <c:v>0.5709854945186855</c:v>
                </c:pt>
                <c:pt idx="114">
                  <c:v>0.5734770160953321</c:v>
                </c:pt>
                <c:pt idx="115">
                  <c:v>0.5759505266863353</c:v>
                </c:pt>
                <c:pt idx="116">
                  <c:v>0.578387436080186</c:v>
                </c:pt>
                <c:pt idx="117">
                  <c:v>0.5808098923192855</c:v>
                </c:pt>
                <c:pt idx="118">
                  <c:v>0.5831959919443314</c:v>
                </c:pt>
                <c:pt idx="119">
                  <c:v>0.5855643242188363</c:v>
                </c:pt>
                <c:pt idx="120">
                  <c:v>0.587911306663999</c:v>
                </c:pt>
                <c:pt idx="121">
                  <c:v>0.5902275996182291</c:v>
                </c:pt>
                <c:pt idx="122">
                  <c:v>0.5925438830924942</c:v>
                </c:pt>
                <c:pt idx="123">
                  <c:v>0.5948174062362983</c:v>
                </c:pt>
                <c:pt idx="124">
                  <c:v>0.5970759842151641</c:v>
                </c:pt>
                <c:pt idx="125">
                  <c:v>0.5993325258975319</c:v>
                </c:pt>
                <c:pt idx="126">
                  <c:v>0.6015577543072653</c:v>
                </c:pt>
                <c:pt idx="127">
                  <c:v>0.6037064082991169</c:v>
                </c:pt>
                <c:pt idx="128">
                  <c:v>0.6058430227353251</c:v>
                </c:pt>
                <c:pt idx="129">
                  <c:v>0.6079655414114654</c:v>
                </c:pt>
                <c:pt idx="130">
                  <c:v>0.6100445356719599</c:v>
                </c:pt>
                <c:pt idx="131">
                  <c:v>0.6121177376737945</c:v>
                </c:pt>
                <c:pt idx="132">
                  <c:v>0.6141481120374161</c:v>
                </c:pt>
                <c:pt idx="133">
                  <c:v>0.6161463872392987</c:v>
                </c:pt>
                <c:pt idx="134">
                  <c:v>0.6181337927132279</c:v>
                </c:pt>
                <c:pt idx="135">
                  <c:v>0.6201170213145457</c:v>
                </c:pt>
                <c:pt idx="136">
                  <c:v>0.6220997370497531</c:v>
                </c:pt>
                <c:pt idx="137">
                  <c:v>0.6240703933213902</c:v>
                </c:pt>
                <c:pt idx="138">
                  <c:v>0.6260401139204748</c:v>
                </c:pt>
                <c:pt idx="139">
                  <c:v>0.6280022770914025</c:v>
                </c:pt>
                <c:pt idx="140">
                  <c:v>0.6299429093656552</c:v>
                </c:pt>
                <c:pt idx="141">
                  <c:v>0.631836528597115</c:v>
                </c:pt>
                <c:pt idx="142">
                  <c:v>0.6337184713555938</c:v>
                </c:pt>
                <c:pt idx="143">
                  <c:v>0.6355961405458174</c:v>
                </c:pt>
                <c:pt idx="144">
                  <c:v>0.6374659840248728</c:v>
                </c:pt>
                <c:pt idx="145">
                  <c:v>0.639331047705538</c:v>
                </c:pt>
                <c:pt idx="146">
                  <c:v>0.6411917562902484</c:v>
                </c:pt>
                <c:pt idx="147">
                  <c:v>0.6430510153882991</c:v>
                </c:pt>
                <c:pt idx="148">
                  <c:v>0.6449056937672263</c:v>
                </c:pt>
                <c:pt idx="149">
                  <c:v>0.6467275894789325</c:v>
                </c:pt>
                <c:pt idx="150">
                  <c:v>0.6485450798508691</c:v>
                </c:pt>
                <c:pt idx="151">
                  <c:v>0.6503598106049727</c:v>
                </c:pt>
                <c:pt idx="152">
                  <c:v>0.6521641532133488</c:v>
                </c:pt>
                <c:pt idx="153">
                  <c:v>0.6539667913240045</c:v>
                </c:pt>
                <c:pt idx="154">
                  <c:v>0.6557531191547512</c:v>
                </c:pt>
                <c:pt idx="155">
                  <c:v>0.6575320895846043</c:v>
                </c:pt>
                <c:pt idx="156">
                  <c:v>0.6593013847621033</c:v>
                </c:pt>
                <c:pt idx="157">
                  <c:v>0.6610631073435016</c:v>
                </c:pt>
                <c:pt idx="158">
                  <c:v>0.6628227490725662</c:v>
                </c:pt>
                <c:pt idx="159">
                  <c:v>0.6645785751156887</c:v>
                </c:pt>
                <c:pt idx="160">
                  <c:v>0.6663329052203226</c:v>
                </c:pt>
                <c:pt idx="161">
                  <c:v>0.6680803860501908</c:v>
                </c:pt>
                <c:pt idx="162">
                  <c:v>0.6698269094035866</c:v>
                </c:pt>
                <c:pt idx="163">
                  <c:v>0.6715696246550124</c:v>
                </c:pt>
                <c:pt idx="164">
                  <c:v>0.6732772355957707</c:v>
                </c:pt>
                <c:pt idx="165">
                  <c:v>0.674975246175899</c:v>
                </c:pt>
                <c:pt idx="166">
                  <c:v>0.6766731941882578</c:v>
                </c:pt>
                <c:pt idx="167">
                  <c:v>0.6783569611208631</c:v>
                </c:pt>
                <c:pt idx="168">
                  <c:v>0.6800219823705318</c:v>
                </c:pt>
                <c:pt idx="169">
                  <c:v>0.6816814075968176</c:v>
                </c:pt>
                <c:pt idx="170">
                  <c:v>0.683328268077395</c:v>
                </c:pt>
                <c:pt idx="171">
                  <c:v>0.6849701970801411</c:v>
                </c:pt>
                <c:pt idx="172">
                  <c:v>0.686609792115486</c:v>
                </c:pt>
                <c:pt idx="173">
                  <c:v>0.6882404939955954</c:v>
                </c:pt>
                <c:pt idx="174">
                  <c:v>0.689852277657404</c:v>
                </c:pt>
                <c:pt idx="175">
                  <c:v>0.6914313943075656</c:v>
                </c:pt>
                <c:pt idx="176">
                  <c:v>0.6929982315589674</c:v>
                </c:pt>
                <c:pt idx="177">
                  <c:v>0.6945641473577641</c:v>
                </c:pt>
                <c:pt idx="178">
                  <c:v>0.6961273784304519</c:v>
                </c:pt>
                <c:pt idx="179">
                  <c:v>0.6976466793449888</c:v>
                </c:pt>
                <c:pt idx="180">
                  <c:v>0.6991587223982654</c:v>
                </c:pt>
                <c:pt idx="181">
                  <c:v>0.7006706678079017</c:v>
                </c:pt>
                <c:pt idx="182">
                  <c:v>0.7021796459884699</c:v>
                </c:pt>
                <c:pt idx="183">
                  <c:v>0.7036874552893446</c:v>
                </c:pt>
                <c:pt idx="184">
                  <c:v>0.705193294653477</c:v>
                </c:pt>
                <c:pt idx="185">
                  <c:v>0.7066842893403007</c:v>
                </c:pt>
                <c:pt idx="186">
                  <c:v>0.708174588197688</c:v>
                </c:pt>
                <c:pt idx="187">
                  <c:v>0.7096620013537068</c:v>
                </c:pt>
                <c:pt idx="188">
                  <c:v>0.7111478086036422</c:v>
                </c:pt>
                <c:pt idx="189">
                  <c:v>0.7126307282562163</c:v>
                </c:pt>
                <c:pt idx="190">
                  <c:v>0.7140950662292497</c:v>
                </c:pt>
                <c:pt idx="191">
                  <c:v>0.7155478566568269</c:v>
                </c:pt>
                <c:pt idx="192">
                  <c:v>0.7169978580786794</c:v>
                </c:pt>
                <c:pt idx="193">
                  <c:v>0.7184429706825436</c:v>
                </c:pt>
                <c:pt idx="194">
                  <c:v>0.7198587105626237</c:v>
                </c:pt>
                <c:pt idx="195">
                  <c:v>0.7212686373281207</c:v>
                </c:pt>
                <c:pt idx="196">
                  <c:v>0.7226763040699442</c:v>
                </c:pt>
                <c:pt idx="197">
                  <c:v>0.7240797294753938</c:v>
                </c:pt>
                <c:pt idx="198">
                  <c:v>0.725482193612385</c:v>
                </c:pt>
                <c:pt idx="199">
                  <c:v>0.7268766699308051</c:v>
                </c:pt>
                <c:pt idx="200">
                  <c:v>0.7282702124726655</c:v>
                </c:pt>
                <c:pt idx="201">
                  <c:v>0.7296636545268962</c:v>
                </c:pt>
                <c:pt idx="202">
                  <c:v>0.7310545502625081</c:v>
                </c:pt>
                <c:pt idx="203">
                  <c:v>0.7324411620019032</c:v>
                </c:pt>
                <c:pt idx="204">
                  <c:v>0.7338178576978314</c:v>
                </c:pt>
                <c:pt idx="205">
                  <c:v>0.7351875353756155</c:v>
                </c:pt>
                <c:pt idx="206">
                  <c:v>0.7365562242930426</c:v>
                </c:pt>
                <c:pt idx="207">
                  <c:v>0.7379244932480168</c:v>
                </c:pt>
                <c:pt idx="208">
                  <c:v>0.7392819047989923</c:v>
                </c:pt>
                <c:pt idx="209">
                  <c:v>0.7406310981682455</c:v>
                </c:pt>
                <c:pt idx="210">
                  <c:v>0.7419489393970073</c:v>
                </c:pt>
                <c:pt idx="211">
                  <c:v>0.7432661265081791</c:v>
                </c:pt>
                <c:pt idx="212">
                  <c:v>0.7445816678974142</c:v>
                </c:pt>
                <c:pt idx="213">
                  <c:v>0.7458862987948461</c:v>
                </c:pt>
                <c:pt idx="214">
                  <c:v>0.7471877169321146</c:v>
                </c:pt>
                <c:pt idx="215">
                  <c:v>0.7484793185655494</c:v>
                </c:pt>
                <c:pt idx="216">
                  <c:v>0.7497662133963251</c:v>
                </c:pt>
                <c:pt idx="217">
                  <c:v>0.7510530304913873</c:v>
                </c:pt>
                <c:pt idx="218">
                  <c:v>0.7523352716073084</c:v>
                </c:pt>
                <c:pt idx="219">
                  <c:v>0.7536110985788608</c:v>
                </c:pt>
                <c:pt idx="220">
                  <c:v>0.7548851660688954</c:v>
                </c:pt>
                <c:pt idx="221">
                  <c:v>0.75615387832666</c:v>
                </c:pt>
                <c:pt idx="222">
                  <c:v>0.7574170580768077</c:v>
                </c:pt>
                <c:pt idx="223">
                  <c:v>0.7586764591128771</c:v>
                </c:pt>
                <c:pt idx="224">
                  <c:v>0.7599310263147554</c:v>
                </c:pt>
                <c:pt idx="225">
                  <c:v>0.7611672431482408</c:v>
                </c:pt>
                <c:pt idx="226">
                  <c:v>0.7624004946486512</c:v>
                </c:pt>
                <c:pt idx="227">
                  <c:v>0.7636320805191982</c:v>
                </c:pt>
                <c:pt idx="228">
                  <c:v>0.7648433840044703</c:v>
                </c:pt>
                <c:pt idx="229">
                  <c:v>0.7660486146241162</c:v>
                </c:pt>
                <c:pt idx="230">
                  <c:v>0.7672480008452943</c:v>
                </c:pt>
                <c:pt idx="231">
                  <c:v>0.7684397395786475</c:v>
                </c:pt>
                <c:pt idx="232">
                  <c:v>0.76962144661296</c:v>
                </c:pt>
                <c:pt idx="233">
                  <c:v>0.7707990876902523</c:v>
                </c:pt>
                <c:pt idx="234">
                  <c:v>0.7719694282464414</c:v>
                </c:pt>
                <c:pt idx="235">
                  <c:v>0.7731338030606099</c:v>
                </c:pt>
                <c:pt idx="236">
                  <c:v>0.7742947138955404</c:v>
                </c:pt>
                <c:pt idx="237">
                  <c:v>0.7754554872709774</c:v>
                </c:pt>
                <c:pt idx="238">
                  <c:v>0.7766162606464143</c:v>
                </c:pt>
                <c:pt idx="239">
                  <c:v>0.7777571706510326</c:v>
                </c:pt>
                <c:pt idx="240">
                  <c:v>0.7788957665961764</c:v>
                </c:pt>
                <c:pt idx="241">
                  <c:v>0.7800278270533986</c:v>
                </c:pt>
                <c:pt idx="242">
                  <c:v>0.7811553579833085</c:v>
                </c:pt>
                <c:pt idx="243">
                  <c:v>0.7822740327298467</c:v>
                </c:pt>
                <c:pt idx="244">
                  <c:v>0.7833882367248562</c:v>
                </c:pt>
                <c:pt idx="245">
                  <c:v>0.7844974883861113</c:v>
                </c:pt>
                <c:pt idx="246">
                  <c:v>0.7856055104958963</c:v>
                </c:pt>
                <c:pt idx="247">
                  <c:v>0.7867074113922334</c:v>
                </c:pt>
                <c:pt idx="248">
                  <c:v>0.7878090307336078</c:v>
                </c:pt>
                <c:pt idx="249">
                  <c:v>0.7889094973112292</c:v>
                </c:pt>
                <c:pt idx="250">
                  <c:v>0.7900074194662249</c:v>
                </c:pt>
                <c:pt idx="251">
                  <c:v>0.7911022606325716</c:v>
                </c:pt>
                <c:pt idx="252">
                  <c:v>0.7921907644422667</c:v>
                </c:pt>
                <c:pt idx="253">
                  <c:v>0.793278719361984</c:v>
                </c:pt>
                <c:pt idx="254">
                  <c:v>0.7943651480073245</c:v>
                </c:pt>
                <c:pt idx="255">
                  <c:v>0.7954461626446114</c:v>
                </c:pt>
                <c:pt idx="256">
                  <c:v>0.7965136493717384</c:v>
                </c:pt>
                <c:pt idx="257">
                  <c:v>0.7975760785374987</c:v>
                </c:pt>
                <c:pt idx="258">
                  <c:v>0.7986382119283486</c:v>
                </c:pt>
                <c:pt idx="259">
                  <c:v>0.7996969277917895</c:v>
                </c:pt>
                <c:pt idx="260">
                  <c:v>0.8007473306738574</c:v>
                </c:pt>
                <c:pt idx="261">
                  <c:v>0.8017959740744076</c:v>
                </c:pt>
                <c:pt idx="262">
                  <c:v>0.8028394717499159</c:v>
                </c:pt>
                <c:pt idx="263">
                  <c:v>0.8038817607298773</c:v>
                </c:pt>
                <c:pt idx="264">
                  <c:v>0.8049143194736872</c:v>
                </c:pt>
                <c:pt idx="265">
                  <c:v>0.8059433156466225</c:v>
                </c:pt>
                <c:pt idx="266">
                  <c:v>0.8069596475342159</c:v>
                </c:pt>
                <c:pt idx="267">
                  <c:v>0.8079699103481692</c:v>
                </c:pt>
                <c:pt idx="268">
                  <c:v>0.8089788260590857</c:v>
                </c:pt>
                <c:pt idx="269">
                  <c:v>0.8099861007880479</c:v>
                </c:pt>
                <c:pt idx="270">
                  <c:v>0.8109903637321062</c:v>
                </c:pt>
                <c:pt idx="271">
                  <c:v>0.8119941545739039</c:v>
                </c:pt>
                <c:pt idx="272">
                  <c:v>0.8129972164063873</c:v>
                </c:pt>
                <c:pt idx="273">
                  <c:v>0.8139998345765054</c:v>
                </c:pt>
                <c:pt idx="274">
                  <c:v>0.814989710725568</c:v>
                </c:pt>
                <c:pt idx="275">
                  <c:v>0.8159778596249943</c:v>
                </c:pt>
                <c:pt idx="276">
                  <c:v>0.8169641741511787</c:v>
                </c:pt>
                <c:pt idx="277">
                  <c:v>0.8179491595862599</c:v>
                </c:pt>
                <c:pt idx="278">
                  <c:v>0.8189332671765753</c:v>
                </c:pt>
                <c:pt idx="279">
                  <c:v>0.8199165301020027</c:v>
                </c:pt>
                <c:pt idx="280">
                  <c:v>0.820890706480907</c:v>
                </c:pt>
                <c:pt idx="281">
                  <c:v>0.821864779528192</c:v>
                </c:pt>
                <c:pt idx="282">
                  <c:v>0.8228373784409081</c:v>
                </c:pt>
                <c:pt idx="283">
                  <c:v>0.8238099375377709</c:v>
                </c:pt>
                <c:pt idx="284">
                  <c:v>0.8247793407542606</c:v>
                </c:pt>
                <c:pt idx="285">
                  <c:v>0.8257461474083168</c:v>
                </c:pt>
                <c:pt idx="286">
                  <c:v>0.8267083818752179</c:v>
                </c:pt>
                <c:pt idx="287">
                  <c:v>0.8276622114050848</c:v>
                </c:pt>
                <c:pt idx="288">
                  <c:v>0.8286146985718973</c:v>
                </c:pt>
                <c:pt idx="289">
                  <c:v>0.8295541441507581</c:v>
                </c:pt>
                <c:pt idx="290">
                  <c:v>0.8304931109913827</c:v>
                </c:pt>
                <c:pt idx="291">
                  <c:v>0.8314225988149302</c:v>
                </c:pt>
                <c:pt idx="292">
                  <c:v>0.8323459711130087</c:v>
                </c:pt>
                <c:pt idx="293">
                  <c:v>0.8332681972833098</c:v>
                </c:pt>
                <c:pt idx="294">
                  <c:v>0.8341822128558607</c:v>
                </c:pt>
                <c:pt idx="295">
                  <c:v>0.8350949818130045</c:v>
                </c:pt>
                <c:pt idx="296">
                  <c:v>0.8360074711111786</c:v>
                </c:pt>
                <c:pt idx="297">
                  <c:v>0.8369197812380128</c:v>
                </c:pt>
                <c:pt idx="298">
                  <c:v>0.8378241812819897</c:v>
                </c:pt>
                <c:pt idx="299">
                  <c:v>0.8387284694623786</c:v>
                </c:pt>
                <c:pt idx="300">
                  <c:v>0.8396294747308625</c:v>
                </c:pt>
                <c:pt idx="301">
                  <c:v>0.8405239283954841</c:v>
                </c:pt>
                <c:pt idx="302">
                  <c:v>0.841417915645824</c:v>
                </c:pt>
                <c:pt idx="303">
                  <c:v>0.8422955423724401</c:v>
                </c:pt>
                <c:pt idx="304">
                  <c:v>0.8431713337778178</c:v>
                </c:pt>
                <c:pt idx="305">
                  <c:v>0.844045057602813</c:v>
                </c:pt>
                <c:pt idx="306">
                  <c:v>0.8449126061785593</c:v>
                </c:pt>
                <c:pt idx="307">
                  <c:v>0.8457708435326103</c:v>
                </c:pt>
                <c:pt idx="308">
                  <c:v>0.8466259382782395</c:v>
                </c:pt>
                <c:pt idx="309">
                  <c:v>0.8474667249125831</c:v>
                </c:pt>
                <c:pt idx="310">
                  <c:v>0.8483050884678539</c:v>
                </c:pt>
                <c:pt idx="311">
                  <c:v>0.8491412744751473</c:v>
                </c:pt>
                <c:pt idx="312">
                  <c:v>0.8499714966364129</c:v>
                </c:pt>
                <c:pt idx="313">
                  <c:v>0.8508008419009092</c:v>
                </c:pt>
                <c:pt idx="314">
                  <c:v>0.8516295216718573</c:v>
                </c:pt>
                <c:pt idx="315">
                  <c:v>0.8524581000071793</c:v>
                </c:pt>
                <c:pt idx="316">
                  <c:v>0.8532819516319154</c:v>
                </c:pt>
                <c:pt idx="317">
                  <c:v>0.8540988222103715</c:v>
                </c:pt>
                <c:pt idx="318">
                  <c:v>0.8549146168127917</c:v>
                </c:pt>
                <c:pt idx="319">
                  <c:v>0.855717040872472</c:v>
                </c:pt>
                <c:pt idx="320">
                  <c:v>0.85651850745568</c:v>
                </c:pt>
                <c:pt idx="321">
                  <c:v>0.8573176912632983</c:v>
                </c:pt>
                <c:pt idx="322">
                  <c:v>0.858115906218486</c:v>
                </c:pt>
                <c:pt idx="323">
                  <c:v>0.8589032836776016</c:v>
                </c:pt>
                <c:pt idx="324">
                  <c:v>0.859687026518108</c:v>
                </c:pt>
                <c:pt idx="325">
                  <c:v>0.8604644120940361</c:v>
                </c:pt>
                <c:pt idx="326">
                  <c:v>0.8612362917062495</c:v>
                </c:pt>
                <c:pt idx="327">
                  <c:v>0.862007816767769</c:v>
                </c:pt>
                <c:pt idx="328">
                  <c:v>0.8627653152729657</c:v>
                </c:pt>
                <c:pt idx="329">
                  <c:v>0.8635222904840905</c:v>
                </c:pt>
                <c:pt idx="330">
                  <c:v>0.8642748157996096</c:v>
                </c:pt>
                <c:pt idx="331">
                  <c:v>0.8650268747008472</c:v>
                </c:pt>
                <c:pt idx="332">
                  <c:v>0.8657780102534866</c:v>
                </c:pt>
                <c:pt idx="333">
                  <c:v>0.8665285637362704</c:v>
                </c:pt>
                <c:pt idx="334">
                  <c:v>0.8672720290491688</c:v>
                </c:pt>
                <c:pt idx="335">
                  <c:v>0.8680112776736024</c:v>
                </c:pt>
                <c:pt idx="336">
                  <c:v>0.8687482729103381</c:v>
                </c:pt>
                <c:pt idx="337">
                  <c:v>0.8694844794139795</c:v>
                </c:pt>
                <c:pt idx="338">
                  <c:v>0.8702114088238001</c:v>
                </c:pt>
                <c:pt idx="339">
                  <c:v>0.870928798544767</c:v>
                </c:pt>
                <c:pt idx="340">
                  <c:v>0.8716444913519859</c:v>
                </c:pt>
                <c:pt idx="341">
                  <c:v>0.8723530021376649</c:v>
                </c:pt>
                <c:pt idx="342">
                  <c:v>0.8730604682311928</c:v>
                </c:pt>
                <c:pt idx="343">
                  <c:v>0.8737656392251764</c:v>
                </c:pt>
                <c:pt idx="344">
                  <c:v>0.8744684079960103</c:v>
                </c:pt>
                <c:pt idx="345">
                  <c:v>0.8751686731080685</c:v>
                </c:pt>
                <c:pt idx="346">
                  <c:v>0.8758644826365419</c:v>
                </c:pt>
                <c:pt idx="347">
                  <c:v>0.8765599499382762</c:v>
                </c:pt>
                <c:pt idx="348">
                  <c:v>0.8772468122757133</c:v>
                </c:pt>
                <c:pt idx="349">
                  <c:v>0.8779323900778829</c:v>
                </c:pt>
                <c:pt idx="350">
                  <c:v>0.8786175033617639</c:v>
                </c:pt>
                <c:pt idx="351">
                  <c:v>0.8793002561343416</c:v>
                </c:pt>
                <c:pt idx="352">
                  <c:v>0.8799815053844586</c:v>
                </c:pt>
                <c:pt idx="353">
                  <c:v>0.8806596926058569</c:v>
                </c:pt>
                <c:pt idx="354">
                  <c:v>0.8813341797968869</c:v>
                </c:pt>
                <c:pt idx="355">
                  <c:v>0.8820017504053992</c:v>
                </c:pt>
                <c:pt idx="356">
                  <c:v>0.8826678753192378</c:v>
                </c:pt>
                <c:pt idx="357">
                  <c:v>0.883333816321754</c:v>
                </c:pt>
                <c:pt idx="358">
                  <c:v>0.8839995250651259</c:v>
                </c:pt>
                <c:pt idx="359">
                  <c:v>0.8846627510056451</c:v>
                </c:pt>
                <c:pt idx="360">
                  <c:v>0.885325240352878</c:v>
                </c:pt>
                <c:pt idx="361">
                  <c:v>0.8859817724900586</c:v>
                </c:pt>
                <c:pt idx="362">
                  <c:v>0.8866365223938054</c:v>
                </c:pt>
                <c:pt idx="363">
                  <c:v>0.8872897081033151</c:v>
                </c:pt>
                <c:pt idx="364">
                  <c:v>0.8879421439475874</c:v>
                </c:pt>
                <c:pt idx="365">
                  <c:v>0.8885874318981943</c:v>
                </c:pt>
                <c:pt idx="366">
                  <c:v>0.8892321396749387</c:v>
                </c:pt>
                <c:pt idx="367">
                  <c:v>0.8898759677109244</c:v>
                </c:pt>
                <c:pt idx="368">
                  <c:v>0.8905196251075386</c:v>
                </c:pt>
                <c:pt idx="369">
                  <c:v>0.8911608584770835</c:v>
                </c:pt>
                <c:pt idx="370">
                  <c:v>0.8917983207165222</c:v>
                </c:pt>
                <c:pt idx="371">
                  <c:v>0.8924334224446575</c:v>
                </c:pt>
                <c:pt idx="372">
                  <c:v>0.8930659788021706</c:v>
                </c:pt>
                <c:pt idx="373">
                  <c:v>0.8936943762990059</c:v>
                </c:pt>
                <c:pt idx="374">
                  <c:v>0.8943208436749522</c:v>
                </c:pt>
                <c:pt idx="375">
                  <c:v>0.8949453799820131</c:v>
                </c:pt>
                <c:pt idx="376">
                  <c:v>0.8955652549902472</c:v>
                </c:pt>
                <c:pt idx="377">
                  <c:v>0.896175555233757</c:v>
                </c:pt>
                <c:pt idx="378">
                  <c:v>0.8967858497892879</c:v>
                </c:pt>
                <c:pt idx="379">
                  <c:v>0.8973922708310896</c:v>
                </c:pt>
                <c:pt idx="380">
                  <c:v>0.8979983088823025</c:v>
                </c:pt>
                <c:pt idx="381">
                  <c:v>0.8986022414332724</c:v>
                </c:pt>
                <c:pt idx="382">
                  <c:v>0.899200401633509</c:v>
                </c:pt>
                <c:pt idx="383">
                  <c:v>0.8997957747240141</c:v>
                </c:pt>
                <c:pt idx="384">
                  <c:v>0.9003903116815996</c:v>
                </c:pt>
                <c:pt idx="385">
                  <c:v>0.9009830588217792</c:v>
                </c:pt>
                <c:pt idx="386">
                  <c:v>0.9015743033874947</c:v>
                </c:pt>
                <c:pt idx="387">
                  <c:v>0.9021647905040008</c:v>
                </c:pt>
                <c:pt idx="388">
                  <c:v>0.9027510770479827</c:v>
                </c:pt>
                <c:pt idx="389">
                  <c:v>0.9033370573890929</c:v>
                </c:pt>
                <c:pt idx="390">
                  <c:v>0.9039229941223637</c:v>
                </c:pt>
                <c:pt idx="391">
                  <c:v>0.904508487193269</c:v>
                </c:pt>
                <c:pt idx="392">
                  <c:v>0.9050928417203691</c:v>
                </c:pt>
                <c:pt idx="393">
                  <c:v>0.9056739066995886</c:v>
                </c:pt>
                <c:pt idx="394">
                  <c:v>0.906254198113658</c:v>
                </c:pt>
                <c:pt idx="395">
                  <c:v>0.9068337842183261</c:v>
                </c:pt>
                <c:pt idx="396">
                  <c:v>0.9074085213208589</c:v>
                </c:pt>
                <c:pt idx="397">
                  <c:v>0.907978073830493</c:v>
                </c:pt>
                <c:pt idx="398">
                  <c:v>0.9085394451302686</c:v>
                </c:pt>
                <c:pt idx="399">
                  <c:v>0.9091002808120177</c:v>
                </c:pt>
                <c:pt idx="400">
                  <c:v>0.9096544568183025</c:v>
                </c:pt>
                <c:pt idx="401">
                  <c:v>0.9102037231506757</c:v>
                </c:pt>
                <c:pt idx="402">
                  <c:v>0.9107527420559605</c:v>
                </c:pt>
                <c:pt idx="403">
                  <c:v>0.9113006470653491</c:v>
                </c:pt>
                <c:pt idx="404">
                  <c:v>0.9118466191098592</c:v>
                </c:pt>
                <c:pt idx="405">
                  <c:v>0.9123919815926151</c:v>
                </c:pt>
                <c:pt idx="406">
                  <c:v>0.9129344962938629</c:v>
                </c:pt>
                <c:pt idx="407">
                  <c:v>0.913473950862385</c:v>
                </c:pt>
                <c:pt idx="408">
                  <c:v>0.914003678038745</c:v>
                </c:pt>
                <c:pt idx="409">
                  <c:v>0.9145251178296377</c:v>
                </c:pt>
                <c:pt idx="410">
                  <c:v>0.9150449801543422</c:v>
                </c:pt>
                <c:pt idx="411">
                  <c:v>0.9155629227861193</c:v>
                </c:pt>
                <c:pt idx="412">
                  <c:v>0.9160791154163438</c:v>
                </c:pt>
                <c:pt idx="413">
                  <c:v>0.9165918345873654</c:v>
                </c:pt>
                <c:pt idx="414">
                  <c:v>0.9171020472556215</c:v>
                </c:pt>
                <c:pt idx="415">
                  <c:v>0.917611014256467</c:v>
                </c:pt>
                <c:pt idx="416">
                  <c:v>0.9181165988057741</c:v>
                </c:pt>
                <c:pt idx="417">
                  <c:v>0.9186200020151178</c:v>
                </c:pt>
                <c:pt idx="418">
                  <c:v>0.9191232838809087</c:v>
                </c:pt>
                <c:pt idx="419">
                  <c:v>0.9196197809356964</c:v>
                </c:pt>
                <c:pt idx="420">
                  <c:v>0.920110280016582</c:v>
                </c:pt>
                <c:pt idx="421">
                  <c:v>0.9205989741121177</c:v>
                </c:pt>
                <c:pt idx="422">
                  <c:v>0.9210846924466167</c:v>
                </c:pt>
                <c:pt idx="423">
                  <c:v>0.9215701320701426</c:v>
                </c:pt>
                <c:pt idx="424">
                  <c:v>0.9220523712574596</c:v>
                </c:pt>
                <c:pt idx="425">
                  <c:v>0.9225331486341624</c:v>
                </c:pt>
                <c:pt idx="426">
                  <c:v>0.9230121826452881</c:v>
                </c:pt>
                <c:pt idx="427">
                  <c:v>0.923490985345266</c:v>
                </c:pt>
                <c:pt idx="428">
                  <c:v>0.9239685499618052</c:v>
                </c:pt>
                <c:pt idx="429">
                  <c:v>0.9244447551513529</c:v>
                </c:pt>
                <c:pt idx="430">
                  <c:v>0.924917082087189</c:v>
                </c:pt>
                <c:pt idx="431">
                  <c:v>0.9253884591305248</c:v>
                </c:pt>
                <c:pt idx="432">
                  <c:v>0.9258595783188105</c:v>
                </c:pt>
                <c:pt idx="433">
                  <c:v>0.9263276373743705</c:v>
                </c:pt>
                <c:pt idx="434">
                  <c:v>0.9267914171736963</c:v>
                </c:pt>
                <c:pt idx="435">
                  <c:v>0.9272535322911551</c:v>
                </c:pt>
                <c:pt idx="436">
                  <c:v>0.9277147212160263</c:v>
                </c:pt>
                <c:pt idx="437">
                  <c:v>0.9281709331592338</c:v>
                </c:pt>
                <c:pt idx="438">
                  <c:v>0.9286161530829385</c:v>
                </c:pt>
                <c:pt idx="439">
                  <c:v>0.9290586171807964</c:v>
                </c:pt>
                <c:pt idx="440">
                  <c:v>0.9294982638330344</c:v>
                </c:pt>
                <c:pt idx="441">
                  <c:v>0.9299375161187252</c:v>
                </c:pt>
                <c:pt idx="442">
                  <c:v>0.9303767134206187</c:v>
                </c:pt>
                <c:pt idx="443">
                  <c:v>0.9308113167314375</c:v>
                </c:pt>
                <c:pt idx="444">
                  <c:v>0.9312416512139837</c:v>
                </c:pt>
                <c:pt idx="445">
                  <c:v>0.9316697171408879</c:v>
                </c:pt>
                <c:pt idx="446">
                  <c:v>0.9320956851515212</c:v>
                </c:pt>
                <c:pt idx="447">
                  <c:v>0.9325178422161949</c:v>
                </c:pt>
                <c:pt idx="448">
                  <c:v>0.9329391896918514</c:v>
                </c:pt>
                <c:pt idx="449">
                  <c:v>0.9333572476196274</c:v>
                </c:pt>
                <c:pt idx="450">
                  <c:v>0.9337750353683987</c:v>
                </c:pt>
                <c:pt idx="451">
                  <c:v>0.9341866876837744</c:v>
                </c:pt>
                <c:pt idx="452">
                  <c:v>0.934596770116934</c:v>
                </c:pt>
                <c:pt idx="453">
                  <c:v>0.9350065103233544</c:v>
                </c:pt>
                <c:pt idx="454">
                  <c:v>0.9354159272629657</c:v>
                </c:pt>
                <c:pt idx="455">
                  <c:v>0.9358247953125993</c:v>
                </c:pt>
                <c:pt idx="456">
                  <c:v>0.9362336007944635</c:v>
                </c:pt>
                <c:pt idx="457">
                  <c:v>0.936639041836723</c:v>
                </c:pt>
                <c:pt idx="458">
                  <c:v>0.9370371226340993</c:v>
                </c:pt>
                <c:pt idx="459">
                  <c:v>0.9374298036433698</c:v>
                </c:pt>
                <c:pt idx="460">
                  <c:v>0.9378218893108337</c:v>
                </c:pt>
                <c:pt idx="461">
                  <c:v>0.9382132478649764</c:v>
                </c:pt>
                <c:pt idx="462">
                  <c:v>0.9386007073094844</c:v>
                </c:pt>
                <c:pt idx="463">
                  <c:v>0.9389786024172296</c:v>
                </c:pt>
                <c:pt idx="464">
                  <c:v>0.9393560168907457</c:v>
                </c:pt>
                <c:pt idx="465">
                  <c:v>0.9397303010797944</c:v>
                </c:pt>
                <c:pt idx="466">
                  <c:v>0.9401038363516023</c:v>
                </c:pt>
                <c:pt idx="467">
                  <c:v>0.9404752253593176</c:v>
                </c:pt>
                <c:pt idx="468">
                  <c:v>0.9408465935111097</c:v>
                </c:pt>
                <c:pt idx="469">
                  <c:v>0.9412140985771342</c:v>
                </c:pt>
                <c:pt idx="470">
                  <c:v>0.94158143774377</c:v>
                </c:pt>
                <c:pt idx="471">
                  <c:v>0.9419485939470799</c:v>
                </c:pt>
                <c:pt idx="472">
                  <c:v>0.9423064749525618</c:v>
                </c:pt>
                <c:pt idx="473">
                  <c:v>0.9426608843948338</c:v>
                </c:pt>
                <c:pt idx="474">
                  <c:v>0.9430134793717907</c:v>
                </c:pt>
                <c:pt idx="475">
                  <c:v>0.9433648751331658</c:v>
                </c:pt>
                <c:pt idx="476">
                  <c:v>0.943715570325122</c:v>
                </c:pt>
                <c:pt idx="477">
                  <c:v>0.9440629105574386</c:v>
                </c:pt>
                <c:pt idx="478">
                  <c:v>0.9444075793355975</c:v>
                </c:pt>
                <c:pt idx="479">
                  <c:v>0.9447503919365949</c:v>
                </c:pt>
                <c:pt idx="480">
                  <c:v>0.9450917616869082</c:v>
                </c:pt>
                <c:pt idx="481">
                  <c:v>0.945432170168763</c:v>
                </c:pt>
                <c:pt idx="482">
                  <c:v>0.9457690265077048</c:v>
                </c:pt>
                <c:pt idx="483">
                  <c:v>0.9461007466015696</c:v>
                </c:pt>
                <c:pt idx="484">
                  <c:v>0.94642995450469</c:v>
                </c:pt>
                <c:pt idx="485">
                  <c:v>0.9467578939884835</c:v>
                </c:pt>
                <c:pt idx="486">
                  <c:v>0.9470855310613913</c:v>
                </c:pt>
                <c:pt idx="487">
                  <c:v>0.947411295841197</c:v>
                </c:pt>
                <c:pt idx="488">
                  <c:v>0.947736403659423</c:v>
                </c:pt>
                <c:pt idx="489">
                  <c:v>0.9480599387514433</c:v>
                </c:pt>
                <c:pt idx="490">
                  <c:v>0.948381265959598</c:v>
                </c:pt>
                <c:pt idx="491">
                  <c:v>0.948702051861747</c:v>
                </c:pt>
                <c:pt idx="492">
                  <c:v>0.9490226367886365</c:v>
                </c:pt>
                <c:pt idx="493">
                  <c:v>0.9493409171360166</c:v>
                </c:pt>
                <c:pt idx="494">
                  <c:v>0.9496583148986484</c:v>
                </c:pt>
                <c:pt idx="495">
                  <c:v>0.9499739910996228</c:v>
                </c:pt>
                <c:pt idx="496">
                  <c:v>0.9502854496641359</c:v>
                </c:pt>
                <c:pt idx="497">
                  <c:v>0.9505956663532243</c:v>
                </c:pt>
                <c:pt idx="498">
                  <c:v>0.9509052194447577</c:v>
                </c:pt>
                <c:pt idx="499">
                  <c:v>0.9512144852933493</c:v>
                </c:pt>
                <c:pt idx="500">
                  <c:v>0.9515200122437159</c:v>
                </c:pt>
                <c:pt idx="501">
                  <c:v>0.9518241835590769</c:v>
                </c:pt>
                <c:pt idx="502">
                  <c:v>0.9521273357781926</c:v>
                </c:pt>
                <c:pt idx="503">
                  <c:v>0.9524284820366987</c:v>
                </c:pt>
                <c:pt idx="504">
                  <c:v>0.9527252608752954</c:v>
                </c:pt>
                <c:pt idx="505">
                  <c:v>0.9530215059918585</c:v>
                </c:pt>
                <c:pt idx="506">
                  <c:v>0.9533164874290773</c:v>
                </c:pt>
                <c:pt idx="507">
                  <c:v>0.9536105938655197</c:v>
                </c:pt>
                <c:pt idx="508">
                  <c:v>0.9539029256525005</c:v>
                </c:pt>
                <c:pt idx="509">
                  <c:v>0.954191822848135</c:v>
                </c:pt>
                <c:pt idx="510">
                  <c:v>0.9544781756211438</c:v>
                </c:pt>
                <c:pt idx="511">
                  <c:v>0.9547642639031271</c:v>
                </c:pt>
                <c:pt idx="512">
                  <c:v>0.9550499284306715</c:v>
                </c:pt>
                <c:pt idx="513">
                  <c:v>0.95533366473332</c:v>
                </c:pt>
                <c:pt idx="514">
                  <c:v>0.955614819641479</c:v>
                </c:pt>
                <c:pt idx="515">
                  <c:v>0.9558951715965962</c:v>
                </c:pt>
                <c:pt idx="516">
                  <c:v>0.9561658331314152</c:v>
                </c:pt>
                <c:pt idx="517">
                  <c:v>0.9564361827753833</c:v>
                </c:pt>
                <c:pt idx="518">
                  <c:v>0.9567056602625646</c:v>
                </c:pt>
                <c:pt idx="519">
                  <c:v>0.9569743907284982</c:v>
                </c:pt>
                <c:pt idx="520">
                  <c:v>0.9572403530446303</c:v>
                </c:pt>
                <c:pt idx="521">
                  <c:v>0.9575063106207798</c:v>
                </c:pt>
                <c:pt idx="522">
                  <c:v>0.9577704660555689</c:v>
                </c:pt>
                <c:pt idx="523">
                  <c:v>0.9580314684539745</c:v>
                </c:pt>
                <c:pt idx="524">
                  <c:v>0.9582918375907131</c:v>
                </c:pt>
                <c:pt idx="525">
                  <c:v>0.9585466201840339</c:v>
                </c:pt>
                <c:pt idx="526">
                  <c:v>0.9587998746069849</c:v>
                </c:pt>
                <c:pt idx="527">
                  <c:v>0.9590484734190882</c:v>
                </c:pt>
                <c:pt idx="528">
                  <c:v>0.9592962825501008</c:v>
                </c:pt>
                <c:pt idx="529">
                  <c:v>0.9595438233981018</c:v>
                </c:pt>
                <c:pt idx="530">
                  <c:v>0.9597912343705814</c:v>
                </c:pt>
                <c:pt idx="531">
                  <c:v>0.9600368176057948</c:v>
                </c:pt>
                <c:pt idx="532">
                  <c:v>0.9602820690422307</c:v>
                </c:pt>
                <c:pt idx="533">
                  <c:v>0.9605251040628323</c:v>
                </c:pt>
                <c:pt idx="534">
                  <c:v>0.9607674508379695</c:v>
                </c:pt>
                <c:pt idx="535">
                  <c:v>0.9610094383224306</c:v>
                </c:pt>
                <c:pt idx="536">
                  <c:v>0.9612456989599907</c:v>
                </c:pt>
                <c:pt idx="537">
                  <c:v>0.9614749984591973</c:v>
                </c:pt>
                <c:pt idx="538">
                  <c:v>0.96170374527644</c:v>
                </c:pt>
                <c:pt idx="539">
                  <c:v>0.9619320664432509</c:v>
                </c:pt>
                <c:pt idx="540">
                  <c:v>0.9621577389078203</c:v>
                </c:pt>
                <c:pt idx="541">
                  <c:v>0.9623829165182128</c:v>
                </c:pt>
                <c:pt idx="542">
                  <c:v>0.9626068446692086</c:v>
                </c:pt>
                <c:pt idx="543">
                  <c:v>0.9628304751493012</c:v>
                </c:pt>
                <c:pt idx="544">
                  <c:v>0.9630535425194684</c:v>
                </c:pt>
                <c:pt idx="545">
                  <c:v>0.9632749376237966</c:v>
                </c:pt>
                <c:pt idx="546">
                  <c:v>0.9634956871425032</c:v>
                </c:pt>
                <c:pt idx="547">
                  <c:v>0.9637163522895208</c:v>
                </c:pt>
                <c:pt idx="548">
                  <c:v>0.9639321845503438</c:v>
                </c:pt>
                <c:pt idx="549">
                  <c:v>0.9641473731215383</c:v>
                </c:pt>
                <c:pt idx="550">
                  <c:v>0.9643599660782957</c:v>
                </c:pt>
                <c:pt idx="551">
                  <c:v>0.9645719115534385</c:v>
                </c:pt>
                <c:pt idx="552">
                  <c:v>0.9647833792383416</c:v>
                </c:pt>
                <c:pt idx="553">
                  <c:v>0.9649946573239432</c:v>
                </c:pt>
                <c:pt idx="554">
                  <c:v>0.9652039303969318</c:v>
                </c:pt>
                <c:pt idx="555">
                  <c:v>0.9654126289840369</c:v>
                </c:pt>
                <c:pt idx="556">
                  <c:v>0.9656211540877813</c:v>
                </c:pt>
                <c:pt idx="557">
                  <c:v>0.9658296204157422</c:v>
                </c:pt>
                <c:pt idx="558">
                  <c:v>0.9660364182698501</c:v>
                </c:pt>
                <c:pt idx="559">
                  <c:v>0.9662430559125482</c:v>
                </c:pt>
                <c:pt idx="560">
                  <c:v>0.9664492413609124</c:v>
                </c:pt>
                <c:pt idx="561">
                  <c:v>0.966655296933755</c:v>
                </c:pt>
                <c:pt idx="562">
                  <c:v>0.9668576989280583</c:v>
                </c:pt>
                <c:pt idx="563">
                  <c:v>0.9670599151150461</c:v>
                </c:pt>
                <c:pt idx="564">
                  <c:v>0.9672602078171205</c:v>
                </c:pt>
                <c:pt idx="565">
                  <c:v>0.9674599175013429</c:v>
                </c:pt>
                <c:pt idx="566">
                  <c:v>0.9676592290270322</c:v>
                </c:pt>
                <c:pt idx="567">
                  <c:v>0.9678581755740662</c:v>
                </c:pt>
                <c:pt idx="568">
                  <c:v>0.9680558091459375</c:v>
                </c:pt>
                <c:pt idx="569">
                  <c:v>0.9682531194509998</c:v>
                </c:pt>
                <c:pt idx="570">
                  <c:v>0.9684476464383165</c:v>
                </c:pt>
                <c:pt idx="571">
                  <c:v>0.968640353272339</c:v>
                </c:pt>
                <c:pt idx="572">
                  <c:v>0.9688327159836294</c:v>
                </c:pt>
                <c:pt idx="573">
                  <c:v>0.9690241231144404</c:v>
                </c:pt>
                <c:pt idx="574">
                  <c:v>0.9692150932188615</c:v>
                </c:pt>
                <c:pt idx="575">
                  <c:v>0.9694058784639635</c:v>
                </c:pt>
                <c:pt idx="576">
                  <c:v>0.9695961868668225</c:v>
                </c:pt>
                <c:pt idx="577">
                  <c:v>0.9697841224344235</c:v>
                </c:pt>
                <c:pt idx="578">
                  <c:v>0.9699675531226215</c:v>
                </c:pt>
                <c:pt idx="579">
                  <c:v>0.9701504785286812</c:v>
                </c:pt>
                <c:pt idx="580">
                  <c:v>0.970333168831607</c:v>
                </c:pt>
                <c:pt idx="581">
                  <c:v>0.9705147547186017</c:v>
                </c:pt>
                <c:pt idx="582">
                  <c:v>0.9706951707779063</c:v>
                </c:pt>
                <c:pt idx="583">
                  <c:v>0.9708745137051646</c:v>
                </c:pt>
                <c:pt idx="584">
                  <c:v>0.9710531674389621</c:v>
                </c:pt>
                <c:pt idx="585">
                  <c:v>0.9712299337117134</c:v>
                </c:pt>
                <c:pt idx="586">
                  <c:v>0.9714050409905769</c:v>
                </c:pt>
                <c:pt idx="587">
                  <c:v>0.9715797539028933</c:v>
                </c:pt>
                <c:pt idx="588">
                  <c:v>0.971754377703538</c:v>
                </c:pt>
                <c:pt idx="589">
                  <c:v>0.9719275226296312</c:v>
                </c:pt>
                <c:pt idx="590">
                  <c:v>0.9721004864883915</c:v>
                </c:pt>
                <c:pt idx="591">
                  <c:v>0.9722730796805175</c:v>
                </c:pt>
                <c:pt idx="592">
                  <c:v>0.9724439114951328</c:v>
                </c:pt>
                <c:pt idx="593">
                  <c:v>0.9726128397327612</c:v>
                </c:pt>
                <c:pt idx="594">
                  <c:v>0.9727809242534982</c:v>
                </c:pt>
                <c:pt idx="595">
                  <c:v>0.9729489291425285</c:v>
                </c:pt>
                <c:pt idx="596">
                  <c:v>0.9731142891213033</c:v>
                </c:pt>
                <c:pt idx="597">
                  <c:v>0.9732788499390224</c:v>
                </c:pt>
                <c:pt idx="598">
                  <c:v>0.9734429177985576</c:v>
                </c:pt>
                <c:pt idx="599">
                  <c:v>0.973598887871927</c:v>
                </c:pt>
                <c:pt idx="600">
                  <c:v>0.9737529676402609</c:v>
                </c:pt>
                <c:pt idx="601">
                  <c:v>0.9739069848408252</c:v>
                </c:pt>
                <c:pt idx="602">
                  <c:v>0.9740597554259822</c:v>
                </c:pt>
                <c:pt idx="603">
                  <c:v>0.9742123695917156</c:v>
                </c:pt>
                <c:pt idx="604">
                  <c:v>0.9743647505503082</c:v>
                </c:pt>
                <c:pt idx="605">
                  <c:v>0.9745162176402677</c:v>
                </c:pt>
                <c:pt idx="606">
                  <c:v>0.974666880829189</c:v>
                </c:pt>
                <c:pt idx="607">
                  <c:v>0.9748174065586166</c:v>
                </c:pt>
                <c:pt idx="608">
                  <c:v>0.9749667672003367</c:v>
                </c:pt>
                <c:pt idx="609">
                  <c:v>0.9751137929266592</c:v>
                </c:pt>
                <c:pt idx="610">
                  <c:v>0.9752599749360902</c:v>
                </c:pt>
                <c:pt idx="611">
                  <c:v>0.975405554967739</c:v>
                </c:pt>
                <c:pt idx="612">
                  <c:v>0.9755477335879194</c:v>
                </c:pt>
                <c:pt idx="613">
                  <c:v>0.9756889073318019</c:v>
                </c:pt>
                <c:pt idx="614">
                  <c:v>0.975828717856707</c:v>
                </c:pt>
                <c:pt idx="615">
                  <c:v>0.9759669291115041</c:v>
                </c:pt>
                <c:pt idx="616">
                  <c:v>0.9761038596230197</c:v>
                </c:pt>
                <c:pt idx="617">
                  <c:v>0.9762405938992583</c:v>
                </c:pt>
                <c:pt idx="618">
                  <c:v>0.9763765337544238</c:v>
                </c:pt>
                <c:pt idx="619">
                  <c:v>0.9765122328184764</c:v>
                </c:pt>
                <c:pt idx="620">
                  <c:v>0.9766471877052708</c:v>
                </c:pt>
                <c:pt idx="621">
                  <c:v>0.9767817994173295</c:v>
                </c:pt>
                <c:pt idx="622">
                  <c:v>0.9769159712590088</c:v>
                </c:pt>
                <c:pt idx="623">
                  <c:v>0.977050000901212</c:v>
                </c:pt>
                <c:pt idx="624">
                  <c:v>0.9771839063558727</c:v>
                </c:pt>
                <c:pt idx="625">
                  <c:v>0.9773175084516511</c:v>
                </c:pt>
                <c:pt idx="626">
                  <c:v>0.9774504507418603</c:v>
                </c:pt>
                <c:pt idx="627">
                  <c:v>0.9775832612605551</c:v>
                </c:pt>
                <c:pt idx="628">
                  <c:v>0.9777152849421487</c:v>
                </c:pt>
                <c:pt idx="629">
                  <c:v>0.9778461634439614</c:v>
                </c:pt>
                <c:pt idx="630">
                  <c:v>0.977976772714766</c:v>
                </c:pt>
                <c:pt idx="631">
                  <c:v>0.978106524996728</c:v>
                </c:pt>
                <c:pt idx="632">
                  <c:v>0.9782343888696473</c:v>
                </c:pt>
                <c:pt idx="633">
                  <c:v>0.9783619275797646</c:v>
                </c:pt>
                <c:pt idx="634">
                  <c:v>0.9784886178330078</c:v>
                </c:pt>
                <c:pt idx="635">
                  <c:v>0.9786151658867749</c:v>
                </c:pt>
                <c:pt idx="636">
                  <c:v>0.9787411622065747</c:v>
                </c:pt>
                <c:pt idx="637">
                  <c:v>0.978867151890399</c:v>
                </c:pt>
                <c:pt idx="638">
                  <c:v>0.9789926306041058</c:v>
                </c:pt>
                <c:pt idx="639">
                  <c:v>0.9791180609699908</c:v>
                </c:pt>
                <c:pt idx="640">
                  <c:v>0.9792431566931086</c:v>
                </c:pt>
                <c:pt idx="641">
                  <c:v>0.9793681879524639</c:v>
                </c:pt>
                <c:pt idx="642">
                  <c:v>0.9794925603542467</c:v>
                </c:pt>
                <c:pt idx="643">
                  <c:v>0.9796161449709319</c:v>
                </c:pt>
                <c:pt idx="644">
                  <c:v>0.9797379217582775</c:v>
                </c:pt>
                <c:pt idx="645">
                  <c:v>0.9798586766053881</c:v>
                </c:pt>
                <c:pt idx="646">
                  <c:v>0.979979217205288</c:v>
                </c:pt>
                <c:pt idx="647">
                  <c:v>0.9800996506815827</c:v>
                </c:pt>
                <c:pt idx="648">
                  <c:v>0.9802184687718288</c:v>
                </c:pt>
                <c:pt idx="649">
                  <c:v>0.9803372631621623</c:v>
                </c:pt>
                <c:pt idx="650">
                  <c:v>0.9804559855047612</c:v>
                </c:pt>
                <c:pt idx="651">
                  <c:v>0.9805740954416163</c:v>
                </c:pt>
                <c:pt idx="652">
                  <c:v>0.9806894808365093</c:v>
                </c:pt>
                <c:pt idx="653">
                  <c:v>0.9808026137917008</c:v>
                </c:pt>
                <c:pt idx="654">
                  <c:v>0.9809154234800832</c:v>
                </c:pt>
                <c:pt idx="655">
                  <c:v>0.9810260755284149</c:v>
                </c:pt>
                <c:pt idx="656">
                  <c:v>0.9811356079928715</c:v>
                </c:pt>
                <c:pt idx="657">
                  <c:v>0.9812443289723177</c:v>
                </c:pt>
                <c:pt idx="658">
                  <c:v>0.9813526224053392</c:v>
                </c:pt>
                <c:pt idx="659">
                  <c:v>0.9814586852025787</c:v>
                </c:pt>
                <c:pt idx="660">
                  <c:v>0.9815625021960924</c:v>
                </c:pt>
                <c:pt idx="661">
                  <c:v>0.9816642506612271</c:v>
                </c:pt>
                <c:pt idx="662">
                  <c:v>0.981764809390745</c:v>
                </c:pt>
                <c:pt idx="663">
                  <c:v>0.9818653320963956</c:v>
                </c:pt>
                <c:pt idx="664">
                  <c:v>0.981963898137255</c:v>
                </c:pt>
                <c:pt idx="665">
                  <c:v>0.982061433705911</c:v>
                </c:pt>
                <c:pt idx="666">
                  <c:v>0.9821580392899932</c:v>
                </c:pt>
                <c:pt idx="667">
                  <c:v>0.9822530076841073</c:v>
                </c:pt>
                <c:pt idx="668">
                  <c:v>0.9823478291387626</c:v>
                </c:pt>
                <c:pt idx="669">
                  <c:v>0.9824420002678139</c:v>
                </c:pt>
                <c:pt idx="670">
                  <c:v>0.9825360282493927</c:v>
                </c:pt>
                <c:pt idx="671">
                  <c:v>0.9826298817996141</c:v>
                </c:pt>
                <c:pt idx="672">
                  <c:v>0.982722904904895</c:v>
                </c:pt>
                <c:pt idx="673">
                  <c:v>0.9828151686649735</c:v>
                </c:pt>
                <c:pt idx="674">
                  <c:v>0.9829068266552838</c:v>
                </c:pt>
                <c:pt idx="675">
                  <c:v>0.9829980068553544</c:v>
                </c:pt>
                <c:pt idx="676">
                  <c:v>0.9830891330196241</c:v>
                </c:pt>
                <c:pt idx="677">
                  <c:v>0.9831799169571547</c:v>
                </c:pt>
                <c:pt idx="678">
                  <c:v>0.9832704989714292</c:v>
                </c:pt>
                <c:pt idx="679">
                  <c:v>0.9833608999183707</c:v>
                </c:pt>
                <c:pt idx="680">
                  <c:v>0.9834509491586081</c:v>
                </c:pt>
                <c:pt idx="681">
                  <c:v>0.9835409291951004</c:v>
                </c:pt>
                <c:pt idx="682">
                  <c:v>0.9836308229639106</c:v>
                </c:pt>
                <c:pt idx="683">
                  <c:v>0.9837201896466626</c:v>
                </c:pt>
                <c:pt idx="684">
                  <c:v>0.9838088349040726</c:v>
                </c:pt>
                <c:pt idx="685">
                  <c:v>0.9838973256380518</c:v>
                </c:pt>
                <c:pt idx="686">
                  <c:v>0.9839843706773573</c:v>
                </c:pt>
                <c:pt idx="687">
                  <c:v>0.9840711521736338</c:v>
                </c:pt>
                <c:pt idx="688">
                  <c:v>0.9841569942053715</c:v>
                </c:pt>
                <c:pt idx="689">
                  <c:v>0.9842426542217798</c:v>
                </c:pt>
                <c:pt idx="690">
                  <c:v>0.9843281464428063</c:v>
                </c:pt>
                <c:pt idx="691">
                  <c:v>0.984413155185614</c:v>
                </c:pt>
                <c:pt idx="692">
                  <c:v>0.9844976576982868</c:v>
                </c:pt>
                <c:pt idx="693">
                  <c:v>0.984581312702082</c:v>
                </c:pt>
                <c:pt idx="694">
                  <c:v>0.984664681410932</c:v>
                </c:pt>
                <c:pt idx="695">
                  <c:v>0.9847475893934794</c:v>
                </c:pt>
                <c:pt idx="696">
                  <c:v>0.9848296290112261</c:v>
                </c:pt>
                <c:pt idx="697">
                  <c:v>0.9849113396741846</c:v>
                </c:pt>
                <c:pt idx="698">
                  <c:v>0.9849923345997802</c:v>
                </c:pt>
                <c:pt idx="699">
                  <c:v>0.9850730043625737</c:v>
                </c:pt>
                <c:pt idx="700">
                  <c:v>0.9851520653752943</c:v>
                </c:pt>
                <c:pt idx="701">
                  <c:v>0.985229840904751</c:v>
                </c:pt>
                <c:pt idx="702">
                  <c:v>0.9853071433839504</c:v>
                </c:pt>
                <c:pt idx="703">
                  <c:v>0.9853842391999112</c:v>
                </c:pt>
                <c:pt idx="704">
                  <c:v>0.9854612752920922</c:v>
                </c:pt>
                <c:pt idx="705">
                  <c:v>0.9855381701327934</c:v>
                </c:pt>
                <c:pt idx="706">
                  <c:v>0.985614658282993</c:v>
                </c:pt>
                <c:pt idx="707">
                  <c:v>0.985690937873961</c:v>
                </c:pt>
                <c:pt idx="708">
                  <c:v>0.9857670392415856</c:v>
                </c:pt>
                <c:pt idx="709">
                  <c:v>0.9858429036100833</c:v>
                </c:pt>
                <c:pt idx="710">
                  <c:v>0.9859185840672586</c:v>
                </c:pt>
                <c:pt idx="711">
                  <c:v>0.985993238792213</c:v>
                </c:pt>
                <c:pt idx="712">
                  <c:v>0.9860678849851988</c:v>
                </c:pt>
                <c:pt idx="713">
                  <c:v>0.9861419235124234</c:v>
                </c:pt>
                <c:pt idx="714">
                  <c:v>0.986215013095144</c:v>
                </c:pt>
                <c:pt idx="715">
                  <c:v>0.9862874400283062</c:v>
                </c:pt>
                <c:pt idx="716">
                  <c:v>0.9863595162027605</c:v>
                </c:pt>
                <c:pt idx="717">
                  <c:v>0.9864312084386294</c:v>
                </c:pt>
                <c:pt idx="718">
                  <c:v>0.9865025110479337</c:v>
                </c:pt>
                <c:pt idx="719">
                  <c:v>0.9865734704825024</c:v>
                </c:pt>
                <c:pt idx="720">
                  <c:v>0.9866440497704717</c:v>
                </c:pt>
                <c:pt idx="721">
                  <c:v>0.9867142299519114</c:v>
                </c:pt>
                <c:pt idx="722">
                  <c:v>0.9867841731342242</c:v>
                </c:pt>
                <c:pt idx="723">
                  <c:v>0.9868539371451971</c:v>
                </c:pt>
                <c:pt idx="724">
                  <c:v>0.9869236414323901</c:v>
                </c:pt>
                <c:pt idx="725">
                  <c:v>0.9869929162771652</c:v>
                </c:pt>
                <c:pt idx="726">
                  <c:v>0.9870612876812689</c:v>
                </c:pt>
                <c:pt idx="727">
                  <c:v>0.9871296382294493</c:v>
                </c:pt>
                <c:pt idx="728">
                  <c:v>0.9871977119626496</c:v>
                </c:pt>
                <c:pt idx="729">
                  <c:v>0.9872657117521223</c:v>
                </c:pt>
                <c:pt idx="730">
                  <c:v>0.9873334622185136</c:v>
                </c:pt>
                <c:pt idx="731">
                  <c:v>0.9874002343525093</c:v>
                </c:pt>
                <c:pt idx="732">
                  <c:v>0.987466944866732</c:v>
                </c:pt>
                <c:pt idx="733">
                  <c:v>0.9875335112854856</c:v>
                </c:pt>
                <c:pt idx="734">
                  <c:v>0.9875996681697481</c:v>
                </c:pt>
                <c:pt idx="735">
                  <c:v>0.9876657729142027</c:v>
                </c:pt>
                <c:pt idx="736">
                  <c:v>0.9877318757626642</c:v>
                </c:pt>
                <c:pt idx="737">
                  <c:v>0.9877977899598207</c:v>
                </c:pt>
                <c:pt idx="738">
                  <c:v>0.9878633913181298</c:v>
                </c:pt>
                <c:pt idx="739">
                  <c:v>0.9879287073294902</c:v>
                </c:pt>
                <c:pt idx="740">
                  <c:v>0.9879933436273548</c:v>
                </c:pt>
                <c:pt idx="741">
                  <c:v>0.9880577258621555</c:v>
                </c:pt>
                <c:pt idx="742">
                  <c:v>0.9881216843425173</c:v>
                </c:pt>
                <c:pt idx="743">
                  <c:v>0.9881856286029316</c:v>
                </c:pt>
                <c:pt idx="744">
                  <c:v>0.9882494951276323</c:v>
                </c:pt>
                <c:pt idx="745">
                  <c:v>0.9883132393607835</c:v>
                </c:pt>
                <c:pt idx="746">
                  <c:v>0.9883760905812248</c:v>
                </c:pt>
                <c:pt idx="747">
                  <c:v>0.9884386479227487</c:v>
                </c:pt>
                <c:pt idx="748">
                  <c:v>0.9885009512012087</c:v>
                </c:pt>
                <c:pt idx="749">
                  <c:v>0.9885629463808039</c:v>
                </c:pt>
                <c:pt idx="750">
                  <c:v>0.9886249320804339</c:v>
                </c:pt>
                <c:pt idx="751">
                  <c:v>0.9886856825406148</c:v>
                </c:pt>
                <c:pt idx="752">
                  <c:v>0.9887453541807705</c:v>
                </c:pt>
                <c:pt idx="753">
                  <c:v>0.9888046020664872</c:v>
                </c:pt>
                <c:pt idx="754">
                  <c:v>0.9888637542045569</c:v>
                </c:pt>
                <c:pt idx="755">
                  <c:v>0.988922343232701</c:v>
                </c:pt>
                <c:pt idx="756">
                  <c:v>0.9889808497851491</c:v>
                </c:pt>
                <c:pt idx="757">
                  <c:v>0.9890393487536251</c:v>
                </c:pt>
                <c:pt idx="758">
                  <c:v>0.9890975898670511</c:v>
                </c:pt>
                <c:pt idx="759">
                  <c:v>0.9891556878330044</c:v>
                </c:pt>
                <c:pt idx="760">
                  <c:v>0.9892134018603723</c:v>
                </c:pt>
                <c:pt idx="761">
                  <c:v>0.989270764181036</c:v>
                </c:pt>
                <c:pt idx="762">
                  <c:v>0.9893277491990897</c:v>
                </c:pt>
                <c:pt idx="763">
                  <c:v>0.9893842384149701</c:v>
                </c:pt>
                <c:pt idx="764">
                  <c:v>0.9894399938815538</c:v>
                </c:pt>
                <c:pt idx="765">
                  <c:v>0.9894955265689582</c:v>
                </c:pt>
                <c:pt idx="766">
                  <c:v>0.9895509976365897</c:v>
                </c:pt>
                <c:pt idx="767">
                  <c:v>0.9896064374203365</c:v>
                </c:pt>
                <c:pt idx="768">
                  <c:v>0.9896618108443277</c:v>
                </c:pt>
                <c:pt idx="769">
                  <c:v>0.9897171548804272</c:v>
                </c:pt>
                <c:pt idx="770">
                  <c:v>0.9897724666846455</c:v>
                </c:pt>
                <c:pt idx="771">
                  <c:v>0.9898273149185717</c:v>
                </c:pt>
                <c:pt idx="772">
                  <c:v>0.9898820313809833</c:v>
                </c:pt>
                <c:pt idx="773">
                  <c:v>0.9899361553455779</c:v>
                </c:pt>
                <c:pt idx="774">
                  <c:v>0.9899902755181864</c:v>
                </c:pt>
                <c:pt idx="775">
                  <c:v>0.9900440022722443</c:v>
                </c:pt>
                <c:pt idx="776">
                  <c:v>0.990097573554875</c:v>
                </c:pt>
                <c:pt idx="777">
                  <c:v>0.9901511182936036</c:v>
                </c:pt>
                <c:pt idx="778">
                  <c:v>0.9902043473494951</c:v>
                </c:pt>
                <c:pt idx="779">
                  <c:v>0.9902574294659281</c:v>
                </c:pt>
                <c:pt idx="780">
                  <c:v>0.9903103191390701</c:v>
                </c:pt>
                <c:pt idx="781">
                  <c:v>0.9903629926690084</c:v>
                </c:pt>
                <c:pt idx="782">
                  <c:v>0.9904155078835299</c:v>
                </c:pt>
                <c:pt idx="783">
                  <c:v>0.9904676609633857</c:v>
                </c:pt>
                <c:pt idx="784">
                  <c:v>0.9905195789401076</c:v>
                </c:pt>
                <c:pt idx="785">
                  <c:v>0.9905709897386981</c:v>
                </c:pt>
                <c:pt idx="786">
                  <c:v>0.9906223019456518</c:v>
                </c:pt>
                <c:pt idx="787">
                  <c:v>0.9906734454092272</c:v>
                </c:pt>
                <c:pt idx="788">
                  <c:v>0.9907240788506817</c:v>
                </c:pt>
                <c:pt idx="789">
                  <c:v>0.9907746089605168</c:v>
                </c:pt>
                <c:pt idx="790">
                  <c:v>0.990824823387515</c:v>
                </c:pt>
                <c:pt idx="791">
                  <c:v>0.9908745922561547</c:v>
                </c:pt>
                <c:pt idx="792">
                  <c:v>0.9909243317369028</c:v>
                </c:pt>
                <c:pt idx="793">
                  <c:v>0.9909735592995368</c:v>
                </c:pt>
                <c:pt idx="794">
                  <c:v>0.9910226835305516</c:v>
                </c:pt>
                <c:pt idx="795">
                  <c:v>0.9910715337905757</c:v>
                </c:pt>
                <c:pt idx="796">
                  <c:v>0.991120221943197</c:v>
                </c:pt>
                <c:pt idx="797">
                  <c:v>0.9911682749381585</c:v>
                </c:pt>
                <c:pt idx="798">
                  <c:v>0.9912162672613435</c:v>
                </c:pt>
                <c:pt idx="799">
                  <c:v>0.9912638092861874</c:v>
                </c:pt>
                <c:pt idx="800">
                  <c:v>0.9913111342198312</c:v>
                </c:pt>
                <c:pt idx="801">
                  <c:v>0.99135821077839</c:v>
                </c:pt>
                <c:pt idx="802">
                  <c:v>0.991404911930332</c:v>
                </c:pt>
                <c:pt idx="803">
                  <c:v>0.9914511485639853</c:v>
                </c:pt>
                <c:pt idx="804">
                  <c:v>0.9914973084099216</c:v>
                </c:pt>
                <c:pt idx="805">
                  <c:v>0.9915434521399171</c:v>
                </c:pt>
                <c:pt idx="806">
                  <c:v>0.9915895920779267</c:v>
                </c:pt>
                <c:pt idx="807">
                  <c:v>0.9916357263279573</c:v>
                </c:pt>
                <c:pt idx="808">
                  <c:v>0.9916813875277306</c:v>
                </c:pt>
                <c:pt idx="809">
                  <c:v>0.9917270401955354</c:v>
                </c:pt>
                <c:pt idx="810">
                  <c:v>0.9917724710321575</c:v>
                </c:pt>
                <c:pt idx="811">
                  <c:v>0.9918174743223548</c:v>
                </c:pt>
                <c:pt idx="812">
                  <c:v>0.9918624216807581</c:v>
                </c:pt>
                <c:pt idx="813">
                  <c:v>0.9919072126197377</c:v>
                </c:pt>
                <c:pt idx="814">
                  <c:v>0.9919519438349373</c:v>
                </c:pt>
                <c:pt idx="815">
                  <c:v>0.9919965574985701</c:v>
                </c:pt>
                <c:pt idx="816">
                  <c:v>0.992040745511771</c:v>
                </c:pt>
                <c:pt idx="817">
                  <c:v>0.9920847771055482</c:v>
                </c:pt>
                <c:pt idx="818">
                  <c:v>0.9921283261691032</c:v>
                </c:pt>
                <c:pt idx="819">
                  <c:v>0.9921717662130598</c:v>
                </c:pt>
                <c:pt idx="820">
                  <c:v>0.9922145919552796</c:v>
                </c:pt>
                <c:pt idx="821">
                  <c:v>0.9922572859259849</c:v>
                </c:pt>
                <c:pt idx="822">
                  <c:v>0.9922998576051408</c:v>
                </c:pt>
                <c:pt idx="823">
                  <c:v>0.9923420093218439</c:v>
                </c:pt>
                <c:pt idx="824">
                  <c:v>0.9923836121485693</c:v>
                </c:pt>
                <c:pt idx="825">
                  <c:v>0.9924250433879268</c:v>
                </c:pt>
                <c:pt idx="826">
                  <c:v>0.992465399599245</c:v>
                </c:pt>
                <c:pt idx="827">
                  <c:v>0.9925057046187518</c:v>
                </c:pt>
                <c:pt idx="828">
                  <c:v>0.9925456048437499</c:v>
                </c:pt>
                <c:pt idx="829">
                  <c:v>0.99258531452145</c:v>
                </c:pt>
                <c:pt idx="830">
                  <c:v>0.9926242667499409</c:v>
                </c:pt>
                <c:pt idx="831">
                  <c:v>0.9926628227158916</c:v>
                </c:pt>
                <c:pt idx="832">
                  <c:v>0.9927012089904674</c:v>
                </c:pt>
                <c:pt idx="833">
                  <c:v>0.9927395326972739</c:v>
                </c:pt>
                <c:pt idx="834">
                  <c:v>0.992777745488489</c:v>
                </c:pt>
                <c:pt idx="835">
                  <c:v>0.9928157004246541</c:v>
                </c:pt>
                <c:pt idx="836">
                  <c:v>0.9928535776251055</c:v>
                </c:pt>
                <c:pt idx="837">
                  <c:v>0.9928911884385384</c:v>
                </c:pt>
                <c:pt idx="838">
                  <c:v>0.9929286143926523</c:v>
                </c:pt>
                <c:pt idx="839">
                  <c:v>0.992965869707395</c:v>
                </c:pt>
                <c:pt idx="840">
                  <c:v>0.9930029496427838</c:v>
                </c:pt>
                <c:pt idx="841">
                  <c:v>0.9930399395185043</c:v>
                </c:pt>
                <c:pt idx="842">
                  <c:v>0.9930767094590351</c:v>
                </c:pt>
                <c:pt idx="843">
                  <c:v>0.9931134784515695</c:v>
                </c:pt>
                <c:pt idx="844">
                  <c:v>0.9931502284841737</c:v>
                </c:pt>
                <c:pt idx="845">
                  <c:v>0.9931869311169526</c:v>
                </c:pt>
                <c:pt idx="846">
                  <c:v>0.993223072535799</c:v>
                </c:pt>
                <c:pt idx="847">
                  <c:v>0.9932592016306909</c:v>
                </c:pt>
                <c:pt idx="848">
                  <c:v>0.9932947638236714</c:v>
                </c:pt>
                <c:pt idx="849">
                  <c:v>0.9933294462758931</c:v>
                </c:pt>
                <c:pt idx="850">
                  <c:v>0.99336389931296</c:v>
                </c:pt>
                <c:pt idx="851">
                  <c:v>0.9933981077669279</c:v>
                </c:pt>
                <c:pt idx="852">
                  <c:v>0.9934321161936329</c:v>
                </c:pt>
                <c:pt idx="853">
                  <c:v>0.9934660810124986</c:v>
                </c:pt>
                <c:pt idx="854">
                  <c:v>0.9934998202081954</c:v>
                </c:pt>
                <c:pt idx="855">
                  <c:v>0.9935334826161751</c:v>
                </c:pt>
                <c:pt idx="856">
                  <c:v>0.9935669431008988</c:v>
                </c:pt>
                <c:pt idx="857">
                  <c:v>0.9936003296418948</c:v>
                </c:pt>
                <c:pt idx="858">
                  <c:v>0.9936334147200016</c:v>
                </c:pt>
                <c:pt idx="859">
                  <c:v>0.9936663784545554</c:v>
                </c:pt>
                <c:pt idx="860">
                  <c:v>0.9936989032667263</c:v>
                </c:pt>
                <c:pt idx="861">
                  <c:v>0.9937313048393512</c:v>
                </c:pt>
                <c:pt idx="862">
                  <c:v>0.9937635575765246</c:v>
                </c:pt>
                <c:pt idx="863">
                  <c:v>0.9937953979352172</c:v>
                </c:pt>
                <c:pt idx="864">
                  <c:v>0.9938272278659482</c:v>
                </c:pt>
                <c:pt idx="865">
                  <c:v>0.9938586539501671</c:v>
                </c:pt>
                <c:pt idx="866">
                  <c:v>0.9938900241025921</c:v>
                </c:pt>
                <c:pt idx="867">
                  <c:v>0.9939213629711323</c:v>
                </c:pt>
                <c:pt idx="868">
                  <c:v>0.9939525236163291</c:v>
                </c:pt>
                <c:pt idx="869">
                  <c:v>0.9939836254857425</c:v>
                </c:pt>
                <c:pt idx="870">
                  <c:v>0.9940145813636937</c:v>
                </c:pt>
                <c:pt idx="871">
                  <c:v>0.9940454822578475</c:v>
                </c:pt>
                <c:pt idx="872">
                  <c:v>0.9940763272202073</c:v>
                </c:pt>
                <c:pt idx="873">
                  <c:v>0.9941069645713321</c:v>
                </c:pt>
                <c:pt idx="874">
                  <c:v>0.9941372227238539</c:v>
                </c:pt>
                <c:pt idx="875">
                  <c:v>0.9941673680647913</c:v>
                </c:pt>
                <c:pt idx="876">
                  <c:v>0.9941974508379593</c:v>
                </c:pt>
                <c:pt idx="877">
                  <c:v>0.9942271496725418</c:v>
                </c:pt>
                <c:pt idx="878">
                  <c:v>0.9942566958796866</c:v>
                </c:pt>
                <c:pt idx="879">
                  <c:v>0.9942858647842214</c:v>
                </c:pt>
                <c:pt idx="880">
                  <c:v>0.9943139899446017</c:v>
                </c:pt>
                <c:pt idx="881">
                  <c:v>0.9943420980410449</c:v>
                </c:pt>
                <c:pt idx="882">
                  <c:v>0.9943701094418443</c:v>
                </c:pt>
                <c:pt idx="883">
                  <c:v>0.9943980393149441</c:v>
                </c:pt>
                <c:pt idx="884">
                  <c:v>0.9944259123082534</c:v>
                </c:pt>
                <c:pt idx="885">
                  <c:v>0.9944536724899783</c:v>
                </c:pt>
                <c:pt idx="886">
                  <c:v>0.9944812933162166</c:v>
                </c:pt>
                <c:pt idx="887">
                  <c:v>0.994508852522682</c:v>
                </c:pt>
                <c:pt idx="888">
                  <c:v>0.9945363150335036</c:v>
                </c:pt>
                <c:pt idx="889">
                  <c:v>0.9945634722894499</c:v>
                </c:pt>
                <c:pt idx="890">
                  <c:v>0.9945904171941785</c:v>
                </c:pt>
                <c:pt idx="891">
                  <c:v>0.994617277727218</c:v>
                </c:pt>
                <c:pt idx="892">
                  <c:v>0.9946440747444915</c:v>
                </c:pt>
                <c:pt idx="893">
                  <c:v>0.9946708584898138</c:v>
                </c:pt>
                <c:pt idx="894">
                  <c:v>0.9946975208915833</c:v>
                </c:pt>
                <c:pt idx="895">
                  <c:v>0.9947241169335972</c:v>
                </c:pt>
                <c:pt idx="896">
                  <c:v>0.9947505849960826</c:v>
                </c:pt>
                <c:pt idx="897">
                  <c:v>0.9947770255666692</c:v>
                </c:pt>
                <c:pt idx="898">
                  <c:v>0.9948033770255843</c:v>
                </c:pt>
                <c:pt idx="899">
                  <c:v>0.9948296934086286</c:v>
                </c:pt>
                <c:pt idx="900">
                  <c:v>0.9948558979280849</c:v>
                </c:pt>
                <c:pt idx="901">
                  <c:v>0.9948820948635693</c:v>
                </c:pt>
                <c:pt idx="902">
                  <c:v>0.9949081448595949</c:v>
                </c:pt>
                <c:pt idx="903">
                  <c:v>0.9949341758956904</c:v>
                </c:pt>
                <c:pt idx="904">
                  <c:v>0.994960205035793</c:v>
                </c:pt>
                <c:pt idx="905">
                  <c:v>0.9949861033523775</c:v>
                </c:pt>
                <c:pt idx="906">
                  <c:v>0.995011807329678</c:v>
                </c:pt>
                <c:pt idx="907">
                  <c:v>0.9950373691075024</c:v>
                </c:pt>
                <c:pt idx="908">
                  <c:v>0.9950628569415992</c:v>
                </c:pt>
                <c:pt idx="909">
                  <c:v>0.9950883343477345</c:v>
                </c:pt>
                <c:pt idx="910">
                  <c:v>0.9951137188502119</c:v>
                </c:pt>
                <c:pt idx="911">
                  <c:v>0.9951390341489444</c:v>
                </c:pt>
                <c:pt idx="912">
                  <c:v>0.9951640659967212</c:v>
                </c:pt>
                <c:pt idx="913">
                  <c:v>0.9951889565930184</c:v>
                </c:pt>
                <c:pt idx="914">
                  <c:v>0.9952136528500316</c:v>
                </c:pt>
                <c:pt idx="915">
                  <c:v>0.9952381509757747</c:v>
                </c:pt>
                <c:pt idx="916">
                  <c:v>0.9952626254016051</c:v>
                </c:pt>
                <c:pt idx="917">
                  <c:v>0.9952870761275229</c:v>
                </c:pt>
                <c:pt idx="918">
                  <c:v>0.9953112225465618</c:v>
                </c:pt>
                <c:pt idx="919">
                  <c:v>0.9953591466139983</c:v>
                </c:pt>
                <c:pt idx="920">
                  <c:v>0.9953829707142247</c:v>
                </c:pt>
                <c:pt idx="921">
                  <c:v>0.9954067009627968</c:v>
                </c:pt>
                <c:pt idx="922">
                  <c:v>0.9954303913955157</c:v>
                </c:pt>
                <c:pt idx="923">
                  <c:v>0.9954540619203079</c:v>
                </c:pt>
                <c:pt idx="924">
                  <c:v>0.9954776035175752</c:v>
                </c:pt>
                <c:pt idx="925">
                  <c:v>0.995501086339059</c:v>
                </c:pt>
                <c:pt idx="926">
                  <c:v>0.9955245464086265</c:v>
                </c:pt>
                <c:pt idx="927">
                  <c:v>0.9955479903622535</c:v>
                </c:pt>
                <c:pt idx="928">
                  <c:v>0.9955713499441913</c:v>
                </c:pt>
                <c:pt idx="929">
                  <c:v>0.995594569222646</c:v>
                </c:pt>
                <c:pt idx="930">
                  <c:v>0.9956175989017992</c:v>
                </c:pt>
                <c:pt idx="931">
                  <c:v>0.9956406124650118</c:v>
                </c:pt>
                <c:pt idx="932">
                  <c:v>0.9956635587204724</c:v>
                </c:pt>
                <c:pt idx="933">
                  <c:v>0.9956864793800273</c:v>
                </c:pt>
                <c:pt idx="934">
                  <c:v>0.995709123224602</c:v>
                </c:pt>
                <c:pt idx="935">
                  <c:v>0.9957315054221407</c:v>
                </c:pt>
                <c:pt idx="936">
                  <c:v>0.9957537046563535</c:v>
                </c:pt>
                <c:pt idx="937">
                  <c:v>0.99577580245494</c:v>
                </c:pt>
                <c:pt idx="938">
                  <c:v>0.9957978642296592</c:v>
                </c:pt>
                <c:pt idx="939">
                  <c:v>0.9958198833445356</c:v>
                </c:pt>
                <c:pt idx="940">
                  <c:v>0.9958417375080197</c:v>
                </c:pt>
                <c:pt idx="941">
                  <c:v>0.9958635793475492</c:v>
                </c:pt>
                <c:pt idx="942">
                  <c:v>0.9958851633320287</c:v>
                </c:pt>
                <c:pt idx="943">
                  <c:v>0.9959064742935141</c:v>
                </c:pt>
                <c:pt idx="944">
                  <c:v>0.9959277179472474</c:v>
                </c:pt>
                <c:pt idx="945">
                  <c:v>0.9959487729496759</c:v>
                </c:pt>
                <c:pt idx="946">
                  <c:v>0.9959696080169146</c:v>
                </c:pt>
                <c:pt idx="947">
                  <c:v>0.9959903899963489</c:v>
                </c:pt>
                <c:pt idx="948">
                  <c:v>0.9960109008487821</c:v>
                </c:pt>
                <c:pt idx="949">
                  <c:v>0.996051611610794</c:v>
                </c:pt>
                <c:pt idx="950">
                  <c:v>0.9960717432646242</c:v>
                </c:pt>
                <c:pt idx="951">
                  <c:v>0.9960918057147095</c:v>
                </c:pt>
                <c:pt idx="952">
                  <c:v>0.9961118378289064</c:v>
                </c:pt>
                <c:pt idx="953">
                  <c:v>0.9961315779601791</c:v>
                </c:pt>
                <c:pt idx="954">
                  <c:v>0.9961512687956334</c:v>
                </c:pt>
                <c:pt idx="955">
                  <c:v>0.9961709141272553</c:v>
                </c:pt>
                <c:pt idx="956">
                  <c:v>0.996190513955045</c:v>
                </c:pt>
                <c:pt idx="957">
                  <c:v>0.9962099346114947</c:v>
                </c:pt>
                <c:pt idx="958">
                  <c:v>0.9962292879601924</c:v>
                </c:pt>
                <c:pt idx="959">
                  <c:v>0.9962484640335432</c:v>
                </c:pt>
                <c:pt idx="960">
                  <c:v>0.996267572799142</c:v>
                </c:pt>
                <c:pt idx="961">
                  <c:v>0.9962864919654394</c:v>
                </c:pt>
                <c:pt idx="962">
                  <c:v>0.9963053627839148</c:v>
                </c:pt>
                <c:pt idx="963">
                  <c:v>0.9963242317063973</c:v>
                </c:pt>
                <c:pt idx="964">
                  <c:v>0.9963429991932534</c:v>
                </c:pt>
                <c:pt idx="965">
                  <c:v>0.9963616756724448</c:v>
                </c:pt>
                <c:pt idx="966">
                  <c:v>0.9963802962198424</c:v>
                </c:pt>
                <c:pt idx="967">
                  <c:v>0.996398864627432</c:v>
                </c:pt>
                <c:pt idx="968">
                  <c:v>0.9964174064911194</c:v>
                </c:pt>
                <c:pt idx="969">
                  <c:v>0.9964357834034145</c:v>
                </c:pt>
                <c:pt idx="970">
                  <c:v>0.9964541460957621</c:v>
                </c:pt>
                <c:pt idx="971">
                  <c:v>0.9964724812962109</c:v>
                </c:pt>
                <c:pt idx="972">
                  <c:v>0.9964907283329845</c:v>
                </c:pt>
                <c:pt idx="973">
                  <c:v>0.9965089251259431</c:v>
                </c:pt>
                <c:pt idx="974">
                  <c:v>0.9965271181269159</c:v>
                </c:pt>
                <c:pt idx="975">
                  <c:v>0.99654518314836</c:v>
                </c:pt>
                <c:pt idx="976">
                  <c:v>0.9965632235218951</c:v>
                </c:pt>
                <c:pt idx="977">
                  <c:v>0.996581117903968</c:v>
                </c:pt>
                <c:pt idx="978">
                  <c:v>0.996598969626198</c:v>
                </c:pt>
                <c:pt idx="979">
                  <c:v>0.9966167957525224</c:v>
                </c:pt>
                <c:pt idx="980">
                  <c:v>0.9966345659470528</c:v>
                </c:pt>
                <c:pt idx="981">
                  <c:v>0.996652307701688</c:v>
                </c:pt>
                <c:pt idx="982">
                  <c:v>0.9966699451767074</c:v>
                </c:pt>
                <c:pt idx="983">
                  <c:v>0.9966874546721982</c:v>
                </c:pt>
                <c:pt idx="984">
                  <c:v>0.9967049556357205</c:v>
                </c:pt>
                <c:pt idx="985">
                  <c:v>0.9967224281593475</c:v>
                </c:pt>
                <c:pt idx="986">
                  <c:v>0.996739875087069</c:v>
                </c:pt>
                <c:pt idx="987">
                  <c:v>0.9967571779193213</c:v>
                </c:pt>
                <c:pt idx="988">
                  <c:v>0.9967744627396399</c:v>
                </c:pt>
                <c:pt idx="989">
                  <c:v>0.9967916546563008</c:v>
                </c:pt>
                <c:pt idx="990">
                  <c:v>0.9968088446769687</c:v>
                </c:pt>
                <c:pt idx="991">
                  <c:v>0.9968259598059126</c:v>
                </c:pt>
                <c:pt idx="992">
                  <c:v>0.9968429384233594</c:v>
                </c:pt>
                <c:pt idx="993">
                  <c:v>0.9968766084153111</c:v>
                </c:pt>
                <c:pt idx="994">
                  <c:v>0.9968933130617672</c:v>
                </c:pt>
                <c:pt idx="995">
                  <c:v>0.9969099968523002</c:v>
                </c:pt>
                <c:pt idx="996">
                  <c:v>0.9969265536113012</c:v>
                </c:pt>
                <c:pt idx="997">
                  <c:v>0.9969429615348505</c:v>
                </c:pt>
                <c:pt idx="998">
                  <c:v>0.9969593277465535</c:v>
                </c:pt>
                <c:pt idx="999">
                  <c:v>0.9969755546027699</c:v>
                </c:pt>
                <c:pt idx="1000">
                  <c:v>0.9969917302671749</c:v>
                </c:pt>
                <c:pt idx="1001">
                  <c:v>0.9970076935803623</c:v>
                </c:pt>
                <c:pt idx="1002">
                  <c:v>0.9970236151817035</c:v>
                </c:pt>
                <c:pt idx="1003">
                  <c:v>0.997039528251076</c:v>
                </c:pt>
                <c:pt idx="1004">
                  <c:v>0.9970554308924869</c:v>
                </c:pt>
                <c:pt idx="1005">
                  <c:v>0.9970713183659538</c:v>
                </c:pt>
                <c:pt idx="1006">
                  <c:v>0.9970871868794904</c:v>
                </c:pt>
                <c:pt idx="1007">
                  <c:v>0.9971029027655893</c:v>
                </c:pt>
                <c:pt idx="1008">
                  <c:v>0.9971186091717232</c:v>
                </c:pt>
                <c:pt idx="1009">
                  <c:v>0.9971343117858711</c:v>
                </c:pt>
                <c:pt idx="1010">
                  <c:v>0.9971499859601237</c:v>
                </c:pt>
                <c:pt idx="1011">
                  <c:v>0.9971656250585056</c:v>
                </c:pt>
                <c:pt idx="1012">
                  <c:v>0.9971812252890306</c:v>
                </c:pt>
                <c:pt idx="1013">
                  <c:v>0.9971966804760901</c:v>
                </c:pt>
                <c:pt idx="1014">
                  <c:v>0.9972121167032194</c:v>
                </c:pt>
                <c:pt idx="1015">
                  <c:v>0.9972274998425443</c:v>
                </c:pt>
                <c:pt idx="1016">
                  <c:v>0.9972428479059985</c:v>
                </c:pt>
                <c:pt idx="1017">
                  <c:v>0.9972581533096098</c:v>
                </c:pt>
                <c:pt idx="1018">
                  <c:v>0.9972734539732385</c:v>
                </c:pt>
                <c:pt idx="1019">
                  <c:v>0.9972887062890454</c:v>
                </c:pt>
                <c:pt idx="1020">
                  <c:v>0.997303728241701</c:v>
                </c:pt>
                <c:pt idx="1021">
                  <c:v>0.9973186790946186</c:v>
                </c:pt>
                <c:pt idx="1022">
                  <c:v>0.9973335996116479</c:v>
                </c:pt>
                <c:pt idx="1023">
                  <c:v>0.9973485163366912</c:v>
                </c:pt>
                <c:pt idx="1024">
                  <c:v>0.997363430217745</c:v>
                </c:pt>
                <c:pt idx="1025">
                  <c:v>0.9973782663630851</c:v>
                </c:pt>
                <c:pt idx="1026">
                  <c:v>0.9973929669449247</c:v>
                </c:pt>
                <c:pt idx="1027">
                  <c:v>0.9974076144389599</c:v>
                </c:pt>
                <c:pt idx="1028">
                  <c:v>0.9974221974692326</c:v>
                </c:pt>
                <c:pt idx="1029">
                  <c:v>0.997436742579645</c:v>
                </c:pt>
                <c:pt idx="1030">
                  <c:v>0.997451176774466</c:v>
                </c:pt>
                <c:pt idx="1031">
                  <c:v>0.9974655085856643</c:v>
                </c:pt>
                <c:pt idx="1032">
                  <c:v>0.9974939750247872</c:v>
                </c:pt>
                <c:pt idx="1033">
                  <c:v>0.9975080271770158</c:v>
                </c:pt>
                <c:pt idx="1034">
                  <c:v>0.9975220717452723</c:v>
                </c:pt>
                <c:pt idx="1035">
                  <c:v>0.9975360546937558</c:v>
                </c:pt>
                <c:pt idx="1036">
                  <c:v>0.9975500234222917</c:v>
                </c:pt>
                <c:pt idx="1037">
                  <c:v>0.9975639902548346</c:v>
                </c:pt>
                <c:pt idx="1038">
                  <c:v>0.9975779324394682</c:v>
                </c:pt>
                <c:pt idx="1039">
                  <c:v>0.9975918300682661</c:v>
                </c:pt>
                <c:pt idx="1040">
                  <c:v>0.9976056670252875</c:v>
                </c:pt>
                <c:pt idx="1041">
                  <c:v>0.9976194973463334</c:v>
                </c:pt>
                <c:pt idx="1042">
                  <c:v>0.9976332176997843</c:v>
                </c:pt>
                <c:pt idx="1043">
                  <c:v>0.9976468972893855</c:v>
                </c:pt>
                <c:pt idx="1044">
                  <c:v>0.9976605474910949</c:v>
                </c:pt>
                <c:pt idx="1045">
                  <c:v>0.9976741607209405</c:v>
                </c:pt>
                <c:pt idx="1046">
                  <c:v>0.9976877331869364</c:v>
                </c:pt>
                <c:pt idx="1047">
                  <c:v>0.9977012013733164</c:v>
                </c:pt>
                <c:pt idx="1048">
                  <c:v>0.9977146221598711</c:v>
                </c:pt>
                <c:pt idx="1049">
                  <c:v>0.9977280012345794</c:v>
                </c:pt>
                <c:pt idx="1050">
                  <c:v>0.9977413376494448</c:v>
                </c:pt>
                <c:pt idx="1051">
                  <c:v>0.9977546683763313</c:v>
                </c:pt>
                <c:pt idx="1052">
                  <c:v>0.9977679896232526</c:v>
                </c:pt>
                <c:pt idx="1053">
                  <c:v>0.9977812994942159</c:v>
                </c:pt>
                <c:pt idx="1054">
                  <c:v>0.9977946093651792</c:v>
                </c:pt>
                <c:pt idx="1055">
                  <c:v>0.997807918288146</c:v>
                </c:pt>
                <c:pt idx="1056">
                  <c:v>0.9978211504233957</c:v>
                </c:pt>
                <c:pt idx="1057">
                  <c:v>0.9978342650070785</c:v>
                </c:pt>
                <c:pt idx="1058">
                  <c:v>0.9978472828951175</c:v>
                </c:pt>
                <c:pt idx="1059">
                  <c:v>0.9978602306314149</c:v>
                </c:pt>
                <c:pt idx="1060">
                  <c:v>0.9978730513361804</c:v>
                </c:pt>
                <c:pt idx="1061">
                  <c:v>0.997885752593386</c:v>
                </c:pt>
                <c:pt idx="1062">
                  <c:v>0.9978983514669687</c:v>
                </c:pt>
                <c:pt idx="1063">
                  <c:v>0.997910893460761</c:v>
                </c:pt>
                <c:pt idx="1064">
                  <c:v>0.9979234013266791</c:v>
                </c:pt>
                <c:pt idx="1065">
                  <c:v>0.9979482018633081</c:v>
                </c:pt>
                <c:pt idx="1066">
                  <c:v>0.9979602679628538</c:v>
                </c:pt>
                <c:pt idx="1067">
                  <c:v>0.9979721785909722</c:v>
                </c:pt>
                <c:pt idx="1068">
                  <c:v>0.9979839754595098</c:v>
                </c:pt>
                <c:pt idx="1069">
                  <c:v>0.9979956604644594</c:v>
                </c:pt>
                <c:pt idx="1070">
                  <c:v>0.9980072904856117</c:v>
                </c:pt>
                <c:pt idx="1071">
                  <c:v>0.9980189157667814</c:v>
                </c:pt>
                <c:pt idx="1072">
                  <c:v>0.9980305126080559</c:v>
                </c:pt>
                <c:pt idx="1073">
                  <c:v>0.9980420952293828</c:v>
                </c:pt>
                <c:pt idx="1074">
                  <c:v>0.9980536532028005</c:v>
                </c:pt>
                <c:pt idx="1075">
                  <c:v>0.9980651296485186</c:v>
                </c:pt>
                <c:pt idx="1076">
                  <c:v>0.998076582394324</c:v>
                </c:pt>
                <c:pt idx="1077">
                  <c:v>0.9980879763643459</c:v>
                </c:pt>
                <c:pt idx="1078">
                  <c:v>0.9981107529284317</c:v>
                </c:pt>
                <c:pt idx="1079">
                  <c:v>0.9981221156145689</c:v>
                </c:pt>
                <c:pt idx="1080">
                  <c:v>0.9981334470168213</c:v>
                </c:pt>
                <c:pt idx="1081">
                  <c:v>0.9981446229476465</c:v>
                </c:pt>
                <c:pt idx="1082">
                  <c:v>0.9981557505306499</c:v>
                </c:pt>
                <c:pt idx="1083">
                  <c:v>0.9981668762176602</c:v>
                </c:pt>
                <c:pt idx="1084">
                  <c:v>0.9981779421808906</c:v>
                </c:pt>
                <c:pt idx="1085">
                  <c:v>0.998189004352135</c:v>
                </c:pt>
                <c:pt idx="1086">
                  <c:v>0.998199959399774</c:v>
                </c:pt>
                <c:pt idx="1087">
                  <c:v>0.9982108689435807</c:v>
                </c:pt>
                <c:pt idx="1088">
                  <c:v>0.9982217111796353</c:v>
                </c:pt>
                <c:pt idx="1089">
                  <c:v>0.9982325515196969</c:v>
                </c:pt>
                <c:pt idx="1090">
                  <c:v>0.99824338332779</c:v>
                </c:pt>
                <c:pt idx="1091">
                  <c:v>0.9982541753200297</c:v>
                </c:pt>
                <c:pt idx="1092">
                  <c:v>0.9982649445603533</c:v>
                </c:pt>
                <c:pt idx="1093">
                  <c:v>0.9982863133496257</c:v>
                </c:pt>
                <c:pt idx="1094">
                  <c:v>0.9982968967826338</c:v>
                </c:pt>
                <c:pt idx="1095">
                  <c:v>0.9983074157518794</c:v>
                </c:pt>
                <c:pt idx="1096">
                  <c:v>0.998317923345167</c:v>
                </c:pt>
                <c:pt idx="1097">
                  <c:v>0.9983283920705978</c:v>
                </c:pt>
                <c:pt idx="1098">
                  <c:v>0.9983388418360983</c:v>
                </c:pt>
                <c:pt idx="1099">
                  <c:v>0.9983492868616164</c:v>
                </c:pt>
                <c:pt idx="1100">
                  <c:v>0.9983700280772008</c:v>
                </c:pt>
                <c:pt idx="1101">
                  <c:v>0.9983803214232776</c:v>
                </c:pt>
                <c:pt idx="1102">
                  <c:v>0.9983904498179622</c:v>
                </c:pt>
                <c:pt idx="1103">
                  <c:v>0.9984005146968808</c:v>
                </c:pt>
                <c:pt idx="1104">
                  <c:v>0.9984105122680474</c:v>
                </c:pt>
                <c:pt idx="1105">
                  <c:v>0.9984398195800724</c:v>
                </c:pt>
                <c:pt idx="1106">
                  <c:v>0.9984494663925313</c:v>
                </c:pt>
                <c:pt idx="1107">
                  <c:v>0.9984590771811229</c:v>
                </c:pt>
                <c:pt idx="1108">
                  <c:v>0.9984685884300812</c:v>
                </c:pt>
                <c:pt idx="1109">
                  <c:v>0.9984874071087488</c:v>
                </c:pt>
                <c:pt idx="1110">
                  <c:v>0.9984967410823603</c:v>
                </c:pt>
                <c:pt idx="1111">
                  <c:v>0.9985060513560591</c:v>
                </c:pt>
                <c:pt idx="1112">
                  <c:v>0.9985153530977893</c:v>
                </c:pt>
                <c:pt idx="1113">
                  <c:v>0.998524521172012</c:v>
                </c:pt>
                <c:pt idx="1114">
                  <c:v>0.9985427966486807</c:v>
                </c:pt>
                <c:pt idx="1115">
                  <c:v>0.9985518471713365</c:v>
                </c:pt>
                <c:pt idx="1116">
                  <c:v>0.9985608588261354</c:v>
                </c:pt>
                <c:pt idx="1117">
                  <c:v>0.9985698496250112</c:v>
                </c:pt>
                <c:pt idx="1118">
                  <c:v>0.9985788186199672</c:v>
                </c:pt>
                <c:pt idx="1119">
                  <c:v>0.998587745903077</c:v>
                </c:pt>
                <c:pt idx="1120">
                  <c:v>0.9985966295783474</c:v>
                </c:pt>
                <c:pt idx="1121">
                  <c:v>0.9986054449978693</c:v>
                </c:pt>
                <c:pt idx="1122">
                  <c:v>0.9986141874216602</c:v>
                </c:pt>
                <c:pt idx="1123">
                  <c:v>0.9986228729656605</c:v>
                </c:pt>
                <c:pt idx="1124">
                  <c:v>0.9986315092138426</c:v>
                </c:pt>
                <c:pt idx="1125">
                  <c:v>0.9986399463827581</c:v>
                </c:pt>
                <c:pt idx="1126">
                  <c:v>0.9986481892123896</c:v>
                </c:pt>
                <c:pt idx="1127">
                  <c:v>0.9986563789542167</c:v>
                </c:pt>
                <c:pt idx="1128">
                  <c:v>0.9986645620600682</c:v>
                </c:pt>
                <c:pt idx="1129">
                  <c:v>0.9986727356859546</c:v>
                </c:pt>
                <c:pt idx="1130">
                  <c:v>0.9986890052020139</c:v>
                </c:pt>
                <c:pt idx="1131">
                  <c:v>0.998697079288267</c:v>
                </c:pt>
                <c:pt idx="1132">
                  <c:v>0.9987051495825341</c:v>
                </c:pt>
                <c:pt idx="1133">
                  <c:v>0.9987131800609479</c:v>
                </c:pt>
                <c:pt idx="1134">
                  <c:v>0.9987211802034734</c:v>
                </c:pt>
                <c:pt idx="1135">
                  <c:v>0.9987291613860689</c:v>
                </c:pt>
                <c:pt idx="1136">
                  <c:v>0.9987370212251114</c:v>
                </c:pt>
                <c:pt idx="1137">
                  <c:v>0.9987448545202517</c:v>
                </c:pt>
                <c:pt idx="1138">
                  <c:v>0.9987526707514549</c:v>
                </c:pt>
                <c:pt idx="1139">
                  <c:v>0.9987604860346616</c:v>
                </c:pt>
                <c:pt idx="1140">
                  <c:v>0.9987760293853962</c:v>
                </c:pt>
                <c:pt idx="1141">
                  <c:v>0.998783729013029</c:v>
                </c:pt>
                <c:pt idx="1142">
                  <c:v>0.9987913907208015</c:v>
                </c:pt>
                <c:pt idx="1143">
                  <c:v>0.9987990078727381</c:v>
                </c:pt>
                <c:pt idx="1144">
                  <c:v>0.9988066240766782</c:v>
                </c:pt>
                <c:pt idx="1145">
                  <c:v>0.9988142355406358</c:v>
                </c:pt>
                <c:pt idx="1146">
                  <c:v>0.9988218299406562</c:v>
                </c:pt>
                <c:pt idx="1147">
                  <c:v>0.9988293740968617</c:v>
                </c:pt>
                <c:pt idx="1148">
                  <c:v>0.9988368499973187</c:v>
                </c:pt>
                <c:pt idx="1149">
                  <c:v>0.9988443240017827</c:v>
                </c:pt>
                <c:pt idx="1150">
                  <c:v>0.9988517951622572</c:v>
                </c:pt>
                <c:pt idx="1151">
                  <c:v>0.9988592492587945</c:v>
                </c:pt>
                <c:pt idx="1152">
                  <c:v>0.9988666398395659</c:v>
                </c:pt>
                <c:pt idx="1153">
                  <c:v>0.9988739593205992</c:v>
                </c:pt>
                <c:pt idx="1154">
                  <c:v>0.9988884124753504</c:v>
                </c:pt>
                <c:pt idx="1155">
                  <c:v>0.9988955831209321</c:v>
                </c:pt>
                <c:pt idx="1156">
                  <c:v>0.9989027130026639</c:v>
                </c:pt>
                <c:pt idx="1157">
                  <c:v>0.9989097044769056</c:v>
                </c:pt>
                <c:pt idx="1158">
                  <c:v>0.9989236210656336</c:v>
                </c:pt>
                <c:pt idx="1159">
                  <c:v>0.9989305622960605</c:v>
                </c:pt>
                <c:pt idx="1160">
                  <c:v>0.9989374333747458</c:v>
                </c:pt>
                <c:pt idx="1161">
                  <c:v>0.9989442826495115</c:v>
                </c:pt>
                <c:pt idx="1162">
                  <c:v>0.9989511224443121</c:v>
                </c:pt>
                <c:pt idx="1163">
                  <c:v>0.998957936643207</c:v>
                </c:pt>
                <c:pt idx="1164">
                  <c:v>0.9989647034422765</c:v>
                </c:pt>
                <c:pt idx="1165">
                  <c:v>0.9989714531774089</c:v>
                </c:pt>
                <c:pt idx="1166">
                  <c:v>0.9989781678366705</c:v>
                </c:pt>
                <c:pt idx="1167">
                  <c:v>0.9989848815479356</c:v>
                </c:pt>
                <c:pt idx="1168">
                  <c:v>0.9989915744032776</c:v>
                </c:pt>
                <c:pt idx="1169">
                  <c:v>0.9989982255467732</c:v>
                </c:pt>
                <c:pt idx="1170">
                  <c:v>0.9990113827902989</c:v>
                </c:pt>
                <c:pt idx="1171">
                  <c:v>0.999017898370294</c:v>
                </c:pt>
                <c:pt idx="1172">
                  <c:v>0.9990244111062995</c:v>
                </c:pt>
                <c:pt idx="1173">
                  <c:v>0.9990308517945704</c:v>
                </c:pt>
                <c:pt idx="1174">
                  <c:v>0.9990372687829288</c:v>
                </c:pt>
                <c:pt idx="1175">
                  <c:v>0.9990436601753814</c:v>
                </c:pt>
                <c:pt idx="1176">
                  <c:v>0.9990500449318584</c:v>
                </c:pt>
                <c:pt idx="1177">
                  <c:v>0.9990563747045381</c:v>
                </c:pt>
                <c:pt idx="1178">
                  <c:v>0.9990626817253015</c:v>
                </c:pt>
                <c:pt idx="1179">
                  <c:v>0.9990689603061698</c:v>
                </c:pt>
                <c:pt idx="1180">
                  <c:v>0.9990751744232755</c:v>
                </c:pt>
                <c:pt idx="1181">
                  <c:v>0.9990813401925593</c:v>
                </c:pt>
                <c:pt idx="1182">
                  <c:v>0.999087414006182</c:v>
                </c:pt>
                <c:pt idx="1183">
                  <c:v>0.9990934593799093</c:v>
                </c:pt>
                <c:pt idx="1184">
                  <c:v>0.9990995009616507</c:v>
                </c:pt>
                <c:pt idx="1185">
                  <c:v>0.999105525479455</c:v>
                </c:pt>
                <c:pt idx="1186">
                  <c:v>0.999111508285413</c:v>
                </c:pt>
                <c:pt idx="1187">
                  <c:v>0.9991174541195071</c:v>
                </c:pt>
                <c:pt idx="1188">
                  <c:v>0.9991233535017724</c:v>
                </c:pt>
                <c:pt idx="1189">
                  <c:v>0.999129167564352</c:v>
                </c:pt>
                <c:pt idx="1190">
                  <c:v>0.999134965510991</c:v>
                </c:pt>
                <c:pt idx="1191">
                  <c:v>0.9991464950445135</c:v>
                </c:pt>
                <c:pt idx="1192">
                  <c:v>0.9991522180994283</c:v>
                </c:pt>
                <c:pt idx="1193">
                  <c:v>0.9991579335703712</c:v>
                </c:pt>
                <c:pt idx="1194">
                  <c:v>0.9991691038132173</c:v>
                </c:pt>
                <c:pt idx="1195">
                  <c:v>0.9991746258928726</c:v>
                </c:pt>
                <c:pt idx="1196">
                  <c:v>0.999180144180542</c:v>
                </c:pt>
                <c:pt idx="1197">
                  <c:v>0.9991856491962603</c:v>
                </c:pt>
                <c:pt idx="1198">
                  <c:v>0.9991911324080589</c:v>
                </c:pt>
                <c:pt idx="1199">
                  <c:v>0.9991965938159378</c:v>
                </c:pt>
                <c:pt idx="1200">
                  <c:v>0.9992020068759948</c:v>
                </c:pt>
                <c:pt idx="1201">
                  <c:v>0.9992073886521671</c:v>
                </c:pt>
                <c:pt idx="1202">
                  <c:v>0.9992127524164057</c:v>
                </c:pt>
                <c:pt idx="1203">
                  <c:v>0.9992180991167072</c:v>
                </c:pt>
                <c:pt idx="1204">
                  <c:v>0.9992234429730192</c:v>
                </c:pt>
                <c:pt idx="1205">
                  <c:v>0.9992287650254116</c:v>
                </c:pt>
                <c:pt idx="1206">
                  <c:v>0.9992340842338143</c:v>
                </c:pt>
                <c:pt idx="1207">
                  <c:v>0.9992393854302835</c:v>
                </c:pt>
                <c:pt idx="1208">
                  <c:v>0.9992446515508818</c:v>
                </c:pt>
                <c:pt idx="1209">
                  <c:v>0.9992551714681239</c:v>
                </c:pt>
                <c:pt idx="1210">
                  <c:v>0.9992604119928166</c:v>
                </c:pt>
                <c:pt idx="1211">
                  <c:v>0.9992656449335372</c:v>
                </c:pt>
                <c:pt idx="1212">
                  <c:v>0.9992708503823591</c:v>
                </c:pt>
                <c:pt idx="1213">
                  <c:v>0.9992760548831845</c:v>
                </c:pt>
                <c:pt idx="1214">
                  <c:v>0.9992812584360133</c:v>
                </c:pt>
                <c:pt idx="1215">
                  <c:v>0.999286437340933</c:v>
                </c:pt>
                <c:pt idx="1216">
                  <c:v>0.9992915953899295</c:v>
                </c:pt>
                <c:pt idx="1217">
                  <c:v>0.9992967430109645</c:v>
                </c:pt>
                <c:pt idx="1218">
                  <c:v>0.9993018716720693</c:v>
                </c:pt>
                <c:pt idx="1219">
                  <c:v>0.9993118379593512</c:v>
                </c:pt>
                <c:pt idx="1220">
                  <c:v>0.9993168035650567</c:v>
                </c:pt>
                <c:pt idx="1221">
                  <c:v>0.9993266200688904</c:v>
                </c:pt>
                <c:pt idx="1222">
                  <c:v>0.9993314776029941</c:v>
                </c:pt>
                <c:pt idx="1223">
                  <c:v>0.9993363313451118</c:v>
                </c:pt>
                <c:pt idx="1224">
                  <c:v>0.9993411765552609</c:v>
                </c:pt>
                <c:pt idx="1225">
                  <c:v>0.9993459999614903</c:v>
                </c:pt>
                <c:pt idx="1226">
                  <c:v>0.9993507968238176</c:v>
                </c:pt>
                <c:pt idx="1227">
                  <c:v>0.9993555680902391</c:v>
                </c:pt>
                <c:pt idx="1228">
                  <c:v>0.9993603185007375</c:v>
                </c:pt>
                <c:pt idx="1229">
                  <c:v>0.999365018667421</c:v>
                </c:pt>
                <c:pt idx="1230">
                  <c:v>0.9993697112501324</c:v>
                </c:pt>
                <c:pt idx="1231">
                  <c:v>0.9993790651316705</c:v>
                </c:pt>
                <c:pt idx="1232">
                  <c:v>0.9993837065225706</c:v>
                </c:pt>
                <c:pt idx="1233">
                  <c:v>0.999388343173488</c:v>
                </c:pt>
                <c:pt idx="1234">
                  <c:v>0.9993929675004509</c:v>
                </c:pt>
                <c:pt idx="1235">
                  <c:v>0.9993975757114731</c:v>
                </c:pt>
                <c:pt idx="1236">
                  <c:v>0.9994021706505443</c:v>
                </c:pt>
                <c:pt idx="1237">
                  <c:v>0.9994067096578215</c:v>
                </c:pt>
                <c:pt idx="1238">
                  <c:v>0.9994112401331302</c:v>
                </c:pt>
                <c:pt idx="1239">
                  <c:v>0.9994157507005123</c:v>
                </c:pt>
                <c:pt idx="1240">
                  <c:v>0.999428926903968</c:v>
                </c:pt>
                <c:pt idx="1241">
                  <c:v>0.9994332203801498</c:v>
                </c:pt>
                <c:pt idx="1242">
                  <c:v>0.9994375005843805</c:v>
                </c:pt>
                <c:pt idx="1243">
                  <c:v>0.9994417646726707</c:v>
                </c:pt>
                <c:pt idx="1244">
                  <c:v>0.9994460126450201</c:v>
                </c:pt>
                <c:pt idx="1245">
                  <c:v>0.9994502283854884</c:v>
                </c:pt>
                <c:pt idx="1246">
                  <c:v>0.9994544431779601</c:v>
                </c:pt>
                <c:pt idx="1247">
                  <c:v>0.9994668505562484</c:v>
                </c:pt>
                <c:pt idx="1248">
                  <c:v>0.9994709402131812</c:v>
                </c:pt>
                <c:pt idx="1249">
                  <c:v>0.9994750128061768</c:v>
                </c:pt>
                <c:pt idx="1250">
                  <c:v>0.9994830290646429</c:v>
                </c:pt>
                <c:pt idx="1251">
                  <c:v>0.9994870220259319</c:v>
                </c:pt>
                <c:pt idx="1252">
                  <c:v>0.9994910121432313</c:v>
                </c:pt>
                <c:pt idx="1253">
                  <c:v>0.9994949548607054</c:v>
                </c:pt>
                <c:pt idx="1254">
                  <c:v>0.99949889473419</c:v>
                </c:pt>
                <c:pt idx="1255">
                  <c:v>0.9995028175437374</c:v>
                </c:pt>
                <c:pt idx="1256">
                  <c:v>0.999506701485428</c:v>
                </c:pt>
                <c:pt idx="1257">
                  <c:v>0.9995105219113526</c:v>
                </c:pt>
                <c:pt idx="1258">
                  <c:v>0.9995180347836734</c:v>
                </c:pt>
                <c:pt idx="1259">
                  <c:v>0.9995217120621255</c:v>
                </c:pt>
                <c:pt idx="1260">
                  <c:v>0.9995324282146446</c:v>
                </c:pt>
                <c:pt idx="1261">
                  <c:v>0.9995359557096485</c:v>
                </c:pt>
                <c:pt idx="1262">
                  <c:v>0.999539449076778</c:v>
                </c:pt>
                <c:pt idx="1263">
                  <c:v>0.9995428846161207</c:v>
                </c:pt>
                <c:pt idx="1264">
                  <c:v>0.9995496969190226</c:v>
                </c:pt>
                <c:pt idx="1265">
                  <c:v>0.9995530736825818</c:v>
                </c:pt>
                <c:pt idx="1266">
                  <c:v>0.9995564494981445</c:v>
                </c:pt>
                <c:pt idx="1267">
                  <c:v>0.999559812041756</c:v>
                </c:pt>
                <c:pt idx="1268">
                  <c:v>0.9995631527814479</c:v>
                </c:pt>
                <c:pt idx="1269">
                  <c:v>0.9995664849891712</c:v>
                </c:pt>
                <c:pt idx="1270">
                  <c:v>0.9995764171485788</c:v>
                </c:pt>
                <c:pt idx="1271">
                  <c:v>0.9995829915043574</c:v>
                </c:pt>
                <c:pt idx="1272">
                  <c:v>0.9995862677802868</c:v>
                </c:pt>
                <c:pt idx="1273">
                  <c:v>0.9995895412122268</c:v>
                </c:pt>
                <c:pt idx="1274">
                  <c:v>0.9995927994762226</c:v>
                </c:pt>
                <c:pt idx="1275">
                  <c:v>0.9995960501562463</c:v>
                </c:pt>
                <c:pt idx="1276">
                  <c:v>0.9995992960962875</c:v>
                </c:pt>
                <c:pt idx="1277">
                  <c:v>0.9996025335043601</c:v>
                </c:pt>
                <c:pt idx="1278">
                  <c:v>0.9996089467007324</c:v>
                </c:pt>
                <c:pt idx="1279">
                  <c:v>0.9996153087052932</c:v>
                </c:pt>
                <c:pt idx="1280">
                  <c:v>0.9996215455743152</c:v>
                </c:pt>
                <c:pt idx="1281">
                  <c:v>0.999630867223972</c:v>
                </c:pt>
                <c:pt idx="1282">
                  <c:v>0.999633961484572</c:v>
                </c:pt>
                <c:pt idx="1283">
                  <c:v>0.9996370036053641</c:v>
                </c:pt>
                <c:pt idx="1284">
                  <c:v>0.9996400343501981</c:v>
                </c:pt>
                <c:pt idx="1285">
                  <c:v>0.999643055615067</c:v>
                </c:pt>
                <c:pt idx="1286">
                  <c:v>0.9996460560240128</c:v>
                </c:pt>
                <c:pt idx="1287">
                  <c:v>0.9996520160780545</c:v>
                </c:pt>
                <c:pt idx="1288">
                  <c:v>0.9996549776191436</c:v>
                </c:pt>
                <c:pt idx="1289">
                  <c:v>0.999657936316243</c:v>
                </c:pt>
                <c:pt idx="1290">
                  <c:v>0.9996608798453983</c:v>
                </c:pt>
                <c:pt idx="1291">
                  <c:v>0.9996638186345711</c:v>
                </c:pt>
                <c:pt idx="1292">
                  <c:v>0.9996667384638137</c:v>
                </c:pt>
                <c:pt idx="1293">
                  <c:v>0.9996696573450599</c:v>
                </c:pt>
                <c:pt idx="1294">
                  <c:v>0.9996725695903305</c:v>
                </c:pt>
                <c:pt idx="1295">
                  <c:v>0.9996754742516291</c:v>
                </c:pt>
                <c:pt idx="1296">
                  <c:v>0.9996783533170219</c:v>
                </c:pt>
                <c:pt idx="1297">
                  <c:v>0.9996812295384252</c:v>
                </c:pt>
                <c:pt idx="1298">
                  <c:v>0.9996840877478949</c:v>
                </c:pt>
                <c:pt idx="1299">
                  <c:v>0.999686939321389</c:v>
                </c:pt>
                <c:pt idx="1300">
                  <c:v>0.9996897785709286</c:v>
                </c:pt>
                <c:pt idx="1301">
                  <c:v>0.9996926121324891</c:v>
                </c:pt>
                <c:pt idx="1302">
                  <c:v>0.999695444746053</c:v>
                </c:pt>
                <c:pt idx="1303">
                  <c:v>0.9996982384917602</c:v>
                </c:pt>
                <c:pt idx="1304">
                  <c:v>0.9997010274974848</c:v>
                </c:pt>
                <c:pt idx="1305">
                  <c:v>0.9997037283395342</c:v>
                </c:pt>
                <c:pt idx="1306">
                  <c:v>0.9997090902077798</c:v>
                </c:pt>
                <c:pt idx="1307">
                  <c:v>0.9997117455459968</c:v>
                </c:pt>
                <c:pt idx="1308">
                  <c:v>0.9997170239905497</c:v>
                </c:pt>
                <c:pt idx="1309">
                  <c:v>0.9997196385649171</c:v>
                </c:pt>
                <c:pt idx="1310">
                  <c:v>0.9997222228033962</c:v>
                </c:pt>
                <c:pt idx="1311">
                  <c:v>0.999727353360494</c:v>
                </c:pt>
                <c:pt idx="1312">
                  <c:v>0.9997324365177664</c:v>
                </c:pt>
                <c:pt idx="1313">
                  <c:v>0.999734967668441</c:v>
                </c:pt>
                <c:pt idx="1314">
                  <c:v>0.9997374912351437</c:v>
                </c:pt>
                <c:pt idx="1315">
                  <c:v>0.9997399721420034</c:v>
                </c:pt>
                <c:pt idx="1316">
                  <c:v>0.9997473551388028</c:v>
                </c:pt>
                <c:pt idx="1317">
                  <c:v>0.9997497630499315</c:v>
                </c:pt>
                <c:pt idx="1318">
                  <c:v>0.999752142521165</c:v>
                </c:pt>
                <c:pt idx="1319">
                  <c:v>0.9997545191484088</c:v>
                </c:pt>
                <c:pt idx="1320">
                  <c:v>0.9997568891396772</c:v>
                </c:pt>
                <c:pt idx="1321">
                  <c:v>0.9997592591309455</c:v>
                </c:pt>
                <c:pt idx="1322">
                  <c:v>0.9997616262782244</c:v>
                </c:pt>
                <c:pt idx="1323">
                  <c:v>0.9997639905815138</c:v>
                </c:pt>
                <c:pt idx="1324">
                  <c:v>0.999766345404838</c:v>
                </c:pt>
                <c:pt idx="1325">
                  <c:v>0.9997686803202356</c:v>
                </c:pt>
                <c:pt idx="1326">
                  <c:v>0.9997709953277065</c:v>
                </c:pt>
                <c:pt idx="1327">
                  <c:v>0.9997732657793417</c:v>
                </c:pt>
                <c:pt idx="1328">
                  <c:v>0.9997755220110291</c:v>
                </c:pt>
                <c:pt idx="1329">
                  <c:v>0.999779886586949</c:v>
                </c:pt>
                <c:pt idx="1330">
                  <c:v>0.9997820537069648</c:v>
                </c:pt>
                <c:pt idx="1331">
                  <c:v>0.9997842075550295</c:v>
                </c:pt>
                <c:pt idx="1332">
                  <c:v>0.9997863462351501</c:v>
                </c:pt>
                <c:pt idx="1333">
                  <c:v>0.99979271392769</c:v>
                </c:pt>
                <c:pt idx="1334">
                  <c:v>0.9997948184799363</c:v>
                </c:pt>
                <c:pt idx="1335">
                  <c:v>0.9997969230321827</c:v>
                </c:pt>
                <c:pt idx="1336">
                  <c:v>0.9997990105204919</c:v>
                </c:pt>
                <c:pt idx="1337">
                  <c:v>0.9998031333573024</c:v>
                </c:pt>
                <c:pt idx="1338">
                  <c:v>0.9998051696538002</c:v>
                </c:pt>
                <c:pt idx="1339">
                  <c:v>0.9998071888863609</c:v>
                </c:pt>
                <c:pt idx="1340">
                  <c:v>0.9998131148125283</c:v>
                </c:pt>
                <c:pt idx="1341">
                  <c:v>0.9998150506213963</c:v>
                </c:pt>
                <c:pt idx="1342">
                  <c:v>0.9998169864302643</c:v>
                </c:pt>
                <c:pt idx="1343">
                  <c:v>0.9998189042271987</c:v>
                </c:pt>
                <c:pt idx="1344">
                  <c:v>0.999820814440161</c:v>
                </c:pt>
                <c:pt idx="1345">
                  <c:v>0.9998227075891862</c:v>
                </c:pt>
                <c:pt idx="1346">
                  <c:v>0.9998245751423057</c:v>
                </c:pt>
                <c:pt idx="1347">
                  <c:v>0.9998264028795719</c:v>
                </c:pt>
                <c:pt idx="1348">
                  <c:v>0.9998282192408801</c:v>
                </c:pt>
                <c:pt idx="1349">
                  <c:v>0.999830018538251</c:v>
                </c:pt>
                <c:pt idx="1350">
                  <c:v>0.9998335431892654</c:v>
                </c:pt>
                <c:pt idx="1351">
                  <c:v>0.9998352903468285</c:v>
                </c:pt>
                <c:pt idx="1352">
                  <c:v>0.9998404256439088</c:v>
                </c:pt>
                <c:pt idx="1353">
                  <c:v>0.9998421216096605</c:v>
                </c:pt>
                <c:pt idx="1354">
                  <c:v>0.9998454907892477</c:v>
                </c:pt>
                <c:pt idx="1355">
                  <c:v>0.9998487680131736</c:v>
                </c:pt>
                <c:pt idx="1356">
                  <c:v>0.9998503786592395</c:v>
                </c:pt>
                <c:pt idx="1357">
                  <c:v>0.9998519760333544</c:v>
                </c:pt>
                <c:pt idx="1358">
                  <c:v>0.999853541175588</c:v>
                </c:pt>
                <c:pt idx="1359">
                  <c:v>0.9998551063178216</c:v>
                </c:pt>
                <c:pt idx="1360">
                  <c:v>0.9998582147983692</c:v>
                </c:pt>
                <c:pt idx="1361">
                  <c:v>0.9998597628766658</c:v>
                </c:pt>
                <c:pt idx="1362">
                  <c:v>0.9998612929430286</c:v>
                </c:pt>
                <c:pt idx="1363">
                  <c:v>0.9998643246358592</c:v>
                </c:pt>
                <c:pt idx="1364">
                  <c:v>0.9998673089288643</c:v>
                </c:pt>
                <c:pt idx="1365">
                  <c:v>0.9998687925433983</c:v>
                </c:pt>
                <c:pt idx="1366">
                  <c:v>0.9998717398645397</c:v>
                </c:pt>
                <c:pt idx="1367">
                  <c:v>0.9998731770272449</c:v>
                </c:pt>
                <c:pt idx="1368">
                  <c:v>0.9998745952300199</c:v>
                </c:pt>
                <c:pt idx="1369">
                  <c:v>0.9998760030048333</c:v>
                </c:pt>
                <c:pt idx="1370">
                  <c:v>0.9998774022476781</c:v>
                </c:pt>
                <c:pt idx="1371">
                  <c:v>0.9998801798774446</c:v>
                </c:pt>
                <c:pt idx="1372">
                  <c:v>0.9998815478364047</c:v>
                </c:pt>
                <c:pt idx="1373">
                  <c:v>0.9998829110553823</c:v>
                </c:pt>
                <c:pt idx="1374">
                  <c:v>0.9998842600544122</c:v>
                </c:pt>
                <c:pt idx="1375">
                  <c:v>0.9998855834575365</c:v>
                </c:pt>
                <c:pt idx="1376">
                  <c:v>0.9998869030686748</c:v>
                </c:pt>
                <c:pt idx="1377">
                  <c:v>0.999888218887827</c:v>
                </c:pt>
                <c:pt idx="1378">
                  <c:v>0.9998895024750979</c:v>
                </c:pt>
                <c:pt idx="1379">
                  <c:v>0.9998907803743898</c:v>
                </c:pt>
                <c:pt idx="1380">
                  <c:v>0.9998957251241721</c:v>
                </c:pt>
                <c:pt idx="1381">
                  <c:v>0.9998969395076981</c:v>
                </c:pt>
                <c:pt idx="1382">
                  <c:v>0.9998981425152659</c:v>
                </c:pt>
                <c:pt idx="1383">
                  <c:v>0.9998993369908652</c:v>
                </c:pt>
                <c:pt idx="1384">
                  <c:v>0.9999005087145483</c:v>
                </c:pt>
                <c:pt idx="1385">
                  <c:v>0.9999016785422383</c:v>
                </c:pt>
                <c:pt idx="1386">
                  <c:v>0.9999028379419668</c:v>
                </c:pt>
                <c:pt idx="1387">
                  <c:v>0.9999051358855006</c:v>
                </c:pt>
                <c:pt idx="1388">
                  <c:v>0.9999073816892265</c:v>
                </c:pt>
                <c:pt idx="1389">
                  <c:v>0.9999084898971436</c:v>
                </c:pt>
                <c:pt idx="1390">
                  <c:v>0.9999095905210887</c:v>
                </c:pt>
                <c:pt idx="1391">
                  <c:v>0.9999117405771674</c:v>
                </c:pt>
                <c:pt idx="1392">
                  <c:v>0.9999138716733159</c:v>
                </c:pt>
                <c:pt idx="1393">
                  <c:v>0.9999149315334112</c:v>
                </c:pt>
                <c:pt idx="1394">
                  <c:v>0.9999159733815728</c:v>
                </c:pt>
                <c:pt idx="1395">
                  <c:v>0.9999200905304042</c:v>
                </c:pt>
                <c:pt idx="1396">
                  <c:v>0.9999230748234095</c:v>
                </c:pt>
                <c:pt idx="1397">
                  <c:v>0.99992501537226</c:v>
                </c:pt>
                <c:pt idx="1398">
                  <c:v>0.9999259737967289</c:v>
                </c:pt>
                <c:pt idx="1399">
                  <c:v>0.9999278565177925</c:v>
                </c:pt>
                <c:pt idx="1400">
                  <c:v>0.9999287865023662</c:v>
                </c:pt>
                <c:pt idx="1401">
                  <c:v>0.9999297117469573</c:v>
                </c:pt>
                <c:pt idx="1402">
                  <c:v>0.9999306237195974</c:v>
                </c:pt>
                <c:pt idx="1403">
                  <c:v>0.9999324239649648</c:v>
                </c:pt>
                <c:pt idx="1404">
                  <c:v>0.9999341881864651</c:v>
                </c:pt>
                <c:pt idx="1405">
                  <c:v>0.9999350537072763</c:v>
                </c:pt>
                <c:pt idx="1406">
                  <c:v>0.9999367202851362</c:v>
                </c:pt>
                <c:pt idx="1407">
                  <c:v>0.9999375365101291</c:v>
                </c:pt>
                <c:pt idx="1408">
                  <c:v>0.9999391613761427</c:v>
                </c:pt>
                <c:pt idx="1409">
                  <c:v>0.9999399681211705</c:v>
                </c:pt>
                <c:pt idx="1410">
                  <c:v>0.9999407701262157</c:v>
                </c:pt>
                <c:pt idx="1411">
                  <c:v>0.9999423371644424</c:v>
                </c:pt>
                <c:pt idx="1412">
                  <c:v>0.9999438634388192</c:v>
                </c:pt>
                <c:pt idx="1413">
                  <c:v>0.9999453328334057</c:v>
                </c:pt>
                <c:pt idx="1414">
                  <c:v>0.9999460627907164</c:v>
                </c:pt>
                <c:pt idx="1415">
                  <c:v>0.9999475122773762</c:v>
                </c:pt>
                <c:pt idx="1416">
                  <c:v>0.9999482166387812</c:v>
                </c:pt>
                <c:pt idx="1417">
                  <c:v>0.9999496139856331</c:v>
                </c:pt>
                <c:pt idx="1418">
                  <c:v>0.9999502737912022</c:v>
                </c:pt>
                <c:pt idx="1419">
                  <c:v>0.9999509326487748</c:v>
                </c:pt>
                <c:pt idx="1420">
                  <c:v>0.999952893105552</c:v>
                </c:pt>
                <c:pt idx="1421">
                  <c:v>0.9999547805665981</c:v>
                </c:pt>
                <c:pt idx="1422">
                  <c:v>0.9999553844403734</c:v>
                </c:pt>
                <c:pt idx="1423">
                  <c:v>0.9999577184077745</c:v>
                </c:pt>
                <c:pt idx="1424">
                  <c:v>0.9999582796217068</c:v>
                </c:pt>
                <c:pt idx="1425">
                  <c:v>0.9999599367196016</c:v>
                </c:pt>
                <c:pt idx="1426">
                  <c:v>0.9999604837135864</c:v>
                </c:pt>
                <c:pt idx="1427">
                  <c:v>0.9999615634816083</c:v>
                </c:pt>
                <c:pt idx="1428">
                  <c:v>0.9999636433859453</c:v>
                </c:pt>
                <c:pt idx="1429">
                  <c:v>0.9999641429801047</c:v>
                </c:pt>
                <c:pt idx="1430">
                  <c:v>0.9999646406782711</c:v>
                </c:pt>
                <c:pt idx="1431">
                  <c:v>0.999967471395842</c:v>
                </c:pt>
                <c:pt idx="1432">
                  <c:v>0.9999679112662214</c:v>
                </c:pt>
                <c:pt idx="1433">
                  <c:v>0.9999683501886043</c:v>
                </c:pt>
                <c:pt idx="1434">
                  <c:v>0.9999687748910396</c:v>
                </c:pt>
                <c:pt idx="1435">
                  <c:v>0.9999700281424224</c:v>
                </c:pt>
                <c:pt idx="1436">
                  <c:v>0.9999720634909236</c:v>
                </c:pt>
                <c:pt idx="1437">
                  <c:v>0.9999732238386486</c:v>
                </c:pt>
                <c:pt idx="1438">
                  <c:v>0.999975074327831</c:v>
                </c:pt>
                <c:pt idx="1439">
                  <c:v>0.9999754345665037</c:v>
                </c:pt>
                <c:pt idx="1440">
                  <c:v>0.9999764934786024</c:v>
                </c:pt>
                <c:pt idx="1441">
                  <c:v>0.9999787335943493</c:v>
                </c:pt>
                <c:pt idx="1442">
                  <c:v>0.9999799470298788</c:v>
                </c:pt>
                <c:pt idx="1443">
                  <c:v>0.9999805433196819</c:v>
                </c:pt>
                <c:pt idx="1444">
                  <c:v>0.9999811234935444</c:v>
                </c:pt>
                <c:pt idx="1445">
                  <c:v>0.9999814107364862</c:v>
                </c:pt>
                <c:pt idx="1446">
                  <c:v>0.9999816913434524</c:v>
                </c:pt>
                <c:pt idx="1447">
                  <c:v>0.9999856814607522</c:v>
                </c:pt>
                <c:pt idx="1448">
                  <c:v>0.9999867612287741</c:v>
                </c:pt>
                <c:pt idx="1449">
                  <c:v>0.9999902005601027</c:v>
                </c:pt>
                <c:pt idx="1450">
                  <c:v>0.9999905314108837</c:v>
                </c:pt>
                <c:pt idx="1451">
                  <c:v>0.999991146660617</c:v>
                </c:pt>
                <c:pt idx="1452">
                  <c:v>0.9999929146741031</c:v>
                </c:pt>
                <c:pt idx="1453">
                  <c:v>0.999993867410593</c:v>
                </c:pt>
                <c:pt idx="1454">
                  <c:v>0.999994712075481</c:v>
                </c:pt>
                <c:pt idx="1455">
                  <c:v>0.9999948106671177</c:v>
                </c:pt>
                <c:pt idx="1456">
                  <c:v>0.9999955690643235</c:v>
                </c:pt>
                <c:pt idx="1457">
                  <c:v>0.9999960819304341</c:v>
                </c:pt>
                <c:pt idx="1458">
                  <c:v>0.9999984566616849</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1522</c:f>
              <c:strCache>
                <c:ptCount val="1521"/>
                <c:pt idx="0">
                  <c:v>Private Lab</c:v>
                </c:pt>
                <c:pt idx="1">
                  <c:v>Private Lab</c:v>
                </c:pt>
                <c:pt idx="2">
                  <c:v>Private Lab</c:v>
                </c:pt>
                <c:pt idx="3">
                  <c:v>Private Lab</c:v>
                </c:pt>
                <c:pt idx="4">
                  <c:v>Private Lab</c:v>
                </c:pt>
                <c:pt idx="5">
                  <c:v>Caprice Des</c:v>
                </c:pt>
                <c:pt idx="6">
                  <c:v>Private Lab</c:v>
                </c:pt>
                <c:pt idx="7">
                  <c:v>Private Lab</c:v>
                </c:pt>
                <c:pt idx="8">
                  <c:v>Private Lab</c:v>
                </c:pt>
                <c:pt idx="9">
                  <c:v>Mini Babybe</c:v>
                </c:pt>
                <c:pt idx="10">
                  <c:v>Private Lab</c:v>
                </c:pt>
                <c:pt idx="11">
                  <c:v>Private Lab</c:v>
                </c:pt>
                <c:pt idx="12">
                  <c:v>President</c:v>
                </c:pt>
                <c:pt idx="13">
                  <c:v>Richesmonts</c:v>
                </c:pt>
                <c:pt idx="14">
                  <c:v>Private Lab</c:v>
                </c:pt>
                <c:pt idx="15">
                  <c:v>Coeur De Li</c:v>
                </c:pt>
                <c:pt idx="16">
                  <c:v>Private Lab</c:v>
                </c:pt>
                <c:pt idx="17">
                  <c:v>Private Lab</c:v>
                </c:pt>
                <c:pt idx="18">
                  <c:v>Soignon</c:v>
                </c:pt>
                <c:pt idx="19">
                  <c:v>Entremont</c:v>
                </c:pt>
                <c:pt idx="20">
                  <c:v>Chaussee Au</c:v>
                </c:pt>
                <c:pt idx="21">
                  <c:v>Private Lab</c:v>
                </c:pt>
                <c:pt idx="22">
                  <c:v>Caprice Des</c:v>
                </c:pt>
                <c:pt idx="23">
                  <c:v>La Vache Qu</c:v>
                </c:pt>
                <c:pt idx="24">
                  <c:v>Private Lab</c:v>
                </c:pt>
                <c:pt idx="25">
                  <c:v>Private Lab</c:v>
                </c:pt>
                <c:pt idx="26">
                  <c:v>President</c:v>
                </c:pt>
                <c:pt idx="27">
                  <c:v>President</c:v>
                </c:pt>
                <c:pt idx="28">
                  <c:v>Private Lab</c:v>
                </c:pt>
                <c:pt idx="29">
                  <c:v>Private Lab</c:v>
                </c:pt>
                <c:pt idx="30">
                  <c:v>President</c:v>
                </c:pt>
                <c:pt idx="31">
                  <c:v>Leerdammer</c:v>
                </c:pt>
                <c:pt idx="32">
                  <c:v>Entremont</c:v>
                </c:pt>
                <c:pt idx="33">
                  <c:v>Private Lab</c:v>
                </c:pt>
                <c:pt idx="34">
                  <c:v>Private Lab</c:v>
                </c:pt>
                <c:pt idx="35">
                  <c:v>Private Lab</c:v>
                </c:pt>
                <c:pt idx="36">
                  <c:v>Private Lab</c:v>
                </c:pt>
                <c:pt idx="37">
                  <c:v>Private Lab</c:v>
                </c:pt>
                <c:pt idx="38">
                  <c:v>President</c:v>
                </c:pt>
                <c:pt idx="39">
                  <c:v>Soignon</c:v>
                </c:pt>
                <c:pt idx="40">
                  <c:v>St Moret</c:v>
                </c:pt>
                <c:pt idx="41">
                  <c:v>Le Rustique</c:v>
                </c:pt>
                <c:pt idx="42">
                  <c:v>Private Lab</c:v>
                </c:pt>
                <c:pt idx="43">
                  <c:v>St Moret</c:v>
                </c:pt>
                <c:pt idx="44">
                  <c:v>Private Lab</c:v>
                </c:pt>
                <c:pt idx="45">
                  <c:v>All Others</c:v>
                </c:pt>
                <c:pt idx="46">
                  <c:v>Private Lab</c:v>
                </c:pt>
                <c:pt idx="47">
                  <c:v>President</c:v>
                </c:pt>
                <c:pt idx="48">
                  <c:v>La Vache Qu</c:v>
                </c:pt>
                <c:pt idx="49">
                  <c:v>President</c:v>
                </c:pt>
                <c:pt idx="50">
                  <c:v>Societe</c:v>
                </c:pt>
                <c:pt idx="51">
                  <c:v>St Moret</c:v>
                </c:pt>
                <c:pt idx="52">
                  <c:v>Private Lab</c:v>
                </c:pt>
                <c:pt idx="53">
                  <c:v>Private Lab</c:v>
                </c:pt>
                <c:pt idx="54">
                  <c:v>Private Lab</c:v>
                </c:pt>
                <c:pt idx="55">
                  <c:v>Private Lab</c:v>
                </c:pt>
                <c:pt idx="56">
                  <c:v>Coeur De Li</c:v>
                </c:pt>
                <c:pt idx="57">
                  <c:v>La Vache Qu</c:v>
                </c:pt>
                <c:pt idx="58">
                  <c:v>Private Lab</c:v>
                </c:pt>
                <c:pt idx="59">
                  <c:v>Private Lab</c:v>
                </c:pt>
                <c:pt idx="60">
                  <c:v>Chaussee Au</c:v>
                </c:pt>
                <c:pt idx="61">
                  <c:v>Entremont</c:v>
                </c:pt>
                <c:pt idx="62">
                  <c:v>St Moret</c:v>
                </c:pt>
                <c:pt idx="63">
                  <c:v>Tartare</c:v>
                </c:pt>
                <c:pt idx="64">
                  <c:v>Mini Babybe</c:v>
                </c:pt>
                <c:pt idx="65">
                  <c:v>Private Lab</c:v>
                </c:pt>
                <c:pt idx="66">
                  <c:v>Private Lab</c:v>
                </c:pt>
                <c:pt idx="67">
                  <c:v>Soignon</c:v>
                </c:pt>
                <c:pt idx="68">
                  <c:v>President</c:v>
                </c:pt>
                <c:pt idx="69">
                  <c:v>Saint Agur</c:v>
                </c:pt>
                <c:pt idx="70">
                  <c:v>Leerdammer</c:v>
                </c:pt>
                <c:pt idx="71">
                  <c:v>Entremont</c:v>
                </c:pt>
                <c:pt idx="72">
                  <c:v>Bresse Bleu</c:v>
                </c:pt>
                <c:pt idx="73">
                  <c:v>Entremont</c:v>
                </c:pt>
                <c:pt idx="74">
                  <c:v>Private Lab</c:v>
                </c:pt>
                <c:pt idx="75">
                  <c:v>Private Lab</c:v>
                </c:pt>
                <c:pt idx="76">
                  <c:v>Galbani</c:v>
                </c:pt>
                <c:pt idx="77">
                  <c:v>Kiri</c:v>
                </c:pt>
                <c:pt idx="78">
                  <c:v>Private Lab</c:v>
                </c:pt>
                <c:pt idx="79">
                  <c:v>Juraflore</c:v>
                </c:pt>
                <c:pt idx="80">
                  <c:v>Saint Albra</c:v>
                </c:pt>
                <c:pt idx="81">
                  <c:v>Kiri</c:v>
                </c:pt>
                <c:pt idx="82">
                  <c:v>Private Lab</c:v>
                </c:pt>
                <c:pt idx="83">
                  <c:v>Apericube</c:v>
                </c:pt>
                <c:pt idx="84">
                  <c:v>Leerdammer</c:v>
                </c:pt>
                <c:pt idx="85">
                  <c:v>President</c:v>
                </c:pt>
                <c:pt idx="86">
                  <c:v>Private Lab</c:v>
                </c:pt>
                <c:pt idx="87">
                  <c:v>Galbani</c:v>
                </c:pt>
                <c:pt idx="88">
                  <c:v>Ficello</c:v>
                </c:pt>
                <c:pt idx="89">
                  <c:v>Private Lab</c:v>
                </c:pt>
                <c:pt idx="90">
                  <c:v>President</c:v>
                </c:pt>
                <c:pt idx="91">
                  <c:v>Richesmonts</c:v>
                </c:pt>
                <c:pt idx="92">
                  <c:v>Richesmonts</c:v>
                </c:pt>
                <c:pt idx="93">
                  <c:v>Entremont</c:v>
                </c:pt>
                <c:pt idx="94">
                  <c:v>Entremont</c:v>
                </c:pt>
                <c:pt idx="95">
                  <c:v>Galbani</c:v>
                </c:pt>
                <c:pt idx="96">
                  <c:v>President</c:v>
                </c:pt>
                <c:pt idx="97">
                  <c:v>President</c:v>
                </c:pt>
                <c:pt idx="98">
                  <c:v>Salakis</c:v>
                </c:pt>
                <c:pt idx="99">
                  <c:v>Private Lab</c:v>
                </c:pt>
                <c:pt idx="100">
                  <c:v>Apericube</c:v>
                </c:pt>
                <c:pt idx="101">
                  <c:v>Private Lab</c:v>
                </c:pt>
                <c:pt idx="102">
                  <c:v>Private Lab</c:v>
                </c:pt>
                <c:pt idx="103">
                  <c:v>Private Lab</c:v>
                </c:pt>
                <c:pt idx="104">
                  <c:v>L'Ortolan</c:v>
                </c:pt>
                <c:pt idx="105">
                  <c:v>Private Lab</c:v>
                </c:pt>
                <c:pt idx="106">
                  <c:v>Private Lab</c:v>
                </c:pt>
                <c:pt idx="107">
                  <c:v>Entremont</c:v>
                </c:pt>
                <c:pt idx="108">
                  <c:v>Private Lab</c:v>
                </c:pt>
                <c:pt idx="109">
                  <c:v>Private Lab</c:v>
                </c:pt>
                <c:pt idx="110">
                  <c:v>Apericube</c:v>
                </c:pt>
                <c:pt idx="111">
                  <c:v>Private Lab</c:v>
                </c:pt>
                <c:pt idx="112">
                  <c:v>Pochat</c:v>
                </c:pt>
                <c:pt idx="113">
                  <c:v>Leerdammer</c:v>
                </c:pt>
                <c:pt idx="114">
                  <c:v>Paysan Bret</c:v>
                </c:pt>
                <c:pt idx="115">
                  <c:v>Private Lab</c:v>
                </c:pt>
                <c:pt idx="116">
                  <c:v>Private Lab</c:v>
                </c:pt>
                <c:pt idx="117">
                  <c:v>Istara</c:v>
                </c:pt>
                <c:pt idx="118">
                  <c:v>Private Lab</c:v>
                </c:pt>
                <c:pt idx="119">
                  <c:v>Private Lab</c:v>
                </c:pt>
                <c:pt idx="120">
                  <c:v>Private Lab</c:v>
                </c:pt>
                <c:pt idx="121">
                  <c:v>Private Lab</c:v>
                </c:pt>
                <c:pt idx="122">
                  <c:v>Saint Agur</c:v>
                </c:pt>
                <c:pt idx="123">
                  <c:v>Saint Albra</c:v>
                </c:pt>
                <c:pt idx="124">
                  <c:v>Private Lab</c:v>
                </c:pt>
                <c:pt idx="125">
                  <c:v>Entremont</c:v>
                </c:pt>
                <c:pt idx="126">
                  <c:v>Private Lab</c:v>
                </c:pt>
                <c:pt idx="127">
                  <c:v>Leerdammer</c:v>
                </c:pt>
                <c:pt idx="128">
                  <c:v>L'Ortolan</c:v>
                </c:pt>
                <c:pt idx="129">
                  <c:v>Boursin</c:v>
                </c:pt>
                <c:pt idx="130">
                  <c:v>St Moret</c:v>
                </c:pt>
                <c:pt idx="131">
                  <c:v>Private Lab</c:v>
                </c:pt>
                <c:pt idx="132">
                  <c:v>President</c:v>
                </c:pt>
                <c:pt idx="133">
                  <c:v>Entremont</c:v>
                </c:pt>
                <c:pt idx="134">
                  <c:v>Casa Azzurr</c:v>
                </c:pt>
                <c:pt idx="135">
                  <c:v>Paysan Bret</c:v>
                </c:pt>
                <c:pt idx="136">
                  <c:v>Philadelphi</c:v>
                </c:pt>
                <c:pt idx="137">
                  <c:v>Private Lab</c:v>
                </c:pt>
                <c:pt idx="138">
                  <c:v>Galbani</c:v>
                </c:pt>
                <c:pt idx="139">
                  <c:v>Apericube</c:v>
                </c:pt>
                <c:pt idx="140">
                  <c:v>Apericube</c:v>
                </c:pt>
                <c:pt idx="141">
                  <c:v>Parmareggio</c:v>
                </c:pt>
                <c:pt idx="142">
                  <c:v>Kiri</c:v>
                </c:pt>
                <c:pt idx="143">
                  <c:v>President</c:v>
                </c:pt>
                <c:pt idx="144">
                  <c:v>Lou Perac</c:v>
                </c:pt>
                <c:pt idx="145">
                  <c:v>Galbani</c:v>
                </c:pt>
                <c:pt idx="146">
                  <c:v>Tartare</c:v>
                </c:pt>
                <c:pt idx="147">
                  <c:v>Boursin</c:v>
                </c:pt>
                <c:pt idx="148">
                  <c:v>Entremont</c:v>
                </c:pt>
                <c:pt idx="149">
                  <c:v>Private Lab</c:v>
                </c:pt>
                <c:pt idx="150">
                  <c:v>Galbani</c:v>
                </c:pt>
                <c:pt idx="151">
                  <c:v>Private Lab</c:v>
                </c:pt>
                <c:pt idx="152">
                  <c:v>All Others</c:v>
                </c:pt>
                <c:pt idx="153">
                  <c:v>Leerdammer</c:v>
                </c:pt>
                <c:pt idx="154">
                  <c:v>All Others</c:v>
                </c:pt>
                <c:pt idx="155">
                  <c:v>Islos</c:v>
                </c:pt>
                <c:pt idx="156">
                  <c:v>Mini Babybe</c:v>
                </c:pt>
                <c:pt idx="157">
                  <c:v>Private Lab</c:v>
                </c:pt>
                <c:pt idx="158">
                  <c:v>Lepetit</c:v>
                </c:pt>
                <c:pt idx="159">
                  <c:v>Caprice Des</c:v>
                </c:pt>
                <c:pt idx="160">
                  <c:v>Boursin</c:v>
                </c:pt>
                <c:pt idx="161">
                  <c:v>Private Lab</c:v>
                </c:pt>
                <c:pt idx="162">
                  <c:v>Private Lab</c:v>
                </c:pt>
                <c:pt idx="163">
                  <c:v>Entremont</c:v>
                </c:pt>
                <c:pt idx="164">
                  <c:v>Leerdammer</c:v>
                </c:pt>
                <c:pt idx="165">
                  <c:v>Salakis</c:v>
                </c:pt>
                <c:pt idx="166">
                  <c:v>Port Salut</c:v>
                </c:pt>
                <c:pt idx="167">
                  <c:v>Galbani</c:v>
                </c:pt>
                <c:pt idx="168">
                  <c:v>President</c:v>
                </c:pt>
                <c:pt idx="169">
                  <c:v>President</c:v>
                </c:pt>
                <c:pt idx="170">
                  <c:v>Richesmonts</c:v>
                </c:pt>
                <c:pt idx="171">
                  <c:v>All Others</c:v>
                </c:pt>
                <c:pt idx="172">
                  <c:v>Coeur De Li</c:v>
                </c:pt>
                <c:pt idx="173">
                  <c:v>Boursin</c:v>
                </c:pt>
                <c:pt idx="174">
                  <c:v>President</c:v>
                </c:pt>
                <c:pt idx="175">
                  <c:v>Private Lab</c:v>
                </c:pt>
                <c:pt idx="176">
                  <c:v>Private Lab</c:v>
                </c:pt>
                <c:pt idx="177">
                  <c:v>Entremont</c:v>
                </c:pt>
                <c:pt idx="178">
                  <c:v>Kiri</c:v>
                </c:pt>
                <c:pt idx="179">
                  <c:v>Apericube</c:v>
                </c:pt>
                <c:pt idx="180">
                  <c:v>President</c:v>
                </c:pt>
                <c:pt idx="181">
                  <c:v>Private Lab</c:v>
                </c:pt>
                <c:pt idx="182">
                  <c:v>Carre Frais</c:v>
                </c:pt>
                <c:pt idx="183">
                  <c:v>President</c:v>
                </c:pt>
                <c:pt idx="184">
                  <c:v>Private Lab</c:v>
                </c:pt>
                <c:pt idx="185">
                  <c:v>Richesmonts</c:v>
                </c:pt>
                <c:pt idx="186">
                  <c:v>Carre Frais</c:v>
                </c:pt>
                <c:pt idx="187">
                  <c:v>Entremont</c:v>
                </c:pt>
                <c:pt idx="188">
                  <c:v>Coeur De Li</c:v>
                </c:pt>
                <c:pt idx="189">
                  <c:v>Coeur De Li</c:v>
                </c:pt>
                <c:pt idx="190">
                  <c:v>Private Lab</c:v>
                </c:pt>
                <c:pt idx="191">
                  <c:v>St Moret</c:v>
                </c:pt>
                <c:pt idx="192">
                  <c:v>Private Lab</c:v>
                </c:pt>
                <c:pt idx="193">
                  <c:v>Private Lab</c:v>
                </c:pt>
                <c:pt idx="194">
                  <c:v>All Others</c:v>
                </c:pt>
                <c:pt idx="195">
                  <c:v>Private Lab</c:v>
                </c:pt>
                <c:pt idx="196">
                  <c:v>Private Lab</c:v>
                </c:pt>
                <c:pt idx="197">
                  <c:v>Casa Azzurr</c:v>
                </c:pt>
                <c:pt idx="198">
                  <c:v>Pave D'Affi</c:v>
                </c:pt>
                <c:pt idx="199">
                  <c:v>Saint Agur</c:v>
                </c:pt>
                <c:pt idx="200">
                  <c:v>Saint Agur</c:v>
                </c:pt>
                <c:pt idx="201">
                  <c:v>Private Lab</c:v>
                </c:pt>
                <c:pt idx="202">
                  <c:v>Apericube</c:v>
                </c:pt>
                <c:pt idx="203">
                  <c:v>President</c:v>
                </c:pt>
                <c:pt idx="204">
                  <c:v>All Others</c:v>
                </c:pt>
                <c:pt idx="205">
                  <c:v>All Others</c:v>
                </c:pt>
                <c:pt idx="206">
                  <c:v>Galbani</c:v>
                </c:pt>
                <c:pt idx="207">
                  <c:v>President</c:v>
                </c:pt>
                <c:pt idx="208">
                  <c:v>Kiri</c:v>
                </c:pt>
                <c:pt idx="209">
                  <c:v>Salakis</c:v>
                </c:pt>
                <c:pt idx="210">
                  <c:v>Vieux Pane</c:v>
                </c:pt>
                <c:pt idx="211">
                  <c:v>Soignon</c:v>
                </c:pt>
                <c:pt idx="212">
                  <c:v>Private Lab</c:v>
                </c:pt>
                <c:pt idx="213">
                  <c:v>Private Lab</c:v>
                </c:pt>
                <c:pt idx="214">
                  <c:v>All Others</c:v>
                </c:pt>
                <c:pt idx="215">
                  <c:v>Private Lab</c:v>
                </c:pt>
                <c:pt idx="216">
                  <c:v>Saint Agur</c:v>
                </c:pt>
                <c:pt idx="217">
                  <c:v>Private Lab</c:v>
                </c:pt>
                <c:pt idx="218">
                  <c:v>Private Lab</c:v>
                </c:pt>
                <c:pt idx="219">
                  <c:v>Private Lab</c:v>
                </c:pt>
                <c:pt idx="220">
                  <c:v>President</c:v>
                </c:pt>
                <c:pt idx="221">
                  <c:v>Pochat</c:v>
                </c:pt>
                <c:pt idx="222">
                  <c:v>Apericube</c:v>
                </c:pt>
                <c:pt idx="223">
                  <c:v>Private Lab</c:v>
                </c:pt>
                <c:pt idx="224">
                  <c:v>Casa Azzurr</c:v>
                </c:pt>
                <c:pt idx="225">
                  <c:v>Lactalis: A</c:v>
                </c:pt>
                <c:pt idx="226">
                  <c:v>Private Lab</c:v>
                </c:pt>
                <c:pt idx="227">
                  <c:v>Societe</c:v>
                </c:pt>
                <c:pt idx="228">
                  <c:v>All Others</c:v>
                </c:pt>
                <c:pt idx="229">
                  <c:v>Private Lab</c:v>
                </c:pt>
                <c:pt idx="230">
                  <c:v>Istara</c:v>
                </c:pt>
                <c:pt idx="231">
                  <c:v>Private Lab</c:v>
                </c:pt>
                <c:pt idx="232">
                  <c:v>Private Lab</c:v>
                </c:pt>
                <c:pt idx="233">
                  <c:v>Entremont</c:v>
                </c:pt>
                <c:pt idx="234">
                  <c:v>Private Lab</c:v>
                </c:pt>
                <c:pt idx="235">
                  <c:v>La Vache Qu</c:v>
                </c:pt>
                <c:pt idx="236">
                  <c:v>Casa Azzurr</c:v>
                </c:pt>
                <c:pt idx="237">
                  <c:v>Private Lab</c:v>
                </c:pt>
                <c:pt idx="238">
                  <c:v>All Others</c:v>
                </c:pt>
                <c:pt idx="239">
                  <c:v>Petit Billy</c:v>
                </c:pt>
                <c:pt idx="240">
                  <c:v>Richesmonts</c:v>
                </c:pt>
                <c:pt idx="241">
                  <c:v>Babybel</c:v>
                </c:pt>
                <c:pt idx="242">
                  <c:v>Soignon</c:v>
                </c:pt>
                <c:pt idx="243">
                  <c:v>Private Lab</c:v>
                </c:pt>
                <c:pt idx="244">
                  <c:v>Tartare</c:v>
                </c:pt>
                <c:pt idx="245">
                  <c:v>Private Lab</c:v>
                </c:pt>
                <c:pt idx="246">
                  <c:v>Private Lab</c:v>
                </c:pt>
                <c:pt idx="247">
                  <c:v>President</c:v>
                </c:pt>
                <c:pt idx="248">
                  <c:v>Private Lab</c:v>
                </c:pt>
                <c:pt idx="249">
                  <c:v>Entremont</c:v>
                </c:pt>
                <c:pt idx="250">
                  <c:v>Richesmonts</c:v>
                </c:pt>
                <c:pt idx="251">
                  <c:v>Private Lab</c:v>
                </c:pt>
                <c:pt idx="252">
                  <c:v>La Vache Qu</c:v>
                </c:pt>
                <c:pt idx="253">
                  <c:v>St Moret</c:v>
                </c:pt>
                <c:pt idx="254">
                  <c:v>Aperivrais</c:v>
                </c:pt>
                <c:pt idx="255">
                  <c:v>Le Rustique</c:v>
                </c:pt>
                <c:pt idx="256">
                  <c:v>President</c:v>
                </c:pt>
                <c:pt idx="257">
                  <c:v>Boursin</c:v>
                </c:pt>
                <c:pt idx="258">
                  <c:v>Private Lab</c:v>
                </c:pt>
                <c:pt idx="259">
                  <c:v>President</c:v>
                </c:pt>
                <c:pt idx="260">
                  <c:v>Cousteron</c:v>
                </c:pt>
                <c:pt idx="261">
                  <c:v>Entremont</c:v>
                </c:pt>
                <c:pt idx="262">
                  <c:v>Societe</c:v>
                </c:pt>
                <c:pt idx="263">
                  <c:v>Private Lab</c:v>
                </c:pt>
                <c:pt idx="264">
                  <c:v>St Moret</c:v>
                </c:pt>
                <c:pt idx="265">
                  <c:v>Private Lab</c:v>
                </c:pt>
                <c:pt idx="266">
                  <c:v>Entremont</c:v>
                </c:pt>
                <c:pt idx="267">
                  <c:v>Lactalis: A</c:v>
                </c:pt>
                <c:pt idx="268">
                  <c:v>Private Lab</c:v>
                </c:pt>
                <c:pt idx="269">
                  <c:v>Private Lab</c:v>
                </c:pt>
                <c:pt idx="270">
                  <c:v>Soignon</c:v>
                </c:pt>
                <c:pt idx="271">
                  <c:v>Apericube</c:v>
                </c:pt>
                <c:pt idx="272">
                  <c:v>Private Lab</c:v>
                </c:pt>
                <c:pt idx="273">
                  <c:v>Private Lab</c:v>
                </c:pt>
                <c:pt idx="274">
                  <c:v>Societe</c:v>
                </c:pt>
                <c:pt idx="275">
                  <c:v>Le Rustique</c:v>
                </c:pt>
                <c:pt idx="276">
                  <c:v>Fauquet</c:v>
                </c:pt>
                <c:pt idx="277">
                  <c:v>Savencia: A</c:v>
                </c:pt>
                <c:pt idx="278">
                  <c:v>Coeur De Li</c:v>
                </c:pt>
                <c:pt idx="279">
                  <c:v>Private Lab</c:v>
                </c:pt>
                <c:pt idx="280">
                  <c:v>Entremont</c:v>
                </c:pt>
                <c:pt idx="281">
                  <c:v>Casa Azzurr</c:v>
                </c:pt>
                <c:pt idx="282">
                  <c:v>Casa Azzurr</c:v>
                </c:pt>
                <c:pt idx="283">
                  <c:v>Private Lab</c:v>
                </c:pt>
                <c:pt idx="284">
                  <c:v>Soignon</c:v>
                </c:pt>
                <c:pt idx="285">
                  <c:v>Private Lab</c:v>
                </c:pt>
                <c:pt idx="286">
                  <c:v>Private Lab</c:v>
                </c:pt>
                <c:pt idx="287">
                  <c:v>Private Lab</c:v>
                </c:pt>
                <c:pt idx="288">
                  <c:v>Private Lab</c:v>
                </c:pt>
                <c:pt idx="289">
                  <c:v>Leerdammer</c:v>
                </c:pt>
                <c:pt idx="290">
                  <c:v>Richesmonts</c:v>
                </c:pt>
                <c:pt idx="291">
                  <c:v>Casa Azzurr</c:v>
                </c:pt>
                <c:pt idx="292">
                  <c:v>Caprice Des</c:v>
                </c:pt>
                <c:pt idx="293">
                  <c:v>Savencia: A</c:v>
                </c:pt>
                <c:pt idx="294">
                  <c:v>Private Lab</c:v>
                </c:pt>
                <c:pt idx="295">
                  <c:v>Ficello</c:v>
                </c:pt>
                <c:pt idx="296">
                  <c:v>Private Lab</c:v>
                </c:pt>
                <c:pt idx="297">
                  <c:v>Private Lab</c:v>
                </c:pt>
                <c:pt idx="298">
                  <c:v>Private Lab</c:v>
                </c:pt>
                <c:pt idx="299">
                  <c:v>Apericube</c:v>
                </c:pt>
                <c:pt idx="300">
                  <c:v>Pave D'Affi</c:v>
                </c:pt>
                <c:pt idx="301">
                  <c:v>Philadelphi</c:v>
                </c:pt>
                <c:pt idx="302">
                  <c:v>Galbani</c:v>
                </c:pt>
                <c:pt idx="303">
                  <c:v>Private Lab</c:v>
                </c:pt>
                <c:pt idx="304">
                  <c:v>Leerdammer</c:v>
                </c:pt>
                <c:pt idx="305">
                  <c:v>Private Lab</c:v>
                </c:pt>
                <c:pt idx="306">
                  <c:v>Galbani</c:v>
                </c:pt>
                <c:pt idx="307">
                  <c:v>All Others</c:v>
                </c:pt>
                <c:pt idx="308">
                  <c:v>Private Lab</c:v>
                </c:pt>
                <c:pt idx="309">
                  <c:v>President</c:v>
                </c:pt>
                <c:pt idx="310">
                  <c:v>Etorki</c:v>
                </c:pt>
                <c:pt idx="311">
                  <c:v>Paysan Bret</c:v>
                </c:pt>
                <c:pt idx="312">
                  <c:v>Bresse Bleu</c:v>
                </c:pt>
                <c:pt idx="313">
                  <c:v>P'Tit Louis</c:v>
                </c:pt>
                <c:pt idx="314">
                  <c:v>Ficello</c:v>
                </c:pt>
                <c:pt idx="315">
                  <c:v>Galbani</c:v>
                </c:pt>
                <c:pt idx="316">
                  <c:v>Private Lab</c:v>
                </c:pt>
                <c:pt idx="317">
                  <c:v>Private Lab</c:v>
                </c:pt>
                <c:pt idx="318">
                  <c:v>All Others</c:v>
                </c:pt>
                <c:pt idx="319">
                  <c:v>All Others</c:v>
                </c:pt>
                <c:pt idx="320">
                  <c:v>Private Lab</c:v>
                </c:pt>
                <c:pt idx="321">
                  <c:v>St Moret</c:v>
                </c:pt>
                <c:pt idx="322">
                  <c:v>Private Lab</c:v>
                </c:pt>
                <c:pt idx="323">
                  <c:v>Private Lab</c:v>
                </c:pt>
                <c:pt idx="324">
                  <c:v>Fol Epi</c:v>
                </c:pt>
                <c:pt idx="325">
                  <c:v>Private Lab</c:v>
                </c:pt>
                <c:pt idx="326">
                  <c:v>Private Lab</c:v>
                </c:pt>
                <c:pt idx="327">
                  <c:v>Private Lab</c:v>
                </c:pt>
                <c:pt idx="328">
                  <c:v>Le Rustique</c:v>
                </c:pt>
                <c:pt idx="329">
                  <c:v>Pave D'Affi</c:v>
                </c:pt>
                <c:pt idx="330">
                  <c:v>Richesmonts</c:v>
                </c:pt>
                <c:pt idx="331">
                  <c:v>All Others</c:v>
                </c:pt>
                <c:pt idx="332">
                  <c:v>Parmareggio</c:v>
                </c:pt>
                <c:pt idx="333">
                  <c:v>Chavroux</c:v>
                </c:pt>
                <c:pt idx="334">
                  <c:v>Soignon</c:v>
                </c:pt>
                <c:pt idx="335">
                  <c:v>Lactalis: A</c:v>
                </c:pt>
                <c:pt idx="336">
                  <c:v>Private Lab</c:v>
                </c:pt>
                <c:pt idx="337">
                  <c:v>Private Lab</c:v>
                </c:pt>
                <c:pt idx="338">
                  <c:v>Casa Azzurr</c:v>
                </c:pt>
                <c:pt idx="339">
                  <c:v>Private Lab</c:v>
                </c:pt>
                <c:pt idx="340">
                  <c:v>Private Lab</c:v>
                </c:pt>
                <c:pt idx="341">
                  <c:v>Salakis</c:v>
                </c:pt>
                <c:pt idx="342">
                  <c:v>Boursin</c:v>
                </c:pt>
                <c:pt idx="343">
                  <c:v>Private Lab</c:v>
                </c:pt>
                <c:pt idx="344">
                  <c:v>Boursin</c:v>
                </c:pt>
                <c:pt idx="345">
                  <c:v>Private Lab</c:v>
                </c:pt>
                <c:pt idx="346">
                  <c:v>Paysan Bret</c:v>
                </c:pt>
                <c:pt idx="347">
                  <c:v>Soignon</c:v>
                </c:pt>
                <c:pt idx="348">
                  <c:v>Savencia: A</c:v>
                </c:pt>
                <c:pt idx="349">
                  <c:v>Boursin</c:v>
                </c:pt>
                <c:pt idx="350">
                  <c:v>President</c:v>
                </c:pt>
                <c:pt idx="351">
                  <c:v>President</c:v>
                </c:pt>
                <c:pt idx="352">
                  <c:v>Paysan Bret</c:v>
                </c:pt>
                <c:pt idx="353">
                  <c:v>Salakis</c:v>
                </c:pt>
                <c:pt idx="354">
                  <c:v>Aperivrais</c:v>
                </c:pt>
                <c:pt idx="355">
                  <c:v>Boursin</c:v>
                </c:pt>
                <c:pt idx="356">
                  <c:v>Private Lab</c:v>
                </c:pt>
                <c:pt idx="357">
                  <c:v>President</c:v>
                </c:pt>
                <c:pt idx="358">
                  <c:v>Casa Azzurr</c:v>
                </c:pt>
                <c:pt idx="359">
                  <c:v>Tartare</c:v>
                </c:pt>
                <c:pt idx="360">
                  <c:v>Private Lab</c:v>
                </c:pt>
                <c:pt idx="361">
                  <c:v>Private Lab</c:v>
                </c:pt>
                <c:pt idx="362">
                  <c:v>Milleret: A</c:v>
                </c:pt>
                <c:pt idx="363">
                  <c:v>Carre Frais</c:v>
                </c:pt>
                <c:pt idx="364">
                  <c:v>Le Brebiou</c:v>
                </c:pt>
                <c:pt idx="365">
                  <c:v>Galbani</c:v>
                </c:pt>
                <c:pt idx="366">
                  <c:v>Private Lab</c:v>
                </c:pt>
                <c:pt idx="367">
                  <c:v>Societe</c:v>
                </c:pt>
                <c:pt idx="368">
                  <c:v>Galbani</c:v>
                </c:pt>
                <c:pt idx="369">
                  <c:v>Casa Azzurr</c:v>
                </c:pt>
                <c:pt idx="370">
                  <c:v>Private Lab</c:v>
                </c:pt>
                <c:pt idx="371">
                  <c:v>Societe</c:v>
                </c:pt>
                <c:pt idx="372">
                  <c:v>Pave D'Affi</c:v>
                </c:pt>
                <c:pt idx="373">
                  <c:v>L'Ortolan</c:v>
                </c:pt>
                <c:pt idx="374">
                  <c:v>Private Lab</c:v>
                </c:pt>
                <c:pt idx="375">
                  <c:v>Aperivrais</c:v>
                </c:pt>
                <c:pt idx="376">
                  <c:v>Soignon</c:v>
                </c:pt>
                <c:pt idx="377">
                  <c:v>Private Lab</c:v>
                </c:pt>
                <c:pt idx="378">
                  <c:v>Soignon</c:v>
                </c:pt>
                <c:pt idx="379">
                  <c:v>Paysan Bret</c:v>
                </c:pt>
                <c:pt idx="380">
                  <c:v>Entremont</c:v>
                </c:pt>
                <c:pt idx="381">
                  <c:v>Pave D'Affi</c:v>
                </c:pt>
                <c:pt idx="382">
                  <c:v>St Moret</c:v>
                </c:pt>
                <c:pt idx="383">
                  <c:v>Private Lab</c:v>
                </c:pt>
                <c:pt idx="384">
                  <c:v>Private Lab</c:v>
                </c:pt>
                <c:pt idx="385">
                  <c:v>Private Lab</c:v>
                </c:pt>
                <c:pt idx="386">
                  <c:v>Boursin</c:v>
                </c:pt>
                <c:pt idx="387">
                  <c:v>Private Lab</c:v>
                </c:pt>
                <c:pt idx="388">
                  <c:v>Private Lab</c:v>
                </c:pt>
                <c:pt idx="389">
                  <c:v>All Others</c:v>
                </c:pt>
                <c:pt idx="390">
                  <c:v>La Vache Qu</c:v>
                </c:pt>
                <c:pt idx="391">
                  <c:v>Private Lab</c:v>
                </c:pt>
                <c:pt idx="392">
                  <c:v>Private Lab</c:v>
                </c:pt>
                <c:pt idx="393">
                  <c:v>Private Lab</c:v>
                </c:pt>
                <c:pt idx="394">
                  <c:v>All Others</c:v>
                </c:pt>
                <c:pt idx="395">
                  <c:v>Private Lab</c:v>
                </c:pt>
                <c:pt idx="396">
                  <c:v>All Others</c:v>
                </c:pt>
                <c:pt idx="397">
                  <c:v>Galbani</c:v>
                </c:pt>
                <c:pt idx="398">
                  <c:v>Mini Babybe</c:v>
                </c:pt>
                <c:pt idx="399">
                  <c:v>Etorki</c:v>
                </c:pt>
                <c:pt idx="400">
                  <c:v>Galbani</c:v>
                </c:pt>
                <c:pt idx="401">
                  <c:v>Tartare</c:v>
                </c:pt>
                <c:pt idx="402">
                  <c:v>Caprice Des</c:v>
                </c:pt>
                <c:pt idx="403">
                  <c:v>Chavroux</c:v>
                </c:pt>
                <c:pt idx="404">
                  <c:v>Private Lab</c:v>
                </c:pt>
                <c:pt idx="405">
                  <c:v>Private Lab</c:v>
                </c:pt>
                <c:pt idx="406">
                  <c:v>All Others</c:v>
                </c:pt>
                <c:pt idx="407">
                  <c:v>Private Lab</c:v>
                </c:pt>
                <c:pt idx="408">
                  <c:v>President</c:v>
                </c:pt>
                <c:pt idx="409">
                  <c:v>Societe</c:v>
                </c:pt>
                <c:pt idx="410">
                  <c:v>Private Lab</c:v>
                </c:pt>
                <c:pt idx="411">
                  <c:v>Boursin</c:v>
                </c:pt>
                <c:pt idx="412">
                  <c:v>Private Lab</c:v>
                </c:pt>
                <c:pt idx="413">
                  <c:v>All Others</c:v>
                </c:pt>
                <c:pt idx="414">
                  <c:v>Private Lab</c:v>
                </c:pt>
                <c:pt idx="415">
                  <c:v>Private Lab</c:v>
                </c:pt>
                <c:pt idx="416">
                  <c:v>Lactalis: A</c:v>
                </c:pt>
                <c:pt idx="417">
                  <c:v>Galbani</c:v>
                </c:pt>
                <c:pt idx="418">
                  <c:v>Soignon</c:v>
                </c:pt>
                <c:pt idx="419">
                  <c:v>Private Lab</c:v>
                </c:pt>
                <c:pt idx="420">
                  <c:v>Soignon</c:v>
                </c:pt>
                <c:pt idx="421">
                  <c:v>Casa Azzurr</c:v>
                </c:pt>
                <c:pt idx="422">
                  <c:v>La Belle Et</c:v>
                </c:pt>
                <c:pt idx="423">
                  <c:v>Private Lab</c:v>
                </c:pt>
                <c:pt idx="424">
                  <c:v>Private Lab</c:v>
                </c:pt>
                <c:pt idx="425">
                  <c:v>Apericube</c:v>
                </c:pt>
                <c:pt idx="426">
                  <c:v>Private Lab</c:v>
                </c:pt>
                <c:pt idx="427">
                  <c:v>La Belle Et</c:v>
                </c:pt>
                <c:pt idx="428">
                  <c:v>President</c:v>
                </c:pt>
                <c:pt idx="429">
                  <c:v>Private Lab</c:v>
                </c:pt>
                <c:pt idx="430">
                  <c:v>Boursin</c:v>
                </c:pt>
                <c:pt idx="431">
                  <c:v>Mini Babybe</c:v>
                </c:pt>
                <c:pt idx="432">
                  <c:v>Paysan Bret</c:v>
                </c:pt>
                <c:pt idx="433">
                  <c:v>Paturages</c:v>
                </c:pt>
                <c:pt idx="434">
                  <c:v>All Others</c:v>
                </c:pt>
                <c:pt idx="435">
                  <c:v>Lou Perac</c:v>
                </c:pt>
                <c:pt idx="436">
                  <c:v>Private Lab</c:v>
                </c:pt>
                <c:pt idx="437">
                  <c:v>Leerdammer</c:v>
                </c:pt>
                <c:pt idx="438">
                  <c:v>Private Lab</c:v>
                </c:pt>
                <c:pt idx="439">
                  <c:v>President</c:v>
                </c:pt>
                <c:pt idx="440">
                  <c:v>Private Lab</c:v>
                </c:pt>
                <c:pt idx="441">
                  <c:v>Private Lab</c:v>
                </c:pt>
                <c:pt idx="442">
                  <c:v>Juraflore</c:v>
                </c:pt>
                <c:pt idx="443">
                  <c:v>All Others</c:v>
                </c:pt>
                <c:pt idx="444">
                  <c:v>St Moret</c:v>
                </c:pt>
                <c:pt idx="445">
                  <c:v>President</c:v>
                </c:pt>
                <c:pt idx="446">
                  <c:v>All Others</c:v>
                </c:pt>
                <c:pt idx="447">
                  <c:v>Richesmonts</c:v>
                </c:pt>
                <c:pt idx="448">
                  <c:v>Boursin</c:v>
                </c:pt>
                <c:pt idx="449">
                  <c:v>Galbani</c:v>
                </c:pt>
                <c:pt idx="450">
                  <c:v>Saint Agur</c:v>
                </c:pt>
                <c:pt idx="451">
                  <c:v>Private Lab</c:v>
                </c:pt>
                <c:pt idx="452">
                  <c:v>Private Lab</c:v>
                </c:pt>
                <c:pt idx="453">
                  <c:v>Etoile Du V</c:v>
                </c:pt>
                <c:pt idx="454">
                  <c:v>All Others</c:v>
                </c:pt>
                <c:pt idx="455">
                  <c:v>Top Budget</c:v>
                </c:pt>
                <c:pt idx="456">
                  <c:v>Caprice Des</c:v>
                </c:pt>
                <c:pt idx="457">
                  <c:v>Private Lab</c:v>
                </c:pt>
                <c:pt idx="458">
                  <c:v>Savencia: A</c:v>
                </c:pt>
                <c:pt idx="459">
                  <c:v>Private Lab</c:v>
                </c:pt>
                <c:pt idx="460">
                  <c:v>Le Rustique</c:v>
                </c:pt>
                <c:pt idx="461">
                  <c:v>Private Lab</c:v>
                </c:pt>
                <c:pt idx="462">
                  <c:v>Aperivrais</c:v>
                </c:pt>
                <c:pt idx="463">
                  <c:v>Private Lab</c:v>
                </c:pt>
                <c:pt idx="464">
                  <c:v>Salakis</c:v>
                </c:pt>
                <c:pt idx="465">
                  <c:v>Caprice Des</c:v>
                </c:pt>
                <c:pt idx="466">
                  <c:v>Caprice Des</c:v>
                </c:pt>
                <c:pt idx="467">
                  <c:v>Aperivrais</c:v>
                </c:pt>
                <c:pt idx="468">
                  <c:v>Tartare</c:v>
                </c:pt>
                <c:pt idx="469">
                  <c:v>Lou Perac</c:v>
                </c:pt>
                <c:pt idx="470">
                  <c:v>Tartare</c:v>
                </c:pt>
                <c:pt idx="471">
                  <c:v>All Others</c:v>
                </c:pt>
                <c:pt idx="472">
                  <c:v>Private Lab</c:v>
                </c:pt>
                <c:pt idx="473">
                  <c:v>Boursin</c:v>
                </c:pt>
                <c:pt idx="474">
                  <c:v>Private Lab</c:v>
                </c:pt>
                <c:pt idx="475">
                  <c:v>Casa Azzurr</c:v>
                </c:pt>
                <c:pt idx="476">
                  <c:v>Eurial Autr</c:v>
                </c:pt>
                <c:pt idx="477">
                  <c:v>Richesmonts</c:v>
                </c:pt>
                <c:pt idx="478">
                  <c:v>Kiri</c:v>
                </c:pt>
                <c:pt idx="479">
                  <c:v>La Vache Qu</c:v>
                </c:pt>
                <c:pt idx="480">
                  <c:v>Eurial Autr</c:v>
                </c:pt>
                <c:pt idx="481">
                  <c:v>La Belle Et</c:v>
                </c:pt>
                <c:pt idx="482">
                  <c:v>St Moret</c:v>
                </c:pt>
                <c:pt idx="483">
                  <c:v>Savencia: A</c:v>
                </c:pt>
                <c:pt idx="484">
                  <c:v>Pochat</c:v>
                </c:pt>
                <c:pt idx="485">
                  <c:v>President</c:v>
                </c:pt>
                <c:pt idx="486">
                  <c:v>Private Lab</c:v>
                </c:pt>
                <c:pt idx="487">
                  <c:v>Juraflore</c:v>
                </c:pt>
                <c:pt idx="488">
                  <c:v>Boursin</c:v>
                </c:pt>
                <c:pt idx="489">
                  <c:v>Bresse Bleu</c:v>
                </c:pt>
                <c:pt idx="490">
                  <c:v>Lactalis: A</c:v>
                </c:pt>
                <c:pt idx="491">
                  <c:v>Vieux Pane</c:v>
                </c:pt>
                <c:pt idx="492">
                  <c:v>All Others</c:v>
                </c:pt>
                <c:pt idx="493">
                  <c:v>Leerdammer</c:v>
                </c:pt>
                <c:pt idx="494">
                  <c:v>Entremont</c:v>
                </c:pt>
                <c:pt idx="495">
                  <c:v>Private Lab</c:v>
                </c:pt>
                <c:pt idx="496">
                  <c:v>L'Ortolan</c:v>
                </c:pt>
                <c:pt idx="497">
                  <c:v>Casa Azzurr</c:v>
                </c:pt>
                <c:pt idx="498">
                  <c:v>Paysan Bret</c:v>
                </c:pt>
                <c:pt idx="499">
                  <c:v>L'Ortolan</c:v>
                </c:pt>
                <c:pt idx="500">
                  <c:v>Private Lab</c:v>
                </c:pt>
                <c:pt idx="501">
                  <c:v>Private Lab</c:v>
                </c:pt>
                <c:pt idx="502">
                  <c:v>All Others</c:v>
                </c:pt>
                <c:pt idx="503">
                  <c:v>Vieux Pane</c:v>
                </c:pt>
                <c:pt idx="504">
                  <c:v>Private Lab</c:v>
                </c:pt>
                <c:pt idx="505">
                  <c:v>Entremont</c:v>
                </c:pt>
                <c:pt idx="506">
                  <c:v>Pochat</c:v>
                </c:pt>
                <c:pt idx="507">
                  <c:v>All Others</c:v>
                </c:pt>
                <c:pt idx="508">
                  <c:v>Paysan Bret</c:v>
                </c:pt>
                <c:pt idx="509">
                  <c:v>Casa Azzurr</c:v>
                </c:pt>
                <c:pt idx="510">
                  <c:v>Lou Perac</c:v>
                </c:pt>
                <c:pt idx="511">
                  <c:v>Private Lab</c:v>
                </c:pt>
                <c:pt idx="512">
                  <c:v>Private Lab</c:v>
                </c:pt>
                <c:pt idx="513">
                  <c:v>All Others</c:v>
                </c:pt>
                <c:pt idx="514">
                  <c:v>P'Tit Louis</c:v>
                </c:pt>
                <c:pt idx="515">
                  <c:v>All Others</c:v>
                </c:pt>
                <c:pt idx="516">
                  <c:v>Private Lab</c:v>
                </c:pt>
                <c:pt idx="517">
                  <c:v>Private Lab</c:v>
                </c:pt>
                <c:pt idx="518">
                  <c:v>Kiri</c:v>
                </c:pt>
                <c:pt idx="519">
                  <c:v>Lactalis: A</c:v>
                </c:pt>
                <c:pt idx="520">
                  <c:v>Private Lab</c:v>
                </c:pt>
                <c:pt idx="521">
                  <c:v>All Others</c:v>
                </c:pt>
                <c:pt idx="522">
                  <c:v>St Moret</c:v>
                </c:pt>
                <c:pt idx="523">
                  <c:v>Savencia: A</c:v>
                </c:pt>
                <c:pt idx="524">
                  <c:v>All Others</c:v>
                </c:pt>
                <c:pt idx="525">
                  <c:v>Entremont</c:v>
                </c:pt>
                <c:pt idx="526">
                  <c:v>Soignon</c:v>
                </c:pt>
                <c:pt idx="527">
                  <c:v>Richesmonts</c:v>
                </c:pt>
                <c:pt idx="528">
                  <c:v>Tartare</c:v>
                </c:pt>
                <c:pt idx="529">
                  <c:v>Soignon</c:v>
                </c:pt>
                <c:pt idx="530">
                  <c:v>President</c:v>
                </c:pt>
                <c:pt idx="531">
                  <c:v>Mini Babybe</c:v>
                </c:pt>
                <c:pt idx="532">
                  <c:v>All Others</c:v>
                </c:pt>
                <c:pt idx="533">
                  <c:v>Le Coq Crem</c:v>
                </c:pt>
                <c:pt idx="534">
                  <c:v>Galbani</c:v>
                </c:pt>
                <c:pt idx="535">
                  <c:v>Apericube</c:v>
                </c:pt>
                <c:pt idx="536">
                  <c:v>Savencia: A</c:v>
                </c:pt>
                <c:pt idx="537">
                  <c:v>All Others</c:v>
                </c:pt>
                <c:pt idx="538">
                  <c:v>All Others</c:v>
                </c:pt>
                <c:pt idx="539">
                  <c:v>Private Lab</c:v>
                </c:pt>
                <c:pt idx="540">
                  <c:v>Soignon</c:v>
                </c:pt>
                <c:pt idx="541">
                  <c:v>Casa Azzurr</c:v>
                </c:pt>
                <c:pt idx="542">
                  <c:v>Le Saint Am</c:v>
                </c:pt>
                <c:pt idx="543">
                  <c:v>Islos</c:v>
                </c:pt>
                <c:pt idx="544">
                  <c:v>All Others</c:v>
                </c:pt>
                <c:pt idx="545">
                  <c:v>Kiri</c:v>
                </c:pt>
                <c:pt idx="546">
                  <c:v>Private Lab</c:v>
                </c:pt>
                <c:pt idx="547">
                  <c:v>Lactalis: A</c:v>
                </c:pt>
                <c:pt idx="548">
                  <c:v>Fol Epi</c:v>
                </c:pt>
                <c:pt idx="549">
                  <c:v>All Others</c:v>
                </c:pt>
                <c:pt idx="550">
                  <c:v>La Belle Et</c:v>
                </c:pt>
                <c:pt idx="551">
                  <c:v>Lactalis: A</c:v>
                </c:pt>
                <c:pt idx="552">
                  <c:v>Bresse Bleu</c:v>
                </c:pt>
                <c:pt idx="553">
                  <c:v>Saint Albra</c:v>
                </c:pt>
                <c:pt idx="554">
                  <c:v>Coeur De Li</c:v>
                </c:pt>
                <c:pt idx="555">
                  <c:v>Private Lab</c:v>
                </c:pt>
                <c:pt idx="556">
                  <c:v>Societe</c:v>
                </c:pt>
                <c:pt idx="557">
                  <c:v>Istara</c:v>
                </c:pt>
                <c:pt idx="558">
                  <c:v>Paysan Bret</c:v>
                </c:pt>
                <c:pt idx="559">
                  <c:v>Entremont</c:v>
                </c:pt>
                <c:pt idx="560">
                  <c:v>Private Lab</c:v>
                </c:pt>
                <c:pt idx="561">
                  <c:v>Savencia: A</c:v>
                </c:pt>
                <c:pt idx="562">
                  <c:v>Corsica</c:v>
                </c:pt>
                <c:pt idx="563">
                  <c:v>All Others</c:v>
                </c:pt>
                <c:pt idx="564">
                  <c:v>Paysan Bret</c:v>
                </c:pt>
                <c:pt idx="565">
                  <c:v>Paysan Bret</c:v>
                </c:pt>
                <c:pt idx="566">
                  <c:v>Kiri</c:v>
                </c:pt>
                <c:pt idx="567">
                  <c:v>Eurial Autr</c:v>
                </c:pt>
                <c:pt idx="568">
                  <c:v>Milleret: A</c:v>
                </c:pt>
                <c:pt idx="569">
                  <c:v>Etoile Du Q</c:v>
                </c:pt>
                <c:pt idx="570">
                  <c:v>Private Lab</c:v>
                </c:pt>
                <c:pt idx="571">
                  <c:v>Boursin</c:v>
                </c:pt>
                <c:pt idx="572">
                  <c:v>Paturages</c:v>
                </c:pt>
                <c:pt idx="573">
                  <c:v>All Others</c:v>
                </c:pt>
                <c:pt idx="574">
                  <c:v>Private Lab</c:v>
                </c:pt>
                <c:pt idx="575">
                  <c:v>Private Lab</c:v>
                </c:pt>
                <c:pt idx="576">
                  <c:v>Ranou</c:v>
                </c:pt>
                <c:pt idx="577">
                  <c:v>Private Lab</c:v>
                </c:pt>
                <c:pt idx="578">
                  <c:v>Galbani</c:v>
                </c:pt>
                <c:pt idx="579">
                  <c:v>Violife</c:v>
                </c:pt>
                <c:pt idx="580">
                  <c:v>Entremont</c:v>
                </c:pt>
                <c:pt idx="581">
                  <c:v>Private Lab</c:v>
                </c:pt>
                <c:pt idx="582">
                  <c:v>Lactalis: A</c:v>
                </c:pt>
                <c:pt idx="583">
                  <c:v>All Others</c:v>
                </c:pt>
                <c:pt idx="584">
                  <c:v>Mini Babybe</c:v>
                </c:pt>
                <c:pt idx="585">
                  <c:v>Savencia: A</c:v>
                </c:pt>
                <c:pt idx="586">
                  <c:v>Salakis</c:v>
                </c:pt>
                <c:pt idx="587">
                  <c:v>Milleret: A</c:v>
                </c:pt>
                <c:pt idx="588">
                  <c:v>Private Lab</c:v>
                </c:pt>
                <c:pt idx="589">
                  <c:v>Entremont</c:v>
                </c:pt>
                <c:pt idx="590">
                  <c:v>Mini Babybe</c:v>
                </c:pt>
                <c:pt idx="591">
                  <c:v>Entremont</c:v>
                </c:pt>
                <c:pt idx="592">
                  <c:v>Soignon</c:v>
                </c:pt>
                <c:pt idx="593">
                  <c:v>Pochat</c:v>
                </c:pt>
                <c:pt idx="594">
                  <c:v>Paysan Bret</c:v>
                </c:pt>
                <c:pt idx="595">
                  <c:v>Soignon</c:v>
                </c:pt>
                <c:pt idx="596">
                  <c:v>Private Lab</c:v>
                </c:pt>
                <c:pt idx="597">
                  <c:v>Savencia: A</c:v>
                </c:pt>
                <c:pt idx="598">
                  <c:v>Kiri</c:v>
                </c:pt>
                <c:pt idx="599">
                  <c:v>Saint Agur</c:v>
                </c:pt>
                <c:pt idx="600">
                  <c:v>All Others</c:v>
                </c:pt>
                <c:pt idx="601">
                  <c:v>Soignon</c:v>
                </c:pt>
                <c:pt idx="602">
                  <c:v>L'Ortolan</c:v>
                </c:pt>
                <c:pt idx="603">
                  <c:v>Lactalis: A</c:v>
                </c:pt>
                <c:pt idx="604">
                  <c:v>Richesmonts</c:v>
                </c:pt>
                <c:pt idx="605">
                  <c:v>Raguin</c:v>
                </c:pt>
                <c:pt idx="606">
                  <c:v>Top Budget</c:v>
                </c:pt>
                <c:pt idx="607">
                  <c:v>All Others</c:v>
                </c:pt>
                <c:pt idx="608">
                  <c:v>La Belle Et</c:v>
                </c:pt>
                <c:pt idx="609">
                  <c:v>Galbani</c:v>
                </c:pt>
                <c:pt idx="610">
                  <c:v>All Others</c:v>
                </c:pt>
                <c:pt idx="611">
                  <c:v>Soignon</c:v>
                </c:pt>
                <c:pt idx="612">
                  <c:v>Private Lab</c:v>
                </c:pt>
                <c:pt idx="613">
                  <c:v>Carre Frais</c:v>
                </c:pt>
                <c:pt idx="614">
                  <c:v>Lactalis: A</c:v>
                </c:pt>
                <c:pt idx="615">
                  <c:v>All Others</c:v>
                </c:pt>
                <c:pt idx="616">
                  <c:v>Raguin</c:v>
                </c:pt>
                <c:pt idx="617">
                  <c:v>Lactalis: A</c:v>
                </c:pt>
                <c:pt idx="618">
                  <c:v>Paturages</c:v>
                </c:pt>
                <c:pt idx="619">
                  <c:v>Salakis</c:v>
                </c:pt>
                <c:pt idx="620">
                  <c:v>Triballat N</c:v>
                </c:pt>
                <c:pt idx="621">
                  <c:v>All Others</c:v>
                </c:pt>
                <c:pt idx="622">
                  <c:v>All Others</c:v>
                </c:pt>
                <c:pt idx="623">
                  <c:v>All Others</c:v>
                </c:pt>
                <c:pt idx="624">
                  <c:v>Private Lab</c:v>
                </c:pt>
                <c:pt idx="625">
                  <c:v>Paysan Bret</c:v>
                </c:pt>
                <c:pt idx="626">
                  <c:v>All Others</c:v>
                </c:pt>
                <c:pt idx="627">
                  <c:v>President</c:v>
                </c:pt>
                <c:pt idx="628">
                  <c:v>All Others</c:v>
                </c:pt>
                <c:pt idx="629">
                  <c:v>All Others</c:v>
                </c:pt>
                <c:pt idx="630">
                  <c:v>All Others</c:v>
                </c:pt>
                <c:pt idx="631">
                  <c:v>All Others</c:v>
                </c:pt>
                <c:pt idx="632">
                  <c:v>Private Lab</c:v>
                </c:pt>
                <c:pt idx="633">
                  <c:v>Etoile Du V</c:v>
                </c:pt>
                <c:pt idx="634">
                  <c:v>All Others</c:v>
                </c:pt>
                <c:pt idx="635">
                  <c:v>Raguin</c:v>
                </c:pt>
                <c:pt idx="636">
                  <c:v>Private Lab</c:v>
                </c:pt>
                <c:pt idx="637">
                  <c:v>Savencia: A</c:v>
                </c:pt>
                <c:pt idx="638">
                  <c:v>Raguin</c:v>
                </c:pt>
                <c:pt idx="639">
                  <c:v>All Others</c:v>
                </c:pt>
                <c:pt idx="640">
                  <c:v>Etoile Du V</c:v>
                </c:pt>
                <c:pt idx="641">
                  <c:v>Le Brebiou</c:v>
                </c:pt>
                <c:pt idx="642">
                  <c:v>Boursin</c:v>
                </c:pt>
                <c:pt idx="643">
                  <c:v>All Others</c:v>
                </c:pt>
                <c:pt idx="644">
                  <c:v>Nurishh</c:v>
                </c:pt>
                <c:pt idx="645">
                  <c:v>Apericube</c:v>
                </c:pt>
                <c:pt idx="646">
                  <c:v>Entremont</c:v>
                </c:pt>
                <c:pt idx="647">
                  <c:v>Entremont</c:v>
                </c:pt>
                <c:pt idx="648">
                  <c:v>All Others</c:v>
                </c:pt>
                <c:pt idx="649">
                  <c:v>Private Lab</c:v>
                </c:pt>
                <c:pt idx="650">
                  <c:v>Private Lab</c:v>
                </c:pt>
                <c:pt idx="651">
                  <c:v>All Others</c:v>
                </c:pt>
                <c:pt idx="652">
                  <c:v>Milleret: A</c:v>
                </c:pt>
                <c:pt idx="653">
                  <c:v>Milleret: A</c:v>
                </c:pt>
                <c:pt idx="654">
                  <c:v>All Others</c:v>
                </c:pt>
                <c:pt idx="655">
                  <c:v>Galbani</c:v>
                </c:pt>
                <c:pt idx="656">
                  <c:v>Eurial Autr</c:v>
                </c:pt>
                <c:pt idx="657">
                  <c:v>Casa Azzurr</c:v>
                </c:pt>
                <c:pt idx="658">
                  <c:v>Milleret: A</c:v>
                </c:pt>
                <c:pt idx="659">
                  <c:v>Aperivrais</c:v>
                </c:pt>
                <c:pt idx="660">
                  <c:v>All Others</c:v>
                </c:pt>
                <c:pt idx="661">
                  <c:v>Savencia: A</c:v>
                </c:pt>
                <c:pt idx="662">
                  <c:v>Entremont</c:v>
                </c:pt>
                <c:pt idx="663">
                  <c:v>All Others</c:v>
                </c:pt>
                <c:pt idx="664">
                  <c:v>Triballat N</c:v>
                </c:pt>
                <c:pt idx="665">
                  <c:v>Paysan Bret</c:v>
                </c:pt>
                <c:pt idx="666">
                  <c:v>Nurishh</c:v>
                </c:pt>
                <c:pt idx="667">
                  <c:v>Apericube</c:v>
                </c:pt>
                <c:pt idx="668">
                  <c:v>President</c:v>
                </c:pt>
                <c:pt idx="669">
                  <c:v>Etoile Du V</c:v>
                </c:pt>
                <c:pt idx="670">
                  <c:v>Casa Azzurr</c:v>
                </c:pt>
                <c:pt idx="671">
                  <c:v>All Others</c:v>
                </c:pt>
                <c:pt idx="672">
                  <c:v>All Others</c:v>
                </c:pt>
                <c:pt idx="673">
                  <c:v>All Others</c:v>
                </c:pt>
                <c:pt idx="674">
                  <c:v>Pochat</c:v>
                </c:pt>
                <c:pt idx="675">
                  <c:v>Etorki</c:v>
                </c:pt>
                <c:pt idx="676">
                  <c:v>Saint Agur</c:v>
                </c:pt>
                <c:pt idx="677">
                  <c:v>Entremont</c:v>
                </c:pt>
                <c:pt idx="678">
                  <c:v>President</c:v>
                </c:pt>
                <c:pt idx="679">
                  <c:v>All Others</c:v>
                </c:pt>
                <c:pt idx="680">
                  <c:v>Tartare</c:v>
                </c:pt>
                <c:pt idx="681">
                  <c:v>All Others</c:v>
                </c:pt>
                <c:pt idx="682">
                  <c:v>All Others</c:v>
                </c:pt>
                <c:pt idx="683">
                  <c:v>Apericube</c:v>
                </c:pt>
                <c:pt idx="684">
                  <c:v>Nurishh</c:v>
                </c:pt>
                <c:pt idx="685">
                  <c:v>Private Lab</c:v>
                </c:pt>
                <c:pt idx="686">
                  <c:v>Private Lab</c:v>
                </c:pt>
                <c:pt idx="687">
                  <c:v>Violife</c:v>
                </c:pt>
                <c:pt idx="688">
                  <c:v>Entremont</c:v>
                </c:pt>
                <c:pt idx="689">
                  <c:v>Entremont</c:v>
                </c:pt>
                <c:pt idx="690">
                  <c:v>Islos</c:v>
                </c:pt>
                <c:pt idx="691">
                  <c:v>Entremont</c:v>
                </c:pt>
                <c:pt idx="692">
                  <c:v>All Others</c:v>
                </c:pt>
                <c:pt idx="693">
                  <c:v>All Others</c:v>
                </c:pt>
                <c:pt idx="694">
                  <c:v>All Others</c:v>
                </c:pt>
                <c:pt idx="695">
                  <c:v>All Others</c:v>
                </c:pt>
                <c:pt idx="696">
                  <c:v>All Others</c:v>
                </c:pt>
                <c:pt idx="697">
                  <c:v>Boursin</c:v>
                </c:pt>
                <c:pt idx="698">
                  <c:v>Galbani</c:v>
                </c:pt>
                <c:pt idx="699">
                  <c:v>All Others</c:v>
                </c:pt>
                <c:pt idx="700">
                  <c:v>Richesmonts</c:v>
                </c:pt>
                <c:pt idx="701">
                  <c:v>All Others</c:v>
                </c:pt>
                <c:pt idx="702">
                  <c:v>Lactalis: A</c:v>
                </c:pt>
                <c:pt idx="703">
                  <c:v>All Others</c:v>
                </c:pt>
                <c:pt idx="704">
                  <c:v>Paysan Bret</c:v>
                </c:pt>
                <c:pt idx="705">
                  <c:v>All Others</c:v>
                </c:pt>
                <c:pt idx="706">
                  <c:v>Nurishh</c:v>
                </c:pt>
                <c:pt idx="707">
                  <c:v>Violife</c:v>
                </c:pt>
                <c:pt idx="708">
                  <c:v>Nurishh</c:v>
                </c:pt>
                <c:pt idx="709">
                  <c:v>All Others</c:v>
                </c:pt>
                <c:pt idx="710">
                  <c:v>Casa Azzurr</c:v>
                </c:pt>
                <c:pt idx="711">
                  <c:v>All Others</c:v>
                </c:pt>
                <c:pt idx="712">
                  <c:v>Milleret: A</c:v>
                </c:pt>
                <c:pt idx="713">
                  <c:v>All Others</c:v>
                </c:pt>
                <c:pt idx="714">
                  <c:v>All Others</c:v>
                </c:pt>
                <c:pt idx="715">
                  <c:v>All Others</c:v>
                </c:pt>
                <c:pt idx="716">
                  <c:v>All Others</c:v>
                </c:pt>
                <c:pt idx="717">
                  <c:v>Tartare</c:v>
                </c:pt>
                <c:pt idx="718">
                  <c:v>All Others</c:v>
                </c:pt>
                <c:pt idx="719">
                  <c:v>All Others</c:v>
                </c:pt>
                <c:pt idx="720">
                  <c:v>Triballat N</c:v>
                </c:pt>
                <c:pt idx="721">
                  <c:v>Apericube</c:v>
                </c:pt>
                <c:pt idx="722">
                  <c:v>Boursin</c:v>
                </c:pt>
                <c:pt idx="723">
                  <c:v>All Others</c:v>
                </c:pt>
                <c:pt idx="724">
                  <c:v>Mini Babybe</c:v>
                </c:pt>
                <c:pt idx="725">
                  <c:v>All Others</c:v>
                </c:pt>
                <c:pt idx="726">
                  <c:v>All Others</c:v>
                </c:pt>
                <c:pt idx="727">
                  <c:v>All Others</c:v>
                </c:pt>
                <c:pt idx="728">
                  <c:v>Etoile Du V</c:v>
                </c:pt>
                <c:pt idx="729">
                  <c:v>All Others</c:v>
                </c:pt>
                <c:pt idx="730">
                  <c:v>La Belle Et</c:v>
                </c:pt>
                <c:pt idx="731">
                  <c:v>All Others</c:v>
                </c:pt>
                <c:pt idx="732">
                  <c:v>All Others</c:v>
                </c:pt>
                <c:pt idx="733">
                  <c:v>Pochat</c:v>
                </c:pt>
                <c:pt idx="734">
                  <c:v>All Others</c:v>
                </c:pt>
                <c:pt idx="735">
                  <c:v>Lactalis: A</c:v>
                </c:pt>
                <c:pt idx="736">
                  <c:v>Coeur Lion</c:v>
                </c:pt>
                <c:pt idx="737">
                  <c:v>All Others</c:v>
                </c:pt>
                <c:pt idx="738">
                  <c:v>All Others</c:v>
                </c:pt>
                <c:pt idx="739">
                  <c:v>Chavroux</c:v>
                </c:pt>
                <c:pt idx="740">
                  <c:v>All Others</c:v>
                </c:pt>
                <c:pt idx="741">
                  <c:v>All Others</c:v>
                </c:pt>
                <c:pt idx="742">
                  <c:v>All Others</c:v>
                </c:pt>
                <c:pt idx="743">
                  <c:v>All Others</c:v>
                </c:pt>
                <c:pt idx="744">
                  <c:v>All Others</c:v>
                </c:pt>
                <c:pt idx="745">
                  <c:v>All Others</c:v>
                </c:pt>
                <c:pt idx="746">
                  <c:v>Casa Azzurr</c:v>
                </c:pt>
                <c:pt idx="747">
                  <c:v>All Others</c:v>
                </c:pt>
                <c:pt idx="748">
                  <c:v>Etoile Du V</c:v>
                </c:pt>
                <c:pt idx="749">
                  <c:v>All Others</c:v>
                </c:pt>
                <c:pt idx="750">
                  <c:v>Paysan Bret</c:v>
                </c:pt>
                <c:pt idx="751">
                  <c:v>Savencia: A</c:v>
                </c:pt>
                <c:pt idx="752">
                  <c:v>Nurishh</c:v>
                </c:pt>
                <c:pt idx="753">
                  <c:v>Fauquet</c:v>
                </c:pt>
                <c:pt idx="754">
                  <c:v>La Belle Et</c:v>
                </c:pt>
                <c:pt idx="755">
                  <c:v>Lactalis: A</c:v>
                </c:pt>
                <c:pt idx="756">
                  <c:v>All Others</c:v>
                </c:pt>
                <c:pt idx="757">
                  <c:v>All Others</c:v>
                </c:pt>
                <c:pt idx="758">
                  <c:v>All Others</c:v>
                </c:pt>
                <c:pt idx="759">
                  <c:v>All Others</c:v>
                </c:pt>
                <c:pt idx="760">
                  <c:v>Fol Epi</c:v>
                </c:pt>
                <c:pt idx="761">
                  <c:v>All Others</c:v>
                </c:pt>
                <c:pt idx="762">
                  <c:v>All Others</c:v>
                </c:pt>
                <c:pt idx="763">
                  <c:v>All Others</c:v>
                </c:pt>
                <c:pt idx="764">
                  <c:v>All Others</c:v>
                </c:pt>
                <c:pt idx="765">
                  <c:v>Chavroux</c:v>
                </c:pt>
                <c:pt idx="766">
                  <c:v>All Others</c:v>
                </c:pt>
                <c:pt idx="767">
                  <c:v>All Others</c:v>
                </c:pt>
                <c:pt idx="768">
                  <c:v>All Others</c:v>
                </c:pt>
                <c:pt idx="769">
                  <c:v>All Others</c:v>
                </c:pt>
                <c:pt idx="770">
                  <c:v>All Others</c:v>
                </c:pt>
                <c:pt idx="771">
                  <c:v>Entremont</c:v>
                </c:pt>
                <c:pt idx="772">
                  <c:v>Private Lab</c:v>
                </c:pt>
                <c:pt idx="773">
                  <c:v>All Others</c:v>
                </c:pt>
                <c:pt idx="774">
                  <c:v>Boursin</c:v>
                </c:pt>
                <c:pt idx="775">
                  <c:v>All Others</c:v>
                </c:pt>
                <c:pt idx="776">
                  <c:v>La Belle Et</c:v>
                </c:pt>
                <c:pt idx="777">
                  <c:v>All Others</c:v>
                </c:pt>
                <c:pt idx="778">
                  <c:v>La Belle Et</c:v>
                </c:pt>
                <c:pt idx="779">
                  <c:v>All Others</c:v>
                </c:pt>
                <c:pt idx="780">
                  <c:v>Triballat N</c:v>
                </c:pt>
                <c:pt idx="781">
                  <c:v>All Others</c:v>
                </c:pt>
                <c:pt idx="782">
                  <c:v>Aperivrais</c:v>
                </c:pt>
                <c:pt idx="783">
                  <c:v>All Others</c:v>
                </c:pt>
                <c:pt idx="784">
                  <c:v>All Others</c:v>
                </c:pt>
                <c:pt idx="785">
                  <c:v>Milleret: A</c:v>
                </c:pt>
                <c:pt idx="786">
                  <c:v>La Belle Et</c:v>
                </c:pt>
                <c:pt idx="787">
                  <c:v>Istara</c:v>
                </c:pt>
                <c:pt idx="788">
                  <c:v>Pave D'Affi</c:v>
                </c:pt>
                <c:pt idx="789">
                  <c:v>All Others</c:v>
                </c:pt>
                <c:pt idx="790">
                  <c:v>All Others</c:v>
                </c:pt>
                <c:pt idx="791">
                  <c:v>La Belle Et</c:v>
                </c:pt>
                <c:pt idx="792">
                  <c:v>All Others</c:v>
                </c:pt>
                <c:pt idx="793">
                  <c:v>Entremont</c:v>
                </c:pt>
                <c:pt idx="794">
                  <c:v>All Others</c:v>
                </c:pt>
                <c:pt idx="795">
                  <c:v>All Others</c:v>
                </c:pt>
                <c:pt idx="796">
                  <c:v>Chavroux</c:v>
                </c:pt>
                <c:pt idx="797">
                  <c:v>All Others</c:v>
                </c:pt>
                <c:pt idx="798">
                  <c:v>All Others</c:v>
                </c:pt>
                <c:pt idx="799">
                  <c:v>All Others</c:v>
                </c:pt>
                <c:pt idx="800">
                  <c:v>All Others</c:v>
                </c:pt>
                <c:pt idx="801">
                  <c:v>La Belle Et</c:v>
                </c:pt>
                <c:pt idx="802">
                  <c:v>All Others</c:v>
                </c:pt>
                <c:pt idx="803">
                  <c:v>La Belle Et</c:v>
                </c:pt>
                <c:pt idx="804">
                  <c:v>All Others</c:v>
                </c:pt>
                <c:pt idx="805">
                  <c:v>Entremont</c:v>
                </c:pt>
                <c:pt idx="806">
                  <c:v>Entremont</c:v>
                </c:pt>
                <c:pt idx="807">
                  <c:v>All Others</c:v>
                </c:pt>
                <c:pt idx="808">
                  <c:v>Casa Azzur</c:v>
                </c:pt>
                <c:pt idx="809">
                  <c:v>All Others</c:v>
                </c:pt>
                <c:pt idx="810">
                  <c:v>All Others</c:v>
                </c:pt>
                <c:pt idx="811">
                  <c:v>Aperivrais</c:v>
                </c:pt>
                <c:pt idx="812">
                  <c:v>Chaussee Au</c:v>
                </c:pt>
                <c:pt idx="813">
                  <c:v>All Others</c:v>
                </c:pt>
                <c:pt idx="814">
                  <c:v>L'Ortolan</c:v>
                </c:pt>
                <c:pt idx="815">
                  <c:v>All Others</c:v>
                </c:pt>
                <c:pt idx="816">
                  <c:v>Etoile Du V</c:v>
                </c:pt>
                <c:pt idx="817">
                  <c:v>Lactalis: A</c:v>
                </c:pt>
                <c:pt idx="818">
                  <c:v>All Others</c:v>
                </c:pt>
                <c:pt idx="819">
                  <c:v>All Others</c:v>
                </c:pt>
                <c:pt idx="820">
                  <c:v>All Others</c:v>
                </c:pt>
                <c:pt idx="821">
                  <c:v>Savencia: A</c:v>
                </c:pt>
                <c:pt idx="822">
                  <c:v>Milleret: A</c:v>
                </c:pt>
                <c:pt idx="823">
                  <c:v>Paturages</c:v>
                </c:pt>
                <c:pt idx="824">
                  <c:v>All Others</c:v>
                </c:pt>
                <c:pt idx="825">
                  <c:v>All Others</c:v>
                </c:pt>
                <c:pt idx="826">
                  <c:v>All Others</c:v>
                </c:pt>
                <c:pt idx="827">
                  <c:v>All Others</c:v>
                </c:pt>
                <c:pt idx="828">
                  <c:v>Ids</c:v>
                </c:pt>
                <c:pt idx="829">
                  <c:v>Societe</c:v>
                </c:pt>
                <c:pt idx="830">
                  <c:v>Petit Billy</c:v>
                </c:pt>
                <c:pt idx="831">
                  <c:v>Savencia: A</c:v>
                </c:pt>
                <c:pt idx="832">
                  <c:v>All Others</c:v>
                </c:pt>
                <c:pt idx="833">
                  <c:v>Boursin</c:v>
                </c:pt>
                <c:pt idx="834">
                  <c:v>All Others</c:v>
                </c:pt>
                <c:pt idx="835">
                  <c:v>Galbani</c:v>
                </c:pt>
                <c:pt idx="836">
                  <c:v>All Others</c:v>
                </c:pt>
                <c:pt idx="837">
                  <c:v>All Others</c:v>
                </c:pt>
                <c:pt idx="838">
                  <c:v>All Others</c:v>
                </c:pt>
                <c:pt idx="839">
                  <c:v>All Others</c:v>
                </c:pt>
                <c:pt idx="840">
                  <c:v>All Others</c:v>
                </c:pt>
                <c:pt idx="841">
                  <c:v>All Others</c:v>
                </c:pt>
                <c:pt idx="842">
                  <c:v>All Others</c:v>
                </c:pt>
                <c:pt idx="843">
                  <c:v>Raguin</c:v>
                </c:pt>
                <c:pt idx="844">
                  <c:v>All Others</c:v>
                </c:pt>
                <c:pt idx="845">
                  <c:v>All Others</c:v>
                </c:pt>
                <c:pt idx="846">
                  <c:v>All Others</c:v>
                </c:pt>
                <c:pt idx="847">
                  <c:v>All Others</c:v>
                </c:pt>
                <c:pt idx="848">
                  <c:v>Savencia: A</c:v>
                </c:pt>
                <c:pt idx="849">
                  <c:v>All Others</c:v>
                </c:pt>
                <c:pt idx="850">
                  <c:v>All Others</c:v>
                </c:pt>
                <c:pt idx="851">
                  <c:v>Richesmonts</c:v>
                </c:pt>
                <c:pt idx="852">
                  <c:v>All Others</c:v>
                </c:pt>
                <c:pt idx="853">
                  <c:v>All Others</c:v>
                </c:pt>
                <c:pt idx="854">
                  <c:v>All Others</c:v>
                </c:pt>
                <c:pt idx="855">
                  <c:v>All Others</c:v>
                </c:pt>
                <c:pt idx="856">
                  <c:v>All Others</c:v>
                </c:pt>
                <c:pt idx="857">
                  <c:v>Raguin</c:v>
                </c:pt>
                <c:pt idx="858">
                  <c:v>Private Lab</c:v>
                </c:pt>
                <c:pt idx="859">
                  <c:v>All Others</c:v>
                </c:pt>
                <c:pt idx="860">
                  <c:v>All Others</c:v>
                </c:pt>
                <c:pt idx="861">
                  <c:v>All Others</c:v>
                </c:pt>
                <c:pt idx="862">
                  <c:v>All Others</c:v>
                </c:pt>
                <c:pt idx="863">
                  <c:v>All Others</c:v>
                </c:pt>
                <c:pt idx="864">
                  <c:v>All Others</c:v>
                </c:pt>
                <c:pt idx="865">
                  <c:v>All Others</c:v>
                </c:pt>
                <c:pt idx="866">
                  <c:v>All Others</c:v>
                </c:pt>
                <c:pt idx="867">
                  <c:v>Soignon</c:v>
                </c:pt>
                <c:pt idx="868">
                  <c:v>All Others</c:v>
                </c:pt>
                <c:pt idx="869">
                  <c:v>Boursin</c:v>
                </c:pt>
                <c:pt idx="870">
                  <c:v>All Others</c:v>
                </c:pt>
                <c:pt idx="871">
                  <c:v>Boursin</c:v>
                </c:pt>
                <c:pt idx="872">
                  <c:v>All Others</c:v>
                </c:pt>
                <c:pt idx="873">
                  <c:v>All Others</c:v>
                </c:pt>
                <c:pt idx="874">
                  <c:v>All Others</c:v>
                </c:pt>
                <c:pt idx="875">
                  <c:v>All Others</c:v>
                </c:pt>
                <c:pt idx="876">
                  <c:v>President</c:v>
                </c:pt>
                <c:pt idx="877">
                  <c:v>Raguin</c:v>
                </c:pt>
                <c:pt idx="878">
                  <c:v>All Others</c:v>
                </c:pt>
                <c:pt idx="879">
                  <c:v>All Others</c:v>
                </c:pt>
                <c:pt idx="880">
                  <c:v>All Others</c:v>
                </c:pt>
                <c:pt idx="881">
                  <c:v>Salakis</c:v>
                </c:pt>
                <c:pt idx="882">
                  <c:v>All Others</c:v>
                </c:pt>
                <c:pt idx="883">
                  <c:v>All Others</c:v>
                </c:pt>
                <c:pt idx="884">
                  <c:v>All Others</c:v>
                </c:pt>
                <c:pt idx="885">
                  <c:v>Boursin</c:v>
                </c:pt>
                <c:pt idx="886">
                  <c:v>La Belle Et</c:v>
                </c:pt>
                <c:pt idx="887">
                  <c:v>All Others</c:v>
                </c:pt>
                <c:pt idx="888">
                  <c:v>Fol Epi</c:v>
                </c:pt>
                <c:pt idx="889">
                  <c:v>All Others</c:v>
                </c:pt>
                <c:pt idx="890">
                  <c:v>La Belle Et</c:v>
                </c:pt>
                <c:pt idx="891">
                  <c:v>All Others</c:v>
                </c:pt>
                <c:pt idx="892">
                  <c:v>All Others</c:v>
                </c:pt>
                <c:pt idx="893">
                  <c:v>All Others</c:v>
                </c:pt>
                <c:pt idx="894">
                  <c:v>All Others</c:v>
                </c:pt>
                <c:pt idx="895">
                  <c:v>Juraflore</c:v>
                </c:pt>
                <c:pt idx="896">
                  <c:v>Richesmonts</c:v>
                </c:pt>
                <c:pt idx="897">
                  <c:v>Savencia: A</c:v>
                </c:pt>
                <c:pt idx="898">
                  <c:v>All Others</c:v>
                </c:pt>
                <c:pt idx="899">
                  <c:v>British H</c:v>
                </c:pt>
                <c:pt idx="900">
                  <c:v>All Others</c:v>
                </c:pt>
                <c:pt idx="901">
                  <c:v>All Others</c:v>
                </c:pt>
                <c:pt idx="902">
                  <c:v>All Others</c:v>
                </c:pt>
                <c:pt idx="903">
                  <c:v>All Others</c:v>
                </c:pt>
                <c:pt idx="904">
                  <c:v>Lactalis: A</c:v>
                </c:pt>
                <c:pt idx="905">
                  <c:v>La Belle Et</c:v>
                </c:pt>
                <c:pt idx="906">
                  <c:v>Raguin</c:v>
                </c:pt>
                <c:pt idx="907">
                  <c:v>Entremont</c:v>
                </c:pt>
                <c:pt idx="908">
                  <c:v>All Others</c:v>
                </c:pt>
                <c:pt idx="909">
                  <c:v>All Others</c:v>
                </c:pt>
                <c:pt idx="910">
                  <c:v>Salakis</c:v>
                </c:pt>
                <c:pt idx="911">
                  <c:v>All Others</c:v>
                </c:pt>
                <c:pt idx="912">
                  <c:v>All Others</c:v>
                </c:pt>
                <c:pt idx="913">
                  <c:v>All Others</c:v>
                </c:pt>
                <c:pt idx="914">
                  <c:v>All Others</c:v>
                </c:pt>
                <c:pt idx="915">
                  <c:v>All Others</c:v>
                </c:pt>
                <c:pt idx="916">
                  <c:v>La Vache Qu</c:v>
                </c:pt>
                <c:pt idx="917">
                  <c:v>Chavroux</c:v>
                </c:pt>
                <c:pt idx="918">
                  <c:v>All Others</c:v>
                </c:pt>
                <c:pt idx="919">
                  <c:v>Raguin</c:v>
                </c:pt>
                <c:pt idx="920">
                  <c:v>All Others</c:v>
                </c:pt>
                <c:pt idx="921">
                  <c:v>All Others</c:v>
                </c:pt>
                <c:pt idx="922">
                  <c:v>Mini Babybe</c:v>
                </c:pt>
                <c:pt idx="923">
                  <c:v>Raguin</c:v>
                </c:pt>
                <c:pt idx="924">
                  <c:v>All Others</c:v>
                </c:pt>
                <c:pt idx="925">
                  <c:v>Entremont</c:v>
                </c:pt>
                <c:pt idx="926">
                  <c:v>All Others</c:v>
                </c:pt>
                <c:pt idx="927">
                  <c:v>All Others</c:v>
                </c:pt>
                <c:pt idx="928">
                  <c:v>All Others</c:v>
                </c:pt>
                <c:pt idx="929">
                  <c:v>All Others</c:v>
                </c:pt>
                <c:pt idx="930">
                  <c:v>All Others</c:v>
                </c:pt>
                <c:pt idx="931">
                  <c:v>All Others</c:v>
                </c:pt>
                <c:pt idx="932">
                  <c:v>All Others</c:v>
                </c:pt>
                <c:pt idx="933">
                  <c:v>All Others</c:v>
                </c:pt>
                <c:pt idx="934">
                  <c:v>All Others</c:v>
                </c:pt>
                <c:pt idx="935">
                  <c:v>All Others</c:v>
                </c:pt>
                <c:pt idx="936">
                  <c:v>All Others</c:v>
                </c:pt>
                <c:pt idx="937">
                  <c:v>Chavroux</c:v>
                </c:pt>
                <c:pt idx="938">
                  <c:v>All Others</c:v>
                </c:pt>
                <c:pt idx="939">
                  <c:v>All Others</c:v>
                </c:pt>
                <c:pt idx="940">
                  <c:v>All Others</c:v>
                </c:pt>
                <c:pt idx="941">
                  <c:v>Raguin</c:v>
                </c:pt>
                <c:pt idx="942">
                  <c:v>All Others</c:v>
                </c:pt>
                <c:pt idx="943">
                  <c:v>All Others</c:v>
                </c:pt>
                <c:pt idx="944">
                  <c:v>Corsica</c:v>
                </c:pt>
                <c:pt idx="945">
                  <c:v>La Belle Et</c:v>
                </c:pt>
                <c:pt idx="946">
                  <c:v>All Others</c:v>
                </c:pt>
                <c:pt idx="947">
                  <c:v>All Others</c:v>
                </c:pt>
                <c:pt idx="948">
                  <c:v>All Others</c:v>
                </c:pt>
                <c:pt idx="949">
                  <c:v>All Others</c:v>
                </c:pt>
                <c:pt idx="950">
                  <c:v>Raguin</c:v>
                </c:pt>
                <c:pt idx="951">
                  <c:v>All Others</c:v>
                </c:pt>
                <c:pt idx="952">
                  <c:v>Etoile Du V</c:v>
                </c:pt>
                <c:pt idx="953">
                  <c:v>All Others</c:v>
                </c:pt>
                <c:pt idx="954">
                  <c:v>Milleret: A</c:v>
                </c:pt>
                <c:pt idx="955">
                  <c:v>All Others</c:v>
                </c:pt>
                <c:pt idx="956">
                  <c:v>La Belle Et</c:v>
                </c:pt>
                <c:pt idx="957">
                  <c:v>All Others</c:v>
                </c:pt>
                <c:pt idx="958">
                  <c:v>Lactalis: A</c:v>
                </c:pt>
                <c:pt idx="959">
                  <c:v>All Others</c:v>
                </c:pt>
                <c:pt idx="960">
                  <c:v>All Others</c:v>
                </c:pt>
                <c:pt idx="961">
                  <c:v>All Others</c:v>
                </c:pt>
                <c:pt idx="962">
                  <c:v>Rians</c:v>
                </c:pt>
                <c:pt idx="963">
                  <c:v>Mini Babybe</c:v>
                </c:pt>
                <c:pt idx="964">
                  <c:v>All Others</c:v>
                </c:pt>
                <c:pt idx="965">
                  <c:v>All Others</c:v>
                </c:pt>
                <c:pt idx="966">
                  <c:v>All Others</c:v>
                </c:pt>
                <c:pt idx="967">
                  <c:v>All Others</c:v>
                </c:pt>
                <c:pt idx="968">
                  <c:v>All Others</c:v>
                </c:pt>
                <c:pt idx="969">
                  <c:v>Lactalis: A</c:v>
                </c:pt>
                <c:pt idx="970">
                  <c:v>Casa Azzurr</c:v>
                </c:pt>
                <c:pt idx="971">
                  <c:v>All Others</c:v>
                </c:pt>
                <c:pt idx="972">
                  <c:v>All Others</c:v>
                </c:pt>
                <c:pt idx="973">
                  <c:v>All Others</c:v>
                </c:pt>
                <c:pt idx="974">
                  <c:v>All Others</c:v>
                </c:pt>
                <c:pt idx="975">
                  <c:v>All Others</c:v>
                </c:pt>
                <c:pt idx="976">
                  <c:v>All Others</c:v>
                </c:pt>
                <c:pt idx="977">
                  <c:v>All Others</c:v>
                </c:pt>
                <c:pt idx="978">
                  <c:v>All Others</c:v>
                </c:pt>
                <c:pt idx="979">
                  <c:v>All Others</c:v>
                </c:pt>
                <c:pt idx="980">
                  <c:v>All Others</c:v>
                </c:pt>
                <c:pt idx="981">
                  <c:v>Gillot</c:v>
                </c:pt>
                <c:pt idx="982">
                  <c:v>Raguin</c:v>
                </c:pt>
                <c:pt idx="983">
                  <c:v>All Others</c:v>
                </c:pt>
                <c:pt idx="984">
                  <c:v>Lactalis: A</c:v>
                </c:pt>
                <c:pt idx="985">
                  <c:v>All Others</c:v>
                </c:pt>
                <c:pt idx="986">
                  <c:v>All Others</c:v>
                </c:pt>
                <c:pt idx="987">
                  <c:v>Etoile Du V</c:v>
                </c:pt>
                <c:pt idx="988">
                  <c:v>All Others</c:v>
                </c:pt>
                <c:pt idx="989">
                  <c:v>Violife</c:v>
                </c:pt>
                <c:pt idx="990">
                  <c:v>All Others</c:v>
                </c:pt>
                <c:pt idx="991">
                  <c:v>All Others</c:v>
                </c:pt>
                <c:pt idx="992">
                  <c:v>All Others</c:v>
                </c:pt>
                <c:pt idx="993">
                  <c:v>All Others</c:v>
                </c:pt>
                <c:pt idx="994">
                  <c:v>Paysan Bret</c:v>
                </c:pt>
                <c:pt idx="995">
                  <c:v>All Others</c:v>
                </c:pt>
                <c:pt idx="996">
                  <c:v>All Others</c:v>
                </c:pt>
                <c:pt idx="997">
                  <c:v>Kiri</c:v>
                </c:pt>
                <c:pt idx="998">
                  <c:v>Raguin</c:v>
                </c:pt>
                <c:pt idx="999">
                  <c:v>All Others</c:v>
                </c:pt>
                <c:pt idx="1000">
                  <c:v>All Others</c:v>
                </c:pt>
                <c:pt idx="1001">
                  <c:v>All Others</c:v>
                </c:pt>
                <c:pt idx="1002">
                  <c:v>All Others</c:v>
                </c:pt>
                <c:pt idx="1003">
                  <c:v>All Others</c:v>
                </c:pt>
                <c:pt idx="1004">
                  <c:v>All Others</c:v>
                </c:pt>
                <c:pt idx="1005">
                  <c:v>All Others</c:v>
                </c:pt>
                <c:pt idx="1006">
                  <c:v>All Others</c:v>
                </c:pt>
                <c:pt idx="1007">
                  <c:v>Ambrosi</c:v>
                </c:pt>
                <c:pt idx="1008">
                  <c:v>All Others</c:v>
                </c:pt>
                <c:pt idx="1009">
                  <c:v>Lactalis: A</c:v>
                </c:pt>
                <c:pt idx="1010">
                  <c:v>All Others</c:v>
                </c:pt>
                <c:pt idx="1011">
                  <c:v>All Others</c:v>
                </c:pt>
                <c:pt idx="1012">
                  <c:v>All Others</c:v>
                </c:pt>
                <c:pt idx="1013">
                  <c:v>La Belle Et</c:v>
                </c:pt>
                <c:pt idx="1014">
                  <c:v>All Others</c:v>
                </c:pt>
                <c:pt idx="1015">
                  <c:v>All Others</c:v>
                </c:pt>
                <c:pt idx="1016">
                  <c:v>All Others</c:v>
                </c:pt>
                <c:pt idx="1017">
                  <c:v>All Others</c:v>
                </c:pt>
                <c:pt idx="1018">
                  <c:v>All Others</c:v>
                </c:pt>
                <c:pt idx="1019">
                  <c:v>All Others</c:v>
                </c:pt>
                <c:pt idx="1020">
                  <c:v>All Others</c:v>
                </c:pt>
                <c:pt idx="1021">
                  <c:v>Private Lab</c:v>
                </c:pt>
                <c:pt idx="1022">
                  <c:v>All Others</c:v>
                </c:pt>
                <c:pt idx="1023">
                  <c:v>All Others</c:v>
                </c:pt>
                <c:pt idx="1024">
                  <c:v>Lactalis: A</c:v>
                </c:pt>
                <c:pt idx="1025">
                  <c:v>All Others</c:v>
                </c:pt>
                <c:pt idx="1026">
                  <c:v>All Others</c:v>
                </c:pt>
                <c:pt idx="1027">
                  <c:v>All Others</c:v>
                </c:pt>
                <c:pt idx="1028">
                  <c:v>All Others</c:v>
                </c:pt>
                <c:pt idx="1029">
                  <c:v>All Others</c:v>
                </c:pt>
                <c:pt idx="1030">
                  <c:v>All Others</c:v>
                </c:pt>
                <c:pt idx="1031">
                  <c:v>All Others</c:v>
                </c:pt>
                <c:pt idx="1032">
                  <c:v>All Others</c:v>
                </c:pt>
                <c:pt idx="1033">
                  <c:v>All Others</c:v>
                </c:pt>
                <c:pt idx="1034">
                  <c:v>All Others</c:v>
                </c:pt>
                <c:pt idx="1035">
                  <c:v>All Others</c:v>
                </c:pt>
                <c:pt idx="1036">
                  <c:v>Lactalis: A</c:v>
                </c:pt>
                <c:pt idx="1037">
                  <c:v>All Others</c:v>
                </c:pt>
                <c:pt idx="1038">
                  <c:v>All Others</c:v>
                </c:pt>
                <c:pt idx="1039">
                  <c:v>L'Ortolan</c:v>
                </c:pt>
                <c:pt idx="1040">
                  <c:v>All Others</c:v>
                </c:pt>
                <c:pt idx="1041">
                  <c:v>All Others</c:v>
                </c:pt>
                <c:pt idx="1042">
                  <c:v>All Others</c:v>
                </c:pt>
                <c:pt idx="1043">
                  <c:v>All Others</c:v>
                </c:pt>
                <c:pt idx="1044">
                  <c:v>Entremont</c:v>
                </c:pt>
                <c:pt idx="1045">
                  <c:v>Raguin</c:v>
                </c:pt>
                <c:pt idx="1046">
                  <c:v>All Others</c:v>
                </c:pt>
                <c:pt idx="1047">
                  <c:v>All Others</c:v>
                </c:pt>
                <c:pt idx="1048">
                  <c:v>Raguin</c:v>
                </c:pt>
                <c:pt idx="1049">
                  <c:v>All Others</c:v>
                </c:pt>
                <c:pt idx="1050">
                  <c:v>All Others</c:v>
                </c:pt>
                <c:pt idx="1051">
                  <c:v>All Others</c:v>
                </c:pt>
                <c:pt idx="1052">
                  <c:v>All Others</c:v>
                </c:pt>
                <c:pt idx="1053">
                  <c:v>Raguin</c:v>
                </c:pt>
                <c:pt idx="1054">
                  <c:v>All Others</c:v>
                </c:pt>
                <c:pt idx="1055">
                  <c:v>Paysan Bret</c:v>
                </c:pt>
                <c:pt idx="1056">
                  <c:v>All Others</c:v>
                </c:pt>
                <c:pt idx="1057">
                  <c:v>All Others</c:v>
                </c:pt>
                <c:pt idx="1058">
                  <c:v>All Others</c:v>
                </c:pt>
                <c:pt idx="1059">
                  <c:v>All Others</c:v>
                </c:pt>
                <c:pt idx="1060">
                  <c:v>All Others</c:v>
                </c:pt>
                <c:pt idx="1061">
                  <c:v>All Others</c:v>
                </c:pt>
                <c:pt idx="1062">
                  <c:v>All Others</c:v>
                </c:pt>
                <c:pt idx="1063">
                  <c:v>All Others</c:v>
                </c:pt>
                <c:pt idx="1064">
                  <c:v>All Others</c:v>
                </c:pt>
                <c:pt idx="1065">
                  <c:v>All Others</c:v>
                </c:pt>
                <c:pt idx="1066">
                  <c:v>Raguin</c:v>
                </c:pt>
                <c:pt idx="1067">
                  <c:v>All Others</c:v>
                </c:pt>
                <c:pt idx="1068">
                  <c:v>All Others</c:v>
                </c:pt>
                <c:pt idx="1069">
                  <c:v>All Others</c:v>
                </c:pt>
                <c:pt idx="1070">
                  <c:v>All Others</c:v>
                </c:pt>
                <c:pt idx="1071">
                  <c:v>All Others</c:v>
                </c:pt>
                <c:pt idx="1072">
                  <c:v>All Others</c:v>
                </c:pt>
                <c:pt idx="1073">
                  <c:v>All Others</c:v>
                </c:pt>
                <c:pt idx="1074">
                  <c:v>All Others</c:v>
                </c:pt>
                <c:pt idx="1075">
                  <c:v>All Others</c:v>
                </c:pt>
                <c:pt idx="1076">
                  <c:v>All Others</c:v>
                </c:pt>
                <c:pt idx="1077">
                  <c:v>All Others</c:v>
                </c:pt>
                <c:pt idx="1078">
                  <c:v>Raguin</c:v>
                </c:pt>
                <c:pt idx="1079">
                  <c:v>All Others</c:v>
                </c:pt>
                <c:pt idx="1080">
                  <c:v>All Others</c:v>
                </c:pt>
                <c:pt idx="1081">
                  <c:v>All Others</c:v>
                </c:pt>
                <c:pt idx="1082">
                  <c:v>Raguin</c:v>
                </c:pt>
                <c:pt idx="1083">
                  <c:v>All Others</c:v>
                </c:pt>
                <c:pt idx="1084">
                  <c:v>All Others</c:v>
                </c:pt>
                <c:pt idx="1085">
                  <c:v>All Others</c:v>
                </c:pt>
                <c:pt idx="1086">
                  <c:v>All Others</c:v>
                </c:pt>
                <c:pt idx="1087">
                  <c:v>All Others</c:v>
                </c:pt>
                <c:pt idx="1088">
                  <c:v>All Others</c:v>
                </c:pt>
                <c:pt idx="1089">
                  <c:v>Lindahls Pr</c:v>
                </c:pt>
                <c:pt idx="1090">
                  <c:v>All Others</c:v>
                </c:pt>
                <c:pt idx="1091">
                  <c:v>All Others</c:v>
                </c:pt>
                <c:pt idx="1092">
                  <c:v>Raguin</c:v>
                </c:pt>
                <c:pt idx="1093">
                  <c:v>All Others</c:v>
                </c:pt>
                <c:pt idx="1094">
                  <c:v>All Others</c:v>
                </c:pt>
                <c:pt idx="1095">
                  <c:v>All Others</c:v>
                </c:pt>
                <c:pt idx="1096">
                  <c:v>All Others</c:v>
                </c:pt>
                <c:pt idx="1097">
                  <c:v>All Others</c:v>
                </c:pt>
                <c:pt idx="1098">
                  <c:v>All Others</c:v>
                </c:pt>
                <c:pt idx="1099">
                  <c:v>Pave D'Affi</c:v>
                </c:pt>
                <c:pt idx="1100">
                  <c:v>All Others</c:v>
                </c:pt>
                <c:pt idx="1101">
                  <c:v>All Others</c:v>
                </c:pt>
                <c:pt idx="1102">
                  <c:v>All Others</c:v>
                </c:pt>
                <c:pt idx="1103">
                  <c:v>Limiano</c:v>
                </c:pt>
                <c:pt idx="1104">
                  <c:v>All Others</c:v>
                </c:pt>
                <c:pt idx="1105">
                  <c:v>Private Lab</c:v>
                </c:pt>
                <c:pt idx="1106">
                  <c:v>All Others</c:v>
                </c:pt>
                <c:pt idx="1107">
                  <c:v>All Others</c:v>
                </c:pt>
                <c:pt idx="1108">
                  <c:v>Lactalis: A</c:v>
                </c:pt>
                <c:pt idx="1109">
                  <c:v>All Others</c:v>
                </c:pt>
                <c:pt idx="1110">
                  <c:v>All Others</c:v>
                </c:pt>
                <c:pt idx="1111">
                  <c:v>All Others</c:v>
                </c:pt>
                <c:pt idx="1112">
                  <c:v>Raguin</c:v>
                </c:pt>
                <c:pt idx="1113">
                  <c:v>All Others</c:v>
                </c:pt>
                <c:pt idx="1114">
                  <c:v>All Others</c:v>
                </c:pt>
                <c:pt idx="1115">
                  <c:v>All Others</c:v>
                </c:pt>
                <c:pt idx="1116">
                  <c:v>All Others</c:v>
                </c:pt>
                <c:pt idx="1117">
                  <c:v>All Others</c:v>
                </c:pt>
                <c:pt idx="1118">
                  <c:v>All Others</c:v>
                </c:pt>
                <c:pt idx="1119">
                  <c:v>No Informat</c:v>
                </c:pt>
                <c:pt idx="1120">
                  <c:v>All Others</c:v>
                </c:pt>
                <c:pt idx="1121">
                  <c:v>All Others</c:v>
                </c:pt>
                <c:pt idx="1122">
                  <c:v>All Others</c:v>
                </c:pt>
                <c:pt idx="1123">
                  <c:v>All Others</c:v>
                </c:pt>
                <c:pt idx="1124">
                  <c:v>All Others</c:v>
                </c:pt>
                <c:pt idx="1125">
                  <c:v>Gillot</c:v>
                </c:pt>
                <c:pt idx="1126">
                  <c:v>All Others</c:v>
                </c:pt>
                <c:pt idx="1127">
                  <c:v>All Others</c:v>
                </c:pt>
                <c:pt idx="1128">
                  <c:v>All Others</c:v>
                </c:pt>
                <c:pt idx="1129">
                  <c:v>All Others</c:v>
                </c:pt>
                <c:pt idx="1130">
                  <c:v>Savencia: A</c:v>
                </c:pt>
                <c:pt idx="1131">
                  <c:v>Vivaldi</c:v>
                </c:pt>
                <c:pt idx="1132">
                  <c:v>All Others</c:v>
                </c:pt>
                <c:pt idx="1133">
                  <c:v>All Others</c:v>
                </c:pt>
                <c:pt idx="1134">
                  <c:v>All Others</c:v>
                </c:pt>
                <c:pt idx="1135">
                  <c:v>Baillon</c:v>
                </c:pt>
                <c:pt idx="1136">
                  <c:v>All Others</c:v>
                </c:pt>
                <c:pt idx="1137">
                  <c:v>All Others</c:v>
                </c:pt>
                <c:pt idx="1138">
                  <c:v>All Others</c:v>
                </c:pt>
                <c:pt idx="1139">
                  <c:v>All Others</c:v>
                </c:pt>
                <c:pt idx="1140">
                  <c:v>All Others</c:v>
                </c:pt>
                <c:pt idx="1141">
                  <c:v>All Others</c:v>
                </c:pt>
                <c:pt idx="1142">
                  <c:v>All Others</c:v>
                </c:pt>
                <c:pt idx="1143">
                  <c:v>All Others</c:v>
                </c:pt>
                <c:pt idx="1144">
                  <c:v>All Others</c:v>
                </c:pt>
                <c:pt idx="1145">
                  <c:v>All Others</c:v>
                </c:pt>
                <c:pt idx="1146">
                  <c:v>All Others</c:v>
                </c:pt>
                <c:pt idx="1147">
                  <c:v>All Others</c:v>
                </c:pt>
                <c:pt idx="1148">
                  <c:v>All Others</c:v>
                </c:pt>
                <c:pt idx="1149">
                  <c:v>All Others</c:v>
                </c:pt>
                <c:pt idx="1150">
                  <c:v>All Others</c:v>
                </c:pt>
                <c:pt idx="1151">
                  <c:v>Paysan Bret</c:v>
                </c:pt>
                <c:pt idx="1152">
                  <c:v>All Others</c:v>
                </c:pt>
                <c:pt idx="1153">
                  <c:v>All Others</c:v>
                </c:pt>
                <c:pt idx="1154">
                  <c:v>All Others</c:v>
                </c:pt>
                <c:pt idx="1155">
                  <c:v>All Others</c:v>
                </c:pt>
                <c:pt idx="1156">
                  <c:v>All Others</c:v>
                </c:pt>
                <c:pt idx="1157">
                  <c:v>All Others</c:v>
                </c:pt>
                <c:pt idx="1158">
                  <c:v>All Others</c:v>
                </c:pt>
                <c:pt idx="1159">
                  <c:v>All Others</c:v>
                </c:pt>
                <c:pt idx="1160">
                  <c:v>All Others</c:v>
                </c:pt>
                <c:pt idx="1161">
                  <c:v>All Others</c:v>
                </c:pt>
                <c:pt idx="1162">
                  <c:v>All Others</c:v>
                </c:pt>
                <c:pt idx="1163">
                  <c:v>All Others</c:v>
                </c:pt>
                <c:pt idx="1164">
                  <c:v>All Others</c:v>
                </c:pt>
                <c:pt idx="1165">
                  <c:v>All Others</c:v>
                </c:pt>
                <c:pt idx="1166">
                  <c:v>All Others</c:v>
                </c:pt>
                <c:pt idx="1167">
                  <c:v>All Others</c:v>
                </c:pt>
                <c:pt idx="1168">
                  <c:v>All Others</c:v>
                </c:pt>
                <c:pt idx="1169">
                  <c:v>All Others</c:v>
                </c:pt>
                <c:pt idx="1170">
                  <c:v>All Others</c:v>
                </c:pt>
                <c:pt idx="1171">
                  <c:v>All Others</c:v>
                </c:pt>
                <c:pt idx="1172">
                  <c:v>All Others</c:v>
                </c:pt>
                <c:pt idx="1173">
                  <c:v>All Others</c:v>
                </c:pt>
                <c:pt idx="1174">
                  <c:v>All Others</c:v>
                </c:pt>
                <c:pt idx="1175">
                  <c:v>All Others</c:v>
                </c:pt>
                <c:pt idx="1176">
                  <c:v>Milleret</c:v>
                </c:pt>
                <c:pt idx="1177">
                  <c:v>All Others</c:v>
                </c:pt>
                <c:pt idx="1178">
                  <c:v>All Others</c:v>
                </c:pt>
                <c:pt idx="1179">
                  <c:v>All Others</c:v>
                </c:pt>
                <c:pt idx="1180">
                  <c:v>All Others</c:v>
                </c:pt>
                <c:pt idx="1181">
                  <c:v>All Others</c:v>
                </c:pt>
                <c:pt idx="1182">
                  <c:v>La Table M</c:v>
                </c:pt>
                <c:pt idx="1183">
                  <c:v>All Others</c:v>
                </c:pt>
                <c:pt idx="1184">
                  <c:v>Gillot</c:v>
                </c:pt>
                <c:pt idx="1185">
                  <c:v>All Others</c:v>
                </c:pt>
                <c:pt idx="1186">
                  <c:v>All Others</c:v>
                </c:pt>
                <c:pt idx="1187">
                  <c:v>All Others</c:v>
                </c:pt>
                <c:pt idx="1188">
                  <c:v>All Others</c:v>
                </c:pt>
                <c:pt idx="1189">
                  <c:v>Vivaldi</c:v>
                </c:pt>
                <c:pt idx="1190">
                  <c:v>All Others</c:v>
                </c:pt>
                <c:pt idx="1191">
                  <c:v>All Others</c:v>
                </c:pt>
                <c:pt idx="1192">
                  <c:v>All Others</c:v>
                </c:pt>
                <c:pt idx="1193">
                  <c:v>All Others</c:v>
                </c:pt>
                <c:pt idx="1194">
                  <c:v>All Others</c:v>
                </c:pt>
                <c:pt idx="1195">
                  <c:v>Savencia: A</c:v>
                </c:pt>
                <c:pt idx="1196">
                  <c:v>All Others</c:v>
                </c:pt>
                <c:pt idx="1197">
                  <c:v>All Others</c:v>
                </c:pt>
                <c:pt idx="1198">
                  <c:v>All Others</c:v>
                </c:pt>
                <c:pt idx="1199">
                  <c:v>All Others</c:v>
                </c:pt>
                <c:pt idx="1200">
                  <c:v>All Others</c:v>
                </c:pt>
                <c:pt idx="1201">
                  <c:v>All Others</c:v>
                </c:pt>
                <c:pt idx="1202">
                  <c:v>All Others</c:v>
                </c:pt>
                <c:pt idx="1203">
                  <c:v>All Others</c:v>
                </c:pt>
                <c:pt idx="1204">
                  <c:v>All Others</c:v>
                </c:pt>
                <c:pt idx="1205">
                  <c:v>All Others</c:v>
                </c:pt>
                <c:pt idx="1206">
                  <c:v>All Others</c:v>
                </c:pt>
                <c:pt idx="1207">
                  <c:v>All Others</c:v>
                </c:pt>
                <c:pt idx="1208">
                  <c:v>Rians</c:v>
                </c:pt>
                <c:pt idx="1209">
                  <c:v>All Others</c:v>
                </c:pt>
                <c:pt idx="1210">
                  <c:v>All Others</c:v>
                </c:pt>
                <c:pt idx="1211">
                  <c:v>All Others</c:v>
                </c:pt>
                <c:pt idx="1212">
                  <c:v>All Others</c:v>
                </c:pt>
                <c:pt idx="1213">
                  <c:v>All Others</c:v>
                </c:pt>
                <c:pt idx="1214">
                  <c:v>Casa Azzur</c:v>
                </c:pt>
                <c:pt idx="1215">
                  <c:v>All Others</c:v>
                </c:pt>
                <c:pt idx="1216">
                  <c:v>All Others</c:v>
                </c:pt>
                <c:pt idx="1217">
                  <c:v>All Others</c:v>
                </c:pt>
                <c:pt idx="1218">
                  <c:v>All Others</c:v>
                </c:pt>
                <c:pt idx="1219">
                  <c:v>All Others</c:v>
                </c:pt>
                <c:pt idx="1220">
                  <c:v>All Others</c:v>
                </c:pt>
                <c:pt idx="1221">
                  <c:v>All Others</c:v>
                </c:pt>
                <c:pt idx="1222">
                  <c:v>All Others</c:v>
                </c:pt>
                <c:pt idx="1223">
                  <c:v>All Others</c:v>
                </c:pt>
                <c:pt idx="1224">
                  <c:v>All Others</c:v>
                </c:pt>
                <c:pt idx="1225">
                  <c:v>All Others</c:v>
                </c:pt>
                <c:pt idx="1226">
                  <c:v>All Others</c:v>
                </c:pt>
                <c:pt idx="1227">
                  <c:v>All Others</c:v>
                </c:pt>
                <c:pt idx="1228">
                  <c:v>All Others</c:v>
                </c:pt>
                <c:pt idx="1229">
                  <c:v>All Others</c:v>
                </c:pt>
                <c:pt idx="1230">
                  <c:v>All Others</c:v>
                </c:pt>
                <c:pt idx="1231">
                  <c:v>Delamelie</c:v>
                </c:pt>
                <c:pt idx="1232">
                  <c:v>All Others</c:v>
                </c:pt>
                <c:pt idx="1233">
                  <c:v>All Others</c:v>
                </c:pt>
                <c:pt idx="1234">
                  <c:v>All Others</c:v>
                </c:pt>
                <c:pt idx="1235">
                  <c:v>All Others</c:v>
                </c:pt>
                <c:pt idx="1236">
                  <c:v>All Others</c:v>
                </c:pt>
                <c:pt idx="1237">
                  <c:v>Pave D'Affi</c:v>
                </c:pt>
                <c:pt idx="1238">
                  <c:v>All Others</c:v>
                </c:pt>
                <c:pt idx="1239">
                  <c:v>Casa Sant</c:v>
                </c:pt>
                <c:pt idx="1240">
                  <c:v>All Others</c:v>
                </c:pt>
                <c:pt idx="1241">
                  <c:v>All Others</c:v>
                </c:pt>
                <c:pt idx="1242">
                  <c:v>All Others</c:v>
                </c:pt>
                <c:pt idx="1243">
                  <c:v>All Others</c:v>
                </c:pt>
                <c:pt idx="1244">
                  <c:v>All Others</c:v>
                </c:pt>
                <c:pt idx="1245">
                  <c:v>All Others</c:v>
                </c:pt>
                <c:pt idx="1246">
                  <c:v>All Others</c:v>
                </c:pt>
                <c:pt idx="1247">
                  <c:v>All Others</c:v>
                </c:pt>
                <c:pt idx="1248">
                  <c:v>All Others</c:v>
                </c:pt>
                <c:pt idx="1249">
                  <c:v>All Others</c:v>
                </c:pt>
                <c:pt idx="1250">
                  <c:v>Milleret</c:v>
                </c:pt>
                <c:pt idx="1251">
                  <c:v>Limiano</c:v>
                </c:pt>
                <c:pt idx="1252">
                  <c:v>All Others</c:v>
                </c:pt>
                <c:pt idx="1253">
                  <c:v>All Others</c:v>
                </c:pt>
                <c:pt idx="1254">
                  <c:v>All Others</c:v>
                </c:pt>
                <c:pt idx="1255">
                  <c:v>All Others</c:v>
                </c:pt>
                <c:pt idx="1256">
                  <c:v>All Others</c:v>
                </c:pt>
                <c:pt idx="1257">
                  <c:v>Rians</c:v>
                </c:pt>
                <c:pt idx="1258">
                  <c:v>All Others</c:v>
                </c:pt>
                <c:pt idx="1259">
                  <c:v>All Others</c:v>
                </c:pt>
                <c:pt idx="1260">
                  <c:v>Jperrin</c:v>
                </c:pt>
                <c:pt idx="1261">
                  <c:v>All Others</c:v>
                </c:pt>
                <c:pt idx="1262">
                  <c:v>All Others</c:v>
                </c:pt>
                <c:pt idx="1263">
                  <c:v>Lactalis: A</c:v>
                </c:pt>
                <c:pt idx="1264">
                  <c:v>All Others</c:v>
                </c:pt>
                <c:pt idx="1265">
                  <c:v>All Others</c:v>
                </c:pt>
                <c:pt idx="1266">
                  <c:v>All Others</c:v>
                </c:pt>
                <c:pt idx="1267">
                  <c:v>All Others</c:v>
                </c:pt>
                <c:pt idx="1268">
                  <c:v>All Others</c:v>
                </c:pt>
                <c:pt idx="1269">
                  <c:v>All Others</c:v>
                </c:pt>
                <c:pt idx="1270">
                  <c:v>Lactalis: A</c:v>
                </c:pt>
                <c:pt idx="1271">
                  <c:v>Pochat</c:v>
                </c:pt>
                <c:pt idx="1272">
                  <c:v>All Others</c:v>
                </c:pt>
                <c:pt idx="1273">
                  <c:v>Pave D'Affi</c:v>
                </c:pt>
                <c:pt idx="1274">
                  <c:v>All Others</c:v>
                </c:pt>
                <c:pt idx="1275">
                  <c:v>All Others</c:v>
                </c:pt>
                <c:pt idx="1276">
                  <c:v>All Others</c:v>
                </c:pt>
                <c:pt idx="1277">
                  <c:v>All Others</c:v>
                </c:pt>
                <c:pt idx="1278">
                  <c:v>All Others</c:v>
                </c:pt>
                <c:pt idx="1279">
                  <c:v>All Others</c:v>
                </c:pt>
                <c:pt idx="1280">
                  <c:v>All Others</c:v>
                </c:pt>
                <c:pt idx="1281">
                  <c:v>All Others</c:v>
                </c:pt>
                <c:pt idx="1282">
                  <c:v>Jperrin</c:v>
                </c:pt>
                <c:pt idx="1283">
                  <c:v>All Others</c:v>
                </c:pt>
                <c:pt idx="1284">
                  <c:v>All Others</c:v>
                </c:pt>
                <c:pt idx="1285">
                  <c:v>All Others</c:v>
                </c:pt>
                <c:pt idx="1286">
                  <c:v>All Others</c:v>
                </c:pt>
                <c:pt idx="1287">
                  <c:v>All Others</c:v>
                </c:pt>
                <c:pt idx="1288">
                  <c:v>All Others</c:v>
                </c:pt>
                <c:pt idx="1289">
                  <c:v>All Others</c:v>
                </c:pt>
                <c:pt idx="1290">
                  <c:v>All Others</c:v>
                </c:pt>
                <c:pt idx="1291">
                  <c:v>All Others</c:v>
                </c:pt>
                <c:pt idx="1292">
                  <c:v>Pochat</c:v>
                </c:pt>
                <c:pt idx="1293">
                  <c:v>All Others</c:v>
                </c:pt>
                <c:pt idx="1294">
                  <c:v>All Others</c:v>
                </c:pt>
                <c:pt idx="1295">
                  <c:v>All Others</c:v>
                </c:pt>
                <c:pt idx="1296">
                  <c:v>All Others</c:v>
                </c:pt>
                <c:pt idx="1297">
                  <c:v>All Others</c:v>
                </c:pt>
                <c:pt idx="1298">
                  <c:v>All Others</c:v>
                </c:pt>
                <c:pt idx="1299">
                  <c:v>All Others</c:v>
                </c:pt>
                <c:pt idx="1300">
                  <c:v>Gioiella</c:v>
                </c:pt>
                <c:pt idx="1301">
                  <c:v>All Others</c:v>
                </c:pt>
                <c:pt idx="1302">
                  <c:v>All Others</c:v>
                </c:pt>
                <c:pt idx="1303">
                  <c:v>All Others</c:v>
                </c:pt>
                <c:pt idx="1304">
                  <c:v>All Others</c:v>
                </c:pt>
                <c:pt idx="1305">
                  <c:v>All Others</c:v>
                </c:pt>
                <c:pt idx="1306">
                  <c:v>All Others</c:v>
                </c:pt>
                <c:pt idx="1307">
                  <c:v>All Others</c:v>
                </c:pt>
                <c:pt idx="1308">
                  <c:v>All Others</c:v>
                </c:pt>
                <c:pt idx="1309">
                  <c:v>All Others</c:v>
                </c:pt>
                <c:pt idx="1310">
                  <c:v>All Others</c:v>
                </c:pt>
                <c:pt idx="1311">
                  <c:v>Savall</c:v>
                </c:pt>
                <c:pt idx="1312">
                  <c:v>All Others</c:v>
                </c:pt>
                <c:pt idx="1313">
                  <c:v>All Others</c:v>
                </c:pt>
                <c:pt idx="1314">
                  <c:v>All Others</c:v>
                </c:pt>
                <c:pt idx="1315">
                  <c:v>All Others</c:v>
                </c:pt>
                <c:pt idx="1316">
                  <c:v>All Others</c:v>
                </c:pt>
                <c:pt idx="1317">
                  <c:v>All Others</c:v>
                </c:pt>
                <c:pt idx="1318">
                  <c:v>All Others</c:v>
                </c:pt>
                <c:pt idx="1319">
                  <c:v>All Others</c:v>
                </c:pt>
                <c:pt idx="1320">
                  <c:v>All Others</c:v>
                </c:pt>
                <c:pt idx="1321">
                  <c:v>All Others</c:v>
                </c:pt>
                <c:pt idx="1322">
                  <c:v>Etoile Du V</c:v>
                </c:pt>
                <c:pt idx="1323">
                  <c:v>All Others</c:v>
                </c:pt>
                <c:pt idx="1324">
                  <c:v>All Others</c:v>
                </c:pt>
                <c:pt idx="1325">
                  <c:v>All Others</c:v>
                </c:pt>
                <c:pt idx="1326">
                  <c:v>All Others</c:v>
                </c:pt>
                <c:pt idx="1327">
                  <c:v>All Others</c:v>
                </c:pt>
                <c:pt idx="1328">
                  <c:v>All Others</c:v>
                </c:pt>
                <c:pt idx="1329">
                  <c:v>All Others</c:v>
                </c:pt>
                <c:pt idx="1330">
                  <c:v>All Others</c:v>
                </c:pt>
                <c:pt idx="1331">
                  <c:v>All Others</c:v>
                </c:pt>
                <c:pt idx="1332">
                  <c:v>All Others</c:v>
                </c:pt>
                <c:pt idx="1333">
                  <c:v>All Others</c:v>
                </c:pt>
                <c:pt idx="1334">
                  <c:v>All Others</c:v>
                </c:pt>
                <c:pt idx="1335">
                  <c:v>All Others</c:v>
                </c:pt>
                <c:pt idx="1336">
                  <c:v>All Others</c:v>
                </c:pt>
                <c:pt idx="1337">
                  <c:v>Lincet</c:v>
                </c:pt>
                <c:pt idx="1338">
                  <c:v>Etoile Du V</c:v>
                </c:pt>
                <c:pt idx="1339">
                  <c:v>All Others</c:v>
                </c:pt>
                <c:pt idx="1340">
                  <c:v>All Others</c:v>
                </c:pt>
                <c:pt idx="1341">
                  <c:v>All Others</c:v>
                </c:pt>
                <c:pt idx="1342">
                  <c:v>All Others</c:v>
                </c:pt>
                <c:pt idx="1343">
                  <c:v>All Others</c:v>
                </c:pt>
                <c:pt idx="1344">
                  <c:v>All Others</c:v>
                </c:pt>
                <c:pt idx="1345">
                  <c:v>All Others</c:v>
                </c:pt>
                <c:pt idx="1346">
                  <c:v>All Others</c:v>
                </c:pt>
                <c:pt idx="1347">
                  <c:v>All Others</c:v>
                </c:pt>
                <c:pt idx="1348">
                  <c:v>Dodin</c:v>
                </c:pt>
                <c:pt idx="1349">
                  <c:v>Casa Sant</c:v>
                </c:pt>
                <c:pt idx="1350">
                  <c:v>All Others</c:v>
                </c:pt>
                <c:pt idx="1351">
                  <c:v>All Others</c:v>
                </c:pt>
                <c:pt idx="1352">
                  <c:v>All Others</c:v>
                </c:pt>
                <c:pt idx="1353">
                  <c:v>All Others</c:v>
                </c:pt>
                <c:pt idx="1354">
                  <c:v>All Others</c:v>
                </c:pt>
                <c:pt idx="1355">
                  <c:v>All Others</c:v>
                </c:pt>
                <c:pt idx="1356">
                  <c:v>All Others</c:v>
                </c:pt>
                <c:pt idx="1357">
                  <c:v>All Others</c:v>
                </c:pt>
                <c:pt idx="1358">
                  <c:v>Private Lab</c:v>
                </c:pt>
                <c:pt idx="1359">
                  <c:v>All Others</c:v>
                </c:pt>
                <c:pt idx="1360">
                  <c:v>All Others</c:v>
                </c:pt>
                <c:pt idx="1361">
                  <c:v>All Others</c:v>
                </c:pt>
                <c:pt idx="1362">
                  <c:v>All Others</c:v>
                </c:pt>
                <c:pt idx="1363">
                  <c:v>All Others</c:v>
                </c:pt>
                <c:pt idx="1364">
                  <c:v>Gillot</c:v>
                </c:pt>
                <c:pt idx="1365">
                  <c:v>All Others</c:v>
                </c:pt>
                <c:pt idx="1366">
                  <c:v>All Others</c:v>
                </c:pt>
                <c:pt idx="1367">
                  <c:v>All Others</c:v>
                </c:pt>
                <c:pt idx="1368">
                  <c:v>Tomasoni</c:v>
                </c:pt>
                <c:pt idx="1369">
                  <c:v>All Others</c:v>
                </c:pt>
                <c:pt idx="1370">
                  <c:v>All Others</c:v>
                </c:pt>
                <c:pt idx="1371">
                  <c:v>R Du Nord</c:v>
                </c:pt>
                <c:pt idx="1372">
                  <c:v>All Others</c:v>
                </c:pt>
                <c:pt idx="1373">
                  <c:v>All Others</c:v>
                </c:pt>
                <c:pt idx="1374">
                  <c:v>All Others</c:v>
                </c:pt>
                <c:pt idx="1375">
                  <c:v>All Others</c:v>
                </c:pt>
                <c:pt idx="1376">
                  <c:v>Laiteries H</c:v>
                </c:pt>
                <c:pt idx="1377">
                  <c:v>Private Lab</c:v>
                </c:pt>
                <c:pt idx="1378">
                  <c:v>All Others</c:v>
                </c:pt>
                <c:pt idx="1379">
                  <c:v>All Others</c:v>
                </c:pt>
                <c:pt idx="1380">
                  <c:v>All Others</c:v>
                </c:pt>
                <c:pt idx="1381">
                  <c:v>All Others</c:v>
                </c:pt>
                <c:pt idx="1382">
                  <c:v>Etoile Du V</c:v>
                </c:pt>
                <c:pt idx="1383">
                  <c:v>Pave D'Affi</c:v>
                </c:pt>
                <c:pt idx="1384">
                  <c:v>Pochat</c:v>
                </c:pt>
                <c:pt idx="1385">
                  <c:v>Milleret: A</c:v>
                </c:pt>
                <c:pt idx="1386">
                  <c:v>All Others</c:v>
                </c:pt>
                <c:pt idx="1387">
                  <c:v>Private Lab</c:v>
                </c:pt>
                <c:pt idx="1388">
                  <c:v>All Others</c:v>
                </c:pt>
                <c:pt idx="1389">
                  <c:v>All Others</c:v>
                </c:pt>
                <c:pt idx="1390">
                  <c:v>All Others</c:v>
                </c:pt>
                <c:pt idx="1391">
                  <c:v>Pays Auge</c:v>
                </c:pt>
                <c:pt idx="1392">
                  <c:v>All Others</c:v>
                </c:pt>
                <c:pt idx="1393">
                  <c:v>Private Lab</c:v>
                </c:pt>
                <c:pt idx="1394">
                  <c:v>All Others</c:v>
                </c:pt>
                <c:pt idx="1395">
                  <c:v>All Others</c:v>
                </c:pt>
                <c:pt idx="1396">
                  <c:v>All Others</c:v>
                </c:pt>
                <c:pt idx="1397">
                  <c:v>All Others</c:v>
                </c:pt>
                <c:pt idx="1398">
                  <c:v>All Others</c:v>
                </c:pt>
                <c:pt idx="1399">
                  <c:v>Duo Lozere</c:v>
                </c:pt>
                <c:pt idx="1400">
                  <c:v>All Others</c:v>
                </c:pt>
                <c:pt idx="1401">
                  <c:v>Private Lab</c:v>
                </c:pt>
                <c:pt idx="1402">
                  <c:v>All Others</c:v>
                </c:pt>
                <c:pt idx="1403">
                  <c:v>All Others</c:v>
                </c:pt>
                <c:pt idx="1404">
                  <c:v>All Others</c:v>
                </c:pt>
                <c:pt idx="1405">
                  <c:v>All Others</c:v>
                </c:pt>
                <c:pt idx="1406">
                  <c:v>Richesmonts</c:v>
                </c:pt>
                <c:pt idx="1407">
                  <c:v>All Others</c:v>
                </c:pt>
                <c:pt idx="1408">
                  <c:v>Private Lab</c:v>
                </c:pt>
                <c:pt idx="1409">
                  <c:v>All Others</c:v>
                </c:pt>
                <c:pt idx="1410">
                  <c:v>All Others</c:v>
                </c:pt>
                <c:pt idx="1411">
                  <c:v>All Others</c:v>
                </c:pt>
                <c:pt idx="1412">
                  <c:v>All Others</c:v>
                </c:pt>
                <c:pt idx="1413">
                  <c:v>All Others</c:v>
                </c:pt>
                <c:pt idx="1414">
                  <c:v>All Others</c:v>
                </c:pt>
                <c:pt idx="1415">
                  <c:v>All Others</c:v>
                </c:pt>
                <c:pt idx="1416">
                  <c:v>All Others</c:v>
                </c:pt>
                <c:pt idx="1417">
                  <c:v>All Others</c:v>
                </c:pt>
                <c:pt idx="1418">
                  <c:v>All Others</c:v>
                </c:pt>
                <c:pt idx="1419">
                  <c:v>Ambrosi</c:v>
                </c:pt>
                <c:pt idx="1420">
                  <c:v>All Others</c:v>
                </c:pt>
                <c:pt idx="1421">
                  <c:v>La Vache Qu</c:v>
                </c:pt>
                <c:pt idx="1422">
                  <c:v>Private Lab</c:v>
                </c:pt>
                <c:pt idx="1423">
                  <c:v>All Others</c:v>
                </c:pt>
                <c:pt idx="1424">
                  <c:v>All Others</c:v>
                </c:pt>
                <c:pt idx="1425">
                  <c:v>All Others</c:v>
                </c:pt>
                <c:pt idx="1426">
                  <c:v>All Others</c:v>
                </c:pt>
                <c:pt idx="1427">
                  <c:v>All Others</c:v>
                </c:pt>
                <c:pt idx="1428">
                  <c:v>Private Lab</c:v>
                </c:pt>
                <c:pt idx="1429">
                  <c:v>All Others</c:v>
                </c:pt>
                <c:pt idx="1430">
                  <c:v>All Others</c:v>
                </c:pt>
                <c:pt idx="1431">
                  <c:v>Private Lab</c:v>
                </c:pt>
                <c:pt idx="1432">
                  <c:v>All Others</c:v>
                </c:pt>
                <c:pt idx="1433">
                  <c:v>All Others</c:v>
                </c:pt>
                <c:pt idx="1434">
                  <c:v>All Others</c:v>
                </c:pt>
                <c:pt idx="1435">
                  <c:v>All Others</c:v>
                </c:pt>
                <c:pt idx="1436">
                  <c:v>All Others</c:v>
                </c:pt>
                <c:pt idx="1437">
                  <c:v>All Others</c:v>
                </c:pt>
                <c:pt idx="1438">
                  <c:v>Private Lab</c:v>
                </c:pt>
                <c:pt idx="1439">
                  <c:v>All Others</c:v>
                </c:pt>
                <c:pt idx="1440">
                  <c:v>Private Lab</c:v>
                </c:pt>
                <c:pt idx="1441">
                  <c:v>Societe</c:v>
                </c:pt>
                <c:pt idx="1442">
                  <c:v>All Others</c:v>
                </c:pt>
                <c:pt idx="1443">
                  <c:v>All Others</c:v>
                </c:pt>
                <c:pt idx="1444">
                  <c:v>All Others</c:v>
                </c:pt>
                <c:pt idx="1445">
                  <c:v>All Others</c:v>
                </c:pt>
                <c:pt idx="1446">
                  <c:v>All Others</c:v>
                </c:pt>
                <c:pt idx="1447">
                  <c:v>All Others</c:v>
                </c:pt>
                <c:pt idx="1448">
                  <c:v>All Others</c:v>
                </c:pt>
                <c:pt idx="1449">
                  <c:v>All Others</c:v>
                </c:pt>
                <c:pt idx="1450">
                  <c:v>Bien Bon</c:v>
                </c:pt>
                <c:pt idx="1451">
                  <c:v>All Others</c:v>
                </c:pt>
                <c:pt idx="1452">
                  <c:v>All Others</c:v>
                </c:pt>
                <c:pt idx="1453">
                  <c:v>All Others</c:v>
                </c:pt>
                <c:pt idx="1454">
                  <c:v>All Others</c:v>
                </c:pt>
                <c:pt idx="1455">
                  <c:v>All Others</c:v>
                </c:pt>
                <c:pt idx="1456">
                  <c:v>All Others</c:v>
                </c:pt>
                <c:pt idx="1457">
                  <c:v>All Others</c:v>
                </c:pt>
                <c:pt idx="1458">
                  <c:v>All Others</c:v>
                </c:pt>
                <c:pt idx="1459">
                  <c:v>All Others</c:v>
                </c:pt>
                <c:pt idx="1460">
                  <c:v>All Others</c:v>
                </c:pt>
                <c:pt idx="1461">
                  <c:v>All Others</c:v>
                </c:pt>
                <c:pt idx="1462">
                  <c:v>Private Lab</c:v>
                </c:pt>
                <c:pt idx="1463">
                  <c:v>All Others</c:v>
                </c:pt>
                <c:pt idx="1464">
                  <c:v>All Others</c:v>
                </c:pt>
                <c:pt idx="1465">
                  <c:v>All Others</c:v>
                </c:pt>
                <c:pt idx="1466">
                  <c:v>All Others</c:v>
                </c:pt>
                <c:pt idx="1467">
                  <c:v>All Others</c:v>
                </c:pt>
                <c:pt idx="1468">
                  <c:v>All Others</c:v>
                </c:pt>
                <c:pt idx="1469">
                  <c:v>All Others</c:v>
                </c:pt>
                <c:pt idx="1470">
                  <c:v>All Others</c:v>
                </c:pt>
                <c:pt idx="1471">
                  <c:v>All Others</c:v>
                </c:pt>
                <c:pt idx="1472">
                  <c:v>Private Lab</c:v>
                </c:pt>
                <c:pt idx="1473">
                  <c:v>All Others</c:v>
                </c:pt>
                <c:pt idx="1474">
                  <c:v>Lactalis: A</c:v>
                </c:pt>
                <c:pt idx="1475">
                  <c:v>Private Lab</c:v>
                </c:pt>
                <c:pt idx="1476">
                  <c:v>Private Lab</c:v>
                </c:pt>
                <c:pt idx="1477">
                  <c:v>All Others</c:v>
                </c:pt>
                <c:pt idx="1478">
                  <c:v>Etoile Du V</c:v>
                </c:pt>
                <c:pt idx="1479">
                  <c:v>All Others</c:v>
                </c:pt>
                <c:pt idx="1480">
                  <c:v>All Others</c:v>
                </c:pt>
                <c:pt idx="1481">
                  <c:v>Alsacelait</c:v>
                </c:pt>
                <c:pt idx="1482">
                  <c:v>Gillot</c:v>
                </c:pt>
                <c:pt idx="1483">
                  <c:v>All Others</c:v>
                </c:pt>
                <c:pt idx="1484">
                  <c:v>All Others</c:v>
                </c:pt>
                <c:pt idx="1485">
                  <c:v>Bien Bon</c:v>
                </c:pt>
                <c:pt idx="1486">
                  <c:v>Lactalis: A</c:v>
                </c:pt>
                <c:pt idx="1487">
                  <c:v>All Others</c:v>
                </c:pt>
                <c:pt idx="1488">
                  <c:v>All Others</c:v>
                </c:pt>
                <c:pt idx="1489">
                  <c:v>All Others</c:v>
                </c:pt>
                <c:pt idx="1490">
                  <c:v>Private Lab</c:v>
                </c:pt>
                <c:pt idx="1491">
                  <c:v>All Others</c:v>
                </c:pt>
                <c:pt idx="1492">
                  <c:v>All Others</c:v>
                </c:pt>
                <c:pt idx="1493">
                  <c:v>Ambrosi</c:v>
                </c:pt>
                <c:pt idx="1494">
                  <c:v>All Others</c:v>
                </c:pt>
                <c:pt idx="1495">
                  <c:v>O'Tapas Ape</c:v>
                </c:pt>
                <c:pt idx="1496">
                  <c:v>Lactalis: A</c:v>
                </c:pt>
                <c:pt idx="1497">
                  <c:v>Leerdammer</c:v>
                </c:pt>
                <c:pt idx="1498">
                  <c:v>All Others</c:v>
                </c:pt>
                <c:pt idx="1499">
                  <c:v>Private Lab</c:v>
                </c:pt>
                <c:pt idx="1500">
                  <c:v>Private Lab</c:v>
                </c:pt>
                <c:pt idx="1501">
                  <c:v>Lactalis: A</c:v>
                </c:pt>
                <c:pt idx="1502">
                  <c:v>Gillot</c:v>
                </c:pt>
                <c:pt idx="1503">
                  <c:v>Apericube</c:v>
                </c:pt>
                <c:pt idx="1504">
                  <c:v>All Others</c:v>
                </c:pt>
                <c:pt idx="1505">
                  <c:v>Chirag</c:v>
                </c:pt>
                <c:pt idx="1506">
                  <c:v>All Others</c:v>
                </c:pt>
                <c:pt idx="1507">
                  <c:v>Private Lab</c:v>
                </c:pt>
                <c:pt idx="1508">
                  <c:v>Private Lab</c:v>
                </c:pt>
                <c:pt idx="1509">
                  <c:v>All Others</c:v>
                </c:pt>
                <c:pt idx="1510">
                  <c:v>All Others</c:v>
                </c:pt>
                <c:pt idx="1511">
                  <c:v>All Others</c:v>
                </c:pt>
                <c:pt idx="1512">
                  <c:v>President</c:v>
                </c:pt>
                <c:pt idx="1513">
                  <c:v>Private Lab</c:v>
                </c:pt>
                <c:pt idx="1514">
                  <c:v>Private Lab</c:v>
                </c:pt>
                <c:pt idx="1515">
                  <c:v>All Others</c:v>
                </c:pt>
                <c:pt idx="1516">
                  <c:v>Bien Bon</c:v>
                </c:pt>
                <c:pt idx="1517">
                  <c:v>Private Lab</c:v>
                </c:pt>
                <c:pt idx="1518">
                  <c:v>Private Lab</c:v>
                </c:pt>
                <c:pt idx="1519">
                  <c:v>All Others</c:v>
                </c:pt>
                <c:pt idx="1520">
                  <c:v>All Others</c:v>
                </c:pt>
              </c:strCache>
            </c:strRef>
          </c:cat>
          <c:val>
            <c:numRef>
              <c:f>Sheet1!$B$2:$B$1522</c:f>
              <c:numCache>
                <c:formatCode>General</c:formatCode>
                <c:ptCount val="1521"/>
                <c:pt idx="0">
                  <c:v>1.0</c:v>
                </c:pt>
                <c:pt idx="1">
                  <c:v>1.0</c:v>
                </c:pt>
                <c:pt idx="2">
                  <c:v>0.99</c:v>
                </c:pt>
                <c:pt idx="3">
                  <c:v>1.0</c:v>
                </c:pt>
                <c:pt idx="4">
                  <c:v>1.0</c:v>
                </c:pt>
                <c:pt idx="5">
                  <c:v>1.0</c:v>
                </c:pt>
                <c:pt idx="6">
                  <c:v>0.99</c:v>
                </c:pt>
                <c:pt idx="7">
                  <c:v>0.99</c:v>
                </c:pt>
                <c:pt idx="8">
                  <c:v>1.0</c:v>
                </c:pt>
                <c:pt idx="9">
                  <c:v>1.0</c:v>
                </c:pt>
                <c:pt idx="10">
                  <c:v>1.0</c:v>
                </c:pt>
                <c:pt idx="11">
                  <c:v>1.0</c:v>
                </c:pt>
                <c:pt idx="12">
                  <c:v>1.0</c:v>
                </c:pt>
                <c:pt idx="13">
                  <c:v>0.99</c:v>
                </c:pt>
                <c:pt idx="14">
                  <c:v>0.86</c:v>
                </c:pt>
                <c:pt idx="15">
                  <c:v>1.0</c:v>
                </c:pt>
                <c:pt idx="16">
                  <c:v>1.0</c:v>
                </c:pt>
                <c:pt idx="17">
                  <c:v>1.0</c:v>
                </c:pt>
                <c:pt idx="18">
                  <c:v>1.0</c:v>
                </c:pt>
                <c:pt idx="19">
                  <c:v>1.0</c:v>
                </c:pt>
                <c:pt idx="20">
                  <c:v>1.0</c:v>
                </c:pt>
                <c:pt idx="21">
                  <c:v>1.0</c:v>
                </c:pt>
                <c:pt idx="22">
                  <c:v>1.0</c:v>
                </c:pt>
                <c:pt idx="23">
                  <c:v>0.99</c:v>
                </c:pt>
                <c:pt idx="24">
                  <c:v>1.0</c:v>
                </c:pt>
                <c:pt idx="25">
                  <c:v>0.99</c:v>
                </c:pt>
                <c:pt idx="26">
                  <c:v>0.99</c:v>
                </c:pt>
                <c:pt idx="27">
                  <c:v>1.0</c:v>
                </c:pt>
                <c:pt idx="28">
                  <c:v>1.0</c:v>
                </c:pt>
                <c:pt idx="29">
                  <c:v>0.99</c:v>
                </c:pt>
                <c:pt idx="30">
                  <c:v>1.0</c:v>
                </c:pt>
                <c:pt idx="31">
                  <c:v>1.0</c:v>
                </c:pt>
                <c:pt idx="32">
                  <c:v>1.0</c:v>
                </c:pt>
                <c:pt idx="33">
                  <c:v>1.0</c:v>
                </c:pt>
                <c:pt idx="34">
                  <c:v>0.99</c:v>
                </c:pt>
                <c:pt idx="35">
                  <c:v>0.99</c:v>
                </c:pt>
                <c:pt idx="36">
                  <c:v>1.0</c:v>
                </c:pt>
                <c:pt idx="37">
                  <c:v>1.0</c:v>
                </c:pt>
                <c:pt idx="38">
                  <c:v>1.0</c:v>
                </c:pt>
                <c:pt idx="39">
                  <c:v>1.0</c:v>
                </c:pt>
                <c:pt idx="40">
                  <c:v>1.0</c:v>
                </c:pt>
                <c:pt idx="41">
                  <c:v>1.0</c:v>
                </c:pt>
                <c:pt idx="42">
                  <c:v>1.0</c:v>
                </c:pt>
                <c:pt idx="43">
                  <c:v>1.0</c:v>
                </c:pt>
                <c:pt idx="44">
                  <c:v>0.99</c:v>
                </c:pt>
                <c:pt idx="45">
                  <c:v>1.0</c:v>
                </c:pt>
                <c:pt idx="46">
                  <c:v>1.0</c:v>
                </c:pt>
                <c:pt idx="47">
                  <c:v>1.0</c:v>
                </c:pt>
                <c:pt idx="48">
                  <c:v>1.0</c:v>
                </c:pt>
                <c:pt idx="49">
                  <c:v>1.0</c:v>
                </c:pt>
                <c:pt idx="50">
                  <c:v>1.0</c:v>
                </c:pt>
                <c:pt idx="51">
                  <c:v>1.0</c:v>
                </c:pt>
                <c:pt idx="52">
                  <c:v>1.0</c:v>
                </c:pt>
                <c:pt idx="53">
                  <c:v>0.99</c:v>
                </c:pt>
                <c:pt idx="54">
                  <c:v>0.93</c:v>
                </c:pt>
                <c:pt idx="55">
                  <c:v>1.0</c:v>
                </c:pt>
                <c:pt idx="56">
                  <c:v>1.0</c:v>
                </c:pt>
                <c:pt idx="57">
                  <c:v>1.0</c:v>
                </c:pt>
                <c:pt idx="58">
                  <c:v>1.0</c:v>
                </c:pt>
                <c:pt idx="59">
                  <c:v>1.0</c:v>
                </c:pt>
                <c:pt idx="60">
                  <c:v>1.0</c:v>
                </c:pt>
                <c:pt idx="61">
                  <c:v>0.99</c:v>
                </c:pt>
                <c:pt idx="62">
                  <c:v>1.0</c:v>
                </c:pt>
                <c:pt idx="63">
                  <c:v>1.0</c:v>
                </c:pt>
                <c:pt idx="64">
                  <c:v>1.0</c:v>
                </c:pt>
                <c:pt idx="65">
                  <c:v>1.0</c:v>
                </c:pt>
                <c:pt idx="66">
                  <c:v>0.99</c:v>
                </c:pt>
                <c:pt idx="67">
                  <c:v>1.0</c:v>
                </c:pt>
                <c:pt idx="68">
                  <c:v>1.0</c:v>
                </c:pt>
                <c:pt idx="69">
                  <c:v>1.0</c:v>
                </c:pt>
                <c:pt idx="70">
                  <c:v>1.0</c:v>
                </c:pt>
                <c:pt idx="71">
                  <c:v>1.0</c:v>
                </c:pt>
                <c:pt idx="72">
                  <c:v>0.99</c:v>
                </c:pt>
                <c:pt idx="73">
                  <c:v>0.98</c:v>
                </c:pt>
                <c:pt idx="74">
                  <c:v>1.0</c:v>
                </c:pt>
                <c:pt idx="75">
                  <c:v>0.99</c:v>
                </c:pt>
                <c:pt idx="76">
                  <c:v>1.0</c:v>
                </c:pt>
                <c:pt idx="77">
                  <c:v>0.99</c:v>
                </c:pt>
                <c:pt idx="78">
                  <c:v>1.0</c:v>
                </c:pt>
                <c:pt idx="79">
                  <c:v>0.98</c:v>
                </c:pt>
                <c:pt idx="80">
                  <c:v>1.0</c:v>
                </c:pt>
                <c:pt idx="81">
                  <c:v>1.0</c:v>
                </c:pt>
                <c:pt idx="82">
                  <c:v>1.0</c:v>
                </c:pt>
                <c:pt idx="83">
                  <c:v>1.0</c:v>
                </c:pt>
                <c:pt idx="84">
                  <c:v>1.0</c:v>
                </c:pt>
                <c:pt idx="85">
                  <c:v>1.0</c:v>
                </c:pt>
                <c:pt idx="86">
                  <c:v>0.99</c:v>
                </c:pt>
                <c:pt idx="87">
                  <c:v>0.99</c:v>
                </c:pt>
                <c:pt idx="88">
                  <c:v>0.99</c:v>
                </c:pt>
                <c:pt idx="89">
                  <c:v>0.99</c:v>
                </c:pt>
                <c:pt idx="90">
                  <c:v>0.99</c:v>
                </c:pt>
                <c:pt idx="91">
                  <c:v>0.99</c:v>
                </c:pt>
                <c:pt idx="92">
                  <c:v>0.99</c:v>
                </c:pt>
                <c:pt idx="93">
                  <c:v>1.0</c:v>
                </c:pt>
                <c:pt idx="94">
                  <c:v>0.99</c:v>
                </c:pt>
                <c:pt idx="95">
                  <c:v>0.98</c:v>
                </c:pt>
                <c:pt idx="96">
                  <c:v>0.95</c:v>
                </c:pt>
                <c:pt idx="97">
                  <c:v>1.0</c:v>
                </c:pt>
                <c:pt idx="98">
                  <c:v>0.99</c:v>
                </c:pt>
                <c:pt idx="99">
                  <c:v>0.99</c:v>
                </c:pt>
                <c:pt idx="100">
                  <c:v>1.0</c:v>
                </c:pt>
                <c:pt idx="101">
                  <c:v>0.99</c:v>
                </c:pt>
                <c:pt idx="102">
                  <c:v>0.99</c:v>
                </c:pt>
                <c:pt idx="103">
                  <c:v>1.0</c:v>
                </c:pt>
                <c:pt idx="104">
                  <c:v>0.97</c:v>
                </c:pt>
                <c:pt idx="105">
                  <c:v>1.0</c:v>
                </c:pt>
                <c:pt idx="106">
                  <c:v>0.99</c:v>
                </c:pt>
                <c:pt idx="107">
                  <c:v>1.0</c:v>
                </c:pt>
                <c:pt idx="108">
                  <c:v>1.0</c:v>
                </c:pt>
                <c:pt idx="109">
                  <c:v>1.0</c:v>
                </c:pt>
                <c:pt idx="110">
                  <c:v>0.99</c:v>
                </c:pt>
                <c:pt idx="111">
                  <c:v>1.0</c:v>
                </c:pt>
                <c:pt idx="112">
                  <c:v>0.97</c:v>
                </c:pt>
                <c:pt idx="113">
                  <c:v>0.99</c:v>
                </c:pt>
                <c:pt idx="114">
                  <c:v>1.0</c:v>
                </c:pt>
                <c:pt idx="115">
                  <c:v>1.0</c:v>
                </c:pt>
                <c:pt idx="116">
                  <c:v>0.99</c:v>
                </c:pt>
                <c:pt idx="117">
                  <c:v>1.0</c:v>
                </c:pt>
                <c:pt idx="118">
                  <c:v>1.0</c:v>
                </c:pt>
                <c:pt idx="119">
                  <c:v>0.99</c:v>
                </c:pt>
                <c:pt idx="120">
                  <c:v>1.0</c:v>
                </c:pt>
                <c:pt idx="121">
                  <c:v>0.96</c:v>
                </c:pt>
                <c:pt idx="122">
                  <c:v>1.0</c:v>
                </c:pt>
                <c:pt idx="123">
                  <c:v>1.0</c:v>
                </c:pt>
                <c:pt idx="124">
                  <c:v>1.0</c:v>
                </c:pt>
                <c:pt idx="125">
                  <c:v>0.78</c:v>
                </c:pt>
                <c:pt idx="126">
                  <c:v>1.0</c:v>
                </c:pt>
                <c:pt idx="127">
                  <c:v>0.99</c:v>
                </c:pt>
                <c:pt idx="128">
                  <c:v>0.96</c:v>
                </c:pt>
                <c:pt idx="129">
                  <c:v>1.0</c:v>
                </c:pt>
                <c:pt idx="130">
                  <c:v>1.0</c:v>
                </c:pt>
                <c:pt idx="131">
                  <c:v>0.9</c:v>
                </c:pt>
                <c:pt idx="132">
                  <c:v>0.98</c:v>
                </c:pt>
                <c:pt idx="133">
                  <c:v>0.99</c:v>
                </c:pt>
                <c:pt idx="134">
                  <c:v>0.99</c:v>
                </c:pt>
                <c:pt idx="135">
                  <c:v>0.99</c:v>
                </c:pt>
                <c:pt idx="136">
                  <c:v>0.98</c:v>
                </c:pt>
                <c:pt idx="137">
                  <c:v>1.0</c:v>
                </c:pt>
                <c:pt idx="138">
                  <c:v>1.0</c:v>
                </c:pt>
                <c:pt idx="139">
                  <c:v>1.0</c:v>
                </c:pt>
                <c:pt idx="140">
                  <c:v>0.99</c:v>
                </c:pt>
                <c:pt idx="141">
                  <c:v>0.99</c:v>
                </c:pt>
                <c:pt idx="142">
                  <c:v>0.99</c:v>
                </c:pt>
                <c:pt idx="143">
                  <c:v>1.0</c:v>
                </c:pt>
                <c:pt idx="144">
                  <c:v>1.0</c:v>
                </c:pt>
                <c:pt idx="145">
                  <c:v>0.98</c:v>
                </c:pt>
                <c:pt idx="146">
                  <c:v>1.0</c:v>
                </c:pt>
                <c:pt idx="147">
                  <c:v>1.0</c:v>
                </c:pt>
                <c:pt idx="148">
                  <c:v>1.0</c:v>
                </c:pt>
                <c:pt idx="149">
                  <c:v>1.0</c:v>
                </c:pt>
                <c:pt idx="150">
                  <c:v>0.99</c:v>
                </c:pt>
                <c:pt idx="151">
                  <c:v>1.0</c:v>
                </c:pt>
                <c:pt idx="152">
                  <c:v>0.99</c:v>
                </c:pt>
                <c:pt idx="153">
                  <c:v>0.97</c:v>
                </c:pt>
                <c:pt idx="154">
                  <c:v>0.98</c:v>
                </c:pt>
                <c:pt idx="155">
                  <c:v>0.98</c:v>
                </c:pt>
                <c:pt idx="156">
                  <c:v>0.98</c:v>
                </c:pt>
                <c:pt idx="157">
                  <c:v>0.98</c:v>
                </c:pt>
                <c:pt idx="158">
                  <c:v>0.99</c:v>
                </c:pt>
                <c:pt idx="159">
                  <c:v>0.99</c:v>
                </c:pt>
                <c:pt idx="160">
                  <c:v>0.99</c:v>
                </c:pt>
                <c:pt idx="161">
                  <c:v>1.0</c:v>
                </c:pt>
                <c:pt idx="162">
                  <c:v>1.0</c:v>
                </c:pt>
                <c:pt idx="163">
                  <c:v>0.98</c:v>
                </c:pt>
                <c:pt idx="164">
                  <c:v>1.0</c:v>
                </c:pt>
                <c:pt idx="165">
                  <c:v>1.0</c:v>
                </c:pt>
                <c:pt idx="166">
                  <c:v>1.0</c:v>
                </c:pt>
                <c:pt idx="167">
                  <c:v>0.99</c:v>
                </c:pt>
                <c:pt idx="168">
                  <c:v>1.0</c:v>
                </c:pt>
                <c:pt idx="169">
                  <c:v>1.0</c:v>
                </c:pt>
                <c:pt idx="170">
                  <c:v>0.99</c:v>
                </c:pt>
                <c:pt idx="171">
                  <c:v>0.66</c:v>
                </c:pt>
                <c:pt idx="172">
                  <c:v>1.0</c:v>
                </c:pt>
                <c:pt idx="173">
                  <c:v>1.0</c:v>
                </c:pt>
                <c:pt idx="174">
                  <c:v>0.98</c:v>
                </c:pt>
                <c:pt idx="175">
                  <c:v>1.0</c:v>
                </c:pt>
                <c:pt idx="176">
                  <c:v>1.0</c:v>
                </c:pt>
                <c:pt idx="177">
                  <c:v>0.99</c:v>
                </c:pt>
                <c:pt idx="178">
                  <c:v>1.0</c:v>
                </c:pt>
                <c:pt idx="179">
                  <c:v>0.99</c:v>
                </c:pt>
                <c:pt idx="180">
                  <c:v>1.0</c:v>
                </c:pt>
                <c:pt idx="181">
                  <c:v>1.0</c:v>
                </c:pt>
                <c:pt idx="182">
                  <c:v>0.99</c:v>
                </c:pt>
                <c:pt idx="183">
                  <c:v>1.0</c:v>
                </c:pt>
                <c:pt idx="184">
                  <c:v>1.0</c:v>
                </c:pt>
                <c:pt idx="185">
                  <c:v>0.99</c:v>
                </c:pt>
                <c:pt idx="186">
                  <c:v>1.0</c:v>
                </c:pt>
                <c:pt idx="187">
                  <c:v>0.97</c:v>
                </c:pt>
                <c:pt idx="188">
                  <c:v>1.0</c:v>
                </c:pt>
                <c:pt idx="189">
                  <c:v>0.99</c:v>
                </c:pt>
                <c:pt idx="190">
                  <c:v>1.0</c:v>
                </c:pt>
                <c:pt idx="191">
                  <c:v>1.0</c:v>
                </c:pt>
                <c:pt idx="192">
                  <c:v>0.98</c:v>
                </c:pt>
                <c:pt idx="193">
                  <c:v>1.0</c:v>
                </c:pt>
                <c:pt idx="194">
                  <c:v>0.97</c:v>
                </c:pt>
                <c:pt idx="195">
                  <c:v>0.98</c:v>
                </c:pt>
                <c:pt idx="196">
                  <c:v>0.92</c:v>
                </c:pt>
                <c:pt idx="197">
                  <c:v>0.59</c:v>
                </c:pt>
                <c:pt idx="198">
                  <c:v>0.99</c:v>
                </c:pt>
                <c:pt idx="199">
                  <c:v>0.99</c:v>
                </c:pt>
                <c:pt idx="200">
                  <c:v>1.0</c:v>
                </c:pt>
                <c:pt idx="201">
                  <c:v>0.99</c:v>
                </c:pt>
                <c:pt idx="202">
                  <c:v>0.99</c:v>
                </c:pt>
                <c:pt idx="203">
                  <c:v>0.99</c:v>
                </c:pt>
                <c:pt idx="204">
                  <c:v>1.0</c:v>
                </c:pt>
                <c:pt idx="205">
                  <c:v>0.97</c:v>
                </c:pt>
                <c:pt idx="206">
                  <c:v>0.99</c:v>
                </c:pt>
                <c:pt idx="207">
                  <c:v>0.99</c:v>
                </c:pt>
                <c:pt idx="208">
                  <c:v>1.0</c:v>
                </c:pt>
                <c:pt idx="209">
                  <c:v>0.99</c:v>
                </c:pt>
                <c:pt idx="210">
                  <c:v>0.99</c:v>
                </c:pt>
                <c:pt idx="211">
                  <c:v>1.0</c:v>
                </c:pt>
                <c:pt idx="212">
                  <c:v>0.98</c:v>
                </c:pt>
                <c:pt idx="213">
                  <c:v>1.0</c:v>
                </c:pt>
                <c:pt idx="214">
                  <c:v>0.99</c:v>
                </c:pt>
                <c:pt idx="215">
                  <c:v>0.99</c:v>
                </c:pt>
                <c:pt idx="216">
                  <c:v>0.99</c:v>
                </c:pt>
                <c:pt idx="217">
                  <c:v>1.0</c:v>
                </c:pt>
                <c:pt idx="218">
                  <c:v>0.98</c:v>
                </c:pt>
                <c:pt idx="219">
                  <c:v>0.99</c:v>
                </c:pt>
                <c:pt idx="220">
                  <c:v>0.94</c:v>
                </c:pt>
                <c:pt idx="221">
                  <c:v>0.96</c:v>
                </c:pt>
                <c:pt idx="222">
                  <c:v>0.99</c:v>
                </c:pt>
                <c:pt idx="223">
                  <c:v>0.95</c:v>
                </c:pt>
                <c:pt idx="224">
                  <c:v>0.98</c:v>
                </c:pt>
                <c:pt idx="225">
                  <c:v>0.98</c:v>
                </c:pt>
                <c:pt idx="226">
                  <c:v>0.99</c:v>
                </c:pt>
                <c:pt idx="227">
                  <c:v>1.0</c:v>
                </c:pt>
                <c:pt idx="228">
                  <c:v>0.98</c:v>
                </c:pt>
                <c:pt idx="229">
                  <c:v>0.98</c:v>
                </c:pt>
                <c:pt idx="230">
                  <c:v>0.97</c:v>
                </c:pt>
                <c:pt idx="231">
                  <c:v>1.0</c:v>
                </c:pt>
                <c:pt idx="232">
                  <c:v>0.99</c:v>
                </c:pt>
                <c:pt idx="233">
                  <c:v>0.98</c:v>
                </c:pt>
                <c:pt idx="234">
                  <c:v>0.85</c:v>
                </c:pt>
                <c:pt idx="235">
                  <c:v>0.98</c:v>
                </c:pt>
                <c:pt idx="236">
                  <c:v>0.99</c:v>
                </c:pt>
                <c:pt idx="237">
                  <c:v>0.98</c:v>
                </c:pt>
                <c:pt idx="238">
                  <c:v>0.9</c:v>
                </c:pt>
                <c:pt idx="239">
                  <c:v>1.0</c:v>
                </c:pt>
                <c:pt idx="240">
                  <c:v>0.99</c:v>
                </c:pt>
                <c:pt idx="241">
                  <c:v>1.0</c:v>
                </c:pt>
                <c:pt idx="242">
                  <c:v>1.0</c:v>
                </c:pt>
                <c:pt idx="243">
                  <c:v>0.99</c:v>
                </c:pt>
                <c:pt idx="244">
                  <c:v>0.99</c:v>
                </c:pt>
                <c:pt idx="245">
                  <c:v>0.99</c:v>
                </c:pt>
                <c:pt idx="246">
                  <c:v>0.99</c:v>
                </c:pt>
                <c:pt idx="247">
                  <c:v>0.99</c:v>
                </c:pt>
                <c:pt idx="248">
                  <c:v>1.0</c:v>
                </c:pt>
                <c:pt idx="249">
                  <c:v>0.84</c:v>
                </c:pt>
                <c:pt idx="250">
                  <c:v>0.99</c:v>
                </c:pt>
                <c:pt idx="251">
                  <c:v>0.99</c:v>
                </c:pt>
                <c:pt idx="252">
                  <c:v>0.99</c:v>
                </c:pt>
                <c:pt idx="253">
                  <c:v>0.99</c:v>
                </c:pt>
                <c:pt idx="254">
                  <c:v>1.0</c:v>
                </c:pt>
                <c:pt idx="255">
                  <c:v>0.98</c:v>
                </c:pt>
                <c:pt idx="256">
                  <c:v>0.99</c:v>
                </c:pt>
                <c:pt idx="257">
                  <c:v>0.99</c:v>
                </c:pt>
                <c:pt idx="258">
                  <c:v>0.96</c:v>
                </c:pt>
                <c:pt idx="259">
                  <c:v>0.99</c:v>
                </c:pt>
                <c:pt idx="260">
                  <c:v>1.0</c:v>
                </c:pt>
                <c:pt idx="261">
                  <c:v>0.99</c:v>
                </c:pt>
                <c:pt idx="262">
                  <c:v>0.99</c:v>
                </c:pt>
                <c:pt idx="263">
                  <c:v>0.98</c:v>
                </c:pt>
                <c:pt idx="264">
                  <c:v>0.78</c:v>
                </c:pt>
                <c:pt idx="265">
                  <c:v>0.97</c:v>
                </c:pt>
                <c:pt idx="266">
                  <c:v>0.75</c:v>
                </c:pt>
                <c:pt idx="267">
                  <c:v>0.97</c:v>
                </c:pt>
                <c:pt idx="268">
                  <c:v>0.98</c:v>
                </c:pt>
                <c:pt idx="269">
                  <c:v>0.99</c:v>
                </c:pt>
                <c:pt idx="270">
                  <c:v>0.99</c:v>
                </c:pt>
                <c:pt idx="271">
                  <c:v>0.98</c:v>
                </c:pt>
                <c:pt idx="272">
                  <c:v>0.98</c:v>
                </c:pt>
                <c:pt idx="273">
                  <c:v>0.98</c:v>
                </c:pt>
                <c:pt idx="274">
                  <c:v>0.99</c:v>
                </c:pt>
                <c:pt idx="275">
                  <c:v>0.99</c:v>
                </c:pt>
                <c:pt idx="276">
                  <c:v>0.99</c:v>
                </c:pt>
                <c:pt idx="277">
                  <c:v>0.98</c:v>
                </c:pt>
                <c:pt idx="278">
                  <c:v>0.99</c:v>
                </c:pt>
                <c:pt idx="279">
                  <c:v>1.0</c:v>
                </c:pt>
                <c:pt idx="280">
                  <c:v>0.8</c:v>
                </c:pt>
                <c:pt idx="281">
                  <c:v>0.97</c:v>
                </c:pt>
                <c:pt idx="282">
                  <c:v>0.96</c:v>
                </c:pt>
                <c:pt idx="283">
                  <c:v>0.97</c:v>
                </c:pt>
                <c:pt idx="284">
                  <c:v>0.99</c:v>
                </c:pt>
                <c:pt idx="285">
                  <c:v>1.0</c:v>
                </c:pt>
                <c:pt idx="286">
                  <c:v>0.87</c:v>
                </c:pt>
                <c:pt idx="287">
                  <c:v>0.98</c:v>
                </c:pt>
                <c:pt idx="288">
                  <c:v>1.0</c:v>
                </c:pt>
                <c:pt idx="289">
                  <c:v>0.96</c:v>
                </c:pt>
                <c:pt idx="290">
                  <c:v>0.99</c:v>
                </c:pt>
                <c:pt idx="291">
                  <c:v>0.98</c:v>
                </c:pt>
                <c:pt idx="292">
                  <c:v>0.97</c:v>
                </c:pt>
                <c:pt idx="293">
                  <c:v>0.99</c:v>
                </c:pt>
                <c:pt idx="294">
                  <c:v>0.96</c:v>
                </c:pt>
                <c:pt idx="295">
                  <c:v>0.98</c:v>
                </c:pt>
                <c:pt idx="296">
                  <c:v>0.93</c:v>
                </c:pt>
                <c:pt idx="297">
                  <c:v>0.99</c:v>
                </c:pt>
                <c:pt idx="298">
                  <c:v>0.99</c:v>
                </c:pt>
                <c:pt idx="299">
                  <c:v>0.99</c:v>
                </c:pt>
                <c:pt idx="300">
                  <c:v>0.99</c:v>
                </c:pt>
                <c:pt idx="301">
                  <c:v>0.99</c:v>
                </c:pt>
                <c:pt idx="302">
                  <c:v>0.88</c:v>
                </c:pt>
                <c:pt idx="303">
                  <c:v>0.99</c:v>
                </c:pt>
                <c:pt idx="304">
                  <c:v>0.99</c:v>
                </c:pt>
                <c:pt idx="305">
                  <c:v>0.96</c:v>
                </c:pt>
                <c:pt idx="306">
                  <c:v>0.94</c:v>
                </c:pt>
                <c:pt idx="307">
                  <c:v>0.98</c:v>
                </c:pt>
                <c:pt idx="308">
                  <c:v>0.98</c:v>
                </c:pt>
                <c:pt idx="309">
                  <c:v>0.99</c:v>
                </c:pt>
                <c:pt idx="310">
                  <c:v>0.99</c:v>
                </c:pt>
                <c:pt idx="311">
                  <c:v>0.63</c:v>
                </c:pt>
                <c:pt idx="312">
                  <c:v>0.94</c:v>
                </c:pt>
                <c:pt idx="313">
                  <c:v>0.99</c:v>
                </c:pt>
                <c:pt idx="314">
                  <c:v>0.99</c:v>
                </c:pt>
                <c:pt idx="315">
                  <c:v>0.98</c:v>
                </c:pt>
                <c:pt idx="316">
                  <c:v>0.94</c:v>
                </c:pt>
                <c:pt idx="317">
                  <c:v>1.0</c:v>
                </c:pt>
                <c:pt idx="318">
                  <c:v>0.99</c:v>
                </c:pt>
                <c:pt idx="319">
                  <c:v>0.98</c:v>
                </c:pt>
                <c:pt idx="320">
                  <c:v>0.97</c:v>
                </c:pt>
                <c:pt idx="321">
                  <c:v>0.99</c:v>
                </c:pt>
                <c:pt idx="322">
                  <c:v>0.98</c:v>
                </c:pt>
                <c:pt idx="323">
                  <c:v>0.98</c:v>
                </c:pt>
                <c:pt idx="324">
                  <c:v>1.0</c:v>
                </c:pt>
                <c:pt idx="325">
                  <c:v>0.99</c:v>
                </c:pt>
                <c:pt idx="326">
                  <c:v>0.99</c:v>
                </c:pt>
                <c:pt idx="327">
                  <c:v>0.99</c:v>
                </c:pt>
                <c:pt idx="328">
                  <c:v>0.99</c:v>
                </c:pt>
                <c:pt idx="329">
                  <c:v>0.99</c:v>
                </c:pt>
                <c:pt idx="330">
                  <c:v>0.99</c:v>
                </c:pt>
                <c:pt idx="331">
                  <c:v>0.99</c:v>
                </c:pt>
                <c:pt idx="332">
                  <c:v>0.82</c:v>
                </c:pt>
                <c:pt idx="333">
                  <c:v>0.99</c:v>
                </c:pt>
                <c:pt idx="334">
                  <c:v>0.99</c:v>
                </c:pt>
                <c:pt idx="335">
                  <c:v>0.85</c:v>
                </c:pt>
                <c:pt idx="336">
                  <c:v>0.97</c:v>
                </c:pt>
                <c:pt idx="337">
                  <c:v>0.97</c:v>
                </c:pt>
                <c:pt idx="338">
                  <c:v>0.96</c:v>
                </c:pt>
                <c:pt idx="339">
                  <c:v>0.99</c:v>
                </c:pt>
                <c:pt idx="340">
                  <c:v>0.95</c:v>
                </c:pt>
                <c:pt idx="341">
                  <c:v>0.99</c:v>
                </c:pt>
                <c:pt idx="342">
                  <c:v>1.0</c:v>
                </c:pt>
                <c:pt idx="343">
                  <c:v>0.98</c:v>
                </c:pt>
                <c:pt idx="344">
                  <c:v>0.99</c:v>
                </c:pt>
                <c:pt idx="345">
                  <c:v>0.97</c:v>
                </c:pt>
                <c:pt idx="346">
                  <c:v>0.68</c:v>
                </c:pt>
                <c:pt idx="347">
                  <c:v>0.99</c:v>
                </c:pt>
                <c:pt idx="348">
                  <c:v>0.99</c:v>
                </c:pt>
                <c:pt idx="349">
                  <c:v>0.99</c:v>
                </c:pt>
                <c:pt idx="350">
                  <c:v>0.99</c:v>
                </c:pt>
                <c:pt idx="351">
                  <c:v>0.99</c:v>
                </c:pt>
                <c:pt idx="352">
                  <c:v>0.79</c:v>
                </c:pt>
                <c:pt idx="353">
                  <c:v>0.88</c:v>
                </c:pt>
                <c:pt idx="354">
                  <c:v>0.99</c:v>
                </c:pt>
                <c:pt idx="355">
                  <c:v>0.99</c:v>
                </c:pt>
                <c:pt idx="356">
                  <c:v>0.95</c:v>
                </c:pt>
                <c:pt idx="357">
                  <c:v>0.99</c:v>
                </c:pt>
                <c:pt idx="358">
                  <c:v>0.99</c:v>
                </c:pt>
                <c:pt idx="359">
                  <c:v>0.99</c:v>
                </c:pt>
                <c:pt idx="360">
                  <c:v>1.0</c:v>
                </c:pt>
                <c:pt idx="361">
                  <c:v>0.96</c:v>
                </c:pt>
                <c:pt idx="362">
                  <c:v>0.96</c:v>
                </c:pt>
                <c:pt idx="363">
                  <c:v>0.93</c:v>
                </c:pt>
                <c:pt idx="364">
                  <c:v>0.99</c:v>
                </c:pt>
                <c:pt idx="365">
                  <c:v>0.99</c:v>
                </c:pt>
                <c:pt idx="366">
                  <c:v>0.97</c:v>
                </c:pt>
                <c:pt idx="367">
                  <c:v>0.99</c:v>
                </c:pt>
                <c:pt idx="368">
                  <c:v>0.98</c:v>
                </c:pt>
                <c:pt idx="369">
                  <c:v>0.96</c:v>
                </c:pt>
                <c:pt idx="370">
                  <c:v>0.95</c:v>
                </c:pt>
                <c:pt idx="371">
                  <c:v>0.96</c:v>
                </c:pt>
                <c:pt idx="372">
                  <c:v>0.94</c:v>
                </c:pt>
                <c:pt idx="373">
                  <c:v>0.86</c:v>
                </c:pt>
                <c:pt idx="374">
                  <c:v>0.95</c:v>
                </c:pt>
                <c:pt idx="375">
                  <c:v>1.0</c:v>
                </c:pt>
                <c:pt idx="376">
                  <c:v>0.99</c:v>
                </c:pt>
                <c:pt idx="377">
                  <c:v>0.99</c:v>
                </c:pt>
                <c:pt idx="378">
                  <c:v>0.95</c:v>
                </c:pt>
                <c:pt idx="379">
                  <c:v>0.72</c:v>
                </c:pt>
                <c:pt idx="380">
                  <c:v>0.96</c:v>
                </c:pt>
                <c:pt idx="381">
                  <c:v>0.97</c:v>
                </c:pt>
                <c:pt idx="382">
                  <c:v>0.98</c:v>
                </c:pt>
                <c:pt idx="383">
                  <c:v>1.0</c:v>
                </c:pt>
                <c:pt idx="384">
                  <c:v>0.96</c:v>
                </c:pt>
                <c:pt idx="385">
                  <c:v>0.93</c:v>
                </c:pt>
                <c:pt idx="386">
                  <c:v>1.0</c:v>
                </c:pt>
                <c:pt idx="387">
                  <c:v>0.95</c:v>
                </c:pt>
                <c:pt idx="388">
                  <c:v>0.78</c:v>
                </c:pt>
                <c:pt idx="389">
                  <c:v>0.92</c:v>
                </c:pt>
                <c:pt idx="390">
                  <c:v>0.97</c:v>
                </c:pt>
                <c:pt idx="391">
                  <c:v>0.98</c:v>
                </c:pt>
                <c:pt idx="392">
                  <c:v>0.95</c:v>
                </c:pt>
                <c:pt idx="393">
                  <c:v>0.99</c:v>
                </c:pt>
                <c:pt idx="394">
                  <c:v>0.97</c:v>
                </c:pt>
                <c:pt idx="395">
                  <c:v>0.99</c:v>
                </c:pt>
                <c:pt idx="396">
                  <c:v>0.28</c:v>
                </c:pt>
                <c:pt idx="397">
                  <c:v>0.97</c:v>
                </c:pt>
                <c:pt idx="398">
                  <c:v>0.97</c:v>
                </c:pt>
                <c:pt idx="399">
                  <c:v>0.83</c:v>
                </c:pt>
                <c:pt idx="400">
                  <c:v>0.8</c:v>
                </c:pt>
                <c:pt idx="401">
                  <c:v>0.98</c:v>
                </c:pt>
                <c:pt idx="402">
                  <c:v>0.96</c:v>
                </c:pt>
                <c:pt idx="403">
                  <c:v>0.98</c:v>
                </c:pt>
                <c:pt idx="404">
                  <c:v>0.99</c:v>
                </c:pt>
                <c:pt idx="405">
                  <c:v>0.74</c:v>
                </c:pt>
                <c:pt idx="406">
                  <c:v>0.99</c:v>
                </c:pt>
                <c:pt idx="407">
                  <c:v>0.82</c:v>
                </c:pt>
                <c:pt idx="408">
                  <c:v>0.99</c:v>
                </c:pt>
                <c:pt idx="409">
                  <c:v>0.93</c:v>
                </c:pt>
                <c:pt idx="410">
                  <c:v>0.84</c:v>
                </c:pt>
                <c:pt idx="411">
                  <c:v>0.98</c:v>
                </c:pt>
                <c:pt idx="412">
                  <c:v>0.86</c:v>
                </c:pt>
                <c:pt idx="413">
                  <c:v>0.94</c:v>
                </c:pt>
                <c:pt idx="414">
                  <c:v>0.93</c:v>
                </c:pt>
                <c:pt idx="415">
                  <c:v>0.99</c:v>
                </c:pt>
                <c:pt idx="416">
                  <c:v>0.91</c:v>
                </c:pt>
                <c:pt idx="417">
                  <c:v>0.98</c:v>
                </c:pt>
                <c:pt idx="418">
                  <c:v>0.98</c:v>
                </c:pt>
                <c:pt idx="419">
                  <c:v>0.73</c:v>
                </c:pt>
                <c:pt idx="420">
                  <c:v>0.97</c:v>
                </c:pt>
                <c:pt idx="421">
                  <c:v>0.77</c:v>
                </c:pt>
                <c:pt idx="422">
                  <c:v>0.09</c:v>
                </c:pt>
                <c:pt idx="423">
                  <c:v>0.83</c:v>
                </c:pt>
                <c:pt idx="424">
                  <c:v>0.94</c:v>
                </c:pt>
                <c:pt idx="425">
                  <c:v>0.98</c:v>
                </c:pt>
                <c:pt idx="426">
                  <c:v>0.85</c:v>
                </c:pt>
                <c:pt idx="427">
                  <c:v>0.07</c:v>
                </c:pt>
                <c:pt idx="428">
                  <c:v>0.91</c:v>
                </c:pt>
                <c:pt idx="429">
                  <c:v>0.93</c:v>
                </c:pt>
                <c:pt idx="430">
                  <c:v>1.0</c:v>
                </c:pt>
                <c:pt idx="431">
                  <c:v>0.97</c:v>
                </c:pt>
                <c:pt idx="432">
                  <c:v>0.7</c:v>
                </c:pt>
                <c:pt idx="433">
                  <c:v>0.98</c:v>
                </c:pt>
                <c:pt idx="434">
                  <c:v>0.57</c:v>
                </c:pt>
                <c:pt idx="435">
                  <c:v>0.91</c:v>
                </c:pt>
                <c:pt idx="436">
                  <c:v>0.94</c:v>
                </c:pt>
                <c:pt idx="437">
                  <c:v>0.99</c:v>
                </c:pt>
                <c:pt idx="438">
                  <c:v>0.96</c:v>
                </c:pt>
                <c:pt idx="439">
                  <c:v>0.99</c:v>
                </c:pt>
                <c:pt idx="440">
                  <c:v>0.92</c:v>
                </c:pt>
                <c:pt idx="441">
                  <c:v>0.99</c:v>
                </c:pt>
                <c:pt idx="442">
                  <c:v>0.91</c:v>
                </c:pt>
                <c:pt idx="443">
                  <c:v>0.57</c:v>
                </c:pt>
                <c:pt idx="444">
                  <c:v>0.98</c:v>
                </c:pt>
                <c:pt idx="445">
                  <c:v>0.96</c:v>
                </c:pt>
                <c:pt idx="446">
                  <c:v>0.96</c:v>
                </c:pt>
                <c:pt idx="447">
                  <c:v>0.98</c:v>
                </c:pt>
                <c:pt idx="448">
                  <c:v>0.99</c:v>
                </c:pt>
                <c:pt idx="449">
                  <c:v>0.76</c:v>
                </c:pt>
                <c:pt idx="450">
                  <c:v>0.99</c:v>
                </c:pt>
                <c:pt idx="451">
                  <c:v>0.98</c:v>
                </c:pt>
                <c:pt idx="452">
                  <c:v>0.92</c:v>
                </c:pt>
                <c:pt idx="453">
                  <c:v>0.97</c:v>
                </c:pt>
                <c:pt idx="454">
                  <c:v>0.87</c:v>
                </c:pt>
                <c:pt idx="455">
                  <c:v>0.91</c:v>
                </c:pt>
                <c:pt idx="456">
                  <c:v>0.45</c:v>
                </c:pt>
                <c:pt idx="457">
                  <c:v>0.98</c:v>
                </c:pt>
                <c:pt idx="458">
                  <c:v>0.97</c:v>
                </c:pt>
                <c:pt idx="459">
                  <c:v>0.7</c:v>
                </c:pt>
                <c:pt idx="460">
                  <c:v>0.94</c:v>
                </c:pt>
                <c:pt idx="461">
                  <c:v>0.95</c:v>
                </c:pt>
                <c:pt idx="462">
                  <c:v>0.97</c:v>
                </c:pt>
                <c:pt idx="463">
                  <c:v>0.92</c:v>
                </c:pt>
                <c:pt idx="464">
                  <c:v>0.98</c:v>
                </c:pt>
                <c:pt idx="465">
                  <c:v>0.94</c:v>
                </c:pt>
                <c:pt idx="466">
                  <c:v>0.96</c:v>
                </c:pt>
                <c:pt idx="467">
                  <c:v>0.98</c:v>
                </c:pt>
                <c:pt idx="468">
                  <c:v>0.98</c:v>
                </c:pt>
                <c:pt idx="469">
                  <c:v>0.86</c:v>
                </c:pt>
                <c:pt idx="470">
                  <c:v>0.99</c:v>
                </c:pt>
                <c:pt idx="471">
                  <c:v>0.73</c:v>
                </c:pt>
                <c:pt idx="472">
                  <c:v>0.93</c:v>
                </c:pt>
                <c:pt idx="473">
                  <c:v>0.96</c:v>
                </c:pt>
                <c:pt idx="474">
                  <c:v>0.97</c:v>
                </c:pt>
                <c:pt idx="475">
                  <c:v>0.53</c:v>
                </c:pt>
                <c:pt idx="476">
                  <c:v>0.6</c:v>
                </c:pt>
                <c:pt idx="477">
                  <c:v>0.91</c:v>
                </c:pt>
                <c:pt idx="478">
                  <c:v>0.99</c:v>
                </c:pt>
                <c:pt idx="479">
                  <c:v>0.92</c:v>
                </c:pt>
                <c:pt idx="480">
                  <c:v>0.98</c:v>
                </c:pt>
                <c:pt idx="481">
                  <c:v>0.14</c:v>
                </c:pt>
                <c:pt idx="482">
                  <c:v>0.93</c:v>
                </c:pt>
                <c:pt idx="483">
                  <c:v>0.91</c:v>
                </c:pt>
                <c:pt idx="484">
                  <c:v>0.81</c:v>
                </c:pt>
                <c:pt idx="485">
                  <c:v>0.99</c:v>
                </c:pt>
                <c:pt idx="486">
                  <c:v>0.91</c:v>
                </c:pt>
                <c:pt idx="487">
                  <c:v>0.79</c:v>
                </c:pt>
                <c:pt idx="488">
                  <c:v>0.98</c:v>
                </c:pt>
                <c:pt idx="489">
                  <c:v>0.93</c:v>
                </c:pt>
                <c:pt idx="490">
                  <c:v>0.17</c:v>
                </c:pt>
                <c:pt idx="491">
                  <c:v>0.97</c:v>
                </c:pt>
                <c:pt idx="492">
                  <c:v>0.08</c:v>
                </c:pt>
                <c:pt idx="493">
                  <c:v>0.99</c:v>
                </c:pt>
                <c:pt idx="494">
                  <c:v>0.86</c:v>
                </c:pt>
                <c:pt idx="495">
                  <c:v>0.92</c:v>
                </c:pt>
                <c:pt idx="496">
                  <c:v>0.69</c:v>
                </c:pt>
                <c:pt idx="497">
                  <c:v>0.97</c:v>
                </c:pt>
                <c:pt idx="498">
                  <c:v>0.39</c:v>
                </c:pt>
                <c:pt idx="499">
                  <c:v>0.42</c:v>
                </c:pt>
                <c:pt idx="500">
                  <c:v>0.96</c:v>
                </c:pt>
                <c:pt idx="501">
                  <c:v>0.74</c:v>
                </c:pt>
                <c:pt idx="502">
                  <c:v>0.23</c:v>
                </c:pt>
                <c:pt idx="503">
                  <c:v>0.84</c:v>
                </c:pt>
                <c:pt idx="504">
                  <c:v>0.82</c:v>
                </c:pt>
                <c:pt idx="505">
                  <c:v>0.87</c:v>
                </c:pt>
                <c:pt idx="506">
                  <c:v>0.72</c:v>
                </c:pt>
                <c:pt idx="507">
                  <c:v>0.17</c:v>
                </c:pt>
                <c:pt idx="508">
                  <c:v>0.7</c:v>
                </c:pt>
                <c:pt idx="509">
                  <c:v>0.68</c:v>
                </c:pt>
                <c:pt idx="510">
                  <c:v>0.96</c:v>
                </c:pt>
                <c:pt idx="511">
                  <c:v>0.78</c:v>
                </c:pt>
                <c:pt idx="512">
                  <c:v>0.91</c:v>
                </c:pt>
                <c:pt idx="513">
                  <c:v>0.29</c:v>
                </c:pt>
                <c:pt idx="514">
                  <c:v>0.78</c:v>
                </c:pt>
                <c:pt idx="515">
                  <c:v>0.19</c:v>
                </c:pt>
                <c:pt idx="516">
                  <c:v>0.84</c:v>
                </c:pt>
                <c:pt idx="517">
                  <c:v>0.79</c:v>
                </c:pt>
                <c:pt idx="518">
                  <c:v>0.87</c:v>
                </c:pt>
                <c:pt idx="519">
                  <c:v>0.68</c:v>
                </c:pt>
                <c:pt idx="520">
                  <c:v>0.62</c:v>
                </c:pt>
                <c:pt idx="521">
                  <c:v>0.76</c:v>
                </c:pt>
                <c:pt idx="522">
                  <c:v>0.96</c:v>
                </c:pt>
                <c:pt idx="523">
                  <c:v>0.56</c:v>
                </c:pt>
                <c:pt idx="524">
                  <c:v>0.55</c:v>
                </c:pt>
                <c:pt idx="525">
                  <c:v>0.76</c:v>
                </c:pt>
                <c:pt idx="526">
                  <c:v>0.98</c:v>
                </c:pt>
                <c:pt idx="527">
                  <c:v>0.95</c:v>
                </c:pt>
                <c:pt idx="528">
                  <c:v>0.96</c:v>
                </c:pt>
                <c:pt idx="529">
                  <c:v>0.99</c:v>
                </c:pt>
                <c:pt idx="530">
                  <c:v>0.99</c:v>
                </c:pt>
                <c:pt idx="531">
                  <c:v>0.95</c:v>
                </c:pt>
                <c:pt idx="532">
                  <c:v>0.1</c:v>
                </c:pt>
                <c:pt idx="533">
                  <c:v>0.86</c:v>
                </c:pt>
                <c:pt idx="534">
                  <c:v>0.85</c:v>
                </c:pt>
                <c:pt idx="535">
                  <c:v>0.96</c:v>
                </c:pt>
                <c:pt idx="536">
                  <c:v>0.66</c:v>
                </c:pt>
                <c:pt idx="537">
                  <c:v>0.44</c:v>
                </c:pt>
                <c:pt idx="538">
                  <c:v>0.98</c:v>
                </c:pt>
                <c:pt idx="539">
                  <c:v>0.64</c:v>
                </c:pt>
                <c:pt idx="540">
                  <c:v>0.93</c:v>
                </c:pt>
                <c:pt idx="541">
                  <c:v>0.94</c:v>
                </c:pt>
                <c:pt idx="542">
                  <c:v>0.75</c:v>
                </c:pt>
                <c:pt idx="543">
                  <c:v>0.84</c:v>
                </c:pt>
                <c:pt idx="544">
                  <c:v>0.19</c:v>
                </c:pt>
                <c:pt idx="545">
                  <c:v>0.88</c:v>
                </c:pt>
                <c:pt idx="546">
                  <c:v>0.78</c:v>
                </c:pt>
                <c:pt idx="547">
                  <c:v>0.34</c:v>
                </c:pt>
                <c:pt idx="548">
                  <c:v>0.98</c:v>
                </c:pt>
                <c:pt idx="549">
                  <c:v>0.94</c:v>
                </c:pt>
                <c:pt idx="550">
                  <c:v>0.12</c:v>
                </c:pt>
                <c:pt idx="551">
                  <c:v>0.26</c:v>
                </c:pt>
                <c:pt idx="552">
                  <c:v>0.31</c:v>
                </c:pt>
                <c:pt idx="553">
                  <c:v>0.76</c:v>
                </c:pt>
                <c:pt idx="554">
                  <c:v>0.94</c:v>
                </c:pt>
                <c:pt idx="555">
                  <c:v>0.64</c:v>
                </c:pt>
                <c:pt idx="556">
                  <c:v>0.95</c:v>
                </c:pt>
                <c:pt idx="557">
                  <c:v>0.47</c:v>
                </c:pt>
                <c:pt idx="558">
                  <c:v>0.61</c:v>
                </c:pt>
                <c:pt idx="559">
                  <c:v>0.91</c:v>
                </c:pt>
                <c:pt idx="560">
                  <c:v>0.77</c:v>
                </c:pt>
                <c:pt idx="561">
                  <c:v>0.68</c:v>
                </c:pt>
                <c:pt idx="562">
                  <c:v>0.44</c:v>
                </c:pt>
                <c:pt idx="563">
                  <c:v>0.29</c:v>
                </c:pt>
                <c:pt idx="564">
                  <c:v>0.36</c:v>
                </c:pt>
                <c:pt idx="565">
                  <c:v>0.28</c:v>
                </c:pt>
                <c:pt idx="566">
                  <c:v>0.98</c:v>
                </c:pt>
                <c:pt idx="567">
                  <c:v>0.81</c:v>
                </c:pt>
                <c:pt idx="568">
                  <c:v>0.23</c:v>
                </c:pt>
                <c:pt idx="569">
                  <c:v>0.41</c:v>
                </c:pt>
                <c:pt idx="570">
                  <c:v>0.93</c:v>
                </c:pt>
                <c:pt idx="571">
                  <c:v>0.95</c:v>
                </c:pt>
                <c:pt idx="572">
                  <c:v>0.87</c:v>
                </c:pt>
                <c:pt idx="573">
                  <c:v>0.22</c:v>
                </c:pt>
                <c:pt idx="574">
                  <c:v>0.5</c:v>
                </c:pt>
                <c:pt idx="575">
                  <c:v>0.89</c:v>
                </c:pt>
                <c:pt idx="576">
                  <c:v>0.8</c:v>
                </c:pt>
                <c:pt idx="577">
                  <c:v>0.92</c:v>
                </c:pt>
                <c:pt idx="578">
                  <c:v>0.76</c:v>
                </c:pt>
                <c:pt idx="579">
                  <c:v>0.58</c:v>
                </c:pt>
                <c:pt idx="580">
                  <c:v>0.73</c:v>
                </c:pt>
                <c:pt idx="581">
                  <c:v>0.85</c:v>
                </c:pt>
                <c:pt idx="582">
                  <c:v>0.2</c:v>
                </c:pt>
                <c:pt idx="583">
                  <c:v>0.36</c:v>
                </c:pt>
                <c:pt idx="584">
                  <c:v>0.92</c:v>
                </c:pt>
                <c:pt idx="585">
                  <c:v>0.9</c:v>
                </c:pt>
                <c:pt idx="586">
                  <c:v>0.73</c:v>
                </c:pt>
                <c:pt idx="587">
                  <c:v>0.54</c:v>
                </c:pt>
                <c:pt idx="588">
                  <c:v>0.85</c:v>
                </c:pt>
                <c:pt idx="589">
                  <c:v>0.59</c:v>
                </c:pt>
                <c:pt idx="590">
                  <c:v>0.95</c:v>
                </c:pt>
                <c:pt idx="591">
                  <c:v>0.97</c:v>
                </c:pt>
                <c:pt idx="592">
                  <c:v>0.79</c:v>
                </c:pt>
                <c:pt idx="593">
                  <c:v>0.29</c:v>
                </c:pt>
                <c:pt idx="594">
                  <c:v>0.18</c:v>
                </c:pt>
                <c:pt idx="595">
                  <c:v>0.92</c:v>
                </c:pt>
                <c:pt idx="596">
                  <c:v>0.6</c:v>
                </c:pt>
                <c:pt idx="597">
                  <c:v>0.19</c:v>
                </c:pt>
                <c:pt idx="598">
                  <c:v>0.94</c:v>
                </c:pt>
                <c:pt idx="599">
                  <c:v>0.97</c:v>
                </c:pt>
                <c:pt idx="600">
                  <c:v>0.22</c:v>
                </c:pt>
                <c:pt idx="601">
                  <c:v>0.94</c:v>
                </c:pt>
                <c:pt idx="602">
                  <c:v>0.51</c:v>
                </c:pt>
                <c:pt idx="603">
                  <c:v>0.15</c:v>
                </c:pt>
                <c:pt idx="604">
                  <c:v>0.61</c:v>
                </c:pt>
                <c:pt idx="605">
                  <c:v>0.09</c:v>
                </c:pt>
                <c:pt idx="606">
                  <c:v>0.86</c:v>
                </c:pt>
                <c:pt idx="607">
                  <c:v>0.86</c:v>
                </c:pt>
                <c:pt idx="608">
                  <c:v>0.06</c:v>
                </c:pt>
                <c:pt idx="609">
                  <c:v>0.56</c:v>
                </c:pt>
                <c:pt idx="610">
                  <c:v>0.98</c:v>
                </c:pt>
                <c:pt idx="611">
                  <c:v>0.9</c:v>
                </c:pt>
                <c:pt idx="612">
                  <c:v>0.97</c:v>
                </c:pt>
                <c:pt idx="613">
                  <c:v>0.59</c:v>
                </c:pt>
                <c:pt idx="614">
                  <c:v>0.74</c:v>
                </c:pt>
                <c:pt idx="615">
                  <c:v>0.24</c:v>
                </c:pt>
                <c:pt idx="616">
                  <c:v>0.07</c:v>
                </c:pt>
                <c:pt idx="617">
                  <c:v>0.17</c:v>
                </c:pt>
                <c:pt idx="618">
                  <c:v>0.97</c:v>
                </c:pt>
                <c:pt idx="619">
                  <c:v>0.74</c:v>
                </c:pt>
                <c:pt idx="620">
                  <c:v>0.84</c:v>
                </c:pt>
                <c:pt idx="621">
                  <c:v>0.2</c:v>
                </c:pt>
                <c:pt idx="622">
                  <c:v>0.17</c:v>
                </c:pt>
                <c:pt idx="623">
                  <c:v>0.16</c:v>
                </c:pt>
                <c:pt idx="624">
                  <c:v>0.78</c:v>
                </c:pt>
                <c:pt idx="625">
                  <c:v>0.3</c:v>
                </c:pt>
                <c:pt idx="626">
                  <c:v>0.16</c:v>
                </c:pt>
                <c:pt idx="627">
                  <c:v>0.98</c:v>
                </c:pt>
                <c:pt idx="628">
                  <c:v>0.16</c:v>
                </c:pt>
                <c:pt idx="629">
                  <c:v>0.27</c:v>
                </c:pt>
                <c:pt idx="630">
                  <c:v>0.2</c:v>
                </c:pt>
                <c:pt idx="631">
                  <c:v>0.11</c:v>
                </c:pt>
                <c:pt idx="632">
                  <c:v>0.6</c:v>
                </c:pt>
                <c:pt idx="633">
                  <c:v>0.22</c:v>
                </c:pt>
                <c:pt idx="634">
                  <c:v>0.17</c:v>
                </c:pt>
                <c:pt idx="635">
                  <c:v>0.09</c:v>
                </c:pt>
                <c:pt idx="636">
                  <c:v>0.55</c:v>
                </c:pt>
                <c:pt idx="637">
                  <c:v>0.76</c:v>
                </c:pt>
                <c:pt idx="638">
                  <c:v>0.06</c:v>
                </c:pt>
                <c:pt idx="639">
                  <c:v>0.14</c:v>
                </c:pt>
                <c:pt idx="640">
                  <c:v>0.49</c:v>
                </c:pt>
                <c:pt idx="641">
                  <c:v>0.98</c:v>
                </c:pt>
                <c:pt idx="642">
                  <c:v>0.97</c:v>
                </c:pt>
                <c:pt idx="643">
                  <c:v>0.12</c:v>
                </c:pt>
                <c:pt idx="644">
                  <c:v>0.89</c:v>
                </c:pt>
                <c:pt idx="645">
                  <c:v>0.88</c:v>
                </c:pt>
                <c:pt idx="646">
                  <c:v>0.59</c:v>
                </c:pt>
                <c:pt idx="647">
                  <c:v>0.97</c:v>
                </c:pt>
                <c:pt idx="648">
                  <c:v>0.66</c:v>
                </c:pt>
                <c:pt idx="649">
                  <c:v>0.6</c:v>
                </c:pt>
                <c:pt idx="650">
                  <c:v>0.72</c:v>
                </c:pt>
                <c:pt idx="651">
                  <c:v>0.48</c:v>
                </c:pt>
                <c:pt idx="652">
                  <c:v>0.46</c:v>
                </c:pt>
                <c:pt idx="653">
                  <c:v>0.27</c:v>
                </c:pt>
                <c:pt idx="654">
                  <c:v>0.36</c:v>
                </c:pt>
                <c:pt idx="655">
                  <c:v>0.71</c:v>
                </c:pt>
                <c:pt idx="656">
                  <c:v>0.84</c:v>
                </c:pt>
                <c:pt idx="657">
                  <c:v>0.65</c:v>
                </c:pt>
                <c:pt idx="658">
                  <c:v>0.15</c:v>
                </c:pt>
                <c:pt idx="659">
                  <c:v>0.73</c:v>
                </c:pt>
                <c:pt idx="660">
                  <c:v>0.12</c:v>
                </c:pt>
                <c:pt idx="661">
                  <c:v>0.42</c:v>
                </c:pt>
                <c:pt idx="662">
                  <c:v>0.72</c:v>
                </c:pt>
                <c:pt idx="663">
                  <c:v>0.22</c:v>
                </c:pt>
                <c:pt idx="664">
                  <c:v>0.8</c:v>
                </c:pt>
                <c:pt idx="665">
                  <c:v>0.06</c:v>
                </c:pt>
                <c:pt idx="666">
                  <c:v>0.85</c:v>
                </c:pt>
                <c:pt idx="667">
                  <c:v>0.8</c:v>
                </c:pt>
                <c:pt idx="668">
                  <c:v>0.43</c:v>
                </c:pt>
                <c:pt idx="669">
                  <c:v>0.09</c:v>
                </c:pt>
                <c:pt idx="670">
                  <c:v>0.64</c:v>
                </c:pt>
                <c:pt idx="671">
                  <c:v>0.23</c:v>
                </c:pt>
                <c:pt idx="672">
                  <c:v>0.27</c:v>
                </c:pt>
                <c:pt idx="673">
                  <c:v>0.45</c:v>
                </c:pt>
                <c:pt idx="674">
                  <c:v>0.38</c:v>
                </c:pt>
                <c:pt idx="675">
                  <c:v>0.69</c:v>
                </c:pt>
                <c:pt idx="676">
                  <c:v>0.94</c:v>
                </c:pt>
                <c:pt idx="677">
                  <c:v>0.95</c:v>
                </c:pt>
                <c:pt idx="678">
                  <c:v>0.69</c:v>
                </c:pt>
                <c:pt idx="679">
                  <c:v>0.31</c:v>
                </c:pt>
                <c:pt idx="680">
                  <c:v>0.83</c:v>
                </c:pt>
                <c:pt idx="681">
                  <c:v>0.1</c:v>
                </c:pt>
                <c:pt idx="682">
                  <c:v>0.33</c:v>
                </c:pt>
                <c:pt idx="683">
                  <c:v>0.7</c:v>
                </c:pt>
                <c:pt idx="684">
                  <c:v>0.84</c:v>
                </c:pt>
                <c:pt idx="685">
                  <c:v>0.5</c:v>
                </c:pt>
                <c:pt idx="686">
                  <c:v>0.86</c:v>
                </c:pt>
                <c:pt idx="687">
                  <c:v>0.59</c:v>
                </c:pt>
                <c:pt idx="688">
                  <c:v>0.56</c:v>
                </c:pt>
                <c:pt idx="689">
                  <c:v>0.96</c:v>
                </c:pt>
                <c:pt idx="690">
                  <c:v>0.77</c:v>
                </c:pt>
                <c:pt idx="691">
                  <c:v>0.61</c:v>
                </c:pt>
                <c:pt idx="692">
                  <c:v>0.54</c:v>
                </c:pt>
                <c:pt idx="693">
                  <c:v>0.31</c:v>
                </c:pt>
                <c:pt idx="694">
                  <c:v>0.22</c:v>
                </c:pt>
                <c:pt idx="695">
                  <c:v>0.17</c:v>
                </c:pt>
                <c:pt idx="696">
                  <c:v>0.35</c:v>
                </c:pt>
                <c:pt idx="697">
                  <c:v>0.7</c:v>
                </c:pt>
                <c:pt idx="698">
                  <c:v>0.86</c:v>
                </c:pt>
                <c:pt idx="699">
                  <c:v>0.15</c:v>
                </c:pt>
                <c:pt idx="700">
                  <c:v>0.64</c:v>
                </c:pt>
                <c:pt idx="701">
                  <c:v>0.15</c:v>
                </c:pt>
                <c:pt idx="702">
                  <c:v>0.73</c:v>
                </c:pt>
                <c:pt idx="703">
                  <c:v>0.2</c:v>
                </c:pt>
                <c:pt idx="704">
                  <c:v>0.2</c:v>
                </c:pt>
                <c:pt idx="705">
                  <c:v>0.31</c:v>
                </c:pt>
                <c:pt idx="706">
                  <c:v>0.75</c:v>
                </c:pt>
                <c:pt idx="707">
                  <c:v>0.51</c:v>
                </c:pt>
                <c:pt idx="708">
                  <c:v>0.73</c:v>
                </c:pt>
                <c:pt idx="709">
                  <c:v>0.11</c:v>
                </c:pt>
                <c:pt idx="710">
                  <c:v>0.31</c:v>
                </c:pt>
                <c:pt idx="711">
                  <c:v>0.25</c:v>
                </c:pt>
                <c:pt idx="712">
                  <c:v>0.28</c:v>
                </c:pt>
                <c:pt idx="713">
                  <c:v>0.26</c:v>
                </c:pt>
                <c:pt idx="714">
                  <c:v>0.16</c:v>
                </c:pt>
                <c:pt idx="715">
                  <c:v>0.11</c:v>
                </c:pt>
                <c:pt idx="716">
                  <c:v>0.17</c:v>
                </c:pt>
                <c:pt idx="717">
                  <c:v>0.82</c:v>
                </c:pt>
                <c:pt idx="718">
                  <c:v>0.45</c:v>
                </c:pt>
                <c:pt idx="719">
                  <c:v>0.2</c:v>
                </c:pt>
                <c:pt idx="720">
                  <c:v>0.41</c:v>
                </c:pt>
                <c:pt idx="721">
                  <c:v>0.68</c:v>
                </c:pt>
                <c:pt idx="722">
                  <c:v>0.93</c:v>
                </c:pt>
                <c:pt idx="723">
                  <c:v>0.32</c:v>
                </c:pt>
                <c:pt idx="724">
                  <c:v>0.9</c:v>
                </c:pt>
                <c:pt idx="725">
                  <c:v>0.14</c:v>
                </c:pt>
                <c:pt idx="726">
                  <c:v>0.25</c:v>
                </c:pt>
                <c:pt idx="727">
                  <c:v>0.16</c:v>
                </c:pt>
                <c:pt idx="728">
                  <c:v>0.1</c:v>
                </c:pt>
                <c:pt idx="729">
                  <c:v>0.21</c:v>
                </c:pt>
                <c:pt idx="730">
                  <c:v>0.09</c:v>
                </c:pt>
                <c:pt idx="731">
                  <c:v>0.08</c:v>
                </c:pt>
                <c:pt idx="732">
                  <c:v>0.18</c:v>
                </c:pt>
                <c:pt idx="733">
                  <c:v>0.32</c:v>
                </c:pt>
                <c:pt idx="734">
                  <c:v>0.08</c:v>
                </c:pt>
                <c:pt idx="735">
                  <c:v>0.63</c:v>
                </c:pt>
                <c:pt idx="736">
                  <c:v>0.84</c:v>
                </c:pt>
                <c:pt idx="737">
                  <c:v>0.19</c:v>
                </c:pt>
                <c:pt idx="738">
                  <c:v>0.05</c:v>
                </c:pt>
                <c:pt idx="739">
                  <c:v>0.66</c:v>
                </c:pt>
                <c:pt idx="740">
                  <c:v>0.11</c:v>
                </c:pt>
                <c:pt idx="741">
                  <c:v>0.22</c:v>
                </c:pt>
                <c:pt idx="742">
                  <c:v>0.43</c:v>
                </c:pt>
                <c:pt idx="743">
                  <c:v>0.25</c:v>
                </c:pt>
                <c:pt idx="744">
                  <c:v>0.18</c:v>
                </c:pt>
                <c:pt idx="745">
                  <c:v>0.08</c:v>
                </c:pt>
                <c:pt idx="746">
                  <c:v>0.36</c:v>
                </c:pt>
                <c:pt idx="747">
                  <c:v>0.05</c:v>
                </c:pt>
                <c:pt idx="748">
                  <c:v>0.11</c:v>
                </c:pt>
                <c:pt idx="749">
                  <c:v>0.16</c:v>
                </c:pt>
                <c:pt idx="750">
                  <c:v>0.16</c:v>
                </c:pt>
                <c:pt idx="751">
                  <c:v>0.37</c:v>
                </c:pt>
                <c:pt idx="752">
                  <c:v>0.82</c:v>
                </c:pt>
                <c:pt idx="753">
                  <c:v>0.17</c:v>
                </c:pt>
                <c:pt idx="754">
                  <c:v>0.08</c:v>
                </c:pt>
                <c:pt idx="755">
                  <c:v>0.08</c:v>
                </c:pt>
                <c:pt idx="756">
                  <c:v>0.14</c:v>
                </c:pt>
                <c:pt idx="757">
                  <c:v>0.18</c:v>
                </c:pt>
                <c:pt idx="758">
                  <c:v>0.05</c:v>
                </c:pt>
                <c:pt idx="759">
                  <c:v>0.12</c:v>
                </c:pt>
                <c:pt idx="760">
                  <c:v>0.91</c:v>
                </c:pt>
                <c:pt idx="761">
                  <c:v>0.16</c:v>
                </c:pt>
                <c:pt idx="762">
                  <c:v>0.32</c:v>
                </c:pt>
                <c:pt idx="763">
                  <c:v>0.25</c:v>
                </c:pt>
                <c:pt idx="764">
                  <c:v>0.29</c:v>
                </c:pt>
                <c:pt idx="765">
                  <c:v>0.94</c:v>
                </c:pt>
                <c:pt idx="766">
                  <c:v>0.06</c:v>
                </c:pt>
                <c:pt idx="767">
                  <c:v>0.13</c:v>
                </c:pt>
                <c:pt idx="768">
                  <c:v>0.11</c:v>
                </c:pt>
                <c:pt idx="769">
                  <c:v>0.16</c:v>
                </c:pt>
                <c:pt idx="770">
                  <c:v>0.08</c:v>
                </c:pt>
                <c:pt idx="771">
                  <c:v>0.81</c:v>
                </c:pt>
                <c:pt idx="772">
                  <c:v>0.51</c:v>
                </c:pt>
                <c:pt idx="773">
                  <c:v>0.42</c:v>
                </c:pt>
                <c:pt idx="774">
                  <c:v>0.99</c:v>
                </c:pt>
                <c:pt idx="775">
                  <c:v>0.12</c:v>
                </c:pt>
                <c:pt idx="776">
                  <c:v>0.07</c:v>
                </c:pt>
                <c:pt idx="777">
                  <c:v>0.22</c:v>
                </c:pt>
                <c:pt idx="778">
                  <c:v>0.1</c:v>
                </c:pt>
                <c:pt idx="779">
                  <c:v>0.12</c:v>
                </c:pt>
                <c:pt idx="780">
                  <c:v>0.45</c:v>
                </c:pt>
                <c:pt idx="781">
                  <c:v>0.09</c:v>
                </c:pt>
                <c:pt idx="782">
                  <c:v>0.96</c:v>
                </c:pt>
                <c:pt idx="783">
                  <c:v>0.16</c:v>
                </c:pt>
                <c:pt idx="784">
                  <c:v>0.05</c:v>
                </c:pt>
                <c:pt idx="785">
                  <c:v>0.15</c:v>
                </c:pt>
                <c:pt idx="786">
                  <c:v>0.1</c:v>
                </c:pt>
                <c:pt idx="787">
                  <c:v>0.18</c:v>
                </c:pt>
                <c:pt idx="788">
                  <c:v>0.96</c:v>
                </c:pt>
                <c:pt idx="789">
                  <c:v>0.22</c:v>
                </c:pt>
                <c:pt idx="790">
                  <c:v>0.11</c:v>
                </c:pt>
                <c:pt idx="791">
                  <c:v>0.11</c:v>
                </c:pt>
                <c:pt idx="792">
                  <c:v>0.19</c:v>
                </c:pt>
                <c:pt idx="793">
                  <c:v>0.94</c:v>
                </c:pt>
                <c:pt idx="794">
                  <c:v>0.07</c:v>
                </c:pt>
                <c:pt idx="795">
                  <c:v>0.05</c:v>
                </c:pt>
                <c:pt idx="796">
                  <c:v>0.72</c:v>
                </c:pt>
                <c:pt idx="797">
                  <c:v>0.16</c:v>
                </c:pt>
                <c:pt idx="798">
                  <c:v>0.12</c:v>
                </c:pt>
                <c:pt idx="799">
                  <c:v>0.08</c:v>
                </c:pt>
                <c:pt idx="800">
                  <c:v>0.13</c:v>
                </c:pt>
                <c:pt idx="801">
                  <c:v>0.1</c:v>
                </c:pt>
                <c:pt idx="802">
                  <c:v>0.06</c:v>
                </c:pt>
                <c:pt idx="803">
                  <c:v>0.09</c:v>
                </c:pt>
                <c:pt idx="804">
                  <c:v>0.21</c:v>
                </c:pt>
                <c:pt idx="805">
                  <c:v>0.56</c:v>
                </c:pt>
                <c:pt idx="806">
                  <c:v>0.92</c:v>
                </c:pt>
                <c:pt idx="807">
                  <c:v>0.15</c:v>
                </c:pt>
                <c:pt idx="808">
                  <c:v>0.82</c:v>
                </c:pt>
                <c:pt idx="809">
                  <c:v>0.15</c:v>
                </c:pt>
                <c:pt idx="810">
                  <c:v>0.02</c:v>
                </c:pt>
                <c:pt idx="811">
                  <c:v>0.85</c:v>
                </c:pt>
                <c:pt idx="812">
                  <c:v>0.53</c:v>
                </c:pt>
                <c:pt idx="813">
                  <c:v>0.13</c:v>
                </c:pt>
                <c:pt idx="814">
                  <c:v>0.17</c:v>
                </c:pt>
                <c:pt idx="815">
                  <c:v>0.11</c:v>
                </c:pt>
                <c:pt idx="816">
                  <c:v>0.09</c:v>
                </c:pt>
                <c:pt idx="817">
                  <c:v>0.24</c:v>
                </c:pt>
                <c:pt idx="818">
                  <c:v>0.04</c:v>
                </c:pt>
                <c:pt idx="819">
                  <c:v>0.13</c:v>
                </c:pt>
                <c:pt idx="820">
                  <c:v>0.13</c:v>
                </c:pt>
                <c:pt idx="821">
                  <c:v>0.89</c:v>
                </c:pt>
                <c:pt idx="822">
                  <c:v>0.14</c:v>
                </c:pt>
                <c:pt idx="823">
                  <c:v>0.67</c:v>
                </c:pt>
                <c:pt idx="824">
                  <c:v>0.11</c:v>
                </c:pt>
                <c:pt idx="825">
                  <c:v>0.15</c:v>
                </c:pt>
                <c:pt idx="826">
                  <c:v>0.09</c:v>
                </c:pt>
                <c:pt idx="827">
                  <c:v>0.11</c:v>
                </c:pt>
                <c:pt idx="828">
                  <c:v>0.85</c:v>
                </c:pt>
                <c:pt idx="829">
                  <c:v>0.68</c:v>
                </c:pt>
                <c:pt idx="830">
                  <c:v>0.38</c:v>
                </c:pt>
                <c:pt idx="831">
                  <c:v>0.11</c:v>
                </c:pt>
                <c:pt idx="832">
                  <c:v>0.06</c:v>
                </c:pt>
                <c:pt idx="833">
                  <c:v>0.96</c:v>
                </c:pt>
                <c:pt idx="834">
                  <c:v>0.02</c:v>
                </c:pt>
                <c:pt idx="835">
                  <c:v>0.25</c:v>
                </c:pt>
                <c:pt idx="836">
                  <c:v>0.12</c:v>
                </c:pt>
                <c:pt idx="837">
                  <c:v>0.05</c:v>
                </c:pt>
                <c:pt idx="838">
                  <c:v>0.2</c:v>
                </c:pt>
                <c:pt idx="839">
                  <c:v>0.13</c:v>
                </c:pt>
                <c:pt idx="840">
                  <c:v>0.06</c:v>
                </c:pt>
                <c:pt idx="841">
                  <c:v>0.18</c:v>
                </c:pt>
                <c:pt idx="842">
                  <c:v>0.11</c:v>
                </c:pt>
                <c:pt idx="843">
                  <c:v>0.03</c:v>
                </c:pt>
                <c:pt idx="844">
                  <c:v>0.11</c:v>
                </c:pt>
                <c:pt idx="845">
                  <c:v>0.1</c:v>
                </c:pt>
                <c:pt idx="846">
                  <c:v>0.15</c:v>
                </c:pt>
                <c:pt idx="847">
                  <c:v>0.04</c:v>
                </c:pt>
                <c:pt idx="848">
                  <c:v>0.86</c:v>
                </c:pt>
                <c:pt idx="849">
                  <c:v>0.02</c:v>
                </c:pt>
                <c:pt idx="850">
                  <c:v>0.05</c:v>
                </c:pt>
                <c:pt idx="851">
                  <c:v>0.56</c:v>
                </c:pt>
                <c:pt idx="852">
                  <c:v>0.26</c:v>
                </c:pt>
                <c:pt idx="853">
                  <c:v>0.39</c:v>
                </c:pt>
                <c:pt idx="854">
                  <c:v>0.07</c:v>
                </c:pt>
                <c:pt idx="855">
                  <c:v>0.1</c:v>
                </c:pt>
                <c:pt idx="856">
                  <c:v>0.14</c:v>
                </c:pt>
                <c:pt idx="857">
                  <c:v>0.06</c:v>
                </c:pt>
                <c:pt idx="858">
                  <c:v>0.5</c:v>
                </c:pt>
                <c:pt idx="859">
                  <c:v>0.02</c:v>
                </c:pt>
                <c:pt idx="860">
                  <c:v>0.14</c:v>
                </c:pt>
                <c:pt idx="861">
                  <c:v>0.13</c:v>
                </c:pt>
                <c:pt idx="862">
                  <c:v>0.05</c:v>
                </c:pt>
                <c:pt idx="863">
                  <c:v>0.16</c:v>
                </c:pt>
                <c:pt idx="864">
                  <c:v>0.08</c:v>
                </c:pt>
                <c:pt idx="865">
                  <c:v>0.16</c:v>
                </c:pt>
                <c:pt idx="866">
                  <c:v>0.09</c:v>
                </c:pt>
                <c:pt idx="867">
                  <c:v>0.84</c:v>
                </c:pt>
                <c:pt idx="868">
                  <c:v>0.31</c:v>
                </c:pt>
                <c:pt idx="869">
                  <c:v>0.92</c:v>
                </c:pt>
                <c:pt idx="870">
                  <c:v>0.08</c:v>
                </c:pt>
                <c:pt idx="871">
                  <c:v>0.73</c:v>
                </c:pt>
                <c:pt idx="872">
                  <c:v>0.14</c:v>
                </c:pt>
                <c:pt idx="873">
                  <c:v>0.37</c:v>
                </c:pt>
                <c:pt idx="874">
                  <c:v>0.15</c:v>
                </c:pt>
                <c:pt idx="875">
                  <c:v>0.06</c:v>
                </c:pt>
                <c:pt idx="876">
                  <c:v>0.8</c:v>
                </c:pt>
                <c:pt idx="877">
                  <c:v>0.07</c:v>
                </c:pt>
                <c:pt idx="878">
                  <c:v>0.18</c:v>
                </c:pt>
                <c:pt idx="879">
                  <c:v>0.07</c:v>
                </c:pt>
                <c:pt idx="880">
                  <c:v>0.07</c:v>
                </c:pt>
                <c:pt idx="881">
                  <c:v>0.45</c:v>
                </c:pt>
                <c:pt idx="882">
                  <c:v>0.2</c:v>
                </c:pt>
                <c:pt idx="883">
                  <c:v>0.14</c:v>
                </c:pt>
                <c:pt idx="884">
                  <c:v>0.11</c:v>
                </c:pt>
                <c:pt idx="885">
                  <c:v>0.86</c:v>
                </c:pt>
                <c:pt idx="886">
                  <c:v>0.11</c:v>
                </c:pt>
                <c:pt idx="887">
                  <c:v>0.08</c:v>
                </c:pt>
                <c:pt idx="888">
                  <c:v>0.62</c:v>
                </c:pt>
                <c:pt idx="889">
                  <c:v>0.13</c:v>
                </c:pt>
                <c:pt idx="890">
                  <c:v>0.07</c:v>
                </c:pt>
                <c:pt idx="891">
                  <c:v>0.01</c:v>
                </c:pt>
                <c:pt idx="892">
                  <c:v>0.04</c:v>
                </c:pt>
                <c:pt idx="893">
                  <c:v>0.09</c:v>
                </c:pt>
                <c:pt idx="894">
                  <c:v>0.18</c:v>
                </c:pt>
                <c:pt idx="895">
                  <c:v>0.05</c:v>
                </c:pt>
                <c:pt idx="896">
                  <c:v>0.63</c:v>
                </c:pt>
                <c:pt idx="897">
                  <c:v>0.12</c:v>
                </c:pt>
                <c:pt idx="898">
                  <c:v>0.11</c:v>
                </c:pt>
                <c:pt idx="899">
                  <c:v>0.73</c:v>
                </c:pt>
                <c:pt idx="900">
                  <c:v>0.12</c:v>
                </c:pt>
                <c:pt idx="901">
                  <c:v>0.09</c:v>
                </c:pt>
                <c:pt idx="902">
                  <c:v>0.06</c:v>
                </c:pt>
                <c:pt idx="903">
                  <c:v>0.04</c:v>
                </c:pt>
                <c:pt idx="904">
                  <c:v>0.2</c:v>
                </c:pt>
                <c:pt idx="905">
                  <c:v>0.09</c:v>
                </c:pt>
                <c:pt idx="906">
                  <c:v>0.03</c:v>
                </c:pt>
                <c:pt idx="907">
                  <c:v>0.65</c:v>
                </c:pt>
                <c:pt idx="908">
                  <c:v>0.06</c:v>
                </c:pt>
                <c:pt idx="909">
                  <c:v>0.09</c:v>
                </c:pt>
                <c:pt idx="910">
                  <c:v>0.4</c:v>
                </c:pt>
                <c:pt idx="911">
                  <c:v>0.12</c:v>
                </c:pt>
                <c:pt idx="912">
                  <c:v>0.16</c:v>
                </c:pt>
                <c:pt idx="913">
                  <c:v>0.14</c:v>
                </c:pt>
                <c:pt idx="914">
                  <c:v>0.33</c:v>
                </c:pt>
                <c:pt idx="915">
                  <c:v>0.02</c:v>
                </c:pt>
                <c:pt idx="916">
                  <c:v>0.32</c:v>
                </c:pt>
                <c:pt idx="917">
                  <c:v>0.84</c:v>
                </c:pt>
                <c:pt idx="918">
                  <c:v>0.16</c:v>
                </c:pt>
                <c:pt idx="919">
                  <c:v>0.05</c:v>
                </c:pt>
                <c:pt idx="920">
                  <c:v>0.14</c:v>
                </c:pt>
                <c:pt idx="921">
                  <c:v>0.07</c:v>
                </c:pt>
                <c:pt idx="922">
                  <c:v>0.24</c:v>
                </c:pt>
                <c:pt idx="923">
                  <c:v>0.03</c:v>
                </c:pt>
                <c:pt idx="924">
                  <c:v>0.18</c:v>
                </c:pt>
                <c:pt idx="925">
                  <c:v>0.67</c:v>
                </c:pt>
                <c:pt idx="926">
                  <c:v>0.07</c:v>
                </c:pt>
                <c:pt idx="927">
                  <c:v>0.07</c:v>
                </c:pt>
                <c:pt idx="928">
                  <c:v>0.13</c:v>
                </c:pt>
                <c:pt idx="929">
                  <c:v>0.1</c:v>
                </c:pt>
                <c:pt idx="930">
                  <c:v>0.09</c:v>
                </c:pt>
                <c:pt idx="931">
                  <c:v>0.07</c:v>
                </c:pt>
                <c:pt idx="932">
                  <c:v>0.03</c:v>
                </c:pt>
                <c:pt idx="933">
                  <c:v>0.03</c:v>
                </c:pt>
                <c:pt idx="934">
                  <c:v>0.09</c:v>
                </c:pt>
                <c:pt idx="935">
                  <c:v>0.08</c:v>
                </c:pt>
                <c:pt idx="936">
                  <c:v>0.04</c:v>
                </c:pt>
                <c:pt idx="937">
                  <c:v>0.81</c:v>
                </c:pt>
                <c:pt idx="938">
                  <c:v>0.05</c:v>
                </c:pt>
                <c:pt idx="939">
                  <c:v>0.07</c:v>
                </c:pt>
                <c:pt idx="940">
                  <c:v>0.09</c:v>
                </c:pt>
                <c:pt idx="941">
                  <c:v>0.03</c:v>
                </c:pt>
                <c:pt idx="942">
                  <c:v>0.06</c:v>
                </c:pt>
                <c:pt idx="943">
                  <c:v>0.24</c:v>
                </c:pt>
                <c:pt idx="944">
                  <c:v>0.21</c:v>
                </c:pt>
                <c:pt idx="945">
                  <c:v>0.07</c:v>
                </c:pt>
                <c:pt idx="946">
                  <c:v>0.02</c:v>
                </c:pt>
                <c:pt idx="947">
                  <c:v>0.14</c:v>
                </c:pt>
                <c:pt idx="948">
                  <c:v>0.04</c:v>
                </c:pt>
                <c:pt idx="949">
                  <c:v>0.14</c:v>
                </c:pt>
                <c:pt idx="950">
                  <c:v>0.05</c:v>
                </c:pt>
                <c:pt idx="951">
                  <c:v>0.07</c:v>
                </c:pt>
                <c:pt idx="952">
                  <c:v>0.02</c:v>
                </c:pt>
                <c:pt idx="953">
                  <c:v>0.13</c:v>
                </c:pt>
                <c:pt idx="954">
                  <c:v>0.21</c:v>
                </c:pt>
                <c:pt idx="955">
                  <c:v>0.06</c:v>
                </c:pt>
                <c:pt idx="956">
                  <c:v>0.09</c:v>
                </c:pt>
                <c:pt idx="957">
                  <c:v>0.11</c:v>
                </c:pt>
                <c:pt idx="958">
                  <c:v>0.18</c:v>
                </c:pt>
                <c:pt idx="959">
                  <c:v>0.2</c:v>
                </c:pt>
                <c:pt idx="960">
                  <c:v>0.06</c:v>
                </c:pt>
                <c:pt idx="961">
                  <c:v>0.07</c:v>
                </c:pt>
                <c:pt idx="962">
                  <c:v>0.47</c:v>
                </c:pt>
                <c:pt idx="963">
                  <c:v>0.55</c:v>
                </c:pt>
                <c:pt idx="964">
                  <c:v>0.04</c:v>
                </c:pt>
                <c:pt idx="965">
                  <c:v>0.04</c:v>
                </c:pt>
                <c:pt idx="966">
                  <c:v>0.08</c:v>
                </c:pt>
                <c:pt idx="967">
                  <c:v>0.14</c:v>
                </c:pt>
                <c:pt idx="968">
                  <c:v>0.03</c:v>
                </c:pt>
                <c:pt idx="969">
                  <c:v>0.2</c:v>
                </c:pt>
                <c:pt idx="970">
                  <c:v>0.21</c:v>
                </c:pt>
                <c:pt idx="971">
                  <c:v>0.08</c:v>
                </c:pt>
                <c:pt idx="972">
                  <c:v>0.06</c:v>
                </c:pt>
                <c:pt idx="973">
                  <c:v>0.09</c:v>
                </c:pt>
                <c:pt idx="974">
                  <c:v>0.01</c:v>
                </c:pt>
                <c:pt idx="975">
                  <c:v>0.13</c:v>
                </c:pt>
                <c:pt idx="976">
                  <c:v>0.04</c:v>
                </c:pt>
                <c:pt idx="977">
                  <c:v>0.14</c:v>
                </c:pt>
                <c:pt idx="978">
                  <c:v>0.11</c:v>
                </c:pt>
                <c:pt idx="979">
                  <c:v>0.43</c:v>
                </c:pt>
                <c:pt idx="980">
                  <c:v>0.06</c:v>
                </c:pt>
                <c:pt idx="981">
                  <c:v>0.3</c:v>
                </c:pt>
                <c:pt idx="982">
                  <c:v>0.04</c:v>
                </c:pt>
                <c:pt idx="983">
                  <c:v>0.03</c:v>
                </c:pt>
                <c:pt idx="984">
                  <c:v>0.08</c:v>
                </c:pt>
                <c:pt idx="985">
                  <c:v>0.05</c:v>
                </c:pt>
                <c:pt idx="986">
                  <c:v>0.1</c:v>
                </c:pt>
                <c:pt idx="987">
                  <c:v>0.1</c:v>
                </c:pt>
                <c:pt idx="988">
                  <c:v>0.07</c:v>
                </c:pt>
                <c:pt idx="989">
                  <c:v>0.39</c:v>
                </c:pt>
                <c:pt idx="990">
                  <c:v>0.11</c:v>
                </c:pt>
                <c:pt idx="991">
                  <c:v>0.11</c:v>
                </c:pt>
                <c:pt idx="992">
                  <c:v>0.05</c:v>
                </c:pt>
                <c:pt idx="993">
                  <c:v>0.15</c:v>
                </c:pt>
                <c:pt idx="994">
                  <c:v>0.1</c:v>
                </c:pt>
                <c:pt idx="995">
                  <c:v>0.09</c:v>
                </c:pt>
                <c:pt idx="996">
                  <c:v>0.11</c:v>
                </c:pt>
                <c:pt idx="997">
                  <c:v>0.64</c:v>
                </c:pt>
                <c:pt idx="998">
                  <c:v>0.02</c:v>
                </c:pt>
                <c:pt idx="999">
                  <c:v>0.08</c:v>
                </c:pt>
                <c:pt idx="1000">
                  <c:v>0.04</c:v>
                </c:pt>
                <c:pt idx="1001">
                  <c:v>0.17</c:v>
                </c:pt>
                <c:pt idx="1002">
                  <c:v>0.11</c:v>
                </c:pt>
                <c:pt idx="1003">
                  <c:v>0.09</c:v>
                </c:pt>
                <c:pt idx="1004">
                  <c:v>0.11</c:v>
                </c:pt>
                <c:pt idx="1005">
                  <c:v>0.03</c:v>
                </c:pt>
                <c:pt idx="1006">
                  <c:v>0.06</c:v>
                </c:pt>
                <c:pt idx="1007">
                  <c:v>0.25</c:v>
                </c:pt>
                <c:pt idx="1008">
                  <c:v>0.12</c:v>
                </c:pt>
                <c:pt idx="1009">
                  <c:v>0.11</c:v>
                </c:pt>
                <c:pt idx="1010">
                  <c:v>0.02</c:v>
                </c:pt>
                <c:pt idx="1011">
                  <c:v>0.01</c:v>
                </c:pt>
                <c:pt idx="1012">
                  <c:v>0.09</c:v>
                </c:pt>
                <c:pt idx="1013">
                  <c:v>0.07</c:v>
                </c:pt>
                <c:pt idx="1014">
                  <c:v>0.03</c:v>
                </c:pt>
                <c:pt idx="1015">
                  <c:v>0.08</c:v>
                </c:pt>
                <c:pt idx="1016">
                  <c:v>0.15</c:v>
                </c:pt>
                <c:pt idx="1017">
                  <c:v>0.06</c:v>
                </c:pt>
                <c:pt idx="1018">
                  <c:v>0.02</c:v>
                </c:pt>
                <c:pt idx="1019">
                  <c:v>0.06</c:v>
                </c:pt>
                <c:pt idx="1020">
                  <c:v>0.06</c:v>
                </c:pt>
                <c:pt idx="1021">
                  <c:v>0.26</c:v>
                </c:pt>
                <c:pt idx="1022">
                  <c:v>0.12</c:v>
                </c:pt>
                <c:pt idx="1023">
                  <c:v>0.19</c:v>
                </c:pt>
                <c:pt idx="1024">
                  <c:v>0.06</c:v>
                </c:pt>
                <c:pt idx="1025">
                  <c:v>0.01</c:v>
                </c:pt>
                <c:pt idx="1026">
                  <c:v>0.05</c:v>
                </c:pt>
                <c:pt idx="1027">
                  <c:v>0.11</c:v>
                </c:pt>
                <c:pt idx="1028">
                  <c:v>0.2</c:v>
                </c:pt>
                <c:pt idx="1029">
                  <c:v>0.05</c:v>
                </c:pt>
                <c:pt idx="1030">
                  <c:v>0.02</c:v>
                </c:pt>
                <c:pt idx="1031">
                  <c:v>0.03</c:v>
                </c:pt>
                <c:pt idx="1032">
                  <c:v>0.03</c:v>
                </c:pt>
                <c:pt idx="1033">
                  <c:v>0.5</c:v>
                </c:pt>
                <c:pt idx="1034">
                  <c:v>0.03</c:v>
                </c:pt>
                <c:pt idx="1035">
                  <c:v>0.09</c:v>
                </c:pt>
                <c:pt idx="1036">
                  <c:v>0.17</c:v>
                </c:pt>
                <c:pt idx="1037">
                  <c:v>0.14</c:v>
                </c:pt>
                <c:pt idx="1038">
                  <c:v>0.01</c:v>
                </c:pt>
                <c:pt idx="1039">
                  <c:v>0.13</c:v>
                </c:pt>
                <c:pt idx="1040">
                  <c:v>0.04</c:v>
                </c:pt>
                <c:pt idx="1041">
                  <c:v>0.04</c:v>
                </c:pt>
                <c:pt idx="1042">
                  <c:v>0.03</c:v>
                </c:pt>
                <c:pt idx="1043">
                  <c:v>0.11</c:v>
                </c:pt>
                <c:pt idx="1044">
                  <c:v>0.51</c:v>
                </c:pt>
                <c:pt idx="1045">
                  <c:v>0.02</c:v>
                </c:pt>
                <c:pt idx="1046">
                  <c:v>0.02</c:v>
                </c:pt>
                <c:pt idx="1047">
                  <c:v>0.05</c:v>
                </c:pt>
                <c:pt idx="1048">
                  <c:v>0.03</c:v>
                </c:pt>
                <c:pt idx="1049">
                  <c:v>0.15</c:v>
                </c:pt>
                <c:pt idx="1050">
                  <c:v>0.05</c:v>
                </c:pt>
                <c:pt idx="1051">
                  <c:v>0.03</c:v>
                </c:pt>
                <c:pt idx="1052">
                  <c:v>0.04</c:v>
                </c:pt>
                <c:pt idx="1053">
                  <c:v>0.05</c:v>
                </c:pt>
                <c:pt idx="1054">
                  <c:v>0.07</c:v>
                </c:pt>
                <c:pt idx="1055">
                  <c:v>0.07</c:v>
                </c:pt>
                <c:pt idx="1056">
                  <c:v>0.09</c:v>
                </c:pt>
                <c:pt idx="1057">
                  <c:v>0.14</c:v>
                </c:pt>
                <c:pt idx="1058">
                  <c:v>0.16</c:v>
                </c:pt>
                <c:pt idx="1059">
                  <c:v>0.1</c:v>
                </c:pt>
                <c:pt idx="1060">
                  <c:v>0.06</c:v>
                </c:pt>
                <c:pt idx="1061">
                  <c:v>0.05</c:v>
                </c:pt>
                <c:pt idx="1062">
                  <c:v>0.08</c:v>
                </c:pt>
                <c:pt idx="1063">
                  <c:v>0.05</c:v>
                </c:pt>
                <c:pt idx="1064">
                  <c:v>0.02</c:v>
                </c:pt>
                <c:pt idx="1065">
                  <c:v>0.02</c:v>
                </c:pt>
                <c:pt idx="1066">
                  <c:v>0.05</c:v>
                </c:pt>
                <c:pt idx="1067">
                  <c:v>0.04</c:v>
                </c:pt>
                <c:pt idx="1068">
                  <c:v>0.06</c:v>
                </c:pt>
                <c:pt idx="1069">
                  <c:v>0.08</c:v>
                </c:pt>
                <c:pt idx="1070">
                  <c:v>0.08</c:v>
                </c:pt>
                <c:pt idx="1071">
                  <c:v>0.16</c:v>
                </c:pt>
                <c:pt idx="1072">
                  <c:v>0.01</c:v>
                </c:pt>
                <c:pt idx="1073">
                  <c:v>0.1</c:v>
                </c:pt>
                <c:pt idx="1074">
                  <c:v>0.03</c:v>
                </c:pt>
                <c:pt idx="1075">
                  <c:v>0.05</c:v>
                </c:pt>
                <c:pt idx="1076">
                  <c:v>0.11</c:v>
                </c:pt>
                <c:pt idx="1077">
                  <c:v>0.11</c:v>
                </c:pt>
                <c:pt idx="1078">
                  <c:v>0.05</c:v>
                </c:pt>
                <c:pt idx="1079">
                  <c:v>0.12</c:v>
                </c:pt>
                <c:pt idx="1080">
                  <c:v>0.06</c:v>
                </c:pt>
                <c:pt idx="1081">
                  <c:v>0.08</c:v>
                </c:pt>
                <c:pt idx="1082">
                  <c:v>0.01</c:v>
                </c:pt>
                <c:pt idx="1083">
                  <c:v>0.13</c:v>
                </c:pt>
                <c:pt idx="1084">
                  <c:v>0.03</c:v>
                </c:pt>
                <c:pt idx="1085">
                  <c:v>0.44</c:v>
                </c:pt>
                <c:pt idx="1086">
                  <c:v>0.06</c:v>
                </c:pt>
                <c:pt idx="1087">
                  <c:v>0.03</c:v>
                </c:pt>
                <c:pt idx="1088">
                  <c:v>0.09</c:v>
                </c:pt>
                <c:pt idx="1089">
                  <c:v>0.35</c:v>
                </c:pt>
                <c:pt idx="1090">
                  <c:v>0.02</c:v>
                </c:pt>
                <c:pt idx="1091">
                  <c:v>0.12</c:v>
                </c:pt>
                <c:pt idx="1092">
                  <c:v>0.04</c:v>
                </c:pt>
                <c:pt idx="1093">
                  <c:v>0.09</c:v>
                </c:pt>
                <c:pt idx="1094">
                  <c:v>0.05</c:v>
                </c:pt>
                <c:pt idx="1095">
                  <c:v>0.17</c:v>
                </c:pt>
                <c:pt idx="1096">
                  <c:v>0.07</c:v>
                </c:pt>
                <c:pt idx="1097">
                  <c:v>0.03</c:v>
                </c:pt>
                <c:pt idx="1098">
                  <c:v>0.4</c:v>
                </c:pt>
                <c:pt idx="1099">
                  <c:v>0.22</c:v>
                </c:pt>
                <c:pt idx="1100">
                  <c:v>0.01</c:v>
                </c:pt>
                <c:pt idx="1101">
                  <c:v>0.08</c:v>
                </c:pt>
                <c:pt idx="1102">
                  <c:v>0.09</c:v>
                </c:pt>
                <c:pt idx="1103">
                  <c:v>0.03</c:v>
                </c:pt>
                <c:pt idx="1104">
                  <c:v>0.03</c:v>
                </c:pt>
                <c:pt idx="1105">
                  <c:v>0.13</c:v>
                </c:pt>
                <c:pt idx="1106">
                  <c:v>0.1</c:v>
                </c:pt>
                <c:pt idx="1107">
                  <c:v>0.15</c:v>
                </c:pt>
                <c:pt idx="1108">
                  <c:v>0.16</c:v>
                </c:pt>
                <c:pt idx="1109">
                  <c:v>0.07</c:v>
                </c:pt>
                <c:pt idx="1110">
                  <c:v>0.06</c:v>
                </c:pt>
                <c:pt idx="1111">
                  <c:v>0.02</c:v>
                </c:pt>
                <c:pt idx="1112">
                  <c:v>0.03</c:v>
                </c:pt>
                <c:pt idx="1113">
                  <c:v>0.13</c:v>
                </c:pt>
                <c:pt idx="1114">
                  <c:v>0.08</c:v>
                </c:pt>
                <c:pt idx="1115">
                  <c:v>0.09</c:v>
                </c:pt>
                <c:pt idx="1116">
                  <c:v>0.07</c:v>
                </c:pt>
                <c:pt idx="1117">
                  <c:v>0.06</c:v>
                </c:pt>
                <c:pt idx="1118">
                  <c:v>0.04</c:v>
                </c:pt>
                <c:pt idx="1119">
                  <c:v>0.02</c:v>
                </c:pt>
                <c:pt idx="1120">
                  <c:v>0.04</c:v>
                </c:pt>
                <c:pt idx="1121">
                  <c:v>0.02</c:v>
                </c:pt>
                <c:pt idx="1122">
                  <c:v>0.15</c:v>
                </c:pt>
                <c:pt idx="1123">
                  <c:v>0.04</c:v>
                </c:pt>
                <c:pt idx="1124">
                  <c:v>0.06</c:v>
                </c:pt>
                <c:pt idx="1125">
                  <c:v>0.13</c:v>
                </c:pt>
                <c:pt idx="1126">
                  <c:v>0.07</c:v>
                </c:pt>
                <c:pt idx="1127">
                  <c:v>0.09</c:v>
                </c:pt>
                <c:pt idx="1128">
                  <c:v>0.05</c:v>
                </c:pt>
                <c:pt idx="1129">
                  <c:v>0.15</c:v>
                </c:pt>
                <c:pt idx="1130">
                  <c:v>0.08</c:v>
                </c:pt>
                <c:pt idx="1131">
                  <c:v>0.03</c:v>
                </c:pt>
                <c:pt idx="1132">
                  <c:v>0.03</c:v>
                </c:pt>
                <c:pt idx="1133">
                  <c:v>0.07</c:v>
                </c:pt>
                <c:pt idx="1134">
                  <c:v>0.14</c:v>
                </c:pt>
                <c:pt idx="1135">
                  <c:v>0.03</c:v>
                </c:pt>
                <c:pt idx="1136">
                  <c:v>0.09</c:v>
                </c:pt>
                <c:pt idx="1137">
                  <c:v>0.03</c:v>
                </c:pt>
                <c:pt idx="1138">
                  <c:v>0.01</c:v>
                </c:pt>
                <c:pt idx="1139">
                  <c:v>0.01</c:v>
                </c:pt>
                <c:pt idx="1140">
                  <c:v>0.03</c:v>
                </c:pt>
                <c:pt idx="1141">
                  <c:v>0.07</c:v>
                </c:pt>
                <c:pt idx="1142">
                  <c:v>0.04</c:v>
                </c:pt>
                <c:pt idx="1143">
                  <c:v>0.01</c:v>
                </c:pt>
                <c:pt idx="1144">
                  <c:v>0.1</c:v>
                </c:pt>
                <c:pt idx="1145">
                  <c:v>0.09</c:v>
                </c:pt>
                <c:pt idx="1146">
                  <c:v>0.01</c:v>
                </c:pt>
                <c:pt idx="1147">
                  <c:v>0.01</c:v>
                </c:pt>
                <c:pt idx="1148">
                  <c:v>0.09</c:v>
                </c:pt>
                <c:pt idx="1149">
                  <c:v>0.02</c:v>
                </c:pt>
                <c:pt idx="1150">
                  <c:v>0.04</c:v>
                </c:pt>
                <c:pt idx="1151">
                  <c:v>0.23</c:v>
                </c:pt>
                <c:pt idx="1152">
                  <c:v>0.04</c:v>
                </c:pt>
                <c:pt idx="1153">
                  <c:v>0.06</c:v>
                </c:pt>
                <c:pt idx="1154">
                  <c:v>0.04</c:v>
                </c:pt>
                <c:pt idx="1155">
                  <c:v>0.07</c:v>
                </c:pt>
                <c:pt idx="1156">
                  <c:v>0.21</c:v>
                </c:pt>
                <c:pt idx="1157">
                  <c:v>0.08</c:v>
                </c:pt>
                <c:pt idx="1158">
                  <c:v>0.03</c:v>
                </c:pt>
                <c:pt idx="1159">
                  <c:v>0.06</c:v>
                </c:pt>
                <c:pt idx="1160">
                  <c:v>0.03</c:v>
                </c:pt>
                <c:pt idx="1161">
                  <c:v>0.1</c:v>
                </c:pt>
                <c:pt idx="1162">
                  <c:v>0.05</c:v>
                </c:pt>
                <c:pt idx="1163">
                  <c:v>0.06</c:v>
                </c:pt>
                <c:pt idx="1164">
                  <c:v>0.01</c:v>
                </c:pt>
                <c:pt idx="1165">
                  <c:v>0.07</c:v>
                </c:pt>
                <c:pt idx="1166">
                  <c:v>0.03</c:v>
                </c:pt>
                <c:pt idx="1167">
                  <c:v>0.04</c:v>
                </c:pt>
                <c:pt idx="1168">
                  <c:v>0.12</c:v>
                </c:pt>
                <c:pt idx="1169">
                  <c:v>0.11</c:v>
                </c:pt>
                <c:pt idx="1170">
                  <c:v>0.03</c:v>
                </c:pt>
                <c:pt idx="1171">
                  <c:v>0.03</c:v>
                </c:pt>
                <c:pt idx="1172">
                  <c:v>0.02</c:v>
                </c:pt>
                <c:pt idx="1173">
                  <c:v>0.02</c:v>
                </c:pt>
                <c:pt idx="1174">
                  <c:v>0.11</c:v>
                </c:pt>
                <c:pt idx="1175">
                  <c:v>0.05</c:v>
                </c:pt>
                <c:pt idx="1176">
                  <c:v>0.15</c:v>
                </c:pt>
                <c:pt idx="1177">
                  <c:v>0.03</c:v>
                </c:pt>
                <c:pt idx="1178">
                  <c:v>0.14</c:v>
                </c:pt>
                <c:pt idx="1179">
                  <c:v>0.15</c:v>
                </c:pt>
                <c:pt idx="1180">
                  <c:v>0.06</c:v>
                </c:pt>
                <c:pt idx="1181">
                  <c:v>0.05</c:v>
                </c:pt>
                <c:pt idx="1182">
                  <c:v>0.04</c:v>
                </c:pt>
                <c:pt idx="1183">
                  <c:v>0.09</c:v>
                </c:pt>
                <c:pt idx="1184">
                  <c:v>0.12</c:v>
                </c:pt>
                <c:pt idx="1185">
                  <c:v>0.08</c:v>
                </c:pt>
                <c:pt idx="1186">
                  <c:v>0.02</c:v>
                </c:pt>
                <c:pt idx="1187">
                  <c:v>0.1</c:v>
                </c:pt>
                <c:pt idx="1188">
                  <c:v>0.07</c:v>
                </c:pt>
                <c:pt idx="1189">
                  <c:v>0.03</c:v>
                </c:pt>
                <c:pt idx="1190">
                  <c:v>0.03</c:v>
                </c:pt>
                <c:pt idx="1191">
                  <c:v>0.11</c:v>
                </c:pt>
                <c:pt idx="1192">
                  <c:v>0.04</c:v>
                </c:pt>
                <c:pt idx="1193">
                  <c:v>0.01</c:v>
                </c:pt>
                <c:pt idx="1194">
                  <c:v>0.04</c:v>
                </c:pt>
                <c:pt idx="1195">
                  <c:v>0.06</c:v>
                </c:pt>
                <c:pt idx="1196">
                  <c:v>0.09</c:v>
                </c:pt>
                <c:pt idx="1197">
                  <c:v>0.13</c:v>
                </c:pt>
                <c:pt idx="1198">
                  <c:v>0.01</c:v>
                </c:pt>
                <c:pt idx="1199">
                  <c:v>0.03</c:v>
                </c:pt>
                <c:pt idx="1200">
                  <c:v>0.06</c:v>
                </c:pt>
                <c:pt idx="1201">
                  <c:v>0.06</c:v>
                </c:pt>
                <c:pt idx="1202">
                  <c:v>0.15</c:v>
                </c:pt>
                <c:pt idx="1203">
                  <c:v>0.02</c:v>
                </c:pt>
                <c:pt idx="1204">
                  <c:v>0.04</c:v>
                </c:pt>
                <c:pt idx="1205">
                  <c:v>0.14</c:v>
                </c:pt>
                <c:pt idx="1206">
                  <c:v>0.41</c:v>
                </c:pt>
                <c:pt idx="1207">
                  <c:v>0.13</c:v>
                </c:pt>
                <c:pt idx="1208">
                  <c:v>0.29</c:v>
                </c:pt>
                <c:pt idx="1209">
                  <c:v>0.05</c:v>
                </c:pt>
                <c:pt idx="1210">
                  <c:v>0.06</c:v>
                </c:pt>
                <c:pt idx="1211">
                  <c:v>0.01</c:v>
                </c:pt>
                <c:pt idx="1212">
                  <c:v>0.02</c:v>
                </c:pt>
                <c:pt idx="1213">
                  <c:v>0.03</c:v>
                </c:pt>
                <c:pt idx="1214">
                  <c:v>0.12</c:v>
                </c:pt>
                <c:pt idx="1215">
                  <c:v>0.02</c:v>
                </c:pt>
                <c:pt idx="1216">
                  <c:v>0.04</c:v>
                </c:pt>
                <c:pt idx="1217">
                  <c:v>0.02</c:v>
                </c:pt>
                <c:pt idx="1218">
                  <c:v>0.01</c:v>
                </c:pt>
                <c:pt idx="1219">
                  <c:v>0.06</c:v>
                </c:pt>
                <c:pt idx="1220">
                  <c:v>0.04</c:v>
                </c:pt>
                <c:pt idx="1221">
                  <c:v>0.06</c:v>
                </c:pt>
                <c:pt idx="1222">
                  <c:v>0.02</c:v>
                </c:pt>
                <c:pt idx="1223">
                  <c:v>0.04</c:v>
                </c:pt>
                <c:pt idx="1224">
                  <c:v>0.25</c:v>
                </c:pt>
                <c:pt idx="1225">
                  <c:v>0.07</c:v>
                </c:pt>
                <c:pt idx="1226">
                  <c:v>0.03</c:v>
                </c:pt>
                <c:pt idx="1227">
                  <c:v>0.08</c:v>
                </c:pt>
                <c:pt idx="1228">
                  <c:v>0.06</c:v>
                </c:pt>
                <c:pt idx="1229">
                  <c:v>0.07</c:v>
                </c:pt>
                <c:pt idx="1230">
                  <c:v>0.01</c:v>
                </c:pt>
                <c:pt idx="1231">
                  <c:v>0.1</c:v>
                </c:pt>
                <c:pt idx="1232">
                  <c:v>0.06</c:v>
                </c:pt>
                <c:pt idx="1233">
                  <c:v>0.05</c:v>
                </c:pt>
                <c:pt idx="1234">
                  <c:v>0.09</c:v>
                </c:pt>
                <c:pt idx="1235">
                  <c:v>0.05</c:v>
                </c:pt>
                <c:pt idx="1236">
                  <c:v>0.02</c:v>
                </c:pt>
                <c:pt idx="1237">
                  <c:v>0.13</c:v>
                </c:pt>
                <c:pt idx="1238">
                  <c:v>0.02</c:v>
                </c:pt>
                <c:pt idx="1239">
                  <c:v>0.04</c:v>
                </c:pt>
                <c:pt idx="1240">
                  <c:v>0.01</c:v>
                </c:pt>
                <c:pt idx="1241">
                  <c:v>0.04</c:v>
                </c:pt>
                <c:pt idx="1242">
                  <c:v>0.06</c:v>
                </c:pt>
                <c:pt idx="1243">
                  <c:v>0.03</c:v>
                </c:pt>
                <c:pt idx="1244">
                  <c:v>0.03</c:v>
                </c:pt>
                <c:pt idx="1245">
                  <c:v>0.01</c:v>
                </c:pt>
                <c:pt idx="1246">
                  <c:v>0.05</c:v>
                </c:pt>
                <c:pt idx="1247">
                  <c:v>0.03</c:v>
                </c:pt>
                <c:pt idx="1248">
                  <c:v>0.11</c:v>
                </c:pt>
                <c:pt idx="1249">
                  <c:v>0.01</c:v>
                </c:pt>
                <c:pt idx="1250">
                  <c:v>0.1</c:v>
                </c:pt>
                <c:pt idx="1251">
                  <c:v>0.02</c:v>
                </c:pt>
                <c:pt idx="1252">
                  <c:v>0.08</c:v>
                </c:pt>
                <c:pt idx="1253">
                  <c:v>0.08</c:v>
                </c:pt>
                <c:pt idx="1254">
                  <c:v>0.09</c:v>
                </c:pt>
                <c:pt idx="1255">
                  <c:v>0.01</c:v>
                </c:pt>
                <c:pt idx="1256">
                  <c:v>0.08</c:v>
                </c:pt>
                <c:pt idx="1257">
                  <c:v>0.46</c:v>
                </c:pt>
                <c:pt idx="1258">
                  <c:v>0.01</c:v>
                </c:pt>
                <c:pt idx="1259">
                  <c:v>0.09</c:v>
                </c:pt>
                <c:pt idx="1260">
                  <c:v>0.06</c:v>
                </c:pt>
                <c:pt idx="1261">
                  <c:v>0.09</c:v>
                </c:pt>
                <c:pt idx="1262">
                  <c:v>0.13</c:v>
                </c:pt>
                <c:pt idx="1263">
                  <c:v>0.05</c:v>
                </c:pt>
                <c:pt idx="1264">
                  <c:v>0.01</c:v>
                </c:pt>
                <c:pt idx="1265">
                  <c:v>0.02</c:v>
                </c:pt>
                <c:pt idx="1266">
                  <c:v>0.03</c:v>
                </c:pt>
                <c:pt idx="1267">
                  <c:v>0.08</c:v>
                </c:pt>
                <c:pt idx="1268">
                  <c:v>0.09</c:v>
                </c:pt>
                <c:pt idx="1269">
                  <c:v>0.03</c:v>
                </c:pt>
                <c:pt idx="1270">
                  <c:v>0.02</c:v>
                </c:pt>
                <c:pt idx="1271">
                  <c:v>0.01</c:v>
                </c:pt>
                <c:pt idx="1272">
                  <c:v>0.03</c:v>
                </c:pt>
                <c:pt idx="1273">
                  <c:v>0.12</c:v>
                </c:pt>
                <c:pt idx="1274">
                  <c:v>0.04</c:v>
                </c:pt>
                <c:pt idx="1275">
                  <c:v>0.03</c:v>
                </c:pt>
                <c:pt idx="1276">
                  <c:v>0.01</c:v>
                </c:pt>
                <c:pt idx="1277">
                  <c:v>0.1</c:v>
                </c:pt>
                <c:pt idx="1278">
                  <c:v>0.1</c:v>
                </c:pt>
                <c:pt idx="1279">
                  <c:v>0.03</c:v>
                </c:pt>
                <c:pt idx="1280">
                  <c:v>0.03</c:v>
                </c:pt>
                <c:pt idx="1281">
                  <c:v>0.02</c:v>
                </c:pt>
                <c:pt idx="1282">
                  <c:v>0.05</c:v>
                </c:pt>
                <c:pt idx="1283">
                  <c:v>0.04</c:v>
                </c:pt>
                <c:pt idx="1284">
                  <c:v>0.02</c:v>
                </c:pt>
                <c:pt idx="1285">
                  <c:v>0.06</c:v>
                </c:pt>
                <c:pt idx="1286">
                  <c:v>0.01</c:v>
                </c:pt>
                <c:pt idx="1287">
                  <c:v>0.04</c:v>
                </c:pt>
                <c:pt idx="1288">
                  <c:v>0.08</c:v>
                </c:pt>
                <c:pt idx="1289">
                  <c:v>0.1</c:v>
                </c:pt>
                <c:pt idx="1290">
                  <c:v>0.12</c:v>
                </c:pt>
                <c:pt idx="1291">
                  <c:v>0.02</c:v>
                </c:pt>
                <c:pt idx="1292">
                  <c:v>0.01</c:v>
                </c:pt>
                <c:pt idx="1293">
                  <c:v>0.01</c:v>
                </c:pt>
                <c:pt idx="1294">
                  <c:v>0.02</c:v>
                </c:pt>
                <c:pt idx="1295">
                  <c:v>0.02</c:v>
                </c:pt>
                <c:pt idx="1296">
                  <c:v>0.03</c:v>
                </c:pt>
                <c:pt idx="1297">
                  <c:v>0.02</c:v>
                </c:pt>
                <c:pt idx="1298">
                  <c:v>0.11</c:v>
                </c:pt>
                <c:pt idx="1299">
                  <c:v>0.04</c:v>
                </c:pt>
                <c:pt idx="1300">
                  <c:v>0.12</c:v>
                </c:pt>
                <c:pt idx="1301">
                  <c:v>0.09</c:v>
                </c:pt>
                <c:pt idx="1302">
                  <c:v>0.1</c:v>
                </c:pt>
                <c:pt idx="1303">
                  <c:v>0.04</c:v>
                </c:pt>
                <c:pt idx="1304">
                  <c:v>0.04</c:v>
                </c:pt>
                <c:pt idx="1305">
                  <c:v>0.02</c:v>
                </c:pt>
                <c:pt idx="1306">
                  <c:v>0.07</c:v>
                </c:pt>
                <c:pt idx="1307">
                  <c:v>0.12</c:v>
                </c:pt>
                <c:pt idx="1308">
                  <c:v>0.09</c:v>
                </c:pt>
                <c:pt idx="1309">
                  <c:v>0.05</c:v>
                </c:pt>
                <c:pt idx="1310">
                  <c:v>0.02</c:v>
                </c:pt>
                <c:pt idx="1311">
                  <c:v>0.01</c:v>
                </c:pt>
                <c:pt idx="1312">
                  <c:v>0.04</c:v>
                </c:pt>
                <c:pt idx="1313">
                  <c:v>0.02</c:v>
                </c:pt>
                <c:pt idx="1314">
                  <c:v>0.01</c:v>
                </c:pt>
                <c:pt idx="1315">
                  <c:v>0.02</c:v>
                </c:pt>
                <c:pt idx="1316">
                  <c:v>0.03</c:v>
                </c:pt>
                <c:pt idx="1317">
                  <c:v>0.04</c:v>
                </c:pt>
                <c:pt idx="1318">
                  <c:v>0.02</c:v>
                </c:pt>
                <c:pt idx="1319">
                  <c:v>0.03</c:v>
                </c:pt>
                <c:pt idx="1320">
                  <c:v>0.04</c:v>
                </c:pt>
                <c:pt idx="1321">
                  <c:v>0.03</c:v>
                </c:pt>
                <c:pt idx="1322">
                  <c:v>0.04</c:v>
                </c:pt>
                <c:pt idx="1323">
                  <c:v>0.02</c:v>
                </c:pt>
                <c:pt idx="1324">
                  <c:v>0.06</c:v>
                </c:pt>
                <c:pt idx="1325">
                  <c:v>0.01</c:v>
                </c:pt>
                <c:pt idx="1326">
                  <c:v>0.01</c:v>
                </c:pt>
                <c:pt idx="1327">
                  <c:v>0.03</c:v>
                </c:pt>
                <c:pt idx="1328">
                  <c:v>0.03</c:v>
                </c:pt>
                <c:pt idx="1329">
                  <c:v>0.1</c:v>
                </c:pt>
                <c:pt idx="1330">
                  <c:v>0.04</c:v>
                </c:pt>
                <c:pt idx="1331">
                  <c:v>0.02</c:v>
                </c:pt>
                <c:pt idx="1332">
                  <c:v>0.06</c:v>
                </c:pt>
                <c:pt idx="1333">
                  <c:v>0.05</c:v>
                </c:pt>
                <c:pt idx="1334">
                  <c:v>0.03</c:v>
                </c:pt>
                <c:pt idx="1335">
                  <c:v>0.02</c:v>
                </c:pt>
                <c:pt idx="1336">
                  <c:v>0.02</c:v>
                </c:pt>
                <c:pt idx="1337">
                  <c:v>0.03</c:v>
                </c:pt>
                <c:pt idx="1338">
                  <c:v>0.09</c:v>
                </c:pt>
                <c:pt idx="1339">
                  <c:v>0.03</c:v>
                </c:pt>
                <c:pt idx="1340">
                  <c:v>0.06</c:v>
                </c:pt>
                <c:pt idx="1341">
                  <c:v>0.02</c:v>
                </c:pt>
                <c:pt idx="1342">
                  <c:v>0.04</c:v>
                </c:pt>
                <c:pt idx="1343">
                  <c:v>0.07</c:v>
                </c:pt>
                <c:pt idx="1344">
                  <c:v>0.04</c:v>
                </c:pt>
                <c:pt idx="1345">
                  <c:v>0.03</c:v>
                </c:pt>
                <c:pt idx="1346">
                  <c:v>0.06</c:v>
                </c:pt>
                <c:pt idx="1347">
                  <c:v>0.04</c:v>
                </c:pt>
                <c:pt idx="1348">
                  <c:v>0.09</c:v>
                </c:pt>
                <c:pt idx="1349">
                  <c:v>0.05</c:v>
                </c:pt>
                <c:pt idx="1350">
                  <c:v>0.03</c:v>
                </c:pt>
                <c:pt idx="1351">
                  <c:v>0.02</c:v>
                </c:pt>
                <c:pt idx="1352">
                  <c:v>0.03</c:v>
                </c:pt>
                <c:pt idx="1353">
                  <c:v>0.06</c:v>
                </c:pt>
                <c:pt idx="1354">
                  <c:v>0.04</c:v>
                </c:pt>
                <c:pt idx="1355">
                  <c:v>0.04</c:v>
                </c:pt>
                <c:pt idx="1356">
                  <c:v>0.03</c:v>
                </c:pt>
                <c:pt idx="1357">
                  <c:v>0.03</c:v>
                </c:pt>
                <c:pt idx="1358">
                  <c:v>0.04</c:v>
                </c:pt>
                <c:pt idx="1359">
                  <c:v>0.02</c:v>
                </c:pt>
                <c:pt idx="1360">
                  <c:v>0.01</c:v>
                </c:pt>
                <c:pt idx="1361">
                  <c:v>0.02</c:v>
                </c:pt>
                <c:pt idx="1362">
                  <c:v>0.02</c:v>
                </c:pt>
                <c:pt idx="1363">
                  <c:v>0.02</c:v>
                </c:pt>
                <c:pt idx="1364">
                  <c:v>0.01</c:v>
                </c:pt>
                <c:pt idx="1365">
                  <c:v>0.01</c:v>
                </c:pt>
                <c:pt idx="1366">
                  <c:v>0.02</c:v>
                </c:pt>
                <c:pt idx="1367">
                  <c:v>0.11</c:v>
                </c:pt>
                <c:pt idx="1368">
                  <c:v>0.07</c:v>
                </c:pt>
                <c:pt idx="1369">
                  <c:v>0.01</c:v>
                </c:pt>
                <c:pt idx="1370">
                  <c:v>0.02</c:v>
                </c:pt>
                <c:pt idx="1371">
                  <c:v>0.04</c:v>
                </c:pt>
                <c:pt idx="1372">
                  <c:v>0.03</c:v>
                </c:pt>
                <c:pt idx="1373">
                  <c:v>0.04</c:v>
                </c:pt>
                <c:pt idx="1374">
                  <c:v>0.03</c:v>
                </c:pt>
                <c:pt idx="1375">
                  <c:v>0.02</c:v>
                </c:pt>
                <c:pt idx="1376">
                  <c:v>0.02</c:v>
                </c:pt>
                <c:pt idx="1377">
                  <c:v>0.02</c:v>
                </c:pt>
                <c:pt idx="1378">
                  <c:v>0.01</c:v>
                </c:pt>
                <c:pt idx="1379">
                  <c:v>0.01</c:v>
                </c:pt>
                <c:pt idx="1380">
                  <c:v>0.05</c:v>
                </c:pt>
                <c:pt idx="1381">
                  <c:v>0.02</c:v>
                </c:pt>
                <c:pt idx="1382">
                  <c:v>0.01</c:v>
                </c:pt>
                <c:pt idx="1383">
                  <c:v>0.03</c:v>
                </c:pt>
                <c:pt idx="1384">
                  <c:v>0.01</c:v>
                </c:pt>
                <c:pt idx="1385">
                  <c:v>0.03</c:v>
                </c:pt>
                <c:pt idx="1386">
                  <c:v>0.09</c:v>
                </c:pt>
                <c:pt idx="1387">
                  <c:v>0.07</c:v>
                </c:pt>
                <c:pt idx="1388">
                  <c:v>0.02</c:v>
                </c:pt>
                <c:pt idx="1389">
                  <c:v>0.01</c:v>
                </c:pt>
                <c:pt idx="1390">
                  <c:v>0.01</c:v>
                </c:pt>
                <c:pt idx="1391">
                  <c:v>0.02</c:v>
                </c:pt>
                <c:pt idx="1392">
                  <c:v>0.06</c:v>
                </c:pt>
                <c:pt idx="1393">
                  <c:v>0.01</c:v>
                </c:pt>
                <c:pt idx="1394">
                  <c:v>0.04</c:v>
                </c:pt>
                <c:pt idx="1395">
                  <c:v>0.02</c:v>
                </c:pt>
                <c:pt idx="1396">
                  <c:v>0.01</c:v>
                </c:pt>
                <c:pt idx="1397">
                  <c:v>0.03</c:v>
                </c:pt>
                <c:pt idx="1398">
                  <c:v>0.04</c:v>
                </c:pt>
                <c:pt idx="1399">
                  <c:v>0.03</c:v>
                </c:pt>
                <c:pt idx="1400">
                  <c:v>0.01</c:v>
                </c:pt>
                <c:pt idx="1401">
                  <c:v>0.01</c:v>
                </c:pt>
                <c:pt idx="1402">
                  <c:v>0.01</c:v>
                </c:pt>
                <c:pt idx="1403">
                  <c:v>0.01</c:v>
                </c:pt>
                <c:pt idx="1404">
                  <c:v>0.04</c:v>
                </c:pt>
                <c:pt idx="1405">
                  <c:v>0.02</c:v>
                </c:pt>
                <c:pt idx="1406">
                  <c:v>0.03</c:v>
                </c:pt>
                <c:pt idx="1407">
                  <c:v>0.03</c:v>
                </c:pt>
                <c:pt idx="1408">
                  <c:v>0.03</c:v>
                </c:pt>
                <c:pt idx="1409">
                  <c:v>0.05</c:v>
                </c:pt>
                <c:pt idx="1410">
                  <c:v>0.02</c:v>
                </c:pt>
                <c:pt idx="1411">
                  <c:v>0.02</c:v>
                </c:pt>
                <c:pt idx="1412">
                  <c:v>0.04</c:v>
                </c:pt>
                <c:pt idx="1413">
                  <c:v>0.08</c:v>
                </c:pt>
                <c:pt idx="1414">
                  <c:v>0.01</c:v>
                </c:pt>
                <c:pt idx="1415">
                  <c:v>0.03</c:v>
                </c:pt>
                <c:pt idx="1416">
                  <c:v>0.01</c:v>
                </c:pt>
                <c:pt idx="1417">
                  <c:v>0.02</c:v>
                </c:pt>
                <c:pt idx="1418">
                  <c:v>0.01</c:v>
                </c:pt>
                <c:pt idx="1419">
                  <c:v>0.01</c:v>
                </c:pt>
                <c:pt idx="1420">
                  <c:v>0.04</c:v>
                </c:pt>
                <c:pt idx="1421">
                  <c:v>0.13</c:v>
                </c:pt>
                <c:pt idx="1422">
                  <c:v>0.01</c:v>
                </c:pt>
                <c:pt idx="1423">
                  <c:v>0.02</c:v>
                </c:pt>
                <c:pt idx="1424">
                  <c:v>0.01</c:v>
                </c:pt>
                <c:pt idx="1425">
                  <c:v>0.08</c:v>
                </c:pt>
                <c:pt idx="1426">
                  <c:v>0.02</c:v>
                </c:pt>
                <c:pt idx="1427">
                  <c:v>0.01</c:v>
                </c:pt>
                <c:pt idx="1428">
                  <c:v>0.02</c:v>
                </c:pt>
                <c:pt idx="1429">
                  <c:v>0.02</c:v>
                </c:pt>
                <c:pt idx="1430">
                  <c:v>0.03</c:v>
                </c:pt>
                <c:pt idx="1431">
                  <c:v>0.01</c:v>
                </c:pt>
                <c:pt idx="1432">
                  <c:v>0.04</c:v>
                </c:pt>
                <c:pt idx="1433">
                  <c:v>0.02</c:v>
                </c:pt>
                <c:pt idx="1434">
                  <c:v>0.02</c:v>
                </c:pt>
                <c:pt idx="1435">
                  <c:v>0.04</c:v>
                </c:pt>
                <c:pt idx="1436">
                  <c:v>0.01</c:v>
                </c:pt>
                <c:pt idx="1437">
                  <c:v>0.01</c:v>
                </c:pt>
                <c:pt idx="1438">
                  <c:v>0.01</c:v>
                </c:pt>
                <c:pt idx="1439">
                  <c:v>0.01</c:v>
                </c:pt>
                <c:pt idx="1440">
                  <c:v>0.01</c:v>
                </c:pt>
                <c:pt idx="1441">
                  <c:v>0.02</c:v>
                </c:pt>
                <c:pt idx="1442">
                  <c:v>0.01</c:v>
                </c:pt>
                <c:pt idx="1443">
                  <c:v>0.02</c:v>
                </c:pt>
                <c:pt idx="1444">
                  <c:v>0.02</c:v>
                </c:pt>
                <c:pt idx="1445">
                  <c:v>0.02</c:v>
                </c:pt>
                <c:pt idx="1446">
                  <c:v>0.02</c:v>
                </c:pt>
                <c:pt idx="1447">
                  <c:v>0.02</c:v>
                </c:pt>
                <c:pt idx="1448">
                  <c:v>0.01</c:v>
                </c:pt>
                <c:pt idx="1449">
                  <c:v>0.01</c:v>
                </c:pt>
                <c:pt idx="1450">
                  <c:v>0.01</c:v>
                </c:pt>
                <c:pt idx="1451">
                  <c:v>0.01</c:v>
                </c:pt>
                <c:pt idx="1452">
                  <c:v>0.01</c:v>
                </c:pt>
                <c:pt idx="1453">
                  <c:v>0.02</c:v>
                </c:pt>
                <c:pt idx="1454">
                  <c:v>0.01</c:v>
                </c:pt>
                <c:pt idx="1455">
                  <c:v>0.01</c:v>
                </c:pt>
                <c:pt idx="1456">
                  <c:v>0.02</c:v>
                </c:pt>
                <c:pt idx="1457">
                  <c:v>0.02</c:v>
                </c:pt>
                <c:pt idx="1458">
                  <c:v>0.02</c:v>
                </c:pt>
                <c:pt idx="1459">
                  <c:v>0.01</c:v>
                </c:pt>
                <c:pt idx="1460">
                  <c:v>0.03</c:v>
                </c:pt>
                <c:pt idx="1461">
                  <c:v>0.01</c:v>
                </c:pt>
                <c:pt idx="1462">
                  <c:v>0.04</c:v>
                </c:pt>
                <c:pt idx="1463">
                  <c:v>0.02</c:v>
                </c:pt>
                <c:pt idx="1464">
                  <c:v>0.01</c:v>
                </c:pt>
                <c:pt idx="1465">
                  <c:v>0.01</c:v>
                </c:pt>
                <c:pt idx="1466">
                  <c:v>0.01</c:v>
                </c:pt>
                <c:pt idx="1467">
                  <c:v>0.01</c:v>
                </c:pt>
                <c:pt idx="1468">
                  <c:v>0.01</c:v>
                </c:pt>
                <c:pt idx="1469">
                  <c:v>0.02</c:v>
                </c:pt>
                <c:pt idx="1470">
                  <c:v>0.01</c:v>
                </c:pt>
                <c:pt idx="1471">
                  <c:v>0.02</c:v>
                </c:pt>
                <c:pt idx="1472">
                  <c:v>0.01</c:v>
                </c:pt>
                <c:pt idx="1473">
                  <c:v>0.01</c:v>
                </c:pt>
                <c:pt idx="1474">
                  <c:v>0.01</c:v>
                </c:pt>
                <c:pt idx="1475">
                  <c:v>0.01</c:v>
                </c:pt>
                <c:pt idx="1476">
                  <c:v>0.01</c:v>
                </c:pt>
                <c:pt idx="1477">
                  <c:v>0.01</c:v>
                </c:pt>
                <c:pt idx="1478">
                  <c:v>0.01</c:v>
                </c:pt>
                <c:pt idx="1479">
                  <c:v>0.01</c:v>
                </c:pt>
                <c:pt idx="1480">
                  <c:v>0.04</c:v>
                </c:pt>
                <c:pt idx="1481">
                  <c:v>0.04</c:v>
                </c:pt>
                <c:pt idx="1482">
                  <c:v>0.01</c:v>
                </c:pt>
                <c:pt idx="1483">
                  <c:v>0.01</c:v>
                </c:pt>
                <c:pt idx="1484">
                  <c:v>0.01</c:v>
                </c:pt>
                <c:pt idx="1485">
                  <c:v>0.01</c:v>
                </c:pt>
                <c:pt idx="1486">
                  <c:v>0.01</c:v>
                </c:pt>
                <c:pt idx="1487">
                  <c:v>0.01</c:v>
                </c:pt>
                <c:pt idx="1488">
                  <c:v>0.04</c:v>
                </c:pt>
                <c:pt idx="1489">
                  <c:v>0.03</c:v>
                </c:pt>
                <c:pt idx="1490">
                  <c:v>0.01</c:v>
                </c:pt>
                <c:pt idx="1491">
                  <c:v>0.02</c:v>
                </c:pt>
                <c:pt idx="1492">
                  <c:v>0.01</c:v>
                </c:pt>
                <c:pt idx="1493">
                  <c:v>0.02</c:v>
                </c:pt>
                <c:pt idx="1494">
                  <c:v>0.02</c:v>
                </c:pt>
                <c:pt idx="1495">
                  <c:v>0.03</c:v>
                </c:pt>
                <c:pt idx="1496">
                  <c:v>0.01</c:v>
                </c:pt>
                <c:pt idx="1497">
                  <c:v>0.01</c:v>
                </c:pt>
                <c:pt idx="1498">
                  <c:v>0.01</c:v>
                </c:pt>
                <c:pt idx="1499">
                  <c:v>0.01</c:v>
                </c:pt>
                <c:pt idx="1500">
                  <c:v>0.02</c:v>
                </c:pt>
                <c:pt idx="1501">
                  <c:v>0.01</c:v>
                </c:pt>
                <c:pt idx="1502">
                  <c:v>0.01</c:v>
                </c:pt>
                <c:pt idx="1503">
                  <c:v>0.01</c:v>
                </c:pt>
                <c:pt idx="1504">
                  <c:v>0.03</c:v>
                </c:pt>
                <c:pt idx="1505">
                  <c:v>0.02</c:v>
                </c:pt>
                <c:pt idx="1506">
                  <c:v>0.01</c:v>
                </c:pt>
                <c:pt idx="1507">
                  <c:v>0.03</c:v>
                </c:pt>
                <c:pt idx="1508">
                  <c:v>0.01</c:v>
                </c:pt>
                <c:pt idx="1509">
                  <c:v>0.01</c:v>
                </c:pt>
                <c:pt idx="1510">
                  <c:v>0.01</c:v>
                </c:pt>
                <c:pt idx="1511">
                  <c:v>0.01</c:v>
                </c:pt>
                <c:pt idx="1512">
                  <c:v>0.02</c:v>
                </c:pt>
                <c:pt idx="1513">
                  <c:v>0.01</c:v>
                </c:pt>
                <c:pt idx="1514">
                  <c:v>0.01</c:v>
                </c:pt>
                <c:pt idx="1515">
                  <c:v>0.02</c:v>
                </c:pt>
                <c:pt idx="1516">
                  <c:v>0.01</c:v>
                </c:pt>
                <c:pt idx="1517">
                  <c:v>0.01</c:v>
                </c:pt>
                <c:pt idx="1518">
                  <c:v>0.01</c:v>
                </c:pt>
                <c:pt idx="1519">
                  <c:v>0.01</c:v>
                </c:pt>
                <c:pt idx="1520">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Item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00A097"/>
              </a:solidFill>
            </c:spPr>
            <c:extLst>
              <c:ext xmlns:c16="http://schemas.microsoft.com/office/drawing/2014/chart" uri="{C3380CC4-5D6E-409C-BE32-E72D297353CC}">
                <c16:uniqueId val="{000000EB-2993-41DE-A2CB-63102DE87051}"/>
              </c:ext>
            </c:extLst>
          </c:dPt>
          <c:dPt>
            <c:idx val="117"/>
            <c:invertIfNegative val="1"/>
            <c:bubble3D val="0"/>
            <c:spPr>
              <a:solidFill>
                <a:srgbClr val="00A097"/>
              </a:solidFill>
            </c:spPr>
            <c:extLst>
              <c:ext xmlns:c16="http://schemas.microsoft.com/office/drawing/2014/chart" uri="{C3380CC4-5D6E-409C-BE32-E72D297353CC}">
                <c16:uniqueId val="{000000ED-2993-41DE-A2CB-63102DE87051}"/>
              </c:ext>
            </c:extLst>
          </c:dPt>
          <c:dPt>
            <c:idx val="118"/>
            <c:invertIfNegative val="1"/>
            <c:bubble3D val="0"/>
            <c:spPr>
              <a:solidFill>
                <a:srgbClr val="00A097"/>
              </a:solidFill>
            </c:spPr>
            <c:extLst>
              <c:ext xmlns:c16="http://schemas.microsoft.com/office/drawing/2014/chart" uri="{C3380CC4-5D6E-409C-BE32-E72D297353CC}">
                <c16:uniqueId val="{000000EF-2993-41DE-A2CB-63102DE87051}"/>
              </c:ext>
            </c:extLst>
          </c:dPt>
          <c:dPt>
            <c:idx val="119"/>
            <c:invertIfNegative val="1"/>
            <c:bubble3D val="0"/>
            <c:spPr>
              <a:solidFill>
                <a:srgbClr val="00A097"/>
              </a:solidFill>
            </c:spPr>
            <c:extLst>
              <c:ext xmlns:c16="http://schemas.microsoft.com/office/drawing/2014/chart" uri="{C3380CC4-5D6E-409C-BE32-E72D297353CC}">
                <c16:uniqueId val="{000000F1-2993-41DE-A2CB-63102DE87051}"/>
              </c:ext>
            </c:extLst>
          </c:dPt>
          <c:dPt>
            <c:idx val="120"/>
            <c:invertIfNegative val="1"/>
            <c:bubble3D val="0"/>
            <c:spPr>
              <a:solidFill>
                <a:srgbClr val="00A097"/>
              </a:solidFill>
            </c:spPr>
            <c:extLst>
              <c:ext xmlns:c16="http://schemas.microsoft.com/office/drawing/2014/chart" uri="{C3380CC4-5D6E-409C-BE32-E72D297353CC}">
                <c16:uniqueId val="{000000F3-2993-41DE-A2CB-63102DE87051}"/>
              </c:ext>
            </c:extLst>
          </c:dPt>
          <c:dPt>
            <c:idx val="121"/>
            <c:invertIfNegative val="1"/>
            <c:bubble3D val="0"/>
            <c:spPr>
              <a:solidFill>
                <a:srgbClr val="00A097"/>
              </a:solidFill>
            </c:spPr>
            <c:extLst>
              <c:ext xmlns:c16="http://schemas.microsoft.com/office/drawing/2014/chart" uri="{C3380CC4-5D6E-409C-BE32-E72D297353CC}">
                <c16:uniqueId val="{000000F5-2993-41DE-A2CB-63102DE87051}"/>
              </c:ext>
            </c:extLst>
          </c:dPt>
          <c:dPt>
            <c:idx val="122"/>
            <c:invertIfNegative val="1"/>
            <c:bubble3D val="0"/>
            <c:spPr>
              <a:solidFill>
                <a:srgbClr val="00A097"/>
              </a:solidFill>
            </c:spPr>
            <c:extLst>
              <c:ext xmlns:c16="http://schemas.microsoft.com/office/drawing/2014/chart" uri="{C3380CC4-5D6E-409C-BE32-E72D297353CC}">
                <c16:uniqueId val="{000000F7-2993-41DE-A2CB-63102DE87051}"/>
              </c:ext>
            </c:extLst>
          </c:dPt>
          <c:dPt>
            <c:idx val="123"/>
            <c:invertIfNegative val="1"/>
            <c:bubble3D val="0"/>
            <c:spPr>
              <a:solidFill>
                <a:srgbClr val="00A097"/>
              </a:solidFill>
            </c:spPr>
            <c:extLst>
              <c:ext xmlns:c16="http://schemas.microsoft.com/office/drawing/2014/chart" uri="{C3380CC4-5D6E-409C-BE32-E72D297353CC}">
                <c16:uniqueId val="{000000F9-2993-41DE-A2CB-63102DE87051}"/>
              </c:ext>
            </c:extLst>
          </c:dPt>
          <c:dPt>
            <c:idx val="124"/>
            <c:invertIfNegative val="1"/>
            <c:bubble3D val="0"/>
            <c:spPr>
              <a:solidFill>
                <a:srgbClr val="00A097"/>
              </a:solidFill>
            </c:spPr>
            <c:extLst>
              <c:ext xmlns:c16="http://schemas.microsoft.com/office/drawing/2014/chart" uri="{C3380CC4-5D6E-409C-BE32-E72D297353CC}">
                <c16:uniqueId val="{000000FB-2993-41DE-A2CB-63102DE87051}"/>
              </c:ext>
            </c:extLst>
          </c:dPt>
          <c:dPt>
            <c:idx val="125"/>
            <c:invertIfNegative val="1"/>
            <c:bubble3D val="0"/>
            <c:spPr>
              <a:solidFill>
                <a:srgbClr val="00A097"/>
              </a:solidFill>
            </c:spPr>
            <c:extLst>
              <c:ext xmlns:c16="http://schemas.microsoft.com/office/drawing/2014/chart" uri="{C3380CC4-5D6E-409C-BE32-E72D297353CC}">
                <c16:uniqueId val="{000000FD-2993-41DE-A2CB-63102DE87051}"/>
              </c:ext>
            </c:extLst>
          </c:dPt>
          <c:dPt>
            <c:idx val="126"/>
            <c:invertIfNegative val="1"/>
            <c:bubble3D val="0"/>
            <c:spPr>
              <a:solidFill>
                <a:srgbClr val="00A097"/>
              </a:solidFill>
            </c:spPr>
            <c:extLst>
              <c:ext xmlns:c16="http://schemas.microsoft.com/office/drawing/2014/chart" uri="{C3380CC4-5D6E-409C-BE32-E72D297353CC}">
                <c16:uniqueId val="{000000FF-2993-41DE-A2CB-63102DE87051}"/>
              </c:ext>
            </c:extLst>
          </c:dPt>
          <c:dPt>
            <c:idx val="127"/>
            <c:invertIfNegative val="1"/>
            <c:bubble3D val="0"/>
            <c:spPr>
              <a:solidFill>
                <a:srgbClr val="00A097"/>
              </a:solidFill>
            </c:spPr>
            <c:extLst>
              <c:ext xmlns:c16="http://schemas.microsoft.com/office/drawing/2014/chart" uri="{C3380CC4-5D6E-409C-BE32-E72D297353CC}">
                <c16:uniqueId val="{00000101-2993-41DE-A2CB-63102DE87051}"/>
              </c:ext>
            </c:extLst>
          </c:dPt>
          <c:dPt>
            <c:idx val="128"/>
            <c:invertIfNegative val="1"/>
            <c:bubble3D val="0"/>
            <c:spPr>
              <a:solidFill>
                <a:srgbClr val="00A097"/>
              </a:solidFill>
            </c:spPr>
            <c:extLst>
              <c:ext xmlns:c16="http://schemas.microsoft.com/office/drawing/2014/chart" uri="{C3380CC4-5D6E-409C-BE32-E72D297353CC}">
                <c16:uniqueId val="{00000103-2993-41DE-A2CB-63102DE87051}"/>
              </c:ext>
            </c:extLst>
          </c:dPt>
          <c:dPt>
            <c:idx val="129"/>
            <c:invertIfNegative val="1"/>
            <c:bubble3D val="0"/>
            <c:spPr>
              <a:solidFill>
                <a:srgbClr val="00A097"/>
              </a:solidFill>
            </c:spPr>
            <c:extLst>
              <c:ext xmlns:c16="http://schemas.microsoft.com/office/drawing/2014/chart" uri="{C3380CC4-5D6E-409C-BE32-E72D297353CC}">
                <c16:uniqueId val="{00000105-2993-41DE-A2CB-63102DE87051}"/>
              </c:ext>
            </c:extLst>
          </c:dPt>
          <c:dPt>
            <c:idx val="130"/>
            <c:invertIfNegative val="1"/>
            <c:bubble3D val="0"/>
            <c:spPr>
              <a:solidFill>
                <a:srgbClr val="00A097"/>
              </a:solidFill>
            </c:spPr>
            <c:extLst>
              <c:ext xmlns:c16="http://schemas.microsoft.com/office/drawing/2014/chart" uri="{C3380CC4-5D6E-409C-BE32-E72D297353CC}">
                <c16:uniqueId val="{00000107-2993-41DE-A2CB-63102DE87051}"/>
              </c:ext>
            </c:extLst>
          </c:dPt>
          <c:dPt>
            <c:idx val="131"/>
            <c:invertIfNegative val="1"/>
            <c:bubble3D val="0"/>
            <c:spPr>
              <a:solidFill>
                <a:srgbClr val="00A097"/>
              </a:solidFill>
            </c:spPr>
            <c:extLst>
              <c:ext xmlns:c16="http://schemas.microsoft.com/office/drawing/2014/chart" uri="{C3380CC4-5D6E-409C-BE32-E72D297353CC}">
                <c16:uniqueId val="{00000109-2993-41DE-A2CB-63102DE87051}"/>
              </c:ext>
            </c:extLst>
          </c:dPt>
          <c:dPt>
            <c:idx val="132"/>
            <c:invertIfNegative val="1"/>
            <c:bubble3D val="0"/>
            <c:spPr>
              <a:solidFill>
                <a:srgbClr val="00A097"/>
              </a:solidFill>
            </c:spPr>
            <c:extLst>
              <c:ext xmlns:c16="http://schemas.microsoft.com/office/drawing/2014/chart" uri="{C3380CC4-5D6E-409C-BE32-E72D297353CC}">
                <c16:uniqueId val="{0000010B-2993-41DE-A2CB-63102DE87051}"/>
              </c:ext>
            </c:extLst>
          </c:dPt>
          <c:dPt>
            <c:idx val="133"/>
            <c:invertIfNegative val="1"/>
            <c:bubble3D val="0"/>
            <c:spPr>
              <a:solidFill>
                <a:srgbClr val="00A097"/>
              </a:solidFill>
            </c:spPr>
            <c:extLst>
              <c:ext xmlns:c16="http://schemas.microsoft.com/office/drawing/2014/chart" uri="{C3380CC4-5D6E-409C-BE32-E72D297353CC}">
                <c16:uniqueId val="{0000010D-2993-41DE-A2CB-63102DE87051}"/>
              </c:ext>
            </c:extLst>
          </c:dPt>
          <c:dPt>
            <c:idx val="134"/>
            <c:invertIfNegative val="1"/>
            <c:bubble3D val="0"/>
            <c:spPr>
              <a:solidFill>
                <a:srgbClr val="00A097"/>
              </a:solidFill>
            </c:spPr>
            <c:extLst>
              <c:ext xmlns:c16="http://schemas.microsoft.com/office/drawing/2014/chart" uri="{C3380CC4-5D6E-409C-BE32-E72D297353CC}">
                <c16:uniqueId val="{0000010F-2993-41DE-A2CB-63102DE87051}"/>
              </c:ext>
            </c:extLst>
          </c:dPt>
          <c:dPt>
            <c:idx val="135"/>
            <c:invertIfNegative val="1"/>
            <c:bubble3D val="0"/>
            <c:spPr>
              <a:solidFill>
                <a:srgbClr val="00A097"/>
              </a:solidFill>
            </c:spPr>
            <c:extLst>
              <c:ext xmlns:c16="http://schemas.microsoft.com/office/drawing/2014/chart" uri="{C3380CC4-5D6E-409C-BE32-E72D297353CC}">
                <c16:uniqueId val="{00000111-2993-41DE-A2CB-63102DE87051}"/>
              </c:ext>
            </c:extLst>
          </c:dPt>
          <c:dPt>
            <c:idx val="136"/>
            <c:invertIfNegative val="1"/>
            <c:bubble3D val="0"/>
            <c:spPr>
              <a:solidFill>
                <a:srgbClr val="00A097"/>
              </a:solidFill>
            </c:spPr>
            <c:extLst>
              <c:ext xmlns:c16="http://schemas.microsoft.com/office/drawing/2014/chart" uri="{C3380CC4-5D6E-409C-BE32-E72D297353CC}">
                <c16:uniqueId val="{00000113-2993-41DE-A2CB-63102DE87051}"/>
              </c:ext>
            </c:extLst>
          </c:dPt>
          <c:dPt>
            <c:idx val="137"/>
            <c:invertIfNegative val="1"/>
            <c:bubble3D val="0"/>
            <c:spPr>
              <a:solidFill>
                <a:srgbClr val="00A097"/>
              </a:solidFill>
            </c:spPr>
            <c:extLst>
              <c:ext xmlns:c16="http://schemas.microsoft.com/office/drawing/2014/chart" uri="{C3380CC4-5D6E-409C-BE32-E72D297353CC}">
                <c16:uniqueId val="{00000115-2993-41DE-A2CB-63102DE87051}"/>
              </c:ext>
            </c:extLst>
          </c:dPt>
          <c:dPt>
            <c:idx val="138"/>
            <c:invertIfNegative val="1"/>
            <c:bubble3D val="0"/>
            <c:spPr>
              <a:solidFill>
                <a:srgbClr val="00A097"/>
              </a:solidFill>
            </c:spPr>
            <c:extLst>
              <c:ext xmlns:c16="http://schemas.microsoft.com/office/drawing/2014/chart" uri="{C3380CC4-5D6E-409C-BE32-E72D297353CC}">
                <c16:uniqueId val="{00000117-2993-41DE-A2CB-63102DE87051}"/>
              </c:ext>
            </c:extLst>
          </c:dPt>
          <c:dPt>
            <c:idx val="139"/>
            <c:invertIfNegative val="1"/>
            <c:bubble3D val="0"/>
            <c:spPr>
              <a:solidFill>
                <a:srgbClr val="00A097"/>
              </a:solidFill>
            </c:spPr>
            <c:extLst>
              <c:ext xmlns:c16="http://schemas.microsoft.com/office/drawing/2014/chart" uri="{C3380CC4-5D6E-409C-BE32-E72D297353CC}">
                <c16:uniqueId val="{00000119-2993-41DE-A2CB-63102DE87051}"/>
              </c:ext>
            </c:extLst>
          </c:dPt>
          <c:dPt>
            <c:idx val="140"/>
            <c:invertIfNegative val="1"/>
            <c:bubble3D val="0"/>
            <c:spPr>
              <a:solidFill>
                <a:srgbClr val="00A097"/>
              </a:solidFill>
            </c:spPr>
            <c:extLst>
              <c:ext xmlns:c16="http://schemas.microsoft.com/office/drawing/2014/chart" uri="{C3380CC4-5D6E-409C-BE32-E72D297353CC}">
                <c16:uniqueId val="{0000011B-2993-41DE-A2CB-63102DE87051}"/>
              </c:ext>
            </c:extLst>
          </c:dPt>
          <c:dPt>
            <c:idx val="141"/>
            <c:invertIfNegative val="1"/>
            <c:bubble3D val="0"/>
            <c:spPr>
              <a:solidFill>
                <a:srgbClr val="00A097"/>
              </a:solidFill>
            </c:spPr>
            <c:extLst>
              <c:ext xmlns:c16="http://schemas.microsoft.com/office/drawing/2014/chart" uri="{C3380CC4-5D6E-409C-BE32-E72D297353CC}">
                <c16:uniqueId val="{0000011D-2993-41DE-A2CB-63102DE87051}"/>
              </c:ext>
            </c:extLst>
          </c:dPt>
          <c:dPt>
            <c:idx val="142"/>
            <c:invertIfNegative val="1"/>
            <c:bubble3D val="0"/>
            <c:spPr>
              <a:solidFill>
                <a:srgbClr val="00A097"/>
              </a:solidFill>
            </c:spPr>
            <c:extLst>
              <c:ext xmlns:c16="http://schemas.microsoft.com/office/drawing/2014/chart" uri="{C3380CC4-5D6E-409C-BE32-E72D297353CC}">
                <c16:uniqueId val="{0000011F-2993-41DE-A2CB-63102DE87051}"/>
              </c:ext>
            </c:extLst>
          </c:dPt>
          <c:dPt>
            <c:idx val="143"/>
            <c:invertIfNegative val="1"/>
            <c:bubble3D val="0"/>
            <c:spPr>
              <a:solidFill>
                <a:srgbClr val="00A097"/>
              </a:solidFill>
            </c:spPr>
            <c:extLst>
              <c:ext xmlns:c16="http://schemas.microsoft.com/office/drawing/2014/chart" uri="{C3380CC4-5D6E-409C-BE32-E72D297353CC}">
                <c16:uniqueId val="{00000121-2993-41DE-A2CB-63102DE87051}"/>
              </c:ext>
            </c:extLst>
          </c:dPt>
          <c:dPt>
            <c:idx val="144"/>
            <c:invertIfNegative val="1"/>
            <c:bubble3D val="0"/>
            <c:spPr>
              <a:solidFill>
                <a:srgbClr val="00A097"/>
              </a:solidFill>
            </c:spPr>
            <c:extLst>
              <c:ext xmlns:c16="http://schemas.microsoft.com/office/drawing/2014/chart" uri="{C3380CC4-5D6E-409C-BE32-E72D297353CC}">
                <c16:uniqueId val="{00000123-2993-41DE-A2CB-63102DE87051}"/>
              </c:ext>
            </c:extLst>
          </c:dPt>
          <c:dPt>
            <c:idx val="145"/>
            <c:invertIfNegative val="1"/>
            <c:bubble3D val="0"/>
            <c:spPr>
              <a:solidFill>
                <a:srgbClr val="00A097"/>
              </a:solidFill>
            </c:spPr>
            <c:extLst>
              <c:ext xmlns:c16="http://schemas.microsoft.com/office/drawing/2014/chart" uri="{C3380CC4-5D6E-409C-BE32-E72D297353CC}">
                <c16:uniqueId val="{00000125-2993-41DE-A2CB-63102DE87051}"/>
              </c:ext>
            </c:extLst>
          </c:dPt>
          <c:dPt>
            <c:idx val="146"/>
            <c:invertIfNegative val="1"/>
            <c:bubble3D val="0"/>
            <c:spPr>
              <a:solidFill>
                <a:srgbClr val="00A097"/>
              </a:solidFill>
            </c:spPr>
            <c:extLst>
              <c:ext xmlns:c16="http://schemas.microsoft.com/office/drawing/2014/chart" uri="{C3380CC4-5D6E-409C-BE32-E72D297353CC}">
                <c16:uniqueId val="{00000127-2993-41DE-A2CB-63102DE87051}"/>
              </c:ext>
            </c:extLst>
          </c:dPt>
          <c:dPt>
            <c:idx val="147"/>
            <c:invertIfNegative val="1"/>
            <c:bubble3D val="0"/>
            <c:spPr>
              <a:solidFill>
                <a:srgbClr val="00A097"/>
              </a:solidFill>
            </c:spPr>
            <c:extLst>
              <c:ext xmlns:c16="http://schemas.microsoft.com/office/drawing/2014/chart" uri="{C3380CC4-5D6E-409C-BE32-E72D297353CC}">
                <c16:uniqueId val="{00000129-2993-41DE-A2CB-63102DE87051}"/>
              </c:ext>
            </c:extLst>
          </c:dPt>
          <c:dPt>
            <c:idx val="148"/>
            <c:invertIfNegative val="1"/>
            <c:bubble3D val="0"/>
            <c:spPr>
              <a:solidFill>
                <a:srgbClr val="00A097"/>
              </a:solidFill>
            </c:spPr>
            <c:extLst>
              <c:ext xmlns:c16="http://schemas.microsoft.com/office/drawing/2014/chart" uri="{C3380CC4-5D6E-409C-BE32-E72D297353CC}">
                <c16:uniqueId val="{0000012B-2993-41DE-A2CB-63102DE87051}"/>
              </c:ext>
            </c:extLst>
          </c:dPt>
          <c:dPt>
            <c:idx val="149"/>
            <c:invertIfNegative val="1"/>
            <c:bubble3D val="0"/>
            <c:spPr>
              <a:solidFill>
                <a:srgbClr val="00A097"/>
              </a:solidFill>
            </c:spPr>
            <c:extLst>
              <c:ext xmlns:c16="http://schemas.microsoft.com/office/drawing/2014/chart" uri="{C3380CC4-5D6E-409C-BE32-E72D297353CC}">
                <c16:uniqueId val="{0000012D-2993-41DE-A2CB-63102DE87051}"/>
              </c:ext>
            </c:extLst>
          </c:dPt>
          <c:dPt>
            <c:idx val="150"/>
            <c:invertIfNegative val="1"/>
            <c:bubble3D val="0"/>
            <c:spPr>
              <a:solidFill>
                <a:srgbClr val="00A097"/>
              </a:solidFill>
            </c:spPr>
            <c:extLst>
              <c:ext xmlns:c16="http://schemas.microsoft.com/office/drawing/2014/chart" uri="{C3380CC4-5D6E-409C-BE32-E72D297353CC}">
                <c16:uniqueId val="{0000012F-2993-41DE-A2CB-63102DE87051}"/>
              </c:ext>
            </c:extLst>
          </c:dPt>
          <c:dPt>
            <c:idx val="151"/>
            <c:invertIfNegative val="1"/>
            <c:bubble3D val="0"/>
            <c:spPr>
              <a:solidFill>
                <a:srgbClr val="00A097"/>
              </a:solidFill>
            </c:spPr>
            <c:extLst>
              <c:ext xmlns:c16="http://schemas.microsoft.com/office/drawing/2014/chart" uri="{C3380CC4-5D6E-409C-BE32-E72D297353CC}">
                <c16:uniqueId val="{00000131-2993-41DE-A2CB-63102DE87051}"/>
              </c:ext>
            </c:extLst>
          </c:dPt>
          <c:dPt>
            <c:idx val="152"/>
            <c:invertIfNegative val="1"/>
            <c:bubble3D val="0"/>
            <c:spPr>
              <a:solidFill>
                <a:srgbClr val="00A097"/>
              </a:solidFill>
            </c:spPr>
            <c:extLst>
              <c:ext xmlns:c16="http://schemas.microsoft.com/office/drawing/2014/chart" uri="{C3380CC4-5D6E-409C-BE32-E72D297353CC}">
                <c16:uniqueId val="{00000133-2993-41DE-A2CB-63102DE87051}"/>
              </c:ext>
            </c:extLst>
          </c:dPt>
          <c:dPt>
            <c:idx val="153"/>
            <c:invertIfNegative val="1"/>
            <c:bubble3D val="0"/>
            <c:spPr>
              <a:solidFill>
                <a:srgbClr val="00A097"/>
              </a:solidFill>
            </c:spPr>
            <c:extLst>
              <c:ext xmlns:c16="http://schemas.microsoft.com/office/drawing/2014/chart" uri="{C3380CC4-5D6E-409C-BE32-E72D297353CC}">
                <c16:uniqueId val="{00000135-2993-41DE-A2CB-63102DE87051}"/>
              </c:ext>
            </c:extLst>
          </c:dPt>
          <c:dPt>
            <c:idx val="154"/>
            <c:invertIfNegative val="1"/>
            <c:bubble3D val="0"/>
            <c:spPr>
              <a:solidFill>
                <a:srgbClr val="00A097"/>
              </a:solidFill>
            </c:spPr>
            <c:extLst>
              <c:ext xmlns:c16="http://schemas.microsoft.com/office/drawing/2014/chart" uri="{C3380CC4-5D6E-409C-BE32-E72D297353CC}">
                <c16:uniqueId val="{00000137-2993-41DE-A2CB-63102DE87051}"/>
              </c:ext>
            </c:extLst>
          </c:dPt>
          <c:dPt>
            <c:idx val="155"/>
            <c:invertIfNegative val="1"/>
            <c:bubble3D val="0"/>
            <c:spPr>
              <a:solidFill>
                <a:srgbClr val="00A097"/>
              </a:solidFill>
            </c:spPr>
            <c:extLst>
              <c:ext xmlns:c16="http://schemas.microsoft.com/office/drawing/2014/chart" uri="{C3380CC4-5D6E-409C-BE32-E72D297353CC}">
                <c16:uniqueId val="{00000139-2993-41DE-A2CB-63102DE87051}"/>
              </c:ext>
            </c:extLst>
          </c:dPt>
          <c:dPt>
            <c:idx val="156"/>
            <c:invertIfNegative val="1"/>
            <c:bubble3D val="0"/>
            <c:spPr>
              <a:solidFill>
                <a:srgbClr val="00A097"/>
              </a:solidFill>
            </c:spPr>
            <c:extLst>
              <c:ext xmlns:c16="http://schemas.microsoft.com/office/drawing/2014/chart" uri="{C3380CC4-5D6E-409C-BE32-E72D297353CC}">
                <c16:uniqueId val="{0000013B-2993-41DE-A2CB-63102DE87051}"/>
              </c:ext>
            </c:extLst>
          </c:dPt>
          <c:dPt>
            <c:idx val="157"/>
            <c:invertIfNegative val="1"/>
            <c:bubble3D val="0"/>
            <c:spPr>
              <a:solidFill>
                <a:srgbClr val="00A097"/>
              </a:solidFill>
            </c:spPr>
            <c:extLst>
              <c:ext xmlns:c16="http://schemas.microsoft.com/office/drawing/2014/chart" uri="{C3380CC4-5D6E-409C-BE32-E72D297353CC}">
                <c16:uniqueId val="{0000013D-2993-41DE-A2CB-63102DE87051}"/>
              </c:ext>
            </c:extLst>
          </c:dPt>
          <c:dPt>
            <c:idx val="158"/>
            <c:invertIfNegative val="1"/>
            <c:bubble3D val="0"/>
            <c:spPr>
              <a:solidFill>
                <a:srgbClr val="00A097"/>
              </a:solidFill>
            </c:spPr>
            <c:extLst>
              <c:ext xmlns:c16="http://schemas.microsoft.com/office/drawing/2014/chart" uri="{C3380CC4-5D6E-409C-BE32-E72D297353CC}">
                <c16:uniqueId val="{0000013F-2993-41DE-A2CB-63102DE87051}"/>
              </c:ext>
            </c:extLst>
          </c:dPt>
          <c:dPt>
            <c:idx val="159"/>
            <c:invertIfNegative val="1"/>
            <c:bubble3D val="0"/>
            <c:spPr>
              <a:solidFill>
                <a:srgbClr val="00A097"/>
              </a:solidFill>
            </c:spPr>
            <c:extLst>
              <c:ext xmlns:c16="http://schemas.microsoft.com/office/drawing/2014/chart" uri="{C3380CC4-5D6E-409C-BE32-E72D297353CC}">
                <c16:uniqueId val="{00000141-2993-41DE-A2CB-63102DE87051}"/>
              </c:ext>
            </c:extLst>
          </c:dPt>
          <c:dPt>
            <c:idx val="160"/>
            <c:invertIfNegative val="1"/>
            <c:bubble3D val="0"/>
            <c:spPr>
              <a:solidFill>
                <a:srgbClr val="00A097"/>
              </a:solidFill>
            </c:spPr>
            <c:extLst>
              <c:ext xmlns:c16="http://schemas.microsoft.com/office/drawing/2014/chart" uri="{C3380CC4-5D6E-409C-BE32-E72D297353CC}">
                <c16:uniqueId val="{00000143-2993-41DE-A2CB-63102DE87051}"/>
              </c:ext>
            </c:extLst>
          </c:dPt>
          <c:dPt>
            <c:idx val="161"/>
            <c:invertIfNegative val="1"/>
            <c:bubble3D val="0"/>
            <c:spPr>
              <a:solidFill>
                <a:srgbClr val="00A097"/>
              </a:solidFill>
            </c:spPr>
            <c:extLst>
              <c:ext xmlns:c16="http://schemas.microsoft.com/office/drawing/2014/chart" uri="{C3380CC4-5D6E-409C-BE32-E72D297353CC}">
                <c16:uniqueId val="{00000145-2993-41DE-A2CB-63102DE87051}"/>
              </c:ext>
            </c:extLst>
          </c:dPt>
          <c:dPt>
            <c:idx val="162"/>
            <c:invertIfNegative val="1"/>
            <c:bubble3D val="0"/>
            <c:spPr>
              <a:solidFill>
                <a:srgbClr val="00A097"/>
              </a:solidFill>
            </c:spPr>
            <c:extLst>
              <c:ext xmlns:c16="http://schemas.microsoft.com/office/drawing/2014/chart" uri="{C3380CC4-5D6E-409C-BE32-E72D297353CC}">
                <c16:uniqueId val="{00000147-2993-41DE-A2CB-63102DE87051}"/>
              </c:ext>
            </c:extLst>
          </c:dPt>
          <c:dPt>
            <c:idx val="163"/>
            <c:invertIfNegative val="1"/>
            <c:bubble3D val="0"/>
            <c:spPr>
              <a:solidFill>
                <a:srgbClr val="00A097"/>
              </a:solidFill>
            </c:spPr>
            <c:extLst>
              <c:ext xmlns:c16="http://schemas.microsoft.com/office/drawing/2014/chart" uri="{C3380CC4-5D6E-409C-BE32-E72D297353CC}">
                <c16:uniqueId val="{00000149-2993-41DE-A2CB-63102DE87051}"/>
              </c:ext>
            </c:extLst>
          </c:dPt>
          <c:dPt>
            <c:idx val="164"/>
            <c:invertIfNegative val="1"/>
            <c:bubble3D val="0"/>
            <c:spPr>
              <a:solidFill>
                <a:srgbClr val="00A097"/>
              </a:solidFill>
            </c:spPr>
            <c:extLst>
              <c:ext xmlns:c16="http://schemas.microsoft.com/office/drawing/2014/chart" uri="{C3380CC4-5D6E-409C-BE32-E72D297353CC}">
                <c16:uniqueId val="{0000014B-2993-41DE-A2CB-63102DE87051}"/>
              </c:ext>
            </c:extLst>
          </c:dPt>
          <c:dPt>
            <c:idx val="165"/>
            <c:invertIfNegative val="1"/>
            <c:bubble3D val="0"/>
            <c:spPr>
              <a:solidFill>
                <a:srgbClr val="00A097"/>
              </a:solidFill>
            </c:spPr>
            <c:extLst>
              <c:ext xmlns:c16="http://schemas.microsoft.com/office/drawing/2014/chart" uri="{C3380CC4-5D6E-409C-BE32-E72D297353CC}">
                <c16:uniqueId val="{0000014D-2993-41DE-A2CB-63102DE87051}"/>
              </c:ext>
            </c:extLst>
          </c:dPt>
          <c:dPt>
            <c:idx val="166"/>
            <c:invertIfNegative val="1"/>
            <c:bubble3D val="0"/>
            <c:spPr>
              <a:solidFill>
                <a:srgbClr val="00A097"/>
              </a:solidFill>
            </c:spPr>
            <c:extLst>
              <c:ext xmlns:c16="http://schemas.microsoft.com/office/drawing/2014/chart" uri="{C3380CC4-5D6E-409C-BE32-E72D297353CC}">
                <c16:uniqueId val="{0000014F-2993-41DE-A2CB-63102DE87051}"/>
              </c:ext>
            </c:extLst>
          </c:dPt>
          <c:dPt>
            <c:idx val="167"/>
            <c:invertIfNegative val="1"/>
            <c:bubble3D val="0"/>
            <c:spPr>
              <a:solidFill>
                <a:srgbClr val="00A097"/>
              </a:solidFill>
            </c:spPr>
            <c:extLst>
              <c:ext xmlns:c16="http://schemas.microsoft.com/office/drawing/2014/chart" uri="{C3380CC4-5D6E-409C-BE32-E72D297353CC}">
                <c16:uniqueId val="{00000151-2993-41DE-A2CB-63102DE87051}"/>
              </c:ext>
            </c:extLst>
          </c:dPt>
          <c:dPt>
            <c:idx val="168"/>
            <c:invertIfNegative val="1"/>
            <c:bubble3D val="0"/>
            <c:spPr>
              <a:solidFill>
                <a:srgbClr val="00A097"/>
              </a:solidFill>
            </c:spPr>
            <c:extLst>
              <c:ext xmlns:c16="http://schemas.microsoft.com/office/drawing/2014/chart" uri="{C3380CC4-5D6E-409C-BE32-E72D297353CC}">
                <c16:uniqueId val="{00000153-2993-41DE-A2CB-63102DE87051}"/>
              </c:ext>
            </c:extLst>
          </c:dPt>
          <c:dPt>
            <c:idx val="169"/>
            <c:invertIfNegative val="1"/>
            <c:bubble3D val="0"/>
            <c:spPr>
              <a:solidFill>
                <a:srgbClr val="00A097"/>
              </a:solidFill>
            </c:spPr>
            <c:extLst>
              <c:ext xmlns:c16="http://schemas.microsoft.com/office/drawing/2014/chart" uri="{C3380CC4-5D6E-409C-BE32-E72D297353CC}">
                <c16:uniqueId val="{00000155-2993-41DE-A2CB-63102DE87051}"/>
              </c:ext>
            </c:extLst>
          </c:dPt>
          <c:dPt>
            <c:idx val="170"/>
            <c:invertIfNegative val="1"/>
            <c:bubble3D val="0"/>
            <c:spPr>
              <a:solidFill>
                <a:srgbClr val="00A097"/>
              </a:solidFill>
            </c:spPr>
            <c:extLst>
              <c:ext xmlns:c16="http://schemas.microsoft.com/office/drawing/2014/chart" uri="{C3380CC4-5D6E-409C-BE32-E72D297353CC}">
                <c16:uniqueId val="{00000157-2993-41DE-A2CB-63102DE87051}"/>
              </c:ext>
            </c:extLst>
          </c:dPt>
          <c:dPt>
            <c:idx val="171"/>
            <c:invertIfNegative val="1"/>
            <c:bubble3D val="0"/>
            <c:spPr>
              <a:solidFill>
                <a:srgbClr val="00A097"/>
              </a:solidFill>
            </c:spPr>
            <c:extLst>
              <c:ext xmlns:c16="http://schemas.microsoft.com/office/drawing/2014/chart" uri="{C3380CC4-5D6E-409C-BE32-E72D297353CC}">
                <c16:uniqueId val="{00000159-2993-41DE-A2CB-63102DE87051}"/>
              </c:ext>
            </c:extLst>
          </c:dPt>
          <c:dPt>
            <c:idx val="172"/>
            <c:invertIfNegative val="1"/>
            <c:bubble3D val="0"/>
            <c:spPr>
              <a:solidFill>
                <a:srgbClr val="00A097"/>
              </a:solidFill>
            </c:spPr>
            <c:extLst>
              <c:ext xmlns:c16="http://schemas.microsoft.com/office/drawing/2014/chart" uri="{C3380CC4-5D6E-409C-BE32-E72D297353CC}">
                <c16:uniqueId val="{0000015B-2993-41DE-A2CB-63102DE87051}"/>
              </c:ext>
            </c:extLst>
          </c:dPt>
          <c:dPt>
            <c:idx val="173"/>
            <c:invertIfNegative val="1"/>
            <c:bubble3D val="0"/>
            <c:spPr>
              <a:solidFill>
                <a:srgbClr val="00A097"/>
              </a:solidFill>
            </c:spPr>
            <c:extLst>
              <c:ext xmlns:c16="http://schemas.microsoft.com/office/drawing/2014/chart" uri="{C3380CC4-5D6E-409C-BE32-E72D297353CC}">
                <c16:uniqueId val="{0000015D-2993-41DE-A2CB-63102DE87051}"/>
              </c:ext>
            </c:extLst>
          </c:dPt>
          <c:dPt>
            <c:idx val="174"/>
            <c:invertIfNegative val="1"/>
            <c:bubble3D val="0"/>
            <c:spPr>
              <a:solidFill>
                <a:srgbClr val="00A097"/>
              </a:solidFill>
            </c:spPr>
            <c:extLst>
              <c:ext xmlns:c16="http://schemas.microsoft.com/office/drawing/2014/chart" uri="{C3380CC4-5D6E-409C-BE32-E72D297353CC}">
                <c16:uniqueId val="{0000015F-2993-41DE-A2CB-63102DE87051}"/>
              </c:ext>
            </c:extLst>
          </c:dPt>
          <c:dPt>
            <c:idx val="175"/>
            <c:invertIfNegative val="1"/>
            <c:bubble3D val="0"/>
            <c:spPr>
              <a:solidFill>
                <a:srgbClr val="00A097"/>
              </a:solidFill>
            </c:spPr>
            <c:extLst>
              <c:ext xmlns:c16="http://schemas.microsoft.com/office/drawing/2014/chart" uri="{C3380CC4-5D6E-409C-BE32-E72D297353CC}">
                <c16:uniqueId val="{00000161-2993-41DE-A2CB-63102DE87051}"/>
              </c:ext>
            </c:extLst>
          </c:dPt>
          <c:dPt>
            <c:idx val="176"/>
            <c:invertIfNegative val="1"/>
            <c:bubble3D val="0"/>
            <c:spPr>
              <a:solidFill>
                <a:srgbClr val="00A097"/>
              </a:solidFill>
            </c:spPr>
            <c:extLst>
              <c:ext xmlns:c16="http://schemas.microsoft.com/office/drawing/2014/chart" uri="{C3380CC4-5D6E-409C-BE32-E72D297353CC}">
                <c16:uniqueId val="{00000163-2993-41DE-A2CB-63102DE87051}"/>
              </c:ext>
            </c:extLst>
          </c:dPt>
          <c:dPt>
            <c:idx val="177"/>
            <c:invertIfNegative val="1"/>
            <c:bubble3D val="0"/>
            <c:spPr>
              <a:solidFill>
                <a:srgbClr val="00A097"/>
              </a:solidFill>
            </c:spPr>
            <c:extLst>
              <c:ext xmlns:c16="http://schemas.microsoft.com/office/drawing/2014/chart" uri="{C3380CC4-5D6E-409C-BE32-E72D297353CC}">
                <c16:uniqueId val="{00000165-2993-41DE-A2CB-63102DE87051}"/>
              </c:ext>
            </c:extLst>
          </c:dPt>
          <c:dPt>
            <c:idx val="178"/>
            <c:invertIfNegative val="1"/>
            <c:bubble3D val="0"/>
            <c:spPr>
              <a:solidFill>
                <a:srgbClr val="00A097"/>
              </a:solidFill>
            </c:spPr>
            <c:extLst>
              <c:ext xmlns:c16="http://schemas.microsoft.com/office/drawing/2014/chart" uri="{C3380CC4-5D6E-409C-BE32-E72D297353CC}">
                <c16:uniqueId val="{00000167-2993-41DE-A2CB-63102DE87051}"/>
              </c:ext>
            </c:extLst>
          </c:dPt>
          <c:dPt>
            <c:idx val="179"/>
            <c:invertIfNegative val="1"/>
            <c:bubble3D val="0"/>
            <c:spPr>
              <a:solidFill>
                <a:srgbClr val="00A097"/>
              </a:solidFill>
            </c:spPr>
            <c:extLst>
              <c:ext xmlns:c16="http://schemas.microsoft.com/office/drawing/2014/chart" uri="{C3380CC4-5D6E-409C-BE32-E72D297353CC}">
                <c16:uniqueId val="{00000169-2993-41DE-A2CB-63102DE87051}"/>
              </c:ext>
            </c:extLst>
          </c:dPt>
          <c:dPt>
            <c:idx val="180"/>
            <c:invertIfNegative val="1"/>
            <c:bubble3D val="0"/>
            <c:spPr>
              <a:solidFill>
                <a:srgbClr val="00A097"/>
              </a:solidFill>
            </c:spPr>
            <c:extLst>
              <c:ext xmlns:c16="http://schemas.microsoft.com/office/drawing/2014/chart" uri="{C3380CC4-5D6E-409C-BE32-E72D297353CC}">
                <c16:uniqueId val="{0000016B-2993-41DE-A2CB-63102DE87051}"/>
              </c:ext>
            </c:extLst>
          </c:dPt>
          <c:dPt>
            <c:idx val="181"/>
            <c:invertIfNegative val="1"/>
            <c:bubble3D val="0"/>
            <c:spPr>
              <a:solidFill>
                <a:srgbClr val="00A097"/>
              </a:solidFill>
            </c:spPr>
            <c:extLst>
              <c:ext xmlns:c16="http://schemas.microsoft.com/office/drawing/2014/chart" uri="{C3380CC4-5D6E-409C-BE32-E72D297353CC}">
                <c16:uniqueId val="{0000016D-2993-41DE-A2CB-63102DE87051}"/>
              </c:ext>
            </c:extLst>
          </c:dPt>
          <c:dPt>
            <c:idx val="182"/>
            <c:invertIfNegative val="1"/>
            <c:bubble3D val="0"/>
            <c:spPr>
              <a:solidFill>
                <a:srgbClr val="00A097"/>
              </a:solidFill>
            </c:spPr>
            <c:extLst>
              <c:ext xmlns:c16="http://schemas.microsoft.com/office/drawing/2014/chart" uri="{C3380CC4-5D6E-409C-BE32-E72D297353CC}">
                <c16:uniqueId val="{0000016F-2993-41DE-A2CB-63102DE87051}"/>
              </c:ext>
            </c:extLst>
          </c:dPt>
          <c:dPt>
            <c:idx val="183"/>
            <c:invertIfNegative val="1"/>
            <c:bubble3D val="0"/>
            <c:spPr>
              <a:solidFill>
                <a:srgbClr val="00A097"/>
              </a:solidFill>
            </c:spPr>
            <c:extLst>
              <c:ext xmlns:c16="http://schemas.microsoft.com/office/drawing/2014/chart" uri="{C3380CC4-5D6E-409C-BE32-E72D297353CC}">
                <c16:uniqueId val="{00000171-2993-41DE-A2CB-63102DE87051}"/>
              </c:ext>
            </c:extLst>
          </c:dPt>
          <c:dPt>
            <c:idx val="184"/>
            <c:invertIfNegative val="1"/>
            <c:bubble3D val="0"/>
            <c:spPr>
              <a:solidFill>
                <a:srgbClr val="00A097"/>
              </a:solidFill>
            </c:spPr>
            <c:extLst>
              <c:ext xmlns:c16="http://schemas.microsoft.com/office/drawing/2014/chart" uri="{C3380CC4-5D6E-409C-BE32-E72D297353CC}">
                <c16:uniqueId val="{00000173-2993-41DE-A2CB-63102DE87051}"/>
              </c:ext>
            </c:extLst>
          </c:dPt>
          <c:dPt>
            <c:idx val="185"/>
            <c:invertIfNegative val="1"/>
            <c:bubble3D val="0"/>
            <c:spPr>
              <a:solidFill>
                <a:srgbClr val="00A097"/>
              </a:solidFill>
            </c:spPr>
            <c:extLst>
              <c:ext xmlns:c16="http://schemas.microsoft.com/office/drawing/2014/chart" uri="{C3380CC4-5D6E-409C-BE32-E72D297353CC}">
                <c16:uniqueId val="{00000175-2993-41DE-A2CB-63102DE87051}"/>
              </c:ext>
            </c:extLst>
          </c:dPt>
          <c:dPt>
            <c:idx val="186"/>
            <c:invertIfNegative val="1"/>
            <c:bubble3D val="0"/>
            <c:spPr>
              <a:solidFill>
                <a:srgbClr val="00A097"/>
              </a:solidFill>
            </c:spPr>
            <c:extLst>
              <c:ext xmlns:c16="http://schemas.microsoft.com/office/drawing/2014/chart" uri="{C3380CC4-5D6E-409C-BE32-E72D297353CC}">
                <c16:uniqueId val="{00000177-2993-41DE-A2CB-63102DE87051}"/>
              </c:ext>
            </c:extLst>
          </c:dPt>
          <c:dPt>
            <c:idx val="187"/>
            <c:invertIfNegative val="1"/>
            <c:bubble3D val="0"/>
            <c:spPr>
              <a:solidFill>
                <a:srgbClr val="00A097"/>
              </a:solidFill>
            </c:spPr>
            <c:extLst>
              <c:ext xmlns:c16="http://schemas.microsoft.com/office/drawing/2014/chart" uri="{C3380CC4-5D6E-409C-BE32-E72D297353CC}">
                <c16:uniqueId val="{00000179-2993-41DE-A2CB-63102DE87051}"/>
              </c:ext>
            </c:extLst>
          </c:dPt>
          <c:dPt>
            <c:idx val="188"/>
            <c:invertIfNegative val="1"/>
            <c:bubble3D val="0"/>
            <c:spPr>
              <a:solidFill>
                <a:srgbClr val="00A097"/>
              </a:solidFill>
            </c:spPr>
            <c:extLst>
              <c:ext xmlns:c16="http://schemas.microsoft.com/office/drawing/2014/chart" uri="{C3380CC4-5D6E-409C-BE32-E72D297353CC}">
                <c16:uniqueId val="{0000017B-2993-41DE-A2CB-63102DE87051}"/>
              </c:ext>
            </c:extLst>
          </c:dPt>
          <c:dPt>
            <c:idx val="189"/>
            <c:invertIfNegative val="1"/>
            <c:bubble3D val="0"/>
            <c:spPr>
              <a:solidFill>
                <a:srgbClr val="00A097"/>
              </a:solidFill>
            </c:spPr>
            <c:extLst>
              <c:ext xmlns:c16="http://schemas.microsoft.com/office/drawing/2014/chart" uri="{C3380CC4-5D6E-409C-BE32-E72D297353CC}">
                <c16:uniqueId val="{0000017D-2993-41DE-A2CB-63102DE87051}"/>
              </c:ext>
            </c:extLst>
          </c:dPt>
          <c:dPt>
            <c:idx val="190"/>
            <c:invertIfNegative val="1"/>
            <c:bubble3D val="0"/>
            <c:spPr>
              <a:solidFill>
                <a:srgbClr val="00A097"/>
              </a:solidFill>
            </c:spPr>
            <c:extLst>
              <c:ext xmlns:c16="http://schemas.microsoft.com/office/drawing/2014/chart" uri="{C3380CC4-5D6E-409C-BE32-E72D297353CC}">
                <c16:uniqueId val="{0000017F-2993-41DE-A2CB-63102DE87051}"/>
              </c:ext>
            </c:extLst>
          </c:dPt>
          <c:dPt>
            <c:idx val="191"/>
            <c:invertIfNegative val="1"/>
            <c:bubble3D val="0"/>
            <c:spPr>
              <a:solidFill>
                <a:srgbClr val="00A097"/>
              </a:solidFill>
            </c:spPr>
            <c:extLst>
              <c:ext xmlns:c16="http://schemas.microsoft.com/office/drawing/2014/chart" uri="{C3380CC4-5D6E-409C-BE32-E72D297353CC}">
                <c16:uniqueId val="{00000181-2993-41DE-A2CB-63102DE87051}"/>
              </c:ext>
            </c:extLst>
          </c:dPt>
          <c:dPt>
            <c:idx val="192"/>
            <c:invertIfNegative val="1"/>
            <c:bubble3D val="0"/>
            <c:spPr>
              <a:solidFill>
                <a:srgbClr val="00A097"/>
              </a:solidFill>
            </c:spPr>
            <c:extLst>
              <c:ext xmlns:c16="http://schemas.microsoft.com/office/drawing/2014/chart" uri="{C3380CC4-5D6E-409C-BE32-E72D297353CC}">
                <c16:uniqueId val="{00000183-2993-41DE-A2CB-63102DE87051}"/>
              </c:ext>
            </c:extLst>
          </c:dPt>
          <c:dPt>
            <c:idx val="193"/>
            <c:invertIfNegative val="1"/>
            <c:bubble3D val="0"/>
            <c:spPr>
              <a:solidFill>
                <a:srgbClr val="00A097"/>
              </a:solidFill>
            </c:spPr>
            <c:extLst>
              <c:ext xmlns:c16="http://schemas.microsoft.com/office/drawing/2014/chart" uri="{C3380CC4-5D6E-409C-BE32-E72D297353CC}">
                <c16:uniqueId val="{00000185-2993-41DE-A2CB-63102DE87051}"/>
              </c:ext>
            </c:extLst>
          </c:dPt>
          <c:dPt>
            <c:idx val="194"/>
            <c:invertIfNegative val="1"/>
            <c:bubble3D val="0"/>
            <c:spPr>
              <a:solidFill>
                <a:srgbClr val="00A097"/>
              </a:solidFill>
            </c:spPr>
            <c:extLst>
              <c:ext xmlns:c16="http://schemas.microsoft.com/office/drawing/2014/chart" uri="{C3380CC4-5D6E-409C-BE32-E72D297353CC}">
                <c16:uniqueId val="{00000187-2993-41DE-A2CB-63102DE87051}"/>
              </c:ext>
            </c:extLst>
          </c:dPt>
          <c:dPt>
            <c:idx val="195"/>
            <c:invertIfNegative val="1"/>
            <c:bubble3D val="0"/>
            <c:spPr>
              <a:solidFill>
                <a:srgbClr val="00A097"/>
              </a:solidFill>
            </c:spPr>
            <c:extLst>
              <c:ext xmlns:c16="http://schemas.microsoft.com/office/drawing/2014/chart" uri="{C3380CC4-5D6E-409C-BE32-E72D297353CC}">
                <c16:uniqueId val="{00000189-2993-41DE-A2CB-63102DE87051}"/>
              </c:ext>
            </c:extLst>
          </c:dPt>
          <c:dPt>
            <c:idx val="196"/>
            <c:invertIfNegative val="1"/>
            <c:bubble3D val="0"/>
            <c:spPr>
              <a:solidFill>
                <a:srgbClr val="00A097"/>
              </a:solidFill>
            </c:spPr>
            <c:extLst>
              <c:ext xmlns:c16="http://schemas.microsoft.com/office/drawing/2014/chart" uri="{C3380CC4-5D6E-409C-BE32-E72D297353CC}">
                <c16:uniqueId val="{0000018B-2993-41DE-A2CB-63102DE87051}"/>
              </c:ext>
            </c:extLst>
          </c:dPt>
          <c:dPt>
            <c:idx val="197"/>
            <c:invertIfNegative val="1"/>
            <c:bubble3D val="0"/>
            <c:spPr>
              <a:solidFill>
                <a:srgbClr val="00A097"/>
              </a:solidFill>
            </c:spPr>
            <c:extLst>
              <c:ext xmlns:c16="http://schemas.microsoft.com/office/drawing/2014/chart" uri="{C3380CC4-5D6E-409C-BE32-E72D297353CC}">
                <c16:uniqueId val="{0000018D-2993-41DE-A2CB-63102DE87051}"/>
              </c:ext>
            </c:extLst>
          </c:dPt>
          <c:dPt>
            <c:idx val="198"/>
            <c:invertIfNegative val="1"/>
            <c:bubble3D val="0"/>
            <c:spPr>
              <a:solidFill>
                <a:srgbClr val="00A097"/>
              </a:solidFill>
            </c:spPr>
            <c:extLst>
              <c:ext xmlns:c16="http://schemas.microsoft.com/office/drawing/2014/chart" uri="{C3380CC4-5D6E-409C-BE32-E72D297353CC}">
                <c16:uniqueId val="{0000018F-2993-41DE-A2CB-63102DE87051}"/>
              </c:ext>
            </c:extLst>
          </c:dPt>
          <c:dPt>
            <c:idx val="199"/>
            <c:invertIfNegative val="1"/>
            <c:bubble3D val="0"/>
            <c:spPr>
              <a:solidFill>
                <a:srgbClr val="00A097"/>
              </a:solidFill>
            </c:spPr>
            <c:extLst>
              <c:ext xmlns:c16="http://schemas.microsoft.com/office/drawing/2014/chart" uri="{C3380CC4-5D6E-409C-BE32-E72D297353CC}">
                <c16:uniqueId val="{00000191-2993-41DE-A2CB-63102DE87051}"/>
              </c:ext>
            </c:extLst>
          </c:dPt>
          <c:dPt>
            <c:idx val="200"/>
            <c:invertIfNegative val="1"/>
            <c:bubble3D val="0"/>
            <c:spPr>
              <a:solidFill>
                <a:srgbClr val="00A097"/>
              </a:solidFill>
            </c:spPr>
            <c:extLst>
              <c:ext xmlns:c16="http://schemas.microsoft.com/office/drawing/2014/chart" uri="{C3380CC4-5D6E-409C-BE32-E72D297353CC}">
                <c16:uniqueId val="{00000193-2993-41DE-A2CB-63102DE87051}"/>
              </c:ext>
            </c:extLst>
          </c:dPt>
          <c:dPt>
            <c:idx val="201"/>
            <c:invertIfNegative val="1"/>
            <c:bubble3D val="0"/>
            <c:spPr>
              <a:solidFill>
                <a:srgbClr val="00A097"/>
              </a:solidFill>
            </c:spPr>
            <c:extLst>
              <c:ext xmlns:c16="http://schemas.microsoft.com/office/drawing/2014/chart" uri="{C3380CC4-5D6E-409C-BE32-E72D297353CC}">
                <c16:uniqueId val="{00000195-2993-41DE-A2CB-63102DE87051}"/>
              </c:ext>
            </c:extLst>
          </c:dPt>
          <c:dPt>
            <c:idx val="202"/>
            <c:invertIfNegative val="1"/>
            <c:bubble3D val="0"/>
            <c:spPr>
              <a:solidFill>
                <a:srgbClr val="00A097"/>
              </a:solidFill>
            </c:spPr>
            <c:extLst>
              <c:ext xmlns:c16="http://schemas.microsoft.com/office/drawing/2014/chart" uri="{C3380CC4-5D6E-409C-BE32-E72D297353CC}">
                <c16:uniqueId val="{00000197-2993-41DE-A2CB-63102DE87051}"/>
              </c:ext>
            </c:extLst>
          </c:dPt>
          <c:dPt>
            <c:idx val="203"/>
            <c:invertIfNegative val="1"/>
            <c:bubble3D val="0"/>
            <c:spPr>
              <a:solidFill>
                <a:srgbClr val="00A097"/>
              </a:solidFill>
            </c:spPr>
            <c:extLst>
              <c:ext xmlns:c16="http://schemas.microsoft.com/office/drawing/2014/chart" uri="{C3380CC4-5D6E-409C-BE32-E72D297353CC}">
                <c16:uniqueId val="{00000199-2993-41DE-A2CB-63102DE87051}"/>
              </c:ext>
            </c:extLst>
          </c:dPt>
          <c:dPt>
            <c:idx val="204"/>
            <c:invertIfNegative val="1"/>
            <c:bubble3D val="0"/>
            <c:spPr>
              <a:solidFill>
                <a:srgbClr val="00A097"/>
              </a:solidFill>
            </c:spPr>
            <c:extLst>
              <c:ext xmlns:c16="http://schemas.microsoft.com/office/drawing/2014/chart" uri="{C3380CC4-5D6E-409C-BE32-E72D297353CC}">
                <c16:uniqueId val="{0000019B-2993-41DE-A2CB-63102DE87051}"/>
              </c:ext>
            </c:extLst>
          </c:dPt>
          <c:dPt>
            <c:idx val="205"/>
            <c:invertIfNegative val="1"/>
            <c:bubble3D val="0"/>
            <c:spPr>
              <a:solidFill>
                <a:srgbClr val="00A097"/>
              </a:solidFill>
            </c:spPr>
            <c:extLst>
              <c:ext xmlns:c16="http://schemas.microsoft.com/office/drawing/2014/chart" uri="{C3380CC4-5D6E-409C-BE32-E72D297353CC}">
                <c16:uniqueId val="{0000019D-2993-41DE-A2CB-63102DE87051}"/>
              </c:ext>
            </c:extLst>
          </c:dPt>
          <c:dPt>
            <c:idx val="206"/>
            <c:invertIfNegative val="1"/>
            <c:bubble3D val="0"/>
            <c:spPr>
              <a:solidFill>
                <a:srgbClr val="00A097"/>
              </a:solidFill>
            </c:spPr>
            <c:extLst>
              <c:ext xmlns:c16="http://schemas.microsoft.com/office/drawing/2014/chart" uri="{C3380CC4-5D6E-409C-BE32-E72D297353CC}">
                <c16:uniqueId val="{0000019F-2993-41DE-A2CB-63102DE87051}"/>
              </c:ext>
            </c:extLst>
          </c:dPt>
          <c:dPt>
            <c:idx val="207"/>
            <c:invertIfNegative val="1"/>
            <c:bubble3D val="0"/>
            <c:spPr>
              <a:solidFill>
                <a:srgbClr val="00A097"/>
              </a:solidFill>
            </c:spPr>
            <c:extLst>
              <c:ext xmlns:c16="http://schemas.microsoft.com/office/drawing/2014/chart" uri="{C3380CC4-5D6E-409C-BE32-E72D297353CC}">
                <c16:uniqueId val="{000001A1-2993-41DE-A2CB-63102DE87051}"/>
              </c:ext>
            </c:extLst>
          </c:dPt>
          <c:dPt>
            <c:idx val="208"/>
            <c:invertIfNegative val="1"/>
            <c:bubble3D val="0"/>
            <c:spPr>
              <a:solidFill>
                <a:srgbClr val="00A097"/>
              </a:solidFill>
            </c:spPr>
            <c:extLst>
              <c:ext xmlns:c16="http://schemas.microsoft.com/office/drawing/2014/chart" uri="{C3380CC4-5D6E-409C-BE32-E72D297353CC}">
                <c16:uniqueId val="{000001A3-2993-41DE-A2CB-63102DE87051}"/>
              </c:ext>
            </c:extLst>
          </c:dPt>
          <c:dPt>
            <c:idx val="209"/>
            <c:invertIfNegative val="1"/>
            <c:bubble3D val="0"/>
            <c:spPr>
              <a:solidFill>
                <a:srgbClr val="00A097"/>
              </a:solidFill>
            </c:spPr>
            <c:extLst>
              <c:ext xmlns:c16="http://schemas.microsoft.com/office/drawing/2014/chart" uri="{C3380CC4-5D6E-409C-BE32-E72D297353CC}">
                <c16:uniqueId val="{000001A5-2993-41DE-A2CB-63102DE87051}"/>
              </c:ext>
            </c:extLst>
          </c:dPt>
          <c:dPt>
            <c:idx val="210"/>
            <c:spPr>
              <a:solidFill>
                <a:srgbClr val="00A097"/>
              </a:solidFill>
            </c:spPr>
          </c:dPt>
          <c:dPt>
            <c:idx val="211"/>
            <c:spPr>
              <a:solidFill>
                <a:srgbClr val="00A097"/>
              </a:solidFill>
            </c:spPr>
          </c:dPt>
          <c:dPt>
            <c:idx val="212"/>
            <c:spPr>
              <a:solidFill>
                <a:srgbClr val="00A097"/>
              </a:solidFill>
            </c:spPr>
          </c:dPt>
          <c:dPt>
            <c:idx val="213"/>
            <c:spPr>
              <a:solidFill>
                <a:srgbClr val="00A097"/>
              </a:solidFill>
            </c:spPr>
          </c:dPt>
          <c:dPt>
            <c:idx val="214"/>
            <c:spPr>
              <a:solidFill>
                <a:srgbClr val="00A097"/>
              </a:solidFill>
            </c:spPr>
          </c:dPt>
          <c:dPt>
            <c:idx val="215"/>
            <c:spPr>
              <a:solidFill>
                <a:srgbClr val="00A097"/>
              </a:solidFill>
            </c:spPr>
          </c:dPt>
          <c:dPt>
            <c:idx val="216"/>
            <c:spPr>
              <a:solidFill>
                <a:srgbClr val="00A097"/>
              </a:solidFill>
            </c:spPr>
          </c:dPt>
          <c:dPt>
            <c:idx val="217"/>
            <c:spPr>
              <a:solidFill>
                <a:srgbClr val="00A097"/>
              </a:solidFill>
            </c:spPr>
          </c:dPt>
          <c:dPt>
            <c:idx val="218"/>
            <c:spPr>
              <a:solidFill>
                <a:srgbClr val="00A097"/>
              </a:solidFill>
            </c:spPr>
          </c:dPt>
          <c:dPt>
            <c:idx val="219"/>
            <c:spPr>
              <a:solidFill>
                <a:srgbClr val="00A097"/>
              </a:solidFill>
            </c:spPr>
          </c:dPt>
          <c:dPt>
            <c:idx val="220"/>
            <c:spPr>
              <a:solidFill>
                <a:srgbClr val="00A097"/>
              </a:solidFill>
            </c:spPr>
          </c:dPt>
          <c:dPt>
            <c:idx val="221"/>
            <c:spPr>
              <a:solidFill>
                <a:srgbClr val="00A097"/>
              </a:solidFill>
            </c:spPr>
          </c:dPt>
          <c:dPt>
            <c:idx val="222"/>
            <c:spPr>
              <a:solidFill>
                <a:srgbClr val="00A097"/>
              </a:solidFill>
            </c:spPr>
          </c:dPt>
          <c:dPt>
            <c:idx val="223"/>
            <c:spPr>
              <a:solidFill>
                <a:srgbClr val="00A097"/>
              </a:solidFill>
            </c:spPr>
          </c:dPt>
          <c:dPt>
            <c:idx val="224"/>
            <c:spPr>
              <a:solidFill>
                <a:srgbClr val="00A097"/>
              </a:solidFill>
            </c:spPr>
          </c:dPt>
          <c:dPt>
            <c:idx val="225"/>
            <c:spPr>
              <a:solidFill>
                <a:srgbClr val="00A097"/>
              </a:solidFill>
            </c:spPr>
          </c:dPt>
          <c:dPt>
            <c:idx val="226"/>
            <c:spPr>
              <a:solidFill>
                <a:srgbClr val="00A097"/>
              </a:solidFill>
            </c:spPr>
          </c:dPt>
          <c:dPt>
            <c:idx val="227"/>
            <c:spPr>
              <a:solidFill>
                <a:srgbClr val="00A097"/>
              </a:solidFill>
            </c:spPr>
          </c:dPt>
          <c:dPt>
            <c:idx val="228"/>
            <c:spPr>
              <a:solidFill>
                <a:srgbClr val="00A097"/>
              </a:solidFill>
            </c:spPr>
          </c:dPt>
          <c:dPt>
            <c:idx val="229"/>
            <c:spPr>
              <a:solidFill>
                <a:srgbClr val="00A097"/>
              </a:solidFill>
            </c:spPr>
          </c:dPt>
          <c:dPt>
            <c:idx val="230"/>
            <c:spPr>
              <a:solidFill>
                <a:srgbClr val="00A097"/>
              </a:solidFill>
            </c:spPr>
          </c:dPt>
          <c:dPt>
            <c:idx val="231"/>
            <c:spPr>
              <a:solidFill>
                <a:srgbClr val="00A097"/>
              </a:solidFill>
            </c:spPr>
          </c:dPt>
          <c:dPt>
            <c:idx val="232"/>
            <c:spPr>
              <a:solidFill>
                <a:srgbClr val="00A097"/>
              </a:solidFill>
            </c:spPr>
          </c:dPt>
          <c:dPt>
            <c:idx val="233"/>
            <c:spPr>
              <a:solidFill>
                <a:srgbClr val="00A097"/>
              </a:solidFill>
            </c:spPr>
          </c:dPt>
          <c:dPt>
            <c:idx val="234"/>
            <c:spPr>
              <a:solidFill>
                <a:srgbClr val="00A097"/>
              </a:solidFill>
            </c:spPr>
          </c:dPt>
          <c:dPt>
            <c:idx val="235"/>
            <c:spPr>
              <a:solidFill>
                <a:srgbClr val="00A097"/>
              </a:solidFill>
            </c:spPr>
          </c:dPt>
          <c:dPt>
            <c:idx val="236"/>
            <c:spPr>
              <a:solidFill>
                <a:srgbClr val="00A097"/>
              </a:solidFill>
            </c:spPr>
          </c:dPt>
          <c:dPt>
            <c:idx val="237"/>
            <c:spPr>
              <a:solidFill>
                <a:srgbClr val="00A097"/>
              </a:solidFill>
            </c:spPr>
          </c:dPt>
          <c:dPt>
            <c:idx val="238"/>
            <c:spPr>
              <a:solidFill>
                <a:srgbClr val="00A097"/>
              </a:solidFill>
            </c:spPr>
          </c:dPt>
          <c:dPt>
            <c:idx val="239"/>
            <c:spPr>
              <a:solidFill>
                <a:srgbClr val="00A097"/>
              </a:solidFill>
            </c:spPr>
          </c:dPt>
          <c:dPt>
            <c:idx val="240"/>
            <c:spPr>
              <a:solidFill>
                <a:srgbClr val="00A097"/>
              </a:solidFill>
            </c:spPr>
          </c:dPt>
          <c:dPt>
            <c:idx val="241"/>
            <c:spPr>
              <a:solidFill>
                <a:srgbClr val="00A097"/>
              </a:solidFill>
            </c:spPr>
          </c:dPt>
          <c:dPt>
            <c:idx val="242"/>
            <c:spPr>
              <a:solidFill>
                <a:srgbClr val="00A097"/>
              </a:solidFill>
            </c:spPr>
          </c:dPt>
          <c:dPt>
            <c:idx val="243"/>
            <c:spPr>
              <a:solidFill>
                <a:srgbClr val="00A097"/>
              </a:solidFill>
            </c:spPr>
          </c:dPt>
          <c:dPt>
            <c:idx val="244"/>
            <c:spPr>
              <a:solidFill>
                <a:srgbClr val="00A097"/>
              </a:solidFill>
            </c:spPr>
          </c:dPt>
          <c:dPt>
            <c:idx val="245"/>
            <c:spPr>
              <a:solidFill>
                <a:srgbClr val="00A097"/>
              </a:solidFill>
            </c:spPr>
          </c:dPt>
          <c:dPt>
            <c:idx val="246"/>
            <c:spPr>
              <a:solidFill>
                <a:srgbClr val="00A097"/>
              </a:solidFill>
            </c:spPr>
          </c:dPt>
          <c:dPt>
            <c:idx val="247"/>
            <c:spPr>
              <a:solidFill>
                <a:srgbClr val="00A097"/>
              </a:solidFill>
            </c:spPr>
          </c:dPt>
          <c:dPt>
            <c:idx val="248"/>
            <c:spPr>
              <a:solidFill>
                <a:srgbClr val="00A097"/>
              </a:solidFill>
            </c:spPr>
          </c:dPt>
          <c:dPt>
            <c:idx val="249"/>
            <c:spPr>
              <a:solidFill>
                <a:srgbClr val="00A097"/>
              </a:solidFill>
            </c:spPr>
          </c:dPt>
          <c:dPt>
            <c:idx val="250"/>
            <c:spPr>
              <a:solidFill>
                <a:srgbClr val="00A097"/>
              </a:solidFill>
            </c:spPr>
          </c:dPt>
          <c:dPt>
            <c:idx val="251"/>
            <c:spPr>
              <a:solidFill>
                <a:srgbClr val="00A097"/>
              </a:solidFill>
            </c:spPr>
          </c:dPt>
          <c:dPt>
            <c:idx val="252"/>
            <c:spPr>
              <a:solidFill>
                <a:srgbClr val="00A097"/>
              </a:solidFill>
            </c:spPr>
          </c:dPt>
          <c:dPt>
            <c:idx val="253"/>
            <c:spPr>
              <a:solidFill>
                <a:srgbClr val="00A097"/>
              </a:solidFill>
            </c:spPr>
          </c:dPt>
          <c:dPt>
            <c:idx val="254"/>
            <c:spPr>
              <a:solidFill>
                <a:srgbClr val="00A097"/>
              </a:solidFill>
            </c:spPr>
          </c:dPt>
          <c:dPt>
            <c:idx val="255"/>
            <c:spPr>
              <a:solidFill>
                <a:srgbClr val="00A097"/>
              </a:solidFill>
            </c:spPr>
          </c:dPt>
          <c:dPt>
            <c:idx val="256"/>
            <c:spPr>
              <a:solidFill>
                <a:srgbClr val="00A097"/>
              </a:solidFill>
            </c:spPr>
          </c:dPt>
          <c:dPt>
            <c:idx val="257"/>
            <c:spPr>
              <a:solidFill>
                <a:srgbClr val="00A097"/>
              </a:solidFill>
            </c:spPr>
          </c:dPt>
          <c:dPt>
            <c:idx val="258"/>
            <c:spPr>
              <a:solidFill>
                <a:srgbClr val="00A097"/>
              </a:solidFill>
            </c:spPr>
          </c:dPt>
          <c:dPt>
            <c:idx val="259"/>
            <c:spPr>
              <a:solidFill>
                <a:srgbClr val="00A097"/>
              </a:solidFill>
            </c:spPr>
          </c:dPt>
          <c:dPt>
            <c:idx val="260"/>
            <c:spPr>
              <a:solidFill>
                <a:srgbClr val="00A097"/>
              </a:solidFill>
            </c:spPr>
          </c:dPt>
          <c:dPt>
            <c:idx val="261"/>
            <c:spPr>
              <a:solidFill>
                <a:srgbClr val="00A097"/>
              </a:solidFill>
            </c:spPr>
          </c:dPt>
          <c:dPt>
            <c:idx val="262"/>
            <c:spPr>
              <a:solidFill>
                <a:srgbClr val="00A097"/>
              </a:solidFill>
            </c:spPr>
          </c:dPt>
          <c:dPt>
            <c:idx val="263"/>
            <c:spPr>
              <a:solidFill>
                <a:srgbClr val="00A097"/>
              </a:solidFill>
            </c:spPr>
          </c:dPt>
          <c:dPt>
            <c:idx val="264"/>
            <c:spPr>
              <a:solidFill>
                <a:srgbClr val="00A097"/>
              </a:solidFill>
            </c:spPr>
          </c:dPt>
          <c:dPt>
            <c:idx val="265"/>
            <c:spPr>
              <a:solidFill>
                <a:srgbClr val="00A097"/>
              </a:solidFill>
            </c:spPr>
          </c:dPt>
          <c:dPt>
            <c:idx val="266"/>
            <c:spPr>
              <a:solidFill>
                <a:srgbClr val="00A097"/>
              </a:solidFill>
            </c:spPr>
          </c:dPt>
          <c:dPt>
            <c:idx val="267"/>
            <c:spPr>
              <a:solidFill>
                <a:srgbClr val="00A097"/>
              </a:solidFill>
            </c:spPr>
          </c:dPt>
          <c:dPt>
            <c:idx val="268"/>
            <c:spPr>
              <a:solidFill>
                <a:srgbClr val="00A097"/>
              </a:solidFill>
            </c:spPr>
          </c:dPt>
          <c:dPt>
            <c:idx val="269"/>
            <c:spPr>
              <a:solidFill>
                <a:srgbClr val="00A097"/>
              </a:solidFill>
            </c:spPr>
          </c:dPt>
          <c:dPt>
            <c:idx val="270"/>
            <c:spPr>
              <a:solidFill>
                <a:srgbClr val="00A097"/>
              </a:solidFill>
            </c:spPr>
          </c:dPt>
          <c:dPt>
            <c:idx val="271"/>
            <c:spPr>
              <a:solidFill>
                <a:srgbClr val="00A097"/>
              </a:solidFill>
            </c:spPr>
          </c:dPt>
          <c:dPt>
            <c:idx val="272"/>
            <c:spPr>
              <a:solidFill>
                <a:srgbClr val="00A097"/>
              </a:solidFill>
            </c:spPr>
          </c:dPt>
          <c:dPt>
            <c:idx val="273"/>
            <c:spPr>
              <a:solidFill>
                <a:srgbClr val="00A097"/>
              </a:solidFill>
            </c:spPr>
          </c:dPt>
          <c:dPt>
            <c:idx val="274"/>
            <c:spPr>
              <a:solidFill>
                <a:srgbClr val="00A097"/>
              </a:solidFill>
            </c:spPr>
          </c:dPt>
          <c:dPt>
            <c:idx val="275"/>
            <c:spPr>
              <a:solidFill>
                <a:srgbClr val="00A097"/>
              </a:solidFill>
            </c:spPr>
          </c:dPt>
          <c:dPt>
            <c:idx val="276"/>
            <c:spPr>
              <a:solidFill>
                <a:srgbClr val="00A097"/>
              </a:solidFill>
            </c:spPr>
          </c:dPt>
          <c:dPt>
            <c:idx val="277"/>
            <c:spPr>
              <a:solidFill>
                <a:srgbClr val="00A097"/>
              </a:solidFill>
            </c:spPr>
          </c:dPt>
          <c:dPt>
            <c:idx val="278"/>
            <c:spPr>
              <a:solidFill>
                <a:srgbClr val="00A097"/>
              </a:solidFill>
            </c:spPr>
          </c:dPt>
          <c:dPt>
            <c:idx val="279"/>
            <c:spPr>
              <a:solidFill>
                <a:srgbClr val="00A097"/>
              </a:solidFill>
            </c:spPr>
          </c:dPt>
          <c:dPt>
            <c:idx val="280"/>
            <c:spPr>
              <a:solidFill>
                <a:srgbClr val="00A097"/>
              </a:solidFill>
            </c:spPr>
          </c:dPt>
          <c:dPt>
            <c:idx val="281"/>
            <c:spPr>
              <a:solidFill>
                <a:srgbClr val="00A097"/>
              </a:solidFill>
            </c:spPr>
          </c:dPt>
          <c:dPt>
            <c:idx val="282"/>
            <c:spPr>
              <a:solidFill>
                <a:srgbClr val="00A097"/>
              </a:solidFill>
            </c:spPr>
          </c:dPt>
          <c:dPt>
            <c:idx val="283"/>
            <c:spPr>
              <a:solidFill>
                <a:srgbClr val="7ECAC4"/>
              </a:solidFill>
            </c:spPr>
          </c:dPt>
          <c:dPt>
            <c:idx val="284"/>
            <c:spPr>
              <a:solidFill>
                <a:srgbClr val="7ECAC4"/>
              </a:solidFill>
            </c:spPr>
          </c:dPt>
          <c:dPt>
            <c:idx val="285"/>
            <c:spPr>
              <a:solidFill>
                <a:srgbClr val="7ECAC4"/>
              </a:solidFill>
            </c:spPr>
          </c:dPt>
          <c:dPt>
            <c:idx val="286"/>
            <c:spPr>
              <a:solidFill>
                <a:srgbClr val="7ECAC4"/>
              </a:solidFill>
            </c:spPr>
          </c:dPt>
          <c:dPt>
            <c:idx val="287"/>
            <c:spPr>
              <a:solidFill>
                <a:srgbClr val="7ECAC4"/>
              </a:solidFill>
            </c:spPr>
          </c:dPt>
          <c:dPt>
            <c:idx val="288"/>
            <c:spPr>
              <a:solidFill>
                <a:srgbClr val="7ECAC4"/>
              </a:solidFill>
            </c:spPr>
          </c:dPt>
          <c:dPt>
            <c:idx val="289"/>
            <c:spPr>
              <a:solidFill>
                <a:srgbClr val="7ECAC4"/>
              </a:solidFill>
            </c:spPr>
          </c:dPt>
          <c:dPt>
            <c:idx val="290"/>
            <c:spPr>
              <a:solidFill>
                <a:srgbClr val="7ECAC4"/>
              </a:solidFill>
            </c:spPr>
          </c:dPt>
          <c:dPt>
            <c:idx val="291"/>
            <c:spPr>
              <a:solidFill>
                <a:srgbClr val="7ECAC4"/>
              </a:solidFill>
            </c:spPr>
          </c:dPt>
          <c:dPt>
            <c:idx val="292"/>
            <c:spPr>
              <a:solidFill>
                <a:srgbClr val="7ECAC4"/>
              </a:solidFill>
            </c:spPr>
          </c:dPt>
          <c:dPt>
            <c:idx val="293"/>
            <c:spPr>
              <a:solidFill>
                <a:srgbClr val="7ECAC4"/>
              </a:solidFill>
            </c:spPr>
          </c:dPt>
          <c:dPt>
            <c:idx val="294"/>
            <c:spPr>
              <a:solidFill>
                <a:srgbClr val="7ECAC4"/>
              </a:solidFill>
            </c:spPr>
          </c:dPt>
          <c:dPt>
            <c:idx val="295"/>
            <c:spPr>
              <a:solidFill>
                <a:srgbClr val="7ECAC4"/>
              </a:solidFill>
            </c:spPr>
          </c:dPt>
          <c:dPt>
            <c:idx val="296"/>
            <c:spPr>
              <a:solidFill>
                <a:srgbClr val="7ECAC4"/>
              </a:solidFill>
            </c:spPr>
          </c:dPt>
          <c:dPt>
            <c:idx val="297"/>
            <c:spPr>
              <a:solidFill>
                <a:srgbClr val="7ECAC4"/>
              </a:solidFill>
            </c:spPr>
          </c:dPt>
          <c:dPt>
            <c:idx val="298"/>
            <c:spPr>
              <a:solidFill>
                <a:srgbClr val="7ECAC4"/>
              </a:solidFill>
            </c:spPr>
          </c:dPt>
          <c:dPt>
            <c:idx val="299"/>
            <c:spPr>
              <a:solidFill>
                <a:srgbClr val="7ECAC4"/>
              </a:solidFill>
            </c:spPr>
          </c:dPt>
          <c:dPt>
            <c:idx val="300"/>
            <c:spPr>
              <a:solidFill>
                <a:srgbClr val="7ECAC4"/>
              </a:solidFill>
            </c:spPr>
          </c:dPt>
          <c:dPt>
            <c:idx val="301"/>
            <c:spPr>
              <a:solidFill>
                <a:srgbClr val="7ECAC4"/>
              </a:solidFill>
            </c:spPr>
          </c:dPt>
          <c:dPt>
            <c:idx val="302"/>
            <c:spPr>
              <a:solidFill>
                <a:srgbClr val="7ECAC4"/>
              </a:solidFill>
            </c:spPr>
          </c:dPt>
          <c:dPt>
            <c:idx val="303"/>
            <c:spPr>
              <a:solidFill>
                <a:srgbClr val="7ECAC4"/>
              </a:solidFill>
            </c:spPr>
          </c:dPt>
          <c:dPt>
            <c:idx val="304"/>
            <c:spPr>
              <a:solidFill>
                <a:srgbClr val="7ECAC4"/>
              </a:solidFill>
            </c:spPr>
          </c:dPt>
          <c:dPt>
            <c:idx val="305"/>
            <c:spPr>
              <a:solidFill>
                <a:srgbClr val="7ECAC4"/>
              </a:solidFill>
            </c:spPr>
          </c:dPt>
          <c:dPt>
            <c:idx val="306"/>
            <c:spPr>
              <a:solidFill>
                <a:srgbClr val="7ECAC4"/>
              </a:solidFill>
            </c:spPr>
          </c:dPt>
          <c:dPt>
            <c:idx val="307"/>
            <c:spPr>
              <a:solidFill>
                <a:srgbClr val="7ECAC4"/>
              </a:solidFill>
            </c:spPr>
          </c:dPt>
          <c:dPt>
            <c:idx val="308"/>
            <c:spPr>
              <a:solidFill>
                <a:srgbClr val="7ECAC4"/>
              </a:solidFill>
            </c:spPr>
          </c:dPt>
          <c:dPt>
            <c:idx val="309"/>
            <c:spPr>
              <a:solidFill>
                <a:srgbClr val="7ECAC4"/>
              </a:solidFill>
            </c:spPr>
          </c:dPt>
          <c:dPt>
            <c:idx val="310"/>
            <c:spPr>
              <a:solidFill>
                <a:srgbClr val="7ECAC4"/>
              </a:solidFill>
            </c:spPr>
          </c:dPt>
          <c:dPt>
            <c:idx val="311"/>
            <c:spPr>
              <a:solidFill>
                <a:srgbClr val="7ECAC4"/>
              </a:solidFill>
            </c:spPr>
          </c:dPt>
          <c:dPt>
            <c:idx val="312"/>
            <c:spPr>
              <a:solidFill>
                <a:srgbClr val="7ECAC4"/>
              </a:solidFill>
            </c:spPr>
          </c:dPt>
          <c:dPt>
            <c:idx val="313"/>
            <c:spPr>
              <a:solidFill>
                <a:srgbClr val="7ECAC4"/>
              </a:solidFill>
            </c:spPr>
          </c:dPt>
          <c:dPt>
            <c:idx val="314"/>
            <c:spPr>
              <a:solidFill>
                <a:srgbClr val="7ECAC4"/>
              </a:solidFill>
            </c:spPr>
          </c:dPt>
          <c:dPt>
            <c:idx val="315"/>
            <c:spPr>
              <a:solidFill>
                <a:srgbClr val="7ECAC4"/>
              </a:solidFill>
            </c:spPr>
          </c:dPt>
          <c:dPt>
            <c:idx val="316"/>
            <c:spPr>
              <a:solidFill>
                <a:srgbClr val="7ECAC4"/>
              </a:solidFill>
            </c:spPr>
          </c:dPt>
          <c:dPt>
            <c:idx val="317"/>
            <c:spPr>
              <a:solidFill>
                <a:srgbClr val="7ECAC4"/>
              </a:solidFill>
            </c:spPr>
          </c:dPt>
          <c:dPt>
            <c:idx val="318"/>
            <c:spPr>
              <a:solidFill>
                <a:srgbClr val="7ECAC4"/>
              </a:solidFill>
            </c:spPr>
          </c:dPt>
          <c:dPt>
            <c:idx val="319"/>
            <c:spPr>
              <a:solidFill>
                <a:srgbClr val="7ECAC4"/>
              </a:solidFill>
            </c:spPr>
          </c:dPt>
          <c:dPt>
            <c:idx val="320"/>
            <c:spPr>
              <a:solidFill>
                <a:srgbClr val="7ECAC4"/>
              </a:solidFill>
            </c:spPr>
          </c:dPt>
          <c:dPt>
            <c:idx val="321"/>
            <c:spPr>
              <a:solidFill>
                <a:srgbClr val="7ECAC4"/>
              </a:solidFill>
            </c:spPr>
          </c:dPt>
          <c:dPt>
            <c:idx val="322"/>
            <c:spPr>
              <a:solidFill>
                <a:srgbClr val="7ECAC4"/>
              </a:solidFill>
            </c:spPr>
          </c:dPt>
          <c:dPt>
            <c:idx val="323"/>
            <c:spPr>
              <a:solidFill>
                <a:srgbClr val="7ECAC4"/>
              </a:solidFill>
            </c:spPr>
          </c:dPt>
          <c:dPt>
            <c:idx val="324"/>
            <c:spPr>
              <a:solidFill>
                <a:srgbClr val="7ECAC4"/>
              </a:solidFill>
            </c:spPr>
          </c:dPt>
          <c:dPt>
            <c:idx val="325"/>
            <c:spPr>
              <a:solidFill>
                <a:srgbClr val="7ECAC4"/>
              </a:solidFill>
            </c:spPr>
          </c:dPt>
          <c:dPt>
            <c:idx val="326"/>
            <c:spPr>
              <a:solidFill>
                <a:srgbClr val="7ECAC4"/>
              </a:solidFill>
            </c:spPr>
          </c:dPt>
          <c:dPt>
            <c:idx val="327"/>
            <c:spPr>
              <a:solidFill>
                <a:srgbClr val="7ECAC4"/>
              </a:solidFill>
            </c:spPr>
          </c:dPt>
          <c:dPt>
            <c:idx val="328"/>
            <c:spPr>
              <a:solidFill>
                <a:srgbClr val="7ECAC4"/>
              </a:solidFill>
            </c:spPr>
          </c:dPt>
          <c:dPt>
            <c:idx val="329"/>
            <c:spPr>
              <a:solidFill>
                <a:srgbClr val="7ECAC4"/>
              </a:solidFill>
            </c:spPr>
          </c:dPt>
          <c:dPt>
            <c:idx val="330"/>
            <c:spPr>
              <a:solidFill>
                <a:srgbClr val="7ECAC4"/>
              </a:solidFill>
            </c:spPr>
          </c:dPt>
          <c:dPt>
            <c:idx val="331"/>
            <c:spPr>
              <a:solidFill>
                <a:srgbClr val="7ECAC4"/>
              </a:solidFill>
            </c:spPr>
          </c:dPt>
          <c:dPt>
            <c:idx val="332"/>
            <c:spPr>
              <a:solidFill>
                <a:srgbClr val="7ECAC4"/>
              </a:solidFill>
            </c:spPr>
          </c:dPt>
          <c:dPt>
            <c:idx val="333"/>
            <c:spPr>
              <a:solidFill>
                <a:srgbClr val="7ECAC4"/>
              </a:solidFill>
            </c:spPr>
          </c:dPt>
          <c:dPt>
            <c:idx val="334"/>
            <c:spPr>
              <a:solidFill>
                <a:srgbClr val="7ECAC4"/>
              </a:solidFill>
            </c:spPr>
          </c:dPt>
          <c:dPt>
            <c:idx val="335"/>
            <c:spPr>
              <a:solidFill>
                <a:srgbClr val="7ECAC4"/>
              </a:solidFill>
            </c:spPr>
          </c:dPt>
          <c:dPt>
            <c:idx val="336"/>
            <c:spPr>
              <a:solidFill>
                <a:srgbClr val="7ECAC4"/>
              </a:solidFill>
            </c:spPr>
          </c:dPt>
          <c:dPt>
            <c:idx val="337"/>
            <c:spPr>
              <a:solidFill>
                <a:srgbClr val="7ECAC4"/>
              </a:solidFill>
            </c:spPr>
          </c:dPt>
          <c:dPt>
            <c:idx val="338"/>
            <c:spPr>
              <a:solidFill>
                <a:srgbClr val="7ECAC4"/>
              </a:solidFill>
            </c:spPr>
          </c:dPt>
          <c:dPt>
            <c:idx val="339"/>
            <c:spPr>
              <a:solidFill>
                <a:srgbClr val="7ECAC4"/>
              </a:solidFill>
            </c:spPr>
          </c:dPt>
          <c:dPt>
            <c:idx val="340"/>
            <c:spPr>
              <a:solidFill>
                <a:srgbClr val="7ECAC4"/>
              </a:solidFill>
            </c:spPr>
          </c:dPt>
          <c:dPt>
            <c:idx val="341"/>
            <c:spPr>
              <a:solidFill>
                <a:srgbClr val="7ECAC4"/>
              </a:solidFill>
            </c:spPr>
          </c:dPt>
          <c:dPt>
            <c:idx val="342"/>
            <c:spPr>
              <a:solidFill>
                <a:srgbClr val="7ECAC4"/>
              </a:solidFill>
            </c:spPr>
          </c:dPt>
          <c:dPt>
            <c:idx val="343"/>
            <c:spPr>
              <a:solidFill>
                <a:srgbClr val="7ECAC4"/>
              </a:solidFill>
            </c:spPr>
          </c:dPt>
          <c:dPt>
            <c:idx val="344"/>
            <c:spPr>
              <a:solidFill>
                <a:srgbClr val="7ECAC4"/>
              </a:solidFill>
            </c:spPr>
          </c:dPt>
          <c:dPt>
            <c:idx val="345"/>
            <c:spPr>
              <a:solidFill>
                <a:srgbClr val="7ECAC4"/>
              </a:solidFill>
            </c:spPr>
          </c:dPt>
          <c:dPt>
            <c:idx val="346"/>
            <c:spPr>
              <a:solidFill>
                <a:srgbClr val="7ECAC4"/>
              </a:solidFill>
            </c:spPr>
          </c:dPt>
          <c:dPt>
            <c:idx val="347"/>
            <c:spPr>
              <a:solidFill>
                <a:srgbClr val="7ECAC4"/>
              </a:solidFill>
            </c:spPr>
          </c:dPt>
          <c:dPt>
            <c:idx val="348"/>
            <c:spPr>
              <a:solidFill>
                <a:srgbClr val="7ECAC4"/>
              </a:solidFill>
            </c:spPr>
          </c:dPt>
          <c:dPt>
            <c:idx val="349"/>
            <c:spPr>
              <a:solidFill>
                <a:srgbClr val="7ECAC4"/>
              </a:solidFill>
            </c:spPr>
          </c:dPt>
          <c:dPt>
            <c:idx val="350"/>
            <c:spPr>
              <a:solidFill>
                <a:srgbClr val="7ECAC4"/>
              </a:solidFill>
            </c:spPr>
          </c:dPt>
          <c:dPt>
            <c:idx val="351"/>
            <c:spPr>
              <a:solidFill>
                <a:srgbClr val="7ECAC4"/>
              </a:solidFill>
            </c:spPr>
          </c:dPt>
          <c:dPt>
            <c:idx val="352"/>
            <c:spPr>
              <a:solidFill>
                <a:srgbClr val="7ECAC4"/>
              </a:solidFill>
            </c:spPr>
          </c:dPt>
          <c:dPt>
            <c:idx val="353"/>
            <c:spPr>
              <a:solidFill>
                <a:srgbClr val="7ECAC4"/>
              </a:solidFill>
            </c:spPr>
          </c:dPt>
          <c:dPt>
            <c:idx val="354"/>
            <c:spPr>
              <a:solidFill>
                <a:srgbClr val="7ECAC4"/>
              </a:solidFill>
            </c:spPr>
          </c:dPt>
          <c:dPt>
            <c:idx val="355"/>
            <c:spPr>
              <a:solidFill>
                <a:srgbClr val="7ECAC4"/>
              </a:solidFill>
            </c:spPr>
          </c:dPt>
          <c:dPt>
            <c:idx val="356"/>
            <c:spPr>
              <a:solidFill>
                <a:srgbClr val="7ECAC4"/>
              </a:solidFill>
            </c:spPr>
          </c:dPt>
          <c:dPt>
            <c:idx val="357"/>
            <c:spPr>
              <a:solidFill>
                <a:srgbClr val="7ECAC4"/>
              </a:solidFill>
            </c:spPr>
          </c:dPt>
          <c:dPt>
            <c:idx val="358"/>
            <c:spPr>
              <a:solidFill>
                <a:srgbClr val="7ECAC4"/>
              </a:solidFill>
            </c:spPr>
          </c:dPt>
          <c:dPt>
            <c:idx val="359"/>
            <c:spPr>
              <a:solidFill>
                <a:srgbClr val="7ECAC4"/>
              </a:solidFill>
            </c:spPr>
          </c:dPt>
          <c:dPt>
            <c:idx val="360"/>
            <c:spPr>
              <a:solidFill>
                <a:srgbClr val="7ECAC4"/>
              </a:solidFill>
            </c:spPr>
          </c:dPt>
          <c:dPt>
            <c:idx val="361"/>
            <c:spPr>
              <a:solidFill>
                <a:srgbClr val="7ECAC4"/>
              </a:solidFill>
            </c:spPr>
          </c:dPt>
          <c:dPt>
            <c:idx val="362"/>
            <c:spPr>
              <a:solidFill>
                <a:srgbClr val="7ECAC4"/>
              </a:solidFill>
            </c:spPr>
          </c:dPt>
          <c:dPt>
            <c:idx val="363"/>
            <c:spPr>
              <a:solidFill>
                <a:srgbClr val="7ECAC4"/>
              </a:solidFill>
            </c:spPr>
          </c:dPt>
          <c:dPt>
            <c:idx val="364"/>
            <c:spPr>
              <a:solidFill>
                <a:srgbClr val="7ECAC4"/>
              </a:solidFill>
            </c:spPr>
          </c:dPt>
          <c:dPt>
            <c:idx val="365"/>
            <c:spPr>
              <a:solidFill>
                <a:srgbClr val="7ECAC4"/>
              </a:solidFill>
            </c:spPr>
          </c:dPt>
          <c:dPt>
            <c:idx val="366"/>
            <c:spPr>
              <a:solidFill>
                <a:srgbClr val="7ECAC4"/>
              </a:solidFill>
            </c:spPr>
          </c:dPt>
          <c:dPt>
            <c:idx val="367"/>
            <c:spPr>
              <a:solidFill>
                <a:srgbClr val="7ECAC4"/>
              </a:solidFill>
            </c:spPr>
          </c:dPt>
          <c:dPt>
            <c:idx val="368"/>
            <c:spPr>
              <a:solidFill>
                <a:srgbClr val="7ECAC4"/>
              </a:solidFill>
            </c:spPr>
          </c:dPt>
          <c:dPt>
            <c:idx val="369"/>
            <c:spPr>
              <a:solidFill>
                <a:srgbClr val="7ECAC4"/>
              </a:solidFill>
            </c:spPr>
          </c:dPt>
          <c:dPt>
            <c:idx val="370"/>
            <c:spPr>
              <a:solidFill>
                <a:srgbClr val="7ECAC4"/>
              </a:solidFill>
            </c:spPr>
          </c:dPt>
          <c:dPt>
            <c:idx val="371"/>
            <c:spPr>
              <a:solidFill>
                <a:srgbClr val="7ECAC4"/>
              </a:solidFill>
            </c:spPr>
          </c:dPt>
          <c:dPt>
            <c:idx val="372"/>
            <c:spPr>
              <a:solidFill>
                <a:srgbClr val="7ECAC4"/>
              </a:solidFill>
            </c:spPr>
          </c:dPt>
          <c:dPt>
            <c:idx val="373"/>
            <c:spPr>
              <a:solidFill>
                <a:srgbClr val="7ECAC4"/>
              </a:solidFill>
            </c:spPr>
          </c:dPt>
          <c:dPt>
            <c:idx val="374"/>
            <c:spPr>
              <a:solidFill>
                <a:srgbClr val="7ECAC4"/>
              </a:solidFill>
            </c:spPr>
          </c:dPt>
          <c:dPt>
            <c:idx val="375"/>
            <c:spPr>
              <a:solidFill>
                <a:srgbClr val="7ECAC4"/>
              </a:solidFill>
            </c:spPr>
          </c:dPt>
          <c:dPt>
            <c:idx val="376"/>
            <c:spPr>
              <a:solidFill>
                <a:srgbClr val="7ECAC4"/>
              </a:solidFill>
            </c:spPr>
          </c:dPt>
          <c:dPt>
            <c:idx val="377"/>
            <c:spPr>
              <a:solidFill>
                <a:srgbClr val="7ECAC4"/>
              </a:solidFill>
            </c:spPr>
          </c:dPt>
          <c:dPt>
            <c:idx val="378"/>
            <c:spPr>
              <a:solidFill>
                <a:srgbClr val="7ECAC4"/>
              </a:solidFill>
            </c:spPr>
          </c:dPt>
          <c:dPt>
            <c:idx val="379"/>
            <c:spPr>
              <a:solidFill>
                <a:srgbClr val="7ECAC4"/>
              </a:solidFill>
            </c:spPr>
          </c:dPt>
          <c:dPt>
            <c:idx val="380"/>
            <c:spPr>
              <a:solidFill>
                <a:srgbClr val="7ECAC4"/>
              </a:solidFill>
            </c:spPr>
          </c:dPt>
          <c:dPt>
            <c:idx val="381"/>
            <c:spPr>
              <a:solidFill>
                <a:srgbClr val="7ECAC4"/>
              </a:solidFill>
            </c:spPr>
          </c:dPt>
          <c:dPt>
            <c:idx val="382"/>
            <c:spPr>
              <a:solidFill>
                <a:srgbClr val="7ECAC4"/>
              </a:solidFill>
            </c:spPr>
          </c:dPt>
          <c:dPt>
            <c:idx val="383"/>
            <c:spPr>
              <a:solidFill>
                <a:srgbClr val="7ECAC4"/>
              </a:solidFill>
            </c:spPr>
          </c:dPt>
          <c:dPt>
            <c:idx val="384"/>
            <c:spPr>
              <a:solidFill>
                <a:srgbClr val="7ECAC4"/>
              </a:solidFill>
            </c:spPr>
          </c:dPt>
          <c:dPt>
            <c:idx val="385"/>
            <c:spPr>
              <a:solidFill>
                <a:srgbClr val="7ECAC4"/>
              </a:solidFill>
            </c:spPr>
          </c:dPt>
          <c:dPt>
            <c:idx val="386"/>
            <c:spPr>
              <a:solidFill>
                <a:srgbClr val="7ECAC4"/>
              </a:solidFill>
            </c:spPr>
          </c:dPt>
          <c:dPt>
            <c:idx val="387"/>
            <c:spPr>
              <a:solidFill>
                <a:srgbClr val="7ECAC4"/>
              </a:solidFill>
            </c:spPr>
          </c:dPt>
          <c:dPt>
            <c:idx val="388"/>
            <c:spPr>
              <a:solidFill>
                <a:srgbClr val="7ECAC4"/>
              </a:solidFill>
            </c:spPr>
          </c:dPt>
          <c:dPt>
            <c:idx val="389"/>
            <c:spPr>
              <a:solidFill>
                <a:srgbClr val="7ECAC4"/>
              </a:solidFill>
            </c:spPr>
          </c:dPt>
          <c:dPt>
            <c:idx val="390"/>
            <c:spPr>
              <a:solidFill>
                <a:srgbClr val="7ECAC4"/>
              </a:solidFill>
            </c:spPr>
          </c:dPt>
          <c:dPt>
            <c:idx val="391"/>
            <c:spPr>
              <a:solidFill>
                <a:srgbClr val="7ECAC4"/>
              </a:solidFill>
            </c:spPr>
          </c:dPt>
          <c:dPt>
            <c:idx val="392"/>
            <c:spPr>
              <a:solidFill>
                <a:srgbClr val="7ECAC4"/>
              </a:solidFill>
            </c:spPr>
          </c:dPt>
          <c:dPt>
            <c:idx val="393"/>
            <c:spPr>
              <a:solidFill>
                <a:srgbClr val="7ECAC4"/>
              </a:solidFill>
            </c:spPr>
          </c:dPt>
          <c:dPt>
            <c:idx val="394"/>
            <c:spPr>
              <a:solidFill>
                <a:srgbClr val="7ECAC4"/>
              </a:solidFill>
            </c:spPr>
          </c:dPt>
          <c:dPt>
            <c:idx val="395"/>
            <c:spPr>
              <a:solidFill>
                <a:srgbClr val="7ECAC4"/>
              </a:solidFill>
            </c:spPr>
          </c:dPt>
          <c:dPt>
            <c:idx val="396"/>
            <c:spPr>
              <a:solidFill>
                <a:srgbClr val="7ECAC4"/>
              </a:solidFill>
            </c:spPr>
          </c:dPt>
          <c:dPt>
            <c:idx val="397"/>
            <c:spPr>
              <a:solidFill>
                <a:srgbClr val="7ECAC4"/>
              </a:solidFill>
            </c:spPr>
          </c:dPt>
          <c:dPt>
            <c:idx val="398"/>
            <c:spPr>
              <a:solidFill>
                <a:srgbClr val="7ECAC4"/>
              </a:solidFill>
            </c:spPr>
          </c:dPt>
          <c:dPt>
            <c:idx val="399"/>
            <c:spPr>
              <a:solidFill>
                <a:srgbClr val="7ECAC4"/>
              </a:solidFill>
            </c:spPr>
          </c:dPt>
          <c:dPt>
            <c:idx val="400"/>
            <c:spPr>
              <a:solidFill>
                <a:srgbClr val="7ECAC4"/>
              </a:solidFill>
            </c:spPr>
          </c:dPt>
          <c:dPt>
            <c:idx val="401"/>
            <c:spPr>
              <a:solidFill>
                <a:srgbClr val="7ECAC4"/>
              </a:solidFill>
            </c:spPr>
          </c:dPt>
          <c:dPt>
            <c:idx val="402"/>
            <c:spPr>
              <a:solidFill>
                <a:srgbClr val="7ECAC4"/>
              </a:solidFill>
            </c:spPr>
          </c:dPt>
          <c:dPt>
            <c:idx val="403"/>
            <c:spPr>
              <a:solidFill>
                <a:srgbClr val="7ECAC4"/>
              </a:solidFill>
            </c:spPr>
          </c:dPt>
          <c:dPt>
            <c:idx val="404"/>
            <c:spPr>
              <a:solidFill>
                <a:srgbClr val="7ECAC4"/>
              </a:solidFill>
            </c:spPr>
          </c:dPt>
          <c:dPt>
            <c:idx val="405"/>
            <c:spPr>
              <a:solidFill>
                <a:srgbClr val="7ECAC4"/>
              </a:solidFill>
            </c:spPr>
          </c:dPt>
          <c:dPt>
            <c:idx val="406"/>
            <c:spPr>
              <a:solidFill>
                <a:srgbClr val="7ECAC4"/>
              </a:solidFill>
            </c:spPr>
          </c:dPt>
          <c:dPt>
            <c:idx val="407"/>
            <c:spPr>
              <a:solidFill>
                <a:srgbClr val="7ECAC4"/>
              </a:solidFill>
            </c:spPr>
          </c:dPt>
          <c:dPt>
            <c:idx val="408"/>
            <c:spPr>
              <a:solidFill>
                <a:srgbClr val="7ECAC4"/>
              </a:solidFill>
            </c:spPr>
          </c:dPt>
          <c:dPt>
            <c:idx val="409"/>
            <c:spPr>
              <a:solidFill>
                <a:srgbClr val="7ECAC4"/>
              </a:solidFill>
            </c:spPr>
          </c:dPt>
          <c:dPt>
            <c:idx val="410"/>
            <c:spPr>
              <a:solidFill>
                <a:srgbClr val="7ECAC4"/>
              </a:solidFill>
            </c:spPr>
          </c:dPt>
          <c:dPt>
            <c:idx val="411"/>
            <c:spPr>
              <a:solidFill>
                <a:srgbClr val="7ECAC4"/>
              </a:solidFill>
            </c:spPr>
          </c:dPt>
          <c:dPt>
            <c:idx val="412"/>
            <c:spPr>
              <a:solidFill>
                <a:srgbClr val="7ECAC4"/>
              </a:solidFill>
            </c:spPr>
          </c:dPt>
          <c:dPt>
            <c:idx val="413"/>
            <c:spPr>
              <a:solidFill>
                <a:srgbClr val="7ECAC4"/>
              </a:solidFill>
            </c:spPr>
          </c:dPt>
          <c:dPt>
            <c:idx val="414"/>
            <c:spPr>
              <a:solidFill>
                <a:srgbClr val="7ECAC4"/>
              </a:solidFill>
            </c:spPr>
          </c:dPt>
          <c:dPt>
            <c:idx val="415"/>
            <c:spPr>
              <a:solidFill>
                <a:srgbClr val="7ECAC4"/>
              </a:solidFill>
            </c:spPr>
          </c:dPt>
          <c:dPt>
            <c:idx val="416"/>
            <c:spPr>
              <a:solidFill>
                <a:srgbClr val="7ECAC4"/>
              </a:solidFill>
            </c:spPr>
          </c:dPt>
          <c:dPt>
            <c:idx val="417"/>
            <c:spPr>
              <a:solidFill>
                <a:srgbClr val="7ECAC4"/>
              </a:solidFill>
            </c:spPr>
          </c:dPt>
          <c:dPt>
            <c:idx val="418"/>
            <c:spPr>
              <a:solidFill>
                <a:srgbClr val="7ECAC4"/>
              </a:solidFill>
            </c:spPr>
          </c:dPt>
          <c:dPt>
            <c:idx val="419"/>
            <c:spPr>
              <a:solidFill>
                <a:srgbClr val="7ECAC4"/>
              </a:solidFill>
            </c:spPr>
          </c:dPt>
          <c:dPt>
            <c:idx val="420"/>
            <c:spPr>
              <a:solidFill>
                <a:srgbClr val="7ECAC4"/>
              </a:solidFill>
            </c:spPr>
          </c:dPt>
          <c:dPt>
            <c:idx val="421"/>
            <c:spPr>
              <a:solidFill>
                <a:srgbClr val="7ECAC4"/>
              </a:solidFill>
            </c:spPr>
          </c:dPt>
          <c:dPt>
            <c:idx val="422"/>
            <c:spPr>
              <a:solidFill>
                <a:srgbClr val="7ECAC4"/>
              </a:solidFill>
            </c:spPr>
          </c:dPt>
          <c:dPt>
            <c:idx val="423"/>
            <c:spPr>
              <a:solidFill>
                <a:srgbClr val="7ECAC4"/>
              </a:solidFill>
            </c:spPr>
          </c:dPt>
          <c:dPt>
            <c:idx val="424"/>
            <c:spPr>
              <a:solidFill>
                <a:srgbClr val="7ECAC4"/>
              </a:solidFill>
            </c:spPr>
          </c:dPt>
          <c:dPt>
            <c:idx val="425"/>
            <c:spPr>
              <a:solidFill>
                <a:srgbClr val="7ECAC4"/>
              </a:solidFill>
            </c:spPr>
          </c:dPt>
          <c:dPt>
            <c:idx val="426"/>
            <c:spPr>
              <a:solidFill>
                <a:srgbClr val="7ECAC4"/>
              </a:solidFill>
            </c:spPr>
          </c:dPt>
          <c:dPt>
            <c:idx val="427"/>
            <c:spPr>
              <a:solidFill>
                <a:srgbClr val="7ECAC4"/>
              </a:solidFill>
            </c:spPr>
          </c:dPt>
          <c:dPt>
            <c:idx val="428"/>
            <c:spPr>
              <a:solidFill>
                <a:srgbClr val="7ECAC4"/>
              </a:solidFill>
            </c:spPr>
          </c:dPt>
          <c:dPt>
            <c:idx val="429"/>
            <c:spPr>
              <a:solidFill>
                <a:srgbClr val="7ECAC4"/>
              </a:solidFill>
            </c:spPr>
          </c:dPt>
          <c:dPt>
            <c:idx val="430"/>
            <c:spPr>
              <a:solidFill>
                <a:srgbClr val="7ECAC4"/>
              </a:solidFill>
            </c:spPr>
          </c:dPt>
          <c:dPt>
            <c:idx val="431"/>
            <c:spPr>
              <a:solidFill>
                <a:srgbClr val="7ECAC4"/>
              </a:solidFill>
            </c:spPr>
          </c:dPt>
          <c:dPt>
            <c:idx val="432"/>
            <c:spPr>
              <a:solidFill>
                <a:srgbClr val="7ECAC4"/>
              </a:solidFill>
            </c:spPr>
          </c:dPt>
          <c:dPt>
            <c:idx val="433"/>
            <c:spPr>
              <a:solidFill>
                <a:srgbClr val="7ECAC4"/>
              </a:solidFill>
            </c:spPr>
          </c:dPt>
          <c:dPt>
            <c:idx val="434"/>
            <c:spPr>
              <a:solidFill>
                <a:srgbClr val="7ECAC4"/>
              </a:solidFill>
            </c:spPr>
          </c:dPt>
          <c:dPt>
            <c:idx val="435"/>
            <c:spPr>
              <a:solidFill>
                <a:srgbClr val="7ECAC4"/>
              </a:solidFill>
            </c:spPr>
          </c:dPt>
          <c:dPt>
            <c:idx val="436"/>
            <c:spPr>
              <a:solidFill>
                <a:srgbClr val="7ECAC4"/>
              </a:solidFill>
            </c:spPr>
          </c:dPt>
          <c:dPt>
            <c:idx val="437"/>
            <c:spPr>
              <a:solidFill>
                <a:srgbClr val="7ECAC4"/>
              </a:solidFill>
            </c:spPr>
          </c:dPt>
          <c:dPt>
            <c:idx val="438"/>
            <c:spPr>
              <a:solidFill>
                <a:srgbClr val="7ECAC4"/>
              </a:solidFill>
            </c:spPr>
          </c:dPt>
          <c:dPt>
            <c:idx val="439"/>
            <c:spPr>
              <a:solidFill>
                <a:srgbClr val="7ECAC4"/>
              </a:solidFill>
            </c:spPr>
          </c:dPt>
          <c:dPt>
            <c:idx val="440"/>
            <c:spPr>
              <a:solidFill>
                <a:srgbClr val="7ECAC4"/>
              </a:solidFill>
            </c:spPr>
          </c:dPt>
          <c:dPt>
            <c:idx val="441"/>
            <c:spPr>
              <a:solidFill>
                <a:srgbClr val="7ECAC4"/>
              </a:solidFill>
            </c:spPr>
          </c:dPt>
          <c:dPt>
            <c:idx val="442"/>
            <c:spPr>
              <a:solidFill>
                <a:srgbClr val="7ECAC4"/>
              </a:solidFill>
            </c:spPr>
          </c:dPt>
          <c:dPt>
            <c:idx val="443"/>
            <c:spPr>
              <a:solidFill>
                <a:srgbClr val="7ECAC4"/>
              </a:solidFill>
            </c:spPr>
          </c:dPt>
          <c:dPt>
            <c:idx val="444"/>
            <c:spPr>
              <a:solidFill>
                <a:srgbClr val="7ECAC4"/>
              </a:solidFill>
            </c:spPr>
          </c:dPt>
          <c:dPt>
            <c:idx val="445"/>
            <c:spPr>
              <a:solidFill>
                <a:srgbClr val="7ECAC4"/>
              </a:solidFill>
            </c:spPr>
          </c:dPt>
          <c:dPt>
            <c:idx val="446"/>
            <c:spPr>
              <a:solidFill>
                <a:srgbClr val="7ECAC4"/>
              </a:solidFill>
            </c:spPr>
          </c:dPt>
          <c:dPt>
            <c:idx val="447"/>
            <c:spPr>
              <a:solidFill>
                <a:srgbClr val="7ECAC4"/>
              </a:solidFill>
            </c:spPr>
          </c:dPt>
          <c:dPt>
            <c:idx val="448"/>
            <c:spPr>
              <a:solidFill>
                <a:srgbClr val="7ECAC4"/>
              </a:solidFill>
            </c:spPr>
          </c:dPt>
          <c:dPt>
            <c:idx val="449"/>
            <c:spPr>
              <a:solidFill>
                <a:srgbClr val="7ECAC4"/>
              </a:solidFill>
            </c:spPr>
          </c:dPt>
          <c:dPt>
            <c:idx val="450"/>
            <c:spPr>
              <a:solidFill>
                <a:srgbClr val="7ECAC4"/>
              </a:solidFill>
            </c:spPr>
          </c:dPt>
          <c:dPt>
            <c:idx val="451"/>
            <c:spPr>
              <a:solidFill>
                <a:srgbClr val="7ECAC4"/>
              </a:solidFill>
            </c:spPr>
          </c:dPt>
          <c:dPt>
            <c:idx val="452"/>
            <c:spPr>
              <a:solidFill>
                <a:srgbClr val="7ECAC4"/>
              </a:solidFill>
            </c:spPr>
          </c:dPt>
          <c:dPt>
            <c:idx val="453"/>
            <c:spPr>
              <a:solidFill>
                <a:srgbClr val="7ECAC4"/>
              </a:solidFill>
            </c:spPr>
          </c:dPt>
          <c:dPt>
            <c:idx val="454"/>
            <c:spPr>
              <a:solidFill>
                <a:srgbClr val="7ECAC4"/>
              </a:solidFill>
            </c:spPr>
          </c:dPt>
          <c:dPt>
            <c:idx val="455"/>
            <c:spPr>
              <a:solidFill>
                <a:srgbClr val="7ECAC4"/>
              </a:solidFill>
            </c:spPr>
          </c:dPt>
          <c:dPt>
            <c:idx val="456"/>
            <c:spPr>
              <a:solidFill>
                <a:srgbClr val="7ECAC4"/>
              </a:solidFill>
            </c:spPr>
          </c:dPt>
          <c:dPt>
            <c:idx val="457"/>
            <c:spPr>
              <a:solidFill>
                <a:srgbClr val="7ECAC4"/>
              </a:solidFill>
            </c:spPr>
          </c:dPt>
          <c:dPt>
            <c:idx val="458"/>
            <c:spPr>
              <a:solidFill>
                <a:srgbClr val="7ECAC4"/>
              </a:solidFill>
            </c:spPr>
          </c:dPt>
          <c:dPt>
            <c:idx val="459"/>
            <c:spPr>
              <a:solidFill>
                <a:srgbClr val="7ECAC4"/>
              </a:solidFill>
            </c:spPr>
          </c:dPt>
          <c:dPt>
            <c:idx val="460"/>
            <c:spPr>
              <a:solidFill>
                <a:srgbClr val="7ECAC4"/>
              </a:solidFill>
            </c:spPr>
          </c:dPt>
          <c:dPt>
            <c:idx val="461"/>
            <c:spPr>
              <a:solidFill>
                <a:srgbClr val="7ECAC4"/>
              </a:solidFill>
            </c:spPr>
          </c:dPt>
          <c:dPt>
            <c:idx val="462"/>
            <c:spPr>
              <a:solidFill>
                <a:srgbClr val="7ECAC4"/>
              </a:solidFill>
            </c:spPr>
          </c:dPt>
          <c:dPt>
            <c:idx val="463"/>
            <c:spPr>
              <a:solidFill>
                <a:srgbClr val="7ECAC4"/>
              </a:solidFill>
            </c:spPr>
          </c:dPt>
          <c:dPt>
            <c:idx val="464"/>
            <c:spPr>
              <a:solidFill>
                <a:srgbClr val="7ECAC4"/>
              </a:solidFill>
            </c:spPr>
          </c:dPt>
          <c:dPt>
            <c:idx val="465"/>
            <c:spPr>
              <a:solidFill>
                <a:srgbClr val="7ECAC4"/>
              </a:solidFill>
            </c:spPr>
          </c:dPt>
          <c:dPt>
            <c:idx val="466"/>
            <c:spPr>
              <a:solidFill>
                <a:srgbClr val="7ECAC4"/>
              </a:solidFill>
            </c:spPr>
          </c:dPt>
          <c:dPt>
            <c:idx val="467"/>
            <c:spPr>
              <a:solidFill>
                <a:srgbClr val="7ECAC4"/>
              </a:solidFill>
            </c:spPr>
          </c:dPt>
          <c:dPt>
            <c:idx val="468"/>
            <c:spPr>
              <a:solidFill>
                <a:srgbClr val="7ECAC4"/>
              </a:solidFill>
            </c:spPr>
          </c:dPt>
          <c:dPt>
            <c:idx val="469"/>
            <c:spPr>
              <a:solidFill>
                <a:srgbClr val="7ECAC4"/>
              </a:solidFill>
            </c:spPr>
          </c:dPt>
          <c:dPt>
            <c:idx val="470"/>
            <c:spPr>
              <a:solidFill>
                <a:srgbClr val="7ECAC4"/>
              </a:solidFill>
            </c:spPr>
          </c:dPt>
          <c:dPt>
            <c:idx val="471"/>
            <c:spPr>
              <a:solidFill>
                <a:srgbClr val="7ECAC4"/>
              </a:solidFill>
            </c:spPr>
          </c:dPt>
          <c:dPt>
            <c:idx val="472"/>
            <c:spPr>
              <a:solidFill>
                <a:srgbClr val="7ECAC4"/>
              </a:solidFill>
            </c:spPr>
          </c:dPt>
          <c:dPt>
            <c:idx val="473"/>
            <c:spPr>
              <a:solidFill>
                <a:srgbClr val="7ECAC4"/>
              </a:solidFill>
            </c:spPr>
          </c:dPt>
          <c:dPt>
            <c:idx val="474"/>
            <c:spPr>
              <a:solidFill>
                <a:srgbClr val="7ECAC4"/>
              </a:solidFill>
            </c:spPr>
          </c:dPt>
          <c:dPt>
            <c:idx val="475"/>
            <c:spPr>
              <a:solidFill>
                <a:srgbClr val="7ECAC4"/>
              </a:solidFill>
            </c:spPr>
          </c:dPt>
          <c:dPt>
            <c:idx val="476"/>
            <c:spPr>
              <a:solidFill>
                <a:srgbClr val="7ECAC4"/>
              </a:solidFill>
            </c:spPr>
          </c:dPt>
          <c:dPt>
            <c:idx val="477"/>
            <c:spPr>
              <a:solidFill>
                <a:srgbClr val="7ECAC4"/>
              </a:solidFill>
            </c:spPr>
          </c:dPt>
          <c:dPt>
            <c:idx val="478"/>
            <c:spPr>
              <a:solidFill>
                <a:srgbClr val="7ECAC4"/>
              </a:solidFill>
            </c:spPr>
          </c:dPt>
          <c:dPt>
            <c:idx val="479"/>
            <c:spPr>
              <a:solidFill>
                <a:srgbClr val="7ECAC4"/>
              </a:solidFill>
            </c:spPr>
          </c:dPt>
          <c:dPt>
            <c:idx val="480"/>
            <c:spPr>
              <a:solidFill>
                <a:srgbClr val="7ECAC4"/>
              </a:solidFill>
            </c:spPr>
          </c:dPt>
          <c:dPt>
            <c:idx val="481"/>
            <c:spPr>
              <a:solidFill>
                <a:srgbClr val="7ECAC4"/>
              </a:solidFill>
            </c:spPr>
          </c:dPt>
          <c:dPt>
            <c:idx val="482"/>
            <c:spPr>
              <a:solidFill>
                <a:srgbClr val="7ECAC4"/>
              </a:solidFill>
            </c:spPr>
          </c:dPt>
          <c:dPt>
            <c:idx val="483"/>
            <c:spPr>
              <a:solidFill>
                <a:srgbClr val="7ECAC4"/>
              </a:solidFill>
            </c:spPr>
          </c:dPt>
          <c:dPt>
            <c:idx val="484"/>
            <c:spPr>
              <a:solidFill>
                <a:srgbClr val="7ECAC4"/>
              </a:solidFill>
            </c:spPr>
          </c:dPt>
          <c:dPt>
            <c:idx val="485"/>
            <c:spPr>
              <a:solidFill>
                <a:srgbClr val="7ECAC4"/>
              </a:solidFill>
            </c:spPr>
          </c:dPt>
          <c:dPt>
            <c:idx val="486"/>
            <c:spPr>
              <a:solidFill>
                <a:srgbClr val="7ECAC4"/>
              </a:solidFill>
            </c:spPr>
          </c:dPt>
          <c:dPt>
            <c:idx val="487"/>
            <c:spPr>
              <a:solidFill>
                <a:srgbClr val="7ECAC4"/>
              </a:solidFill>
            </c:spPr>
          </c:dPt>
          <c:dPt>
            <c:idx val="488"/>
            <c:spPr>
              <a:solidFill>
                <a:srgbClr val="7ECAC4"/>
              </a:solidFill>
            </c:spPr>
          </c:dPt>
          <c:dPt>
            <c:idx val="489"/>
            <c:spPr>
              <a:solidFill>
                <a:srgbClr val="7ECAC4"/>
              </a:solidFill>
            </c:spPr>
          </c:dPt>
          <c:dPt>
            <c:idx val="490"/>
            <c:spPr>
              <a:solidFill>
                <a:srgbClr val="7ECAC4"/>
              </a:solidFill>
            </c:spPr>
          </c:dPt>
          <c:dPt>
            <c:idx val="491"/>
            <c:spPr>
              <a:solidFill>
                <a:srgbClr val="7ECAC4"/>
              </a:solidFill>
            </c:spPr>
          </c:dPt>
          <c:dPt>
            <c:idx val="492"/>
            <c:spPr>
              <a:solidFill>
                <a:srgbClr val="7ECAC4"/>
              </a:solidFill>
            </c:spPr>
          </c:dPt>
          <c:dPt>
            <c:idx val="493"/>
            <c:spPr>
              <a:solidFill>
                <a:srgbClr val="7ECAC4"/>
              </a:solidFill>
            </c:spPr>
          </c:dPt>
          <c:dPt>
            <c:idx val="494"/>
            <c:spPr>
              <a:solidFill>
                <a:srgbClr val="7ECAC4"/>
              </a:solidFill>
            </c:spPr>
          </c:dPt>
          <c:dPt>
            <c:idx val="495"/>
            <c:spPr>
              <a:solidFill>
                <a:srgbClr val="7ECAC4"/>
              </a:solidFill>
            </c:spPr>
          </c:dPt>
          <c:dPt>
            <c:idx val="496"/>
            <c:spPr>
              <a:solidFill>
                <a:srgbClr val="7ECAC4"/>
              </a:solidFill>
            </c:spPr>
          </c:dPt>
          <c:dPt>
            <c:idx val="497"/>
            <c:spPr>
              <a:solidFill>
                <a:srgbClr val="7ECAC4"/>
              </a:solidFill>
            </c:spPr>
          </c:dPt>
          <c:dPt>
            <c:idx val="498"/>
            <c:spPr>
              <a:solidFill>
                <a:srgbClr val="7ECAC4"/>
              </a:solidFill>
            </c:spPr>
          </c:dPt>
          <c:dPt>
            <c:idx val="499"/>
            <c:spPr>
              <a:solidFill>
                <a:srgbClr val="7ECAC4"/>
              </a:solidFill>
            </c:spPr>
          </c:dPt>
          <c:dPt>
            <c:idx val="500"/>
            <c:spPr>
              <a:solidFill>
                <a:srgbClr val="7ECAC4"/>
              </a:solidFill>
            </c:spPr>
          </c:dPt>
          <c:dPt>
            <c:idx val="501"/>
            <c:spPr>
              <a:solidFill>
                <a:srgbClr val="7ECAC4"/>
              </a:solidFill>
            </c:spPr>
          </c:dPt>
          <c:dPt>
            <c:idx val="502"/>
            <c:spPr>
              <a:solidFill>
                <a:srgbClr val="7ECAC4"/>
              </a:solidFill>
            </c:spPr>
          </c:dPt>
          <c:dPt>
            <c:idx val="503"/>
            <c:spPr>
              <a:solidFill>
                <a:srgbClr val="7ECAC4"/>
              </a:solidFill>
            </c:spPr>
          </c:dPt>
          <c:dPt>
            <c:idx val="504"/>
            <c:spPr>
              <a:solidFill>
                <a:srgbClr val="7ECAC4"/>
              </a:solidFill>
            </c:spPr>
          </c:dPt>
          <c:dPt>
            <c:idx val="505"/>
            <c:spPr>
              <a:solidFill>
                <a:srgbClr val="7ECAC4"/>
              </a:solidFill>
            </c:spPr>
          </c:dPt>
          <c:dPt>
            <c:idx val="506"/>
            <c:spPr>
              <a:solidFill>
                <a:srgbClr val="7ECAC4"/>
              </a:solidFill>
            </c:spPr>
          </c:dPt>
          <c:dPt>
            <c:idx val="507"/>
            <c:spPr>
              <a:solidFill>
                <a:srgbClr val="7ECAC4"/>
              </a:solidFill>
            </c:spPr>
          </c:dPt>
          <c:dPt>
            <c:idx val="508"/>
            <c:spPr>
              <a:solidFill>
                <a:srgbClr val="7ECAC4"/>
              </a:solidFill>
            </c:spPr>
          </c:dPt>
          <c:dPt>
            <c:idx val="509"/>
            <c:spPr>
              <a:solidFill>
                <a:srgbClr val="7ECAC4"/>
              </a:solidFill>
            </c:spPr>
          </c:dPt>
          <c:dPt>
            <c:idx val="510"/>
            <c:spPr>
              <a:solidFill>
                <a:srgbClr val="7ECAC4"/>
              </a:solidFill>
            </c:spPr>
          </c:dPt>
          <c:dPt>
            <c:idx val="511"/>
            <c:spPr>
              <a:solidFill>
                <a:srgbClr val="7ECAC4"/>
              </a:solidFill>
            </c:spPr>
          </c:dPt>
          <c:dPt>
            <c:idx val="512"/>
            <c:spPr>
              <a:solidFill>
                <a:srgbClr val="7ECAC4"/>
              </a:solidFill>
            </c:spPr>
          </c:dPt>
          <c:dPt>
            <c:idx val="513"/>
            <c:spPr>
              <a:solidFill>
                <a:srgbClr val="7ECAC4"/>
              </a:solidFill>
            </c:spPr>
          </c:dPt>
          <c:dPt>
            <c:idx val="514"/>
            <c:spPr>
              <a:solidFill>
                <a:srgbClr val="7ECAC4"/>
              </a:solidFill>
            </c:spPr>
          </c:dPt>
          <c:dPt>
            <c:idx val="515"/>
            <c:spPr>
              <a:solidFill>
                <a:srgbClr val="7ECAC4"/>
              </a:solidFill>
            </c:spPr>
          </c:dPt>
          <c:dPt>
            <c:idx val="516"/>
            <c:spPr>
              <a:solidFill>
                <a:srgbClr val="7ECAC4"/>
              </a:solidFill>
            </c:spPr>
          </c:dPt>
          <c:dPt>
            <c:idx val="517"/>
            <c:spPr>
              <a:solidFill>
                <a:srgbClr val="7ECAC4"/>
              </a:solidFill>
            </c:spPr>
          </c:dPt>
          <c:dPt>
            <c:idx val="518"/>
            <c:spPr>
              <a:solidFill>
                <a:srgbClr val="7ECAC4"/>
              </a:solidFill>
            </c:spPr>
          </c:dPt>
          <c:dPt>
            <c:idx val="519"/>
            <c:spPr>
              <a:solidFill>
                <a:srgbClr val="7ECAC4"/>
              </a:solidFill>
            </c:spPr>
          </c:dPt>
          <c:dPt>
            <c:idx val="520"/>
            <c:spPr>
              <a:solidFill>
                <a:srgbClr val="7ECAC4"/>
              </a:solidFill>
            </c:spPr>
          </c:dPt>
          <c:dPt>
            <c:idx val="521"/>
            <c:spPr>
              <a:solidFill>
                <a:srgbClr val="7ECAC4"/>
              </a:solidFill>
            </c:spPr>
          </c:dPt>
          <c:dPt>
            <c:idx val="522"/>
            <c:spPr>
              <a:solidFill>
                <a:srgbClr val="7ECAC4"/>
              </a:solidFill>
            </c:spPr>
          </c:dPt>
          <c:dPt>
            <c:idx val="523"/>
            <c:spPr>
              <a:solidFill>
                <a:srgbClr val="7ECAC4"/>
              </a:solidFill>
            </c:spPr>
          </c:dPt>
          <c:dPt>
            <c:idx val="524"/>
            <c:spPr>
              <a:solidFill>
                <a:srgbClr val="7ECAC4"/>
              </a:solidFill>
            </c:spPr>
          </c:dPt>
          <c:dPt>
            <c:idx val="525"/>
            <c:spPr>
              <a:solidFill>
                <a:srgbClr val="7ECAC4"/>
              </a:solidFill>
            </c:spPr>
          </c:dPt>
          <c:dPt>
            <c:idx val="526"/>
            <c:spPr>
              <a:solidFill>
                <a:srgbClr val="7ECAC4"/>
              </a:solidFill>
            </c:spPr>
          </c:dPt>
          <c:dPt>
            <c:idx val="527"/>
            <c:spPr>
              <a:solidFill>
                <a:srgbClr val="7ECAC4"/>
              </a:solidFill>
            </c:spPr>
          </c:dPt>
          <c:dPt>
            <c:idx val="528"/>
            <c:spPr>
              <a:solidFill>
                <a:srgbClr val="7ECAC4"/>
              </a:solidFill>
            </c:spPr>
          </c:dPt>
          <c:dPt>
            <c:idx val="529"/>
            <c:spPr>
              <a:solidFill>
                <a:srgbClr val="7ECAC4"/>
              </a:solidFill>
            </c:spPr>
          </c:dPt>
          <c:dPt>
            <c:idx val="530"/>
            <c:spPr>
              <a:solidFill>
                <a:srgbClr val="7ECAC4"/>
              </a:solidFill>
            </c:spPr>
          </c:dPt>
          <c:dPt>
            <c:idx val="531"/>
            <c:spPr>
              <a:solidFill>
                <a:srgbClr val="7ECAC4"/>
              </a:solidFill>
            </c:spPr>
          </c:dPt>
          <c:dPt>
            <c:idx val="532"/>
            <c:spPr>
              <a:solidFill>
                <a:srgbClr val="7ECAC4"/>
              </a:solidFill>
            </c:spPr>
          </c:dPt>
          <c:dPt>
            <c:idx val="533"/>
            <c:spPr>
              <a:solidFill>
                <a:srgbClr val="7ECAC4"/>
              </a:solidFill>
            </c:spPr>
          </c:dPt>
          <c:dPt>
            <c:idx val="534"/>
            <c:spPr>
              <a:solidFill>
                <a:srgbClr val="7ECAC4"/>
              </a:solidFill>
            </c:spPr>
          </c:dPt>
          <c:dPt>
            <c:idx val="535"/>
            <c:spPr>
              <a:solidFill>
                <a:srgbClr val="7ECAC4"/>
              </a:solidFill>
            </c:spPr>
          </c:dPt>
          <c:dPt>
            <c:idx val="536"/>
            <c:spPr>
              <a:solidFill>
                <a:srgbClr val="AEABAB"/>
              </a:solidFill>
            </c:spPr>
          </c:dPt>
          <c:dPt>
            <c:idx val="537"/>
            <c:spPr>
              <a:solidFill>
                <a:srgbClr val="AEABAB"/>
              </a:solidFill>
            </c:spPr>
          </c:dPt>
          <c:dPt>
            <c:idx val="538"/>
            <c:spPr>
              <a:solidFill>
                <a:srgbClr val="AEABAB"/>
              </a:solidFill>
            </c:spPr>
          </c:dPt>
          <c:dPt>
            <c:idx val="539"/>
            <c:spPr>
              <a:solidFill>
                <a:srgbClr val="AEABAB"/>
              </a:solidFill>
            </c:spPr>
          </c:dPt>
          <c:dPt>
            <c:idx val="540"/>
            <c:spPr>
              <a:solidFill>
                <a:srgbClr val="AEABAB"/>
              </a:solidFill>
            </c:spPr>
          </c:dPt>
          <c:dPt>
            <c:idx val="541"/>
            <c:spPr>
              <a:solidFill>
                <a:srgbClr val="AEABAB"/>
              </a:solidFill>
            </c:spPr>
          </c:dPt>
          <c:dPt>
            <c:idx val="542"/>
            <c:spPr>
              <a:solidFill>
                <a:srgbClr val="AEABAB"/>
              </a:solidFill>
            </c:spPr>
          </c:dPt>
          <c:dPt>
            <c:idx val="543"/>
            <c:spPr>
              <a:solidFill>
                <a:srgbClr val="AEABAB"/>
              </a:solidFill>
            </c:spPr>
          </c:dPt>
          <c:dPt>
            <c:idx val="544"/>
            <c:spPr>
              <a:solidFill>
                <a:srgbClr val="AEABAB"/>
              </a:solidFill>
            </c:spPr>
          </c:dPt>
          <c:dPt>
            <c:idx val="545"/>
            <c:spPr>
              <a:solidFill>
                <a:srgbClr val="AEABAB"/>
              </a:solidFill>
            </c:spPr>
          </c:dPt>
          <c:dPt>
            <c:idx val="546"/>
            <c:spPr>
              <a:solidFill>
                <a:srgbClr val="AEABAB"/>
              </a:solidFill>
            </c:spPr>
          </c:dPt>
          <c:dPt>
            <c:idx val="547"/>
            <c:spPr>
              <a:solidFill>
                <a:srgbClr val="AEABAB"/>
              </a:solidFill>
            </c:spPr>
          </c:dPt>
          <c:dPt>
            <c:idx val="548"/>
            <c:spPr>
              <a:solidFill>
                <a:srgbClr val="AEABAB"/>
              </a:solidFill>
            </c:spPr>
          </c:dPt>
          <c:dPt>
            <c:idx val="549"/>
            <c:spPr>
              <a:solidFill>
                <a:srgbClr val="AEABAB"/>
              </a:solidFill>
            </c:spPr>
          </c:dPt>
          <c:dPt>
            <c:idx val="550"/>
            <c:spPr>
              <a:solidFill>
                <a:srgbClr val="AEABAB"/>
              </a:solidFill>
            </c:spPr>
          </c:dPt>
          <c:dPt>
            <c:idx val="551"/>
            <c:spPr>
              <a:solidFill>
                <a:srgbClr val="AEABAB"/>
              </a:solidFill>
            </c:spPr>
          </c:dPt>
          <c:dPt>
            <c:idx val="552"/>
            <c:spPr>
              <a:solidFill>
                <a:srgbClr val="AEABAB"/>
              </a:solidFill>
            </c:spPr>
          </c:dPt>
          <c:dPt>
            <c:idx val="553"/>
            <c:spPr>
              <a:solidFill>
                <a:srgbClr val="AEABAB"/>
              </a:solidFill>
            </c:spPr>
          </c:dPt>
          <c:dPt>
            <c:idx val="554"/>
            <c:spPr>
              <a:solidFill>
                <a:srgbClr val="AEABAB"/>
              </a:solidFill>
            </c:spPr>
          </c:dPt>
          <c:dPt>
            <c:idx val="555"/>
            <c:spPr>
              <a:solidFill>
                <a:srgbClr val="AEABAB"/>
              </a:solidFill>
            </c:spPr>
          </c:dPt>
          <c:dPt>
            <c:idx val="556"/>
            <c:spPr>
              <a:solidFill>
                <a:srgbClr val="AEABAB"/>
              </a:solidFill>
            </c:spPr>
          </c:dPt>
          <c:dPt>
            <c:idx val="557"/>
            <c:spPr>
              <a:solidFill>
                <a:srgbClr val="AEABAB"/>
              </a:solidFill>
            </c:spPr>
          </c:dPt>
          <c:dPt>
            <c:idx val="558"/>
            <c:spPr>
              <a:solidFill>
                <a:srgbClr val="AEABAB"/>
              </a:solidFill>
            </c:spPr>
          </c:dPt>
          <c:dPt>
            <c:idx val="559"/>
            <c:spPr>
              <a:solidFill>
                <a:srgbClr val="AEABAB"/>
              </a:solidFill>
            </c:spPr>
          </c:dPt>
          <c:dPt>
            <c:idx val="560"/>
            <c:spPr>
              <a:solidFill>
                <a:srgbClr val="AEABAB"/>
              </a:solidFill>
            </c:spPr>
          </c:dPt>
          <c:dPt>
            <c:idx val="561"/>
            <c:spPr>
              <a:solidFill>
                <a:srgbClr val="AEABAB"/>
              </a:solidFill>
            </c:spPr>
          </c:dPt>
          <c:dPt>
            <c:idx val="562"/>
            <c:spPr>
              <a:solidFill>
                <a:srgbClr val="AEABAB"/>
              </a:solidFill>
            </c:spPr>
          </c:dPt>
          <c:dPt>
            <c:idx val="563"/>
            <c:spPr>
              <a:solidFill>
                <a:srgbClr val="AEABAB"/>
              </a:solidFill>
            </c:spPr>
          </c:dPt>
          <c:dPt>
            <c:idx val="564"/>
            <c:spPr>
              <a:solidFill>
                <a:srgbClr val="AEABAB"/>
              </a:solidFill>
            </c:spPr>
          </c:dPt>
          <c:dPt>
            <c:idx val="565"/>
            <c:spPr>
              <a:solidFill>
                <a:srgbClr val="AEABAB"/>
              </a:solidFill>
            </c:spPr>
          </c:dPt>
          <c:dPt>
            <c:idx val="566"/>
            <c:spPr>
              <a:solidFill>
                <a:srgbClr val="AEABAB"/>
              </a:solidFill>
            </c:spPr>
          </c:dPt>
          <c:dPt>
            <c:idx val="567"/>
            <c:spPr>
              <a:solidFill>
                <a:srgbClr val="AEABAB"/>
              </a:solidFill>
            </c:spPr>
          </c:dPt>
          <c:dPt>
            <c:idx val="568"/>
            <c:spPr>
              <a:solidFill>
                <a:srgbClr val="AEABAB"/>
              </a:solidFill>
            </c:spPr>
          </c:dPt>
          <c:dPt>
            <c:idx val="569"/>
            <c:spPr>
              <a:solidFill>
                <a:srgbClr val="AEABAB"/>
              </a:solidFill>
            </c:spPr>
          </c:dPt>
          <c:dPt>
            <c:idx val="570"/>
            <c:spPr>
              <a:solidFill>
                <a:srgbClr val="AEABAB"/>
              </a:solidFill>
            </c:spPr>
          </c:dPt>
          <c:dPt>
            <c:idx val="571"/>
            <c:spPr>
              <a:solidFill>
                <a:srgbClr val="AEABAB"/>
              </a:solidFill>
            </c:spPr>
          </c:dPt>
          <c:dPt>
            <c:idx val="572"/>
            <c:spPr>
              <a:solidFill>
                <a:srgbClr val="AEABAB"/>
              </a:solidFill>
            </c:spPr>
          </c:dPt>
          <c:dPt>
            <c:idx val="573"/>
            <c:spPr>
              <a:solidFill>
                <a:srgbClr val="AEABAB"/>
              </a:solidFill>
            </c:spPr>
          </c:dPt>
          <c:dPt>
            <c:idx val="574"/>
            <c:spPr>
              <a:solidFill>
                <a:srgbClr val="AEABAB"/>
              </a:solidFill>
            </c:spPr>
          </c:dPt>
          <c:dPt>
            <c:idx val="575"/>
            <c:spPr>
              <a:solidFill>
                <a:srgbClr val="AEABAB"/>
              </a:solidFill>
            </c:spPr>
          </c:dPt>
          <c:dPt>
            <c:idx val="576"/>
            <c:spPr>
              <a:solidFill>
                <a:srgbClr val="AEABAB"/>
              </a:solidFill>
            </c:spPr>
          </c:dPt>
          <c:dPt>
            <c:idx val="577"/>
            <c:spPr>
              <a:solidFill>
                <a:srgbClr val="AEABAB"/>
              </a:solidFill>
            </c:spPr>
          </c:dPt>
          <c:dPt>
            <c:idx val="578"/>
            <c:spPr>
              <a:solidFill>
                <a:srgbClr val="AEABAB"/>
              </a:solidFill>
            </c:spPr>
          </c:dPt>
          <c:dPt>
            <c:idx val="579"/>
            <c:spPr>
              <a:solidFill>
                <a:srgbClr val="AEABAB"/>
              </a:solidFill>
            </c:spPr>
          </c:dPt>
          <c:dPt>
            <c:idx val="580"/>
            <c:spPr>
              <a:solidFill>
                <a:srgbClr val="AEABAB"/>
              </a:solidFill>
            </c:spPr>
          </c:dPt>
          <c:dPt>
            <c:idx val="581"/>
            <c:spPr>
              <a:solidFill>
                <a:srgbClr val="AEABAB"/>
              </a:solidFill>
            </c:spPr>
          </c:dPt>
          <c:dPt>
            <c:idx val="582"/>
            <c:spPr>
              <a:solidFill>
                <a:srgbClr val="AEABAB"/>
              </a:solidFill>
            </c:spPr>
          </c:dPt>
          <c:dPt>
            <c:idx val="583"/>
            <c:spPr>
              <a:solidFill>
                <a:srgbClr val="AEABAB"/>
              </a:solidFill>
            </c:spPr>
          </c:dPt>
          <c:dPt>
            <c:idx val="584"/>
            <c:spPr>
              <a:solidFill>
                <a:srgbClr val="AEABAB"/>
              </a:solidFill>
            </c:spPr>
          </c:dPt>
          <c:dPt>
            <c:idx val="585"/>
            <c:spPr>
              <a:solidFill>
                <a:srgbClr val="AEABAB"/>
              </a:solidFill>
            </c:spPr>
          </c:dPt>
          <c:dPt>
            <c:idx val="586"/>
            <c:spPr>
              <a:solidFill>
                <a:srgbClr val="AEABAB"/>
              </a:solidFill>
            </c:spPr>
          </c:dPt>
          <c:dPt>
            <c:idx val="587"/>
            <c:spPr>
              <a:solidFill>
                <a:srgbClr val="AEABAB"/>
              </a:solidFill>
            </c:spPr>
          </c:dPt>
          <c:dPt>
            <c:idx val="588"/>
            <c:spPr>
              <a:solidFill>
                <a:srgbClr val="AEABAB"/>
              </a:solidFill>
            </c:spPr>
          </c:dPt>
          <c:dPt>
            <c:idx val="589"/>
            <c:spPr>
              <a:solidFill>
                <a:srgbClr val="AEABAB"/>
              </a:solidFill>
            </c:spPr>
          </c:dPt>
          <c:dPt>
            <c:idx val="590"/>
            <c:spPr>
              <a:solidFill>
                <a:srgbClr val="AEABAB"/>
              </a:solidFill>
            </c:spPr>
          </c:dPt>
          <c:dPt>
            <c:idx val="591"/>
            <c:spPr>
              <a:solidFill>
                <a:srgbClr val="AEABAB"/>
              </a:solidFill>
            </c:spPr>
          </c:dPt>
          <c:dPt>
            <c:idx val="592"/>
            <c:spPr>
              <a:solidFill>
                <a:srgbClr val="AEABAB"/>
              </a:solidFill>
            </c:spPr>
          </c:dPt>
          <c:dPt>
            <c:idx val="593"/>
            <c:spPr>
              <a:solidFill>
                <a:srgbClr val="AEABAB"/>
              </a:solidFill>
            </c:spPr>
          </c:dPt>
          <c:dPt>
            <c:idx val="594"/>
            <c:spPr>
              <a:solidFill>
                <a:srgbClr val="AEABAB"/>
              </a:solidFill>
            </c:spPr>
          </c:dPt>
          <c:dPt>
            <c:idx val="595"/>
            <c:spPr>
              <a:solidFill>
                <a:srgbClr val="AEABAB"/>
              </a:solidFill>
            </c:spPr>
          </c:dPt>
          <c:dPt>
            <c:idx val="596"/>
            <c:spPr>
              <a:solidFill>
                <a:srgbClr val="AEABAB"/>
              </a:solidFill>
            </c:spPr>
          </c:dPt>
          <c:dPt>
            <c:idx val="597"/>
            <c:spPr>
              <a:solidFill>
                <a:srgbClr val="AEABAB"/>
              </a:solidFill>
            </c:spPr>
          </c:dPt>
          <c:dPt>
            <c:idx val="598"/>
            <c:spPr>
              <a:solidFill>
                <a:srgbClr val="AEABAB"/>
              </a:solidFill>
            </c:spPr>
          </c:dPt>
          <c:dPt>
            <c:idx val="599"/>
            <c:spPr>
              <a:solidFill>
                <a:srgbClr val="AEABAB"/>
              </a:solidFill>
            </c:spPr>
          </c:dPt>
          <c:dPt>
            <c:idx val="600"/>
            <c:spPr>
              <a:solidFill>
                <a:srgbClr val="AEABAB"/>
              </a:solidFill>
            </c:spPr>
          </c:dPt>
          <c:dPt>
            <c:idx val="601"/>
            <c:spPr>
              <a:solidFill>
                <a:srgbClr val="AEABAB"/>
              </a:solidFill>
            </c:spPr>
          </c:dPt>
          <c:dPt>
            <c:idx val="602"/>
            <c:spPr>
              <a:solidFill>
                <a:srgbClr val="AEABAB"/>
              </a:solidFill>
            </c:spPr>
          </c:dPt>
          <c:dPt>
            <c:idx val="603"/>
            <c:spPr>
              <a:solidFill>
                <a:srgbClr val="AEABAB"/>
              </a:solidFill>
            </c:spPr>
          </c:dPt>
          <c:dPt>
            <c:idx val="604"/>
            <c:spPr>
              <a:solidFill>
                <a:srgbClr val="AEABAB"/>
              </a:solidFill>
            </c:spPr>
          </c:dPt>
          <c:dPt>
            <c:idx val="605"/>
            <c:spPr>
              <a:solidFill>
                <a:srgbClr val="AEABAB"/>
              </a:solidFill>
            </c:spPr>
          </c:dPt>
          <c:dPt>
            <c:idx val="606"/>
            <c:spPr>
              <a:solidFill>
                <a:srgbClr val="AEABAB"/>
              </a:solidFill>
            </c:spPr>
          </c:dPt>
          <c:dPt>
            <c:idx val="607"/>
            <c:spPr>
              <a:solidFill>
                <a:srgbClr val="AEABAB"/>
              </a:solidFill>
            </c:spPr>
          </c:dPt>
          <c:dPt>
            <c:idx val="608"/>
            <c:spPr>
              <a:solidFill>
                <a:srgbClr val="AEABAB"/>
              </a:solidFill>
            </c:spPr>
          </c:dPt>
          <c:dPt>
            <c:idx val="609"/>
            <c:spPr>
              <a:solidFill>
                <a:srgbClr val="AEABAB"/>
              </a:solidFill>
            </c:spPr>
          </c:dPt>
          <c:dPt>
            <c:idx val="610"/>
            <c:spPr>
              <a:solidFill>
                <a:srgbClr val="AEABAB"/>
              </a:solidFill>
            </c:spPr>
          </c:dPt>
          <c:dPt>
            <c:idx val="611"/>
            <c:spPr>
              <a:solidFill>
                <a:srgbClr val="AEABAB"/>
              </a:solidFill>
            </c:spPr>
          </c:dPt>
          <c:dPt>
            <c:idx val="612"/>
            <c:spPr>
              <a:solidFill>
                <a:srgbClr val="AEABAB"/>
              </a:solidFill>
            </c:spPr>
          </c:dPt>
          <c:dPt>
            <c:idx val="613"/>
            <c:spPr>
              <a:solidFill>
                <a:srgbClr val="AEABAB"/>
              </a:solidFill>
            </c:spPr>
          </c:dPt>
          <c:dPt>
            <c:idx val="614"/>
            <c:spPr>
              <a:solidFill>
                <a:srgbClr val="AEABAB"/>
              </a:solidFill>
            </c:spPr>
          </c:dPt>
          <c:dPt>
            <c:idx val="615"/>
            <c:spPr>
              <a:solidFill>
                <a:srgbClr val="AEABAB"/>
              </a:solidFill>
            </c:spPr>
          </c:dPt>
          <c:dPt>
            <c:idx val="616"/>
            <c:spPr>
              <a:solidFill>
                <a:srgbClr val="AEABAB"/>
              </a:solidFill>
            </c:spPr>
          </c:dPt>
          <c:dPt>
            <c:idx val="617"/>
            <c:spPr>
              <a:solidFill>
                <a:srgbClr val="AEABAB"/>
              </a:solidFill>
            </c:spPr>
          </c:dPt>
          <c:dPt>
            <c:idx val="618"/>
            <c:spPr>
              <a:solidFill>
                <a:srgbClr val="AEABAB"/>
              </a:solidFill>
            </c:spPr>
          </c:dPt>
          <c:dPt>
            <c:idx val="619"/>
            <c:spPr>
              <a:solidFill>
                <a:srgbClr val="AEABAB"/>
              </a:solidFill>
            </c:spPr>
          </c:dPt>
          <c:dPt>
            <c:idx val="620"/>
            <c:spPr>
              <a:solidFill>
                <a:srgbClr val="AEABAB"/>
              </a:solidFill>
            </c:spPr>
          </c:dPt>
          <c:dPt>
            <c:idx val="621"/>
            <c:spPr>
              <a:solidFill>
                <a:srgbClr val="AEABAB"/>
              </a:solidFill>
            </c:spPr>
          </c:dPt>
          <c:dPt>
            <c:idx val="622"/>
            <c:spPr>
              <a:solidFill>
                <a:srgbClr val="AEABAB"/>
              </a:solidFill>
            </c:spPr>
          </c:dPt>
          <c:dPt>
            <c:idx val="623"/>
            <c:spPr>
              <a:solidFill>
                <a:srgbClr val="AEABAB"/>
              </a:solidFill>
            </c:spPr>
          </c:dPt>
          <c:dPt>
            <c:idx val="624"/>
            <c:spPr>
              <a:solidFill>
                <a:srgbClr val="AEABAB"/>
              </a:solidFill>
            </c:spPr>
          </c:dPt>
          <c:dPt>
            <c:idx val="625"/>
            <c:spPr>
              <a:solidFill>
                <a:srgbClr val="AEABAB"/>
              </a:solidFill>
            </c:spPr>
          </c:dPt>
          <c:dPt>
            <c:idx val="626"/>
            <c:spPr>
              <a:solidFill>
                <a:srgbClr val="AEABAB"/>
              </a:solidFill>
            </c:spPr>
          </c:dPt>
          <c:dPt>
            <c:idx val="627"/>
            <c:spPr>
              <a:solidFill>
                <a:srgbClr val="AEABAB"/>
              </a:solidFill>
            </c:spPr>
          </c:dPt>
          <c:dPt>
            <c:idx val="628"/>
            <c:spPr>
              <a:solidFill>
                <a:srgbClr val="AEABAB"/>
              </a:solidFill>
            </c:spPr>
          </c:dPt>
          <c:dPt>
            <c:idx val="629"/>
            <c:spPr>
              <a:solidFill>
                <a:srgbClr val="AEABAB"/>
              </a:solidFill>
            </c:spPr>
          </c:dPt>
          <c:dPt>
            <c:idx val="630"/>
            <c:spPr>
              <a:solidFill>
                <a:srgbClr val="AEABAB"/>
              </a:solidFill>
            </c:spPr>
          </c:dPt>
          <c:dPt>
            <c:idx val="631"/>
            <c:spPr>
              <a:solidFill>
                <a:srgbClr val="AEABAB"/>
              </a:solidFill>
            </c:spPr>
          </c:dPt>
          <c:dPt>
            <c:idx val="632"/>
            <c:spPr>
              <a:solidFill>
                <a:srgbClr val="AEABAB"/>
              </a:solidFill>
            </c:spPr>
          </c:dPt>
          <c:dPt>
            <c:idx val="633"/>
            <c:spPr>
              <a:solidFill>
                <a:srgbClr val="AEABAB"/>
              </a:solidFill>
            </c:spPr>
          </c:dPt>
          <c:dPt>
            <c:idx val="634"/>
            <c:spPr>
              <a:solidFill>
                <a:srgbClr val="AEABAB"/>
              </a:solidFill>
            </c:spPr>
          </c:dPt>
          <c:dPt>
            <c:idx val="635"/>
            <c:spPr>
              <a:solidFill>
                <a:srgbClr val="AEABAB"/>
              </a:solidFill>
            </c:spPr>
          </c:dPt>
          <c:dPt>
            <c:idx val="636"/>
            <c:spPr>
              <a:solidFill>
                <a:srgbClr val="AEABAB"/>
              </a:solidFill>
            </c:spPr>
          </c:dPt>
          <c:dPt>
            <c:idx val="637"/>
            <c:spPr>
              <a:solidFill>
                <a:srgbClr val="AEABAB"/>
              </a:solidFill>
            </c:spPr>
          </c:dPt>
          <c:dPt>
            <c:idx val="638"/>
            <c:spPr>
              <a:solidFill>
                <a:srgbClr val="AEABAB"/>
              </a:solidFill>
            </c:spPr>
          </c:dPt>
          <c:dPt>
            <c:idx val="639"/>
            <c:spPr>
              <a:solidFill>
                <a:srgbClr val="AEABAB"/>
              </a:solidFill>
            </c:spPr>
          </c:dPt>
          <c:dPt>
            <c:idx val="640"/>
            <c:spPr>
              <a:solidFill>
                <a:srgbClr val="AEABAB"/>
              </a:solidFill>
            </c:spPr>
          </c:dPt>
          <c:dPt>
            <c:idx val="641"/>
            <c:spPr>
              <a:solidFill>
                <a:srgbClr val="AEABAB"/>
              </a:solidFill>
            </c:spPr>
          </c:dPt>
          <c:dPt>
            <c:idx val="642"/>
            <c:spPr>
              <a:solidFill>
                <a:srgbClr val="AEABAB"/>
              </a:solidFill>
            </c:spPr>
          </c:dPt>
          <c:dPt>
            <c:idx val="643"/>
            <c:spPr>
              <a:solidFill>
                <a:srgbClr val="AEABAB"/>
              </a:solidFill>
            </c:spPr>
          </c:dPt>
          <c:dPt>
            <c:idx val="644"/>
            <c:spPr>
              <a:solidFill>
                <a:srgbClr val="AEABAB"/>
              </a:solidFill>
            </c:spPr>
          </c:dPt>
          <c:dPt>
            <c:idx val="645"/>
            <c:spPr>
              <a:solidFill>
                <a:srgbClr val="AEABAB"/>
              </a:solidFill>
            </c:spPr>
          </c:dPt>
          <c:dPt>
            <c:idx val="646"/>
            <c:spPr>
              <a:solidFill>
                <a:srgbClr val="AEABAB"/>
              </a:solidFill>
            </c:spPr>
          </c:dPt>
          <c:dPt>
            <c:idx val="647"/>
            <c:spPr>
              <a:solidFill>
                <a:srgbClr val="AEABAB"/>
              </a:solidFill>
            </c:spPr>
          </c:dPt>
          <c:dPt>
            <c:idx val="648"/>
            <c:spPr>
              <a:solidFill>
                <a:srgbClr val="AEABAB"/>
              </a:solidFill>
            </c:spPr>
          </c:dPt>
          <c:dPt>
            <c:idx val="649"/>
            <c:spPr>
              <a:solidFill>
                <a:srgbClr val="AEABAB"/>
              </a:solidFill>
            </c:spPr>
          </c:dPt>
          <c:dPt>
            <c:idx val="650"/>
            <c:spPr>
              <a:solidFill>
                <a:srgbClr val="AEABAB"/>
              </a:solidFill>
            </c:spPr>
          </c:dPt>
          <c:dPt>
            <c:idx val="651"/>
            <c:spPr>
              <a:solidFill>
                <a:srgbClr val="AEABAB"/>
              </a:solidFill>
            </c:spPr>
          </c:dPt>
          <c:dPt>
            <c:idx val="652"/>
            <c:spPr>
              <a:solidFill>
                <a:srgbClr val="AEABAB"/>
              </a:solidFill>
            </c:spPr>
          </c:dPt>
          <c:dPt>
            <c:idx val="653"/>
            <c:spPr>
              <a:solidFill>
                <a:srgbClr val="AEABAB"/>
              </a:solidFill>
            </c:spPr>
          </c:dPt>
          <c:dPt>
            <c:idx val="654"/>
            <c:spPr>
              <a:solidFill>
                <a:srgbClr val="AEABAB"/>
              </a:solidFill>
            </c:spPr>
          </c:dPt>
          <c:dPt>
            <c:idx val="655"/>
            <c:spPr>
              <a:solidFill>
                <a:srgbClr val="AEABAB"/>
              </a:solidFill>
            </c:spPr>
          </c:dPt>
          <c:dPt>
            <c:idx val="656"/>
            <c:spPr>
              <a:solidFill>
                <a:srgbClr val="AEABAB"/>
              </a:solidFill>
            </c:spPr>
          </c:dPt>
          <c:dPt>
            <c:idx val="657"/>
            <c:spPr>
              <a:solidFill>
                <a:srgbClr val="AEABAB"/>
              </a:solidFill>
            </c:spPr>
          </c:dPt>
          <c:dPt>
            <c:idx val="658"/>
            <c:spPr>
              <a:solidFill>
                <a:srgbClr val="AEABAB"/>
              </a:solidFill>
            </c:spPr>
          </c:dPt>
          <c:dPt>
            <c:idx val="659"/>
            <c:spPr>
              <a:solidFill>
                <a:srgbClr val="AEABAB"/>
              </a:solidFill>
            </c:spPr>
          </c:dPt>
          <c:dPt>
            <c:idx val="660"/>
            <c:spPr>
              <a:solidFill>
                <a:srgbClr val="AEABAB"/>
              </a:solidFill>
            </c:spPr>
          </c:dPt>
          <c:dPt>
            <c:idx val="661"/>
            <c:spPr>
              <a:solidFill>
                <a:srgbClr val="AEABAB"/>
              </a:solidFill>
            </c:spPr>
          </c:dPt>
          <c:dPt>
            <c:idx val="662"/>
            <c:spPr>
              <a:solidFill>
                <a:srgbClr val="AEABAB"/>
              </a:solidFill>
            </c:spPr>
          </c:dPt>
          <c:dPt>
            <c:idx val="663"/>
            <c:spPr>
              <a:solidFill>
                <a:srgbClr val="AEABAB"/>
              </a:solidFill>
            </c:spPr>
          </c:dPt>
          <c:dPt>
            <c:idx val="664"/>
            <c:spPr>
              <a:solidFill>
                <a:srgbClr val="AEABAB"/>
              </a:solidFill>
            </c:spPr>
          </c:dPt>
          <c:dPt>
            <c:idx val="665"/>
            <c:spPr>
              <a:solidFill>
                <a:srgbClr val="AEABAB"/>
              </a:solidFill>
            </c:spPr>
          </c:dPt>
          <c:dPt>
            <c:idx val="666"/>
            <c:spPr>
              <a:solidFill>
                <a:srgbClr val="AEABAB"/>
              </a:solidFill>
            </c:spPr>
          </c:dPt>
          <c:dPt>
            <c:idx val="667"/>
            <c:spPr>
              <a:solidFill>
                <a:srgbClr val="AEABAB"/>
              </a:solidFill>
            </c:spPr>
          </c:dPt>
          <c:dPt>
            <c:idx val="668"/>
            <c:spPr>
              <a:solidFill>
                <a:srgbClr val="AEABAB"/>
              </a:solidFill>
            </c:spPr>
          </c:dPt>
          <c:dPt>
            <c:idx val="669"/>
            <c:spPr>
              <a:solidFill>
                <a:srgbClr val="AEABAB"/>
              </a:solidFill>
            </c:spPr>
          </c:dPt>
          <c:dPt>
            <c:idx val="670"/>
            <c:spPr>
              <a:solidFill>
                <a:srgbClr val="AEABAB"/>
              </a:solidFill>
            </c:spPr>
          </c:dPt>
          <c:dPt>
            <c:idx val="671"/>
            <c:spPr>
              <a:solidFill>
                <a:srgbClr val="AEABAB"/>
              </a:solidFill>
            </c:spPr>
          </c:dPt>
          <c:dPt>
            <c:idx val="672"/>
            <c:spPr>
              <a:solidFill>
                <a:srgbClr val="AEABAB"/>
              </a:solidFill>
            </c:spPr>
          </c:dPt>
          <c:dPt>
            <c:idx val="673"/>
            <c:spPr>
              <a:solidFill>
                <a:srgbClr val="AEABAB"/>
              </a:solidFill>
            </c:spPr>
          </c:dPt>
          <c:dPt>
            <c:idx val="674"/>
            <c:spPr>
              <a:solidFill>
                <a:srgbClr val="AEABAB"/>
              </a:solidFill>
            </c:spPr>
          </c:dPt>
          <c:dPt>
            <c:idx val="675"/>
            <c:spPr>
              <a:solidFill>
                <a:srgbClr val="AEABAB"/>
              </a:solidFill>
            </c:spPr>
          </c:dPt>
          <c:dPt>
            <c:idx val="676"/>
            <c:spPr>
              <a:solidFill>
                <a:srgbClr val="AEABAB"/>
              </a:solidFill>
            </c:spPr>
          </c:dPt>
          <c:dPt>
            <c:idx val="677"/>
            <c:spPr>
              <a:solidFill>
                <a:srgbClr val="AEABAB"/>
              </a:solidFill>
            </c:spPr>
          </c:dPt>
          <c:dPt>
            <c:idx val="678"/>
            <c:spPr>
              <a:solidFill>
                <a:srgbClr val="AEABAB"/>
              </a:solidFill>
            </c:spPr>
          </c:dPt>
          <c:dPt>
            <c:idx val="679"/>
            <c:spPr>
              <a:solidFill>
                <a:srgbClr val="AEABAB"/>
              </a:solidFill>
            </c:spPr>
          </c:dPt>
          <c:dPt>
            <c:idx val="680"/>
            <c:spPr>
              <a:solidFill>
                <a:srgbClr val="AEABAB"/>
              </a:solidFill>
            </c:spPr>
          </c:dPt>
          <c:dPt>
            <c:idx val="681"/>
            <c:spPr>
              <a:solidFill>
                <a:srgbClr val="AEABAB"/>
              </a:solidFill>
            </c:spPr>
          </c:dPt>
          <c:dPt>
            <c:idx val="682"/>
            <c:spPr>
              <a:solidFill>
                <a:srgbClr val="AEABAB"/>
              </a:solidFill>
            </c:spPr>
          </c:dPt>
          <c:dPt>
            <c:idx val="683"/>
            <c:spPr>
              <a:solidFill>
                <a:srgbClr val="AEABAB"/>
              </a:solidFill>
            </c:spPr>
          </c:dPt>
          <c:dPt>
            <c:idx val="684"/>
            <c:spPr>
              <a:solidFill>
                <a:srgbClr val="AEABAB"/>
              </a:solidFill>
            </c:spPr>
          </c:dPt>
          <c:dPt>
            <c:idx val="685"/>
            <c:spPr>
              <a:solidFill>
                <a:srgbClr val="AEABAB"/>
              </a:solidFill>
            </c:spPr>
          </c:dPt>
          <c:dPt>
            <c:idx val="686"/>
            <c:spPr>
              <a:solidFill>
                <a:srgbClr val="AEABAB"/>
              </a:solidFill>
            </c:spPr>
          </c:dPt>
          <c:dPt>
            <c:idx val="687"/>
            <c:spPr>
              <a:solidFill>
                <a:srgbClr val="AEABAB"/>
              </a:solidFill>
            </c:spPr>
          </c:dPt>
          <c:dPt>
            <c:idx val="688"/>
            <c:spPr>
              <a:solidFill>
                <a:srgbClr val="AEABAB"/>
              </a:solidFill>
            </c:spPr>
          </c:dPt>
          <c:dPt>
            <c:idx val="689"/>
            <c:spPr>
              <a:solidFill>
                <a:srgbClr val="AEABAB"/>
              </a:solidFill>
            </c:spPr>
          </c:dPt>
          <c:dPt>
            <c:idx val="690"/>
            <c:spPr>
              <a:solidFill>
                <a:srgbClr val="AEABAB"/>
              </a:solidFill>
            </c:spPr>
          </c:dPt>
          <c:dPt>
            <c:idx val="691"/>
            <c:spPr>
              <a:solidFill>
                <a:srgbClr val="AEABAB"/>
              </a:solidFill>
            </c:spPr>
          </c:dPt>
          <c:dPt>
            <c:idx val="692"/>
            <c:spPr>
              <a:solidFill>
                <a:srgbClr val="AEABAB"/>
              </a:solidFill>
            </c:spPr>
          </c:dPt>
          <c:dPt>
            <c:idx val="693"/>
            <c:spPr>
              <a:solidFill>
                <a:srgbClr val="AEABAB"/>
              </a:solidFill>
            </c:spPr>
          </c:dPt>
          <c:dPt>
            <c:idx val="694"/>
            <c:spPr>
              <a:solidFill>
                <a:srgbClr val="AEABAB"/>
              </a:solidFill>
            </c:spPr>
          </c:dPt>
          <c:dPt>
            <c:idx val="695"/>
            <c:spPr>
              <a:solidFill>
                <a:srgbClr val="AEABAB"/>
              </a:solidFill>
            </c:spPr>
          </c:dPt>
          <c:dPt>
            <c:idx val="696"/>
            <c:spPr>
              <a:solidFill>
                <a:srgbClr val="AEABAB"/>
              </a:solidFill>
            </c:spPr>
          </c:dPt>
          <c:dPt>
            <c:idx val="697"/>
            <c:spPr>
              <a:solidFill>
                <a:srgbClr val="AEABAB"/>
              </a:solidFill>
            </c:spPr>
          </c:dPt>
          <c:dPt>
            <c:idx val="698"/>
            <c:spPr>
              <a:solidFill>
                <a:srgbClr val="AEABAB"/>
              </a:solidFill>
            </c:spPr>
          </c:dPt>
          <c:dPt>
            <c:idx val="699"/>
            <c:spPr>
              <a:solidFill>
                <a:srgbClr val="AEABAB"/>
              </a:solidFill>
            </c:spPr>
          </c:dPt>
          <c:dPt>
            <c:idx val="700"/>
            <c:spPr>
              <a:solidFill>
                <a:srgbClr val="AEABAB"/>
              </a:solidFill>
            </c:spPr>
          </c:dPt>
          <c:dPt>
            <c:idx val="701"/>
            <c:spPr>
              <a:solidFill>
                <a:srgbClr val="AEABAB"/>
              </a:solidFill>
            </c:spPr>
          </c:dPt>
          <c:dPt>
            <c:idx val="702"/>
            <c:spPr>
              <a:solidFill>
                <a:srgbClr val="AEABAB"/>
              </a:solidFill>
            </c:spPr>
          </c:dPt>
          <c:dPt>
            <c:idx val="703"/>
            <c:spPr>
              <a:solidFill>
                <a:srgbClr val="AEABAB"/>
              </a:solidFill>
            </c:spPr>
          </c:dPt>
          <c:dPt>
            <c:idx val="704"/>
            <c:spPr>
              <a:solidFill>
                <a:srgbClr val="AEABAB"/>
              </a:solidFill>
            </c:spPr>
          </c:dPt>
          <c:dPt>
            <c:idx val="705"/>
            <c:spPr>
              <a:solidFill>
                <a:srgbClr val="AEABAB"/>
              </a:solidFill>
            </c:spPr>
          </c:dPt>
          <c:dPt>
            <c:idx val="706"/>
            <c:spPr>
              <a:solidFill>
                <a:srgbClr val="AEABAB"/>
              </a:solidFill>
            </c:spPr>
          </c:dPt>
          <c:dPt>
            <c:idx val="707"/>
            <c:spPr>
              <a:solidFill>
                <a:srgbClr val="AEABAB"/>
              </a:solidFill>
            </c:spPr>
          </c:dPt>
          <c:dPt>
            <c:idx val="708"/>
            <c:spPr>
              <a:solidFill>
                <a:srgbClr val="AEABAB"/>
              </a:solidFill>
            </c:spPr>
          </c:dPt>
          <c:dPt>
            <c:idx val="709"/>
            <c:spPr>
              <a:solidFill>
                <a:srgbClr val="AEABAB"/>
              </a:solidFill>
            </c:spPr>
          </c:dPt>
          <c:dPt>
            <c:idx val="710"/>
            <c:spPr>
              <a:solidFill>
                <a:srgbClr val="AEABAB"/>
              </a:solidFill>
            </c:spPr>
          </c:dPt>
          <c:dPt>
            <c:idx val="711"/>
            <c:spPr>
              <a:solidFill>
                <a:srgbClr val="AEABAB"/>
              </a:solidFill>
            </c:spPr>
          </c:dPt>
          <c:dPt>
            <c:idx val="712"/>
            <c:spPr>
              <a:solidFill>
                <a:srgbClr val="AEABAB"/>
              </a:solidFill>
            </c:spPr>
          </c:dPt>
          <c:dPt>
            <c:idx val="713"/>
            <c:spPr>
              <a:solidFill>
                <a:srgbClr val="AEABAB"/>
              </a:solidFill>
            </c:spPr>
          </c:dPt>
          <c:dPt>
            <c:idx val="714"/>
            <c:spPr>
              <a:solidFill>
                <a:srgbClr val="AEABAB"/>
              </a:solidFill>
            </c:spPr>
          </c:dPt>
          <c:dPt>
            <c:idx val="715"/>
            <c:spPr>
              <a:solidFill>
                <a:srgbClr val="AEABAB"/>
              </a:solidFill>
            </c:spPr>
          </c:dPt>
          <c:dPt>
            <c:idx val="716"/>
            <c:spPr>
              <a:solidFill>
                <a:srgbClr val="AEABAB"/>
              </a:solidFill>
            </c:spPr>
          </c:dPt>
          <c:dPt>
            <c:idx val="717"/>
            <c:spPr>
              <a:solidFill>
                <a:srgbClr val="AEABAB"/>
              </a:solidFill>
            </c:spPr>
          </c:dPt>
          <c:dPt>
            <c:idx val="718"/>
            <c:spPr>
              <a:solidFill>
                <a:srgbClr val="AEABAB"/>
              </a:solidFill>
            </c:spPr>
          </c:dPt>
          <c:dPt>
            <c:idx val="719"/>
            <c:spPr>
              <a:solidFill>
                <a:srgbClr val="AEABAB"/>
              </a:solidFill>
            </c:spPr>
          </c:dPt>
          <c:dPt>
            <c:idx val="720"/>
            <c:spPr>
              <a:solidFill>
                <a:srgbClr val="AEABAB"/>
              </a:solidFill>
            </c:spPr>
          </c:dPt>
          <c:dPt>
            <c:idx val="721"/>
            <c:spPr>
              <a:solidFill>
                <a:srgbClr val="AEABAB"/>
              </a:solidFill>
            </c:spPr>
          </c:dPt>
          <c:dPt>
            <c:idx val="722"/>
            <c:spPr>
              <a:solidFill>
                <a:srgbClr val="AEABAB"/>
              </a:solidFill>
            </c:spPr>
          </c:dPt>
          <c:dPt>
            <c:idx val="723"/>
            <c:spPr>
              <a:solidFill>
                <a:srgbClr val="AEABAB"/>
              </a:solidFill>
            </c:spPr>
          </c:dPt>
          <c:dPt>
            <c:idx val="724"/>
            <c:spPr>
              <a:solidFill>
                <a:srgbClr val="AEABAB"/>
              </a:solidFill>
            </c:spPr>
          </c:dPt>
          <c:dPt>
            <c:idx val="725"/>
            <c:spPr>
              <a:solidFill>
                <a:srgbClr val="AEABAB"/>
              </a:solidFill>
            </c:spPr>
          </c:dPt>
          <c:dPt>
            <c:idx val="726"/>
            <c:spPr>
              <a:solidFill>
                <a:srgbClr val="AEABAB"/>
              </a:solidFill>
            </c:spPr>
          </c:dPt>
          <c:dPt>
            <c:idx val="727"/>
            <c:spPr>
              <a:solidFill>
                <a:srgbClr val="AEABAB"/>
              </a:solidFill>
            </c:spPr>
          </c:dPt>
          <c:dPt>
            <c:idx val="728"/>
            <c:spPr>
              <a:solidFill>
                <a:srgbClr val="AEABAB"/>
              </a:solidFill>
            </c:spPr>
          </c:dPt>
          <c:dPt>
            <c:idx val="729"/>
            <c:spPr>
              <a:solidFill>
                <a:srgbClr val="AEABAB"/>
              </a:solidFill>
            </c:spPr>
          </c:dPt>
          <c:dPt>
            <c:idx val="730"/>
            <c:spPr>
              <a:solidFill>
                <a:srgbClr val="AEABAB"/>
              </a:solidFill>
            </c:spPr>
          </c:dPt>
          <c:dPt>
            <c:idx val="731"/>
            <c:spPr>
              <a:solidFill>
                <a:srgbClr val="AEABAB"/>
              </a:solidFill>
            </c:spPr>
          </c:dPt>
          <c:dPt>
            <c:idx val="732"/>
            <c:spPr>
              <a:solidFill>
                <a:srgbClr val="AEABAB"/>
              </a:solidFill>
            </c:spPr>
          </c:dPt>
          <c:dPt>
            <c:idx val="733"/>
            <c:spPr>
              <a:solidFill>
                <a:srgbClr val="AEABAB"/>
              </a:solidFill>
            </c:spPr>
          </c:dPt>
          <c:dPt>
            <c:idx val="734"/>
            <c:spPr>
              <a:solidFill>
                <a:srgbClr val="AEABAB"/>
              </a:solidFill>
            </c:spPr>
          </c:dPt>
          <c:dPt>
            <c:idx val="735"/>
            <c:spPr>
              <a:solidFill>
                <a:srgbClr val="AEABAB"/>
              </a:solidFill>
            </c:spPr>
          </c:dPt>
          <c:dPt>
            <c:idx val="736"/>
            <c:spPr>
              <a:solidFill>
                <a:srgbClr val="AEABAB"/>
              </a:solidFill>
            </c:spPr>
          </c:dPt>
          <c:dPt>
            <c:idx val="737"/>
            <c:spPr>
              <a:solidFill>
                <a:srgbClr val="AEABAB"/>
              </a:solidFill>
            </c:spPr>
          </c:dPt>
          <c:dPt>
            <c:idx val="738"/>
            <c:spPr>
              <a:solidFill>
                <a:srgbClr val="AEABAB"/>
              </a:solidFill>
            </c:spPr>
          </c:dPt>
          <c:dPt>
            <c:idx val="739"/>
            <c:spPr>
              <a:solidFill>
                <a:srgbClr val="AEABAB"/>
              </a:solidFill>
            </c:spPr>
          </c:dPt>
          <c:dPt>
            <c:idx val="740"/>
            <c:spPr>
              <a:solidFill>
                <a:srgbClr val="AEABAB"/>
              </a:solidFill>
            </c:spPr>
          </c:dPt>
          <c:dPt>
            <c:idx val="741"/>
            <c:spPr>
              <a:solidFill>
                <a:srgbClr val="AEABAB"/>
              </a:solidFill>
            </c:spPr>
          </c:dPt>
          <c:dPt>
            <c:idx val="742"/>
            <c:spPr>
              <a:solidFill>
                <a:srgbClr val="AEABAB"/>
              </a:solidFill>
            </c:spPr>
          </c:dPt>
          <c:dPt>
            <c:idx val="743"/>
            <c:spPr>
              <a:solidFill>
                <a:srgbClr val="AEABAB"/>
              </a:solidFill>
            </c:spPr>
          </c:dPt>
          <c:dPt>
            <c:idx val="744"/>
            <c:spPr>
              <a:solidFill>
                <a:srgbClr val="AEABAB"/>
              </a:solidFill>
            </c:spPr>
          </c:dPt>
          <c:dPt>
            <c:idx val="745"/>
            <c:spPr>
              <a:solidFill>
                <a:srgbClr val="AEABAB"/>
              </a:solidFill>
            </c:spPr>
          </c:dPt>
          <c:dPt>
            <c:idx val="746"/>
            <c:spPr>
              <a:solidFill>
                <a:srgbClr val="AEABAB"/>
              </a:solidFill>
            </c:spPr>
          </c:dPt>
          <c:dPt>
            <c:idx val="747"/>
            <c:spPr>
              <a:solidFill>
                <a:srgbClr val="AEABAB"/>
              </a:solidFill>
            </c:spPr>
          </c:dPt>
          <c:dPt>
            <c:idx val="748"/>
            <c:spPr>
              <a:solidFill>
                <a:srgbClr val="AEABAB"/>
              </a:solidFill>
            </c:spPr>
          </c:dPt>
          <c:dPt>
            <c:idx val="749"/>
            <c:spPr>
              <a:solidFill>
                <a:srgbClr val="AEABAB"/>
              </a:solidFill>
            </c:spPr>
          </c:dPt>
          <c:dPt>
            <c:idx val="750"/>
            <c:spPr>
              <a:solidFill>
                <a:srgbClr val="AEABAB"/>
              </a:solidFill>
            </c:spPr>
          </c:dPt>
          <c:dPt>
            <c:idx val="751"/>
            <c:spPr>
              <a:solidFill>
                <a:srgbClr val="AEABAB"/>
              </a:solidFill>
            </c:spPr>
          </c:dPt>
          <c:dPt>
            <c:idx val="752"/>
            <c:spPr>
              <a:solidFill>
                <a:srgbClr val="AEABAB"/>
              </a:solidFill>
            </c:spPr>
          </c:dPt>
          <c:dPt>
            <c:idx val="753"/>
            <c:spPr>
              <a:solidFill>
                <a:srgbClr val="AEABAB"/>
              </a:solidFill>
            </c:spPr>
          </c:dPt>
          <c:dPt>
            <c:idx val="754"/>
            <c:spPr>
              <a:solidFill>
                <a:srgbClr val="AEABAB"/>
              </a:solidFill>
            </c:spPr>
          </c:dPt>
          <c:dPt>
            <c:idx val="755"/>
            <c:spPr>
              <a:solidFill>
                <a:srgbClr val="AEABAB"/>
              </a:solidFill>
            </c:spPr>
          </c:dPt>
          <c:dPt>
            <c:idx val="756"/>
            <c:spPr>
              <a:solidFill>
                <a:srgbClr val="AEABAB"/>
              </a:solidFill>
            </c:spPr>
          </c:dPt>
          <c:dPt>
            <c:idx val="757"/>
            <c:spPr>
              <a:solidFill>
                <a:srgbClr val="AEABAB"/>
              </a:solidFill>
            </c:spPr>
          </c:dPt>
          <c:dPt>
            <c:idx val="758"/>
            <c:spPr>
              <a:solidFill>
                <a:srgbClr val="AEABAB"/>
              </a:solidFill>
            </c:spPr>
          </c:dPt>
          <c:dPt>
            <c:idx val="759"/>
            <c:spPr>
              <a:solidFill>
                <a:srgbClr val="AEABAB"/>
              </a:solidFill>
            </c:spPr>
          </c:dPt>
          <c:dPt>
            <c:idx val="760"/>
            <c:spPr>
              <a:solidFill>
                <a:srgbClr val="AEABAB"/>
              </a:solidFill>
            </c:spPr>
          </c:dPt>
          <c:dPt>
            <c:idx val="761"/>
            <c:spPr>
              <a:solidFill>
                <a:srgbClr val="AEABAB"/>
              </a:solidFill>
            </c:spPr>
          </c:dPt>
          <c:dPt>
            <c:idx val="762"/>
            <c:spPr>
              <a:solidFill>
                <a:srgbClr val="AEABAB"/>
              </a:solidFill>
            </c:spPr>
          </c:dPt>
          <c:dPt>
            <c:idx val="763"/>
            <c:spPr>
              <a:solidFill>
                <a:srgbClr val="AEABAB"/>
              </a:solidFill>
            </c:spPr>
          </c:dPt>
          <c:dPt>
            <c:idx val="764"/>
            <c:spPr>
              <a:solidFill>
                <a:srgbClr val="AEABAB"/>
              </a:solidFill>
            </c:spPr>
          </c:dPt>
          <c:dPt>
            <c:idx val="765"/>
            <c:spPr>
              <a:solidFill>
                <a:srgbClr val="AEABAB"/>
              </a:solidFill>
            </c:spPr>
          </c:dPt>
          <c:dPt>
            <c:idx val="766"/>
            <c:spPr>
              <a:solidFill>
                <a:srgbClr val="AEABAB"/>
              </a:solidFill>
            </c:spPr>
          </c:dPt>
          <c:dPt>
            <c:idx val="767"/>
            <c:spPr>
              <a:solidFill>
                <a:srgbClr val="AEABAB"/>
              </a:solidFill>
            </c:spPr>
          </c:dPt>
          <c:dPt>
            <c:idx val="768"/>
            <c:spPr>
              <a:solidFill>
                <a:srgbClr val="AEABAB"/>
              </a:solidFill>
            </c:spPr>
          </c:dPt>
          <c:dPt>
            <c:idx val="769"/>
            <c:spPr>
              <a:solidFill>
                <a:srgbClr val="AEABAB"/>
              </a:solidFill>
            </c:spPr>
          </c:dPt>
          <c:dPt>
            <c:idx val="770"/>
            <c:spPr>
              <a:solidFill>
                <a:srgbClr val="AEABAB"/>
              </a:solidFill>
            </c:spPr>
          </c:dPt>
          <c:dPt>
            <c:idx val="771"/>
            <c:spPr>
              <a:solidFill>
                <a:srgbClr val="AEABAB"/>
              </a:solidFill>
            </c:spPr>
          </c:dPt>
          <c:dPt>
            <c:idx val="772"/>
            <c:spPr>
              <a:solidFill>
                <a:srgbClr val="AEABAB"/>
              </a:solidFill>
            </c:spPr>
          </c:dPt>
          <c:dPt>
            <c:idx val="773"/>
            <c:spPr>
              <a:solidFill>
                <a:srgbClr val="AEABAB"/>
              </a:solidFill>
            </c:spPr>
          </c:dPt>
          <c:dPt>
            <c:idx val="774"/>
            <c:spPr>
              <a:solidFill>
                <a:srgbClr val="AEABAB"/>
              </a:solidFill>
            </c:spPr>
          </c:dPt>
          <c:dPt>
            <c:idx val="775"/>
            <c:spPr>
              <a:solidFill>
                <a:srgbClr val="AEABAB"/>
              </a:solidFill>
            </c:spPr>
          </c:dPt>
          <c:dPt>
            <c:idx val="776"/>
            <c:spPr>
              <a:solidFill>
                <a:srgbClr val="AEABAB"/>
              </a:solidFill>
            </c:spPr>
          </c:dPt>
          <c:dPt>
            <c:idx val="777"/>
            <c:spPr>
              <a:solidFill>
                <a:srgbClr val="AEABAB"/>
              </a:solidFill>
            </c:spPr>
          </c:dPt>
          <c:dPt>
            <c:idx val="778"/>
            <c:spPr>
              <a:solidFill>
                <a:srgbClr val="AEABAB"/>
              </a:solidFill>
            </c:spPr>
          </c:dPt>
          <c:dPt>
            <c:idx val="779"/>
            <c:spPr>
              <a:solidFill>
                <a:srgbClr val="AEABAB"/>
              </a:solidFill>
            </c:spPr>
          </c:dPt>
          <c:dPt>
            <c:idx val="780"/>
            <c:spPr>
              <a:solidFill>
                <a:srgbClr val="AEABAB"/>
              </a:solidFill>
            </c:spPr>
          </c:dPt>
          <c:dPt>
            <c:idx val="781"/>
            <c:spPr>
              <a:solidFill>
                <a:srgbClr val="AEABAB"/>
              </a:solidFill>
            </c:spPr>
          </c:dPt>
          <c:dPt>
            <c:idx val="782"/>
            <c:spPr>
              <a:solidFill>
                <a:srgbClr val="AEABAB"/>
              </a:solidFill>
            </c:spPr>
          </c:dPt>
          <c:dPt>
            <c:idx val="783"/>
            <c:spPr>
              <a:solidFill>
                <a:srgbClr val="AEABAB"/>
              </a:solidFill>
            </c:spPr>
          </c:dPt>
          <c:dPt>
            <c:idx val="784"/>
            <c:spPr>
              <a:solidFill>
                <a:srgbClr val="AEABAB"/>
              </a:solidFill>
            </c:spPr>
          </c:dPt>
          <c:dPt>
            <c:idx val="785"/>
            <c:spPr>
              <a:solidFill>
                <a:srgbClr val="AEABAB"/>
              </a:solidFill>
            </c:spPr>
          </c:dPt>
          <c:dPt>
            <c:idx val="786"/>
            <c:spPr>
              <a:solidFill>
                <a:srgbClr val="AEABAB"/>
              </a:solidFill>
            </c:spPr>
          </c:dPt>
          <c:dPt>
            <c:idx val="787"/>
            <c:spPr>
              <a:solidFill>
                <a:srgbClr val="AEABAB"/>
              </a:solidFill>
            </c:spPr>
          </c:dPt>
          <c:dPt>
            <c:idx val="788"/>
            <c:spPr>
              <a:solidFill>
                <a:srgbClr val="AEABAB"/>
              </a:solidFill>
            </c:spPr>
          </c:dPt>
          <c:dPt>
            <c:idx val="789"/>
            <c:spPr>
              <a:solidFill>
                <a:srgbClr val="AEABAB"/>
              </a:solidFill>
            </c:spPr>
          </c:dPt>
          <c:dPt>
            <c:idx val="790"/>
            <c:spPr>
              <a:solidFill>
                <a:srgbClr val="AEABAB"/>
              </a:solidFill>
            </c:spPr>
          </c:dPt>
          <c:dPt>
            <c:idx val="791"/>
            <c:spPr>
              <a:solidFill>
                <a:srgbClr val="AEABAB"/>
              </a:solidFill>
            </c:spPr>
          </c:dPt>
          <c:dPt>
            <c:idx val="792"/>
            <c:spPr>
              <a:solidFill>
                <a:srgbClr val="AEABAB"/>
              </a:solidFill>
            </c:spPr>
          </c:dPt>
          <c:dPt>
            <c:idx val="793"/>
            <c:spPr>
              <a:solidFill>
                <a:srgbClr val="AEABAB"/>
              </a:solidFill>
            </c:spPr>
          </c:dPt>
          <c:dPt>
            <c:idx val="794"/>
            <c:spPr>
              <a:solidFill>
                <a:srgbClr val="AEABAB"/>
              </a:solidFill>
            </c:spPr>
          </c:dPt>
          <c:dPt>
            <c:idx val="795"/>
            <c:spPr>
              <a:solidFill>
                <a:srgbClr val="AEABAB"/>
              </a:solidFill>
            </c:spPr>
          </c:dPt>
          <c:dPt>
            <c:idx val="796"/>
            <c:spPr>
              <a:solidFill>
                <a:srgbClr val="AEABAB"/>
              </a:solidFill>
            </c:spPr>
          </c:dPt>
          <c:dPt>
            <c:idx val="797"/>
            <c:spPr>
              <a:solidFill>
                <a:srgbClr val="AEABAB"/>
              </a:solidFill>
            </c:spPr>
          </c:dPt>
          <c:dPt>
            <c:idx val="798"/>
            <c:spPr>
              <a:solidFill>
                <a:srgbClr val="AEABAB"/>
              </a:solidFill>
            </c:spPr>
          </c:dPt>
          <c:dPt>
            <c:idx val="799"/>
            <c:spPr>
              <a:solidFill>
                <a:srgbClr val="AEABAB"/>
              </a:solidFill>
            </c:spPr>
          </c:dPt>
          <c:dPt>
            <c:idx val="800"/>
            <c:spPr>
              <a:solidFill>
                <a:srgbClr val="AEABAB"/>
              </a:solidFill>
            </c:spPr>
          </c:dPt>
          <c:dPt>
            <c:idx val="801"/>
            <c:spPr>
              <a:solidFill>
                <a:srgbClr val="AEABAB"/>
              </a:solidFill>
            </c:spPr>
          </c:dPt>
          <c:dPt>
            <c:idx val="802"/>
            <c:spPr>
              <a:solidFill>
                <a:srgbClr val="AEABAB"/>
              </a:solidFill>
            </c:spPr>
          </c:dPt>
          <c:dPt>
            <c:idx val="803"/>
            <c:spPr>
              <a:solidFill>
                <a:srgbClr val="AEABAB"/>
              </a:solidFill>
            </c:spPr>
          </c:dPt>
          <c:dPt>
            <c:idx val="804"/>
            <c:spPr>
              <a:solidFill>
                <a:srgbClr val="AEABAB"/>
              </a:solidFill>
            </c:spPr>
          </c:dPt>
          <c:dPt>
            <c:idx val="805"/>
            <c:spPr>
              <a:solidFill>
                <a:srgbClr val="AEABAB"/>
              </a:solidFill>
            </c:spPr>
          </c:dPt>
          <c:dPt>
            <c:idx val="806"/>
            <c:spPr>
              <a:solidFill>
                <a:srgbClr val="AEABAB"/>
              </a:solidFill>
            </c:spPr>
          </c:dPt>
          <c:dPt>
            <c:idx val="807"/>
            <c:spPr>
              <a:solidFill>
                <a:srgbClr val="AEABAB"/>
              </a:solidFill>
            </c:spPr>
          </c:dPt>
          <c:dPt>
            <c:idx val="808"/>
            <c:spPr>
              <a:solidFill>
                <a:srgbClr val="AEABAB"/>
              </a:solidFill>
            </c:spPr>
          </c:dPt>
          <c:dPt>
            <c:idx val="809"/>
            <c:spPr>
              <a:solidFill>
                <a:srgbClr val="AEABAB"/>
              </a:solidFill>
            </c:spPr>
          </c:dPt>
          <c:dPt>
            <c:idx val="810"/>
            <c:spPr>
              <a:solidFill>
                <a:srgbClr val="AEABAB"/>
              </a:solidFill>
            </c:spPr>
          </c:dPt>
          <c:dPt>
            <c:idx val="811"/>
            <c:spPr>
              <a:solidFill>
                <a:srgbClr val="AEABAB"/>
              </a:solidFill>
            </c:spPr>
          </c:dPt>
          <c:dPt>
            <c:idx val="812"/>
            <c:spPr>
              <a:solidFill>
                <a:srgbClr val="AEABAB"/>
              </a:solidFill>
            </c:spPr>
          </c:dPt>
          <c:dPt>
            <c:idx val="813"/>
            <c:spPr>
              <a:solidFill>
                <a:srgbClr val="AEABAB"/>
              </a:solidFill>
            </c:spPr>
          </c:dPt>
          <c:dPt>
            <c:idx val="814"/>
            <c:spPr>
              <a:solidFill>
                <a:srgbClr val="AEABAB"/>
              </a:solidFill>
            </c:spPr>
          </c:dPt>
          <c:dPt>
            <c:idx val="815"/>
            <c:spPr>
              <a:solidFill>
                <a:srgbClr val="AEABAB"/>
              </a:solidFill>
            </c:spPr>
          </c:dPt>
          <c:dPt>
            <c:idx val="816"/>
            <c:spPr>
              <a:solidFill>
                <a:srgbClr val="AEABAB"/>
              </a:solidFill>
            </c:spPr>
          </c:dPt>
          <c:dPt>
            <c:idx val="817"/>
            <c:spPr>
              <a:solidFill>
                <a:srgbClr val="AEABAB"/>
              </a:solidFill>
            </c:spPr>
          </c:dPt>
          <c:dPt>
            <c:idx val="818"/>
            <c:spPr>
              <a:solidFill>
                <a:srgbClr val="AEABAB"/>
              </a:solidFill>
            </c:spPr>
          </c:dPt>
          <c:dPt>
            <c:idx val="819"/>
            <c:spPr>
              <a:solidFill>
                <a:srgbClr val="AEABAB"/>
              </a:solidFill>
            </c:spPr>
          </c:dPt>
          <c:dPt>
            <c:idx val="820"/>
            <c:spPr>
              <a:solidFill>
                <a:srgbClr val="AEABAB"/>
              </a:solidFill>
            </c:spPr>
          </c:dPt>
          <c:dPt>
            <c:idx val="821"/>
            <c:spPr>
              <a:solidFill>
                <a:srgbClr val="AEABAB"/>
              </a:solidFill>
            </c:spPr>
          </c:dPt>
          <c:dPt>
            <c:idx val="822"/>
            <c:spPr>
              <a:solidFill>
                <a:srgbClr val="AEABAB"/>
              </a:solidFill>
            </c:spPr>
          </c:dPt>
          <c:dPt>
            <c:idx val="823"/>
            <c:spPr>
              <a:solidFill>
                <a:srgbClr val="AEABAB"/>
              </a:solidFill>
            </c:spPr>
          </c:dPt>
          <c:dPt>
            <c:idx val="824"/>
            <c:spPr>
              <a:solidFill>
                <a:srgbClr val="AEABAB"/>
              </a:solidFill>
            </c:spPr>
          </c:dPt>
          <c:dPt>
            <c:idx val="825"/>
            <c:spPr>
              <a:solidFill>
                <a:srgbClr val="AEABAB"/>
              </a:solidFill>
            </c:spPr>
          </c:dPt>
          <c:dPt>
            <c:idx val="826"/>
            <c:spPr>
              <a:solidFill>
                <a:srgbClr val="AEABAB"/>
              </a:solidFill>
            </c:spPr>
          </c:dPt>
          <c:dPt>
            <c:idx val="827"/>
            <c:spPr>
              <a:solidFill>
                <a:srgbClr val="AEABAB"/>
              </a:solidFill>
            </c:spPr>
          </c:dPt>
          <c:dPt>
            <c:idx val="828"/>
            <c:spPr>
              <a:solidFill>
                <a:srgbClr val="AEABAB"/>
              </a:solidFill>
            </c:spPr>
          </c:dPt>
          <c:dPt>
            <c:idx val="829"/>
            <c:spPr>
              <a:solidFill>
                <a:srgbClr val="AEABAB"/>
              </a:solidFill>
            </c:spPr>
          </c:dPt>
          <c:dPt>
            <c:idx val="830"/>
            <c:spPr>
              <a:solidFill>
                <a:srgbClr val="AEABAB"/>
              </a:solidFill>
            </c:spPr>
          </c:dPt>
          <c:dPt>
            <c:idx val="831"/>
            <c:spPr>
              <a:solidFill>
                <a:srgbClr val="AEABAB"/>
              </a:solidFill>
            </c:spPr>
          </c:dPt>
          <c:dPt>
            <c:idx val="832"/>
            <c:spPr>
              <a:solidFill>
                <a:srgbClr val="AEABAB"/>
              </a:solidFill>
            </c:spPr>
          </c:dPt>
          <c:dPt>
            <c:idx val="833"/>
            <c:spPr>
              <a:solidFill>
                <a:srgbClr val="AEABAB"/>
              </a:solidFill>
            </c:spPr>
          </c:dPt>
          <c:dPt>
            <c:idx val="834"/>
            <c:spPr>
              <a:solidFill>
                <a:srgbClr val="AEABAB"/>
              </a:solidFill>
            </c:spPr>
          </c:dPt>
          <c:dPt>
            <c:idx val="835"/>
            <c:spPr>
              <a:solidFill>
                <a:srgbClr val="AEABAB"/>
              </a:solidFill>
            </c:spPr>
          </c:dPt>
          <c:dPt>
            <c:idx val="836"/>
            <c:spPr>
              <a:solidFill>
                <a:srgbClr val="AEABAB"/>
              </a:solidFill>
            </c:spPr>
          </c:dPt>
          <c:dPt>
            <c:idx val="837"/>
            <c:spPr>
              <a:solidFill>
                <a:srgbClr val="AEABAB"/>
              </a:solidFill>
            </c:spPr>
          </c:dPt>
          <c:dPt>
            <c:idx val="838"/>
            <c:spPr>
              <a:solidFill>
                <a:srgbClr val="AEABAB"/>
              </a:solidFill>
            </c:spPr>
          </c:dPt>
          <c:dPt>
            <c:idx val="839"/>
            <c:spPr>
              <a:solidFill>
                <a:srgbClr val="AEABAB"/>
              </a:solidFill>
            </c:spPr>
          </c:dPt>
          <c:dPt>
            <c:idx val="840"/>
            <c:spPr>
              <a:solidFill>
                <a:srgbClr val="AEABAB"/>
              </a:solidFill>
            </c:spPr>
          </c:dPt>
          <c:dPt>
            <c:idx val="841"/>
            <c:spPr>
              <a:solidFill>
                <a:srgbClr val="AEABAB"/>
              </a:solidFill>
            </c:spPr>
          </c:dPt>
          <c:dPt>
            <c:idx val="842"/>
            <c:spPr>
              <a:solidFill>
                <a:srgbClr val="AEABAB"/>
              </a:solidFill>
            </c:spPr>
          </c:dPt>
          <c:dPt>
            <c:idx val="843"/>
            <c:spPr>
              <a:solidFill>
                <a:srgbClr val="AEABAB"/>
              </a:solidFill>
            </c:spPr>
          </c:dPt>
          <c:dPt>
            <c:idx val="844"/>
            <c:spPr>
              <a:solidFill>
                <a:srgbClr val="AEABAB"/>
              </a:solidFill>
            </c:spPr>
          </c:dPt>
          <c:dPt>
            <c:idx val="845"/>
            <c:spPr>
              <a:solidFill>
                <a:srgbClr val="AEABAB"/>
              </a:solidFill>
            </c:spPr>
          </c:dPt>
          <c:dPt>
            <c:idx val="846"/>
            <c:spPr>
              <a:solidFill>
                <a:srgbClr val="AEABAB"/>
              </a:solidFill>
            </c:spPr>
          </c:dPt>
          <c:dPt>
            <c:idx val="847"/>
            <c:spPr>
              <a:solidFill>
                <a:srgbClr val="AEABAB"/>
              </a:solidFill>
            </c:spPr>
          </c:dPt>
          <c:dPt>
            <c:idx val="848"/>
            <c:spPr>
              <a:solidFill>
                <a:srgbClr val="AEABAB"/>
              </a:solidFill>
            </c:spPr>
          </c:dPt>
          <c:dPt>
            <c:idx val="849"/>
            <c:spPr>
              <a:solidFill>
                <a:srgbClr val="AEABAB"/>
              </a:solidFill>
            </c:spPr>
          </c:dPt>
          <c:dPt>
            <c:idx val="850"/>
            <c:spPr>
              <a:solidFill>
                <a:srgbClr val="AEABAB"/>
              </a:solidFill>
            </c:spPr>
          </c:dPt>
          <c:dPt>
            <c:idx val="851"/>
            <c:spPr>
              <a:solidFill>
                <a:srgbClr val="AEABAB"/>
              </a:solidFill>
            </c:spPr>
          </c:dPt>
          <c:dPt>
            <c:idx val="852"/>
            <c:spPr>
              <a:solidFill>
                <a:srgbClr val="AEABAB"/>
              </a:solidFill>
            </c:spPr>
          </c:dPt>
          <c:dPt>
            <c:idx val="853"/>
            <c:spPr>
              <a:solidFill>
                <a:srgbClr val="AEABAB"/>
              </a:solidFill>
            </c:spPr>
          </c:dPt>
          <c:dPt>
            <c:idx val="854"/>
            <c:spPr>
              <a:solidFill>
                <a:srgbClr val="AEABAB"/>
              </a:solidFill>
            </c:spPr>
          </c:dPt>
          <c:dPt>
            <c:idx val="855"/>
            <c:spPr>
              <a:solidFill>
                <a:srgbClr val="AEABAB"/>
              </a:solidFill>
            </c:spPr>
          </c:dPt>
          <c:dPt>
            <c:idx val="856"/>
            <c:spPr>
              <a:solidFill>
                <a:srgbClr val="AEABAB"/>
              </a:solidFill>
            </c:spPr>
          </c:dPt>
          <c:dPt>
            <c:idx val="857"/>
            <c:spPr>
              <a:solidFill>
                <a:srgbClr val="AEABAB"/>
              </a:solidFill>
            </c:spPr>
          </c:dPt>
          <c:dPt>
            <c:idx val="858"/>
            <c:spPr>
              <a:solidFill>
                <a:srgbClr val="AEABAB"/>
              </a:solidFill>
            </c:spPr>
          </c:dPt>
          <c:dPt>
            <c:idx val="859"/>
            <c:spPr>
              <a:solidFill>
                <a:srgbClr val="AEABAB"/>
              </a:solidFill>
            </c:spPr>
          </c:dPt>
          <c:dPt>
            <c:idx val="860"/>
            <c:spPr>
              <a:solidFill>
                <a:srgbClr val="AEABAB"/>
              </a:solidFill>
            </c:spPr>
          </c:dPt>
          <c:dPt>
            <c:idx val="861"/>
            <c:spPr>
              <a:solidFill>
                <a:srgbClr val="AEABAB"/>
              </a:solidFill>
            </c:spPr>
          </c:dPt>
          <c:dPt>
            <c:idx val="862"/>
            <c:spPr>
              <a:solidFill>
                <a:srgbClr val="AEABAB"/>
              </a:solidFill>
            </c:spPr>
          </c:dPt>
          <c:dPt>
            <c:idx val="863"/>
            <c:spPr>
              <a:solidFill>
                <a:srgbClr val="AEABAB"/>
              </a:solidFill>
            </c:spPr>
          </c:dPt>
          <c:dPt>
            <c:idx val="864"/>
            <c:spPr>
              <a:solidFill>
                <a:srgbClr val="AEABAB"/>
              </a:solidFill>
            </c:spPr>
          </c:dPt>
          <c:dPt>
            <c:idx val="865"/>
            <c:spPr>
              <a:solidFill>
                <a:srgbClr val="AEABAB"/>
              </a:solidFill>
            </c:spPr>
          </c:dPt>
          <c:dPt>
            <c:idx val="866"/>
            <c:spPr>
              <a:solidFill>
                <a:srgbClr val="AEABAB"/>
              </a:solidFill>
            </c:spPr>
          </c:dPt>
          <c:dPt>
            <c:idx val="867"/>
            <c:spPr>
              <a:solidFill>
                <a:srgbClr val="AEABAB"/>
              </a:solidFill>
            </c:spPr>
          </c:dPt>
          <c:dPt>
            <c:idx val="868"/>
            <c:spPr>
              <a:solidFill>
                <a:srgbClr val="AEABAB"/>
              </a:solidFill>
            </c:spPr>
          </c:dPt>
          <c:dPt>
            <c:idx val="869"/>
            <c:spPr>
              <a:solidFill>
                <a:srgbClr val="AEABAB"/>
              </a:solidFill>
            </c:spPr>
          </c:dPt>
          <c:dPt>
            <c:idx val="870"/>
            <c:spPr>
              <a:solidFill>
                <a:srgbClr val="AEABAB"/>
              </a:solidFill>
            </c:spPr>
          </c:dPt>
          <c:dPt>
            <c:idx val="871"/>
            <c:spPr>
              <a:solidFill>
                <a:srgbClr val="AEABAB"/>
              </a:solidFill>
            </c:spPr>
          </c:dPt>
          <c:dPt>
            <c:idx val="872"/>
            <c:spPr>
              <a:solidFill>
                <a:srgbClr val="AEABAB"/>
              </a:solidFill>
            </c:spPr>
          </c:dPt>
          <c:dPt>
            <c:idx val="873"/>
            <c:spPr>
              <a:solidFill>
                <a:srgbClr val="AEABAB"/>
              </a:solidFill>
            </c:spPr>
          </c:dPt>
          <c:dPt>
            <c:idx val="874"/>
            <c:spPr>
              <a:solidFill>
                <a:srgbClr val="AEABAB"/>
              </a:solidFill>
            </c:spPr>
          </c:dPt>
          <c:dPt>
            <c:idx val="875"/>
            <c:spPr>
              <a:solidFill>
                <a:srgbClr val="AEABAB"/>
              </a:solidFill>
            </c:spPr>
          </c:dPt>
          <c:dPt>
            <c:idx val="876"/>
            <c:spPr>
              <a:solidFill>
                <a:srgbClr val="AEABAB"/>
              </a:solidFill>
            </c:spPr>
          </c:dPt>
          <c:dPt>
            <c:idx val="877"/>
            <c:spPr>
              <a:solidFill>
                <a:srgbClr val="AEABAB"/>
              </a:solidFill>
            </c:spPr>
          </c:dPt>
          <c:dPt>
            <c:idx val="878"/>
            <c:spPr>
              <a:solidFill>
                <a:srgbClr val="AEABAB"/>
              </a:solidFill>
            </c:spPr>
          </c:dPt>
          <c:dPt>
            <c:idx val="879"/>
            <c:spPr>
              <a:solidFill>
                <a:srgbClr val="AEABAB"/>
              </a:solidFill>
            </c:spPr>
          </c:dPt>
          <c:dPt>
            <c:idx val="880"/>
            <c:spPr>
              <a:solidFill>
                <a:srgbClr val="AEABAB"/>
              </a:solidFill>
            </c:spPr>
          </c:dPt>
          <c:dPt>
            <c:idx val="881"/>
            <c:spPr>
              <a:solidFill>
                <a:srgbClr val="AEABAB"/>
              </a:solidFill>
            </c:spPr>
          </c:dPt>
          <c:dPt>
            <c:idx val="882"/>
            <c:spPr>
              <a:solidFill>
                <a:srgbClr val="AEABAB"/>
              </a:solidFill>
            </c:spPr>
          </c:dPt>
          <c:dPt>
            <c:idx val="883"/>
            <c:spPr>
              <a:solidFill>
                <a:srgbClr val="AEABAB"/>
              </a:solidFill>
            </c:spPr>
          </c:dPt>
          <c:dPt>
            <c:idx val="884"/>
            <c:spPr>
              <a:solidFill>
                <a:srgbClr val="AEABAB"/>
              </a:solidFill>
            </c:spPr>
          </c:dPt>
          <c:dPt>
            <c:idx val="885"/>
            <c:spPr>
              <a:solidFill>
                <a:srgbClr val="AEABAB"/>
              </a:solidFill>
            </c:spPr>
          </c:dPt>
          <c:dPt>
            <c:idx val="886"/>
            <c:spPr>
              <a:solidFill>
                <a:srgbClr val="AEABAB"/>
              </a:solidFill>
            </c:spPr>
          </c:dPt>
          <c:dPt>
            <c:idx val="887"/>
            <c:spPr>
              <a:solidFill>
                <a:srgbClr val="AEABAB"/>
              </a:solidFill>
            </c:spPr>
          </c:dPt>
          <c:dPt>
            <c:idx val="888"/>
            <c:spPr>
              <a:solidFill>
                <a:srgbClr val="AEABAB"/>
              </a:solidFill>
            </c:spPr>
          </c:dPt>
          <c:dPt>
            <c:idx val="889"/>
            <c:spPr>
              <a:solidFill>
                <a:srgbClr val="AEABAB"/>
              </a:solidFill>
            </c:spPr>
          </c:dPt>
          <c:dPt>
            <c:idx val="890"/>
            <c:spPr>
              <a:solidFill>
                <a:srgbClr val="AEABAB"/>
              </a:solidFill>
            </c:spPr>
          </c:dPt>
          <c:dPt>
            <c:idx val="891"/>
            <c:spPr>
              <a:solidFill>
                <a:srgbClr val="AEABAB"/>
              </a:solidFill>
            </c:spPr>
          </c:dPt>
          <c:dPt>
            <c:idx val="892"/>
            <c:spPr>
              <a:solidFill>
                <a:srgbClr val="AEABAB"/>
              </a:solidFill>
            </c:spPr>
          </c:dPt>
          <c:dPt>
            <c:idx val="893"/>
            <c:spPr>
              <a:solidFill>
                <a:srgbClr val="AEABAB"/>
              </a:solidFill>
            </c:spPr>
          </c:dPt>
          <c:dPt>
            <c:idx val="894"/>
            <c:spPr>
              <a:solidFill>
                <a:srgbClr val="AEABAB"/>
              </a:solidFill>
            </c:spPr>
          </c:dPt>
          <c:dPt>
            <c:idx val="895"/>
            <c:spPr>
              <a:solidFill>
                <a:srgbClr val="AEABAB"/>
              </a:solidFill>
            </c:spPr>
          </c:dPt>
          <c:dPt>
            <c:idx val="896"/>
            <c:spPr>
              <a:solidFill>
                <a:srgbClr val="AEABAB"/>
              </a:solidFill>
            </c:spPr>
          </c:dPt>
          <c:dPt>
            <c:idx val="897"/>
            <c:spPr>
              <a:solidFill>
                <a:srgbClr val="AEABAB"/>
              </a:solidFill>
            </c:spPr>
          </c:dPt>
          <c:dPt>
            <c:idx val="898"/>
            <c:spPr>
              <a:solidFill>
                <a:srgbClr val="AEABAB"/>
              </a:solidFill>
            </c:spPr>
          </c:dPt>
          <c:dPt>
            <c:idx val="899"/>
            <c:spPr>
              <a:solidFill>
                <a:srgbClr val="AEABAB"/>
              </a:solidFill>
            </c:spPr>
          </c:dPt>
          <c:dPt>
            <c:idx val="900"/>
            <c:spPr>
              <a:solidFill>
                <a:srgbClr val="AEABAB"/>
              </a:solidFill>
            </c:spPr>
          </c:dPt>
          <c:dPt>
            <c:idx val="901"/>
            <c:spPr>
              <a:solidFill>
                <a:srgbClr val="AEABAB"/>
              </a:solidFill>
            </c:spPr>
          </c:dPt>
          <c:dPt>
            <c:idx val="902"/>
            <c:spPr>
              <a:solidFill>
                <a:srgbClr val="AEABAB"/>
              </a:solidFill>
            </c:spPr>
          </c:dPt>
          <c:dPt>
            <c:idx val="903"/>
            <c:spPr>
              <a:solidFill>
                <a:srgbClr val="AEABAB"/>
              </a:solidFill>
            </c:spPr>
          </c:dPt>
          <c:dPt>
            <c:idx val="904"/>
            <c:spPr>
              <a:solidFill>
                <a:srgbClr val="AEABAB"/>
              </a:solidFill>
            </c:spPr>
          </c:dPt>
          <c:dPt>
            <c:idx val="905"/>
            <c:spPr>
              <a:solidFill>
                <a:srgbClr val="AEABAB"/>
              </a:solidFill>
            </c:spPr>
          </c:dPt>
          <c:dPt>
            <c:idx val="906"/>
            <c:spPr>
              <a:solidFill>
                <a:srgbClr val="AEABAB"/>
              </a:solidFill>
            </c:spPr>
          </c:dPt>
          <c:dPt>
            <c:idx val="907"/>
            <c:spPr>
              <a:solidFill>
                <a:srgbClr val="AEABAB"/>
              </a:solidFill>
            </c:spPr>
          </c:dPt>
          <c:dPt>
            <c:idx val="908"/>
            <c:spPr>
              <a:solidFill>
                <a:srgbClr val="AEABAB"/>
              </a:solidFill>
            </c:spPr>
          </c:dPt>
          <c:dPt>
            <c:idx val="909"/>
            <c:spPr>
              <a:solidFill>
                <a:srgbClr val="AEABAB"/>
              </a:solidFill>
            </c:spPr>
          </c:dPt>
          <c:dPt>
            <c:idx val="910"/>
            <c:spPr>
              <a:solidFill>
                <a:srgbClr val="AEABAB"/>
              </a:solidFill>
            </c:spPr>
          </c:dPt>
          <c:dPt>
            <c:idx val="911"/>
            <c:spPr>
              <a:solidFill>
                <a:srgbClr val="AEABAB"/>
              </a:solidFill>
            </c:spPr>
          </c:dPt>
          <c:dPt>
            <c:idx val="912"/>
            <c:spPr>
              <a:solidFill>
                <a:srgbClr val="AEABAB"/>
              </a:solidFill>
            </c:spPr>
          </c:dPt>
          <c:dPt>
            <c:idx val="913"/>
            <c:spPr>
              <a:solidFill>
                <a:srgbClr val="AEABAB"/>
              </a:solidFill>
            </c:spPr>
          </c:dPt>
          <c:dPt>
            <c:idx val="914"/>
            <c:spPr>
              <a:solidFill>
                <a:srgbClr val="AEABAB"/>
              </a:solidFill>
            </c:spPr>
          </c:dPt>
          <c:dPt>
            <c:idx val="915"/>
            <c:spPr>
              <a:solidFill>
                <a:srgbClr val="AEABAB"/>
              </a:solidFill>
            </c:spPr>
          </c:dPt>
          <c:dPt>
            <c:idx val="916"/>
            <c:spPr>
              <a:solidFill>
                <a:srgbClr val="AEABAB"/>
              </a:solidFill>
            </c:spPr>
          </c:dPt>
          <c:dPt>
            <c:idx val="917"/>
            <c:spPr>
              <a:solidFill>
                <a:srgbClr val="AEABAB"/>
              </a:solidFill>
            </c:spPr>
          </c:dPt>
          <c:dPt>
            <c:idx val="918"/>
            <c:spPr>
              <a:solidFill>
                <a:srgbClr val="AEABAB"/>
              </a:solidFill>
            </c:spPr>
          </c:dPt>
          <c:dPt>
            <c:idx val="919"/>
            <c:spPr>
              <a:solidFill>
                <a:srgbClr val="AEABAB"/>
              </a:solidFill>
            </c:spPr>
          </c:dPt>
          <c:dPt>
            <c:idx val="920"/>
            <c:spPr>
              <a:solidFill>
                <a:srgbClr val="AEABAB"/>
              </a:solidFill>
            </c:spPr>
          </c:dPt>
          <c:dPt>
            <c:idx val="921"/>
            <c:spPr>
              <a:solidFill>
                <a:srgbClr val="AEABAB"/>
              </a:solidFill>
            </c:spPr>
          </c:dPt>
          <c:dPt>
            <c:idx val="922"/>
            <c:spPr>
              <a:solidFill>
                <a:srgbClr val="AEABAB"/>
              </a:solidFill>
            </c:spPr>
          </c:dPt>
          <c:dPt>
            <c:idx val="923"/>
            <c:spPr>
              <a:solidFill>
                <a:srgbClr val="AEABAB"/>
              </a:solidFill>
            </c:spPr>
          </c:dPt>
          <c:dPt>
            <c:idx val="924"/>
            <c:spPr>
              <a:solidFill>
                <a:srgbClr val="AEABAB"/>
              </a:solidFill>
            </c:spPr>
          </c:dPt>
          <c:dPt>
            <c:idx val="925"/>
            <c:spPr>
              <a:solidFill>
                <a:srgbClr val="AEABAB"/>
              </a:solidFill>
            </c:spPr>
          </c:dPt>
          <c:dPt>
            <c:idx val="926"/>
            <c:spPr>
              <a:solidFill>
                <a:srgbClr val="AEABAB"/>
              </a:solidFill>
            </c:spPr>
          </c:dPt>
          <c:dPt>
            <c:idx val="927"/>
            <c:spPr>
              <a:solidFill>
                <a:srgbClr val="AEABAB"/>
              </a:solidFill>
            </c:spPr>
          </c:dPt>
          <c:dPt>
            <c:idx val="928"/>
            <c:spPr>
              <a:solidFill>
                <a:srgbClr val="AEABAB"/>
              </a:solidFill>
            </c:spPr>
          </c:dPt>
          <c:dPt>
            <c:idx val="929"/>
            <c:spPr>
              <a:solidFill>
                <a:srgbClr val="AEABAB"/>
              </a:solidFill>
            </c:spPr>
          </c:dPt>
          <c:dPt>
            <c:idx val="930"/>
            <c:spPr>
              <a:solidFill>
                <a:srgbClr val="AEABAB"/>
              </a:solidFill>
            </c:spPr>
          </c:dPt>
          <c:dPt>
            <c:idx val="931"/>
            <c:spPr>
              <a:solidFill>
                <a:srgbClr val="AEABAB"/>
              </a:solidFill>
            </c:spPr>
          </c:dPt>
          <c:dPt>
            <c:idx val="932"/>
            <c:spPr>
              <a:solidFill>
                <a:srgbClr val="AEABAB"/>
              </a:solidFill>
            </c:spPr>
          </c:dPt>
          <c:dPt>
            <c:idx val="933"/>
            <c:spPr>
              <a:solidFill>
                <a:srgbClr val="AEABAB"/>
              </a:solidFill>
            </c:spPr>
          </c:dPt>
          <c:dPt>
            <c:idx val="934"/>
            <c:spPr>
              <a:solidFill>
                <a:srgbClr val="AEABAB"/>
              </a:solidFill>
            </c:spPr>
          </c:dPt>
          <c:dPt>
            <c:idx val="935"/>
            <c:spPr>
              <a:solidFill>
                <a:srgbClr val="AEABAB"/>
              </a:solidFill>
            </c:spPr>
          </c:dPt>
          <c:dPt>
            <c:idx val="936"/>
            <c:spPr>
              <a:solidFill>
                <a:srgbClr val="AEABAB"/>
              </a:solidFill>
            </c:spPr>
          </c:dPt>
          <c:dPt>
            <c:idx val="937"/>
            <c:spPr>
              <a:solidFill>
                <a:srgbClr val="AEABAB"/>
              </a:solidFill>
            </c:spPr>
          </c:dPt>
          <c:dPt>
            <c:idx val="938"/>
            <c:spPr>
              <a:solidFill>
                <a:srgbClr val="AEABAB"/>
              </a:solidFill>
            </c:spPr>
          </c:dPt>
          <c:dPt>
            <c:idx val="939"/>
            <c:spPr>
              <a:solidFill>
                <a:srgbClr val="AEABAB"/>
              </a:solidFill>
            </c:spPr>
          </c:dPt>
          <c:dPt>
            <c:idx val="940"/>
            <c:spPr>
              <a:solidFill>
                <a:srgbClr val="AEABAB"/>
              </a:solidFill>
            </c:spPr>
          </c:dPt>
          <c:dPt>
            <c:idx val="941"/>
            <c:spPr>
              <a:solidFill>
                <a:srgbClr val="AEABAB"/>
              </a:solidFill>
            </c:spPr>
          </c:dPt>
          <c:dPt>
            <c:idx val="942"/>
            <c:spPr>
              <a:solidFill>
                <a:srgbClr val="AEABAB"/>
              </a:solidFill>
            </c:spPr>
          </c:dPt>
          <c:dPt>
            <c:idx val="943"/>
            <c:spPr>
              <a:solidFill>
                <a:srgbClr val="AEABAB"/>
              </a:solidFill>
            </c:spPr>
          </c:dPt>
          <c:dPt>
            <c:idx val="944"/>
            <c:spPr>
              <a:solidFill>
                <a:srgbClr val="AEABAB"/>
              </a:solidFill>
            </c:spPr>
          </c:dPt>
          <c:dPt>
            <c:idx val="945"/>
            <c:spPr>
              <a:solidFill>
                <a:srgbClr val="AEABAB"/>
              </a:solidFill>
            </c:spPr>
          </c:dPt>
          <c:dPt>
            <c:idx val="946"/>
            <c:spPr>
              <a:solidFill>
                <a:srgbClr val="AEABAB"/>
              </a:solidFill>
            </c:spPr>
          </c:dPt>
          <c:dPt>
            <c:idx val="947"/>
            <c:spPr>
              <a:solidFill>
                <a:srgbClr val="AEABAB"/>
              </a:solidFill>
            </c:spPr>
          </c:dPt>
          <c:dPt>
            <c:idx val="948"/>
            <c:spPr>
              <a:solidFill>
                <a:srgbClr val="AEABAB"/>
              </a:solidFill>
            </c:spPr>
          </c:dPt>
          <c:dPt>
            <c:idx val="949"/>
            <c:spPr>
              <a:solidFill>
                <a:srgbClr val="AEABAB"/>
              </a:solidFill>
            </c:spPr>
          </c:dPt>
          <c:dPt>
            <c:idx val="950"/>
            <c:spPr>
              <a:solidFill>
                <a:srgbClr val="AEABAB"/>
              </a:solidFill>
            </c:spPr>
          </c:dPt>
          <c:dPt>
            <c:idx val="951"/>
            <c:spPr>
              <a:solidFill>
                <a:srgbClr val="AEABAB"/>
              </a:solidFill>
            </c:spPr>
          </c:dPt>
          <c:dPt>
            <c:idx val="952"/>
            <c:spPr>
              <a:solidFill>
                <a:srgbClr val="AEABAB"/>
              </a:solidFill>
            </c:spPr>
          </c:dPt>
          <c:dPt>
            <c:idx val="953"/>
            <c:spPr>
              <a:solidFill>
                <a:srgbClr val="AEABAB"/>
              </a:solidFill>
            </c:spPr>
          </c:dPt>
          <c:dPt>
            <c:idx val="954"/>
            <c:spPr>
              <a:solidFill>
                <a:srgbClr val="AEABAB"/>
              </a:solidFill>
            </c:spPr>
          </c:dPt>
          <c:dPt>
            <c:idx val="955"/>
            <c:spPr>
              <a:solidFill>
                <a:srgbClr val="AEABAB"/>
              </a:solidFill>
            </c:spPr>
          </c:dPt>
          <c:dPt>
            <c:idx val="956"/>
            <c:spPr>
              <a:solidFill>
                <a:srgbClr val="AEABAB"/>
              </a:solidFill>
            </c:spPr>
          </c:dPt>
          <c:dPt>
            <c:idx val="957"/>
            <c:spPr>
              <a:solidFill>
                <a:srgbClr val="AEABAB"/>
              </a:solidFill>
            </c:spPr>
          </c:dPt>
          <c:dPt>
            <c:idx val="958"/>
            <c:spPr>
              <a:solidFill>
                <a:srgbClr val="AEABAB"/>
              </a:solidFill>
            </c:spPr>
          </c:dPt>
          <c:dPt>
            <c:idx val="959"/>
            <c:spPr>
              <a:solidFill>
                <a:srgbClr val="AEABAB"/>
              </a:solidFill>
            </c:spPr>
          </c:dPt>
          <c:dPt>
            <c:idx val="960"/>
            <c:spPr>
              <a:solidFill>
                <a:srgbClr val="AEABAB"/>
              </a:solidFill>
            </c:spPr>
          </c:dPt>
          <c:dPt>
            <c:idx val="961"/>
            <c:spPr>
              <a:solidFill>
                <a:srgbClr val="AEABAB"/>
              </a:solidFill>
            </c:spPr>
          </c:dPt>
          <c:dPt>
            <c:idx val="962"/>
            <c:spPr>
              <a:solidFill>
                <a:srgbClr val="AEABAB"/>
              </a:solidFill>
            </c:spPr>
          </c:dPt>
          <c:dPt>
            <c:idx val="963"/>
            <c:spPr>
              <a:solidFill>
                <a:srgbClr val="AEABAB"/>
              </a:solidFill>
            </c:spPr>
          </c:dPt>
          <c:dPt>
            <c:idx val="964"/>
            <c:spPr>
              <a:solidFill>
                <a:srgbClr val="AEABAB"/>
              </a:solidFill>
            </c:spPr>
          </c:dPt>
          <c:dPt>
            <c:idx val="965"/>
            <c:spPr>
              <a:solidFill>
                <a:srgbClr val="AEABAB"/>
              </a:solidFill>
            </c:spPr>
          </c:dPt>
          <c:dPt>
            <c:idx val="966"/>
            <c:spPr>
              <a:solidFill>
                <a:srgbClr val="AEABAB"/>
              </a:solidFill>
            </c:spPr>
          </c:dPt>
          <c:dPt>
            <c:idx val="967"/>
            <c:spPr>
              <a:solidFill>
                <a:srgbClr val="AEABAB"/>
              </a:solidFill>
            </c:spPr>
          </c:dPt>
          <c:dPt>
            <c:idx val="968"/>
            <c:spPr>
              <a:solidFill>
                <a:srgbClr val="AEABAB"/>
              </a:solidFill>
            </c:spPr>
          </c:dPt>
          <c:dPt>
            <c:idx val="969"/>
            <c:spPr>
              <a:solidFill>
                <a:srgbClr val="AEABAB"/>
              </a:solidFill>
            </c:spPr>
          </c:dPt>
          <c:dPt>
            <c:idx val="970"/>
            <c:spPr>
              <a:solidFill>
                <a:srgbClr val="AEABAB"/>
              </a:solidFill>
            </c:spPr>
          </c:dPt>
          <c:dPt>
            <c:idx val="971"/>
            <c:spPr>
              <a:solidFill>
                <a:srgbClr val="AEABAB"/>
              </a:solidFill>
            </c:spPr>
          </c:dPt>
          <c:dPt>
            <c:idx val="972"/>
            <c:spPr>
              <a:solidFill>
                <a:srgbClr val="AEABAB"/>
              </a:solidFill>
            </c:spPr>
          </c:dPt>
          <c:dPt>
            <c:idx val="973"/>
            <c:spPr>
              <a:solidFill>
                <a:srgbClr val="AEABAB"/>
              </a:solidFill>
            </c:spPr>
          </c:dPt>
          <c:dPt>
            <c:idx val="974"/>
            <c:spPr>
              <a:solidFill>
                <a:srgbClr val="AEABAB"/>
              </a:solidFill>
            </c:spPr>
          </c:dPt>
          <c:dPt>
            <c:idx val="975"/>
            <c:spPr>
              <a:solidFill>
                <a:srgbClr val="AEABAB"/>
              </a:solidFill>
            </c:spPr>
          </c:dPt>
          <c:dPt>
            <c:idx val="976"/>
            <c:spPr>
              <a:solidFill>
                <a:srgbClr val="AEABAB"/>
              </a:solidFill>
            </c:spPr>
          </c:dPt>
          <c:dPt>
            <c:idx val="977"/>
            <c:spPr>
              <a:solidFill>
                <a:srgbClr val="AEABAB"/>
              </a:solidFill>
            </c:spPr>
          </c:dPt>
          <c:dPt>
            <c:idx val="978"/>
            <c:spPr>
              <a:solidFill>
                <a:srgbClr val="AEABAB"/>
              </a:solidFill>
            </c:spPr>
          </c:dPt>
          <c:dPt>
            <c:idx val="979"/>
            <c:spPr>
              <a:solidFill>
                <a:srgbClr val="AEABAB"/>
              </a:solidFill>
            </c:spPr>
          </c:dPt>
          <c:dPt>
            <c:idx val="980"/>
            <c:spPr>
              <a:solidFill>
                <a:srgbClr val="AEABAB"/>
              </a:solidFill>
            </c:spPr>
          </c:dPt>
          <c:dPt>
            <c:idx val="981"/>
            <c:spPr>
              <a:solidFill>
                <a:srgbClr val="AEABAB"/>
              </a:solidFill>
            </c:spPr>
          </c:dPt>
          <c:dPt>
            <c:idx val="982"/>
            <c:spPr>
              <a:solidFill>
                <a:srgbClr val="AEABAB"/>
              </a:solidFill>
            </c:spPr>
          </c:dPt>
          <c:dPt>
            <c:idx val="983"/>
            <c:spPr>
              <a:solidFill>
                <a:srgbClr val="AEABAB"/>
              </a:solidFill>
            </c:spPr>
          </c:dPt>
          <c:dPt>
            <c:idx val="984"/>
            <c:spPr>
              <a:solidFill>
                <a:srgbClr val="AEABAB"/>
              </a:solidFill>
            </c:spPr>
          </c:dPt>
          <c:dPt>
            <c:idx val="985"/>
            <c:spPr>
              <a:solidFill>
                <a:srgbClr val="AEABAB"/>
              </a:solidFill>
            </c:spPr>
          </c:dPt>
          <c:dPt>
            <c:idx val="986"/>
            <c:spPr>
              <a:solidFill>
                <a:srgbClr val="AEABAB"/>
              </a:solidFill>
            </c:spPr>
          </c:dPt>
          <c:dPt>
            <c:idx val="987"/>
            <c:spPr>
              <a:solidFill>
                <a:srgbClr val="AEABAB"/>
              </a:solidFill>
            </c:spPr>
          </c:dPt>
          <c:dPt>
            <c:idx val="988"/>
            <c:spPr>
              <a:solidFill>
                <a:srgbClr val="AEABAB"/>
              </a:solidFill>
            </c:spPr>
          </c:dPt>
          <c:dPt>
            <c:idx val="989"/>
            <c:spPr>
              <a:solidFill>
                <a:srgbClr val="AEABAB"/>
              </a:solidFill>
            </c:spPr>
          </c:dPt>
          <c:dPt>
            <c:idx val="990"/>
            <c:spPr>
              <a:solidFill>
                <a:srgbClr val="AEABAB"/>
              </a:solidFill>
            </c:spPr>
          </c:dPt>
          <c:dPt>
            <c:idx val="991"/>
            <c:spPr>
              <a:solidFill>
                <a:srgbClr val="AEABAB"/>
              </a:solidFill>
            </c:spPr>
          </c:dPt>
          <c:dPt>
            <c:idx val="992"/>
            <c:spPr>
              <a:solidFill>
                <a:srgbClr val="AEABAB"/>
              </a:solidFill>
            </c:spPr>
          </c:dPt>
          <c:dPt>
            <c:idx val="993"/>
            <c:spPr>
              <a:solidFill>
                <a:srgbClr val="AEABAB"/>
              </a:solidFill>
            </c:spPr>
          </c:dPt>
          <c:dPt>
            <c:idx val="994"/>
            <c:spPr>
              <a:solidFill>
                <a:srgbClr val="AEABAB"/>
              </a:solidFill>
            </c:spPr>
          </c:dPt>
          <c:dPt>
            <c:idx val="995"/>
            <c:spPr>
              <a:solidFill>
                <a:srgbClr val="AEABAB"/>
              </a:solidFill>
            </c:spPr>
          </c:dPt>
          <c:dPt>
            <c:idx val="996"/>
            <c:spPr>
              <a:solidFill>
                <a:srgbClr val="AEABAB"/>
              </a:solidFill>
            </c:spPr>
          </c:dPt>
          <c:dPt>
            <c:idx val="997"/>
            <c:spPr>
              <a:solidFill>
                <a:srgbClr val="AEABAB"/>
              </a:solidFill>
            </c:spPr>
          </c:dPt>
          <c:dPt>
            <c:idx val="998"/>
            <c:spPr>
              <a:solidFill>
                <a:srgbClr val="AEABAB"/>
              </a:solidFill>
            </c:spPr>
          </c:dPt>
          <c:dPt>
            <c:idx val="999"/>
            <c:spPr>
              <a:solidFill>
                <a:srgbClr val="AEABAB"/>
              </a:solidFill>
            </c:spPr>
          </c:dPt>
          <c:dPt>
            <c:idx val="1000"/>
            <c:spPr>
              <a:solidFill>
                <a:srgbClr val="AEABAB"/>
              </a:solidFill>
            </c:spPr>
          </c:dPt>
          <c:dPt>
            <c:idx val="1001"/>
            <c:spPr>
              <a:solidFill>
                <a:srgbClr val="AEABAB"/>
              </a:solidFill>
            </c:spPr>
          </c:dPt>
          <c:dPt>
            <c:idx val="1002"/>
            <c:spPr>
              <a:solidFill>
                <a:srgbClr val="AEABAB"/>
              </a:solidFill>
            </c:spPr>
          </c:dPt>
          <c:dPt>
            <c:idx val="1003"/>
            <c:spPr>
              <a:solidFill>
                <a:srgbClr val="AEABAB"/>
              </a:solidFill>
            </c:spPr>
          </c:dPt>
          <c:dPt>
            <c:idx val="1004"/>
            <c:spPr>
              <a:solidFill>
                <a:srgbClr val="AEABAB"/>
              </a:solidFill>
            </c:spPr>
          </c:dPt>
          <c:dPt>
            <c:idx val="1005"/>
            <c:spPr>
              <a:solidFill>
                <a:srgbClr val="AEABAB"/>
              </a:solidFill>
            </c:spPr>
          </c:dPt>
          <c:dPt>
            <c:idx val="1006"/>
            <c:spPr>
              <a:solidFill>
                <a:srgbClr val="AEABAB"/>
              </a:solidFill>
            </c:spPr>
          </c:dPt>
          <c:dPt>
            <c:idx val="1007"/>
            <c:spPr>
              <a:solidFill>
                <a:srgbClr val="AEABAB"/>
              </a:solidFill>
            </c:spPr>
          </c:dPt>
          <c:dPt>
            <c:idx val="1008"/>
            <c:spPr>
              <a:solidFill>
                <a:srgbClr val="AEABAB"/>
              </a:solidFill>
            </c:spPr>
          </c:dPt>
          <c:dPt>
            <c:idx val="1009"/>
            <c:spPr>
              <a:solidFill>
                <a:srgbClr val="AEABAB"/>
              </a:solidFill>
            </c:spPr>
          </c:dPt>
          <c:dPt>
            <c:idx val="1010"/>
            <c:spPr>
              <a:solidFill>
                <a:srgbClr val="AEABAB"/>
              </a:solidFill>
            </c:spPr>
          </c:dPt>
          <c:dPt>
            <c:idx val="1011"/>
            <c:spPr>
              <a:solidFill>
                <a:srgbClr val="AEABAB"/>
              </a:solidFill>
            </c:spPr>
          </c:dPt>
          <c:dPt>
            <c:idx val="1012"/>
            <c:spPr>
              <a:solidFill>
                <a:srgbClr val="AEABAB"/>
              </a:solidFill>
            </c:spPr>
          </c:dPt>
          <c:dPt>
            <c:idx val="1013"/>
            <c:spPr>
              <a:solidFill>
                <a:srgbClr val="AEABAB"/>
              </a:solidFill>
            </c:spPr>
          </c:dPt>
          <c:dPt>
            <c:idx val="1014"/>
            <c:spPr>
              <a:solidFill>
                <a:srgbClr val="AEABAB"/>
              </a:solidFill>
            </c:spPr>
          </c:dPt>
          <c:dPt>
            <c:idx val="1015"/>
            <c:spPr>
              <a:solidFill>
                <a:srgbClr val="AEABAB"/>
              </a:solidFill>
            </c:spPr>
          </c:dPt>
          <c:dPt>
            <c:idx val="1016"/>
            <c:spPr>
              <a:solidFill>
                <a:srgbClr val="AEABAB"/>
              </a:solidFill>
            </c:spPr>
          </c:dPt>
          <c:dPt>
            <c:idx val="1017"/>
            <c:spPr>
              <a:solidFill>
                <a:srgbClr val="AEABAB"/>
              </a:solidFill>
            </c:spPr>
          </c:dPt>
          <c:dPt>
            <c:idx val="1018"/>
            <c:spPr>
              <a:solidFill>
                <a:srgbClr val="AEABAB"/>
              </a:solidFill>
            </c:spPr>
          </c:dPt>
          <c:dPt>
            <c:idx val="1019"/>
            <c:spPr>
              <a:solidFill>
                <a:srgbClr val="AEABAB"/>
              </a:solidFill>
            </c:spPr>
          </c:dPt>
          <c:dPt>
            <c:idx val="1020"/>
            <c:spPr>
              <a:solidFill>
                <a:srgbClr val="AEABAB"/>
              </a:solidFill>
            </c:spPr>
          </c:dPt>
          <c:dPt>
            <c:idx val="1021"/>
            <c:spPr>
              <a:solidFill>
                <a:srgbClr val="AEABAB"/>
              </a:solidFill>
            </c:spPr>
          </c:dPt>
          <c:dPt>
            <c:idx val="1022"/>
            <c:spPr>
              <a:solidFill>
                <a:srgbClr val="AEABAB"/>
              </a:solidFill>
            </c:spPr>
          </c:dPt>
          <c:dPt>
            <c:idx val="1023"/>
            <c:spPr>
              <a:solidFill>
                <a:srgbClr val="AEABAB"/>
              </a:solidFill>
            </c:spPr>
          </c:dPt>
          <c:dPt>
            <c:idx val="1024"/>
            <c:spPr>
              <a:solidFill>
                <a:srgbClr val="AEABAB"/>
              </a:solidFill>
            </c:spPr>
          </c:dPt>
          <c:dPt>
            <c:idx val="1025"/>
            <c:spPr>
              <a:solidFill>
                <a:srgbClr val="AEABAB"/>
              </a:solidFill>
            </c:spPr>
          </c:dPt>
          <c:dPt>
            <c:idx val="1026"/>
            <c:spPr>
              <a:solidFill>
                <a:srgbClr val="AEABAB"/>
              </a:solidFill>
            </c:spPr>
          </c:dPt>
          <c:dPt>
            <c:idx val="1027"/>
            <c:spPr>
              <a:solidFill>
                <a:srgbClr val="AEABAB"/>
              </a:solidFill>
            </c:spPr>
          </c:dPt>
          <c:dPt>
            <c:idx val="1028"/>
            <c:spPr>
              <a:solidFill>
                <a:srgbClr val="AEABAB"/>
              </a:solidFill>
            </c:spPr>
          </c:dPt>
          <c:dPt>
            <c:idx val="1029"/>
            <c:spPr>
              <a:solidFill>
                <a:srgbClr val="AEABAB"/>
              </a:solidFill>
            </c:spPr>
          </c:dPt>
          <c:dPt>
            <c:idx val="1030"/>
            <c:spPr>
              <a:solidFill>
                <a:srgbClr val="AEABAB"/>
              </a:solidFill>
            </c:spPr>
          </c:dPt>
          <c:dPt>
            <c:idx val="1031"/>
            <c:spPr>
              <a:solidFill>
                <a:srgbClr val="AEABAB"/>
              </a:solidFill>
            </c:spPr>
          </c:dPt>
          <c:dPt>
            <c:idx val="1032"/>
            <c:spPr>
              <a:solidFill>
                <a:srgbClr val="AEABAB"/>
              </a:solidFill>
            </c:spPr>
          </c:dPt>
          <c:dPt>
            <c:idx val="1033"/>
            <c:spPr>
              <a:solidFill>
                <a:srgbClr val="AEABAB"/>
              </a:solidFill>
            </c:spPr>
          </c:dPt>
          <c:dPt>
            <c:idx val="1034"/>
            <c:spPr>
              <a:solidFill>
                <a:srgbClr val="AEABAB"/>
              </a:solidFill>
            </c:spPr>
          </c:dPt>
          <c:dPt>
            <c:idx val="1035"/>
            <c:spPr>
              <a:solidFill>
                <a:srgbClr val="AEABAB"/>
              </a:solidFill>
            </c:spPr>
          </c:dPt>
          <c:dPt>
            <c:idx val="1036"/>
            <c:spPr>
              <a:solidFill>
                <a:srgbClr val="AEABAB"/>
              </a:solidFill>
            </c:spPr>
          </c:dPt>
          <c:dPt>
            <c:idx val="1037"/>
            <c:spPr>
              <a:solidFill>
                <a:srgbClr val="AEABAB"/>
              </a:solidFill>
            </c:spPr>
          </c:dPt>
          <c:dPt>
            <c:idx val="1038"/>
            <c:spPr>
              <a:solidFill>
                <a:srgbClr val="AEABAB"/>
              </a:solidFill>
            </c:spPr>
          </c:dPt>
          <c:dPt>
            <c:idx val="1039"/>
            <c:spPr>
              <a:solidFill>
                <a:srgbClr val="AEABAB"/>
              </a:solidFill>
            </c:spPr>
          </c:dPt>
          <c:dPt>
            <c:idx val="1040"/>
            <c:spPr>
              <a:solidFill>
                <a:srgbClr val="AEABAB"/>
              </a:solidFill>
            </c:spPr>
          </c:dPt>
          <c:dPt>
            <c:idx val="1041"/>
            <c:spPr>
              <a:solidFill>
                <a:srgbClr val="AEABAB"/>
              </a:solidFill>
            </c:spPr>
          </c:dPt>
          <c:dPt>
            <c:idx val="1042"/>
            <c:spPr>
              <a:solidFill>
                <a:srgbClr val="AEABAB"/>
              </a:solidFill>
            </c:spPr>
          </c:dPt>
          <c:dPt>
            <c:idx val="1043"/>
            <c:spPr>
              <a:solidFill>
                <a:srgbClr val="AEABAB"/>
              </a:solidFill>
            </c:spPr>
          </c:dPt>
          <c:dPt>
            <c:idx val="1044"/>
            <c:spPr>
              <a:solidFill>
                <a:srgbClr val="AEABAB"/>
              </a:solidFill>
            </c:spPr>
          </c:dPt>
          <c:dPt>
            <c:idx val="1045"/>
            <c:spPr>
              <a:solidFill>
                <a:srgbClr val="AEABAB"/>
              </a:solidFill>
            </c:spPr>
          </c:dPt>
          <c:dPt>
            <c:idx val="1046"/>
            <c:spPr>
              <a:solidFill>
                <a:srgbClr val="AEABAB"/>
              </a:solidFill>
            </c:spPr>
          </c:dPt>
          <c:dPt>
            <c:idx val="1047"/>
            <c:spPr>
              <a:solidFill>
                <a:srgbClr val="AEABAB"/>
              </a:solidFill>
            </c:spPr>
          </c:dPt>
          <c:dPt>
            <c:idx val="1048"/>
            <c:spPr>
              <a:solidFill>
                <a:srgbClr val="AEABAB"/>
              </a:solidFill>
            </c:spPr>
          </c:dPt>
          <c:dPt>
            <c:idx val="1049"/>
            <c:spPr>
              <a:solidFill>
                <a:srgbClr val="AEABAB"/>
              </a:solidFill>
            </c:spPr>
          </c:dPt>
          <c:dPt>
            <c:idx val="1050"/>
            <c:spPr>
              <a:solidFill>
                <a:srgbClr val="AEABAB"/>
              </a:solidFill>
            </c:spPr>
          </c:dPt>
          <c:dPt>
            <c:idx val="1051"/>
            <c:spPr>
              <a:solidFill>
                <a:srgbClr val="AEABAB"/>
              </a:solidFill>
            </c:spPr>
          </c:dPt>
          <c:dPt>
            <c:idx val="1052"/>
            <c:spPr>
              <a:solidFill>
                <a:srgbClr val="AEABAB"/>
              </a:solidFill>
            </c:spPr>
          </c:dPt>
          <c:dPt>
            <c:idx val="1053"/>
            <c:spPr>
              <a:solidFill>
                <a:srgbClr val="AEABAB"/>
              </a:solidFill>
            </c:spPr>
          </c:dPt>
          <c:dPt>
            <c:idx val="1054"/>
            <c:spPr>
              <a:solidFill>
                <a:srgbClr val="AEABAB"/>
              </a:solidFill>
            </c:spPr>
          </c:dPt>
          <c:dPt>
            <c:idx val="1055"/>
            <c:spPr>
              <a:solidFill>
                <a:srgbClr val="AEABAB"/>
              </a:solidFill>
            </c:spPr>
          </c:dPt>
          <c:dPt>
            <c:idx val="1056"/>
            <c:spPr>
              <a:solidFill>
                <a:srgbClr val="AEABAB"/>
              </a:solidFill>
            </c:spPr>
          </c:dPt>
          <c:dPt>
            <c:idx val="1057"/>
            <c:spPr>
              <a:solidFill>
                <a:srgbClr val="AEABAB"/>
              </a:solidFill>
            </c:spPr>
          </c:dPt>
          <c:dPt>
            <c:idx val="1058"/>
            <c:spPr>
              <a:solidFill>
                <a:srgbClr val="AEABAB"/>
              </a:solidFill>
            </c:spPr>
          </c:dPt>
          <c:dPt>
            <c:idx val="1059"/>
            <c:spPr>
              <a:solidFill>
                <a:srgbClr val="AEABAB"/>
              </a:solidFill>
            </c:spPr>
          </c:dPt>
          <c:dPt>
            <c:idx val="1060"/>
            <c:spPr>
              <a:solidFill>
                <a:srgbClr val="AEABAB"/>
              </a:solidFill>
            </c:spPr>
          </c:dPt>
          <c:dPt>
            <c:idx val="1061"/>
            <c:spPr>
              <a:solidFill>
                <a:srgbClr val="AEABAB"/>
              </a:solidFill>
            </c:spPr>
          </c:dPt>
          <c:dPt>
            <c:idx val="1062"/>
            <c:spPr>
              <a:solidFill>
                <a:srgbClr val="AEABAB"/>
              </a:solidFill>
            </c:spPr>
          </c:dPt>
          <c:dPt>
            <c:idx val="1063"/>
            <c:spPr>
              <a:solidFill>
                <a:srgbClr val="AEABAB"/>
              </a:solidFill>
            </c:spPr>
          </c:dPt>
          <c:dPt>
            <c:idx val="1064"/>
            <c:spPr>
              <a:solidFill>
                <a:srgbClr val="AEABAB"/>
              </a:solidFill>
            </c:spPr>
          </c:dPt>
          <c:dPt>
            <c:idx val="1065"/>
            <c:spPr>
              <a:solidFill>
                <a:srgbClr val="AEABAB"/>
              </a:solidFill>
            </c:spPr>
          </c:dPt>
          <c:dPt>
            <c:idx val="1066"/>
            <c:spPr>
              <a:solidFill>
                <a:srgbClr val="AEABAB"/>
              </a:solidFill>
            </c:spPr>
          </c:dPt>
          <c:dPt>
            <c:idx val="1067"/>
            <c:spPr>
              <a:solidFill>
                <a:srgbClr val="AEABAB"/>
              </a:solidFill>
            </c:spPr>
          </c:dPt>
          <c:dPt>
            <c:idx val="1068"/>
            <c:spPr>
              <a:solidFill>
                <a:srgbClr val="AEABAB"/>
              </a:solidFill>
            </c:spPr>
          </c:dPt>
          <c:dPt>
            <c:idx val="1069"/>
            <c:spPr>
              <a:solidFill>
                <a:srgbClr val="AEABAB"/>
              </a:solidFill>
            </c:spPr>
          </c:dPt>
          <c:dPt>
            <c:idx val="1070"/>
            <c:spPr>
              <a:solidFill>
                <a:srgbClr val="AEABAB"/>
              </a:solidFill>
            </c:spPr>
          </c:dPt>
          <c:dPt>
            <c:idx val="1071"/>
            <c:spPr>
              <a:solidFill>
                <a:srgbClr val="AEABAB"/>
              </a:solidFill>
            </c:spPr>
          </c:dPt>
          <c:dPt>
            <c:idx val="1072"/>
            <c:spPr>
              <a:solidFill>
                <a:srgbClr val="AEABAB"/>
              </a:solidFill>
            </c:spPr>
          </c:dPt>
          <c:dPt>
            <c:idx val="1073"/>
            <c:spPr>
              <a:solidFill>
                <a:srgbClr val="AEABAB"/>
              </a:solidFill>
            </c:spPr>
          </c:dPt>
          <c:dPt>
            <c:idx val="1074"/>
            <c:spPr>
              <a:solidFill>
                <a:srgbClr val="AEABAB"/>
              </a:solidFill>
            </c:spPr>
          </c:dPt>
          <c:dPt>
            <c:idx val="1075"/>
            <c:spPr>
              <a:solidFill>
                <a:srgbClr val="AEABAB"/>
              </a:solidFill>
            </c:spPr>
          </c:dPt>
          <c:dPt>
            <c:idx val="1076"/>
            <c:spPr>
              <a:solidFill>
                <a:srgbClr val="AEABAB"/>
              </a:solidFill>
            </c:spPr>
          </c:dPt>
          <c:dPt>
            <c:idx val="1077"/>
            <c:spPr>
              <a:solidFill>
                <a:srgbClr val="AEABAB"/>
              </a:solidFill>
            </c:spPr>
          </c:dPt>
          <c:dPt>
            <c:idx val="1078"/>
            <c:spPr>
              <a:solidFill>
                <a:srgbClr val="AEABAB"/>
              </a:solidFill>
            </c:spPr>
          </c:dPt>
          <c:dPt>
            <c:idx val="1079"/>
            <c:spPr>
              <a:solidFill>
                <a:srgbClr val="AEABAB"/>
              </a:solidFill>
            </c:spPr>
          </c:dPt>
          <c:dPt>
            <c:idx val="1080"/>
            <c:spPr>
              <a:solidFill>
                <a:srgbClr val="AEABAB"/>
              </a:solidFill>
            </c:spPr>
          </c:dPt>
          <c:dPt>
            <c:idx val="1081"/>
            <c:spPr>
              <a:solidFill>
                <a:srgbClr val="AEABAB"/>
              </a:solidFill>
            </c:spPr>
          </c:dPt>
          <c:dPt>
            <c:idx val="1082"/>
            <c:spPr>
              <a:solidFill>
                <a:srgbClr val="AEABAB"/>
              </a:solidFill>
            </c:spPr>
          </c:dPt>
          <c:dPt>
            <c:idx val="1083"/>
            <c:spPr>
              <a:solidFill>
                <a:srgbClr val="AEABAB"/>
              </a:solidFill>
            </c:spPr>
          </c:dPt>
          <c:dPt>
            <c:idx val="1084"/>
            <c:spPr>
              <a:solidFill>
                <a:srgbClr val="AEABAB"/>
              </a:solidFill>
            </c:spPr>
          </c:dPt>
          <c:dPt>
            <c:idx val="1085"/>
            <c:spPr>
              <a:solidFill>
                <a:srgbClr val="AEABAB"/>
              </a:solidFill>
            </c:spPr>
          </c:dPt>
          <c:dPt>
            <c:idx val="1086"/>
            <c:spPr>
              <a:solidFill>
                <a:srgbClr val="AEABAB"/>
              </a:solidFill>
            </c:spPr>
          </c:dPt>
          <c:dPt>
            <c:idx val="1087"/>
            <c:spPr>
              <a:solidFill>
                <a:srgbClr val="AEABAB"/>
              </a:solidFill>
            </c:spPr>
          </c:dPt>
          <c:dPt>
            <c:idx val="1088"/>
            <c:spPr>
              <a:solidFill>
                <a:srgbClr val="AEABAB"/>
              </a:solidFill>
            </c:spPr>
          </c:dPt>
          <c:dPt>
            <c:idx val="1089"/>
            <c:spPr>
              <a:solidFill>
                <a:srgbClr val="AEABAB"/>
              </a:solidFill>
            </c:spPr>
          </c:dPt>
          <c:dPt>
            <c:idx val="1090"/>
            <c:spPr>
              <a:solidFill>
                <a:srgbClr val="AEABAB"/>
              </a:solidFill>
            </c:spPr>
          </c:dPt>
          <c:dPt>
            <c:idx val="1091"/>
            <c:spPr>
              <a:solidFill>
                <a:srgbClr val="AEABAB"/>
              </a:solidFill>
            </c:spPr>
          </c:dPt>
          <c:dPt>
            <c:idx val="1092"/>
            <c:spPr>
              <a:solidFill>
                <a:srgbClr val="AEABAB"/>
              </a:solidFill>
            </c:spPr>
          </c:dPt>
          <c:dPt>
            <c:idx val="1093"/>
            <c:spPr>
              <a:solidFill>
                <a:srgbClr val="AEABAB"/>
              </a:solidFill>
            </c:spPr>
          </c:dPt>
          <c:dPt>
            <c:idx val="1094"/>
            <c:spPr>
              <a:solidFill>
                <a:srgbClr val="AEABAB"/>
              </a:solidFill>
            </c:spPr>
          </c:dPt>
          <c:dPt>
            <c:idx val="1095"/>
            <c:spPr>
              <a:solidFill>
                <a:srgbClr val="AEABAB"/>
              </a:solidFill>
            </c:spPr>
          </c:dPt>
          <c:dPt>
            <c:idx val="1096"/>
            <c:spPr>
              <a:solidFill>
                <a:srgbClr val="AEABAB"/>
              </a:solidFill>
            </c:spPr>
          </c:dPt>
          <c:dPt>
            <c:idx val="1097"/>
            <c:spPr>
              <a:solidFill>
                <a:srgbClr val="AEABAB"/>
              </a:solidFill>
            </c:spPr>
          </c:dPt>
          <c:dPt>
            <c:idx val="1098"/>
            <c:spPr>
              <a:solidFill>
                <a:srgbClr val="AEABAB"/>
              </a:solidFill>
            </c:spPr>
          </c:dPt>
          <c:dPt>
            <c:idx val="1099"/>
            <c:spPr>
              <a:solidFill>
                <a:srgbClr val="AEABAB"/>
              </a:solidFill>
            </c:spPr>
          </c:dPt>
          <c:dPt>
            <c:idx val="1100"/>
            <c:spPr>
              <a:solidFill>
                <a:srgbClr val="AEABAB"/>
              </a:solidFill>
            </c:spPr>
          </c:dPt>
          <c:dPt>
            <c:idx val="1101"/>
            <c:spPr>
              <a:solidFill>
                <a:srgbClr val="AEABAB"/>
              </a:solidFill>
            </c:spPr>
          </c:dPt>
          <c:dPt>
            <c:idx val="1102"/>
            <c:spPr>
              <a:solidFill>
                <a:srgbClr val="AEABAB"/>
              </a:solidFill>
            </c:spPr>
          </c:dPt>
          <c:dPt>
            <c:idx val="1103"/>
            <c:spPr>
              <a:solidFill>
                <a:srgbClr val="AEABAB"/>
              </a:solidFill>
            </c:spPr>
          </c:dPt>
          <c:dPt>
            <c:idx val="1104"/>
            <c:spPr>
              <a:solidFill>
                <a:srgbClr val="AEABAB"/>
              </a:solidFill>
            </c:spPr>
          </c:dPt>
          <c:dPt>
            <c:idx val="1105"/>
            <c:spPr>
              <a:solidFill>
                <a:srgbClr val="AEABAB"/>
              </a:solidFill>
            </c:spPr>
          </c:dPt>
          <c:dPt>
            <c:idx val="1106"/>
            <c:spPr>
              <a:solidFill>
                <a:srgbClr val="AEABAB"/>
              </a:solidFill>
            </c:spPr>
          </c:dPt>
          <c:dPt>
            <c:idx val="1107"/>
            <c:spPr>
              <a:solidFill>
                <a:srgbClr val="AEABAB"/>
              </a:solidFill>
            </c:spPr>
          </c:dPt>
          <c:dPt>
            <c:idx val="1108"/>
            <c:spPr>
              <a:solidFill>
                <a:srgbClr val="AEABAB"/>
              </a:solidFill>
            </c:spPr>
          </c:dPt>
          <c:dPt>
            <c:idx val="1109"/>
            <c:spPr>
              <a:solidFill>
                <a:srgbClr val="AEABAB"/>
              </a:solidFill>
            </c:spPr>
          </c:dPt>
          <c:dPt>
            <c:idx val="1110"/>
            <c:spPr>
              <a:solidFill>
                <a:srgbClr val="AEABAB"/>
              </a:solidFill>
            </c:spPr>
          </c:dPt>
          <c:dPt>
            <c:idx val="1111"/>
            <c:spPr>
              <a:solidFill>
                <a:srgbClr val="AEABAB"/>
              </a:solidFill>
            </c:spPr>
          </c:dPt>
          <c:dPt>
            <c:idx val="1112"/>
            <c:spPr>
              <a:solidFill>
                <a:srgbClr val="AEABAB"/>
              </a:solidFill>
            </c:spPr>
          </c:dPt>
          <c:dPt>
            <c:idx val="1113"/>
            <c:spPr>
              <a:solidFill>
                <a:srgbClr val="AEABAB"/>
              </a:solidFill>
            </c:spPr>
          </c:dPt>
          <c:dPt>
            <c:idx val="1114"/>
            <c:spPr>
              <a:solidFill>
                <a:srgbClr val="AEABAB"/>
              </a:solidFill>
            </c:spPr>
          </c:dPt>
          <c:dPt>
            <c:idx val="1115"/>
            <c:spPr>
              <a:solidFill>
                <a:srgbClr val="AEABAB"/>
              </a:solidFill>
            </c:spPr>
          </c:dPt>
          <c:dPt>
            <c:idx val="1116"/>
            <c:spPr>
              <a:solidFill>
                <a:srgbClr val="AEABAB"/>
              </a:solidFill>
            </c:spPr>
          </c:dPt>
          <c:dPt>
            <c:idx val="1117"/>
            <c:spPr>
              <a:solidFill>
                <a:srgbClr val="AEABAB"/>
              </a:solidFill>
            </c:spPr>
          </c:dPt>
          <c:dPt>
            <c:idx val="1118"/>
            <c:spPr>
              <a:solidFill>
                <a:srgbClr val="AEABAB"/>
              </a:solidFill>
            </c:spPr>
          </c:dPt>
          <c:dPt>
            <c:idx val="1119"/>
            <c:spPr>
              <a:solidFill>
                <a:srgbClr val="AEABAB"/>
              </a:solidFill>
            </c:spPr>
          </c:dPt>
          <c:dPt>
            <c:idx val="1120"/>
            <c:spPr>
              <a:solidFill>
                <a:srgbClr val="AEABAB"/>
              </a:solidFill>
            </c:spPr>
          </c:dPt>
          <c:dPt>
            <c:idx val="1121"/>
            <c:spPr>
              <a:solidFill>
                <a:srgbClr val="AEABAB"/>
              </a:solidFill>
            </c:spPr>
          </c:dPt>
          <c:dPt>
            <c:idx val="1122"/>
            <c:spPr>
              <a:solidFill>
                <a:srgbClr val="AEABAB"/>
              </a:solidFill>
            </c:spPr>
          </c:dPt>
          <c:dPt>
            <c:idx val="1123"/>
            <c:spPr>
              <a:solidFill>
                <a:srgbClr val="AEABAB"/>
              </a:solidFill>
            </c:spPr>
          </c:dPt>
          <c:dPt>
            <c:idx val="1124"/>
            <c:spPr>
              <a:solidFill>
                <a:srgbClr val="AEABAB"/>
              </a:solidFill>
            </c:spPr>
          </c:dPt>
          <c:dPt>
            <c:idx val="1125"/>
            <c:spPr>
              <a:solidFill>
                <a:srgbClr val="AEABAB"/>
              </a:solidFill>
            </c:spPr>
          </c:dPt>
          <c:dPt>
            <c:idx val="1126"/>
            <c:spPr>
              <a:solidFill>
                <a:srgbClr val="AEABAB"/>
              </a:solidFill>
            </c:spPr>
          </c:dPt>
          <c:dPt>
            <c:idx val="1127"/>
            <c:spPr>
              <a:solidFill>
                <a:srgbClr val="AEABAB"/>
              </a:solidFill>
            </c:spPr>
          </c:dPt>
          <c:dPt>
            <c:idx val="1128"/>
            <c:spPr>
              <a:solidFill>
                <a:srgbClr val="AEABAB"/>
              </a:solidFill>
            </c:spPr>
          </c:dPt>
          <c:dPt>
            <c:idx val="1129"/>
            <c:spPr>
              <a:solidFill>
                <a:srgbClr val="AEABAB"/>
              </a:solidFill>
            </c:spPr>
          </c:dPt>
          <c:dPt>
            <c:idx val="1130"/>
            <c:spPr>
              <a:solidFill>
                <a:srgbClr val="AEABAB"/>
              </a:solidFill>
            </c:spPr>
          </c:dPt>
          <c:dPt>
            <c:idx val="1131"/>
            <c:spPr>
              <a:solidFill>
                <a:srgbClr val="AEABAB"/>
              </a:solidFill>
            </c:spPr>
          </c:dPt>
          <c:dPt>
            <c:idx val="1132"/>
            <c:spPr>
              <a:solidFill>
                <a:srgbClr val="AEABAB"/>
              </a:solidFill>
            </c:spPr>
          </c:dPt>
          <c:dPt>
            <c:idx val="1133"/>
            <c:spPr>
              <a:solidFill>
                <a:srgbClr val="AEABAB"/>
              </a:solidFill>
            </c:spPr>
          </c:dPt>
          <c:dPt>
            <c:idx val="1134"/>
            <c:spPr>
              <a:solidFill>
                <a:srgbClr val="AEABAB"/>
              </a:solidFill>
            </c:spPr>
          </c:dPt>
          <c:dPt>
            <c:idx val="1135"/>
            <c:spPr>
              <a:solidFill>
                <a:srgbClr val="AEABAB"/>
              </a:solidFill>
            </c:spPr>
          </c:dPt>
          <c:dPt>
            <c:idx val="1136"/>
            <c:spPr>
              <a:solidFill>
                <a:srgbClr val="AEABAB"/>
              </a:solidFill>
            </c:spPr>
          </c:dPt>
          <c:dPt>
            <c:idx val="1137"/>
            <c:spPr>
              <a:solidFill>
                <a:srgbClr val="AEABAB"/>
              </a:solidFill>
            </c:spPr>
          </c:dPt>
          <c:dPt>
            <c:idx val="1138"/>
            <c:spPr>
              <a:solidFill>
                <a:srgbClr val="AEABAB"/>
              </a:solidFill>
            </c:spPr>
          </c:dPt>
          <c:dPt>
            <c:idx val="1139"/>
            <c:spPr>
              <a:solidFill>
                <a:srgbClr val="AEABAB"/>
              </a:solidFill>
            </c:spPr>
          </c:dPt>
          <c:dPt>
            <c:idx val="1140"/>
            <c:spPr>
              <a:solidFill>
                <a:srgbClr val="AEABAB"/>
              </a:solidFill>
            </c:spPr>
          </c:dPt>
          <c:dPt>
            <c:idx val="1141"/>
            <c:spPr>
              <a:solidFill>
                <a:srgbClr val="AEABAB"/>
              </a:solidFill>
            </c:spPr>
          </c:dPt>
          <c:dPt>
            <c:idx val="1142"/>
            <c:spPr>
              <a:solidFill>
                <a:srgbClr val="AEABAB"/>
              </a:solidFill>
            </c:spPr>
          </c:dPt>
          <c:dPt>
            <c:idx val="1143"/>
            <c:spPr>
              <a:solidFill>
                <a:srgbClr val="AEABAB"/>
              </a:solidFill>
            </c:spPr>
          </c:dPt>
          <c:dPt>
            <c:idx val="1144"/>
            <c:spPr>
              <a:solidFill>
                <a:srgbClr val="AEABAB"/>
              </a:solidFill>
            </c:spPr>
          </c:dPt>
          <c:dPt>
            <c:idx val="1145"/>
            <c:spPr>
              <a:solidFill>
                <a:srgbClr val="AEABAB"/>
              </a:solidFill>
            </c:spPr>
          </c:dPt>
          <c:dPt>
            <c:idx val="1146"/>
            <c:spPr>
              <a:solidFill>
                <a:srgbClr val="AEABAB"/>
              </a:solidFill>
            </c:spPr>
          </c:dPt>
          <c:dPt>
            <c:idx val="1147"/>
            <c:spPr>
              <a:solidFill>
                <a:srgbClr val="AEABAB"/>
              </a:solidFill>
            </c:spPr>
          </c:dPt>
          <c:dPt>
            <c:idx val="1148"/>
            <c:spPr>
              <a:solidFill>
                <a:srgbClr val="AEABAB"/>
              </a:solidFill>
            </c:spPr>
          </c:dPt>
          <c:dPt>
            <c:idx val="1149"/>
            <c:spPr>
              <a:solidFill>
                <a:srgbClr val="AEABAB"/>
              </a:solidFill>
            </c:spPr>
          </c:dPt>
          <c:dPt>
            <c:idx val="1150"/>
            <c:spPr>
              <a:solidFill>
                <a:srgbClr val="AEABAB"/>
              </a:solidFill>
            </c:spPr>
          </c:dPt>
          <c:dPt>
            <c:idx val="1151"/>
            <c:spPr>
              <a:solidFill>
                <a:srgbClr val="AEABAB"/>
              </a:solidFill>
            </c:spPr>
          </c:dPt>
          <c:dPt>
            <c:idx val="1152"/>
            <c:spPr>
              <a:solidFill>
                <a:srgbClr val="AEABAB"/>
              </a:solidFill>
            </c:spPr>
          </c:dPt>
          <c:dPt>
            <c:idx val="1153"/>
            <c:spPr>
              <a:solidFill>
                <a:srgbClr val="AEABAB"/>
              </a:solidFill>
            </c:spPr>
          </c:dPt>
          <c:dPt>
            <c:idx val="1154"/>
            <c:spPr>
              <a:solidFill>
                <a:srgbClr val="AEABAB"/>
              </a:solidFill>
            </c:spPr>
          </c:dPt>
          <c:dPt>
            <c:idx val="1155"/>
            <c:spPr>
              <a:solidFill>
                <a:srgbClr val="AEABAB"/>
              </a:solidFill>
            </c:spPr>
          </c:dPt>
          <c:dPt>
            <c:idx val="1156"/>
            <c:spPr>
              <a:solidFill>
                <a:srgbClr val="AEABAB"/>
              </a:solidFill>
            </c:spPr>
          </c:dPt>
          <c:dPt>
            <c:idx val="1157"/>
            <c:spPr>
              <a:solidFill>
                <a:srgbClr val="AEABAB"/>
              </a:solidFill>
            </c:spPr>
          </c:dPt>
          <c:dPt>
            <c:idx val="1158"/>
            <c:spPr>
              <a:solidFill>
                <a:srgbClr val="AEABAB"/>
              </a:solidFill>
            </c:spPr>
          </c:dPt>
          <c:dPt>
            <c:idx val="1159"/>
            <c:spPr>
              <a:solidFill>
                <a:srgbClr val="AEABAB"/>
              </a:solidFill>
            </c:spPr>
          </c:dPt>
          <c:dPt>
            <c:idx val="1160"/>
            <c:spPr>
              <a:solidFill>
                <a:srgbClr val="AEABAB"/>
              </a:solidFill>
            </c:spPr>
          </c:dPt>
          <c:dPt>
            <c:idx val="1161"/>
            <c:spPr>
              <a:solidFill>
                <a:srgbClr val="AEABAB"/>
              </a:solidFill>
            </c:spPr>
          </c:dPt>
          <c:dPt>
            <c:idx val="1162"/>
            <c:spPr>
              <a:solidFill>
                <a:srgbClr val="AEABAB"/>
              </a:solidFill>
            </c:spPr>
          </c:dPt>
          <c:dPt>
            <c:idx val="1163"/>
            <c:spPr>
              <a:solidFill>
                <a:srgbClr val="AEABAB"/>
              </a:solidFill>
            </c:spPr>
          </c:dPt>
          <c:dPt>
            <c:idx val="1164"/>
            <c:spPr>
              <a:solidFill>
                <a:srgbClr val="AEABAB"/>
              </a:solidFill>
            </c:spPr>
          </c:dPt>
          <c:dPt>
            <c:idx val="1165"/>
            <c:spPr>
              <a:solidFill>
                <a:srgbClr val="AEABAB"/>
              </a:solidFill>
            </c:spPr>
          </c:dPt>
          <c:dPt>
            <c:idx val="1166"/>
            <c:spPr>
              <a:solidFill>
                <a:srgbClr val="AEABAB"/>
              </a:solidFill>
            </c:spPr>
          </c:dPt>
          <c:dPt>
            <c:idx val="1167"/>
            <c:spPr>
              <a:solidFill>
                <a:srgbClr val="AEABAB"/>
              </a:solidFill>
            </c:spPr>
          </c:dPt>
          <c:dPt>
            <c:idx val="1168"/>
            <c:spPr>
              <a:solidFill>
                <a:srgbClr val="AEABAB"/>
              </a:solidFill>
            </c:spPr>
          </c:dPt>
          <c:dPt>
            <c:idx val="1169"/>
            <c:spPr>
              <a:solidFill>
                <a:srgbClr val="AEABAB"/>
              </a:solidFill>
            </c:spPr>
          </c:dPt>
          <c:dPt>
            <c:idx val="1170"/>
            <c:spPr>
              <a:solidFill>
                <a:srgbClr val="AEABAB"/>
              </a:solidFill>
            </c:spPr>
          </c:dPt>
          <c:dPt>
            <c:idx val="1171"/>
            <c:spPr>
              <a:solidFill>
                <a:srgbClr val="AEABAB"/>
              </a:solidFill>
            </c:spPr>
          </c:dPt>
          <c:dPt>
            <c:idx val="1172"/>
            <c:spPr>
              <a:solidFill>
                <a:srgbClr val="AEABAB"/>
              </a:solidFill>
            </c:spPr>
          </c:dPt>
          <c:dPt>
            <c:idx val="1173"/>
            <c:spPr>
              <a:solidFill>
                <a:srgbClr val="AEABAB"/>
              </a:solidFill>
            </c:spPr>
          </c:dPt>
          <c:dPt>
            <c:idx val="1174"/>
            <c:spPr>
              <a:solidFill>
                <a:srgbClr val="AEABAB"/>
              </a:solidFill>
            </c:spPr>
          </c:dPt>
          <c:dPt>
            <c:idx val="1175"/>
            <c:spPr>
              <a:solidFill>
                <a:srgbClr val="AEABAB"/>
              </a:solidFill>
            </c:spPr>
          </c:dPt>
          <c:dPt>
            <c:idx val="1176"/>
            <c:spPr>
              <a:solidFill>
                <a:srgbClr val="AEABAB"/>
              </a:solidFill>
            </c:spPr>
          </c:dPt>
          <c:dPt>
            <c:idx val="1177"/>
            <c:spPr>
              <a:solidFill>
                <a:srgbClr val="AEABAB"/>
              </a:solidFill>
            </c:spPr>
          </c:dPt>
          <c:dPt>
            <c:idx val="1178"/>
            <c:spPr>
              <a:solidFill>
                <a:srgbClr val="AEABAB"/>
              </a:solidFill>
            </c:spPr>
          </c:dPt>
          <c:dPt>
            <c:idx val="1179"/>
            <c:spPr>
              <a:solidFill>
                <a:srgbClr val="AEABAB"/>
              </a:solidFill>
            </c:spPr>
          </c:dPt>
          <c:dPt>
            <c:idx val="1180"/>
            <c:spPr>
              <a:solidFill>
                <a:srgbClr val="AEABAB"/>
              </a:solidFill>
            </c:spPr>
          </c:dPt>
          <c:dPt>
            <c:idx val="1181"/>
            <c:spPr>
              <a:solidFill>
                <a:srgbClr val="AEABAB"/>
              </a:solidFill>
            </c:spPr>
          </c:dPt>
          <c:dPt>
            <c:idx val="1182"/>
            <c:spPr>
              <a:solidFill>
                <a:srgbClr val="AEABAB"/>
              </a:solidFill>
            </c:spPr>
          </c:dPt>
          <c:dPt>
            <c:idx val="1183"/>
            <c:spPr>
              <a:solidFill>
                <a:srgbClr val="AEABAB"/>
              </a:solidFill>
            </c:spPr>
          </c:dPt>
          <c:dPt>
            <c:idx val="1184"/>
            <c:spPr>
              <a:solidFill>
                <a:srgbClr val="AEABAB"/>
              </a:solidFill>
            </c:spPr>
          </c:dPt>
          <c:dPt>
            <c:idx val="1185"/>
            <c:spPr>
              <a:solidFill>
                <a:srgbClr val="AEABAB"/>
              </a:solidFill>
            </c:spPr>
          </c:dPt>
          <c:dPt>
            <c:idx val="1186"/>
            <c:spPr>
              <a:solidFill>
                <a:srgbClr val="AEABAB"/>
              </a:solidFill>
            </c:spPr>
          </c:dPt>
          <c:dPt>
            <c:idx val="1187"/>
            <c:spPr>
              <a:solidFill>
                <a:srgbClr val="AEABAB"/>
              </a:solidFill>
            </c:spPr>
          </c:dPt>
          <c:dPt>
            <c:idx val="1188"/>
            <c:spPr>
              <a:solidFill>
                <a:srgbClr val="AEABAB"/>
              </a:solidFill>
            </c:spPr>
          </c:dPt>
          <c:dPt>
            <c:idx val="1189"/>
            <c:spPr>
              <a:solidFill>
                <a:srgbClr val="AEABAB"/>
              </a:solidFill>
            </c:spPr>
          </c:dPt>
          <c:dPt>
            <c:idx val="1190"/>
            <c:spPr>
              <a:solidFill>
                <a:srgbClr val="AEABAB"/>
              </a:solidFill>
            </c:spPr>
          </c:dPt>
          <c:dPt>
            <c:idx val="1191"/>
            <c:spPr>
              <a:solidFill>
                <a:srgbClr val="AEABAB"/>
              </a:solidFill>
            </c:spPr>
          </c:dPt>
          <c:dPt>
            <c:idx val="1192"/>
            <c:spPr>
              <a:solidFill>
                <a:srgbClr val="AEABAB"/>
              </a:solidFill>
            </c:spPr>
          </c:dPt>
          <c:dPt>
            <c:idx val="1193"/>
            <c:spPr>
              <a:solidFill>
                <a:srgbClr val="AEABAB"/>
              </a:solidFill>
            </c:spPr>
          </c:dPt>
          <c:dPt>
            <c:idx val="1194"/>
            <c:spPr>
              <a:solidFill>
                <a:srgbClr val="AEABAB"/>
              </a:solidFill>
            </c:spPr>
          </c:dPt>
          <c:dPt>
            <c:idx val="1195"/>
            <c:spPr>
              <a:solidFill>
                <a:srgbClr val="AEABAB"/>
              </a:solidFill>
            </c:spPr>
          </c:dPt>
          <c:dPt>
            <c:idx val="1196"/>
            <c:spPr>
              <a:solidFill>
                <a:srgbClr val="AEABAB"/>
              </a:solidFill>
            </c:spPr>
          </c:dPt>
          <c:dPt>
            <c:idx val="1197"/>
            <c:spPr>
              <a:solidFill>
                <a:srgbClr val="AEABAB"/>
              </a:solidFill>
            </c:spPr>
          </c:dPt>
          <c:dPt>
            <c:idx val="1198"/>
            <c:spPr>
              <a:solidFill>
                <a:srgbClr val="AEABAB"/>
              </a:solidFill>
            </c:spPr>
          </c:dPt>
          <c:dPt>
            <c:idx val="1199"/>
            <c:spPr>
              <a:solidFill>
                <a:srgbClr val="AEABAB"/>
              </a:solidFill>
            </c:spPr>
          </c:dPt>
          <c:dPt>
            <c:idx val="1200"/>
            <c:spPr>
              <a:solidFill>
                <a:srgbClr val="AEABAB"/>
              </a:solidFill>
            </c:spPr>
          </c:dPt>
          <c:dPt>
            <c:idx val="1201"/>
            <c:spPr>
              <a:solidFill>
                <a:srgbClr val="AEABAB"/>
              </a:solidFill>
            </c:spPr>
          </c:dPt>
          <c:dPt>
            <c:idx val="1202"/>
            <c:spPr>
              <a:solidFill>
                <a:srgbClr val="AEABAB"/>
              </a:solidFill>
            </c:spPr>
          </c:dPt>
          <c:dPt>
            <c:idx val="1203"/>
            <c:spPr>
              <a:solidFill>
                <a:srgbClr val="AEABAB"/>
              </a:solidFill>
            </c:spPr>
          </c:dPt>
          <c:dPt>
            <c:idx val="1204"/>
            <c:spPr>
              <a:solidFill>
                <a:srgbClr val="AEABAB"/>
              </a:solidFill>
            </c:spPr>
          </c:dPt>
          <c:dPt>
            <c:idx val="1205"/>
            <c:spPr>
              <a:solidFill>
                <a:srgbClr val="AEABAB"/>
              </a:solidFill>
            </c:spPr>
          </c:dPt>
          <c:dPt>
            <c:idx val="1206"/>
            <c:spPr>
              <a:solidFill>
                <a:srgbClr val="AEABAB"/>
              </a:solidFill>
            </c:spPr>
          </c:dPt>
          <c:dPt>
            <c:idx val="1207"/>
            <c:spPr>
              <a:solidFill>
                <a:srgbClr val="AEABAB"/>
              </a:solidFill>
            </c:spPr>
          </c:dPt>
          <c:dPt>
            <c:idx val="1208"/>
            <c:spPr>
              <a:solidFill>
                <a:srgbClr val="AEABAB"/>
              </a:solidFill>
            </c:spPr>
          </c:dPt>
          <c:dPt>
            <c:idx val="1209"/>
            <c:spPr>
              <a:solidFill>
                <a:srgbClr val="AEABAB"/>
              </a:solidFill>
            </c:spPr>
          </c:dPt>
          <c:dPt>
            <c:idx val="1210"/>
            <c:spPr>
              <a:solidFill>
                <a:srgbClr val="AEABAB"/>
              </a:solidFill>
            </c:spPr>
          </c:dPt>
          <c:dPt>
            <c:idx val="1211"/>
            <c:spPr>
              <a:solidFill>
                <a:srgbClr val="AEABAB"/>
              </a:solidFill>
            </c:spPr>
          </c:dPt>
          <c:dPt>
            <c:idx val="1212"/>
            <c:spPr>
              <a:solidFill>
                <a:srgbClr val="AEABAB"/>
              </a:solidFill>
            </c:spPr>
          </c:dPt>
          <c:dPt>
            <c:idx val="1213"/>
            <c:spPr>
              <a:solidFill>
                <a:srgbClr val="AEABAB"/>
              </a:solidFill>
            </c:spPr>
          </c:dPt>
          <c:dPt>
            <c:idx val="1214"/>
            <c:spPr>
              <a:solidFill>
                <a:srgbClr val="AEABAB"/>
              </a:solidFill>
            </c:spPr>
          </c:dPt>
          <c:dPt>
            <c:idx val="1215"/>
            <c:spPr>
              <a:solidFill>
                <a:srgbClr val="AEABAB"/>
              </a:solidFill>
            </c:spPr>
          </c:dPt>
          <c:dPt>
            <c:idx val="1216"/>
            <c:spPr>
              <a:solidFill>
                <a:srgbClr val="AEABAB"/>
              </a:solidFill>
            </c:spPr>
          </c:dPt>
          <c:dPt>
            <c:idx val="1217"/>
            <c:spPr>
              <a:solidFill>
                <a:srgbClr val="AEABAB"/>
              </a:solidFill>
            </c:spPr>
          </c:dPt>
          <c:dPt>
            <c:idx val="1218"/>
            <c:spPr>
              <a:solidFill>
                <a:srgbClr val="AEABAB"/>
              </a:solidFill>
            </c:spPr>
          </c:dPt>
          <c:dPt>
            <c:idx val="1219"/>
            <c:spPr>
              <a:solidFill>
                <a:srgbClr val="AEABAB"/>
              </a:solidFill>
            </c:spPr>
          </c:dPt>
          <c:dPt>
            <c:idx val="1220"/>
            <c:spPr>
              <a:solidFill>
                <a:srgbClr val="AEABAB"/>
              </a:solidFill>
            </c:spPr>
          </c:dPt>
          <c:dPt>
            <c:idx val="1221"/>
            <c:spPr>
              <a:solidFill>
                <a:srgbClr val="AEABAB"/>
              </a:solidFill>
            </c:spPr>
          </c:dPt>
          <c:dPt>
            <c:idx val="1222"/>
            <c:spPr>
              <a:solidFill>
                <a:srgbClr val="AEABAB"/>
              </a:solidFill>
            </c:spPr>
          </c:dPt>
          <c:dPt>
            <c:idx val="1223"/>
            <c:spPr>
              <a:solidFill>
                <a:srgbClr val="AEABAB"/>
              </a:solidFill>
            </c:spPr>
          </c:dPt>
          <c:dPt>
            <c:idx val="1224"/>
            <c:spPr>
              <a:solidFill>
                <a:srgbClr val="AEABAB"/>
              </a:solidFill>
            </c:spPr>
          </c:dPt>
          <c:dPt>
            <c:idx val="1225"/>
            <c:spPr>
              <a:solidFill>
                <a:srgbClr val="AEABAB"/>
              </a:solidFill>
            </c:spPr>
          </c:dPt>
          <c:dPt>
            <c:idx val="1226"/>
            <c:spPr>
              <a:solidFill>
                <a:srgbClr val="AEABAB"/>
              </a:solidFill>
            </c:spPr>
          </c:dPt>
          <c:dPt>
            <c:idx val="1227"/>
            <c:spPr>
              <a:solidFill>
                <a:srgbClr val="AEABAB"/>
              </a:solidFill>
            </c:spPr>
          </c:dPt>
          <c:dPt>
            <c:idx val="1228"/>
            <c:spPr>
              <a:solidFill>
                <a:srgbClr val="AEABAB"/>
              </a:solidFill>
            </c:spPr>
          </c:dPt>
          <c:dPt>
            <c:idx val="1229"/>
            <c:spPr>
              <a:solidFill>
                <a:srgbClr val="AEABAB"/>
              </a:solidFill>
            </c:spPr>
          </c:dPt>
          <c:dPt>
            <c:idx val="1230"/>
            <c:spPr>
              <a:solidFill>
                <a:srgbClr val="AEABAB"/>
              </a:solidFill>
            </c:spPr>
          </c:dPt>
          <c:dPt>
            <c:idx val="1231"/>
            <c:spPr>
              <a:solidFill>
                <a:srgbClr val="AEABAB"/>
              </a:solidFill>
            </c:spPr>
          </c:dPt>
          <c:dPt>
            <c:idx val="1232"/>
            <c:spPr>
              <a:solidFill>
                <a:srgbClr val="AEABAB"/>
              </a:solidFill>
            </c:spPr>
          </c:dPt>
          <c:dPt>
            <c:idx val="1233"/>
            <c:spPr>
              <a:solidFill>
                <a:srgbClr val="AEABAB"/>
              </a:solidFill>
            </c:spPr>
          </c:dPt>
          <c:dPt>
            <c:idx val="1234"/>
            <c:spPr>
              <a:solidFill>
                <a:srgbClr val="AEABAB"/>
              </a:solidFill>
            </c:spPr>
          </c:dPt>
          <c:dPt>
            <c:idx val="1235"/>
            <c:spPr>
              <a:solidFill>
                <a:srgbClr val="AEABAB"/>
              </a:solidFill>
            </c:spPr>
          </c:dPt>
          <c:dPt>
            <c:idx val="1236"/>
            <c:spPr>
              <a:solidFill>
                <a:srgbClr val="AEABAB"/>
              </a:solidFill>
            </c:spPr>
          </c:dPt>
          <c:dPt>
            <c:idx val="1237"/>
            <c:spPr>
              <a:solidFill>
                <a:srgbClr val="AEABAB"/>
              </a:solidFill>
            </c:spPr>
          </c:dPt>
          <c:dPt>
            <c:idx val="1238"/>
            <c:spPr>
              <a:solidFill>
                <a:srgbClr val="AEABAB"/>
              </a:solidFill>
            </c:spPr>
          </c:dPt>
          <c:dPt>
            <c:idx val="1239"/>
            <c:spPr>
              <a:solidFill>
                <a:srgbClr val="AEABAB"/>
              </a:solidFill>
            </c:spPr>
          </c:dPt>
          <c:dPt>
            <c:idx val="1240"/>
            <c:spPr>
              <a:solidFill>
                <a:srgbClr val="AEABAB"/>
              </a:solidFill>
            </c:spPr>
          </c:dPt>
          <c:dPt>
            <c:idx val="1241"/>
            <c:spPr>
              <a:solidFill>
                <a:srgbClr val="AEABAB"/>
              </a:solidFill>
            </c:spPr>
          </c:dPt>
          <c:dPt>
            <c:idx val="1242"/>
            <c:spPr>
              <a:solidFill>
                <a:srgbClr val="AEABAB"/>
              </a:solidFill>
            </c:spPr>
          </c:dPt>
          <c:dPt>
            <c:idx val="1243"/>
            <c:spPr>
              <a:solidFill>
                <a:srgbClr val="AEABAB"/>
              </a:solidFill>
            </c:spPr>
          </c:dPt>
          <c:dPt>
            <c:idx val="1244"/>
            <c:spPr>
              <a:solidFill>
                <a:srgbClr val="AEABAB"/>
              </a:solidFill>
            </c:spPr>
          </c:dPt>
          <c:dPt>
            <c:idx val="1245"/>
            <c:spPr>
              <a:solidFill>
                <a:srgbClr val="AEABAB"/>
              </a:solidFill>
            </c:spPr>
          </c:dPt>
          <c:dPt>
            <c:idx val="1246"/>
            <c:spPr>
              <a:solidFill>
                <a:srgbClr val="AEABAB"/>
              </a:solidFill>
            </c:spPr>
          </c:dPt>
          <c:dPt>
            <c:idx val="1247"/>
            <c:spPr>
              <a:solidFill>
                <a:srgbClr val="AEABAB"/>
              </a:solidFill>
            </c:spPr>
          </c:dPt>
          <c:dPt>
            <c:idx val="1248"/>
            <c:spPr>
              <a:solidFill>
                <a:srgbClr val="AEABAB"/>
              </a:solidFill>
            </c:spPr>
          </c:dPt>
          <c:dPt>
            <c:idx val="1249"/>
            <c:spPr>
              <a:solidFill>
                <a:srgbClr val="AEABAB"/>
              </a:solidFill>
            </c:spPr>
          </c:dPt>
          <c:dPt>
            <c:idx val="1250"/>
            <c:spPr>
              <a:solidFill>
                <a:srgbClr val="AEABAB"/>
              </a:solidFill>
            </c:spPr>
          </c:dPt>
          <c:dPt>
            <c:idx val="1251"/>
            <c:spPr>
              <a:solidFill>
                <a:srgbClr val="AEABAB"/>
              </a:solidFill>
            </c:spPr>
          </c:dPt>
          <c:dPt>
            <c:idx val="1252"/>
            <c:spPr>
              <a:solidFill>
                <a:srgbClr val="AEABAB"/>
              </a:solidFill>
            </c:spPr>
          </c:dPt>
          <c:dPt>
            <c:idx val="1253"/>
            <c:spPr>
              <a:solidFill>
                <a:srgbClr val="AEABAB"/>
              </a:solidFill>
            </c:spPr>
          </c:dPt>
          <c:dPt>
            <c:idx val="1254"/>
            <c:spPr>
              <a:solidFill>
                <a:srgbClr val="AEABAB"/>
              </a:solidFill>
            </c:spPr>
          </c:dPt>
          <c:dPt>
            <c:idx val="1255"/>
            <c:spPr>
              <a:solidFill>
                <a:srgbClr val="AEABAB"/>
              </a:solidFill>
            </c:spPr>
          </c:dPt>
          <c:dPt>
            <c:idx val="1256"/>
            <c:spPr>
              <a:solidFill>
                <a:srgbClr val="AEABAB"/>
              </a:solidFill>
            </c:spPr>
          </c:dPt>
          <c:dPt>
            <c:idx val="1257"/>
            <c:spPr>
              <a:solidFill>
                <a:srgbClr val="AEABAB"/>
              </a:solidFill>
            </c:spPr>
          </c:dPt>
          <c:dPt>
            <c:idx val="1258"/>
            <c:spPr>
              <a:solidFill>
                <a:srgbClr val="AEABAB"/>
              </a:solidFill>
            </c:spPr>
          </c:dPt>
          <c:dPt>
            <c:idx val="1259"/>
            <c:spPr>
              <a:solidFill>
                <a:srgbClr val="AEABAB"/>
              </a:solidFill>
            </c:spPr>
          </c:dPt>
          <c:dPt>
            <c:idx val="1260"/>
            <c:spPr>
              <a:solidFill>
                <a:srgbClr val="AEABAB"/>
              </a:solidFill>
            </c:spPr>
          </c:dPt>
          <c:dPt>
            <c:idx val="1261"/>
            <c:spPr>
              <a:solidFill>
                <a:srgbClr val="AEABAB"/>
              </a:solidFill>
            </c:spPr>
          </c:dPt>
          <c:dPt>
            <c:idx val="1262"/>
            <c:spPr>
              <a:solidFill>
                <a:srgbClr val="AEABAB"/>
              </a:solidFill>
            </c:spPr>
          </c:dPt>
          <c:dPt>
            <c:idx val="1263"/>
            <c:spPr>
              <a:solidFill>
                <a:srgbClr val="AEABAB"/>
              </a:solidFill>
            </c:spPr>
          </c:dPt>
          <c:dPt>
            <c:idx val="1264"/>
            <c:spPr>
              <a:solidFill>
                <a:srgbClr val="AEABAB"/>
              </a:solidFill>
            </c:spPr>
          </c:dPt>
          <c:dPt>
            <c:idx val="1265"/>
            <c:spPr>
              <a:solidFill>
                <a:srgbClr val="AEABAB"/>
              </a:solidFill>
            </c:spPr>
          </c:dPt>
          <c:dPt>
            <c:idx val="1266"/>
            <c:spPr>
              <a:solidFill>
                <a:srgbClr val="AEABAB"/>
              </a:solidFill>
            </c:spPr>
          </c:dPt>
          <c:dPt>
            <c:idx val="1267"/>
            <c:spPr>
              <a:solidFill>
                <a:srgbClr val="AEABAB"/>
              </a:solidFill>
            </c:spPr>
          </c:dPt>
          <c:dPt>
            <c:idx val="1268"/>
            <c:spPr>
              <a:solidFill>
                <a:srgbClr val="AEABAB"/>
              </a:solidFill>
            </c:spPr>
          </c:dPt>
          <c:dPt>
            <c:idx val="1269"/>
            <c:spPr>
              <a:solidFill>
                <a:srgbClr val="AEABAB"/>
              </a:solidFill>
            </c:spPr>
          </c:dPt>
          <c:dPt>
            <c:idx val="1270"/>
            <c:spPr>
              <a:solidFill>
                <a:srgbClr val="AEABAB"/>
              </a:solidFill>
            </c:spPr>
          </c:dPt>
          <c:dPt>
            <c:idx val="1271"/>
            <c:spPr>
              <a:solidFill>
                <a:srgbClr val="AEABAB"/>
              </a:solidFill>
            </c:spPr>
          </c:dPt>
          <c:dPt>
            <c:idx val="1272"/>
            <c:spPr>
              <a:solidFill>
                <a:srgbClr val="AEABAB"/>
              </a:solidFill>
            </c:spPr>
          </c:dPt>
          <c:dPt>
            <c:idx val="1273"/>
            <c:spPr>
              <a:solidFill>
                <a:srgbClr val="AEABAB"/>
              </a:solidFill>
            </c:spPr>
          </c:dPt>
          <c:dPt>
            <c:idx val="1274"/>
            <c:spPr>
              <a:solidFill>
                <a:srgbClr val="AEABAB"/>
              </a:solidFill>
            </c:spPr>
          </c:dPt>
          <c:dPt>
            <c:idx val="1275"/>
            <c:spPr>
              <a:solidFill>
                <a:srgbClr val="AEABAB"/>
              </a:solidFill>
            </c:spPr>
          </c:dPt>
          <c:dPt>
            <c:idx val="1276"/>
            <c:spPr>
              <a:solidFill>
                <a:srgbClr val="AEABAB"/>
              </a:solidFill>
            </c:spPr>
          </c:dPt>
          <c:dPt>
            <c:idx val="1277"/>
            <c:spPr>
              <a:solidFill>
                <a:srgbClr val="AEABAB"/>
              </a:solidFill>
            </c:spPr>
          </c:dPt>
          <c:dPt>
            <c:idx val="1278"/>
            <c:spPr>
              <a:solidFill>
                <a:srgbClr val="AEABAB"/>
              </a:solidFill>
            </c:spPr>
          </c:dPt>
          <c:dPt>
            <c:idx val="1279"/>
            <c:spPr>
              <a:solidFill>
                <a:srgbClr val="AEABAB"/>
              </a:solidFill>
            </c:spPr>
          </c:dPt>
          <c:dPt>
            <c:idx val="1280"/>
            <c:spPr>
              <a:solidFill>
                <a:srgbClr val="AEABAB"/>
              </a:solidFill>
            </c:spPr>
          </c:dPt>
          <c:dPt>
            <c:idx val="1281"/>
            <c:spPr>
              <a:solidFill>
                <a:srgbClr val="AEABAB"/>
              </a:solidFill>
            </c:spPr>
          </c:dPt>
          <c:dPt>
            <c:idx val="1282"/>
            <c:spPr>
              <a:solidFill>
                <a:srgbClr val="AEABAB"/>
              </a:solidFill>
            </c:spPr>
          </c:dPt>
          <c:dPt>
            <c:idx val="1283"/>
            <c:spPr>
              <a:solidFill>
                <a:srgbClr val="AEABAB"/>
              </a:solidFill>
            </c:spPr>
          </c:dPt>
          <c:dPt>
            <c:idx val="1284"/>
            <c:spPr>
              <a:solidFill>
                <a:srgbClr val="AEABAB"/>
              </a:solidFill>
            </c:spPr>
          </c:dPt>
          <c:dPt>
            <c:idx val="1285"/>
            <c:spPr>
              <a:solidFill>
                <a:srgbClr val="AEABAB"/>
              </a:solidFill>
            </c:spPr>
          </c:dPt>
          <c:dPt>
            <c:idx val="1286"/>
            <c:spPr>
              <a:solidFill>
                <a:srgbClr val="AEABAB"/>
              </a:solidFill>
            </c:spPr>
          </c:dPt>
          <c:dPt>
            <c:idx val="1287"/>
            <c:spPr>
              <a:solidFill>
                <a:srgbClr val="AEABAB"/>
              </a:solidFill>
            </c:spPr>
          </c:dPt>
          <c:dPt>
            <c:idx val="1288"/>
            <c:spPr>
              <a:solidFill>
                <a:srgbClr val="AEABAB"/>
              </a:solidFill>
            </c:spPr>
          </c:dPt>
          <c:dPt>
            <c:idx val="1289"/>
            <c:spPr>
              <a:solidFill>
                <a:srgbClr val="AEABAB"/>
              </a:solidFill>
            </c:spPr>
          </c:dPt>
          <c:dPt>
            <c:idx val="1290"/>
            <c:spPr>
              <a:solidFill>
                <a:srgbClr val="AEABAB"/>
              </a:solidFill>
            </c:spPr>
          </c:dPt>
          <c:dPt>
            <c:idx val="1291"/>
            <c:spPr>
              <a:solidFill>
                <a:srgbClr val="AEABAB"/>
              </a:solidFill>
            </c:spPr>
          </c:dPt>
          <c:dPt>
            <c:idx val="1292"/>
            <c:spPr>
              <a:solidFill>
                <a:srgbClr val="AEABAB"/>
              </a:solidFill>
            </c:spPr>
          </c:dPt>
          <c:dPt>
            <c:idx val="1293"/>
            <c:spPr>
              <a:solidFill>
                <a:srgbClr val="AEABAB"/>
              </a:solidFill>
            </c:spPr>
          </c:dPt>
          <c:dPt>
            <c:idx val="1294"/>
            <c:spPr>
              <a:solidFill>
                <a:srgbClr val="AEABAB"/>
              </a:solidFill>
            </c:spPr>
          </c:dPt>
          <c:dPt>
            <c:idx val="1295"/>
            <c:spPr>
              <a:solidFill>
                <a:srgbClr val="AEABAB"/>
              </a:solidFill>
            </c:spPr>
          </c:dPt>
          <c:dPt>
            <c:idx val="1296"/>
            <c:spPr>
              <a:solidFill>
                <a:srgbClr val="AEABAB"/>
              </a:solidFill>
            </c:spPr>
          </c:dPt>
          <c:dPt>
            <c:idx val="1297"/>
            <c:spPr>
              <a:solidFill>
                <a:srgbClr val="AEABAB"/>
              </a:solidFill>
            </c:spPr>
          </c:dPt>
          <c:dPt>
            <c:idx val="1298"/>
            <c:spPr>
              <a:solidFill>
                <a:srgbClr val="AEABAB"/>
              </a:solidFill>
            </c:spPr>
          </c:dPt>
          <c:dPt>
            <c:idx val="1299"/>
            <c:spPr>
              <a:solidFill>
                <a:srgbClr val="AEABAB"/>
              </a:solidFill>
            </c:spPr>
          </c:dPt>
          <c:dPt>
            <c:idx val="1300"/>
            <c:spPr>
              <a:solidFill>
                <a:srgbClr val="AEABAB"/>
              </a:solidFill>
            </c:spPr>
          </c:dPt>
          <c:dPt>
            <c:idx val="1301"/>
            <c:spPr>
              <a:solidFill>
                <a:srgbClr val="AEABAB"/>
              </a:solidFill>
            </c:spPr>
          </c:dPt>
          <c:dPt>
            <c:idx val="1302"/>
            <c:spPr>
              <a:solidFill>
                <a:srgbClr val="AEABAB"/>
              </a:solidFill>
            </c:spPr>
          </c:dPt>
          <c:dPt>
            <c:idx val="1303"/>
            <c:spPr>
              <a:solidFill>
                <a:srgbClr val="AEABAB"/>
              </a:solidFill>
            </c:spPr>
          </c:dPt>
          <c:dPt>
            <c:idx val="1304"/>
            <c:spPr>
              <a:solidFill>
                <a:srgbClr val="AEABAB"/>
              </a:solidFill>
            </c:spPr>
          </c:dPt>
          <c:dPt>
            <c:idx val="1305"/>
            <c:spPr>
              <a:solidFill>
                <a:srgbClr val="AEABAB"/>
              </a:solidFill>
            </c:spPr>
          </c:dPt>
          <c:dPt>
            <c:idx val="1306"/>
            <c:spPr>
              <a:solidFill>
                <a:srgbClr val="AEABAB"/>
              </a:solidFill>
            </c:spPr>
          </c:dPt>
          <c:dPt>
            <c:idx val="1307"/>
            <c:spPr>
              <a:solidFill>
                <a:srgbClr val="AEABAB"/>
              </a:solidFill>
            </c:spPr>
          </c:dPt>
          <c:dPt>
            <c:idx val="1308"/>
            <c:spPr>
              <a:solidFill>
                <a:srgbClr val="AEABAB"/>
              </a:solidFill>
            </c:spPr>
          </c:dPt>
          <c:dPt>
            <c:idx val="1309"/>
            <c:spPr>
              <a:solidFill>
                <a:srgbClr val="AEABAB"/>
              </a:solidFill>
            </c:spPr>
          </c:dPt>
          <c:dPt>
            <c:idx val="1310"/>
            <c:spPr>
              <a:solidFill>
                <a:srgbClr val="AEABAB"/>
              </a:solidFill>
            </c:spPr>
          </c:dPt>
          <c:dPt>
            <c:idx val="1311"/>
            <c:spPr>
              <a:solidFill>
                <a:srgbClr val="AEABAB"/>
              </a:solidFill>
            </c:spPr>
          </c:dPt>
          <c:dPt>
            <c:idx val="1312"/>
            <c:spPr>
              <a:solidFill>
                <a:srgbClr val="AEABAB"/>
              </a:solidFill>
            </c:spPr>
          </c:dPt>
          <c:dPt>
            <c:idx val="1313"/>
            <c:spPr>
              <a:solidFill>
                <a:srgbClr val="AEABAB"/>
              </a:solidFill>
            </c:spPr>
          </c:dPt>
          <c:dPt>
            <c:idx val="1314"/>
            <c:spPr>
              <a:solidFill>
                <a:srgbClr val="AEABAB"/>
              </a:solidFill>
            </c:spPr>
          </c:dPt>
          <c:dPt>
            <c:idx val="1315"/>
            <c:spPr>
              <a:solidFill>
                <a:srgbClr val="AEABAB"/>
              </a:solidFill>
            </c:spPr>
          </c:dPt>
          <c:dPt>
            <c:idx val="1316"/>
            <c:spPr>
              <a:solidFill>
                <a:srgbClr val="AEABAB"/>
              </a:solidFill>
            </c:spPr>
          </c:dPt>
          <c:dPt>
            <c:idx val="1317"/>
            <c:spPr>
              <a:solidFill>
                <a:srgbClr val="AEABAB"/>
              </a:solidFill>
            </c:spPr>
          </c:dPt>
          <c:dPt>
            <c:idx val="1318"/>
            <c:spPr>
              <a:solidFill>
                <a:srgbClr val="AEABAB"/>
              </a:solidFill>
            </c:spPr>
          </c:dPt>
          <c:dPt>
            <c:idx val="1319"/>
            <c:spPr>
              <a:solidFill>
                <a:srgbClr val="AEABAB"/>
              </a:solidFill>
            </c:spPr>
          </c:dPt>
          <c:dPt>
            <c:idx val="1320"/>
            <c:spPr>
              <a:solidFill>
                <a:srgbClr val="AEABAB"/>
              </a:solidFill>
            </c:spPr>
          </c:dPt>
          <c:dPt>
            <c:idx val="1321"/>
            <c:spPr>
              <a:solidFill>
                <a:srgbClr val="AEABAB"/>
              </a:solidFill>
            </c:spPr>
          </c:dPt>
          <c:dPt>
            <c:idx val="1322"/>
            <c:spPr>
              <a:solidFill>
                <a:srgbClr val="AEABAB"/>
              </a:solidFill>
            </c:spPr>
          </c:dPt>
          <c:dPt>
            <c:idx val="1323"/>
            <c:spPr>
              <a:solidFill>
                <a:srgbClr val="AEABAB"/>
              </a:solidFill>
            </c:spPr>
          </c:dPt>
          <c:dPt>
            <c:idx val="1324"/>
            <c:spPr>
              <a:solidFill>
                <a:srgbClr val="AEABAB"/>
              </a:solidFill>
            </c:spPr>
          </c:dPt>
          <c:dPt>
            <c:idx val="1325"/>
            <c:spPr>
              <a:solidFill>
                <a:srgbClr val="AEABAB"/>
              </a:solidFill>
            </c:spPr>
          </c:dPt>
          <c:dPt>
            <c:idx val="1326"/>
            <c:spPr>
              <a:solidFill>
                <a:srgbClr val="AEABAB"/>
              </a:solidFill>
            </c:spPr>
          </c:dPt>
          <c:dPt>
            <c:idx val="1327"/>
            <c:spPr>
              <a:solidFill>
                <a:srgbClr val="AEABAB"/>
              </a:solidFill>
            </c:spPr>
          </c:dPt>
          <c:dPt>
            <c:idx val="1328"/>
            <c:spPr>
              <a:solidFill>
                <a:srgbClr val="AEABAB"/>
              </a:solidFill>
            </c:spPr>
          </c:dPt>
          <c:dPt>
            <c:idx val="1329"/>
            <c:spPr>
              <a:solidFill>
                <a:srgbClr val="AEABAB"/>
              </a:solidFill>
            </c:spPr>
          </c:dPt>
          <c:dPt>
            <c:idx val="1330"/>
            <c:spPr>
              <a:solidFill>
                <a:srgbClr val="AEABAB"/>
              </a:solidFill>
            </c:spPr>
          </c:dPt>
          <c:dPt>
            <c:idx val="1331"/>
            <c:spPr>
              <a:solidFill>
                <a:srgbClr val="AEABAB"/>
              </a:solidFill>
            </c:spPr>
          </c:dPt>
          <c:dPt>
            <c:idx val="1332"/>
            <c:spPr>
              <a:solidFill>
                <a:srgbClr val="AEABAB"/>
              </a:solidFill>
            </c:spPr>
          </c:dPt>
          <c:dPt>
            <c:idx val="1333"/>
            <c:spPr>
              <a:solidFill>
                <a:srgbClr val="AEABAB"/>
              </a:solidFill>
            </c:spPr>
          </c:dPt>
          <c:dPt>
            <c:idx val="1334"/>
            <c:spPr>
              <a:solidFill>
                <a:srgbClr val="AEABAB"/>
              </a:solidFill>
            </c:spPr>
          </c:dPt>
          <c:dPt>
            <c:idx val="1335"/>
            <c:spPr>
              <a:solidFill>
                <a:srgbClr val="AEABAB"/>
              </a:solidFill>
            </c:spPr>
          </c:dPt>
          <c:dPt>
            <c:idx val="1336"/>
            <c:spPr>
              <a:solidFill>
                <a:srgbClr val="AEABAB"/>
              </a:solidFill>
            </c:spPr>
          </c:dPt>
          <c:dPt>
            <c:idx val="1337"/>
            <c:spPr>
              <a:solidFill>
                <a:srgbClr val="AEABAB"/>
              </a:solidFill>
            </c:spPr>
          </c:dPt>
          <c:dPt>
            <c:idx val="1338"/>
            <c:spPr>
              <a:solidFill>
                <a:srgbClr val="AEABAB"/>
              </a:solidFill>
            </c:spPr>
          </c:dPt>
          <c:dPt>
            <c:idx val="1339"/>
            <c:spPr>
              <a:solidFill>
                <a:srgbClr val="AEABAB"/>
              </a:solidFill>
            </c:spPr>
          </c:dPt>
          <c:dPt>
            <c:idx val="1340"/>
            <c:spPr>
              <a:solidFill>
                <a:srgbClr val="AEABAB"/>
              </a:solidFill>
            </c:spPr>
          </c:dPt>
          <c:dPt>
            <c:idx val="1341"/>
            <c:spPr>
              <a:solidFill>
                <a:srgbClr val="AEABAB"/>
              </a:solidFill>
            </c:spPr>
          </c:dPt>
          <c:dPt>
            <c:idx val="1342"/>
            <c:spPr>
              <a:solidFill>
                <a:srgbClr val="AEABAB"/>
              </a:solidFill>
            </c:spPr>
          </c:dPt>
          <c:dPt>
            <c:idx val="1343"/>
            <c:spPr>
              <a:solidFill>
                <a:srgbClr val="AEABAB"/>
              </a:solidFill>
            </c:spPr>
          </c:dPt>
          <c:dPt>
            <c:idx val="1344"/>
            <c:spPr>
              <a:solidFill>
                <a:srgbClr val="AEABAB"/>
              </a:solidFill>
            </c:spPr>
          </c:dPt>
          <c:dPt>
            <c:idx val="1345"/>
            <c:spPr>
              <a:solidFill>
                <a:srgbClr val="AEABAB"/>
              </a:solidFill>
            </c:spPr>
          </c:dPt>
          <c:dPt>
            <c:idx val="1346"/>
            <c:spPr>
              <a:solidFill>
                <a:srgbClr val="AEABAB"/>
              </a:solidFill>
            </c:spPr>
          </c:dPt>
          <c:dPt>
            <c:idx val="1347"/>
            <c:spPr>
              <a:solidFill>
                <a:srgbClr val="AEABAB"/>
              </a:solidFill>
            </c:spPr>
          </c:dPt>
          <c:dPt>
            <c:idx val="1348"/>
            <c:spPr>
              <a:solidFill>
                <a:srgbClr val="AEABAB"/>
              </a:solidFill>
            </c:spPr>
          </c:dPt>
          <c:dPt>
            <c:idx val="1349"/>
            <c:spPr>
              <a:solidFill>
                <a:srgbClr val="AEABAB"/>
              </a:solidFill>
            </c:spPr>
          </c:dPt>
          <c:dPt>
            <c:idx val="1350"/>
            <c:spPr>
              <a:solidFill>
                <a:srgbClr val="AEABAB"/>
              </a:solidFill>
            </c:spPr>
          </c:dPt>
          <c:dPt>
            <c:idx val="1351"/>
            <c:spPr>
              <a:solidFill>
                <a:srgbClr val="AEABAB"/>
              </a:solidFill>
            </c:spPr>
          </c:dPt>
          <c:dPt>
            <c:idx val="1352"/>
            <c:spPr>
              <a:solidFill>
                <a:srgbClr val="AEABAB"/>
              </a:solidFill>
            </c:spPr>
          </c:dPt>
          <c:dPt>
            <c:idx val="1353"/>
            <c:spPr>
              <a:solidFill>
                <a:srgbClr val="AEABAB"/>
              </a:solidFill>
            </c:spPr>
          </c:dPt>
          <c:dPt>
            <c:idx val="1354"/>
            <c:spPr>
              <a:solidFill>
                <a:srgbClr val="AEABAB"/>
              </a:solidFill>
            </c:spPr>
          </c:dPt>
          <c:dPt>
            <c:idx val="1355"/>
            <c:spPr>
              <a:solidFill>
                <a:srgbClr val="AEABAB"/>
              </a:solidFill>
            </c:spPr>
          </c:dPt>
          <c:dPt>
            <c:idx val="1356"/>
            <c:spPr>
              <a:solidFill>
                <a:srgbClr val="AEABAB"/>
              </a:solidFill>
            </c:spPr>
          </c:dPt>
          <c:dPt>
            <c:idx val="1357"/>
            <c:spPr>
              <a:solidFill>
                <a:srgbClr val="AEABAB"/>
              </a:solidFill>
            </c:spPr>
          </c:dPt>
          <c:dPt>
            <c:idx val="1358"/>
            <c:spPr>
              <a:solidFill>
                <a:srgbClr val="AEABAB"/>
              </a:solidFill>
            </c:spPr>
          </c:dPt>
          <c:dPt>
            <c:idx val="1359"/>
            <c:spPr>
              <a:solidFill>
                <a:srgbClr val="AEABAB"/>
              </a:solidFill>
            </c:spPr>
          </c:dPt>
          <c:dPt>
            <c:idx val="1360"/>
            <c:spPr>
              <a:solidFill>
                <a:srgbClr val="AEABAB"/>
              </a:solidFill>
            </c:spPr>
          </c:dPt>
          <c:dPt>
            <c:idx val="1361"/>
            <c:spPr>
              <a:solidFill>
                <a:srgbClr val="AEABAB"/>
              </a:solidFill>
            </c:spPr>
          </c:dPt>
          <c:dPt>
            <c:idx val="1362"/>
            <c:spPr>
              <a:solidFill>
                <a:srgbClr val="AEABAB"/>
              </a:solidFill>
            </c:spPr>
          </c:dPt>
          <c:dPt>
            <c:idx val="1363"/>
            <c:spPr>
              <a:solidFill>
                <a:srgbClr val="AEABAB"/>
              </a:solidFill>
            </c:spPr>
          </c:dPt>
          <c:dPt>
            <c:idx val="1364"/>
            <c:spPr>
              <a:solidFill>
                <a:srgbClr val="AEABAB"/>
              </a:solidFill>
            </c:spPr>
          </c:dPt>
          <c:dPt>
            <c:idx val="1365"/>
            <c:spPr>
              <a:solidFill>
                <a:srgbClr val="AEABAB"/>
              </a:solidFill>
            </c:spPr>
          </c:dPt>
          <c:dPt>
            <c:idx val="1366"/>
            <c:spPr>
              <a:solidFill>
                <a:srgbClr val="AEABAB"/>
              </a:solidFill>
            </c:spPr>
          </c:dPt>
          <c:dPt>
            <c:idx val="1367"/>
            <c:spPr>
              <a:solidFill>
                <a:srgbClr val="AEABAB"/>
              </a:solidFill>
            </c:spPr>
          </c:dPt>
          <c:dPt>
            <c:idx val="1368"/>
            <c:spPr>
              <a:solidFill>
                <a:srgbClr val="AEABAB"/>
              </a:solidFill>
            </c:spPr>
          </c:dPt>
          <c:dPt>
            <c:idx val="1369"/>
            <c:spPr>
              <a:solidFill>
                <a:srgbClr val="AEABAB"/>
              </a:solidFill>
            </c:spPr>
          </c:dPt>
          <c:dPt>
            <c:idx val="1370"/>
            <c:spPr>
              <a:solidFill>
                <a:srgbClr val="AEABAB"/>
              </a:solidFill>
            </c:spPr>
          </c:dPt>
          <c:dPt>
            <c:idx val="1371"/>
            <c:spPr>
              <a:solidFill>
                <a:srgbClr val="AEABAB"/>
              </a:solidFill>
            </c:spPr>
          </c:dPt>
          <c:dPt>
            <c:idx val="1372"/>
            <c:spPr>
              <a:solidFill>
                <a:srgbClr val="AEABAB"/>
              </a:solidFill>
            </c:spPr>
          </c:dPt>
          <c:dPt>
            <c:idx val="1373"/>
            <c:spPr>
              <a:solidFill>
                <a:srgbClr val="AEABAB"/>
              </a:solidFill>
            </c:spPr>
          </c:dPt>
          <c:dPt>
            <c:idx val="1374"/>
            <c:spPr>
              <a:solidFill>
                <a:srgbClr val="AEABAB"/>
              </a:solidFill>
            </c:spPr>
          </c:dPt>
          <c:dPt>
            <c:idx val="1375"/>
            <c:spPr>
              <a:solidFill>
                <a:srgbClr val="AEABAB"/>
              </a:solidFill>
            </c:spPr>
          </c:dPt>
          <c:dPt>
            <c:idx val="1376"/>
            <c:spPr>
              <a:solidFill>
                <a:srgbClr val="AEABAB"/>
              </a:solidFill>
            </c:spPr>
          </c:dPt>
          <c:dPt>
            <c:idx val="1377"/>
            <c:spPr>
              <a:solidFill>
                <a:srgbClr val="AEABAB"/>
              </a:solidFill>
            </c:spPr>
          </c:dPt>
          <c:dPt>
            <c:idx val="1378"/>
            <c:spPr>
              <a:solidFill>
                <a:srgbClr val="AEABAB"/>
              </a:solidFill>
            </c:spPr>
          </c:dPt>
          <c:dPt>
            <c:idx val="1379"/>
            <c:spPr>
              <a:solidFill>
                <a:srgbClr val="AEABAB"/>
              </a:solidFill>
            </c:spPr>
          </c:dPt>
          <c:dPt>
            <c:idx val="1380"/>
            <c:spPr>
              <a:solidFill>
                <a:srgbClr val="AEABAB"/>
              </a:solidFill>
            </c:spPr>
          </c:dPt>
          <c:dPt>
            <c:idx val="1381"/>
            <c:spPr>
              <a:solidFill>
                <a:srgbClr val="AEABAB"/>
              </a:solidFill>
            </c:spPr>
          </c:dPt>
          <c:dPt>
            <c:idx val="1382"/>
            <c:spPr>
              <a:solidFill>
                <a:srgbClr val="AEABAB"/>
              </a:solidFill>
            </c:spPr>
          </c:dPt>
          <c:dPt>
            <c:idx val="1383"/>
            <c:spPr>
              <a:solidFill>
                <a:srgbClr val="AEABAB"/>
              </a:solidFill>
            </c:spPr>
          </c:dPt>
          <c:dPt>
            <c:idx val="1384"/>
            <c:spPr>
              <a:solidFill>
                <a:srgbClr val="AEABAB"/>
              </a:solidFill>
            </c:spPr>
          </c:dPt>
          <c:dPt>
            <c:idx val="1385"/>
            <c:spPr>
              <a:solidFill>
                <a:srgbClr val="AEABAB"/>
              </a:solidFill>
            </c:spPr>
          </c:dPt>
          <c:dPt>
            <c:idx val="1386"/>
            <c:spPr>
              <a:solidFill>
                <a:srgbClr val="AEABAB"/>
              </a:solidFill>
            </c:spPr>
          </c:dPt>
          <c:dPt>
            <c:idx val="1387"/>
            <c:spPr>
              <a:solidFill>
                <a:srgbClr val="AEABAB"/>
              </a:solidFill>
            </c:spPr>
          </c:dPt>
          <c:dPt>
            <c:idx val="1388"/>
            <c:spPr>
              <a:solidFill>
                <a:srgbClr val="AEABAB"/>
              </a:solidFill>
            </c:spPr>
          </c:dPt>
          <c:dPt>
            <c:idx val="1389"/>
            <c:spPr>
              <a:solidFill>
                <a:srgbClr val="AEABAB"/>
              </a:solidFill>
            </c:spPr>
          </c:dPt>
          <c:dPt>
            <c:idx val="1390"/>
            <c:spPr>
              <a:solidFill>
                <a:srgbClr val="AEABAB"/>
              </a:solidFill>
            </c:spPr>
          </c:dPt>
          <c:dPt>
            <c:idx val="1391"/>
            <c:spPr>
              <a:solidFill>
                <a:srgbClr val="AEABAB"/>
              </a:solidFill>
            </c:spPr>
          </c:dPt>
          <c:dPt>
            <c:idx val="1392"/>
            <c:spPr>
              <a:solidFill>
                <a:srgbClr val="AEABAB"/>
              </a:solidFill>
            </c:spPr>
          </c:dPt>
          <c:dPt>
            <c:idx val="1393"/>
            <c:spPr>
              <a:solidFill>
                <a:srgbClr val="AEABAB"/>
              </a:solidFill>
            </c:spPr>
          </c:dPt>
          <c:dPt>
            <c:idx val="1394"/>
            <c:spPr>
              <a:solidFill>
                <a:srgbClr val="AEABAB"/>
              </a:solidFill>
            </c:spPr>
          </c:dPt>
          <c:dPt>
            <c:idx val="1395"/>
            <c:spPr>
              <a:solidFill>
                <a:srgbClr val="AEABAB"/>
              </a:solidFill>
            </c:spPr>
          </c:dPt>
          <c:dPt>
            <c:idx val="1396"/>
            <c:spPr>
              <a:solidFill>
                <a:srgbClr val="AEABAB"/>
              </a:solidFill>
            </c:spPr>
          </c:dPt>
          <c:dPt>
            <c:idx val="1397"/>
            <c:spPr>
              <a:solidFill>
                <a:srgbClr val="AEABAB"/>
              </a:solidFill>
            </c:spPr>
          </c:dPt>
          <c:dPt>
            <c:idx val="1398"/>
            <c:spPr>
              <a:solidFill>
                <a:srgbClr val="AEABAB"/>
              </a:solidFill>
            </c:spPr>
          </c:dPt>
          <c:dPt>
            <c:idx val="1399"/>
            <c:spPr>
              <a:solidFill>
                <a:srgbClr val="AEABAB"/>
              </a:solidFill>
            </c:spPr>
          </c:dPt>
          <c:dPt>
            <c:idx val="1400"/>
            <c:spPr>
              <a:solidFill>
                <a:srgbClr val="AEABAB"/>
              </a:solidFill>
            </c:spPr>
          </c:dPt>
          <c:dPt>
            <c:idx val="1401"/>
            <c:spPr>
              <a:solidFill>
                <a:srgbClr val="AEABAB"/>
              </a:solidFill>
            </c:spPr>
          </c:dPt>
          <c:dPt>
            <c:idx val="1402"/>
            <c:spPr>
              <a:solidFill>
                <a:srgbClr val="AEABAB"/>
              </a:solidFill>
            </c:spPr>
          </c:dPt>
          <c:dPt>
            <c:idx val="1403"/>
            <c:spPr>
              <a:solidFill>
                <a:srgbClr val="AEABAB"/>
              </a:solidFill>
            </c:spPr>
          </c:dPt>
          <c:dPt>
            <c:idx val="1404"/>
            <c:spPr>
              <a:solidFill>
                <a:srgbClr val="AEABAB"/>
              </a:solidFill>
            </c:spPr>
          </c:dPt>
          <c:dPt>
            <c:idx val="1405"/>
            <c:spPr>
              <a:solidFill>
                <a:srgbClr val="AEABAB"/>
              </a:solidFill>
            </c:spPr>
          </c:dPt>
          <c:dPt>
            <c:idx val="1406"/>
            <c:spPr>
              <a:solidFill>
                <a:srgbClr val="AEABAB"/>
              </a:solidFill>
            </c:spPr>
          </c:dPt>
          <c:dPt>
            <c:idx val="1407"/>
            <c:spPr>
              <a:solidFill>
                <a:srgbClr val="AEABAB"/>
              </a:solidFill>
            </c:spPr>
          </c:dPt>
          <c:dPt>
            <c:idx val="1408"/>
            <c:spPr>
              <a:solidFill>
                <a:srgbClr val="AEABAB"/>
              </a:solidFill>
            </c:spPr>
          </c:dPt>
          <c:dPt>
            <c:idx val="1409"/>
            <c:spPr>
              <a:solidFill>
                <a:srgbClr val="AEABAB"/>
              </a:solidFill>
            </c:spPr>
          </c:dPt>
          <c:dPt>
            <c:idx val="1410"/>
            <c:spPr>
              <a:solidFill>
                <a:srgbClr val="AEABAB"/>
              </a:solidFill>
            </c:spPr>
          </c:dPt>
          <c:dPt>
            <c:idx val="1411"/>
            <c:spPr>
              <a:solidFill>
                <a:srgbClr val="AEABAB"/>
              </a:solidFill>
            </c:spPr>
          </c:dPt>
          <c:dPt>
            <c:idx val="1412"/>
            <c:spPr>
              <a:solidFill>
                <a:srgbClr val="AEABAB"/>
              </a:solidFill>
            </c:spPr>
          </c:dPt>
          <c:dPt>
            <c:idx val="1413"/>
            <c:spPr>
              <a:solidFill>
                <a:srgbClr val="AEABAB"/>
              </a:solidFill>
            </c:spPr>
          </c:dPt>
          <c:dPt>
            <c:idx val="1414"/>
            <c:spPr>
              <a:solidFill>
                <a:srgbClr val="AEABAB"/>
              </a:solidFill>
            </c:spPr>
          </c:dPt>
          <c:dPt>
            <c:idx val="1415"/>
            <c:spPr>
              <a:solidFill>
                <a:srgbClr val="AEABAB"/>
              </a:solidFill>
            </c:spPr>
          </c:dPt>
          <c:dPt>
            <c:idx val="1416"/>
            <c:spPr>
              <a:solidFill>
                <a:srgbClr val="AEABAB"/>
              </a:solidFill>
            </c:spPr>
          </c:dPt>
          <c:dPt>
            <c:idx val="1417"/>
            <c:spPr>
              <a:solidFill>
                <a:srgbClr val="AEABAB"/>
              </a:solidFill>
            </c:spPr>
          </c:dPt>
          <c:dPt>
            <c:idx val="1418"/>
            <c:spPr>
              <a:solidFill>
                <a:srgbClr val="AEABAB"/>
              </a:solidFill>
            </c:spPr>
          </c:dPt>
          <c:dPt>
            <c:idx val="1419"/>
            <c:spPr>
              <a:solidFill>
                <a:srgbClr val="AEABAB"/>
              </a:solidFill>
            </c:spPr>
          </c:dPt>
          <c:dPt>
            <c:idx val="1420"/>
            <c:spPr>
              <a:solidFill>
                <a:srgbClr val="AEABAB"/>
              </a:solidFill>
            </c:spPr>
          </c:dPt>
          <c:dPt>
            <c:idx val="1421"/>
            <c:spPr>
              <a:solidFill>
                <a:srgbClr val="AEABAB"/>
              </a:solidFill>
            </c:spPr>
          </c:dPt>
          <c:dPt>
            <c:idx val="1422"/>
            <c:spPr>
              <a:solidFill>
                <a:srgbClr val="AEABAB"/>
              </a:solidFill>
            </c:spPr>
          </c:dPt>
          <c:dPt>
            <c:idx val="1423"/>
            <c:spPr>
              <a:solidFill>
                <a:srgbClr val="AEABAB"/>
              </a:solidFill>
            </c:spPr>
          </c:dPt>
          <c:dPt>
            <c:idx val="1424"/>
            <c:spPr>
              <a:solidFill>
                <a:srgbClr val="AEABAB"/>
              </a:solidFill>
            </c:spPr>
          </c:dPt>
          <c:dPt>
            <c:idx val="1425"/>
            <c:spPr>
              <a:solidFill>
                <a:srgbClr val="AEABAB"/>
              </a:solidFill>
            </c:spPr>
          </c:dPt>
          <c:dPt>
            <c:idx val="1426"/>
            <c:spPr>
              <a:solidFill>
                <a:srgbClr val="AEABAB"/>
              </a:solidFill>
            </c:spPr>
          </c:dPt>
          <c:dPt>
            <c:idx val="1427"/>
            <c:spPr>
              <a:solidFill>
                <a:srgbClr val="AEABAB"/>
              </a:solidFill>
            </c:spPr>
          </c:dPt>
          <c:dPt>
            <c:idx val="1428"/>
            <c:spPr>
              <a:solidFill>
                <a:srgbClr val="AEABAB"/>
              </a:solidFill>
            </c:spPr>
          </c:dPt>
          <c:dPt>
            <c:idx val="1429"/>
            <c:spPr>
              <a:solidFill>
                <a:srgbClr val="AEABAB"/>
              </a:solidFill>
            </c:spPr>
          </c:dPt>
          <c:dPt>
            <c:idx val="1430"/>
            <c:spPr>
              <a:solidFill>
                <a:srgbClr val="AEABAB"/>
              </a:solidFill>
            </c:spPr>
          </c:dPt>
          <c:dPt>
            <c:idx val="1431"/>
            <c:spPr>
              <a:solidFill>
                <a:srgbClr val="AEABAB"/>
              </a:solidFill>
            </c:spPr>
          </c:dPt>
          <c:dPt>
            <c:idx val="1432"/>
            <c:spPr>
              <a:solidFill>
                <a:srgbClr val="AEABAB"/>
              </a:solidFill>
            </c:spPr>
          </c:dPt>
          <c:dPt>
            <c:idx val="1433"/>
            <c:spPr>
              <a:solidFill>
                <a:srgbClr val="AEABAB"/>
              </a:solidFill>
            </c:spPr>
          </c:dPt>
          <c:dPt>
            <c:idx val="1434"/>
            <c:spPr>
              <a:solidFill>
                <a:srgbClr val="AEABAB"/>
              </a:solidFill>
            </c:spPr>
          </c:dPt>
          <c:dPt>
            <c:idx val="1435"/>
            <c:spPr>
              <a:solidFill>
                <a:srgbClr val="AEABAB"/>
              </a:solidFill>
            </c:spPr>
          </c:dPt>
          <c:dPt>
            <c:idx val="1436"/>
            <c:spPr>
              <a:solidFill>
                <a:srgbClr val="AEABAB"/>
              </a:solidFill>
            </c:spPr>
          </c:dPt>
          <c:dPt>
            <c:idx val="1437"/>
            <c:spPr>
              <a:solidFill>
                <a:srgbClr val="AEABAB"/>
              </a:solidFill>
            </c:spPr>
          </c:dPt>
          <c:dPt>
            <c:idx val="1438"/>
            <c:spPr>
              <a:solidFill>
                <a:srgbClr val="AEABAB"/>
              </a:solidFill>
            </c:spPr>
          </c:dPt>
          <c:dPt>
            <c:idx val="1439"/>
            <c:spPr>
              <a:solidFill>
                <a:srgbClr val="AEABAB"/>
              </a:solidFill>
            </c:spPr>
          </c:dPt>
          <c:dPt>
            <c:idx val="1440"/>
            <c:spPr>
              <a:solidFill>
                <a:srgbClr val="AEABAB"/>
              </a:solidFill>
            </c:spPr>
          </c:dPt>
          <c:dPt>
            <c:idx val="1441"/>
            <c:spPr>
              <a:solidFill>
                <a:srgbClr val="AEABAB"/>
              </a:solidFill>
            </c:spPr>
          </c:dPt>
          <c:dPt>
            <c:idx val="1442"/>
            <c:spPr>
              <a:solidFill>
                <a:srgbClr val="AEABAB"/>
              </a:solidFill>
            </c:spPr>
          </c:dPt>
          <c:dPt>
            <c:idx val="1443"/>
            <c:spPr>
              <a:solidFill>
                <a:srgbClr val="AEABAB"/>
              </a:solidFill>
            </c:spPr>
          </c:dPt>
          <c:dPt>
            <c:idx val="1444"/>
            <c:spPr>
              <a:solidFill>
                <a:srgbClr val="AEABAB"/>
              </a:solidFill>
            </c:spPr>
          </c:dPt>
          <c:dPt>
            <c:idx val="1445"/>
            <c:spPr>
              <a:solidFill>
                <a:srgbClr val="AEABAB"/>
              </a:solidFill>
            </c:spPr>
          </c:dPt>
          <c:dPt>
            <c:idx val="1446"/>
            <c:spPr>
              <a:solidFill>
                <a:srgbClr val="AEABAB"/>
              </a:solidFill>
            </c:spPr>
          </c:dPt>
          <c:dPt>
            <c:idx val="1447"/>
            <c:spPr>
              <a:solidFill>
                <a:srgbClr val="AEABAB"/>
              </a:solidFill>
            </c:spPr>
          </c:dPt>
          <c:dPt>
            <c:idx val="1448"/>
            <c:spPr>
              <a:solidFill>
                <a:srgbClr val="AEABAB"/>
              </a:solidFill>
            </c:spPr>
          </c:dPt>
          <c:dPt>
            <c:idx val="1449"/>
            <c:spPr>
              <a:solidFill>
                <a:srgbClr val="AEABAB"/>
              </a:solidFill>
            </c:spPr>
          </c:dPt>
          <c:dPt>
            <c:idx val="1450"/>
            <c:spPr>
              <a:solidFill>
                <a:srgbClr val="AEABAB"/>
              </a:solidFill>
            </c:spPr>
          </c:dPt>
          <c:dPt>
            <c:idx val="1451"/>
            <c:spPr>
              <a:solidFill>
                <a:srgbClr val="AEABAB"/>
              </a:solidFill>
            </c:spPr>
          </c:dPt>
          <c:dPt>
            <c:idx val="1452"/>
            <c:spPr>
              <a:solidFill>
                <a:srgbClr val="AEABAB"/>
              </a:solidFill>
            </c:spPr>
          </c:dPt>
          <c:dPt>
            <c:idx val="1453"/>
            <c:spPr>
              <a:solidFill>
                <a:srgbClr val="AEABAB"/>
              </a:solidFill>
            </c:spPr>
          </c:dPt>
          <c:dPt>
            <c:idx val="1454"/>
            <c:spPr>
              <a:solidFill>
                <a:srgbClr val="AEABAB"/>
              </a:solidFill>
            </c:spPr>
          </c:dPt>
          <c:dPt>
            <c:idx val="1455"/>
            <c:spPr>
              <a:solidFill>
                <a:srgbClr val="AEABAB"/>
              </a:solidFill>
            </c:spPr>
          </c:dPt>
          <c:dPt>
            <c:idx val="1456"/>
            <c:spPr>
              <a:solidFill>
                <a:srgbClr val="AEABAB"/>
              </a:solidFill>
            </c:spPr>
          </c:dPt>
          <c:dPt>
            <c:idx val="1457"/>
            <c:spPr>
              <a:solidFill>
                <a:srgbClr val="AEABAB"/>
              </a:solidFill>
            </c:spPr>
          </c:dPt>
          <c:dPt>
            <c:idx val="1458"/>
            <c:spPr>
              <a:solidFill>
                <a:srgbClr val="AEABAB"/>
              </a:solidFill>
            </c:spPr>
          </c:dPt>
          <c:dPt>
            <c:idx val="1459"/>
            <c:spPr>
              <a:solidFill>
                <a:srgbClr val="AEABAB"/>
              </a:solidFill>
            </c:spPr>
          </c:dPt>
          <c:dPt>
            <c:idx val="1460"/>
            <c:spPr>
              <a:solidFill>
                <a:srgbClr val="AEABAB"/>
              </a:solidFill>
            </c:spPr>
          </c:dPt>
          <c:dPt>
            <c:idx val="1461"/>
            <c:spPr>
              <a:solidFill>
                <a:srgbClr val="AEABAB"/>
              </a:solidFill>
            </c:spPr>
          </c:dPt>
          <c:dPt>
            <c:idx val="1462"/>
            <c:spPr>
              <a:solidFill>
                <a:srgbClr val="AEABAB"/>
              </a:solidFill>
            </c:spPr>
          </c:dPt>
          <c:dPt>
            <c:idx val="1463"/>
            <c:spPr>
              <a:solidFill>
                <a:srgbClr val="AEABAB"/>
              </a:solidFill>
            </c:spPr>
          </c:dPt>
          <c:dPt>
            <c:idx val="1464"/>
            <c:spPr>
              <a:solidFill>
                <a:srgbClr val="AEABAB"/>
              </a:solidFill>
            </c:spPr>
          </c:dPt>
          <c:dPt>
            <c:idx val="1465"/>
            <c:spPr>
              <a:solidFill>
                <a:srgbClr val="AEABAB"/>
              </a:solidFill>
            </c:spPr>
          </c:dPt>
          <c:dPt>
            <c:idx val="1466"/>
            <c:spPr>
              <a:solidFill>
                <a:srgbClr val="AEABAB"/>
              </a:solidFill>
            </c:spPr>
          </c:dPt>
          <c:dPt>
            <c:idx val="1467"/>
            <c:spPr>
              <a:solidFill>
                <a:srgbClr val="AEABAB"/>
              </a:solidFill>
            </c:spPr>
          </c:dPt>
          <c:dPt>
            <c:idx val="1468"/>
            <c:spPr>
              <a:solidFill>
                <a:srgbClr val="AEABAB"/>
              </a:solidFill>
            </c:spPr>
          </c:dPt>
          <c:dPt>
            <c:idx val="1469"/>
            <c:spPr>
              <a:solidFill>
                <a:srgbClr val="AEABAB"/>
              </a:solidFill>
            </c:spPr>
          </c:dPt>
          <c:dPt>
            <c:idx val="1470"/>
            <c:spPr>
              <a:solidFill>
                <a:srgbClr val="AEABAB"/>
              </a:solidFill>
            </c:spPr>
          </c:dPt>
          <c:dPt>
            <c:idx val="1471"/>
            <c:spPr>
              <a:solidFill>
                <a:srgbClr val="AEABAB"/>
              </a:solidFill>
            </c:spPr>
          </c:dPt>
          <c:dPt>
            <c:idx val="1472"/>
            <c:spPr>
              <a:solidFill>
                <a:srgbClr val="AEABAB"/>
              </a:solidFill>
            </c:spPr>
          </c:dPt>
          <c:dPt>
            <c:idx val="1473"/>
            <c:spPr>
              <a:solidFill>
                <a:srgbClr val="AEABAB"/>
              </a:solidFill>
            </c:spPr>
          </c:dPt>
          <c:dPt>
            <c:idx val="1474"/>
            <c:spPr>
              <a:solidFill>
                <a:srgbClr val="AEABAB"/>
              </a:solidFill>
            </c:spPr>
          </c:dPt>
          <c:dPt>
            <c:idx val="1475"/>
            <c:spPr>
              <a:solidFill>
                <a:srgbClr val="AEABAB"/>
              </a:solidFill>
            </c:spPr>
          </c:dPt>
          <c:dPt>
            <c:idx val="1476"/>
            <c:spPr>
              <a:solidFill>
                <a:srgbClr val="AEABAB"/>
              </a:solidFill>
            </c:spPr>
          </c:dPt>
          <c:dPt>
            <c:idx val="1477"/>
            <c:spPr>
              <a:solidFill>
                <a:srgbClr val="AEABAB"/>
              </a:solidFill>
            </c:spPr>
          </c:dPt>
          <c:dPt>
            <c:idx val="1478"/>
            <c:spPr>
              <a:solidFill>
                <a:srgbClr val="AEABAB"/>
              </a:solidFill>
            </c:spPr>
          </c:dPt>
          <c:dPt>
            <c:idx val="1479"/>
            <c:spPr>
              <a:solidFill>
                <a:srgbClr val="AEABAB"/>
              </a:solidFill>
            </c:spPr>
          </c:dPt>
          <c:dPt>
            <c:idx val="1480"/>
            <c:spPr>
              <a:solidFill>
                <a:srgbClr val="AEABAB"/>
              </a:solidFill>
            </c:spPr>
          </c:dPt>
          <c:dPt>
            <c:idx val="1481"/>
            <c:spPr>
              <a:solidFill>
                <a:srgbClr val="AEABAB"/>
              </a:solidFill>
            </c:spPr>
          </c:dPt>
          <c:dPt>
            <c:idx val="1482"/>
            <c:spPr>
              <a:solidFill>
                <a:srgbClr val="AEABAB"/>
              </a:solidFill>
            </c:spPr>
          </c:dPt>
          <c:dPt>
            <c:idx val="1483"/>
            <c:spPr>
              <a:solidFill>
                <a:srgbClr val="AEABAB"/>
              </a:solidFill>
            </c:spPr>
          </c:dPt>
          <c:dPt>
            <c:idx val="1484"/>
            <c:spPr>
              <a:solidFill>
                <a:srgbClr val="AEABAB"/>
              </a:solidFill>
            </c:spPr>
          </c:dPt>
          <c:dPt>
            <c:idx val="1485"/>
            <c:spPr>
              <a:solidFill>
                <a:srgbClr val="AEABAB"/>
              </a:solidFill>
            </c:spPr>
          </c:dPt>
          <c:dPt>
            <c:idx val="1486"/>
            <c:spPr>
              <a:solidFill>
                <a:srgbClr val="AEABAB"/>
              </a:solidFill>
            </c:spPr>
          </c:dPt>
          <c:dPt>
            <c:idx val="1487"/>
            <c:spPr>
              <a:solidFill>
                <a:srgbClr val="AEABAB"/>
              </a:solidFill>
            </c:spPr>
          </c:dPt>
          <c:dPt>
            <c:idx val="1488"/>
            <c:spPr>
              <a:solidFill>
                <a:srgbClr val="AEABAB"/>
              </a:solidFill>
            </c:spPr>
          </c:dPt>
          <c:dPt>
            <c:idx val="1489"/>
            <c:spPr>
              <a:solidFill>
                <a:srgbClr val="AEABAB"/>
              </a:solidFill>
            </c:spPr>
          </c:dPt>
          <c:dPt>
            <c:idx val="1490"/>
            <c:spPr>
              <a:solidFill>
                <a:srgbClr val="AEABAB"/>
              </a:solidFill>
            </c:spPr>
          </c:dPt>
          <c:dPt>
            <c:idx val="1491"/>
            <c:spPr>
              <a:solidFill>
                <a:srgbClr val="AEABAB"/>
              </a:solidFill>
            </c:spPr>
          </c:dPt>
          <c:dPt>
            <c:idx val="1492"/>
            <c:spPr>
              <a:solidFill>
                <a:srgbClr val="AEABAB"/>
              </a:solidFill>
            </c:spPr>
          </c:dPt>
          <c:dPt>
            <c:idx val="1493"/>
            <c:spPr>
              <a:solidFill>
                <a:srgbClr val="AEABAB"/>
              </a:solidFill>
            </c:spPr>
          </c:dPt>
          <c:dPt>
            <c:idx val="1494"/>
            <c:spPr>
              <a:solidFill>
                <a:srgbClr val="AEABAB"/>
              </a:solidFill>
            </c:spPr>
          </c:dPt>
          <c:dPt>
            <c:idx val="1495"/>
            <c:spPr>
              <a:solidFill>
                <a:srgbClr val="AEABAB"/>
              </a:solidFill>
            </c:spPr>
          </c:dPt>
          <c:dPt>
            <c:idx val="1496"/>
            <c:spPr>
              <a:solidFill>
                <a:srgbClr val="AEABAB"/>
              </a:solidFill>
            </c:spPr>
          </c:dPt>
          <c:dPt>
            <c:idx val="1497"/>
            <c:spPr>
              <a:solidFill>
                <a:srgbClr val="AEABAB"/>
              </a:solidFill>
            </c:spPr>
          </c:dPt>
          <c:dPt>
            <c:idx val="1498"/>
            <c:spPr>
              <a:solidFill>
                <a:srgbClr val="AEABAB"/>
              </a:solidFill>
            </c:spPr>
          </c:dPt>
          <c:dPt>
            <c:idx val="1499"/>
            <c:spPr>
              <a:solidFill>
                <a:srgbClr val="AEABAB"/>
              </a:solidFill>
            </c:spPr>
          </c:dPt>
          <c:dPt>
            <c:idx val="1500"/>
            <c:spPr>
              <a:solidFill>
                <a:srgbClr val="AEABAB"/>
              </a:solidFill>
            </c:spPr>
          </c:dPt>
          <c:dPt>
            <c:idx val="1501"/>
            <c:spPr>
              <a:solidFill>
                <a:srgbClr val="AEABAB"/>
              </a:solidFill>
            </c:spPr>
          </c:dPt>
          <c:dPt>
            <c:idx val="1502"/>
            <c:spPr>
              <a:solidFill>
                <a:srgbClr val="AEABAB"/>
              </a:solidFill>
            </c:spPr>
          </c:dPt>
          <c:dPt>
            <c:idx val="1503"/>
            <c:spPr>
              <a:solidFill>
                <a:srgbClr val="AEABAB"/>
              </a:solidFill>
            </c:spPr>
          </c:dPt>
          <c:dPt>
            <c:idx val="1504"/>
            <c:spPr>
              <a:solidFill>
                <a:srgbClr val="AEABAB"/>
              </a:solidFill>
            </c:spPr>
          </c:dPt>
          <c:dPt>
            <c:idx val="1505"/>
            <c:spPr>
              <a:solidFill>
                <a:srgbClr val="AEABAB"/>
              </a:solidFill>
            </c:spPr>
          </c:dPt>
          <c:dPt>
            <c:idx val="1506"/>
            <c:spPr>
              <a:solidFill>
                <a:srgbClr val="AEABAB"/>
              </a:solidFill>
            </c:spPr>
          </c:dPt>
          <c:dPt>
            <c:idx val="1507"/>
            <c:spPr>
              <a:solidFill>
                <a:srgbClr val="AEABAB"/>
              </a:solidFill>
            </c:spPr>
          </c:dPt>
          <c:dPt>
            <c:idx val="1508"/>
            <c:spPr>
              <a:solidFill>
                <a:srgbClr val="AEABAB"/>
              </a:solidFill>
            </c:spPr>
          </c:dPt>
          <c:dPt>
            <c:idx val="1509"/>
            <c:spPr>
              <a:solidFill>
                <a:srgbClr val="AEABAB"/>
              </a:solidFill>
            </c:spPr>
          </c:dPt>
          <c:dPt>
            <c:idx val="1510"/>
            <c:spPr>
              <a:solidFill>
                <a:srgbClr val="AEABAB"/>
              </a:solidFill>
            </c:spPr>
          </c:dPt>
          <c:dPt>
            <c:idx val="1511"/>
            <c:spPr>
              <a:solidFill>
                <a:srgbClr val="AEABAB"/>
              </a:solidFill>
            </c:spPr>
          </c:dPt>
          <c:dPt>
            <c:idx val="1512"/>
            <c:spPr>
              <a:solidFill>
                <a:srgbClr val="AEABAB"/>
              </a:solidFill>
            </c:spPr>
          </c:dPt>
          <c:dPt>
            <c:idx val="1513"/>
            <c:spPr>
              <a:solidFill>
                <a:srgbClr val="AEABAB"/>
              </a:solidFill>
            </c:spPr>
          </c:dPt>
          <c:dPt>
            <c:idx val="1514"/>
            <c:spPr>
              <a:solidFill>
                <a:srgbClr val="AEABAB"/>
              </a:solidFill>
            </c:spPr>
          </c:dPt>
          <c:dPt>
            <c:idx val="1515"/>
            <c:spPr>
              <a:solidFill>
                <a:srgbClr val="AEABAB"/>
              </a:solidFill>
            </c:spPr>
          </c:dPt>
          <c:dPt>
            <c:idx val="1516"/>
            <c:spPr>
              <a:solidFill>
                <a:srgbClr val="AEABAB"/>
              </a:solidFill>
            </c:spPr>
          </c:dPt>
          <c:dPt>
            <c:idx val="1517"/>
            <c:spPr>
              <a:solidFill>
                <a:srgbClr val="AEABAB"/>
              </a:solidFill>
            </c:spPr>
          </c:dPt>
          <c:dPt>
            <c:idx val="1518"/>
            <c:spPr>
              <a:solidFill>
                <a:srgbClr val="AEABAB"/>
              </a:solidFill>
            </c:spPr>
          </c:dPt>
          <c:dPt>
            <c:idx val="1519"/>
            <c:spPr>
              <a:solidFill>
                <a:srgbClr val="AEABAB"/>
              </a:solidFill>
            </c:spPr>
          </c:dPt>
          <c:dPt>
            <c:idx val="1520"/>
            <c:spPr>
              <a:solidFill>
                <a:srgbClr val="AEABAB"/>
              </a:solidFill>
            </c:spPr>
          </c:dPt>
          <c:cat>
            <c:strRef>
              <c:f>Sheet1!$A$2:$A$1522</c:f>
              <c:strCache>
                <c:ptCount val="1521"/>
                <c:pt idx="0">
                  <c:v>Private Lab</c:v>
                </c:pt>
                <c:pt idx="1">
                  <c:v>Private Lab</c:v>
                </c:pt>
                <c:pt idx="2">
                  <c:v>Private Lab</c:v>
                </c:pt>
                <c:pt idx="3">
                  <c:v>Private Lab</c:v>
                </c:pt>
                <c:pt idx="4">
                  <c:v>Private Lab</c:v>
                </c:pt>
                <c:pt idx="5">
                  <c:v>Caprice Des</c:v>
                </c:pt>
                <c:pt idx="6">
                  <c:v>Private Lab</c:v>
                </c:pt>
                <c:pt idx="7">
                  <c:v>Private Lab</c:v>
                </c:pt>
                <c:pt idx="8">
                  <c:v>Private Lab</c:v>
                </c:pt>
                <c:pt idx="9">
                  <c:v>Mini Babybe</c:v>
                </c:pt>
                <c:pt idx="10">
                  <c:v>Private Lab</c:v>
                </c:pt>
                <c:pt idx="11">
                  <c:v>Private Lab</c:v>
                </c:pt>
                <c:pt idx="12">
                  <c:v>President</c:v>
                </c:pt>
                <c:pt idx="13">
                  <c:v>Richesmonts</c:v>
                </c:pt>
                <c:pt idx="14">
                  <c:v>Private Lab</c:v>
                </c:pt>
                <c:pt idx="15">
                  <c:v>Coeur De Li</c:v>
                </c:pt>
                <c:pt idx="16">
                  <c:v>Private Lab</c:v>
                </c:pt>
                <c:pt idx="17">
                  <c:v>Private Lab</c:v>
                </c:pt>
                <c:pt idx="18">
                  <c:v>Soignon</c:v>
                </c:pt>
                <c:pt idx="19">
                  <c:v>Entremont</c:v>
                </c:pt>
                <c:pt idx="20">
                  <c:v>Chaussee Au</c:v>
                </c:pt>
                <c:pt idx="21">
                  <c:v>Private Lab</c:v>
                </c:pt>
                <c:pt idx="22">
                  <c:v>Caprice Des</c:v>
                </c:pt>
                <c:pt idx="23">
                  <c:v>La Vache Qu</c:v>
                </c:pt>
                <c:pt idx="24">
                  <c:v>Private Lab</c:v>
                </c:pt>
                <c:pt idx="25">
                  <c:v>Private Lab</c:v>
                </c:pt>
                <c:pt idx="26">
                  <c:v>President</c:v>
                </c:pt>
                <c:pt idx="27">
                  <c:v>President</c:v>
                </c:pt>
                <c:pt idx="28">
                  <c:v>Private Lab</c:v>
                </c:pt>
                <c:pt idx="29">
                  <c:v>Private Lab</c:v>
                </c:pt>
                <c:pt idx="30">
                  <c:v>President</c:v>
                </c:pt>
                <c:pt idx="31">
                  <c:v>Leerdammer</c:v>
                </c:pt>
                <c:pt idx="32">
                  <c:v>Entremont</c:v>
                </c:pt>
                <c:pt idx="33">
                  <c:v>Private Lab</c:v>
                </c:pt>
                <c:pt idx="34">
                  <c:v>Private Lab</c:v>
                </c:pt>
                <c:pt idx="35">
                  <c:v>Private Lab</c:v>
                </c:pt>
                <c:pt idx="36">
                  <c:v>Private Lab</c:v>
                </c:pt>
                <c:pt idx="37">
                  <c:v>Private Lab</c:v>
                </c:pt>
                <c:pt idx="38">
                  <c:v>President</c:v>
                </c:pt>
                <c:pt idx="39">
                  <c:v>Soignon</c:v>
                </c:pt>
                <c:pt idx="40">
                  <c:v>St Moret</c:v>
                </c:pt>
                <c:pt idx="41">
                  <c:v>Le Rustique</c:v>
                </c:pt>
                <c:pt idx="42">
                  <c:v>Private Lab</c:v>
                </c:pt>
                <c:pt idx="43">
                  <c:v>St Moret</c:v>
                </c:pt>
                <c:pt idx="44">
                  <c:v>Private Lab</c:v>
                </c:pt>
                <c:pt idx="45">
                  <c:v>All Others</c:v>
                </c:pt>
                <c:pt idx="46">
                  <c:v>Private Lab</c:v>
                </c:pt>
                <c:pt idx="47">
                  <c:v>President</c:v>
                </c:pt>
                <c:pt idx="48">
                  <c:v>La Vache Qu</c:v>
                </c:pt>
                <c:pt idx="49">
                  <c:v>President</c:v>
                </c:pt>
                <c:pt idx="50">
                  <c:v>Societe</c:v>
                </c:pt>
                <c:pt idx="51">
                  <c:v>St Moret</c:v>
                </c:pt>
                <c:pt idx="52">
                  <c:v>Private Lab</c:v>
                </c:pt>
                <c:pt idx="53">
                  <c:v>Private Lab</c:v>
                </c:pt>
                <c:pt idx="54">
                  <c:v>Private Lab</c:v>
                </c:pt>
                <c:pt idx="55">
                  <c:v>Private Lab</c:v>
                </c:pt>
                <c:pt idx="56">
                  <c:v>Coeur De Li</c:v>
                </c:pt>
                <c:pt idx="57">
                  <c:v>La Vache Qu</c:v>
                </c:pt>
                <c:pt idx="58">
                  <c:v>Private Lab</c:v>
                </c:pt>
                <c:pt idx="59">
                  <c:v>Private Lab</c:v>
                </c:pt>
                <c:pt idx="60">
                  <c:v>Chaussee Au</c:v>
                </c:pt>
                <c:pt idx="61">
                  <c:v>Entremont</c:v>
                </c:pt>
                <c:pt idx="62">
                  <c:v>St Moret</c:v>
                </c:pt>
                <c:pt idx="63">
                  <c:v>Tartare</c:v>
                </c:pt>
                <c:pt idx="64">
                  <c:v>Mini Babybe</c:v>
                </c:pt>
                <c:pt idx="65">
                  <c:v>Private Lab</c:v>
                </c:pt>
                <c:pt idx="66">
                  <c:v>Private Lab</c:v>
                </c:pt>
                <c:pt idx="67">
                  <c:v>Soignon</c:v>
                </c:pt>
                <c:pt idx="68">
                  <c:v>President</c:v>
                </c:pt>
                <c:pt idx="69">
                  <c:v>Saint Agur</c:v>
                </c:pt>
                <c:pt idx="70">
                  <c:v>Leerdammer</c:v>
                </c:pt>
                <c:pt idx="71">
                  <c:v>Entremont</c:v>
                </c:pt>
                <c:pt idx="72">
                  <c:v>Bresse Bleu</c:v>
                </c:pt>
                <c:pt idx="73">
                  <c:v>Entremont</c:v>
                </c:pt>
                <c:pt idx="74">
                  <c:v>Private Lab</c:v>
                </c:pt>
                <c:pt idx="75">
                  <c:v>Private Lab</c:v>
                </c:pt>
                <c:pt idx="76">
                  <c:v>Galbani</c:v>
                </c:pt>
                <c:pt idx="77">
                  <c:v>Kiri</c:v>
                </c:pt>
                <c:pt idx="78">
                  <c:v>Private Lab</c:v>
                </c:pt>
                <c:pt idx="79">
                  <c:v>Juraflore</c:v>
                </c:pt>
                <c:pt idx="80">
                  <c:v>Saint Albra</c:v>
                </c:pt>
                <c:pt idx="81">
                  <c:v>Kiri</c:v>
                </c:pt>
                <c:pt idx="82">
                  <c:v>Private Lab</c:v>
                </c:pt>
                <c:pt idx="83">
                  <c:v>Apericube</c:v>
                </c:pt>
                <c:pt idx="84">
                  <c:v>Leerdammer</c:v>
                </c:pt>
                <c:pt idx="85">
                  <c:v>President</c:v>
                </c:pt>
                <c:pt idx="86">
                  <c:v>Private Lab</c:v>
                </c:pt>
                <c:pt idx="87">
                  <c:v>Galbani</c:v>
                </c:pt>
                <c:pt idx="88">
                  <c:v>Ficello</c:v>
                </c:pt>
                <c:pt idx="89">
                  <c:v>Private Lab</c:v>
                </c:pt>
                <c:pt idx="90">
                  <c:v>President</c:v>
                </c:pt>
                <c:pt idx="91">
                  <c:v>Richesmonts</c:v>
                </c:pt>
                <c:pt idx="92">
                  <c:v>Richesmonts</c:v>
                </c:pt>
                <c:pt idx="93">
                  <c:v>Entremont</c:v>
                </c:pt>
                <c:pt idx="94">
                  <c:v>Entremont</c:v>
                </c:pt>
                <c:pt idx="95">
                  <c:v>Galbani</c:v>
                </c:pt>
                <c:pt idx="96">
                  <c:v>President</c:v>
                </c:pt>
                <c:pt idx="97">
                  <c:v>President</c:v>
                </c:pt>
                <c:pt idx="98">
                  <c:v>Salakis</c:v>
                </c:pt>
                <c:pt idx="99">
                  <c:v>Private Lab</c:v>
                </c:pt>
                <c:pt idx="100">
                  <c:v>Apericube</c:v>
                </c:pt>
                <c:pt idx="101">
                  <c:v>Private Lab</c:v>
                </c:pt>
                <c:pt idx="102">
                  <c:v>Private Lab</c:v>
                </c:pt>
                <c:pt idx="103">
                  <c:v>Private Lab</c:v>
                </c:pt>
                <c:pt idx="104">
                  <c:v>L'Ortolan</c:v>
                </c:pt>
                <c:pt idx="105">
                  <c:v>Private Lab</c:v>
                </c:pt>
                <c:pt idx="106">
                  <c:v>Private Lab</c:v>
                </c:pt>
                <c:pt idx="107">
                  <c:v>Entremont</c:v>
                </c:pt>
                <c:pt idx="108">
                  <c:v>Private Lab</c:v>
                </c:pt>
                <c:pt idx="109">
                  <c:v>Private Lab</c:v>
                </c:pt>
                <c:pt idx="110">
                  <c:v>Apericube</c:v>
                </c:pt>
                <c:pt idx="111">
                  <c:v>Private Lab</c:v>
                </c:pt>
                <c:pt idx="112">
                  <c:v>Pochat</c:v>
                </c:pt>
                <c:pt idx="113">
                  <c:v>Leerdammer</c:v>
                </c:pt>
                <c:pt idx="114">
                  <c:v>Paysan Bret</c:v>
                </c:pt>
                <c:pt idx="115">
                  <c:v>Private Lab</c:v>
                </c:pt>
                <c:pt idx="116">
                  <c:v>Private Lab</c:v>
                </c:pt>
                <c:pt idx="117">
                  <c:v>Istara</c:v>
                </c:pt>
                <c:pt idx="118">
                  <c:v>Private Lab</c:v>
                </c:pt>
                <c:pt idx="119">
                  <c:v>Private Lab</c:v>
                </c:pt>
                <c:pt idx="120">
                  <c:v>Private Lab</c:v>
                </c:pt>
                <c:pt idx="121">
                  <c:v>Private Lab</c:v>
                </c:pt>
                <c:pt idx="122">
                  <c:v>Saint Agur</c:v>
                </c:pt>
                <c:pt idx="123">
                  <c:v>Saint Albra</c:v>
                </c:pt>
                <c:pt idx="124">
                  <c:v>Private Lab</c:v>
                </c:pt>
                <c:pt idx="125">
                  <c:v>Entremont</c:v>
                </c:pt>
                <c:pt idx="126">
                  <c:v>Private Lab</c:v>
                </c:pt>
                <c:pt idx="127">
                  <c:v>Leerdammer</c:v>
                </c:pt>
                <c:pt idx="128">
                  <c:v>L'Ortolan</c:v>
                </c:pt>
                <c:pt idx="129">
                  <c:v>Boursin</c:v>
                </c:pt>
                <c:pt idx="130">
                  <c:v>St Moret</c:v>
                </c:pt>
                <c:pt idx="131">
                  <c:v>Private Lab</c:v>
                </c:pt>
                <c:pt idx="132">
                  <c:v>President</c:v>
                </c:pt>
                <c:pt idx="133">
                  <c:v>Entremont</c:v>
                </c:pt>
                <c:pt idx="134">
                  <c:v>Casa Azzurr</c:v>
                </c:pt>
                <c:pt idx="135">
                  <c:v>Paysan Bret</c:v>
                </c:pt>
                <c:pt idx="136">
                  <c:v>Philadelphi</c:v>
                </c:pt>
                <c:pt idx="137">
                  <c:v>Private Lab</c:v>
                </c:pt>
                <c:pt idx="138">
                  <c:v>Galbani</c:v>
                </c:pt>
                <c:pt idx="139">
                  <c:v>Apericube</c:v>
                </c:pt>
                <c:pt idx="140">
                  <c:v>Apericube</c:v>
                </c:pt>
                <c:pt idx="141">
                  <c:v>Parmareggio</c:v>
                </c:pt>
                <c:pt idx="142">
                  <c:v>Kiri</c:v>
                </c:pt>
                <c:pt idx="143">
                  <c:v>President</c:v>
                </c:pt>
                <c:pt idx="144">
                  <c:v>Lou Perac</c:v>
                </c:pt>
                <c:pt idx="145">
                  <c:v>Galbani</c:v>
                </c:pt>
                <c:pt idx="146">
                  <c:v>Tartare</c:v>
                </c:pt>
                <c:pt idx="147">
                  <c:v>Boursin</c:v>
                </c:pt>
                <c:pt idx="148">
                  <c:v>Entremont</c:v>
                </c:pt>
                <c:pt idx="149">
                  <c:v>Private Lab</c:v>
                </c:pt>
                <c:pt idx="150">
                  <c:v>Galbani</c:v>
                </c:pt>
                <c:pt idx="151">
                  <c:v>Private Lab</c:v>
                </c:pt>
                <c:pt idx="152">
                  <c:v>All Others</c:v>
                </c:pt>
                <c:pt idx="153">
                  <c:v>Leerdammer</c:v>
                </c:pt>
                <c:pt idx="154">
                  <c:v>All Others</c:v>
                </c:pt>
                <c:pt idx="155">
                  <c:v>Islos</c:v>
                </c:pt>
                <c:pt idx="156">
                  <c:v>Mini Babybe</c:v>
                </c:pt>
                <c:pt idx="157">
                  <c:v>Private Lab</c:v>
                </c:pt>
                <c:pt idx="158">
                  <c:v>Lepetit</c:v>
                </c:pt>
                <c:pt idx="159">
                  <c:v>Caprice Des</c:v>
                </c:pt>
                <c:pt idx="160">
                  <c:v>Boursin</c:v>
                </c:pt>
                <c:pt idx="161">
                  <c:v>Private Lab</c:v>
                </c:pt>
                <c:pt idx="162">
                  <c:v>Private Lab</c:v>
                </c:pt>
                <c:pt idx="163">
                  <c:v>Entremont</c:v>
                </c:pt>
                <c:pt idx="164">
                  <c:v>Leerdammer</c:v>
                </c:pt>
                <c:pt idx="165">
                  <c:v>Salakis</c:v>
                </c:pt>
                <c:pt idx="166">
                  <c:v>Port Salut</c:v>
                </c:pt>
                <c:pt idx="167">
                  <c:v>Galbani</c:v>
                </c:pt>
                <c:pt idx="168">
                  <c:v>President</c:v>
                </c:pt>
                <c:pt idx="169">
                  <c:v>President</c:v>
                </c:pt>
                <c:pt idx="170">
                  <c:v>Richesmonts</c:v>
                </c:pt>
                <c:pt idx="171">
                  <c:v>All Others</c:v>
                </c:pt>
                <c:pt idx="172">
                  <c:v>Coeur De Li</c:v>
                </c:pt>
                <c:pt idx="173">
                  <c:v>Boursin</c:v>
                </c:pt>
                <c:pt idx="174">
                  <c:v>President</c:v>
                </c:pt>
                <c:pt idx="175">
                  <c:v>Private Lab</c:v>
                </c:pt>
                <c:pt idx="176">
                  <c:v>Private Lab</c:v>
                </c:pt>
                <c:pt idx="177">
                  <c:v>Entremont</c:v>
                </c:pt>
                <c:pt idx="178">
                  <c:v>Kiri</c:v>
                </c:pt>
                <c:pt idx="179">
                  <c:v>Apericube</c:v>
                </c:pt>
                <c:pt idx="180">
                  <c:v>President</c:v>
                </c:pt>
                <c:pt idx="181">
                  <c:v>Private Lab</c:v>
                </c:pt>
                <c:pt idx="182">
                  <c:v>Carre Frais</c:v>
                </c:pt>
                <c:pt idx="183">
                  <c:v>President</c:v>
                </c:pt>
                <c:pt idx="184">
                  <c:v>Private Lab</c:v>
                </c:pt>
                <c:pt idx="185">
                  <c:v>Richesmonts</c:v>
                </c:pt>
                <c:pt idx="186">
                  <c:v>Carre Frais</c:v>
                </c:pt>
                <c:pt idx="187">
                  <c:v>Entremont</c:v>
                </c:pt>
                <c:pt idx="188">
                  <c:v>Coeur De Li</c:v>
                </c:pt>
                <c:pt idx="189">
                  <c:v>Coeur De Li</c:v>
                </c:pt>
                <c:pt idx="190">
                  <c:v>Private Lab</c:v>
                </c:pt>
                <c:pt idx="191">
                  <c:v>St Moret</c:v>
                </c:pt>
                <c:pt idx="192">
                  <c:v>Private Lab</c:v>
                </c:pt>
                <c:pt idx="193">
                  <c:v>Private Lab</c:v>
                </c:pt>
                <c:pt idx="194">
                  <c:v>All Others</c:v>
                </c:pt>
                <c:pt idx="195">
                  <c:v>Private Lab</c:v>
                </c:pt>
                <c:pt idx="196">
                  <c:v>Private Lab</c:v>
                </c:pt>
                <c:pt idx="197">
                  <c:v>Casa Azzurr</c:v>
                </c:pt>
                <c:pt idx="198">
                  <c:v>Pave D'Affi</c:v>
                </c:pt>
                <c:pt idx="199">
                  <c:v>Saint Agur</c:v>
                </c:pt>
                <c:pt idx="200">
                  <c:v>Saint Agur</c:v>
                </c:pt>
                <c:pt idx="201">
                  <c:v>Private Lab</c:v>
                </c:pt>
                <c:pt idx="202">
                  <c:v>Apericube</c:v>
                </c:pt>
                <c:pt idx="203">
                  <c:v>President</c:v>
                </c:pt>
                <c:pt idx="204">
                  <c:v>All Others</c:v>
                </c:pt>
                <c:pt idx="205">
                  <c:v>All Others</c:v>
                </c:pt>
                <c:pt idx="206">
                  <c:v>Galbani</c:v>
                </c:pt>
                <c:pt idx="207">
                  <c:v>President</c:v>
                </c:pt>
                <c:pt idx="208">
                  <c:v>Kiri</c:v>
                </c:pt>
                <c:pt idx="209">
                  <c:v>Salakis</c:v>
                </c:pt>
                <c:pt idx="210">
                  <c:v>Vieux Pane</c:v>
                </c:pt>
                <c:pt idx="211">
                  <c:v>Soignon</c:v>
                </c:pt>
                <c:pt idx="212">
                  <c:v>Private Lab</c:v>
                </c:pt>
                <c:pt idx="213">
                  <c:v>Private Lab</c:v>
                </c:pt>
                <c:pt idx="214">
                  <c:v>All Others</c:v>
                </c:pt>
                <c:pt idx="215">
                  <c:v>Private Lab</c:v>
                </c:pt>
                <c:pt idx="216">
                  <c:v>Saint Agur</c:v>
                </c:pt>
                <c:pt idx="217">
                  <c:v>Private Lab</c:v>
                </c:pt>
                <c:pt idx="218">
                  <c:v>Private Lab</c:v>
                </c:pt>
                <c:pt idx="219">
                  <c:v>Private Lab</c:v>
                </c:pt>
                <c:pt idx="220">
                  <c:v>President</c:v>
                </c:pt>
                <c:pt idx="221">
                  <c:v>Pochat</c:v>
                </c:pt>
                <c:pt idx="222">
                  <c:v>Apericube</c:v>
                </c:pt>
                <c:pt idx="223">
                  <c:v>Private Lab</c:v>
                </c:pt>
                <c:pt idx="224">
                  <c:v>Casa Azzurr</c:v>
                </c:pt>
                <c:pt idx="225">
                  <c:v>Lactalis: A</c:v>
                </c:pt>
                <c:pt idx="226">
                  <c:v>Private Lab</c:v>
                </c:pt>
                <c:pt idx="227">
                  <c:v>Societe</c:v>
                </c:pt>
                <c:pt idx="228">
                  <c:v>All Others</c:v>
                </c:pt>
                <c:pt idx="229">
                  <c:v>Private Lab</c:v>
                </c:pt>
                <c:pt idx="230">
                  <c:v>Istara</c:v>
                </c:pt>
                <c:pt idx="231">
                  <c:v>Private Lab</c:v>
                </c:pt>
                <c:pt idx="232">
                  <c:v>Private Lab</c:v>
                </c:pt>
                <c:pt idx="233">
                  <c:v>Entremont</c:v>
                </c:pt>
                <c:pt idx="234">
                  <c:v>Private Lab</c:v>
                </c:pt>
                <c:pt idx="235">
                  <c:v>La Vache Qu</c:v>
                </c:pt>
                <c:pt idx="236">
                  <c:v>Casa Azzurr</c:v>
                </c:pt>
                <c:pt idx="237">
                  <c:v>Private Lab</c:v>
                </c:pt>
                <c:pt idx="238">
                  <c:v>All Others</c:v>
                </c:pt>
                <c:pt idx="239">
                  <c:v>Petit Billy</c:v>
                </c:pt>
                <c:pt idx="240">
                  <c:v>Richesmonts</c:v>
                </c:pt>
                <c:pt idx="241">
                  <c:v>Babybel</c:v>
                </c:pt>
                <c:pt idx="242">
                  <c:v>Soignon</c:v>
                </c:pt>
                <c:pt idx="243">
                  <c:v>Private Lab</c:v>
                </c:pt>
                <c:pt idx="244">
                  <c:v>Tartare</c:v>
                </c:pt>
                <c:pt idx="245">
                  <c:v>Private Lab</c:v>
                </c:pt>
                <c:pt idx="246">
                  <c:v>Private Lab</c:v>
                </c:pt>
                <c:pt idx="247">
                  <c:v>President</c:v>
                </c:pt>
                <c:pt idx="248">
                  <c:v>Private Lab</c:v>
                </c:pt>
                <c:pt idx="249">
                  <c:v>Entremont</c:v>
                </c:pt>
                <c:pt idx="250">
                  <c:v>Richesmonts</c:v>
                </c:pt>
                <c:pt idx="251">
                  <c:v>Private Lab</c:v>
                </c:pt>
                <c:pt idx="252">
                  <c:v>La Vache Qu</c:v>
                </c:pt>
                <c:pt idx="253">
                  <c:v>St Moret</c:v>
                </c:pt>
                <c:pt idx="254">
                  <c:v>Aperivrais</c:v>
                </c:pt>
                <c:pt idx="255">
                  <c:v>Le Rustique</c:v>
                </c:pt>
                <c:pt idx="256">
                  <c:v>President</c:v>
                </c:pt>
                <c:pt idx="257">
                  <c:v>Boursin</c:v>
                </c:pt>
                <c:pt idx="258">
                  <c:v>Private Lab</c:v>
                </c:pt>
                <c:pt idx="259">
                  <c:v>President</c:v>
                </c:pt>
                <c:pt idx="260">
                  <c:v>Cousteron</c:v>
                </c:pt>
                <c:pt idx="261">
                  <c:v>Entremont</c:v>
                </c:pt>
                <c:pt idx="262">
                  <c:v>Societe</c:v>
                </c:pt>
                <c:pt idx="263">
                  <c:v>Private Lab</c:v>
                </c:pt>
                <c:pt idx="264">
                  <c:v>St Moret</c:v>
                </c:pt>
                <c:pt idx="265">
                  <c:v>Private Lab</c:v>
                </c:pt>
                <c:pt idx="266">
                  <c:v>Entremont</c:v>
                </c:pt>
                <c:pt idx="267">
                  <c:v>Lactalis: A</c:v>
                </c:pt>
                <c:pt idx="268">
                  <c:v>Private Lab</c:v>
                </c:pt>
                <c:pt idx="269">
                  <c:v>Private Lab</c:v>
                </c:pt>
                <c:pt idx="270">
                  <c:v>Soignon</c:v>
                </c:pt>
                <c:pt idx="271">
                  <c:v>Apericube</c:v>
                </c:pt>
                <c:pt idx="272">
                  <c:v>Private Lab</c:v>
                </c:pt>
                <c:pt idx="273">
                  <c:v>Private Lab</c:v>
                </c:pt>
                <c:pt idx="274">
                  <c:v>Societe</c:v>
                </c:pt>
                <c:pt idx="275">
                  <c:v>Le Rustique</c:v>
                </c:pt>
                <c:pt idx="276">
                  <c:v>Fauquet</c:v>
                </c:pt>
                <c:pt idx="277">
                  <c:v>Savencia: A</c:v>
                </c:pt>
                <c:pt idx="278">
                  <c:v>Coeur De Li</c:v>
                </c:pt>
                <c:pt idx="279">
                  <c:v>Private Lab</c:v>
                </c:pt>
                <c:pt idx="280">
                  <c:v>Entremont</c:v>
                </c:pt>
                <c:pt idx="281">
                  <c:v>Casa Azzurr</c:v>
                </c:pt>
                <c:pt idx="282">
                  <c:v>Casa Azzurr</c:v>
                </c:pt>
                <c:pt idx="283">
                  <c:v>Private Lab</c:v>
                </c:pt>
                <c:pt idx="284">
                  <c:v>Soignon</c:v>
                </c:pt>
                <c:pt idx="285">
                  <c:v>Private Lab</c:v>
                </c:pt>
                <c:pt idx="286">
                  <c:v>Private Lab</c:v>
                </c:pt>
                <c:pt idx="287">
                  <c:v>Private Lab</c:v>
                </c:pt>
                <c:pt idx="288">
                  <c:v>Private Lab</c:v>
                </c:pt>
                <c:pt idx="289">
                  <c:v>Leerdammer</c:v>
                </c:pt>
                <c:pt idx="290">
                  <c:v>Richesmonts</c:v>
                </c:pt>
                <c:pt idx="291">
                  <c:v>Casa Azzurr</c:v>
                </c:pt>
                <c:pt idx="292">
                  <c:v>Caprice Des</c:v>
                </c:pt>
                <c:pt idx="293">
                  <c:v>Savencia: A</c:v>
                </c:pt>
                <c:pt idx="294">
                  <c:v>Private Lab</c:v>
                </c:pt>
                <c:pt idx="295">
                  <c:v>Ficello</c:v>
                </c:pt>
                <c:pt idx="296">
                  <c:v>Private Lab</c:v>
                </c:pt>
                <c:pt idx="297">
                  <c:v>Private Lab</c:v>
                </c:pt>
                <c:pt idx="298">
                  <c:v>Private Lab</c:v>
                </c:pt>
                <c:pt idx="299">
                  <c:v>Apericube</c:v>
                </c:pt>
                <c:pt idx="300">
                  <c:v>Pave D'Affi</c:v>
                </c:pt>
                <c:pt idx="301">
                  <c:v>Philadelphi</c:v>
                </c:pt>
                <c:pt idx="302">
                  <c:v>Galbani</c:v>
                </c:pt>
                <c:pt idx="303">
                  <c:v>Private Lab</c:v>
                </c:pt>
                <c:pt idx="304">
                  <c:v>Leerdammer</c:v>
                </c:pt>
                <c:pt idx="305">
                  <c:v>Private Lab</c:v>
                </c:pt>
                <c:pt idx="306">
                  <c:v>Galbani</c:v>
                </c:pt>
                <c:pt idx="307">
                  <c:v>All Others</c:v>
                </c:pt>
                <c:pt idx="308">
                  <c:v>Private Lab</c:v>
                </c:pt>
                <c:pt idx="309">
                  <c:v>President</c:v>
                </c:pt>
                <c:pt idx="310">
                  <c:v>Etorki</c:v>
                </c:pt>
                <c:pt idx="311">
                  <c:v>Paysan Bret</c:v>
                </c:pt>
                <c:pt idx="312">
                  <c:v>Bresse Bleu</c:v>
                </c:pt>
                <c:pt idx="313">
                  <c:v>P'Tit Louis</c:v>
                </c:pt>
                <c:pt idx="314">
                  <c:v>Ficello</c:v>
                </c:pt>
                <c:pt idx="315">
                  <c:v>Galbani</c:v>
                </c:pt>
                <c:pt idx="316">
                  <c:v>Private Lab</c:v>
                </c:pt>
                <c:pt idx="317">
                  <c:v>Private Lab</c:v>
                </c:pt>
                <c:pt idx="318">
                  <c:v>All Others</c:v>
                </c:pt>
                <c:pt idx="319">
                  <c:v>All Others</c:v>
                </c:pt>
                <c:pt idx="320">
                  <c:v>Private Lab</c:v>
                </c:pt>
                <c:pt idx="321">
                  <c:v>St Moret</c:v>
                </c:pt>
                <c:pt idx="322">
                  <c:v>Private Lab</c:v>
                </c:pt>
                <c:pt idx="323">
                  <c:v>Private Lab</c:v>
                </c:pt>
                <c:pt idx="324">
                  <c:v>Fol Epi</c:v>
                </c:pt>
                <c:pt idx="325">
                  <c:v>Private Lab</c:v>
                </c:pt>
                <c:pt idx="326">
                  <c:v>Private Lab</c:v>
                </c:pt>
                <c:pt idx="327">
                  <c:v>Private Lab</c:v>
                </c:pt>
                <c:pt idx="328">
                  <c:v>Le Rustique</c:v>
                </c:pt>
                <c:pt idx="329">
                  <c:v>Pave D'Affi</c:v>
                </c:pt>
                <c:pt idx="330">
                  <c:v>Richesmonts</c:v>
                </c:pt>
                <c:pt idx="331">
                  <c:v>All Others</c:v>
                </c:pt>
                <c:pt idx="332">
                  <c:v>Parmareggio</c:v>
                </c:pt>
                <c:pt idx="333">
                  <c:v>Chavroux</c:v>
                </c:pt>
                <c:pt idx="334">
                  <c:v>Soignon</c:v>
                </c:pt>
                <c:pt idx="335">
                  <c:v>Lactalis: A</c:v>
                </c:pt>
                <c:pt idx="336">
                  <c:v>Private Lab</c:v>
                </c:pt>
                <c:pt idx="337">
                  <c:v>Private Lab</c:v>
                </c:pt>
                <c:pt idx="338">
                  <c:v>Casa Azzurr</c:v>
                </c:pt>
                <c:pt idx="339">
                  <c:v>Private Lab</c:v>
                </c:pt>
                <c:pt idx="340">
                  <c:v>Private Lab</c:v>
                </c:pt>
                <c:pt idx="341">
                  <c:v>Salakis</c:v>
                </c:pt>
                <c:pt idx="342">
                  <c:v>Boursin</c:v>
                </c:pt>
                <c:pt idx="343">
                  <c:v>Private Lab</c:v>
                </c:pt>
                <c:pt idx="344">
                  <c:v>Boursin</c:v>
                </c:pt>
                <c:pt idx="345">
                  <c:v>Private Lab</c:v>
                </c:pt>
                <c:pt idx="346">
                  <c:v>Paysan Bret</c:v>
                </c:pt>
                <c:pt idx="347">
                  <c:v>Soignon</c:v>
                </c:pt>
                <c:pt idx="348">
                  <c:v>Savencia: A</c:v>
                </c:pt>
                <c:pt idx="349">
                  <c:v>Boursin</c:v>
                </c:pt>
                <c:pt idx="350">
                  <c:v>President</c:v>
                </c:pt>
                <c:pt idx="351">
                  <c:v>President</c:v>
                </c:pt>
                <c:pt idx="352">
                  <c:v>Paysan Bret</c:v>
                </c:pt>
                <c:pt idx="353">
                  <c:v>Salakis</c:v>
                </c:pt>
                <c:pt idx="354">
                  <c:v>Aperivrais</c:v>
                </c:pt>
                <c:pt idx="355">
                  <c:v>Boursin</c:v>
                </c:pt>
                <c:pt idx="356">
                  <c:v>Private Lab</c:v>
                </c:pt>
                <c:pt idx="357">
                  <c:v>President</c:v>
                </c:pt>
                <c:pt idx="358">
                  <c:v>Casa Azzurr</c:v>
                </c:pt>
                <c:pt idx="359">
                  <c:v>Tartare</c:v>
                </c:pt>
                <c:pt idx="360">
                  <c:v>Private Lab</c:v>
                </c:pt>
                <c:pt idx="361">
                  <c:v>Private Lab</c:v>
                </c:pt>
                <c:pt idx="362">
                  <c:v>Milleret: A</c:v>
                </c:pt>
                <c:pt idx="363">
                  <c:v>Carre Frais</c:v>
                </c:pt>
                <c:pt idx="364">
                  <c:v>Le Brebiou</c:v>
                </c:pt>
                <c:pt idx="365">
                  <c:v>Galbani</c:v>
                </c:pt>
                <c:pt idx="366">
                  <c:v>Private Lab</c:v>
                </c:pt>
                <c:pt idx="367">
                  <c:v>Societe</c:v>
                </c:pt>
                <c:pt idx="368">
                  <c:v>Galbani</c:v>
                </c:pt>
                <c:pt idx="369">
                  <c:v>Casa Azzurr</c:v>
                </c:pt>
                <c:pt idx="370">
                  <c:v>Private Lab</c:v>
                </c:pt>
                <c:pt idx="371">
                  <c:v>Societe</c:v>
                </c:pt>
                <c:pt idx="372">
                  <c:v>Pave D'Affi</c:v>
                </c:pt>
                <c:pt idx="373">
                  <c:v>L'Ortolan</c:v>
                </c:pt>
                <c:pt idx="374">
                  <c:v>Private Lab</c:v>
                </c:pt>
                <c:pt idx="375">
                  <c:v>Aperivrais</c:v>
                </c:pt>
                <c:pt idx="376">
                  <c:v>Soignon</c:v>
                </c:pt>
                <c:pt idx="377">
                  <c:v>Private Lab</c:v>
                </c:pt>
                <c:pt idx="378">
                  <c:v>Soignon</c:v>
                </c:pt>
                <c:pt idx="379">
                  <c:v>Paysan Bret</c:v>
                </c:pt>
                <c:pt idx="380">
                  <c:v>Entremont</c:v>
                </c:pt>
                <c:pt idx="381">
                  <c:v>Pave D'Affi</c:v>
                </c:pt>
                <c:pt idx="382">
                  <c:v>St Moret</c:v>
                </c:pt>
                <c:pt idx="383">
                  <c:v>Private Lab</c:v>
                </c:pt>
                <c:pt idx="384">
                  <c:v>Private Lab</c:v>
                </c:pt>
                <c:pt idx="385">
                  <c:v>Private Lab</c:v>
                </c:pt>
                <c:pt idx="386">
                  <c:v>Boursin</c:v>
                </c:pt>
                <c:pt idx="387">
                  <c:v>Private Lab</c:v>
                </c:pt>
                <c:pt idx="388">
                  <c:v>Private Lab</c:v>
                </c:pt>
                <c:pt idx="389">
                  <c:v>All Others</c:v>
                </c:pt>
                <c:pt idx="390">
                  <c:v>La Vache Qu</c:v>
                </c:pt>
                <c:pt idx="391">
                  <c:v>Private Lab</c:v>
                </c:pt>
                <c:pt idx="392">
                  <c:v>Private Lab</c:v>
                </c:pt>
                <c:pt idx="393">
                  <c:v>Private Lab</c:v>
                </c:pt>
                <c:pt idx="394">
                  <c:v>All Others</c:v>
                </c:pt>
                <c:pt idx="395">
                  <c:v>Private Lab</c:v>
                </c:pt>
                <c:pt idx="396">
                  <c:v>All Others</c:v>
                </c:pt>
                <c:pt idx="397">
                  <c:v>Galbani</c:v>
                </c:pt>
                <c:pt idx="398">
                  <c:v>Mini Babybe</c:v>
                </c:pt>
                <c:pt idx="399">
                  <c:v>Etorki</c:v>
                </c:pt>
                <c:pt idx="400">
                  <c:v>Galbani</c:v>
                </c:pt>
                <c:pt idx="401">
                  <c:v>Tartare</c:v>
                </c:pt>
                <c:pt idx="402">
                  <c:v>Caprice Des</c:v>
                </c:pt>
                <c:pt idx="403">
                  <c:v>Chavroux</c:v>
                </c:pt>
                <c:pt idx="404">
                  <c:v>Private Lab</c:v>
                </c:pt>
                <c:pt idx="405">
                  <c:v>Private Lab</c:v>
                </c:pt>
                <c:pt idx="406">
                  <c:v>All Others</c:v>
                </c:pt>
                <c:pt idx="407">
                  <c:v>Private Lab</c:v>
                </c:pt>
                <c:pt idx="408">
                  <c:v>President</c:v>
                </c:pt>
                <c:pt idx="409">
                  <c:v>Societe</c:v>
                </c:pt>
                <c:pt idx="410">
                  <c:v>Private Lab</c:v>
                </c:pt>
                <c:pt idx="411">
                  <c:v>Boursin</c:v>
                </c:pt>
                <c:pt idx="412">
                  <c:v>Private Lab</c:v>
                </c:pt>
                <c:pt idx="413">
                  <c:v>All Others</c:v>
                </c:pt>
                <c:pt idx="414">
                  <c:v>Private Lab</c:v>
                </c:pt>
                <c:pt idx="415">
                  <c:v>Private Lab</c:v>
                </c:pt>
                <c:pt idx="416">
                  <c:v>Lactalis: A</c:v>
                </c:pt>
                <c:pt idx="417">
                  <c:v>Galbani</c:v>
                </c:pt>
                <c:pt idx="418">
                  <c:v>Soignon</c:v>
                </c:pt>
                <c:pt idx="419">
                  <c:v>Private Lab</c:v>
                </c:pt>
                <c:pt idx="420">
                  <c:v>Soignon</c:v>
                </c:pt>
                <c:pt idx="421">
                  <c:v>Casa Azzurr</c:v>
                </c:pt>
                <c:pt idx="422">
                  <c:v>La Belle Et</c:v>
                </c:pt>
                <c:pt idx="423">
                  <c:v>Private Lab</c:v>
                </c:pt>
                <c:pt idx="424">
                  <c:v>Private Lab</c:v>
                </c:pt>
                <c:pt idx="425">
                  <c:v>Apericube</c:v>
                </c:pt>
                <c:pt idx="426">
                  <c:v>Private Lab</c:v>
                </c:pt>
                <c:pt idx="427">
                  <c:v>La Belle Et</c:v>
                </c:pt>
                <c:pt idx="428">
                  <c:v>President</c:v>
                </c:pt>
                <c:pt idx="429">
                  <c:v>Private Lab</c:v>
                </c:pt>
                <c:pt idx="430">
                  <c:v>Boursin</c:v>
                </c:pt>
                <c:pt idx="431">
                  <c:v>Mini Babybe</c:v>
                </c:pt>
                <c:pt idx="432">
                  <c:v>Paysan Bret</c:v>
                </c:pt>
                <c:pt idx="433">
                  <c:v>Paturages</c:v>
                </c:pt>
                <c:pt idx="434">
                  <c:v>All Others</c:v>
                </c:pt>
                <c:pt idx="435">
                  <c:v>Lou Perac</c:v>
                </c:pt>
                <c:pt idx="436">
                  <c:v>Private Lab</c:v>
                </c:pt>
                <c:pt idx="437">
                  <c:v>Leerdammer</c:v>
                </c:pt>
                <c:pt idx="438">
                  <c:v>Private Lab</c:v>
                </c:pt>
                <c:pt idx="439">
                  <c:v>President</c:v>
                </c:pt>
                <c:pt idx="440">
                  <c:v>Private Lab</c:v>
                </c:pt>
                <c:pt idx="441">
                  <c:v>Private Lab</c:v>
                </c:pt>
                <c:pt idx="442">
                  <c:v>Juraflore</c:v>
                </c:pt>
                <c:pt idx="443">
                  <c:v>All Others</c:v>
                </c:pt>
                <c:pt idx="444">
                  <c:v>St Moret</c:v>
                </c:pt>
                <c:pt idx="445">
                  <c:v>President</c:v>
                </c:pt>
                <c:pt idx="446">
                  <c:v>All Others</c:v>
                </c:pt>
                <c:pt idx="447">
                  <c:v>Richesmonts</c:v>
                </c:pt>
                <c:pt idx="448">
                  <c:v>Boursin</c:v>
                </c:pt>
                <c:pt idx="449">
                  <c:v>Galbani</c:v>
                </c:pt>
                <c:pt idx="450">
                  <c:v>Saint Agur</c:v>
                </c:pt>
                <c:pt idx="451">
                  <c:v>Private Lab</c:v>
                </c:pt>
                <c:pt idx="452">
                  <c:v>Private Lab</c:v>
                </c:pt>
                <c:pt idx="453">
                  <c:v>Etoile Du V</c:v>
                </c:pt>
                <c:pt idx="454">
                  <c:v>All Others</c:v>
                </c:pt>
                <c:pt idx="455">
                  <c:v>Top Budget</c:v>
                </c:pt>
                <c:pt idx="456">
                  <c:v>Caprice Des</c:v>
                </c:pt>
                <c:pt idx="457">
                  <c:v>Private Lab</c:v>
                </c:pt>
                <c:pt idx="458">
                  <c:v>Savencia: A</c:v>
                </c:pt>
                <c:pt idx="459">
                  <c:v>Private Lab</c:v>
                </c:pt>
                <c:pt idx="460">
                  <c:v>Le Rustique</c:v>
                </c:pt>
                <c:pt idx="461">
                  <c:v>Private Lab</c:v>
                </c:pt>
                <c:pt idx="462">
                  <c:v>Aperivrais</c:v>
                </c:pt>
                <c:pt idx="463">
                  <c:v>Private Lab</c:v>
                </c:pt>
                <c:pt idx="464">
                  <c:v>Salakis</c:v>
                </c:pt>
                <c:pt idx="465">
                  <c:v>Caprice Des</c:v>
                </c:pt>
                <c:pt idx="466">
                  <c:v>Caprice Des</c:v>
                </c:pt>
                <c:pt idx="467">
                  <c:v>Aperivrais</c:v>
                </c:pt>
                <c:pt idx="468">
                  <c:v>Tartare</c:v>
                </c:pt>
                <c:pt idx="469">
                  <c:v>Lou Perac</c:v>
                </c:pt>
                <c:pt idx="470">
                  <c:v>Tartare</c:v>
                </c:pt>
                <c:pt idx="471">
                  <c:v>All Others</c:v>
                </c:pt>
                <c:pt idx="472">
                  <c:v>Private Lab</c:v>
                </c:pt>
                <c:pt idx="473">
                  <c:v>Boursin</c:v>
                </c:pt>
                <c:pt idx="474">
                  <c:v>Private Lab</c:v>
                </c:pt>
                <c:pt idx="475">
                  <c:v>Casa Azzurr</c:v>
                </c:pt>
                <c:pt idx="476">
                  <c:v>Eurial Autr</c:v>
                </c:pt>
                <c:pt idx="477">
                  <c:v>Richesmonts</c:v>
                </c:pt>
                <c:pt idx="478">
                  <c:v>Kiri</c:v>
                </c:pt>
                <c:pt idx="479">
                  <c:v>La Vache Qu</c:v>
                </c:pt>
                <c:pt idx="480">
                  <c:v>Eurial Autr</c:v>
                </c:pt>
                <c:pt idx="481">
                  <c:v>La Belle Et</c:v>
                </c:pt>
                <c:pt idx="482">
                  <c:v>St Moret</c:v>
                </c:pt>
                <c:pt idx="483">
                  <c:v>Savencia: A</c:v>
                </c:pt>
                <c:pt idx="484">
                  <c:v>Pochat</c:v>
                </c:pt>
                <c:pt idx="485">
                  <c:v>President</c:v>
                </c:pt>
                <c:pt idx="486">
                  <c:v>Private Lab</c:v>
                </c:pt>
                <c:pt idx="487">
                  <c:v>Juraflore</c:v>
                </c:pt>
                <c:pt idx="488">
                  <c:v>Boursin</c:v>
                </c:pt>
                <c:pt idx="489">
                  <c:v>Bresse Bleu</c:v>
                </c:pt>
                <c:pt idx="490">
                  <c:v>Lactalis: A</c:v>
                </c:pt>
                <c:pt idx="491">
                  <c:v>Vieux Pane</c:v>
                </c:pt>
                <c:pt idx="492">
                  <c:v>All Others</c:v>
                </c:pt>
                <c:pt idx="493">
                  <c:v>Leerdammer</c:v>
                </c:pt>
                <c:pt idx="494">
                  <c:v>Entremont</c:v>
                </c:pt>
                <c:pt idx="495">
                  <c:v>Private Lab</c:v>
                </c:pt>
                <c:pt idx="496">
                  <c:v>L'Ortolan</c:v>
                </c:pt>
                <c:pt idx="497">
                  <c:v>Casa Azzurr</c:v>
                </c:pt>
                <c:pt idx="498">
                  <c:v>Paysan Bret</c:v>
                </c:pt>
                <c:pt idx="499">
                  <c:v>L'Ortolan</c:v>
                </c:pt>
                <c:pt idx="500">
                  <c:v>Private Lab</c:v>
                </c:pt>
                <c:pt idx="501">
                  <c:v>Private Lab</c:v>
                </c:pt>
                <c:pt idx="502">
                  <c:v>All Others</c:v>
                </c:pt>
                <c:pt idx="503">
                  <c:v>Vieux Pane</c:v>
                </c:pt>
                <c:pt idx="504">
                  <c:v>Private Lab</c:v>
                </c:pt>
                <c:pt idx="505">
                  <c:v>Entremont</c:v>
                </c:pt>
                <c:pt idx="506">
                  <c:v>Pochat</c:v>
                </c:pt>
                <c:pt idx="507">
                  <c:v>All Others</c:v>
                </c:pt>
                <c:pt idx="508">
                  <c:v>Paysan Bret</c:v>
                </c:pt>
                <c:pt idx="509">
                  <c:v>Casa Azzurr</c:v>
                </c:pt>
                <c:pt idx="510">
                  <c:v>Lou Perac</c:v>
                </c:pt>
                <c:pt idx="511">
                  <c:v>Private Lab</c:v>
                </c:pt>
                <c:pt idx="512">
                  <c:v>Private Lab</c:v>
                </c:pt>
                <c:pt idx="513">
                  <c:v>All Others</c:v>
                </c:pt>
                <c:pt idx="514">
                  <c:v>P'Tit Louis</c:v>
                </c:pt>
                <c:pt idx="515">
                  <c:v>All Others</c:v>
                </c:pt>
                <c:pt idx="516">
                  <c:v>Private Lab</c:v>
                </c:pt>
                <c:pt idx="517">
                  <c:v>Private Lab</c:v>
                </c:pt>
                <c:pt idx="518">
                  <c:v>Kiri</c:v>
                </c:pt>
                <c:pt idx="519">
                  <c:v>Lactalis: A</c:v>
                </c:pt>
                <c:pt idx="520">
                  <c:v>Private Lab</c:v>
                </c:pt>
                <c:pt idx="521">
                  <c:v>All Others</c:v>
                </c:pt>
                <c:pt idx="522">
                  <c:v>St Moret</c:v>
                </c:pt>
                <c:pt idx="523">
                  <c:v>Savencia: A</c:v>
                </c:pt>
                <c:pt idx="524">
                  <c:v>All Others</c:v>
                </c:pt>
                <c:pt idx="525">
                  <c:v>Entremont</c:v>
                </c:pt>
                <c:pt idx="526">
                  <c:v>Soignon</c:v>
                </c:pt>
                <c:pt idx="527">
                  <c:v>Richesmonts</c:v>
                </c:pt>
                <c:pt idx="528">
                  <c:v>Tartare</c:v>
                </c:pt>
                <c:pt idx="529">
                  <c:v>Soignon</c:v>
                </c:pt>
                <c:pt idx="530">
                  <c:v>President</c:v>
                </c:pt>
                <c:pt idx="531">
                  <c:v>Mini Babybe</c:v>
                </c:pt>
                <c:pt idx="532">
                  <c:v>All Others</c:v>
                </c:pt>
                <c:pt idx="533">
                  <c:v>Le Coq Crem</c:v>
                </c:pt>
                <c:pt idx="534">
                  <c:v>Galbani</c:v>
                </c:pt>
                <c:pt idx="535">
                  <c:v>Apericube</c:v>
                </c:pt>
                <c:pt idx="536">
                  <c:v>Savencia: A</c:v>
                </c:pt>
                <c:pt idx="537">
                  <c:v>All Others</c:v>
                </c:pt>
                <c:pt idx="538">
                  <c:v>All Others</c:v>
                </c:pt>
                <c:pt idx="539">
                  <c:v>Private Lab</c:v>
                </c:pt>
                <c:pt idx="540">
                  <c:v>Soignon</c:v>
                </c:pt>
                <c:pt idx="541">
                  <c:v>Casa Azzurr</c:v>
                </c:pt>
                <c:pt idx="542">
                  <c:v>Le Saint Am</c:v>
                </c:pt>
                <c:pt idx="543">
                  <c:v>Islos</c:v>
                </c:pt>
                <c:pt idx="544">
                  <c:v>All Others</c:v>
                </c:pt>
                <c:pt idx="545">
                  <c:v>Kiri</c:v>
                </c:pt>
                <c:pt idx="546">
                  <c:v>Private Lab</c:v>
                </c:pt>
                <c:pt idx="547">
                  <c:v>Lactalis: A</c:v>
                </c:pt>
                <c:pt idx="548">
                  <c:v>Fol Epi</c:v>
                </c:pt>
                <c:pt idx="549">
                  <c:v>All Others</c:v>
                </c:pt>
                <c:pt idx="550">
                  <c:v>La Belle Et</c:v>
                </c:pt>
                <c:pt idx="551">
                  <c:v>Lactalis: A</c:v>
                </c:pt>
                <c:pt idx="552">
                  <c:v>Bresse Bleu</c:v>
                </c:pt>
                <c:pt idx="553">
                  <c:v>Saint Albra</c:v>
                </c:pt>
                <c:pt idx="554">
                  <c:v>Coeur De Li</c:v>
                </c:pt>
                <c:pt idx="555">
                  <c:v>Private Lab</c:v>
                </c:pt>
                <c:pt idx="556">
                  <c:v>Societe</c:v>
                </c:pt>
                <c:pt idx="557">
                  <c:v>Istara</c:v>
                </c:pt>
                <c:pt idx="558">
                  <c:v>Paysan Bret</c:v>
                </c:pt>
                <c:pt idx="559">
                  <c:v>Entremont</c:v>
                </c:pt>
                <c:pt idx="560">
                  <c:v>Private Lab</c:v>
                </c:pt>
                <c:pt idx="561">
                  <c:v>Savencia: A</c:v>
                </c:pt>
                <c:pt idx="562">
                  <c:v>Corsica</c:v>
                </c:pt>
                <c:pt idx="563">
                  <c:v>All Others</c:v>
                </c:pt>
                <c:pt idx="564">
                  <c:v>Paysan Bret</c:v>
                </c:pt>
                <c:pt idx="565">
                  <c:v>Paysan Bret</c:v>
                </c:pt>
                <c:pt idx="566">
                  <c:v>Kiri</c:v>
                </c:pt>
                <c:pt idx="567">
                  <c:v>Eurial Autr</c:v>
                </c:pt>
                <c:pt idx="568">
                  <c:v>Milleret: A</c:v>
                </c:pt>
                <c:pt idx="569">
                  <c:v>Etoile Du Q</c:v>
                </c:pt>
                <c:pt idx="570">
                  <c:v>Private Lab</c:v>
                </c:pt>
                <c:pt idx="571">
                  <c:v>Boursin</c:v>
                </c:pt>
                <c:pt idx="572">
                  <c:v>Paturages</c:v>
                </c:pt>
                <c:pt idx="573">
                  <c:v>All Others</c:v>
                </c:pt>
                <c:pt idx="574">
                  <c:v>Private Lab</c:v>
                </c:pt>
                <c:pt idx="575">
                  <c:v>Private Lab</c:v>
                </c:pt>
                <c:pt idx="576">
                  <c:v>Ranou</c:v>
                </c:pt>
                <c:pt idx="577">
                  <c:v>Private Lab</c:v>
                </c:pt>
                <c:pt idx="578">
                  <c:v>Galbani</c:v>
                </c:pt>
                <c:pt idx="579">
                  <c:v>Violife</c:v>
                </c:pt>
                <c:pt idx="580">
                  <c:v>Entremont</c:v>
                </c:pt>
                <c:pt idx="581">
                  <c:v>Private Lab</c:v>
                </c:pt>
                <c:pt idx="582">
                  <c:v>Lactalis: A</c:v>
                </c:pt>
                <c:pt idx="583">
                  <c:v>All Others</c:v>
                </c:pt>
                <c:pt idx="584">
                  <c:v>Mini Babybe</c:v>
                </c:pt>
                <c:pt idx="585">
                  <c:v>Savencia: A</c:v>
                </c:pt>
                <c:pt idx="586">
                  <c:v>Salakis</c:v>
                </c:pt>
                <c:pt idx="587">
                  <c:v>Milleret: A</c:v>
                </c:pt>
                <c:pt idx="588">
                  <c:v>Private Lab</c:v>
                </c:pt>
                <c:pt idx="589">
                  <c:v>Entremont</c:v>
                </c:pt>
                <c:pt idx="590">
                  <c:v>Mini Babybe</c:v>
                </c:pt>
                <c:pt idx="591">
                  <c:v>Entremont</c:v>
                </c:pt>
                <c:pt idx="592">
                  <c:v>Soignon</c:v>
                </c:pt>
                <c:pt idx="593">
                  <c:v>Pochat</c:v>
                </c:pt>
                <c:pt idx="594">
                  <c:v>Paysan Bret</c:v>
                </c:pt>
                <c:pt idx="595">
                  <c:v>Soignon</c:v>
                </c:pt>
                <c:pt idx="596">
                  <c:v>Private Lab</c:v>
                </c:pt>
                <c:pt idx="597">
                  <c:v>Savencia: A</c:v>
                </c:pt>
                <c:pt idx="598">
                  <c:v>Kiri</c:v>
                </c:pt>
                <c:pt idx="599">
                  <c:v>Saint Agur</c:v>
                </c:pt>
                <c:pt idx="600">
                  <c:v>All Others</c:v>
                </c:pt>
                <c:pt idx="601">
                  <c:v>Soignon</c:v>
                </c:pt>
                <c:pt idx="602">
                  <c:v>L'Ortolan</c:v>
                </c:pt>
                <c:pt idx="603">
                  <c:v>Lactalis: A</c:v>
                </c:pt>
                <c:pt idx="604">
                  <c:v>Richesmonts</c:v>
                </c:pt>
                <c:pt idx="605">
                  <c:v>Raguin</c:v>
                </c:pt>
                <c:pt idx="606">
                  <c:v>Top Budget</c:v>
                </c:pt>
                <c:pt idx="607">
                  <c:v>All Others</c:v>
                </c:pt>
                <c:pt idx="608">
                  <c:v>La Belle Et</c:v>
                </c:pt>
                <c:pt idx="609">
                  <c:v>Galbani</c:v>
                </c:pt>
                <c:pt idx="610">
                  <c:v>All Others</c:v>
                </c:pt>
                <c:pt idx="611">
                  <c:v>Soignon</c:v>
                </c:pt>
                <c:pt idx="612">
                  <c:v>Private Lab</c:v>
                </c:pt>
                <c:pt idx="613">
                  <c:v>Carre Frais</c:v>
                </c:pt>
                <c:pt idx="614">
                  <c:v>Lactalis: A</c:v>
                </c:pt>
                <c:pt idx="615">
                  <c:v>All Others</c:v>
                </c:pt>
                <c:pt idx="616">
                  <c:v>Raguin</c:v>
                </c:pt>
                <c:pt idx="617">
                  <c:v>Lactalis: A</c:v>
                </c:pt>
                <c:pt idx="618">
                  <c:v>Paturages</c:v>
                </c:pt>
                <c:pt idx="619">
                  <c:v>Salakis</c:v>
                </c:pt>
                <c:pt idx="620">
                  <c:v>Triballat N</c:v>
                </c:pt>
                <c:pt idx="621">
                  <c:v>All Others</c:v>
                </c:pt>
                <c:pt idx="622">
                  <c:v>All Others</c:v>
                </c:pt>
                <c:pt idx="623">
                  <c:v>All Others</c:v>
                </c:pt>
                <c:pt idx="624">
                  <c:v>Private Lab</c:v>
                </c:pt>
                <c:pt idx="625">
                  <c:v>Paysan Bret</c:v>
                </c:pt>
                <c:pt idx="626">
                  <c:v>All Others</c:v>
                </c:pt>
                <c:pt idx="627">
                  <c:v>President</c:v>
                </c:pt>
                <c:pt idx="628">
                  <c:v>All Others</c:v>
                </c:pt>
                <c:pt idx="629">
                  <c:v>All Others</c:v>
                </c:pt>
                <c:pt idx="630">
                  <c:v>All Others</c:v>
                </c:pt>
                <c:pt idx="631">
                  <c:v>All Others</c:v>
                </c:pt>
                <c:pt idx="632">
                  <c:v>Private Lab</c:v>
                </c:pt>
                <c:pt idx="633">
                  <c:v>Etoile Du V</c:v>
                </c:pt>
                <c:pt idx="634">
                  <c:v>All Others</c:v>
                </c:pt>
                <c:pt idx="635">
                  <c:v>Raguin</c:v>
                </c:pt>
                <c:pt idx="636">
                  <c:v>Private Lab</c:v>
                </c:pt>
                <c:pt idx="637">
                  <c:v>Savencia: A</c:v>
                </c:pt>
                <c:pt idx="638">
                  <c:v>Raguin</c:v>
                </c:pt>
                <c:pt idx="639">
                  <c:v>All Others</c:v>
                </c:pt>
                <c:pt idx="640">
                  <c:v>Etoile Du V</c:v>
                </c:pt>
                <c:pt idx="641">
                  <c:v>Le Brebiou</c:v>
                </c:pt>
                <c:pt idx="642">
                  <c:v>Boursin</c:v>
                </c:pt>
                <c:pt idx="643">
                  <c:v>All Others</c:v>
                </c:pt>
                <c:pt idx="644">
                  <c:v>Nurishh</c:v>
                </c:pt>
                <c:pt idx="645">
                  <c:v>Apericube</c:v>
                </c:pt>
                <c:pt idx="646">
                  <c:v>Entremont</c:v>
                </c:pt>
                <c:pt idx="647">
                  <c:v>Entremont</c:v>
                </c:pt>
                <c:pt idx="648">
                  <c:v>All Others</c:v>
                </c:pt>
                <c:pt idx="649">
                  <c:v>Private Lab</c:v>
                </c:pt>
                <c:pt idx="650">
                  <c:v>Private Lab</c:v>
                </c:pt>
                <c:pt idx="651">
                  <c:v>All Others</c:v>
                </c:pt>
                <c:pt idx="652">
                  <c:v>Milleret: A</c:v>
                </c:pt>
                <c:pt idx="653">
                  <c:v>Milleret: A</c:v>
                </c:pt>
                <c:pt idx="654">
                  <c:v>All Others</c:v>
                </c:pt>
                <c:pt idx="655">
                  <c:v>Galbani</c:v>
                </c:pt>
                <c:pt idx="656">
                  <c:v>Eurial Autr</c:v>
                </c:pt>
                <c:pt idx="657">
                  <c:v>Casa Azzurr</c:v>
                </c:pt>
                <c:pt idx="658">
                  <c:v>Milleret: A</c:v>
                </c:pt>
                <c:pt idx="659">
                  <c:v>Aperivrais</c:v>
                </c:pt>
                <c:pt idx="660">
                  <c:v>All Others</c:v>
                </c:pt>
                <c:pt idx="661">
                  <c:v>Savencia: A</c:v>
                </c:pt>
                <c:pt idx="662">
                  <c:v>Entremont</c:v>
                </c:pt>
                <c:pt idx="663">
                  <c:v>All Others</c:v>
                </c:pt>
                <c:pt idx="664">
                  <c:v>Triballat N</c:v>
                </c:pt>
                <c:pt idx="665">
                  <c:v>Paysan Bret</c:v>
                </c:pt>
                <c:pt idx="666">
                  <c:v>Nurishh</c:v>
                </c:pt>
                <c:pt idx="667">
                  <c:v>Apericube</c:v>
                </c:pt>
                <c:pt idx="668">
                  <c:v>President</c:v>
                </c:pt>
                <c:pt idx="669">
                  <c:v>Etoile Du V</c:v>
                </c:pt>
                <c:pt idx="670">
                  <c:v>Casa Azzurr</c:v>
                </c:pt>
                <c:pt idx="671">
                  <c:v>All Others</c:v>
                </c:pt>
                <c:pt idx="672">
                  <c:v>All Others</c:v>
                </c:pt>
                <c:pt idx="673">
                  <c:v>All Others</c:v>
                </c:pt>
                <c:pt idx="674">
                  <c:v>Pochat</c:v>
                </c:pt>
                <c:pt idx="675">
                  <c:v>Etorki</c:v>
                </c:pt>
                <c:pt idx="676">
                  <c:v>Saint Agur</c:v>
                </c:pt>
                <c:pt idx="677">
                  <c:v>Entremont</c:v>
                </c:pt>
                <c:pt idx="678">
                  <c:v>President</c:v>
                </c:pt>
                <c:pt idx="679">
                  <c:v>All Others</c:v>
                </c:pt>
                <c:pt idx="680">
                  <c:v>Tartare</c:v>
                </c:pt>
                <c:pt idx="681">
                  <c:v>All Others</c:v>
                </c:pt>
                <c:pt idx="682">
                  <c:v>All Others</c:v>
                </c:pt>
                <c:pt idx="683">
                  <c:v>Apericube</c:v>
                </c:pt>
                <c:pt idx="684">
                  <c:v>Nurishh</c:v>
                </c:pt>
                <c:pt idx="685">
                  <c:v>Private Lab</c:v>
                </c:pt>
                <c:pt idx="686">
                  <c:v>Private Lab</c:v>
                </c:pt>
                <c:pt idx="687">
                  <c:v>Violife</c:v>
                </c:pt>
                <c:pt idx="688">
                  <c:v>Entremont</c:v>
                </c:pt>
                <c:pt idx="689">
                  <c:v>Entremont</c:v>
                </c:pt>
                <c:pt idx="690">
                  <c:v>Islos</c:v>
                </c:pt>
                <c:pt idx="691">
                  <c:v>Entremont</c:v>
                </c:pt>
                <c:pt idx="692">
                  <c:v>All Others</c:v>
                </c:pt>
                <c:pt idx="693">
                  <c:v>All Others</c:v>
                </c:pt>
                <c:pt idx="694">
                  <c:v>All Others</c:v>
                </c:pt>
                <c:pt idx="695">
                  <c:v>All Others</c:v>
                </c:pt>
                <c:pt idx="696">
                  <c:v>All Others</c:v>
                </c:pt>
                <c:pt idx="697">
                  <c:v>Boursin</c:v>
                </c:pt>
                <c:pt idx="698">
                  <c:v>Galbani</c:v>
                </c:pt>
                <c:pt idx="699">
                  <c:v>All Others</c:v>
                </c:pt>
                <c:pt idx="700">
                  <c:v>Richesmonts</c:v>
                </c:pt>
                <c:pt idx="701">
                  <c:v>All Others</c:v>
                </c:pt>
                <c:pt idx="702">
                  <c:v>Lactalis: A</c:v>
                </c:pt>
                <c:pt idx="703">
                  <c:v>All Others</c:v>
                </c:pt>
                <c:pt idx="704">
                  <c:v>Paysan Bret</c:v>
                </c:pt>
                <c:pt idx="705">
                  <c:v>All Others</c:v>
                </c:pt>
                <c:pt idx="706">
                  <c:v>Nurishh</c:v>
                </c:pt>
                <c:pt idx="707">
                  <c:v>Violife</c:v>
                </c:pt>
                <c:pt idx="708">
                  <c:v>Nurishh</c:v>
                </c:pt>
                <c:pt idx="709">
                  <c:v>All Others</c:v>
                </c:pt>
                <c:pt idx="710">
                  <c:v>Casa Azzurr</c:v>
                </c:pt>
                <c:pt idx="711">
                  <c:v>All Others</c:v>
                </c:pt>
                <c:pt idx="712">
                  <c:v>Milleret: A</c:v>
                </c:pt>
                <c:pt idx="713">
                  <c:v>All Others</c:v>
                </c:pt>
                <c:pt idx="714">
                  <c:v>All Others</c:v>
                </c:pt>
                <c:pt idx="715">
                  <c:v>All Others</c:v>
                </c:pt>
                <c:pt idx="716">
                  <c:v>All Others</c:v>
                </c:pt>
                <c:pt idx="717">
                  <c:v>Tartare</c:v>
                </c:pt>
                <c:pt idx="718">
                  <c:v>All Others</c:v>
                </c:pt>
                <c:pt idx="719">
                  <c:v>All Others</c:v>
                </c:pt>
                <c:pt idx="720">
                  <c:v>Triballat N</c:v>
                </c:pt>
                <c:pt idx="721">
                  <c:v>Apericube</c:v>
                </c:pt>
                <c:pt idx="722">
                  <c:v>Boursin</c:v>
                </c:pt>
                <c:pt idx="723">
                  <c:v>All Others</c:v>
                </c:pt>
                <c:pt idx="724">
                  <c:v>Mini Babybe</c:v>
                </c:pt>
                <c:pt idx="725">
                  <c:v>All Others</c:v>
                </c:pt>
                <c:pt idx="726">
                  <c:v>All Others</c:v>
                </c:pt>
                <c:pt idx="727">
                  <c:v>All Others</c:v>
                </c:pt>
                <c:pt idx="728">
                  <c:v>Etoile Du V</c:v>
                </c:pt>
                <c:pt idx="729">
                  <c:v>All Others</c:v>
                </c:pt>
                <c:pt idx="730">
                  <c:v>La Belle Et</c:v>
                </c:pt>
                <c:pt idx="731">
                  <c:v>All Others</c:v>
                </c:pt>
                <c:pt idx="732">
                  <c:v>All Others</c:v>
                </c:pt>
                <c:pt idx="733">
                  <c:v>Pochat</c:v>
                </c:pt>
                <c:pt idx="734">
                  <c:v>All Others</c:v>
                </c:pt>
                <c:pt idx="735">
                  <c:v>Lactalis: A</c:v>
                </c:pt>
                <c:pt idx="736">
                  <c:v>Coeur Lion</c:v>
                </c:pt>
                <c:pt idx="737">
                  <c:v>All Others</c:v>
                </c:pt>
                <c:pt idx="738">
                  <c:v>All Others</c:v>
                </c:pt>
                <c:pt idx="739">
                  <c:v>Chavroux</c:v>
                </c:pt>
                <c:pt idx="740">
                  <c:v>All Others</c:v>
                </c:pt>
                <c:pt idx="741">
                  <c:v>All Others</c:v>
                </c:pt>
                <c:pt idx="742">
                  <c:v>All Others</c:v>
                </c:pt>
                <c:pt idx="743">
                  <c:v>All Others</c:v>
                </c:pt>
                <c:pt idx="744">
                  <c:v>All Others</c:v>
                </c:pt>
                <c:pt idx="745">
                  <c:v>All Others</c:v>
                </c:pt>
                <c:pt idx="746">
                  <c:v>Casa Azzurr</c:v>
                </c:pt>
                <c:pt idx="747">
                  <c:v>All Others</c:v>
                </c:pt>
                <c:pt idx="748">
                  <c:v>Etoile Du V</c:v>
                </c:pt>
                <c:pt idx="749">
                  <c:v>All Others</c:v>
                </c:pt>
                <c:pt idx="750">
                  <c:v>Paysan Bret</c:v>
                </c:pt>
                <c:pt idx="751">
                  <c:v>Savencia: A</c:v>
                </c:pt>
                <c:pt idx="752">
                  <c:v>Nurishh</c:v>
                </c:pt>
                <c:pt idx="753">
                  <c:v>Fauquet</c:v>
                </c:pt>
                <c:pt idx="754">
                  <c:v>La Belle Et</c:v>
                </c:pt>
                <c:pt idx="755">
                  <c:v>Lactalis: A</c:v>
                </c:pt>
                <c:pt idx="756">
                  <c:v>All Others</c:v>
                </c:pt>
                <c:pt idx="757">
                  <c:v>All Others</c:v>
                </c:pt>
                <c:pt idx="758">
                  <c:v>All Others</c:v>
                </c:pt>
                <c:pt idx="759">
                  <c:v>All Others</c:v>
                </c:pt>
                <c:pt idx="760">
                  <c:v>Fol Epi</c:v>
                </c:pt>
                <c:pt idx="761">
                  <c:v>All Others</c:v>
                </c:pt>
                <c:pt idx="762">
                  <c:v>All Others</c:v>
                </c:pt>
                <c:pt idx="763">
                  <c:v>All Others</c:v>
                </c:pt>
                <c:pt idx="764">
                  <c:v>All Others</c:v>
                </c:pt>
                <c:pt idx="765">
                  <c:v>Chavroux</c:v>
                </c:pt>
                <c:pt idx="766">
                  <c:v>All Others</c:v>
                </c:pt>
                <c:pt idx="767">
                  <c:v>All Others</c:v>
                </c:pt>
                <c:pt idx="768">
                  <c:v>All Others</c:v>
                </c:pt>
                <c:pt idx="769">
                  <c:v>All Others</c:v>
                </c:pt>
                <c:pt idx="770">
                  <c:v>All Others</c:v>
                </c:pt>
                <c:pt idx="771">
                  <c:v>Entremont</c:v>
                </c:pt>
                <c:pt idx="772">
                  <c:v>Private Lab</c:v>
                </c:pt>
                <c:pt idx="773">
                  <c:v>All Others</c:v>
                </c:pt>
                <c:pt idx="774">
                  <c:v>Boursin</c:v>
                </c:pt>
                <c:pt idx="775">
                  <c:v>All Others</c:v>
                </c:pt>
                <c:pt idx="776">
                  <c:v>La Belle Et</c:v>
                </c:pt>
                <c:pt idx="777">
                  <c:v>All Others</c:v>
                </c:pt>
                <c:pt idx="778">
                  <c:v>La Belle Et</c:v>
                </c:pt>
                <c:pt idx="779">
                  <c:v>All Others</c:v>
                </c:pt>
                <c:pt idx="780">
                  <c:v>Triballat N</c:v>
                </c:pt>
                <c:pt idx="781">
                  <c:v>All Others</c:v>
                </c:pt>
                <c:pt idx="782">
                  <c:v>Aperivrais</c:v>
                </c:pt>
                <c:pt idx="783">
                  <c:v>All Others</c:v>
                </c:pt>
                <c:pt idx="784">
                  <c:v>All Others</c:v>
                </c:pt>
                <c:pt idx="785">
                  <c:v>Milleret: A</c:v>
                </c:pt>
                <c:pt idx="786">
                  <c:v>La Belle Et</c:v>
                </c:pt>
                <c:pt idx="787">
                  <c:v>Istara</c:v>
                </c:pt>
                <c:pt idx="788">
                  <c:v>Pave D'Affi</c:v>
                </c:pt>
                <c:pt idx="789">
                  <c:v>All Others</c:v>
                </c:pt>
                <c:pt idx="790">
                  <c:v>All Others</c:v>
                </c:pt>
                <c:pt idx="791">
                  <c:v>La Belle Et</c:v>
                </c:pt>
                <c:pt idx="792">
                  <c:v>All Others</c:v>
                </c:pt>
                <c:pt idx="793">
                  <c:v>Entremont</c:v>
                </c:pt>
                <c:pt idx="794">
                  <c:v>All Others</c:v>
                </c:pt>
                <c:pt idx="795">
                  <c:v>All Others</c:v>
                </c:pt>
                <c:pt idx="796">
                  <c:v>Chavroux</c:v>
                </c:pt>
                <c:pt idx="797">
                  <c:v>All Others</c:v>
                </c:pt>
                <c:pt idx="798">
                  <c:v>All Others</c:v>
                </c:pt>
                <c:pt idx="799">
                  <c:v>All Others</c:v>
                </c:pt>
                <c:pt idx="800">
                  <c:v>All Others</c:v>
                </c:pt>
                <c:pt idx="801">
                  <c:v>La Belle Et</c:v>
                </c:pt>
                <c:pt idx="802">
                  <c:v>All Others</c:v>
                </c:pt>
                <c:pt idx="803">
                  <c:v>La Belle Et</c:v>
                </c:pt>
                <c:pt idx="804">
                  <c:v>All Others</c:v>
                </c:pt>
                <c:pt idx="805">
                  <c:v>Entremont</c:v>
                </c:pt>
                <c:pt idx="806">
                  <c:v>Entremont</c:v>
                </c:pt>
                <c:pt idx="807">
                  <c:v>All Others</c:v>
                </c:pt>
                <c:pt idx="808">
                  <c:v>Casa Azzur</c:v>
                </c:pt>
                <c:pt idx="809">
                  <c:v>All Others</c:v>
                </c:pt>
                <c:pt idx="810">
                  <c:v>All Others</c:v>
                </c:pt>
                <c:pt idx="811">
                  <c:v>Aperivrais</c:v>
                </c:pt>
                <c:pt idx="812">
                  <c:v>Chaussee Au</c:v>
                </c:pt>
                <c:pt idx="813">
                  <c:v>All Others</c:v>
                </c:pt>
                <c:pt idx="814">
                  <c:v>L'Ortolan</c:v>
                </c:pt>
                <c:pt idx="815">
                  <c:v>All Others</c:v>
                </c:pt>
                <c:pt idx="816">
                  <c:v>Etoile Du V</c:v>
                </c:pt>
                <c:pt idx="817">
                  <c:v>Lactalis: A</c:v>
                </c:pt>
                <c:pt idx="818">
                  <c:v>All Others</c:v>
                </c:pt>
                <c:pt idx="819">
                  <c:v>All Others</c:v>
                </c:pt>
                <c:pt idx="820">
                  <c:v>All Others</c:v>
                </c:pt>
                <c:pt idx="821">
                  <c:v>Savencia: A</c:v>
                </c:pt>
                <c:pt idx="822">
                  <c:v>Milleret: A</c:v>
                </c:pt>
                <c:pt idx="823">
                  <c:v>Paturages</c:v>
                </c:pt>
                <c:pt idx="824">
                  <c:v>All Others</c:v>
                </c:pt>
                <c:pt idx="825">
                  <c:v>All Others</c:v>
                </c:pt>
                <c:pt idx="826">
                  <c:v>All Others</c:v>
                </c:pt>
                <c:pt idx="827">
                  <c:v>All Others</c:v>
                </c:pt>
                <c:pt idx="828">
                  <c:v>Ids</c:v>
                </c:pt>
                <c:pt idx="829">
                  <c:v>Societe</c:v>
                </c:pt>
                <c:pt idx="830">
                  <c:v>Petit Billy</c:v>
                </c:pt>
                <c:pt idx="831">
                  <c:v>Savencia: A</c:v>
                </c:pt>
                <c:pt idx="832">
                  <c:v>All Others</c:v>
                </c:pt>
                <c:pt idx="833">
                  <c:v>Boursin</c:v>
                </c:pt>
                <c:pt idx="834">
                  <c:v>All Others</c:v>
                </c:pt>
                <c:pt idx="835">
                  <c:v>Galbani</c:v>
                </c:pt>
                <c:pt idx="836">
                  <c:v>All Others</c:v>
                </c:pt>
                <c:pt idx="837">
                  <c:v>All Others</c:v>
                </c:pt>
                <c:pt idx="838">
                  <c:v>All Others</c:v>
                </c:pt>
                <c:pt idx="839">
                  <c:v>All Others</c:v>
                </c:pt>
                <c:pt idx="840">
                  <c:v>All Others</c:v>
                </c:pt>
                <c:pt idx="841">
                  <c:v>All Others</c:v>
                </c:pt>
                <c:pt idx="842">
                  <c:v>All Others</c:v>
                </c:pt>
                <c:pt idx="843">
                  <c:v>Raguin</c:v>
                </c:pt>
                <c:pt idx="844">
                  <c:v>All Others</c:v>
                </c:pt>
                <c:pt idx="845">
                  <c:v>All Others</c:v>
                </c:pt>
                <c:pt idx="846">
                  <c:v>All Others</c:v>
                </c:pt>
                <c:pt idx="847">
                  <c:v>All Others</c:v>
                </c:pt>
                <c:pt idx="848">
                  <c:v>Savencia: A</c:v>
                </c:pt>
                <c:pt idx="849">
                  <c:v>All Others</c:v>
                </c:pt>
                <c:pt idx="850">
                  <c:v>All Others</c:v>
                </c:pt>
                <c:pt idx="851">
                  <c:v>Richesmonts</c:v>
                </c:pt>
                <c:pt idx="852">
                  <c:v>All Others</c:v>
                </c:pt>
                <c:pt idx="853">
                  <c:v>All Others</c:v>
                </c:pt>
                <c:pt idx="854">
                  <c:v>All Others</c:v>
                </c:pt>
                <c:pt idx="855">
                  <c:v>All Others</c:v>
                </c:pt>
                <c:pt idx="856">
                  <c:v>All Others</c:v>
                </c:pt>
                <c:pt idx="857">
                  <c:v>Raguin</c:v>
                </c:pt>
                <c:pt idx="858">
                  <c:v>Private Lab</c:v>
                </c:pt>
                <c:pt idx="859">
                  <c:v>All Others</c:v>
                </c:pt>
                <c:pt idx="860">
                  <c:v>All Others</c:v>
                </c:pt>
                <c:pt idx="861">
                  <c:v>All Others</c:v>
                </c:pt>
                <c:pt idx="862">
                  <c:v>All Others</c:v>
                </c:pt>
                <c:pt idx="863">
                  <c:v>All Others</c:v>
                </c:pt>
                <c:pt idx="864">
                  <c:v>All Others</c:v>
                </c:pt>
                <c:pt idx="865">
                  <c:v>All Others</c:v>
                </c:pt>
                <c:pt idx="866">
                  <c:v>All Others</c:v>
                </c:pt>
                <c:pt idx="867">
                  <c:v>Soignon</c:v>
                </c:pt>
                <c:pt idx="868">
                  <c:v>All Others</c:v>
                </c:pt>
                <c:pt idx="869">
                  <c:v>Boursin</c:v>
                </c:pt>
                <c:pt idx="870">
                  <c:v>All Others</c:v>
                </c:pt>
                <c:pt idx="871">
                  <c:v>Boursin</c:v>
                </c:pt>
                <c:pt idx="872">
                  <c:v>All Others</c:v>
                </c:pt>
                <c:pt idx="873">
                  <c:v>All Others</c:v>
                </c:pt>
                <c:pt idx="874">
                  <c:v>All Others</c:v>
                </c:pt>
                <c:pt idx="875">
                  <c:v>All Others</c:v>
                </c:pt>
                <c:pt idx="876">
                  <c:v>President</c:v>
                </c:pt>
                <c:pt idx="877">
                  <c:v>Raguin</c:v>
                </c:pt>
                <c:pt idx="878">
                  <c:v>All Others</c:v>
                </c:pt>
                <c:pt idx="879">
                  <c:v>All Others</c:v>
                </c:pt>
                <c:pt idx="880">
                  <c:v>All Others</c:v>
                </c:pt>
                <c:pt idx="881">
                  <c:v>Salakis</c:v>
                </c:pt>
                <c:pt idx="882">
                  <c:v>All Others</c:v>
                </c:pt>
                <c:pt idx="883">
                  <c:v>All Others</c:v>
                </c:pt>
                <c:pt idx="884">
                  <c:v>All Others</c:v>
                </c:pt>
                <c:pt idx="885">
                  <c:v>Boursin</c:v>
                </c:pt>
                <c:pt idx="886">
                  <c:v>La Belle Et</c:v>
                </c:pt>
                <c:pt idx="887">
                  <c:v>All Others</c:v>
                </c:pt>
                <c:pt idx="888">
                  <c:v>Fol Epi</c:v>
                </c:pt>
                <c:pt idx="889">
                  <c:v>All Others</c:v>
                </c:pt>
                <c:pt idx="890">
                  <c:v>La Belle Et</c:v>
                </c:pt>
                <c:pt idx="891">
                  <c:v>All Others</c:v>
                </c:pt>
                <c:pt idx="892">
                  <c:v>All Others</c:v>
                </c:pt>
                <c:pt idx="893">
                  <c:v>All Others</c:v>
                </c:pt>
                <c:pt idx="894">
                  <c:v>All Others</c:v>
                </c:pt>
                <c:pt idx="895">
                  <c:v>Juraflore</c:v>
                </c:pt>
                <c:pt idx="896">
                  <c:v>Richesmonts</c:v>
                </c:pt>
                <c:pt idx="897">
                  <c:v>Savencia: A</c:v>
                </c:pt>
                <c:pt idx="898">
                  <c:v>All Others</c:v>
                </c:pt>
                <c:pt idx="899">
                  <c:v>British H</c:v>
                </c:pt>
                <c:pt idx="900">
                  <c:v>All Others</c:v>
                </c:pt>
                <c:pt idx="901">
                  <c:v>All Others</c:v>
                </c:pt>
                <c:pt idx="902">
                  <c:v>All Others</c:v>
                </c:pt>
                <c:pt idx="903">
                  <c:v>All Others</c:v>
                </c:pt>
                <c:pt idx="904">
                  <c:v>Lactalis: A</c:v>
                </c:pt>
                <c:pt idx="905">
                  <c:v>La Belle Et</c:v>
                </c:pt>
                <c:pt idx="906">
                  <c:v>Raguin</c:v>
                </c:pt>
                <c:pt idx="907">
                  <c:v>Entremont</c:v>
                </c:pt>
                <c:pt idx="908">
                  <c:v>All Others</c:v>
                </c:pt>
                <c:pt idx="909">
                  <c:v>All Others</c:v>
                </c:pt>
                <c:pt idx="910">
                  <c:v>Salakis</c:v>
                </c:pt>
                <c:pt idx="911">
                  <c:v>All Others</c:v>
                </c:pt>
                <c:pt idx="912">
                  <c:v>All Others</c:v>
                </c:pt>
                <c:pt idx="913">
                  <c:v>All Others</c:v>
                </c:pt>
                <c:pt idx="914">
                  <c:v>All Others</c:v>
                </c:pt>
                <c:pt idx="915">
                  <c:v>All Others</c:v>
                </c:pt>
                <c:pt idx="916">
                  <c:v>La Vache Qu</c:v>
                </c:pt>
                <c:pt idx="917">
                  <c:v>Chavroux</c:v>
                </c:pt>
                <c:pt idx="918">
                  <c:v>All Others</c:v>
                </c:pt>
                <c:pt idx="919">
                  <c:v>Raguin</c:v>
                </c:pt>
                <c:pt idx="920">
                  <c:v>All Others</c:v>
                </c:pt>
                <c:pt idx="921">
                  <c:v>All Others</c:v>
                </c:pt>
                <c:pt idx="922">
                  <c:v>Mini Babybe</c:v>
                </c:pt>
                <c:pt idx="923">
                  <c:v>Raguin</c:v>
                </c:pt>
                <c:pt idx="924">
                  <c:v>All Others</c:v>
                </c:pt>
                <c:pt idx="925">
                  <c:v>Entremont</c:v>
                </c:pt>
                <c:pt idx="926">
                  <c:v>All Others</c:v>
                </c:pt>
                <c:pt idx="927">
                  <c:v>All Others</c:v>
                </c:pt>
                <c:pt idx="928">
                  <c:v>All Others</c:v>
                </c:pt>
                <c:pt idx="929">
                  <c:v>All Others</c:v>
                </c:pt>
                <c:pt idx="930">
                  <c:v>All Others</c:v>
                </c:pt>
                <c:pt idx="931">
                  <c:v>All Others</c:v>
                </c:pt>
                <c:pt idx="932">
                  <c:v>All Others</c:v>
                </c:pt>
                <c:pt idx="933">
                  <c:v>All Others</c:v>
                </c:pt>
                <c:pt idx="934">
                  <c:v>All Others</c:v>
                </c:pt>
                <c:pt idx="935">
                  <c:v>All Others</c:v>
                </c:pt>
                <c:pt idx="936">
                  <c:v>All Others</c:v>
                </c:pt>
                <c:pt idx="937">
                  <c:v>Chavroux</c:v>
                </c:pt>
                <c:pt idx="938">
                  <c:v>All Others</c:v>
                </c:pt>
                <c:pt idx="939">
                  <c:v>All Others</c:v>
                </c:pt>
                <c:pt idx="940">
                  <c:v>All Others</c:v>
                </c:pt>
                <c:pt idx="941">
                  <c:v>Raguin</c:v>
                </c:pt>
                <c:pt idx="942">
                  <c:v>All Others</c:v>
                </c:pt>
                <c:pt idx="943">
                  <c:v>All Others</c:v>
                </c:pt>
                <c:pt idx="944">
                  <c:v>Corsica</c:v>
                </c:pt>
                <c:pt idx="945">
                  <c:v>La Belle Et</c:v>
                </c:pt>
                <c:pt idx="946">
                  <c:v>All Others</c:v>
                </c:pt>
                <c:pt idx="947">
                  <c:v>All Others</c:v>
                </c:pt>
                <c:pt idx="948">
                  <c:v>All Others</c:v>
                </c:pt>
                <c:pt idx="949">
                  <c:v>All Others</c:v>
                </c:pt>
                <c:pt idx="950">
                  <c:v>Raguin</c:v>
                </c:pt>
                <c:pt idx="951">
                  <c:v>All Others</c:v>
                </c:pt>
                <c:pt idx="952">
                  <c:v>Etoile Du V</c:v>
                </c:pt>
                <c:pt idx="953">
                  <c:v>All Others</c:v>
                </c:pt>
                <c:pt idx="954">
                  <c:v>Milleret: A</c:v>
                </c:pt>
                <c:pt idx="955">
                  <c:v>All Others</c:v>
                </c:pt>
                <c:pt idx="956">
                  <c:v>La Belle Et</c:v>
                </c:pt>
                <c:pt idx="957">
                  <c:v>All Others</c:v>
                </c:pt>
                <c:pt idx="958">
                  <c:v>Lactalis: A</c:v>
                </c:pt>
                <c:pt idx="959">
                  <c:v>All Others</c:v>
                </c:pt>
                <c:pt idx="960">
                  <c:v>All Others</c:v>
                </c:pt>
                <c:pt idx="961">
                  <c:v>All Others</c:v>
                </c:pt>
                <c:pt idx="962">
                  <c:v>Rians</c:v>
                </c:pt>
                <c:pt idx="963">
                  <c:v>Mini Babybe</c:v>
                </c:pt>
                <c:pt idx="964">
                  <c:v>All Others</c:v>
                </c:pt>
                <c:pt idx="965">
                  <c:v>All Others</c:v>
                </c:pt>
                <c:pt idx="966">
                  <c:v>All Others</c:v>
                </c:pt>
                <c:pt idx="967">
                  <c:v>All Others</c:v>
                </c:pt>
                <c:pt idx="968">
                  <c:v>All Others</c:v>
                </c:pt>
                <c:pt idx="969">
                  <c:v>Lactalis: A</c:v>
                </c:pt>
                <c:pt idx="970">
                  <c:v>Casa Azzurr</c:v>
                </c:pt>
                <c:pt idx="971">
                  <c:v>All Others</c:v>
                </c:pt>
                <c:pt idx="972">
                  <c:v>All Others</c:v>
                </c:pt>
                <c:pt idx="973">
                  <c:v>All Others</c:v>
                </c:pt>
                <c:pt idx="974">
                  <c:v>All Others</c:v>
                </c:pt>
                <c:pt idx="975">
                  <c:v>All Others</c:v>
                </c:pt>
                <c:pt idx="976">
                  <c:v>All Others</c:v>
                </c:pt>
                <c:pt idx="977">
                  <c:v>All Others</c:v>
                </c:pt>
                <c:pt idx="978">
                  <c:v>All Others</c:v>
                </c:pt>
                <c:pt idx="979">
                  <c:v>All Others</c:v>
                </c:pt>
                <c:pt idx="980">
                  <c:v>All Others</c:v>
                </c:pt>
                <c:pt idx="981">
                  <c:v>Gillot</c:v>
                </c:pt>
                <c:pt idx="982">
                  <c:v>Raguin</c:v>
                </c:pt>
                <c:pt idx="983">
                  <c:v>All Others</c:v>
                </c:pt>
                <c:pt idx="984">
                  <c:v>Lactalis: A</c:v>
                </c:pt>
                <c:pt idx="985">
                  <c:v>All Others</c:v>
                </c:pt>
                <c:pt idx="986">
                  <c:v>All Others</c:v>
                </c:pt>
                <c:pt idx="987">
                  <c:v>Etoile Du V</c:v>
                </c:pt>
                <c:pt idx="988">
                  <c:v>All Others</c:v>
                </c:pt>
                <c:pt idx="989">
                  <c:v>Violife</c:v>
                </c:pt>
                <c:pt idx="990">
                  <c:v>All Others</c:v>
                </c:pt>
                <c:pt idx="991">
                  <c:v>All Others</c:v>
                </c:pt>
                <c:pt idx="992">
                  <c:v>All Others</c:v>
                </c:pt>
                <c:pt idx="993">
                  <c:v>All Others</c:v>
                </c:pt>
                <c:pt idx="994">
                  <c:v>Paysan Bret</c:v>
                </c:pt>
                <c:pt idx="995">
                  <c:v>All Others</c:v>
                </c:pt>
                <c:pt idx="996">
                  <c:v>All Others</c:v>
                </c:pt>
                <c:pt idx="997">
                  <c:v>Kiri</c:v>
                </c:pt>
                <c:pt idx="998">
                  <c:v>Raguin</c:v>
                </c:pt>
                <c:pt idx="999">
                  <c:v>All Others</c:v>
                </c:pt>
                <c:pt idx="1000">
                  <c:v>All Others</c:v>
                </c:pt>
                <c:pt idx="1001">
                  <c:v>All Others</c:v>
                </c:pt>
                <c:pt idx="1002">
                  <c:v>All Others</c:v>
                </c:pt>
                <c:pt idx="1003">
                  <c:v>All Others</c:v>
                </c:pt>
                <c:pt idx="1004">
                  <c:v>All Others</c:v>
                </c:pt>
                <c:pt idx="1005">
                  <c:v>All Others</c:v>
                </c:pt>
                <c:pt idx="1006">
                  <c:v>All Others</c:v>
                </c:pt>
                <c:pt idx="1007">
                  <c:v>Ambrosi</c:v>
                </c:pt>
                <c:pt idx="1008">
                  <c:v>All Others</c:v>
                </c:pt>
                <c:pt idx="1009">
                  <c:v>Lactalis: A</c:v>
                </c:pt>
                <c:pt idx="1010">
                  <c:v>All Others</c:v>
                </c:pt>
                <c:pt idx="1011">
                  <c:v>All Others</c:v>
                </c:pt>
                <c:pt idx="1012">
                  <c:v>All Others</c:v>
                </c:pt>
                <c:pt idx="1013">
                  <c:v>La Belle Et</c:v>
                </c:pt>
                <c:pt idx="1014">
                  <c:v>All Others</c:v>
                </c:pt>
                <c:pt idx="1015">
                  <c:v>All Others</c:v>
                </c:pt>
                <c:pt idx="1016">
                  <c:v>All Others</c:v>
                </c:pt>
                <c:pt idx="1017">
                  <c:v>All Others</c:v>
                </c:pt>
                <c:pt idx="1018">
                  <c:v>All Others</c:v>
                </c:pt>
                <c:pt idx="1019">
                  <c:v>All Others</c:v>
                </c:pt>
                <c:pt idx="1020">
                  <c:v>All Others</c:v>
                </c:pt>
                <c:pt idx="1021">
                  <c:v>Private Lab</c:v>
                </c:pt>
                <c:pt idx="1022">
                  <c:v>All Others</c:v>
                </c:pt>
                <c:pt idx="1023">
                  <c:v>All Others</c:v>
                </c:pt>
                <c:pt idx="1024">
                  <c:v>Lactalis: A</c:v>
                </c:pt>
                <c:pt idx="1025">
                  <c:v>All Others</c:v>
                </c:pt>
                <c:pt idx="1026">
                  <c:v>All Others</c:v>
                </c:pt>
                <c:pt idx="1027">
                  <c:v>All Others</c:v>
                </c:pt>
                <c:pt idx="1028">
                  <c:v>All Others</c:v>
                </c:pt>
                <c:pt idx="1029">
                  <c:v>All Others</c:v>
                </c:pt>
                <c:pt idx="1030">
                  <c:v>All Others</c:v>
                </c:pt>
                <c:pt idx="1031">
                  <c:v>All Others</c:v>
                </c:pt>
                <c:pt idx="1032">
                  <c:v>All Others</c:v>
                </c:pt>
                <c:pt idx="1033">
                  <c:v>All Others</c:v>
                </c:pt>
                <c:pt idx="1034">
                  <c:v>All Others</c:v>
                </c:pt>
                <c:pt idx="1035">
                  <c:v>All Others</c:v>
                </c:pt>
                <c:pt idx="1036">
                  <c:v>Lactalis: A</c:v>
                </c:pt>
                <c:pt idx="1037">
                  <c:v>All Others</c:v>
                </c:pt>
                <c:pt idx="1038">
                  <c:v>All Others</c:v>
                </c:pt>
                <c:pt idx="1039">
                  <c:v>L'Ortolan</c:v>
                </c:pt>
                <c:pt idx="1040">
                  <c:v>All Others</c:v>
                </c:pt>
                <c:pt idx="1041">
                  <c:v>All Others</c:v>
                </c:pt>
                <c:pt idx="1042">
                  <c:v>All Others</c:v>
                </c:pt>
                <c:pt idx="1043">
                  <c:v>All Others</c:v>
                </c:pt>
                <c:pt idx="1044">
                  <c:v>Entremont</c:v>
                </c:pt>
                <c:pt idx="1045">
                  <c:v>Raguin</c:v>
                </c:pt>
                <c:pt idx="1046">
                  <c:v>All Others</c:v>
                </c:pt>
                <c:pt idx="1047">
                  <c:v>All Others</c:v>
                </c:pt>
                <c:pt idx="1048">
                  <c:v>Raguin</c:v>
                </c:pt>
                <c:pt idx="1049">
                  <c:v>All Others</c:v>
                </c:pt>
                <c:pt idx="1050">
                  <c:v>All Others</c:v>
                </c:pt>
                <c:pt idx="1051">
                  <c:v>All Others</c:v>
                </c:pt>
                <c:pt idx="1052">
                  <c:v>All Others</c:v>
                </c:pt>
                <c:pt idx="1053">
                  <c:v>Raguin</c:v>
                </c:pt>
                <c:pt idx="1054">
                  <c:v>All Others</c:v>
                </c:pt>
                <c:pt idx="1055">
                  <c:v>Paysan Bret</c:v>
                </c:pt>
                <c:pt idx="1056">
                  <c:v>All Others</c:v>
                </c:pt>
                <c:pt idx="1057">
                  <c:v>All Others</c:v>
                </c:pt>
                <c:pt idx="1058">
                  <c:v>All Others</c:v>
                </c:pt>
                <c:pt idx="1059">
                  <c:v>All Others</c:v>
                </c:pt>
                <c:pt idx="1060">
                  <c:v>All Others</c:v>
                </c:pt>
                <c:pt idx="1061">
                  <c:v>All Others</c:v>
                </c:pt>
                <c:pt idx="1062">
                  <c:v>All Others</c:v>
                </c:pt>
                <c:pt idx="1063">
                  <c:v>All Others</c:v>
                </c:pt>
                <c:pt idx="1064">
                  <c:v>All Others</c:v>
                </c:pt>
                <c:pt idx="1065">
                  <c:v>All Others</c:v>
                </c:pt>
                <c:pt idx="1066">
                  <c:v>Raguin</c:v>
                </c:pt>
                <c:pt idx="1067">
                  <c:v>All Others</c:v>
                </c:pt>
                <c:pt idx="1068">
                  <c:v>All Others</c:v>
                </c:pt>
                <c:pt idx="1069">
                  <c:v>All Others</c:v>
                </c:pt>
                <c:pt idx="1070">
                  <c:v>All Others</c:v>
                </c:pt>
                <c:pt idx="1071">
                  <c:v>All Others</c:v>
                </c:pt>
                <c:pt idx="1072">
                  <c:v>All Others</c:v>
                </c:pt>
                <c:pt idx="1073">
                  <c:v>All Others</c:v>
                </c:pt>
                <c:pt idx="1074">
                  <c:v>All Others</c:v>
                </c:pt>
                <c:pt idx="1075">
                  <c:v>All Others</c:v>
                </c:pt>
                <c:pt idx="1076">
                  <c:v>All Others</c:v>
                </c:pt>
                <c:pt idx="1077">
                  <c:v>All Others</c:v>
                </c:pt>
                <c:pt idx="1078">
                  <c:v>Raguin</c:v>
                </c:pt>
                <c:pt idx="1079">
                  <c:v>All Others</c:v>
                </c:pt>
                <c:pt idx="1080">
                  <c:v>All Others</c:v>
                </c:pt>
                <c:pt idx="1081">
                  <c:v>All Others</c:v>
                </c:pt>
                <c:pt idx="1082">
                  <c:v>Raguin</c:v>
                </c:pt>
                <c:pt idx="1083">
                  <c:v>All Others</c:v>
                </c:pt>
                <c:pt idx="1084">
                  <c:v>All Others</c:v>
                </c:pt>
                <c:pt idx="1085">
                  <c:v>All Others</c:v>
                </c:pt>
                <c:pt idx="1086">
                  <c:v>All Others</c:v>
                </c:pt>
                <c:pt idx="1087">
                  <c:v>All Others</c:v>
                </c:pt>
                <c:pt idx="1088">
                  <c:v>All Others</c:v>
                </c:pt>
                <c:pt idx="1089">
                  <c:v>Lindahls Pr</c:v>
                </c:pt>
                <c:pt idx="1090">
                  <c:v>All Others</c:v>
                </c:pt>
                <c:pt idx="1091">
                  <c:v>All Others</c:v>
                </c:pt>
                <c:pt idx="1092">
                  <c:v>Raguin</c:v>
                </c:pt>
                <c:pt idx="1093">
                  <c:v>All Others</c:v>
                </c:pt>
                <c:pt idx="1094">
                  <c:v>All Others</c:v>
                </c:pt>
                <c:pt idx="1095">
                  <c:v>All Others</c:v>
                </c:pt>
                <c:pt idx="1096">
                  <c:v>All Others</c:v>
                </c:pt>
                <c:pt idx="1097">
                  <c:v>All Others</c:v>
                </c:pt>
                <c:pt idx="1098">
                  <c:v>All Others</c:v>
                </c:pt>
                <c:pt idx="1099">
                  <c:v>Pave D'Affi</c:v>
                </c:pt>
                <c:pt idx="1100">
                  <c:v>All Others</c:v>
                </c:pt>
                <c:pt idx="1101">
                  <c:v>All Others</c:v>
                </c:pt>
                <c:pt idx="1102">
                  <c:v>All Others</c:v>
                </c:pt>
                <c:pt idx="1103">
                  <c:v>Limiano</c:v>
                </c:pt>
                <c:pt idx="1104">
                  <c:v>All Others</c:v>
                </c:pt>
                <c:pt idx="1105">
                  <c:v>Private Lab</c:v>
                </c:pt>
                <c:pt idx="1106">
                  <c:v>All Others</c:v>
                </c:pt>
                <c:pt idx="1107">
                  <c:v>All Others</c:v>
                </c:pt>
                <c:pt idx="1108">
                  <c:v>Lactalis: A</c:v>
                </c:pt>
                <c:pt idx="1109">
                  <c:v>All Others</c:v>
                </c:pt>
                <c:pt idx="1110">
                  <c:v>All Others</c:v>
                </c:pt>
                <c:pt idx="1111">
                  <c:v>All Others</c:v>
                </c:pt>
                <c:pt idx="1112">
                  <c:v>Raguin</c:v>
                </c:pt>
                <c:pt idx="1113">
                  <c:v>All Others</c:v>
                </c:pt>
                <c:pt idx="1114">
                  <c:v>All Others</c:v>
                </c:pt>
                <c:pt idx="1115">
                  <c:v>All Others</c:v>
                </c:pt>
                <c:pt idx="1116">
                  <c:v>All Others</c:v>
                </c:pt>
                <c:pt idx="1117">
                  <c:v>All Others</c:v>
                </c:pt>
                <c:pt idx="1118">
                  <c:v>All Others</c:v>
                </c:pt>
                <c:pt idx="1119">
                  <c:v>No Informat</c:v>
                </c:pt>
                <c:pt idx="1120">
                  <c:v>All Others</c:v>
                </c:pt>
                <c:pt idx="1121">
                  <c:v>All Others</c:v>
                </c:pt>
                <c:pt idx="1122">
                  <c:v>All Others</c:v>
                </c:pt>
                <c:pt idx="1123">
                  <c:v>All Others</c:v>
                </c:pt>
                <c:pt idx="1124">
                  <c:v>All Others</c:v>
                </c:pt>
                <c:pt idx="1125">
                  <c:v>Gillot</c:v>
                </c:pt>
                <c:pt idx="1126">
                  <c:v>All Others</c:v>
                </c:pt>
                <c:pt idx="1127">
                  <c:v>All Others</c:v>
                </c:pt>
                <c:pt idx="1128">
                  <c:v>All Others</c:v>
                </c:pt>
                <c:pt idx="1129">
                  <c:v>All Others</c:v>
                </c:pt>
                <c:pt idx="1130">
                  <c:v>Savencia: A</c:v>
                </c:pt>
                <c:pt idx="1131">
                  <c:v>Vivaldi</c:v>
                </c:pt>
                <c:pt idx="1132">
                  <c:v>All Others</c:v>
                </c:pt>
                <c:pt idx="1133">
                  <c:v>All Others</c:v>
                </c:pt>
                <c:pt idx="1134">
                  <c:v>All Others</c:v>
                </c:pt>
                <c:pt idx="1135">
                  <c:v>Baillon</c:v>
                </c:pt>
                <c:pt idx="1136">
                  <c:v>All Others</c:v>
                </c:pt>
                <c:pt idx="1137">
                  <c:v>All Others</c:v>
                </c:pt>
                <c:pt idx="1138">
                  <c:v>All Others</c:v>
                </c:pt>
                <c:pt idx="1139">
                  <c:v>All Others</c:v>
                </c:pt>
                <c:pt idx="1140">
                  <c:v>All Others</c:v>
                </c:pt>
                <c:pt idx="1141">
                  <c:v>All Others</c:v>
                </c:pt>
                <c:pt idx="1142">
                  <c:v>All Others</c:v>
                </c:pt>
                <c:pt idx="1143">
                  <c:v>All Others</c:v>
                </c:pt>
                <c:pt idx="1144">
                  <c:v>All Others</c:v>
                </c:pt>
                <c:pt idx="1145">
                  <c:v>All Others</c:v>
                </c:pt>
                <c:pt idx="1146">
                  <c:v>All Others</c:v>
                </c:pt>
                <c:pt idx="1147">
                  <c:v>All Others</c:v>
                </c:pt>
                <c:pt idx="1148">
                  <c:v>All Others</c:v>
                </c:pt>
                <c:pt idx="1149">
                  <c:v>All Others</c:v>
                </c:pt>
                <c:pt idx="1150">
                  <c:v>All Others</c:v>
                </c:pt>
                <c:pt idx="1151">
                  <c:v>Paysan Bret</c:v>
                </c:pt>
                <c:pt idx="1152">
                  <c:v>All Others</c:v>
                </c:pt>
                <c:pt idx="1153">
                  <c:v>All Others</c:v>
                </c:pt>
                <c:pt idx="1154">
                  <c:v>All Others</c:v>
                </c:pt>
                <c:pt idx="1155">
                  <c:v>All Others</c:v>
                </c:pt>
                <c:pt idx="1156">
                  <c:v>All Others</c:v>
                </c:pt>
                <c:pt idx="1157">
                  <c:v>All Others</c:v>
                </c:pt>
                <c:pt idx="1158">
                  <c:v>All Others</c:v>
                </c:pt>
                <c:pt idx="1159">
                  <c:v>All Others</c:v>
                </c:pt>
                <c:pt idx="1160">
                  <c:v>All Others</c:v>
                </c:pt>
                <c:pt idx="1161">
                  <c:v>All Others</c:v>
                </c:pt>
                <c:pt idx="1162">
                  <c:v>All Others</c:v>
                </c:pt>
                <c:pt idx="1163">
                  <c:v>All Others</c:v>
                </c:pt>
                <c:pt idx="1164">
                  <c:v>All Others</c:v>
                </c:pt>
                <c:pt idx="1165">
                  <c:v>All Others</c:v>
                </c:pt>
                <c:pt idx="1166">
                  <c:v>All Others</c:v>
                </c:pt>
                <c:pt idx="1167">
                  <c:v>All Others</c:v>
                </c:pt>
                <c:pt idx="1168">
                  <c:v>All Others</c:v>
                </c:pt>
                <c:pt idx="1169">
                  <c:v>All Others</c:v>
                </c:pt>
                <c:pt idx="1170">
                  <c:v>All Others</c:v>
                </c:pt>
                <c:pt idx="1171">
                  <c:v>All Others</c:v>
                </c:pt>
                <c:pt idx="1172">
                  <c:v>All Others</c:v>
                </c:pt>
                <c:pt idx="1173">
                  <c:v>All Others</c:v>
                </c:pt>
                <c:pt idx="1174">
                  <c:v>All Others</c:v>
                </c:pt>
                <c:pt idx="1175">
                  <c:v>All Others</c:v>
                </c:pt>
                <c:pt idx="1176">
                  <c:v>Milleret</c:v>
                </c:pt>
                <c:pt idx="1177">
                  <c:v>All Others</c:v>
                </c:pt>
                <c:pt idx="1178">
                  <c:v>All Others</c:v>
                </c:pt>
                <c:pt idx="1179">
                  <c:v>All Others</c:v>
                </c:pt>
                <c:pt idx="1180">
                  <c:v>All Others</c:v>
                </c:pt>
                <c:pt idx="1181">
                  <c:v>All Others</c:v>
                </c:pt>
                <c:pt idx="1182">
                  <c:v>La Table M</c:v>
                </c:pt>
                <c:pt idx="1183">
                  <c:v>All Others</c:v>
                </c:pt>
                <c:pt idx="1184">
                  <c:v>Gillot</c:v>
                </c:pt>
                <c:pt idx="1185">
                  <c:v>All Others</c:v>
                </c:pt>
                <c:pt idx="1186">
                  <c:v>All Others</c:v>
                </c:pt>
                <c:pt idx="1187">
                  <c:v>All Others</c:v>
                </c:pt>
                <c:pt idx="1188">
                  <c:v>All Others</c:v>
                </c:pt>
                <c:pt idx="1189">
                  <c:v>Vivaldi</c:v>
                </c:pt>
                <c:pt idx="1190">
                  <c:v>All Others</c:v>
                </c:pt>
                <c:pt idx="1191">
                  <c:v>All Others</c:v>
                </c:pt>
                <c:pt idx="1192">
                  <c:v>All Others</c:v>
                </c:pt>
                <c:pt idx="1193">
                  <c:v>All Others</c:v>
                </c:pt>
                <c:pt idx="1194">
                  <c:v>All Others</c:v>
                </c:pt>
                <c:pt idx="1195">
                  <c:v>Savencia: A</c:v>
                </c:pt>
                <c:pt idx="1196">
                  <c:v>All Others</c:v>
                </c:pt>
                <c:pt idx="1197">
                  <c:v>All Others</c:v>
                </c:pt>
                <c:pt idx="1198">
                  <c:v>All Others</c:v>
                </c:pt>
                <c:pt idx="1199">
                  <c:v>All Others</c:v>
                </c:pt>
                <c:pt idx="1200">
                  <c:v>All Others</c:v>
                </c:pt>
                <c:pt idx="1201">
                  <c:v>All Others</c:v>
                </c:pt>
                <c:pt idx="1202">
                  <c:v>All Others</c:v>
                </c:pt>
                <c:pt idx="1203">
                  <c:v>All Others</c:v>
                </c:pt>
                <c:pt idx="1204">
                  <c:v>All Others</c:v>
                </c:pt>
                <c:pt idx="1205">
                  <c:v>All Others</c:v>
                </c:pt>
                <c:pt idx="1206">
                  <c:v>All Others</c:v>
                </c:pt>
                <c:pt idx="1207">
                  <c:v>All Others</c:v>
                </c:pt>
                <c:pt idx="1208">
                  <c:v>Rians</c:v>
                </c:pt>
                <c:pt idx="1209">
                  <c:v>All Others</c:v>
                </c:pt>
                <c:pt idx="1210">
                  <c:v>All Others</c:v>
                </c:pt>
                <c:pt idx="1211">
                  <c:v>All Others</c:v>
                </c:pt>
                <c:pt idx="1212">
                  <c:v>All Others</c:v>
                </c:pt>
                <c:pt idx="1213">
                  <c:v>All Others</c:v>
                </c:pt>
                <c:pt idx="1214">
                  <c:v>Casa Azzur</c:v>
                </c:pt>
                <c:pt idx="1215">
                  <c:v>All Others</c:v>
                </c:pt>
                <c:pt idx="1216">
                  <c:v>All Others</c:v>
                </c:pt>
                <c:pt idx="1217">
                  <c:v>All Others</c:v>
                </c:pt>
                <c:pt idx="1218">
                  <c:v>All Others</c:v>
                </c:pt>
                <c:pt idx="1219">
                  <c:v>All Others</c:v>
                </c:pt>
                <c:pt idx="1220">
                  <c:v>All Others</c:v>
                </c:pt>
                <c:pt idx="1221">
                  <c:v>All Others</c:v>
                </c:pt>
                <c:pt idx="1222">
                  <c:v>All Others</c:v>
                </c:pt>
                <c:pt idx="1223">
                  <c:v>All Others</c:v>
                </c:pt>
                <c:pt idx="1224">
                  <c:v>All Others</c:v>
                </c:pt>
                <c:pt idx="1225">
                  <c:v>All Others</c:v>
                </c:pt>
                <c:pt idx="1226">
                  <c:v>All Others</c:v>
                </c:pt>
                <c:pt idx="1227">
                  <c:v>All Others</c:v>
                </c:pt>
                <c:pt idx="1228">
                  <c:v>All Others</c:v>
                </c:pt>
                <c:pt idx="1229">
                  <c:v>All Others</c:v>
                </c:pt>
                <c:pt idx="1230">
                  <c:v>All Others</c:v>
                </c:pt>
                <c:pt idx="1231">
                  <c:v>Delamelie</c:v>
                </c:pt>
                <c:pt idx="1232">
                  <c:v>All Others</c:v>
                </c:pt>
                <c:pt idx="1233">
                  <c:v>All Others</c:v>
                </c:pt>
                <c:pt idx="1234">
                  <c:v>All Others</c:v>
                </c:pt>
                <c:pt idx="1235">
                  <c:v>All Others</c:v>
                </c:pt>
                <c:pt idx="1236">
                  <c:v>All Others</c:v>
                </c:pt>
                <c:pt idx="1237">
                  <c:v>Pave D'Affi</c:v>
                </c:pt>
                <c:pt idx="1238">
                  <c:v>All Others</c:v>
                </c:pt>
                <c:pt idx="1239">
                  <c:v>Casa Sant</c:v>
                </c:pt>
                <c:pt idx="1240">
                  <c:v>All Others</c:v>
                </c:pt>
                <c:pt idx="1241">
                  <c:v>All Others</c:v>
                </c:pt>
                <c:pt idx="1242">
                  <c:v>All Others</c:v>
                </c:pt>
                <c:pt idx="1243">
                  <c:v>All Others</c:v>
                </c:pt>
                <c:pt idx="1244">
                  <c:v>All Others</c:v>
                </c:pt>
                <c:pt idx="1245">
                  <c:v>All Others</c:v>
                </c:pt>
                <c:pt idx="1246">
                  <c:v>All Others</c:v>
                </c:pt>
                <c:pt idx="1247">
                  <c:v>All Others</c:v>
                </c:pt>
                <c:pt idx="1248">
                  <c:v>All Others</c:v>
                </c:pt>
                <c:pt idx="1249">
                  <c:v>All Others</c:v>
                </c:pt>
                <c:pt idx="1250">
                  <c:v>Milleret</c:v>
                </c:pt>
                <c:pt idx="1251">
                  <c:v>Limiano</c:v>
                </c:pt>
                <c:pt idx="1252">
                  <c:v>All Others</c:v>
                </c:pt>
                <c:pt idx="1253">
                  <c:v>All Others</c:v>
                </c:pt>
                <c:pt idx="1254">
                  <c:v>All Others</c:v>
                </c:pt>
                <c:pt idx="1255">
                  <c:v>All Others</c:v>
                </c:pt>
                <c:pt idx="1256">
                  <c:v>All Others</c:v>
                </c:pt>
                <c:pt idx="1257">
                  <c:v>Rians</c:v>
                </c:pt>
                <c:pt idx="1258">
                  <c:v>All Others</c:v>
                </c:pt>
                <c:pt idx="1259">
                  <c:v>All Others</c:v>
                </c:pt>
                <c:pt idx="1260">
                  <c:v>Jperrin</c:v>
                </c:pt>
                <c:pt idx="1261">
                  <c:v>All Others</c:v>
                </c:pt>
                <c:pt idx="1262">
                  <c:v>All Others</c:v>
                </c:pt>
                <c:pt idx="1263">
                  <c:v>Lactalis: A</c:v>
                </c:pt>
                <c:pt idx="1264">
                  <c:v>All Others</c:v>
                </c:pt>
                <c:pt idx="1265">
                  <c:v>All Others</c:v>
                </c:pt>
                <c:pt idx="1266">
                  <c:v>All Others</c:v>
                </c:pt>
                <c:pt idx="1267">
                  <c:v>All Others</c:v>
                </c:pt>
                <c:pt idx="1268">
                  <c:v>All Others</c:v>
                </c:pt>
                <c:pt idx="1269">
                  <c:v>All Others</c:v>
                </c:pt>
                <c:pt idx="1270">
                  <c:v>Lactalis: A</c:v>
                </c:pt>
                <c:pt idx="1271">
                  <c:v>Pochat</c:v>
                </c:pt>
                <c:pt idx="1272">
                  <c:v>All Others</c:v>
                </c:pt>
                <c:pt idx="1273">
                  <c:v>Pave D'Affi</c:v>
                </c:pt>
                <c:pt idx="1274">
                  <c:v>All Others</c:v>
                </c:pt>
                <c:pt idx="1275">
                  <c:v>All Others</c:v>
                </c:pt>
                <c:pt idx="1276">
                  <c:v>All Others</c:v>
                </c:pt>
                <c:pt idx="1277">
                  <c:v>All Others</c:v>
                </c:pt>
                <c:pt idx="1278">
                  <c:v>All Others</c:v>
                </c:pt>
                <c:pt idx="1279">
                  <c:v>All Others</c:v>
                </c:pt>
                <c:pt idx="1280">
                  <c:v>All Others</c:v>
                </c:pt>
                <c:pt idx="1281">
                  <c:v>All Others</c:v>
                </c:pt>
                <c:pt idx="1282">
                  <c:v>Jperrin</c:v>
                </c:pt>
                <c:pt idx="1283">
                  <c:v>All Others</c:v>
                </c:pt>
                <c:pt idx="1284">
                  <c:v>All Others</c:v>
                </c:pt>
                <c:pt idx="1285">
                  <c:v>All Others</c:v>
                </c:pt>
                <c:pt idx="1286">
                  <c:v>All Others</c:v>
                </c:pt>
                <c:pt idx="1287">
                  <c:v>All Others</c:v>
                </c:pt>
                <c:pt idx="1288">
                  <c:v>All Others</c:v>
                </c:pt>
                <c:pt idx="1289">
                  <c:v>All Others</c:v>
                </c:pt>
                <c:pt idx="1290">
                  <c:v>All Others</c:v>
                </c:pt>
                <c:pt idx="1291">
                  <c:v>All Others</c:v>
                </c:pt>
                <c:pt idx="1292">
                  <c:v>Pochat</c:v>
                </c:pt>
                <c:pt idx="1293">
                  <c:v>All Others</c:v>
                </c:pt>
                <c:pt idx="1294">
                  <c:v>All Others</c:v>
                </c:pt>
                <c:pt idx="1295">
                  <c:v>All Others</c:v>
                </c:pt>
                <c:pt idx="1296">
                  <c:v>All Others</c:v>
                </c:pt>
                <c:pt idx="1297">
                  <c:v>All Others</c:v>
                </c:pt>
                <c:pt idx="1298">
                  <c:v>All Others</c:v>
                </c:pt>
                <c:pt idx="1299">
                  <c:v>All Others</c:v>
                </c:pt>
                <c:pt idx="1300">
                  <c:v>Gioiella</c:v>
                </c:pt>
                <c:pt idx="1301">
                  <c:v>All Others</c:v>
                </c:pt>
                <c:pt idx="1302">
                  <c:v>All Others</c:v>
                </c:pt>
                <c:pt idx="1303">
                  <c:v>All Others</c:v>
                </c:pt>
                <c:pt idx="1304">
                  <c:v>All Others</c:v>
                </c:pt>
                <c:pt idx="1305">
                  <c:v>All Others</c:v>
                </c:pt>
                <c:pt idx="1306">
                  <c:v>All Others</c:v>
                </c:pt>
                <c:pt idx="1307">
                  <c:v>All Others</c:v>
                </c:pt>
                <c:pt idx="1308">
                  <c:v>All Others</c:v>
                </c:pt>
                <c:pt idx="1309">
                  <c:v>All Others</c:v>
                </c:pt>
                <c:pt idx="1310">
                  <c:v>All Others</c:v>
                </c:pt>
                <c:pt idx="1311">
                  <c:v>Savall</c:v>
                </c:pt>
                <c:pt idx="1312">
                  <c:v>All Others</c:v>
                </c:pt>
                <c:pt idx="1313">
                  <c:v>All Others</c:v>
                </c:pt>
                <c:pt idx="1314">
                  <c:v>All Others</c:v>
                </c:pt>
                <c:pt idx="1315">
                  <c:v>All Others</c:v>
                </c:pt>
                <c:pt idx="1316">
                  <c:v>All Others</c:v>
                </c:pt>
                <c:pt idx="1317">
                  <c:v>All Others</c:v>
                </c:pt>
                <c:pt idx="1318">
                  <c:v>All Others</c:v>
                </c:pt>
                <c:pt idx="1319">
                  <c:v>All Others</c:v>
                </c:pt>
                <c:pt idx="1320">
                  <c:v>All Others</c:v>
                </c:pt>
                <c:pt idx="1321">
                  <c:v>All Others</c:v>
                </c:pt>
                <c:pt idx="1322">
                  <c:v>Etoile Du V</c:v>
                </c:pt>
                <c:pt idx="1323">
                  <c:v>All Others</c:v>
                </c:pt>
                <c:pt idx="1324">
                  <c:v>All Others</c:v>
                </c:pt>
                <c:pt idx="1325">
                  <c:v>All Others</c:v>
                </c:pt>
                <c:pt idx="1326">
                  <c:v>All Others</c:v>
                </c:pt>
                <c:pt idx="1327">
                  <c:v>All Others</c:v>
                </c:pt>
                <c:pt idx="1328">
                  <c:v>All Others</c:v>
                </c:pt>
                <c:pt idx="1329">
                  <c:v>All Others</c:v>
                </c:pt>
                <c:pt idx="1330">
                  <c:v>All Others</c:v>
                </c:pt>
                <c:pt idx="1331">
                  <c:v>All Others</c:v>
                </c:pt>
                <c:pt idx="1332">
                  <c:v>All Others</c:v>
                </c:pt>
                <c:pt idx="1333">
                  <c:v>All Others</c:v>
                </c:pt>
                <c:pt idx="1334">
                  <c:v>All Others</c:v>
                </c:pt>
                <c:pt idx="1335">
                  <c:v>All Others</c:v>
                </c:pt>
                <c:pt idx="1336">
                  <c:v>All Others</c:v>
                </c:pt>
                <c:pt idx="1337">
                  <c:v>Lincet</c:v>
                </c:pt>
                <c:pt idx="1338">
                  <c:v>Etoile Du V</c:v>
                </c:pt>
                <c:pt idx="1339">
                  <c:v>All Others</c:v>
                </c:pt>
                <c:pt idx="1340">
                  <c:v>All Others</c:v>
                </c:pt>
                <c:pt idx="1341">
                  <c:v>All Others</c:v>
                </c:pt>
                <c:pt idx="1342">
                  <c:v>All Others</c:v>
                </c:pt>
                <c:pt idx="1343">
                  <c:v>All Others</c:v>
                </c:pt>
                <c:pt idx="1344">
                  <c:v>All Others</c:v>
                </c:pt>
                <c:pt idx="1345">
                  <c:v>All Others</c:v>
                </c:pt>
                <c:pt idx="1346">
                  <c:v>All Others</c:v>
                </c:pt>
                <c:pt idx="1347">
                  <c:v>All Others</c:v>
                </c:pt>
                <c:pt idx="1348">
                  <c:v>Dodin</c:v>
                </c:pt>
                <c:pt idx="1349">
                  <c:v>Casa Sant</c:v>
                </c:pt>
                <c:pt idx="1350">
                  <c:v>All Others</c:v>
                </c:pt>
                <c:pt idx="1351">
                  <c:v>All Others</c:v>
                </c:pt>
                <c:pt idx="1352">
                  <c:v>All Others</c:v>
                </c:pt>
                <c:pt idx="1353">
                  <c:v>All Others</c:v>
                </c:pt>
                <c:pt idx="1354">
                  <c:v>All Others</c:v>
                </c:pt>
                <c:pt idx="1355">
                  <c:v>All Others</c:v>
                </c:pt>
                <c:pt idx="1356">
                  <c:v>All Others</c:v>
                </c:pt>
                <c:pt idx="1357">
                  <c:v>All Others</c:v>
                </c:pt>
                <c:pt idx="1358">
                  <c:v>Private Lab</c:v>
                </c:pt>
                <c:pt idx="1359">
                  <c:v>All Others</c:v>
                </c:pt>
                <c:pt idx="1360">
                  <c:v>All Others</c:v>
                </c:pt>
                <c:pt idx="1361">
                  <c:v>All Others</c:v>
                </c:pt>
                <c:pt idx="1362">
                  <c:v>All Others</c:v>
                </c:pt>
                <c:pt idx="1363">
                  <c:v>All Others</c:v>
                </c:pt>
                <c:pt idx="1364">
                  <c:v>Gillot</c:v>
                </c:pt>
                <c:pt idx="1365">
                  <c:v>All Others</c:v>
                </c:pt>
                <c:pt idx="1366">
                  <c:v>All Others</c:v>
                </c:pt>
                <c:pt idx="1367">
                  <c:v>All Others</c:v>
                </c:pt>
                <c:pt idx="1368">
                  <c:v>Tomasoni</c:v>
                </c:pt>
                <c:pt idx="1369">
                  <c:v>All Others</c:v>
                </c:pt>
                <c:pt idx="1370">
                  <c:v>All Others</c:v>
                </c:pt>
                <c:pt idx="1371">
                  <c:v>R Du Nord</c:v>
                </c:pt>
                <c:pt idx="1372">
                  <c:v>All Others</c:v>
                </c:pt>
                <c:pt idx="1373">
                  <c:v>All Others</c:v>
                </c:pt>
                <c:pt idx="1374">
                  <c:v>All Others</c:v>
                </c:pt>
                <c:pt idx="1375">
                  <c:v>All Others</c:v>
                </c:pt>
                <c:pt idx="1376">
                  <c:v>Laiteries H</c:v>
                </c:pt>
                <c:pt idx="1377">
                  <c:v>Private Lab</c:v>
                </c:pt>
                <c:pt idx="1378">
                  <c:v>All Others</c:v>
                </c:pt>
                <c:pt idx="1379">
                  <c:v>All Others</c:v>
                </c:pt>
                <c:pt idx="1380">
                  <c:v>All Others</c:v>
                </c:pt>
                <c:pt idx="1381">
                  <c:v>All Others</c:v>
                </c:pt>
                <c:pt idx="1382">
                  <c:v>Etoile Du V</c:v>
                </c:pt>
                <c:pt idx="1383">
                  <c:v>Pave D'Affi</c:v>
                </c:pt>
                <c:pt idx="1384">
                  <c:v>Pochat</c:v>
                </c:pt>
                <c:pt idx="1385">
                  <c:v>Milleret: A</c:v>
                </c:pt>
                <c:pt idx="1386">
                  <c:v>All Others</c:v>
                </c:pt>
                <c:pt idx="1387">
                  <c:v>Private Lab</c:v>
                </c:pt>
                <c:pt idx="1388">
                  <c:v>All Others</c:v>
                </c:pt>
                <c:pt idx="1389">
                  <c:v>All Others</c:v>
                </c:pt>
                <c:pt idx="1390">
                  <c:v>All Others</c:v>
                </c:pt>
                <c:pt idx="1391">
                  <c:v>Pays Auge</c:v>
                </c:pt>
                <c:pt idx="1392">
                  <c:v>All Others</c:v>
                </c:pt>
                <c:pt idx="1393">
                  <c:v>Private Lab</c:v>
                </c:pt>
                <c:pt idx="1394">
                  <c:v>All Others</c:v>
                </c:pt>
                <c:pt idx="1395">
                  <c:v>All Others</c:v>
                </c:pt>
                <c:pt idx="1396">
                  <c:v>All Others</c:v>
                </c:pt>
                <c:pt idx="1397">
                  <c:v>All Others</c:v>
                </c:pt>
                <c:pt idx="1398">
                  <c:v>All Others</c:v>
                </c:pt>
                <c:pt idx="1399">
                  <c:v>Duo Lozere</c:v>
                </c:pt>
                <c:pt idx="1400">
                  <c:v>All Others</c:v>
                </c:pt>
                <c:pt idx="1401">
                  <c:v>Private Lab</c:v>
                </c:pt>
                <c:pt idx="1402">
                  <c:v>All Others</c:v>
                </c:pt>
                <c:pt idx="1403">
                  <c:v>All Others</c:v>
                </c:pt>
                <c:pt idx="1404">
                  <c:v>All Others</c:v>
                </c:pt>
                <c:pt idx="1405">
                  <c:v>All Others</c:v>
                </c:pt>
                <c:pt idx="1406">
                  <c:v>Richesmonts</c:v>
                </c:pt>
                <c:pt idx="1407">
                  <c:v>All Others</c:v>
                </c:pt>
                <c:pt idx="1408">
                  <c:v>Private Lab</c:v>
                </c:pt>
                <c:pt idx="1409">
                  <c:v>All Others</c:v>
                </c:pt>
                <c:pt idx="1410">
                  <c:v>All Others</c:v>
                </c:pt>
                <c:pt idx="1411">
                  <c:v>All Others</c:v>
                </c:pt>
                <c:pt idx="1412">
                  <c:v>All Others</c:v>
                </c:pt>
                <c:pt idx="1413">
                  <c:v>All Others</c:v>
                </c:pt>
                <c:pt idx="1414">
                  <c:v>All Others</c:v>
                </c:pt>
                <c:pt idx="1415">
                  <c:v>All Others</c:v>
                </c:pt>
                <c:pt idx="1416">
                  <c:v>All Others</c:v>
                </c:pt>
                <c:pt idx="1417">
                  <c:v>All Others</c:v>
                </c:pt>
                <c:pt idx="1418">
                  <c:v>All Others</c:v>
                </c:pt>
                <c:pt idx="1419">
                  <c:v>Ambrosi</c:v>
                </c:pt>
                <c:pt idx="1420">
                  <c:v>All Others</c:v>
                </c:pt>
                <c:pt idx="1421">
                  <c:v>La Vache Qu</c:v>
                </c:pt>
                <c:pt idx="1422">
                  <c:v>Private Lab</c:v>
                </c:pt>
                <c:pt idx="1423">
                  <c:v>All Others</c:v>
                </c:pt>
                <c:pt idx="1424">
                  <c:v>All Others</c:v>
                </c:pt>
                <c:pt idx="1425">
                  <c:v>All Others</c:v>
                </c:pt>
                <c:pt idx="1426">
                  <c:v>All Others</c:v>
                </c:pt>
                <c:pt idx="1427">
                  <c:v>All Others</c:v>
                </c:pt>
                <c:pt idx="1428">
                  <c:v>Private Lab</c:v>
                </c:pt>
                <c:pt idx="1429">
                  <c:v>All Others</c:v>
                </c:pt>
                <c:pt idx="1430">
                  <c:v>All Others</c:v>
                </c:pt>
                <c:pt idx="1431">
                  <c:v>Private Lab</c:v>
                </c:pt>
                <c:pt idx="1432">
                  <c:v>All Others</c:v>
                </c:pt>
                <c:pt idx="1433">
                  <c:v>All Others</c:v>
                </c:pt>
                <c:pt idx="1434">
                  <c:v>All Others</c:v>
                </c:pt>
                <c:pt idx="1435">
                  <c:v>All Others</c:v>
                </c:pt>
                <c:pt idx="1436">
                  <c:v>All Others</c:v>
                </c:pt>
                <c:pt idx="1437">
                  <c:v>All Others</c:v>
                </c:pt>
                <c:pt idx="1438">
                  <c:v>Private Lab</c:v>
                </c:pt>
                <c:pt idx="1439">
                  <c:v>All Others</c:v>
                </c:pt>
                <c:pt idx="1440">
                  <c:v>Private Lab</c:v>
                </c:pt>
                <c:pt idx="1441">
                  <c:v>Societe</c:v>
                </c:pt>
                <c:pt idx="1442">
                  <c:v>All Others</c:v>
                </c:pt>
                <c:pt idx="1443">
                  <c:v>All Others</c:v>
                </c:pt>
                <c:pt idx="1444">
                  <c:v>All Others</c:v>
                </c:pt>
                <c:pt idx="1445">
                  <c:v>All Others</c:v>
                </c:pt>
                <c:pt idx="1446">
                  <c:v>All Others</c:v>
                </c:pt>
                <c:pt idx="1447">
                  <c:v>All Others</c:v>
                </c:pt>
                <c:pt idx="1448">
                  <c:v>All Others</c:v>
                </c:pt>
                <c:pt idx="1449">
                  <c:v>All Others</c:v>
                </c:pt>
                <c:pt idx="1450">
                  <c:v>Bien Bon</c:v>
                </c:pt>
                <c:pt idx="1451">
                  <c:v>All Others</c:v>
                </c:pt>
                <c:pt idx="1452">
                  <c:v>All Others</c:v>
                </c:pt>
                <c:pt idx="1453">
                  <c:v>All Others</c:v>
                </c:pt>
                <c:pt idx="1454">
                  <c:v>All Others</c:v>
                </c:pt>
                <c:pt idx="1455">
                  <c:v>All Others</c:v>
                </c:pt>
                <c:pt idx="1456">
                  <c:v>All Others</c:v>
                </c:pt>
                <c:pt idx="1457">
                  <c:v>All Others</c:v>
                </c:pt>
                <c:pt idx="1458">
                  <c:v>All Others</c:v>
                </c:pt>
                <c:pt idx="1459">
                  <c:v>All Others</c:v>
                </c:pt>
                <c:pt idx="1460">
                  <c:v>All Others</c:v>
                </c:pt>
                <c:pt idx="1461">
                  <c:v>All Others</c:v>
                </c:pt>
                <c:pt idx="1462">
                  <c:v>Private Lab</c:v>
                </c:pt>
                <c:pt idx="1463">
                  <c:v>All Others</c:v>
                </c:pt>
                <c:pt idx="1464">
                  <c:v>All Others</c:v>
                </c:pt>
                <c:pt idx="1465">
                  <c:v>All Others</c:v>
                </c:pt>
                <c:pt idx="1466">
                  <c:v>All Others</c:v>
                </c:pt>
                <c:pt idx="1467">
                  <c:v>All Others</c:v>
                </c:pt>
                <c:pt idx="1468">
                  <c:v>All Others</c:v>
                </c:pt>
                <c:pt idx="1469">
                  <c:v>All Others</c:v>
                </c:pt>
                <c:pt idx="1470">
                  <c:v>All Others</c:v>
                </c:pt>
                <c:pt idx="1471">
                  <c:v>All Others</c:v>
                </c:pt>
                <c:pt idx="1472">
                  <c:v>Private Lab</c:v>
                </c:pt>
                <c:pt idx="1473">
                  <c:v>All Others</c:v>
                </c:pt>
                <c:pt idx="1474">
                  <c:v>Lactalis: A</c:v>
                </c:pt>
                <c:pt idx="1475">
                  <c:v>Private Lab</c:v>
                </c:pt>
                <c:pt idx="1476">
                  <c:v>Private Lab</c:v>
                </c:pt>
                <c:pt idx="1477">
                  <c:v>All Others</c:v>
                </c:pt>
                <c:pt idx="1478">
                  <c:v>Etoile Du V</c:v>
                </c:pt>
                <c:pt idx="1479">
                  <c:v>All Others</c:v>
                </c:pt>
                <c:pt idx="1480">
                  <c:v>All Others</c:v>
                </c:pt>
                <c:pt idx="1481">
                  <c:v>Alsacelait</c:v>
                </c:pt>
                <c:pt idx="1482">
                  <c:v>Gillot</c:v>
                </c:pt>
                <c:pt idx="1483">
                  <c:v>All Others</c:v>
                </c:pt>
                <c:pt idx="1484">
                  <c:v>All Others</c:v>
                </c:pt>
                <c:pt idx="1485">
                  <c:v>Bien Bon</c:v>
                </c:pt>
                <c:pt idx="1486">
                  <c:v>Lactalis: A</c:v>
                </c:pt>
                <c:pt idx="1487">
                  <c:v>All Others</c:v>
                </c:pt>
                <c:pt idx="1488">
                  <c:v>All Others</c:v>
                </c:pt>
                <c:pt idx="1489">
                  <c:v>All Others</c:v>
                </c:pt>
                <c:pt idx="1490">
                  <c:v>Private Lab</c:v>
                </c:pt>
                <c:pt idx="1491">
                  <c:v>All Others</c:v>
                </c:pt>
                <c:pt idx="1492">
                  <c:v>All Others</c:v>
                </c:pt>
                <c:pt idx="1493">
                  <c:v>Ambrosi</c:v>
                </c:pt>
                <c:pt idx="1494">
                  <c:v>All Others</c:v>
                </c:pt>
                <c:pt idx="1495">
                  <c:v>O'Tapas Ape</c:v>
                </c:pt>
                <c:pt idx="1496">
                  <c:v>Lactalis: A</c:v>
                </c:pt>
                <c:pt idx="1497">
                  <c:v>Leerdammer</c:v>
                </c:pt>
                <c:pt idx="1498">
                  <c:v>All Others</c:v>
                </c:pt>
                <c:pt idx="1499">
                  <c:v>Private Lab</c:v>
                </c:pt>
                <c:pt idx="1500">
                  <c:v>Private Lab</c:v>
                </c:pt>
                <c:pt idx="1501">
                  <c:v>Lactalis: A</c:v>
                </c:pt>
                <c:pt idx="1502">
                  <c:v>Gillot</c:v>
                </c:pt>
                <c:pt idx="1503">
                  <c:v>Apericube</c:v>
                </c:pt>
                <c:pt idx="1504">
                  <c:v>All Others</c:v>
                </c:pt>
                <c:pt idx="1505">
                  <c:v>Chirag</c:v>
                </c:pt>
                <c:pt idx="1506">
                  <c:v>All Others</c:v>
                </c:pt>
                <c:pt idx="1507">
                  <c:v>Private Lab</c:v>
                </c:pt>
                <c:pt idx="1508">
                  <c:v>Private Lab</c:v>
                </c:pt>
                <c:pt idx="1509">
                  <c:v>All Others</c:v>
                </c:pt>
                <c:pt idx="1510">
                  <c:v>All Others</c:v>
                </c:pt>
                <c:pt idx="1511">
                  <c:v>All Others</c:v>
                </c:pt>
                <c:pt idx="1512">
                  <c:v>President</c:v>
                </c:pt>
                <c:pt idx="1513">
                  <c:v>Private Lab</c:v>
                </c:pt>
                <c:pt idx="1514">
                  <c:v>Private Lab</c:v>
                </c:pt>
                <c:pt idx="1515">
                  <c:v>All Others</c:v>
                </c:pt>
                <c:pt idx="1516">
                  <c:v>Bien Bon</c:v>
                </c:pt>
                <c:pt idx="1517">
                  <c:v>Private Lab</c:v>
                </c:pt>
                <c:pt idx="1518">
                  <c:v>Private Lab</c:v>
                </c:pt>
                <c:pt idx="1519">
                  <c:v>All Others</c:v>
                </c:pt>
                <c:pt idx="1520">
                  <c:v>All Others</c:v>
                </c:pt>
              </c:strCache>
            </c:strRef>
          </c:cat>
          <c:val>
            <c:numRef>
              <c:f>Sheet1!$C$2:$C$1522</c:f>
              <c:numCache>
                <c:formatCode>General</c:formatCode>
                <c:ptCount val="1521"/>
                <c:pt idx="0">
                  <c:v>0.020094329864217206</c:v>
                </c:pt>
                <c:pt idx="1">
                  <c:v>0.038214069312173235</c:v>
                </c:pt>
                <c:pt idx="2">
                  <c:v>0.05602961953483221</c:v>
                </c:pt>
                <c:pt idx="3">
                  <c:v>0.06959789096467861</c:v>
                </c:pt>
                <c:pt idx="4">
                  <c:v>0.08242561417971261</c:v>
                </c:pt>
                <c:pt idx="5">
                  <c:v>0.09316986294488096</c:v>
                </c:pt>
                <c:pt idx="6">
                  <c:v>0.10199886838188532</c:v>
                </c:pt>
                <c:pt idx="7">
                  <c:v>0.1102728420260396</c:v>
                </c:pt>
                <c:pt idx="8">
                  <c:v>0.11841600308256481</c:v>
                </c:pt>
                <c:pt idx="9">
                  <c:v>0.12599644880318744</c:v>
                </c:pt>
                <c:pt idx="10">
                  <c:v>0.13356380899047524</c:v>
                </c:pt>
                <c:pt idx="11">
                  <c:v>0.14110120442850138</c:v>
                </c:pt>
                <c:pt idx="12">
                  <c:v>0.14839566525705353</c:v>
                </c:pt>
                <c:pt idx="13">
                  <c:v>0.15563048512068794</c:v>
                </c:pt>
                <c:pt idx="14">
                  <c:v>0.16277548019833135</c:v>
                </c:pt>
                <c:pt idx="15">
                  <c:v>0.16991528701428912</c:v>
                </c:pt>
                <c:pt idx="16">
                  <c:v>0.17701236948376042</c:v>
                </c:pt>
                <c:pt idx="17">
                  <c:v>0.18393838358440842</c:v>
                </c:pt>
                <c:pt idx="18">
                  <c:v>0.19073259660266748</c:v>
                </c:pt>
                <c:pt idx="19">
                  <c:v>0.19750591230738118</c:v>
                </c:pt>
                <c:pt idx="20">
                  <c:v>0.20405786396124592</c:v>
                </c:pt>
                <c:pt idx="21">
                  <c:v>0.2102276795705859</c:v>
                </c:pt>
                <c:pt idx="22">
                  <c:v>0.2163669907659575</c:v>
                </c:pt>
                <c:pt idx="23">
                  <c:v>0.2224129453102771</c:v>
                </c:pt>
                <c:pt idx="24">
                  <c:v>0.22835768867761486</c:v>
                </c:pt>
                <c:pt idx="25">
                  <c:v>0.23393696683097284</c:v>
                </c:pt>
                <c:pt idx="26">
                  <c:v>0.23951494123989078</c:v>
                </c:pt>
                <c:pt idx="27">
                  <c:v>0.2448510015933841</c:v>
                </c:pt>
                <c:pt idx="28">
                  <c:v>0.24999163386124174</c:v>
                </c:pt>
                <c:pt idx="29">
                  <c:v>0.25510502641944605</c:v>
                </c:pt>
                <c:pt idx="30">
                  <c:v>0.26021107740035265</c:v>
                </c:pt>
                <c:pt idx="31">
                  <c:v>0.26513123259103777</c:v>
                </c:pt>
                <c:pt idx="32">
                  <c:v>0.2699685732937046</c:v>
                </c:pt>
                <c:pt idx="33">
                  <c:v>0.2747676138318373</c:v>
                </c:pt>
                <c:pt idx="34">
                  <c:v>0.27953519352053124</c:v>
                </c:pt>
                <c:pt idx="35">
                  <c:v>0.28428990140448707</c:v>
                </c:pt>
                <c:pt idx="36">
                  <c:v>0.2889951471479445</c:v>
                </c:pt>
                <c:pt idx="37">
                  <c:v>0.29365393363768755</c:v>
                </c:pt>
                <c:pt idx="38">
                  <c:v>0.29825066402936984</c:v>
                </c:pt>
                <c:pt idx="39">
                  <c:v>0.3028379636467214</c:v>
                </c:pt>
                <c:pt idx="40">
                  <c:v>0.30737750560913346</c:v>
                </c:pt>
                <c:pt idx="41">
                  <c:v>0.3118804839518598</c:v>
                </c:pt>
                <c:pt idx="42">
                  <c:v>0.31628486394969935</c:v>
                </c:pt>
                <c:pt idx="43">
                  <c:v>0.3206427793506096</c:v>
                </c:pt>
                <c:pt idx="44">
                  <c:v>0.3249748496209602</c:v>
                </c:pt>
                <c:pt idx="45">
                  <c:v>0.32920988176518007</c:v>
                </c:pt>
                <c:pt idx="46">
                  <c:v>0.33344084772284716</c:v>
                </c:pt>
                <c:pt idx="47">
                  <c:v>0.3375797233713979</c:v>
                </c:pt>
                <c:pt idx="48">
                  <c:v>0.3416954789289973</c:v>
                </c:pt>
                <c:pt idx="49">
                  <c:v>0.3456416194722312</c:v>
                </c:pt>
                <c:pt idx="50">
                  <c:v>0.34950927887474553</c:v>
                </c:pt>
                <c:pt idx="51">
                  <c:v>0.35336404509966207</c:v>
                </c:pt>
                <c:pt idx="52">
                  <c:v>0.3572032999716709</c:v>
                </c:pt>
                <c:pt idx="53">
                  <c:v>0.3609991732817583</c:v>
                </c:pt>
                <c:pt idx="54">
                  <c:v>0.36477678348325504</c:v>
                </c:pt>
                <c:pt idx="55">
                  <c:v>0.36850837257466074</c:v>
                </c:pt>
                <c:pt idx="56">
                  <c:v>0.3722276241828201</c:v>
                </c:pt>
                <c:pt idx="57">
                  <c:v>0.3759314338998657</c:v>
                </c:pt>
                <c:pt idx="58">
                  <c:v>0.3796125990720877</c:v>
                </c:pt>
                <c:pt idx="59">
                  <c:v>0.38326893966779946</c:v>
                </c:pt>
                <c:pt idx="60">
                  <c:v>0.3868072967349009</c:v>
                </c:pt>
                <c:pt idx="61">
                  <c:v>0.3903206742722594</c:v>
                </c:pt>
                <c:pt idx="62">
                  <c:v>0.39382710563022416</c:v>
                </c:pt>
                <c:pt idx="63">
                  <c:v>0.3972920415811336</c:v>
                </c:pt>
                <c:pt idx="64">
                  <c:v>0.40066409108390394</c:v>
                </c:pt>
                <c:pt idx="65">
                  <c:v>0.4040283929250428</c:v>
                </c:pt>
                <c:pt idx="66">
                  <c:v>0.4073823716749595</c:v>
                </c:pt>
                <c:pt idx="67">
                  <c:v>0.41070277900554475</c:v>
                </c:pt>
                <c:pt idx="68">
                  <c:v>0.4140111427297042</c:v>
                </c:pt>
                <c:pt idx="69">
                  <c:v>0.4173150555558367</c:v>
                </c:pt>
                <c:pt idx="70">
                  <c:v>0.420587341892868</c:v>
                </c:pt>
                <c:pt idx="71">
                  <c:v>0.42384094835054503</c:v>
                </c:pt>
                <c:pt idx="72">
                  <c:v>0.4270656480155142</c:v>
                </c:pt>
                <c:pt idx="73">
                  <c:v>0.4302758034494759</c:v>
                </c:pt>
                <c:pt idx="74">
                  <c:v>0.43348084008354587</c:v>
                </c:pt>
                <c:pt idx="75">
                  <c:v>0.4366840546813287</c:v>
                </c:pt>
                <c:pt idx="76">
                  <c:v>0.4398758775449058</c:v>
                </c:pt>
                <c:pt idx="77">
                  <c:v>0.4430338885444801</c:v>
                </c:pt>
                <c:pt idx="78">
                  <c:v>0.44617613171683057</c:v>
                </c:pt>
                <c:pt idx="79">
                  <c:v>0.44930965476243445</c:v>
                </c:pt>
                <c:pt idx="80">
                  <c:v>0.452431625777385</c:v>
                </c:pt>
                <c:pt idx="81">
                  <c:v>0.4555530998733482</c:v>
                </c:pt>
                <c:pt idx="82">
                  <c:v>0.4586599442468651</c:v>
                </c:pt>
                <c:pt idx="83">
                  <c:v>0.4617226910676616</c:v>
                </c:pt>
                <c:pt idx="84">
                  <c:v>0.46477422248034467</c:v>
                </c:pt>
                <c:pt idx="85">
                  <c:v>0.46776136281004765</c:v>
                </c:pt>
                <c:pt idx="86">
                  <c:v>0.47073570614002136</c:v>
                </c:pt>
                <c:pt idx="87">
                  <c:v>0.4736677686103468</c:v>
                </c:pt>
                <c:pt idx="88">
                  <c:v>0.4765957648941195</c:v>
                </c:pt>
                <c:pt idx="89">
                  <c:v>0.4795138495142187</c:v>
                </c:pt>
                <c:pt idx="90">
                  <c:v>0.4824252818317447</c:v>
                </c:pt>
                <c:pt idx="91">
                  <c:v>0.4853230729215844</c:v>
                </c:pt>
                <c:pt idx="92">
                  <c:v>0.4881688691870544</c:v>
                </c:pt>
                <c:pt idx="93">
                  <c:v>0.4910115289853674</c:v>
                </c:pt>
                <c:pt idx="94">
                  <c:v>0.4938532109753503</c:v>
                </c:pt>
                <c:pt idx="95">
                  <c:v>0.49669330068728756</c:v>
                </c:pt>
                <c:pt idx="96">
                  <c:v>0.49951545856995916</c:v>
                </c:pt>
                <c:pt idx="97">
                  <c:v>0.5023156077503824</c:v>
                </c:pt>
                <c:pt idx="98">
                  <c:v>0.5050726371864153</c:v>
                </c:pt>
                <c:pt idx="99">
                  <c:v>0.507811040175243</c:v>
                </c:pt>
                <c:pt idx="100">
                  <c:v>0.5105253185487147</c:v>
                </c:pt>
                <c:pt idx="101">
                  <c:v>0.5132353437231115</c:v>
                </c:pt>
                <c:pt idx="102">
                  <c:v>0.5159375357444381</c:v>
                </c:pt>
                <c:pt idx="103">
                  <c:v>0.5186013581394366</c:v>
                </c:pt>
                <c:pt idx="104">
                  <c:v>0.521244336653039</c:v>
                </c:pt>
                <c:pt idx="105">
                  <c:v>0.5238679299829179</c:v>
                </c:pt>
                <c:pt idx="106">
                  <c:v>0.5264789293552344</c:v>
                </c:pt>
                <c:pt idx="107">
                  <c:v>0.5290779866422086</c:v>
                </c:pt>
                <c:pt idx="108">
                  <c:v>0.531670952664176</c:v>
                </c:pt>
                <c:pt idx="109">
                  <c:v>0.5341575513067653</c:v>
                </c:pt>
                <c:pt idx="110">
                  <c:v>0.5366301988152031</c:v>
                </c:pt>
                <c:pt idx="111">
                  <c:v>0.5390988816581715</c:v>
                </c:pt>
                <c:pt idx="112">
                  <c:v>0.5415659989391689</c:v>
                </c:pt>
                <c:pt idx="113">
                  <c:v>0.5440316094335593</c:v>
                </c:pt>
                <c:pt idx="114">
                  <c:v>0.5464777278799279</c:v>
                </c:pt>
                <c:pt idx="115">
                  <c:v>0.5489002560324323</c:v>
                </c:pt>
                <c:pt idx="116">
                  <c:v>0.551314464799309</c:v>
                </c:pt>
                <c:pt idx="117">
                  <c:v>0.5537166994215539</c:v>
                </c:pt>
                <c:pt idx="118">
                  <c:v>0.5561145739804254</c:v>
                </c:pt>
                <c:pt idx="119">
                  <c:v>0.5584898360537628</c:v>
                </c:pt>
                <c:pt idx="120">
                  <c:v>0.5608639813951822</c:v>
                </c:pt>
                <c:pt idx="121">
                  <c:v>0.5632220329732679</c:v>
                </c:pt>
                <c:pt idx="122">
                  <c:v>0.5655578728069384</c:v>
                </c:pt>
                <c:pt idx="123">
                  <c:v>0.5678761922388917</c:v>
                </c:pt>
                <c:pt idx="124">
                  <c:v>0.5701909798057841</c:v>
                </c:pt>
                <c:pt idx="125">
                  <c:v>0.5724782765319221</c:v>
                </c:pt>
                <c:pt idx="126">
                  <c:v>0.5747602514160014</c:v>
                </c:pt>
                <c:pt idx="127">
                  <c:v>0.5770296590585929</c:v>
                </c:pt>
                <c:pt idx="128">
                  <c:v>0.5792834912296978</c:v>
                </c:pt>
                <c:pt idx="129">
                  <c:v>0.5814736322789769</c:v>
                </c:pt>
                <c:pt idx="130">
                  <c:v>0.5836116983556625</c:v>
                </c:pt>
                <c:pt idx="131">
                  <c:v>0.5857481454382278</c:v>
                </c:pt>
                <c:pt idx="132">
                  <c:v>0.58787434423458</c:v>
                </c:pt>
                <c:pt idx="133">
                  <c:v>0.5899986355032063</c:v>
                </c:pt>
                <c:pt idx="134">
                  <c:v>0.5921148157715866</c:v>
                </c:pt>
                <c:pt idx="135">
                  <c:v>0.5942144427601502</c:v>
                </c:pt>
                <c:pt idx="136">
                  <c:v>0.596303009293833</c:v>
                </c:pt>
                <c:pt idx="137">
                  <c:v>0.5983896415837153</c:v>
                </c:pt>
                <c:pt idx="138">
                  <c:v>0.6004342548314804</c:v>
                </c:pt>
                <c:pt idx="139">
                  <c:v>0.6024631483409559</c:v>
                </c:pt>
                <c:pt idx="140">
                  <c:v>0.6044894023022619</c:v>
                </c:pt>
                <c:pt idx="141">
                  <c:v>0.6064919003300412</c:v>
                </c:pt>
                <c:pt idx="142">
                  <c:v>0.6084814464048586</c:v>
                </c:pt>
                <c:pt idx="143">
                  <c:v>0.610457853514192</c:v>
                </c:pt>
                <c:pt idx="144">
                  <c:v>0.6123914187263108</c:v>
                </c:pt>
                <c:pt idx="145">
                  <c:v>0.6143056415004253</c:v>
                </c:pt>
                <c:pt idx="146">
                  <c:v>0.6162119883757504</c:v>
                </c:pt>
                <c:pt idx="147">
                  <c:v>0.6180890864926128</c:v>
                </c:pt>
                <c:pt idx="148">
                  <c:v>0.6199650518479126</c:v>
                </c:pt>
                <c:pt idx="149">
                  <c:v>0.6218307368577096</c:v>
                </c:pt>
                <c:pt idx="150">
                  <c:v>0.6236891337223581</c:v>
                </c:pt>
                <c:pt idx="151">
                  <c:v>0.6255247738346698</c:v>
                </c:pt>
                <c:pt idx="152">
                  <c:v>0.6273584690167511</c:v>
                </c:pt>
                <c:pt idx="153">
                  <c:v>0.629176043719424</c:v>
                </c:pt>
                <c:pt idx="154">
                  <c:v>0.6309872920556338</c:v>
                </c:pt>
                <c:pt idx="155">
                  <c:v>0.6327823183913516</c:v>
                </c:pt>
                <c:pt idx="156">
                  <c:v>0.6345704145773204</c:v>
                </c:pt>
                <c:pt idx="157">
                  <c:v>0.6363466114236663</c:v>
                </c:pt>
                <c:pt idx="158">
                  <c:v>0.6381059183676555</c:v>
                </c:pt>
                <c:pt idx="159">
                  <c:v>0.6398624414966723</c:v>
                </c:pt>
                <c:pt idx="160">
                  <c:v>0.6416170410683185</c:v>
                </c:pt>
                <c:pt idx="161">
                  <c:v>0.6433649936806064</c:v>
                </c:pt>
                <c:pt idx="162">
                  <c:v>0.6450965479663101</c:v>
                </c:pt>
                <c:pt idx="163">
                  <c:v>0.6468201836075049</c:v>
                </c:pt>
                <c:pt idx="164">
                  <c:v>0.6485286552047618</c:v>
                </c:pt>
                <c:pt idx="165">
                  <c:v>0.650232520950759</c:v>
                </c:pt>
                <c:pt idx="166">
                  <c:v>0.651926662045605</c:v>
                </c:pt>
                <c:pt idx="167">
                  <c:v>0.6536002264198008</c:v>
                </c:pt>
                <c:pt idx="168">
                  <c:v>0.6552718458637663</c:v>
                </c:pt>
                <c:pt idx="169">
                  <c:v>0.6569334948686943</c:v>
                </c:pt>
                <c:pt idx="170">
                  <c:v>0.6585857344721513</c:v>
                </c:pt>
                <c:pt idx="171">
                  <c:v>0.6602245465765186</c:v>
                </c:pt>
                <c:pt idx="172">
                  <c:v>0.6618588703803546</c:v>
                </c:pt>
                <c:pt idx="173">
                  <c:v>0.6634621447623006</c:v>
                </c:pt>
                <c:pt idx="174">
                  <c:v>0.6650492452326889</c:v>
                </c:pt>
                <c:pt idx="175">
                  <c:v>0.6666358755001645</c:v>
                </c:pt>
                <c:pt idx="176">
                  <c:v>0.6682120864985494</c:v>
                </c:pt>
                <c:pt idx="177">
                  <c:v>0.6697775148892292</c:v>
                </c:pt>
                <c:pt idx="178">
                  <c:v>0.6713352009614925</c:v>
                </c:pt>
                <c:pt idx="179">
                  <c:v>0.672890776463863</c:v>
                </c:pt>
                <c:pt idx="180">
                  <c:v>0.6744357189685461</c:v>
                </c:pt>
                <c:pt idx="181">
                  <c:v>0.6759761998887726</c:v>
                </c:pt>
                <c:pt idx="182">
                  <c:v>0.6775044127875466</c:v>
                </c:pt>
                <c:pt idx="183">
                  <c:v>0.6790318669498022</c:v>
                </c:pt>
                <c:pt idx="184">
                  <c:v>0.6805530054320245</c:v>
                </c:pt>
                <c:pt idx="185">
                  <c:v>0.682073476012382</c:v>
                </c:pt>
                <c:pt idx="186">
                  <c:v>0.6835848738138083</c:v>
                </c:pt>
                <c:pt idx="187">
                  <c:v>0.6850910673239041</c:v>
                </c:pt>
                <c:pt idx="188">
                  <c:v>0.6865744346198692</c:v>
                </c:pt>
                <c:pt idx="189">
                  <c:v>0.6880572836239872</c:v>
                </c:pt>
                <c:pt idx="190">
                  <c:v>0.6895346878921035</c:v>
                </c:pt>
                <c:pt idx="191">
                  <c:v>0.6910105212550338</c:v>
                </c:pt>
                <c:pt idx="192">
                  <c:v>0.6924717729844522</c:v>
                </c:pt>
                <c:pt idx="193">
                  <c:v>0.693920238400571</c:v>
                </c:pt>
                <c:pt idx="194">
                  <c:v>0.6953646322869222</c:v>
                </c:pt>
                <c:pt idx="195">
                  <c:v>0.696806044659349</c:v>
                </c:pt>
                <c:pt idx="196">
                  <c:v>0.6982431236844772</c:v>
                </c:pt>
                <c:pt idx="197">
                  <c:v>0.6996691208818647</c:v>
                </c:pt>
                <c:pt idx="198">
                  <c:v>0.7010947013084887</c:v>
                </c:pt>
                <c:pt idx="199">
                  <c:v>0.7025197260407612</c:v>
                </c:pt>
                <c:pt idx="200">
                  <c:v>0.7039413845476351</c:v>
                </c:pt>
                <c:pt idx="201">
                  <c:v>0.7053614240603888</c:v>
                </c:pt>
                <c:pt idx="202">
                  <c:v>0.7067780118563054</c:v>
                </c:pt>
                <c:pt idx="203">
                  <c:v>0.7081908380289195</c:v>
                </c:pt>
                <c:pt idx="204">
                  <c:v>0.7095860636515927</c:v>
                </c:pt>
                <c:pt idx="205">
                  <c:v>0.7109707310815875</c:v>
                </c:pt>
                <c:pt idx="206">
                  <c:v>0.712336713289013</c:v>
                </c:pt>
                <c:pt idx="207">
                  <c:v>0.7137004192868834</c:v>
                </c:pt>
                <c:pt idx="208">
                  <c:v>0.7150625490363529</c:v>
                </c:pt>
                <c:pt idx="209">
                  <c:v>0.7164155365450973</c:v>
                </c:pt>
                <c:pt idx="210">
                  <c:v>0.7177503517799046</c:v>
                </c:pt>
                <c:pt idx="211">
                  <c:v>0.7190827946272883</c:v>
                </c:pt>
                <c:pt idx="212">
                  <c:v>0.7204130734726301</c:v>
                </c:pt>
                <c:pt idx="213">
                  <c:v>0.7217400983000866</c:v>
                </c:pt>
                <c:pt idx="214">
                  <c:v>0.7230595197327143</c:v>
                </c:pt>
                <c:pt idx="215">
                  <c:v>0.7243770977561953</c:v>
                </c:pt>
                <c:pt idx="216">
                  <c:v>0.7256928377137444</c:v>
                </c:pt>
                <c:pt idx="217">
                  <c:v>0.7270033306342437</c:v>
                </c:pt>
                <c:pt idx="218">
                  <c:v>0.7283069147778538</c:v>
                </c:pt>
                <c:pt idx="219">
                  <c:v>0.7296020780147526</c:v>
                </c:pt>
                <c:pt idx="220">
                  <c:v>0.7308776156232567</c:v>
                </c:pt>
                <c:pt idx="221">
                  <c:v>0.7321428675430431</c:v>
                </c:pt>
                <c:pt idx="222">
                  <c:v>0.7334076706327765</c:v>
                </c:pt>
                <c:pt idx="223">
                  <c:v>0.7346635452103812</c:v>
                </c:pt>
                <c:pt idx="224">
                  <c:v>0.7359099729840106</c:v>
                </c:pt>
                <c:pt idx="225">
                  <c:v>0.7371437480247135</c:v>
                </c:pt>
                <c:pt idx="226">
                  <c:v>0.7383701975177634</c:v>
                </c:pt>
                <c:pt idx="227">
                  <c:v>0.739595685232128</c:v>
                </c:pt>
                <c:pt idx="228">
                  <c:v>0.7408176517678615</c:v>
                </c:pt>
                <c:pt idx="229">
                  <c:v>0.7420244970053763</c:v>
                </c:pt>
                <c:pt idx="230">
                  <c:v>0.7432300972738152</c:v>
                </c:pt>
                <c:pt idx="231">
                  <c:v>0.7444302528062523</c:v>
                </c:pt>
                <c:pt idx="232">
                  <c:v>0.745628543556683</c:v>
                </c:pt>
                <c:pt idx="233">
                  <c:v>0.7468152609036006</c:v>
                </c:pt>
                <c:pt idx="234">
                  <c:v>0.7480010592175523</c:v>
                </c:pt>
                <c:pt idx="235">
                  <c:v>0.749185094270581</c:v>
                </c:pt>
                <c:pt idx="236">
                  <c:v>0.7503688087307147</c:v>
                </c:pt>
                <c:pt idx="237">
                  <c:v>0.7515513957725005</c:v>
                </c:pt>
                <c:pt idx="238">
                  <c:v>0.7527273732574324</c:v>
                </c:pt>
                <c:pt idx="239">
                  <c:v>0.7538963297579618</c:v>
                </c:pt>
                <c:pt idx="240">
                  <c:v>0.7550538304057064</c:v>
                </c:pt>
                <c:pt idx="241">
                  <c:v>0.7562075320276441</c:v>
                </c:pt>
                <c:pt idx="242">
                  <c:v>0.7573537210894067</c:v>
                </c:pt>
                <c:pt idx="243">
                  <c:v>0.7584990659232123</c:v>
                </c:pt>
                <c:pt idx="244">
                  <c:v>0.7596420864585284</c:v>
                </c:pt>
                <c:pt idx="245">
                  <c:v>0.7607815751287835</c:v>
                </c:pt>
                <c:pt idx="246">
                  <c:v>0.7619191616145278</c:v>
                </c:pt>
                <c:pt idx="247">
                  <c:v>0.763056748100272</c:v>
                </c:pt>
                <c:pt idx="248">
                  <c:v>0.7641909416445432</c:v>
                </c:pt>
                <c:pt idx="249">
                  <c:v>0.7653186004369692</c:v>
                </c:pt>
                <c:pt idx="250">
                  <c:v>0.7664383085255969</c:v>
                </c:pt>
                <c:pt idx="251">
                  <c:v>0.7675518505442089</c:v>
                </c:pt>
                <c:pt idx="252">
                  <c:v>0.7686583662352034</c:v>
                </c:pt>
                <c:pt idx="253">
                  <c:v>0.7697532070016015</c:v>
                </c:pt>
                <c:pt idx="254">
                  <c:v>0.7708472142264724</c:v>
                </c:pt>
                <c:pt idx="255">
                  <c:v>0.7719402222701535</c:v>
                </c:pt>
                <c:pt idx="256">
                  <c:v>0.7730306174817395</c:v>
                </c:pt>
                <c:pt idx="257">
                  <c:v>0.7741205852361321</c:v>
                </c:pt>
                <c:pt idx="258">
                  <c:v>0.7752084798231365</c:v>
                </c:pt>
                <c:pt idx="259">
                  <c:v>0.7762956263600522</c:v>
                </c:pt>
                <c:pt idx="260">
                  <c:v>0.7773790647058146</c:v>
                </c:pt>
                <c:pt idx="261">
                  <c:v>0.778461012294615</c:v>
                </c:pt>
                <c:pt idx="262">
                  <c:v>0.7795428850784064</c:v>
                </c:pt>
                <c:pt idx="263">
                  <c:v>0.7806246616843293</c:v>
                </c:pt>
                <c:pt idx="264">
                  <c:v>0.7817051986643911</c:v>
                </c:pt>
                <c:pt idx="265">
                  <c:v>0.7827857249580231</c:v>
                </c:pt>
                <c:pt idx="266">
                  <c:v>0.7838650116257941</c:v>
                </c:pt>
                <c:pt idx="267">
                  <c:v>0.7849415785971717</c:v>
                </c:pt>
                <c:pt idx="268">
                  <c:v>0.7860152121435592</c:v>
                </c:pt>
                <c:pt idx="269">
                  <c:v>0.7870876808690944</c:v>
                </c:pt>
                <c:pt idx="270">
                  <c:v>0.7881572161696395</c:v>
                </c:pt>
                <c:pt idx="271">
                  <c:v>0.789223785985905</c:v>
                </c:pt>
                <c:pt idx="272">
                  <c:v>0.7902842965964532</c:v>
                </c:pt>
                <c:pt idx="273">
                  <c:v>0.7913415371594713</c:v>
                </c:pt>
                <c:pt idx="274">
                  <c:v>0.7923946901630771</c:v>
                </c:pt>
                <c:pt idx="275">
                  <c:v>0.7934455028385485</c:v>
                </c:pt>
                <c:pt idx="276">
                  <c:v>0.7944852924616437</c:v>
                </c:pt>
                <c:pt idx="277">
                  <c:v>0.7955146093834989</c:v>
                </c:pt>
                <c:pt idx="278">
                  <c:v>0.7965405600799558</c:v>
                </c:pt>
                <c:pt idx="279">
                  <c:v>0.7975553808597379</c:v>
                </c:pt>
                <c:pt idx="280">
                  <c:v>0.7985690314754528</c:v>
                </c:pt>
                <c:pt idx="281">
                  <c:v>0.7995794761622168</c:v>
                </c:pt>
                <c:pt idx="282">
                  <c:v>0.8005884835241678</c:v>
                </c:pt>
                <c:pt idx="283">
                  <c:v>0.8015961497391743</c:v>
                </c:pt>
                <c:pt idx="284">
                  <c:v>0.8026024534343766</c:v>
                </c:pt>
                <c:pt idx="285">
                  <c:v>0.803600389655017</c:v>
                </c:pt>
                <c:pt idx="286">
                  <c:v>0.8045943986126924</c:v>
                </c:pt>
                <c:pt idx="287">
                  <c:v>0.8055867404873134</c:v>
                </c:pt>
                <c:pt idx="288">
                  <c:v>0.8065772336095726</c:v>
                </c:pt>
                <c:pt idx="289">
                  <c:v>0.8075646650696836</c:v>
                </c:pt>
                <c:pt idx="290">
                  <c:v>0.8085513431364911</c:v>
                </c:pt>
                <c:pt idx="291">
                  <c:v>0.809526950061988</c:v>
                </c:pt>
                <c:pt idx="292">
                  <c:v>0.8104983999662785</c:v>
                </c:pt>
                <c:pt idx="293">
                  <c:v>0.8114620327471436</c:v>
                </c:pt>
                <c:pt idx="294">
                  <c:v>0.8124231595602119</c:v>
                </c:pt>
                <c:pt idx="295">
                  <c:v>0.813379798072749</c:v>
                </c:pt>
                <c:pt idx="296">
                  <c:v>0.8143293621687342</c:v>
                </c:pt>
                <c:pt idx="297">
                  <c:v>0.815275682933264</c:v>
                </c:pt>
                <c:pt idx="298">
                  <c:v>0.8162145071672635</c:v>
                </c:pt>
                <c:pt idx="299">
                  <c:v>0.8171457867817984</c:v>
                </c:pt>
                <c:pt idx="300">
                  <c:v>0.8180759176051259</c:v>
                </c:pt>
                <c:pt idx="301">
                  <c:v>0.8190029066180814</c:v>
                </c:pt>
                <c:pt idx="302">
                  <c:v>0.8199242852553728</c:v>
                </c:pt>
                <c:pt idx="303">
                  <c:v>0.820841223681067</c:v>
                </c:pt>
                <c:pt idx="304">
                  <c:v>0.8217567782140975</c:v>
                </c:pt>
                <c:pt idx="305">
                  <c:v>0.8226671177693677</c:v>
                </c:pt>
                <c:pt idx="306">
                  <c:v>0.8235682990542681</c:v>
                </c:pt>
                <c:pt idx="307">
                  <c:v>0.8244690047930406</c:v>
                </c:pt>
                <c:pt idx="308">
                  <c:v>0.825345863763633</c:v>
                </c:pt>
                <c:pt idx="309">
                  <c:v>0.8262172726550087</c:v>
                </c:pt>
                <c:pt idx="310">
                  <c:v>0.8270813987444507</c:v>
                </c:pt>
                <c:pt idx="311">
                  <c:v>0.8279392786156534</c:v>
                </c:pt>
                <c:pt idx="312">
                  <c:v>0.8287928785717066</c:v>
                </c:pt>
                <c:pt idx="313">
                  <c:v>0.8296368286816174</c:v>
                </c:pt>
                <c:pt idx="314">
                  <c:v>0.8304802391268213</c:v>
                </c:pt>
                <c:pt idx="315">
                  <c:v>0.831321512286058</c:v>
                </c:pt>
                <c:pt idx="316">
                  <c:v>0.8321592482370188</c:v>
                </c:pt>
                <c:pt idx="317">
                  <c:v>0.8329960811846584</c:v>
                </c:pt>
                <c:pt idx="318">
                  <c:v>0.8338317012225116</c:v>
                </c:pt>
                <c:pt idx="319">
                  <c:v>0.8346625016805085</c:v>
                </c:pt>
                <c:pt idx="320">
                  <c:v>0.8354910847043143</c:v>
                </c:pt>
                <c:pt idx="321">
                  <c:v>0.8363179578993463</c:v>
                </c:pt>
                <c:pt idx="322">
                  <c:v>0.8371442112814477</c:v>
                </c:pt>
                <c:pt idx="323">
                  <c:v>0.8379677983993049</c:v>
                </c:pt>
                <c:pt idx="324">
                  <c:v>0.8387885215539659</c:v>
                </c:pt>
                <c:pt idx="325">
                  <c:v>0.8396089027428721</c:v>
                </c:pt>
                <c:pt idx="326">
                  <c:v>0.8404289366228087</c:v>
                </c:pt>
                <c:pt idx="327">
                  <c:v>0.8412483079440954</c:v>
                </c:pt>
                <c:pt idx="328">
                  <c:v>0.8420674334774959</c:v>
                </c:pt>
                <c:pt idx="329">
                  <c:v>0.8428817073717506</c:v>
                </c:pt>
                <c:pt idx="330">
                  <c:v>0.8436769540776813</c:v>
                </c:pt>
                <c:pt idx="331">
                  <c:v>0.8444674666951945</c:v>
                </c:pt>
                <c:pt idx="332">
                  <c:v>0.8452570816526013</c:v>
                </c:pt>
                <c:pt idx="333">
                  <c:v>0.8460443242225845</c:v>
                </c:pt>
                <c:pt idx="334">
                  <c:v>0.8468277891396204</c:v>
                </c:pt>
                <c:pt idx="335">
                  <c:v>0.8476103563965501</c:v>
                </c:pt>
                <c:pt idx="336">
                  <c:v>0.8483915985361801</c:v>
                </c:pt>
                <c:pt idx="337">
                  <c:v>0.8491651891920471</c:v>
                </c:pt>
                <c:pt idx="338">
                  <c:v>0.849937930276742</c:v>
                </c:pt>
                <c:pt idx="339">
                  <c:v>0.8507072784199639</c:v>
                </c:pt>
                <c:pt idx="340">
                  <c:v>0.851472816850949</c:v>
                </c:pt>
                <c:pt idx="341">
                  <c:v>0.8522367843767482</c:v>
                </c:pt>
                <c:pt idx="342">
                  <c:v>0.8530005381739506</c:v>
                </c:pt>
                <c:pt idx="343">
                  <c:v>0.8537630790613666</c:v>
                </c:pt>
                <c:pt idx="344">
                  <c:v>0.8545200843781273</c:v>
                </c:pt>
                <c:pt idx="345">
                  <c:v>0.8552666437097227</c:v>
                </c:pt>
                <c:pt idx="346">
                  <c:v>0.8560128717619933</c:v>
                </c:pt>
                <c:pt idx="347">
                  <c:v>0.856757972395916</c:v>
                </c:pt>
                <c:pt idx="348">
                  <c:v>0.8575009945192356</c:v>
                </c:pt>
                <c:pt idx="349">
                  <c:v>0.8582360445658971</c:v>
                </c:pt>
                <c:pt idx="350">
                  <c:v>0.8589664139562901</c:v>
                </c:pt>
                <c:pt idx="351">
                  <c:v>0.8596962276523318</c:v>
                </c:pt>
                <c:pt idx="352">
                  <c:v>0.8604256192343949</c:v>
                </c:pt>
                <c:pt idx="353">
                  <c:v>0.8611528788737055</c:v>
                </c:pt>
                <c:pt idx="354">
                  <c:v>0.8618779210788251</c:v>
                </c:pt>
                <c:pt idx="355">
                  <c:v>0.862599345927445</c:v>
                </c:pt>
                <c:pt idx="356">
                  <c:v>0.8633190182015718</c:v>
                </c:pt>
                <c:pt idx="357">
                  <c:v>0.8640237561900019</c:v>
                </c:pt>
                <c:pt idx="358">
                  <c:v>0.8647229051756276</c:v>
                </c:pt>
                <c:pt idx="359">
                  <c:v>0.8654154873501186</c:v>
                </c:pt>
                <c:pt idx="360">
                  <c:v>0.8661052696799926</c:v>
                </c:pt>
                <c:pt idx="361">
                  <c:v>0.8667950252937919</c:v>
                </c:pt>
                <c:pt idx="362">
                  <c:v>0.8674820238086934</c:v>
                </c:pt>
                <c:pt idx="363">
                  <c:v>0.8681653675645908</c:v>
                </c:pt>
                <c:pt idx="364">
                  <c:v>0.8688470976695829</c:v>
                </c:pt>
                <c:pt idx="365">
                  <c:v>0.869528309482728</c:v>
                </c:pt>
                <c:pt idx="366">
                  <c:v>0.8702073786666907</c:v>
                </c:pt>
                <c:pt idx="367">
                  <c:v>0.8708855875930517</c:v>
                </c:pt>
                <c:pt idx="368">
                  <c:v>0.8715615951148663</c:v>
                </c:pt>
                <c:pt idx="369">
                  <c:v>0.8722327403111053</c:v>
                </c:pt>
                <c:pt idx="370">
                  <c:v>0.8728956890156597</c:v>
                </c:pt>
                <c:pt idx="371">
                  <c:v>0.8735563454810141</c:v>
                </c:pt>
                <c:pt idx="372">
                  <c:v>0.874214880690046</c:v>
                </c:pt>
                <c:pt idx="373">
                  <c:v>0.8748709419905708</c:v>
                </c:pt>
                <c:pt idx="374">
                  <c:v>0.8755269819182359</c:v>
                </c:pt>
                <c:pt idx="375">
                  <c:v>0.8761804945052446</c:v>
                </c:pt>
                <c:pt idx="376">
                  <c:v>0.8768326766317387</c:v>
                </c:pt>
                <c:pt idx="377">
                  <c:v>0.8774767584444166</c:v>
                </c:pt>
                <c:pt idx="378">
                  <c:v>0.8781201616688</c:v>
                </c:pt>
                <c:pt idx="379">
                  <c:v>0.8787630091988319</c:v>
                </c:pt>
                <c:pt idx="380">
                  <c:v>0.8794013096529683</c:v>
                </c:pt>
                <c:pt idx="381">
                  <c:v>0.8800346996925947</c:v>
                </c:pt>
                <c:pt idx="382">
                  <c:v>0.8806590009236452</c:v>
                </c:pt>
                <c:pt idx="383">
                  <c:v>0.8812830456803797</c:v>
                </c:pt>
                <c:pt idx="384">
                  <c:v>0.8819024632129949</c:v>
                </c:pt>
                <c:pt idx="385">
                  <c:v>0.8825215067205658</c:v>
                </c:pt>
                <c:pt idx="386">
                  <c:v>0.883139492271583</c:v>
                </c:pt>
                <c:pt idx="387">
                  <c:v>0.8837560298113573</c:v>
                </c:pt>
                <c:pt idx="388">
                  <c:v>0.8843664012811159</c:v>
                </c:pt>
                <c:pt idx="389">
                  <c:v>0.8849752285617631</c:v>
                </c:pt>
                <c:pt idx="390">
                  <c:v>0.8855815819339032</c:v>
                </c:pt>
                <c:pt idx="391">
                  <c:v>0.8861866743073226</c:v>
                </c:pt>
                <c:pt idx="392">
                  <c:v>0.8867898377801564</c:v>
                </c:pt>
                <c:pt idx="393">
                  <c:v>0.8873906983273605</c:v>
                </c:pt>
                <c:pt idx="394">
                  <c:v>0.8879895979146896</c:v>
                </c:pt>
                <c:pt idx="395">
                  <c:v>0.8885853556916468</c:v>
                </c:pt>
                <c:pt idx="396">
                  <c:v>0.8891776190060473</c:v>
                </c:pt>
                <c:pt idx="397">
                  <c:v>0.889767525962669</c:v>
                </c:pt>
                <c:pt idx="398">
                  <c:v>0.8903491776522419</c:v>
                </c:pt>
                <c:pt idx="399">
                  <c:v>0.8909281844504302</c:v>
                </c:pt>
                <c:pt idx="400">
                  <c:v>0.8915052089158839</c:v>
                </c:pt>
                <c:pt idx="401">
                  <c:v>0.8920798289346243</c:v>
                </c:pt>
                <c:pt idx="402">
                  <c:v>0.8926470699735627</c:v>
                </c:pt>
                <c:pt idx="403">
                  <c:v>0.8932078564088798</c:v>
                </c:pt>
                <c:pt idx="404">
                  <c:v>0.8937651804409298</c:v>
                </c:pt>
                <c:pt idx="405">
                  <c:v>0.8943224884433351</c:v>
                </c:pt>
                <c:pt idx="406">
                  <c:v>0.8948775896979791</c:v>
                </c:pt>
                <c:pt idx="407">
                  <c:v>0.8954313604921086</c:v>
                </c:pt>
                <c:pt idx="408">
                  <c:v>0.8959813108875714</c:v>
                </c:pt>
                <c:pt idx="409">
                  <c:v>0.8965301819536207</c:v>
                </c:pt>
                <c:pt idx="410">
                  <c:v>0.8970754036038808</c:v>
                </c:pt>
                <c:pt idx="411">
                  <c:v>0.8976202672587414</c:v>
                </c:pt>
                <c:pt idx="412">
                  <c:v>0.8981647087996235</c:v>
                </c:pt>
                <c:pt idx="413">
                  <c:v>0.8987065802541299</c:v>
                </c:pt>
                <c:pt idx="414">
                  <c:v>0.8992471800234857</c:v>
                </c:pt>
                <c:pt idx="415">
                  <c:v>0.8997873416492183</c:v>
                </c:pt>
                <c:pt idx="416">
                  <c:v>0.9003274124402972</c:v>
                </c:pt>
                <c:pt idx="417">
                  <c:v>0.9008671466088364</c:v>
                </c:pt>
                <c:pt idx="418">
                  <c:v>0.9014062449348001</c:v>
                </c:pt>
                <c:pt idx="419">
                  <c:v>0.9019443975117234</c:v>
                </c:pt>
                <c:pt idx="420">
                  <c:v>0.9024817592928388</c:v>
                </c:pt>
                <c:pt idx="421">
                  <c:v>0.9030187791081994</c:v>
                </c:pt>
                <c:pt idx="422">
                  <c:v>0.9035511663562259</c:v>
                </c:pt>
                <c:pt idx="423">
                  <c:v>0.9040834307103093</c:v>
                </c:pt>
                <c:pt idx="424">
                  <c:v>0.9046155935433092</c:v>
                </c:pt>
                <c:pt idx="425">
                  <c:v>0.9051461534118337</c:v>
                </c:pt>
                <c:pt idx="426">
                  <c:v>0.9056761789588663</c:v>
                </c:pt>
                <c:pt idx="427">
                  <c:v>0.9062056488115474</c:v>
                </c:pt>
                <c:pt idx="428">
                  <c:v>0.9067321852392384</c:v>
                </c:pt>
                <c:pt idx="429">
                  <c:v>0.9072578133203932</c:v>
                </c:pt>
                <c:pt idx="430">
                  <c:v>0.907782992571495</c:v>
                </c:pt>
                <c:pt idx="431">
                  <c:v>0.9083080703015133</c:v>
                </c:pt>
                <c:pt idx="432">
                  <c:v>0.9088302039201116</c:v>
                </c:pt>
                <c:pt idx="433">
                  <c:v>0.9093457921004351</c:v>
                </c:pt>
                <c:pt idx="434">
                  <c:v>0.9098586338682906</c:v>
                </c:pt>
                <c:pt idx="435">
                  <c:v>0.9103685208382962</c:v>
                </c:pt>
                <c:pt idx="436">
                  <c:v>0.9108735882284456</c:v>
                </c:pt>
                <c:pt idx="437">
                  <c:v>0.911375513808223</c:v>
                </c:pt>
                <c:pt idx="438">
                  <c:v>0.9118773432101319</c:v>
                </c:pt>
                <c:pt idx="439">
                  <c:v>0.9123771956225211</c:v>
                </c:pt>
                <c:pt idx="440">
                  <c:v>0.9128735696019984</c:v>
                </c:pt>
                <c:pt idx="441">
                  <c:v>0.9133687199852595</c:v>
                </c:pt>
                <c:pt idx="442">
                  <c:v>0.913861097239978</c:v>
                </c:pt>
                <c:pt idx="443">
                  <c:v>0.9143453741808804</c:v>
                </c:pt>
                <c:pt idx="444">
                  <c:v>0.9148282137969698</c:v>
                </c:pt>
                <c:pt idx="445">
                  <c:v>0.9153100702615141</c:v>
                </c:pt>
                <c:pt idx="446">
                  <c:v>0.915791761086396</c:v>
                </c:pt>
                <c:pt idx="447">
                  <c:v>0.9162712718795913</c:v>
                </c:pt>
                <c:pt idx="448">
                  <c:v>0.9167414427331095</c:v>
                </c:pt>
                <c:pt idx="449">
                  <c:v>0.9172101388593102</c:v>
                </c:pt>
                <c:pt idx="450">
                  <c:v>0.9176778251178914</c:v>
                </c:pt>
                <c:pt idx="451">
                  <c:v>0.9181396712425669</c:v>
                </c:pt>
                <c:pt idx="452">
                  <c:v>0.9186013784436545</c:v>
                </c:pt>
                <c:pt idx="453">
                  <c:v>0.9190619742560392</c:v>
                </c:pt>
                <c:pt idx="454">
                  <c:v>0.919522030403717</c:v>
                </c:pt>
                <c:pt idx="455">
                  <c:v>0.9199814346791749</c:v>
                </c:pt>
                <c:pt idx="456">
                  <c:v>0.9204407214039045</c:v>
                </c:pt>
                <c:pt idx="457">
                  <c:v>0.9208970586739993</c:v>
                </c:pt>
                <c:pt idx="458">
                  <c:v>0.9213530219190498</c:v>
                </c:pt>
                <c:pt idx="459">
                  <c:v>0.9218023168318823</c:v>
                </c:pt>
                <c:pt idx="460">
                  <c:v>0.92224571817866</c:v>
                </c:pt>
                <c:pt idx="461">
                  <c:v>0.9226860685497192</c:v>
                </c:pt>
                <c:pt idx="462">
                  <c:v>0.9231264028911338</c:v>
                </c:pt>
                <c:pt idx="463">
                  <c:v>0.9235602986585718</c:v>
                </c:pt>
                <c:pt idx="464">
                  <c:v>0.9239910739884976</c:v>
                </c:pt>
                <c:pt idx="465">
                  <c:v>0.9244211867597735</c:v>
                </c:pt>
                <c:pt idx="466">
                  <c:v>0.9248508507009963</c:v>
                </c:pt>
                <c:pt idx="467">
                  <c:v>0.9252792910460027</c:v>
                </c:pt>
                <c:pt idx="468">
                  <c:v>0.9257060322486652</c:v>
                </c:pt>
                <c:pt idx="469">
                  <c:v>0.9261324101127132</c:v>
                </c:pt>
                <c:pt idx="470">
                  <c:v>0.9265585956210242</c:v>
                </c:pt>
                <c:pt idx="471">
                  <c:v>0.9269804905277558</c:v>
                </c:pt>
                <c:pt idx="472">
                  <c:v>0.9274011778679159</c:v>
                </c:pt>
                <c:pt idx="473">
                  <c:v>0.9278216514794793</c:v>
                </c:pt>
                <c:pt idx="474">
                  <c:v>0.9282370757529448</c:v>
                </c:pt>
                <c:pt idx="475">
                  <c:v>0.9286508596594304</c:v>
                </c:pt>
                <c:pt idx="476">
                  <c:v>0.9290627734406947</c:v>
                </c:pt>
                <c:pt idx="477">
                  <c:v>0.9294717110512495</c:v>
                </c:pt>
                <c:pt idx="478">
                  <c:v>0.9298803440985539</c:v>
                </c:pt>
                <c:pt idx="479">
                  <c:v>0.9302823836186492</c:v>
                </c:pt>
                <c:pt idx="480">
                  <c:v>0.930681975946312</c:v>
                </c:pt>
                <c:pt idx="481">
                  <c:v>0.9310815362146851</c:v>
                </c:pt>
                <c:pt idx="482">
                  <c:v>0.931480925500181</c:v>
                </c:pt>
                <c:pt idx="483">
                  <c:v>0.9318789522658727</c:v>
                </c:pt>
                <c:pt idx="484">
                  <c:v>0.9322748364023822</c:v>
                </c:pt>
                <c:pt idx="485">
                  <c:v>0.9326692511547892</c:v>
                </c:pt>
                <c:pt idx="486">
                  <c:v>0.9330606576771971</c:v>
                </c:pt>
                <c:pt idx="487">
                  <c:v>0.9334513588952359</c:v>
                </c:pt>
                <c:pt idx="488">
                  <c:v>0.9338413975546248</c:v>
                </c:pt>
                <c:pt idx="489">
                  <c:v>0.93422677158739</c:v>
                </c:pt>
                <c:pt idx="490">
                  <c:v>0.9346113281082727</c:v>
                </c:pt>
                <c:pt idx="491">
                  <c:v>0.9349943885289783</c:v>
                </c:pt>
                <c:pt idx="492">
                  <c:v>0.9353764818277838</c:v>
                </c:pt>
                <c:pt idx="493">
                  <c:v>0.9357582759065538</c:v>
                </c:pt>
                <c:pt idx="494">
                  <c:v>0.9361321032518807</c:v>
                </c:pt>
                <c:pt idx="495">
                  <c:v>0.9365046268527675</c:v>
                </c:pt>
                <c:pt idx="496">
                  <c:v>0.9368754619977401</c:v>
                </c:pt>
                <c:pt idx="497">
                  <c:v>0.9372457040458567</c:v>
                </c:pt>
                <c:pt idx="498">
                  <c:v>0.9376152461328191</c:v>
                </c:pt>
                <c:pt idx="499">
                  <c:v>0.9379801930549518</c:v>
                </c:pt>
                <c:pt idx="500">
                  <c:v>0.9383430561232664</c:v>
                </c:pt>
                <c:pt idx="501">
                  <c:v>0.9387042253924519</c:v>
                </c:pt>
                <c:pt idx="502">
                  <c:v>0.9390647321029875</c:v>
                </c:pt>
                <c:pt idx="503">
                  <c:v>0.9394240152173068</c:v>
                </c:pt>
                <c:pt idx="504">
                  <c:v>0.9397811824185185</c:v>
                </c:pt>
                <c:pt idx="505">
                  <c:v>0.9401361909609032</c:v>
                </c:pt>
                <c:pt idx="506">
                  <c:v>0.9404906865546557</c:v>
                </c:pt>
                <c:pt idx="507">
                  <c:v>0.9408450111655309</c:v>
                </c:pt>
                <c:pt idx="508">
                  <c:v>0.9411988067981292</c:v>
                </c:pt>
                <c:pt idx="509">
                  <c:v>0.9415494339042809</c:v>
                </c:pt>
                <c:pt idx="510">
                  <c:v>0.9418974855808421</c:v>
                </c:pt>
                <c:pt idx="511">
                  <c:v>0.9422422618666583</c:v>
                </c:pt>
                <c:pt idx="512">
                  <c:v>0.9425818124882844</c:v>
                </c:pt>
                <c:pt idx="513">
                  <c:v>0.9429205402548132</c:v>
                </c:pt>
                <c:pt idx="514">
                  <c:v>0.943255864393439</c:v>
                </c:pt>
                <c:pt idx="515">
                  <c:v>0.943589275661124</c:v>
                </c:pt>
                <c:pt idx="516">
                  <c:v>0.9439217625526283</c:v>
                </c:pt>
                <c:pt idx="517">
                  <c:v>0.944247682632998</c:v>
                </c:pt>
                <c:pt idx="518">
                  <c:v>0.9445722882824977</c:v>
                </c:pt>
                <c:pt idx="519">
                  <c:v>0.9448950879253551</c:v>
                </c:pt>
                <c:pt idx="520">
                  <c:v>0.9452176684964009</c:v>
                </c:pt>
                <c:pt idx="521">
                  <c:v>0.945538261391497</c:v>
                </c:pt>
                <c:pt idx="522">
                  <c:v>0.9458567170006258</c:v>
                </c:pt>
                <c:pt idx="523">
                  <c:v>0.9461738368060251</c:v>
                </c:pt>
                <c:pt idx="524">
                  <c:v>0.9464834867969686</c:v>
                </c:pt>
                <c:pt idx="525">
                  <c:v>0.9467919773102749</c:v>
                </c:pt>
                <c:pt idx="526">
                  <c:v>0.9470986885330134</c:v>
                </c:pt>
                <c:pt idx="527">
                  <c:v>0.9474043524856278</c:v>
                </c:pt>
                <c:pt idx="528">
                  <c:v>0.9477088729902498</c:v>
                </c:pt>
                <c:pt idx="529">
                  <c:v>0.9480117210686023</c:v>
                </c:pt>
                <c:pt idx="530">
                  <c:v>0.9483144462530118</c:v>
                </c:pt>
                <c:pt idx="531">
                  <c:v>0.9486161455401569</c:v>
                </c:pt>
                <c:pt idx="532">
                  <c:v>0.9489176097258457</c:v>
                </c:pt>
                <c:pt idx="533">
                  <c:v>0.949218186937858</c:v>
                </c:pt>
                <c:pt idx="534">
                  <c:v>0.9495179199219131</c:v>
                </c:pt>
                <c:pt idx="535">
                  <c:v>0.949817412461297</c:v>
                </c:pt>
                <c:pt idx="536">
                  <c:v>0.9501166752424395</c:v>
                </c:pt>
                <c:pt idx="537">
                  <c:v>0.9504155853713973</c:v>
                </c:pt>
                <c:pt idx="538">
                  <c:v>0.9507137634799112</c:v>
                </c:pt>
                <c:pt idx="539">
                  <c:v>0.9510101035224933</c:v>
                </c:pt>
                <c:pt idx="540">
                  <c:v>0.9513062779254129</c:v>
                </c:pt>
                <c:pt idx="541">
                  <c:v>0.9516020569304285</c:v>
                </c:pt>
                <c:pt idx="542">
                  <c:v>0.9518958162002051</c:v>
                </c:pt>
                <c:pt idx="543">
                  <c:v>0.952189164042433</c:v>
                </c:pt>
                <c:pt idx="544">
                  <c:v>0.9524803692554787</c:v>
                </c:pt>
                <c:pt idx="545">
                  <c:v>0.952769373063978</c:v>
                </c:pt>
                <c:pt idx="546">
                  <c:v>0.9530573563184279</c:v>
                </c:pt>
                <c:pt idx="547">
                  <c:v>0.953344944174974</c:v>
                </c:pt>
                <c:pt idx="548">
                  <c:v>0.9536294276236524</c:v>
                </c:pt>
                <c:pt idx="549">
                  <c:v>0.9539137294030237</c:v>
                </c:pt>
                <c:pt idx="550">
                  <c:v>0.9541969678826262</c:v>
                </c:pt>
                <c:pt idx="551">
                  <c:v>0.954477700394432</c:v>
                </c:pt>
                <c:pt idx="552">
                  <c:v>0.9547581176565577</c:v>
                </c:pt>
                <c:pt idx="553">
                  <c:v>0.9550384173679551</c:v>
                </c:pt>
                <c:pt idx="554">
                  <c:v>0.9553175682881452</c:v>
                </c:pt>
                <c:pt idx="555">
                  <c:v>0.9555940956898104</c:v>
                </c:pt>
                <c:pt idx="556">
                  <c:v>0.9558683148226308</c:v>
                </c:pt>
                <c:pt idx="557">
                  <c:v>0.9561393066536407</c:v>
                </c:pt>
                <c:pt idx="558">
                  <c:v>0.95640967867172</c:v>
                </c:pt>
                <c:pt idx="559">
                  <c:v>0.9566778920309723</c:v>
                </c:pt>
                <c:pt idx="560">
                  <c:v>0.9569452771919124</c:v>
                </c:pt>
                <c:pt idx="561">
                  <c:v>0.9572050910173132</c:v>
                </c:pt>
                <c:pt idx="562">
                  <c:v>0.9574645949362488</c:v>
                </c:pt>
                <c:pt idx="563">
                  <c:v>0.957723334775451</c:v>
                </c:pt>
                <c:pt idx="564">
                  <c:v>0.9579805464551866</c:v>
                </c:pt>
                <c:pt idx="565">
                  <c:v>0.9582326820807499</c:v>
                </c:pt>
                <c:pt idx="566">
                  <c:v>0.9584812698116074</c:v>
                </c:pt>
                <c:pt idx="567">
                  <c:v>0.9587265126899261</c:v>
                </c:pt>
                <c:pt idx="568">
                  <c:v>0.9589678550213545</c:v>
                </c:pt>
                <c:pt idx="569">
                  <c:v>0.9592078294897638</c:v>
                </c:pt>
                <c:pt idx="570">
                  <c:v>0.9594474513059885</c:v>
                </c:pt>
                <c:pt idx="571">
                  <c:v>0.9596870731222132</c:v>
                </c:pt>
                <c:pt idx="572">
                  <c:v>0.9599261071847969</c:v>
                </c:pt>
                <c:pt idx="573">
                  <c:v>0.960164259616919</c:v>
                </c:pt>
                <c:pt idx="574">
                  <c:v>0.9604010067835176</c:v>
                </c:pt>
                <c:pt idx="575">
                  <c:v>0.9606371982557648</c:v>
                </c:pt>
                <c:pt idx="576">
                  <c:v>0.9608731973722748</c:v>
                </c:pt>
                <c:pt idx="577">
                  <c:v>0.9611069576817342</c:v>
                </c:pt>
                <c:pt idx="578">
                  <c:v>0.9613402371018509</c:v>
                </c:pt>
                <c:pt idx="579">
                  <c:v>0.9615720364514353</c:v>
                </c:pt>
                <c:pt idx="580">
                  <c:v>0.9618019122436491</c:v>
                </c:pt>
                <c:pt idx="581">
                  <c:v>0.9620316010233407</c:v>
                </c:pt>
                <c:pt idx="582">
                  <c:v>0.9622612737733875</c:v>
                </c:pt>
                <c:pt idx="583">
                  <c:v>0.962490123668337</c:v>
                </c:pt>
                <c:pt idx="584">
                  <c:v>0.9627183216910664</c:v>
                </c:pt>
                <c:pt idx="585">
                  <c:v>0.9629458785280056</c:v>
                </c:pt>
                <c:pt idx="586">
                  <c:v>0.9631715705829383</c:v>
                </c:pt>
                <c:pt idx="587">
                  <c:v>0.9633951360383336</c:v>
                </c:pt>
                <c:pt idx="588">
                  <c:v>0.9636186854640841</c:v>
                </c:pt>
                <c:pt idx="589">
                  <c:v>0.9638387618001378</c:v>
                </c:pt>
                <c:pt idx="590">
                  <c:v>0.9640579191032256</c:v>
                </c:pt>
                <c:pt idx="591">
                  <c:v>0.9642742070999022</c:v>
                </c:pt>
                <c:pt idx="592">
                  <c:v>0.9644899500886571</c:v>
                </c:pt>
                <c:pt idx="593">
                  <c:v>0.9647045389429897</c:v>
                </c:pt>
                <c:pt idx="594">
                  <c:v>0.9649154783815331</c:v>
                </c:pt>
                <c:pt idx="595">
                  <c:v>0.9651260277653875</c:v>
                </c:pt>
                <c:pt idx="596">
                  <c:v>0.9653359680227411</c:v>
                </c:pt>
                <c:pt idx="597">
                  <c:v>0.9655456624922086</c:v>
                </c:pt>
                <c:pt idx="598">
                  <c:v>0.9657512800886935</c:v>
                </c:pt>
                <c:pt idx="599">
                  <c:v>0.9659549741278077</c:v>
                </c:pt>
                <c:pt idx="600">
                  <c:v>0.9661566804909724</c:v>
                </c:pt>
                <c:pt idx="601">
                  <c:v>0.9663573983593772</c:v>
                </c:pt>
                <c:pt idx="602">
                  <c:v>0.9665573574912636</c:v>
                </c:pt>
                <c:pt idx="603">
                  <c:v>0.9667556335104507</c:v>
                </c:pt>
                <c:pt idx="604">
                  <c:v>0.966951542485429</c:v>
                </c:pt>
                <c:pt idx="605">
                  <c:v>0.9671472858207449</c:v>
                </c:pt>
                <c:pt idx="606">
                  <c:v>0.967341511683024</c:v>
                </c:pt>
                <c:pt idx="607">
                  <c:v>0.9675356894563688</c:v>
                </c:pt>
                <c:pt idx="608">
                  <c:v>0.967728665006357</c:v>
                </c:pt>
                <c:pt idx="609">
                  <c:v>0.9679203100958306</c:v>
                </c:pt>
                <c:pt idx="610">
                  <c:v>0.9681101545218767</c:v>
                </c:pt>
                <c:pt idx="611">
                  <c:v>0.9682998386514752</c:v>
                </c:pt>
                <c:pt idx="612">
                  <c:v>0.9684893197389068</c:v>
                </c:pt>
                <c:pt idx="613">
                  <c:v>0.9686785390088075</c:v>
                </c:pt>
                <c:pt idx="614">
                  <c:v>0.9688671331225628</c:v>
                </c:pt>
                <c:pt idx="615">
                  <c:v>0.9690549043812205</c:v>
                </c:pt>
                <c:pt idx="616">
                  <c:v>0.9692403139388844</c:v>
                </c:pt>
                <c:pt idx="617">
                  <c:v>0.9694257021236887</c:v>
                </c:pt>
                <c:pt idx="618">
                  <c:v>0.9696109513849052</c:v>
                </c:pt>
                <c:pt idx="619">
                  <c:v>0.9697960296632442</c:v>
                </c:pt>
                <c:pt idx="620">
                  <c:v>0.9699810651958638</c:v>
                </c:pt>
                <c:pt idx="621">
                  <c:v>0.9701626917573656</c:v>
                </c:pt>
                <c:pt idx="622">
                  <c:v>0.9703441793952795</c:v>
                </c:pt>
                <c:pt idx="623">
                  <c:v>0.9705252235463552</c:v>
                </c:pt>
                <c:pt idx="624">
                  <c:v>0.970705605138781</c:v>
                </c:pt>
                <c:pt idx="625">
                  <c:v>0.9708854310368553</c:v>
                </c:pt>
                <c:pt idx="626">
                  <c:v>0.9710645462873455</c:v>
                </c:pt>
                <c:pt idx="627">
                  <c:v>0.9712409258117976</c:v>
                </c:pt>
                <c:pt idx="628">
                  <c:v>0.9714167817011876</c:v>
                </c:pt>
                <c:pt idx="629">
                  <c:v>0.9715926055312881</c:v>
                </c:pt>
                <c:pt idx="630">
                  <c:v>0.9717668798290624</c:v>
                </c:pt>
                <c:pt idx="631">
                  <c:v>0.9719404541656824</c:v>
                </c:pt>
                <c:pt idx="632">
                  <c:v>0.972112356076033</c:v>
                </c:pt>
                <c:pt idx="633">
                  <c:v>0.9722809077906298</c:v>
                </c:pt>
                <c:pt idx="634">
                  <c:v>0.9724474504564173</c:v>
                </c:pt>
                <c:pt idx="635">
                  <c:v>0.9726137366478887</c:v>
                </c:pt>
                <c:pt idx="636">
                  <c:v>0.9727794350857192</c:v>
                </c:pt>
                <c:pt idx="637">
                  <c:v>0.9729430282968718</c:v>
                </c:pt>
                <c:pt idx="638">
                  <c:v>0.9731059215468701</c:v>
                </c:pt>
                <c:pt idx="639">
                  <c:v>0.9732686170979166</c:v>
                </c:pt>
                <c:pt idx="640">
                  <c:v>0.9734303508702776</c:v>
                </c:pt>
                <c:pt idx="641">
                  <c:v>0.9735914167407739</c:v>
                </c:pt>
                <c:pt idx="642">
                  <c:v>0.9737521459887303</c:v>
                </c:pt>
                <c:pt idx="643">
                  <c:v>0.9739128378341823</c:v>
                </c:pt>
                <c:pt idx="644">
                  <c:v>0.9740730648199364</c:v>
                </c:pt>
                <c:pt idx="645">
                  <c:v>0.9742307110328849</c:v>
                </c:pt>
                <c:pt idx="646">
                  <c:v>0.974386695505994</c:v>
                </c:pt>
                <c:pt idx="647">
                  <c:v>0.9745402274434556</c:v>
                </c:pt>
                <c:pt idx="648">
                  <c:v>0.9746905267358916</c:v>
                </c:pt>
                <c:pt idx="649">
                  <c:v>0.9748370964643147</c:v>
                </c:pt>
                <c:pt idx="650">
                  <c:v>0.9749834204048515</c:v>
                </c:pt>
                <c:pt idx="651">
                  <c:v>0.975126495670718</c:v>
                </c:pt>
                <c:pt idx="652">
                  <c:v>0.975269079360812</c:v>
                </c:pt>
                <c:pt idx="653">
                  <c:v>0.9754099639085619</c:v>
                </c:pt>
                <c:pt idx="654">
                  <c:v>0.9755507202191539</c:v>
                </c:pt>
                <c:pt idx="655">
                  <c:v>0.9756913536358027</c:v>
                </c:pt>
                <c:pt idx="656">
                  <c:v>0.975831629057052</c:v>
                </c:pt>
                <c:pt idx="657">
                  <c:v>0.9759711243689233</c:v>
                </c:pt>
                <c:pt idx="658">
                  <c:v>0.9761089151952356</c:v>
                </c:pt>
                <c:pt idx="659">
                  <c:v>0.9762462999372141</c:v>
                </c:pt>
                <c:pt idx="660">
                  <c:v>0.9763836205606137</c:v>
                </c:pt>
                <c:pt idx="661">
                  <c:v>0.9765208396629297</c:v>
                </c:pt>
                <c:pt idx="662">
                  <c:v>0.9766578984687982</c:v>
                </c:pt>
                <c:pt idx="663">
                  <c:v>0.9767948984993027</c:v>
                </c:pt>
                <c:pt idx="664">
                  <c:v>0.9769318557840877</c:v>
                </c:pt>
                <c:pt idx="665">
                  <c:v>0.9770683588956047</c:v>
                </c:pt>
                <c:pt idx="666">
                  <c:v>0.9772038574827171</c:v>
                </c:pt>
                <c:pt idx="667">
                  <c:v>0.9773388110619078</c:v>
                </c:pt>
                <c:pt idx="668">
                  <c:v>0.9774736203742957</c:v>
                </c:pt>
                <c:pt idx="669">
                  <c:v>0.9776070725100944</c:v>
                </c:pt>
                <c:pt idx="670">
                  <c:v>0.9777403483198007</c:v>
                </c:pt>
                <c:pt idx="671">
                  <c:v>0.9778733195662568</c:v>
                </c:pt>
                <c:pt idx="672">
                  <c:v>0.9780050939325712</c:v>
                </c:pt>
                <c:pt idx="673">
                  <c:v>0.9781367347185126</c:v>
                </c:pt>
                <c:pt idx="674">
                  <c:v>0.978268044225129</c:v>
                </c:pt>
                <c:pt idx="675">
                  <c:v>0.9783988300966835</c:v>
                </c:pt>
                <c:pt idx="676">
                  <c:v>0.9785286167870483</c:v>
                </c:pt>
                <c:pt idx="677">
                  <c:v>0.9786578264102018</c:v>
                </c:pt>
                <c:pt idx="678">
                  <c:v>0.9787870306901405</c:v>
                </c:pt>
                <c:pt idx="679">
                  <c:v>0.9789148991663496</c:v>
                </c:pt>
                <c:pt idx="680">
                  <c:v>0.9790411272755787</c:v>
                </c:pt>
                <c:pt idx="681">
                  <c:v>0.9791663455171883</c:v>
                </c:pt>
                <c:pt idx="682">
                  <c:v>0.9792893570110367</c:v>
                </c:pt>
                <c:pt idx="683">
                  <c:v>0.9794123524752403</c:v>
                </c:pt>
                <c:pt idx="684">
                  <c:v>0.9795352677912201</c:v>
                </c:pt>
                <c:pt idx="685">
                  <c:v>0.979657851827875</c:v>
                </c:pt>
                <c:pt idx="686">
                  <c:v>0.9797787527518307</c:v>
                </c:pt>
                <c:pt idx="687">
                  <c:v>0.9798994773496941</c:v>
                </c:pt>
                <c:pt idx="688">
                  <c:v>0.980020100426474</c:v>
                </c:pt>
                <c:pt idx="689">
                  <c:v>0.9801402853596306</c:v>
                </c:pt>
                <c:pt idx="690">
                  <c:v>0.9802595672894661</c:v>
                </c:pt>
                <c:pt idx="691">
                  <c:v>0.9803786141178451</c:v>
                </c:pt>
                <c:pt idx="692">
                  <c:v>0.9804967900021925</c:v>
                </c:pt>
                <c:pt idx="693">
                  <c:v>0.9806145437725613</c:v>
                </c:pt>
                <c:pt idx="694">
                  <c:v>0.9807313785099642</c:v>
                </c:pt>
                <c:pt idx="695">
                  <c:v>0.9808480369212748</c:v>
                </c:pt>
                <c:pt idx="696">
                  <c:v>0.9809641984135979</c:v>
                </c:pt>
                <c:pt idx="697">
                  <c:v>0.9810788638057439</c:v>
                </c:pt>
                <c:pt idx="698">
                  <c:v>0.9811905690568252</c:v>
                </c:pt>
                <c:pt idx="699">
                  <c:v>0.9813008423263084</c:v>
                </c:pt>
                <c:pt idx="700">
                  <c:v>0.98141057058787</c:v>
                </c:pt>
                <c:pt idx="701">
                  <c:v>0.9815199675701066</c:v>
                </c:pt>
                <c:pt idx="702">
                  <c:v>0.9816293538659134</c:v>
                </c:pt>
                <c:pt idx="703">
                  <c:v>0.9817382111834433</c:v>
                </c:pt>
                <c:pt idx="704">
                  <c:v>0.981846950950245</c:v>
                </c:pt>
                <c:pt idx="705">
                  <c:v>0.9819556372848975</c:v>
                </c:pt>
                <c:pt idx="706">
                  <c:v>0.9820638961623566</c:v>
                </c:pt>
                <c:pt idx="707">
                  <c:v>0.982171738269052</c:v>
                </c:pt>
                <c:pt idx="708">
                  <c:v>0.9822790513974705</c:v>
                </c:pt>
                <c:pt idx="709">
                  <c:v>0.9823858729501166</c:v>
                </c:pt>
                <c:pt idx="710">
                  <c:v>0.9824926945027627</c:v>
                </c:pt>
                <c:pt idx="711">
                  <c:v>0.9825985596199384</c:v>
                </c:pt>
                <c:pt idx="712">
                  <c:v>0.9827040453688548</c:v>
                </c:pt>
                <c:pt idx="713">
                  <c:v>0.9828078319754273</c:v>
                </c:pt>
                <c:pt idx="714">
                  <c:v>0.9829114582855523</c:v>
                </c:pt>
                <c:pt idx="715">
                  <c:v>0.9830146357656241</c:v>
                </c:pt>
                <c:pt idx="716">
                  <c:v>0.9831169690177388</c:v>
                </c:pt>
                <c:pt idx="717">
                  <c:v>0.9832192969266386</c:v>
                </c:pt>
                <c:pt idx="718">
                  <c:v>0.9833213630180073</c:v>
                </c:pt>
                <c:pt idx="719">
                  <c:v>0.983422787923586</c:v>
                </c:pt>
                <c:pt idx="720">
                  <c:v>0.9835222037803553</c:v>
                </c:pt>
                <c:pt idx="721">
                  <c:v>0.983620545650926</c:v>
                </c:pt>
                <c:pt idx="722">
                  <c:v>0.9837185348693122</c:v>
                </c:pt>
                <c:pt idx="723">
                  <c:v>0.9838162515837374</c:v>
                </c:pt>
                <c:pt idx="724">
                  <c:v>0.9839133324555874</c:v>
                </c:pt>
                <c:pt idx="725">
                  <c:v>0.9840099912134589</c:v>
                </c:pt>
                <c:pt idx="726">
                  <c:v>0.9841064202130889</c:v>
                </c:pt>
                <c:pt idx="727">
                  <c:v>0.9842013157100373</c:v>
                </c:pt>
                <c:pt idx="728">
                  <c:v>0.9842959387030249</c:v>
                </c:pt>
                <c:pt idx="729">
                  <c:v>0.9843904494884992</c:v>
                </c:pt>
                <c:pt idx="730">
                  <c:v>0.9844846877700127</c:v>
                </c:pt>
                <c:pt idx="731">
                  <c:v>0.9845789100218815</c:v>
                </c:pt>
                <c:pt idx="732">
                  <c:v>0.9846728864858639</c:v>
                </c:pt>
                <c:pt idx="733">
                  <c:v>0.9847665423569514</c:v>
                </c:pt>
                <c:pt idx="734">
                  <c:v>0.9848598669487139</c:v>
                </c:pt>
                <c:pt idx="735">
                  <c:v>0.9849530579601034</c:v>
                </c:pt>
                <c:pt idx="736">
                  <c:v>0.9850441063423107</c:v>
                </c:pt>
                <c:pt idx="737">
                  <c:v>0.9851346204030261</c:v>
                </c:pt>
                <c:pt idx="738">
                  <c:v>0.9852247176929779</c:v>
                </c:pt>
                <c:pt idx="739">
                  <c:v>0.9853139547253279</c:v>
                </c:pt>
                <c:pt idx="740">
                  <c:v>0.9854019361021721</c:v>
                </c:pt>
                <c:pt idx="741">
                  <c:v>0.9854897625257837</c:v>
                </c:pt>
                <c:pt idx="742">
                  <c:v>0.9855771988947062</c:v>
                </c:pt>
                <c:pt idx="743">
                  <c:v>0.9856644482511066</c:v>
                </c:pt>
                <c:pt idx="744">
                  <c:v>0.985751564027134</c:v>
                </c:pt>
                <c:pt idx="745">
                  <c:v>0.9858377981727</c:v>
                </c:pt>
                <c:pt idx="746">
                  <c:v>0.9859238720218184</c:v>
                </c:pt>
                <c:pt idx="747">
                  <c:v>0.9860097588584147</c:v>
                </c:pt>
                <c:pt idx="748">
                  <c:v>0.986094924360997</c:v>
                </c:pt>
                <c:pt idx="749">
                  <c:v>0.9861793845592101</c:v>
                </c:pt>
                <c:pt idx="750">
                  <c:v>0.9862638340709933</c:v>
                </c:pt>
                <c:pt idx="751">
                  <c:v>0.9863482301506273</c:v>
                </c:pt>
                <c:pt idx="752">
                  <c:v>0.9864306973296759</c:v>
                </c:pt>
                <c:pt idx="753">
                  <c:v>0.9865128813183338</c:v>
                </c:pt>
                <c:pt idx="754">
                  <c:v>0.9865941676468855</c:v>
                </c:pt>
                <c:pt idx="755">
                  <c:v>0.986675395200073</c:v>
                </c:pt>
                <c:pt idx="756">
                  <c:v>0.9867565586346815</c:v>
                </c:pt>
                <c:pt idx="757">
                  <c:v>0.9868369259302672</c:v>
                </c:pt>
                <c:pt idx="758">
                  <c:v>0.986917282539423</c:v>
                </c:pt>
                <c:pt idx="759">
                  <c:v>0.9869975483139253</c:v>
                </c:pt>
                <c:pt idx="760">
                  <c:v>0.9870772904533656</c:v>
                </c:pt>
                <c:pt idx="761">
                  <c:v>0.987156690627051</c:v>
                </c:pt>
                <c:pt idx="762">
                  <c:v>0.9872359999660829</c:v>
                </c:pt>
                <c:pt idx="763">
                  <c:v>0.9873127605915988</c:v>
                </c:pt>
                <c:pt idx="764">
                  <c:v>0.987389238026724</c:v>
                </c:pt>
                <c:pt idx="765">
                  <c:v>0.9874657047754193</c:v>
                </c:pt>
                <c:pt idx="766">
                  <c:v>0.9875414875926051</c:v>
                </c:pt>
                <c:pt idx="767">
                  <c:v>0.9876172223208566</c:v>
                </c:pt>
                <c:pt idx="768">
                  <c:v>0.9876929089601738</c:v>
                </c:pt>
                <c:pt idx="769">
                  <c:v>0.9877685795698463</c:v>
                </c:pt>
                <c:pt idx="770">
                  <c:v>0.9878440204212774</c:v>
                </c:pt>
                <c:pt idx="771">
                  <c:v>0.9879194131837742</c:v>
                </c:pt>
                <c:pt idx="772">
                  <c:v>0.9879939617183139</c:v>
                </c:pt>
                <c:pt idx="773">
                  <c:v>0.9880684888799939</c:v>
                </c:pt>
                <c:pt idx="774">
                  <c:v>0.9881413008696851</c:v>
                </c:pt>
                <c:pt idx="775">
                  <c:v>0.9882140380543675</c:v>
                </c:pt>
                <c:pt idx="776">
                  <c:v>0.9882864920486591</c:v>
                </c:pt>
                <c:pt idx="777">
                  <c:v>0.9883587857465034</c:v>
                </c:pt>
                <c:pt idx="778">
                  <c:v>0.9884296367763197</c:v>
                </c:pt>
                <c:pt idx="779">
                  <c:v>0.9884994939681612</c:v>
                </c:pt>
                <c:pt idx="780">
                  <c:v>0.9885690252238926</c:v>
                </c:pt>
                <c:pt idx="781">
                  <c:v>0.9886380435309918</c:v>
                </c:pt>
                <c:pt idx="782">
                  <c:v>0.9887058596147345</c:v>
                </c:pt>
                <c:pt idx="783">
                  <c:v>0.9887730451991168</c:v>
                </c:pt>
                <c:pt idx="784">
                  <c:v>0.9888401346056306</c:v>
                </c:pt>
                <c:pt idx="785">
                  <c:v>0.9889071492071355</c:v>
                </c:pt>
                <c:pt idx="786">
                  <c:v>0.988973736351447</c:v>
                </c:pt>
                <c:pt idx="787">
                  <c:v>0.9890401097671617</c:v>
                </c:pt>
                <c:pt idx="788">
                  <c:v>0.9891058419970863</c:v>
                </c:pt>
                <c:pt idx="789">
                  <c:v>0.9891708796090715</c:v>
                </c:pt>
                <c:pt idx="790">
                  <c:v>0.9892359011914119</c:v>
                </c:pt>
                <c:pt idx="791">
                  <c:v>0.9893007571340898</c:v>
                </c:pt>
                <c:pt idx="792">
                  <c:v>0.9893654901828246</c:v>
                </c:pt>
                <c:pt idx="793">
                  <c:v>0.9894300148461777</c:v>
                </c:pt>
                <c:pt idx="794">
                  <c:v>0.989493727340863</c:v>
                </c:pt>
                <c:pt idx="795">
                  <c:v>0.9895569963487103</c:v>
                </c:pt>
                <c:pt idx="796">
                  <c:v>0.9896195226496839</c:v>
                </c:pt>
                <c:pt idx="797">
                  <c:v>0.9896816642391834</c:v>
                </c:pt>
                <c:pt idx="798">
                  <c:v>0.9897437737693933</c:v>
                </c:pt>
                <c:pt idx="799">
                  <c:v>0.9898057283463706</c:v>
                </c:pt>
                <c:pt idx="800">
                  <c:v>0.9898674317922468</c:v>
                </c:pt>
                <c:pt idx="801">
                  <c:v>0.989928873420592</c:v>
                </c:pt>
                <c:pt idx="802">
                  <c:v>0.9899898662188841</c:v>
                </c:pt>
                <c:pt idx="803">
                  <c:v>0.9900507574960926</c:v>
                </c:pt>
                <c:pt idx="804">
                  <c:v>0.9901109220960723</c:v>
                </c:pt>
                <c:pt idx="805">
                  <c:v>0.9901704775695513</c:v>
                </c:pt>
                <c:pt idx="806">
                  <c:v>0.9902295948994071</c:v>
                </c:pt>
                <c:pt idx="807">
                  <c:v>0.9902886267378241</c:v>
                </c:pt>
                <c:pt idx="808">
                  <c:v>0.9903470761658151</c:v>
                </c:pt>
                <c:pt idx="809">
                  <c:v>0.9904051462255469</c:v>
                </c:pt>
                <c:pt idx="810">
                  <c:v>0.9904631788827742</c:v>
                </c:pt>
                <c:pt idx="811">
                  <c:v>0.9905210298706943</c:v>
                </c:pt>
                <c:pt idx="812">
                  <c:v>0.9905788060536056</c:v>
                </c:pt>
                <c:pt idx="813">
                  <c:v>0.990636502088293</c:v>
                </c:pt>
                <c:pt idx="814">
                  <c:v>0.9906922852520398</c:v>
                </c:pt>
                <c:pt idx="815">
                  <c:v>0.990748036356497</c:v>
                </c:pt>
                <c:pt idx="816">
                  <c:v>0.9908037019695155</c:v>
                </c:pt>
                <c:pt idx="817">
                  <c:v>0.9908591485107224</c:v>
                </c:pt>
                <c:pt idx="818">
                  <c:v>0.9909136867053931</c:v>
                </c:pt>
                <c:pt idx="819">
                  <c:v>0.990968021857897</c:v>
                </c:pt>
                <c:pt idx="820">
                  <c:v>0.9910223356375412</c:v>
                </c:pt>
                <c:pt idx="821">
                  <c:v>0.9910765318664572</c:v>
                </c:pt>
                <c:pt idx="822">
                  <c:v>0.9911306426039345</c:v>
                </c:pt>
                <c:pt idx="823">
                  <c:v>0.9911845877017493</c:v>
                </c:pt>
                <c:pt idx="824">
                  <c:v>0.9912382282363138</c:v>
                </c:pt>
                <c:pt idx="825">
                  <c:v>0.9912918099955143</c:v>
                </c:pt>
                <c:pt idx="826">
                  <c:v>0.9913449429246615</c:v>
                </c:pt>
                <c:pt idx="827">
                  <c:v>0.9913977392312688</c:v>
                </c:pt>
                <c:pt idx="828">
                  <c:v>0.9914504714192972</c:v>
                </c:pt>
                <c:pt idx="829">
                  <c:v>0.9915027334044128</c:v>
                </c:pt>
                <c:pt idx="830">
                  <c:v>0.9915545519026902</c:v>
                </c:pt>
                <c:pt idx="831">
                  <c:v>0.9916063329984631</c:v>
                </c:pt>
                <c:pt idx="832">
                  <c:v>0.9916577881581261</c:v>
                </c:pt>
                <c:pt idx="833">
                  <c:v>0.9917091043942011</c:v>
                </c:pt>
                <c:pt idx="834">
                  <c:v>0.9917601641559601</c:v>
                </c:pt>
                <c:pt idx="835">
                  <c:v>0.9918111170534207</c:v>
                </c:pt>
                <c:pt idx="836">
                  <c:v>0.9918619844594426</c:v>
                </c:pt>
                <c:pt idx="837">
                  <c:v>0.9919127770604557</c:v>
                </c:pt>
                <c:pt idx="838">
                  <c:v>0.991963094115341</c:v>
                </c:pt>
                <c:pt idx="839">
                  <c:v>0.9920133096491429</c:v>
                </c:pt>
                <c:pt idx="840">
                  <c:v>0.9920634396915061</c:v>
                </c:pt>
                <c:pt idx="841">
                  <c:v>0.9921133399756278</c:v>
                </c:pt>
                <c:pt idx="842">
                  <c:v>0.9921631013361616</c:v>
                </c:pt>
                <c:pt idx="843">
                  <c:v>0.9922122482269798</c:v>
                </c:pt>
                <c:pt idx="844">
                  <c:v>0.9922611493299118</c:v>
                </c:pt>
                <c:pt idx="845">
                  <c:v>0.9923098099881725</c:v>
                </c:pt>
                <c:pt idx="846">
                  <c:v>0.9923568730251726</c:v>
                </c:pt>
                <c:pt idx="847">
                  <c:v>0.9924037116471461</c:v>
                </c:pt>
                <c:pt idx="848">
                  <c:v>0.9924505449259048</c:v>
                </c:pt>
                <c:pt idx="849">
                  <c:v>0.9924968438831716</c:v>
                </c:pt>
                <c:pt idx="850">
                  <c:v>0.9925429130821969</c:v>
                </c:pt>
                <c:pt idx="851">
                  <c:v>0.9925882823200679</c:v>
                </c:pt>
                <c:pt idx="852">
                  <c:v>0.9926329088510653</c:v>
                </c:pt>
                <c:pt idx="853">
                  <c:v>0.9926773323398957</c:v>
                </c:pt>
                <c:pt idx="854">
                  <c:v>0.9927216169051384</c:v>
                </c:pt>
                <c:pt idx="855">
                  <c:v>0.9927658213221572</c:v>
                </c:pt>
                <c:pt idx="856">
                  <c:v>0.9928099455909523</c:v>
                </c:pt>
                <c:pt idx="857">
                  <c:v>0.9928539683386639</c:v>
                </c:pt>
                <c:pt idx="858">
                  <c:v>0.9928979323110114</c:v>
                </c:pt>
                <c:pt idx="859">
                  <c:v>0.992941826821565</c:v>
                </c:pt>
                <c:pt idx="860">
                  <c:v>0.9929849839684598</c:v>
                </c:pt>
                <c:pt idx="861">
                  <c:v>0.9930280876832055</c:v>
                </c:pt>
                <c:pt idx="862">
                  <c:v>0.9930711165929423</c:v>
                </c:pt>
                <c:pt idx="863">
                  <c:v>0.9931140974137449</c:v>
                </c:pt>
                <c:pt idx="864">
                  <c:v>0.9931567202391479</c:v>
                </c:pt>
                <c:pt idx="865">
                  <c:v>0.9931992682595421</c:v>
                </c:pt>
                <c:pt idx="866">
                  <c:v>0.9932415384327605</c:v>
                </c:pt>
                <c:pt idx="867">
                  <c:v>0.9932836643391761</c:v>
                </c:pt>
                <c:pt idx="868">
                  <c:v>0.9933255925466398</c:v>
                </c:pt>
                <c:pt idx="869">
                  <c:v>0.9933674726651691</c:v>
                </c:pt>
                <c:pt idx="870">
                  <c:v>0.9934091818008212</c:v>
                </c:pt>
                <c:pt idx="871">
                  <c:v>0.9934506932375212</c:v>
                </c:pt>
                <c:pt idx="872">
                  <c:v>0.9934921138395676</c:v>
                </c:pt>
                <c:pt idx="873">
                  <c:v>0.9935333581155217</c:v>
                </c:pt>
                <c:pt idx="874">
                  <c:v>0.9935739986081901</c:v>
                </c:pt>
                <c:pt idx="875">
                  <c:v>0.9936145162069153</c:v>
                </c:pt>
                <c:pt idx="876">
                  <c:v>0.9936548147338289</c:v>
                </c:pt>
                <c:pt idx="877">
                  <c:v>0.9936944026131583</c:v>
                </c:pt>
                <c:pt idx="878">
                  <c:v>0.9937339637764132</c:v>
                </c:pt>
                <c:pt idx="879">
                  <c:v>0.9937730867960448</c:v>
                </c:pt>
                <c:pt idx="880">
                  <c:v>0.9938119960870796</c:v>
                </c:pt>
                <c:pt idx="881">
                  <c:v>0.9938506916495177</c:v>
                </c:pt>
                <c:pt idx="882">
                  <c:v>0.9938892803476574</c:v>
                </c:pt>
                <c:pt idx="883">
                  <c:v>0.9939276446307707</c:v>
                </c:pt>
                <c:pt idx="884">
                  <c:v>0.9939658753335109</c:v>
                </c:pt>
                <c:pt idx="885">
                  <c:v>0.9940041006930361</c:v>
                </c:pt>
                <c:pt idx="886">
                  <c:v>0.9940417382989204</c:v>
                </c:pt>
                <c:pt idx="887">
                  <c:v>0.9940785904522117</c:v>
                </c:pt>
                <c:pt idx="888">
                  <c:v>0.9941151273558229</c:v>
                </c:pt>
                <c:pt idx="889">
                  <c:v>0.9941516054840699</c:v>
                </c:pt>
                <c:pt idx="890">
                  <c:v>0.9941880088073081</c:v>
                </c:pt>
                <c:pt idx="891">
                  <c:v>0.9942241503130153</c:v>
                </c:pt>
                <c:pt idx="892">
                  <c:v>0.9942601528951346</c:v>
                </c:pt>
                <c:pt idx="893">
                  <c:v>0.9942961234179644</c:v>
                </c:pt>
                <c:pt idx="894">
                  <c:v>0.9943320832543643</c:v>
                </c:pt>
                <c:pt idx="895">
                  <c:v>0.9943679950018299</c:v>
                </c:pt>
                <c:pt idx="896">
                  <c:v>0.99440361821569</c:v>
                </c:pt>
                <c:pt idx="897">
                  <c:v>0.9944388193155715</c:v>
                </c:pt>
                <c:pt idx="898">
                  <c:v>0.9944739562968741</c:v>
                </c:pt>
                <c:pt idx="899">
                  <c:v>0.9945089276385142</c:v>
                </c:pt>
                <c:pt idx="900">
                  <c:v>0.994543653192268</c:v>
                </c:pt>
                <c:pt idx="901">
                  <c:v>0.9945780047209776</c:v>
                </c:pt>
                <c:pt idx="902">
                  <c:v>0.9946121318346606</c:v>
                </c:pt>
                <c:pt idx="903">
                  <c:v>0.994646162770475</c:v>
                </c:pt>
                <c:pt idx="904">
                  <c:v>0.9946796433551529</c:v>
                </c:pt>
                <c:pt idx="905">
                  <c:v>0.9947128193765804</c:v>
                </c:pt>
                <c:pt idx="906">
                  <c:v>0.994744814547511</c:v>
                </c:pt>
                <c:pt idx="907">
                  <c:v>0.9947767883455819</c:v>
                </c:pt>
                <c:pt idx="908">
                  <c:v>0.994808751457223</c:v>
                </c:pt>
                <c:pt idx="909">
                  <c:v>0.9948397207308893</c:v>
                </c:pt>
                <c:pt idx="910">
                  <c:v>0.9948705938266871</c:v>
                </c:pt>
                <c:pt idx="911">
                  <c:v>0.994901392117476</c:v>
                </c:pt>
                <c:pt idx="912">
                  <c:v>0.9949321476625456</c:v>
                </c:pt>
                <c:pt idx="913">
                  <c:v>0.9949628070297466</c:v>
                </c:pt>
                <c:pt idx="914">
                  <c:v>0.9949932526683509</c:v>
                </c:pt>
                <c:pt idx="915">
                  <c:v>0.9950236876205254</c:v>
                </c:pt>
                <c:pt idx="916">
                  <c:v>0.9950540103651866</c:v>
                </c:pt>
                <c:pt idx="917">
                  <c:v>0.9950843170802031</c:v>
                </c:pt>
                <c:pt idx="918">
                  <c:v>0.9951145810495001</c:v>
                </c:pt>
                <c:pt idx="919">
                  <c:v>0.995144722124854</c:v>
                </c:pt>
                <c:pt idx="920">
                  <c:v>0.9951747456494798</c:v>
                </c:pt>
                <c:pt idx="921">
                  <c:v>0.995204737114816</c:v>
                </c:pt>
                <c:pt idx="922">
                  <c:v>0.9952346751480031</c:v>
                </c:pt>
                <c:pt idx="923">
                  <c:v>0.9952642284697161</c:v>
                </c:pt>
                <c:pt idx="924">
                  <c:v>0.9952937550753544</c:v>
                </c:pt>
                <c:pt idx="925">
                  <c:v>0.99532313741419</c:v>
                </c:pt>
                <c:pt idx="926">
                  <c:v>0.9953521777872708</c:v>
                </c:pt>
                <c:pt idx="927">
                  <c:v>0.9953810044317549</c:v>
                </c:pt>
                <c:pt idx="928">
                  <c:v>0.9954096120044273</c:v>
                </c:pt>
                <c:pt idx="929">
                  <c:v>0.9954378455520555</c:v>
                </c:pt>
                <c:pt idx="930">
                  <c:v>0.9954659775786002</c:v>
                </c:pt>
                <c:pt idx="931">
                  <c:v>0.9954939867112018</c:v>
                </c:pt>
                <c:pt idx="932">
                  <c:v>0.995521691280553</c:v>
                </c:pt>
                <c:pt idx="933">
                  <c:v>0.9955491340323732</c:v>
                </c:pt>
                <c:pt idx="934">
                  <c:v>0.9955765340384741</c:v>
                </c:pt>
                <c:pt idx="935">
                  <c:v>0.9956034745280921</c:v>
                </c:pt>
                <c:pt idx="936">
                  <c:v>0.9956303028101967</c:v>
                </c:pt>
                <c:pt idx="937">
                  <c:v>0.9956570081983582</c:v>
                </c:pt>
                <c:pt idx="938">
                  <c:v>0.9956835746629319</c:v>
                </c:pt>
                <c:pt idx="939">
                  <c:v>0.9957100342632071</c:v>
                </c:pt>
                <c:pt idx="940">
                  <c:v>0.995736392342399</c:v>
                </c:pt>
                <c:pt idx="941">
                  <c:v>0.9957627237055162</c:v>
                </c:pt>
                <c:pt idx="942">
                  <c:v>0.9957890230093439</c:v>
                </c:pt>
                <c:pt idx="943">
                  <c:v>0.995815162016724</c:v>
                </c:pt>
                <c:pt idx="944">
                  <c:v>0.9958410285201433</c:v>
                </c:pt>
                <c:pt idx="945">
                  <c:v>0.9958668629642732</c:v>
                </c:pt>
                <c:pt idx="946">
                  <c:v>0.9958925531416002</c:v>
                </c:pt>
                <c:pt idx="947">
                  <c:v>0.9959181952299929</c:v>
                </c:pt>
                <c:pt idx="948">
                  <c:v>0.9959437678565918</c:v>
                </c:pt>
                <c:pt idx="949">
                  <c:v>0.9959693351399757</c:v>
                </c:pt>
                <c:pt idx="950">
                  <c:v>0.9959947367836971</c:v>
                </c:pt>
                <c:pt idx="951">
                  <c:v>0.996020106368129</c:v>
                </c:pt>
                <c:pt idx="952">
                  <c:v>0.9960451126139465</c:v>
                </c:pt>
                <c:pt idx="953">
                  <c:v>0.9960700226818955</c:v>
                </c:pt>
                <c:pt idx="954">
                  <c:v>0.99609489534734</c:v>
                </c:pt>
                <c:pt idx="955">
                  <c:v>0.9961196985509906</c:v>
                </c:pt>
                <c:pt idx="956">
                  <c:v>0.9961443307717638</c:v>
                </c:pt>
                <c:pt idx="957">
                  <c:v>0.9961689416196773</c:v>
                </c:pt>
                <c:pt idx="958">
                  <c:v>0.9961933013364896</c:v>
                </c:pt>
                <c:pt idx="959">
                  <c:v>0.996217335117192</c:v>
                </c:pt>
                <c:pt idx="960">
                  <c:v>0.996240540699582</c:v>
                </c:pt>
                <c:pt idx="961">
                  <c:v>0.9962637302523273</c:v>
                </c:pt>
                <c:pt idx="962">
                  <c:v>0.9962868824025681</c:v>
                </c:pt>
                <c:pt idx="963">
                  <c:v>0.9963100131799493</c:v>
                </c:pt>
                <c:pt idx="964">
                  <c:v>0.9963330851819664</c:v>
                </c:pt>
                <c:pt idx="965">
                  <c:v>0.9963560449764702</c:v>
                </c:pt>
                <c:pt idx="966">
                  <c:v>0.9963789620252547</c:v>
                </c:pt>
                <c:pt idx="967">
                  <c:v>0.9964017935826004</c:v>
                </c:pt>
                <c:pt idx="968">
                  <c:v>0.9964241282209587</c:v>
                </c:pt>
                <c:pt idx="969">
                  <c:v>0.9964463773678783</c:v>
                </c:pt>
                <c:pt idx="970">
                  <c:v>0.9964685196504997</c:v>
                </c:pt>
                <c:pt idx="971">
                  <c:v>0.9964906352170464</c:v>
                </c:pt>
                <c:pt idx="972">
                  <c:v>0.9965126866650141</c:v>
                </c:pt>
                <c:pt idx="973">
                  <c:v>0.9965346152190387</c:v>
                </c:pt>
                <c:pt idx="974">
                  <c:v>0.9965564849976992</c:v>
                </c:pt>
                <c:pt idx="975">
                  <c:v>0.9965782906577807</c:v>
                </c:pt>
                <c:pt idx="976">
                  <c:v>0.9966000696017876</c:v>
                </c:pt>
                <c:pt idx="977">
                  <c:v>0.9966217256518514</c:v>
                </c:pt>
                <c:pt idx="978">
                  <c:v>0.9966433389561957</c:v>
                </c:pt>
                <c:pt idx="979">
                  <c:v>0.9966649362308954</c:v>
                </c:pt>
                <c:pt idx="980">
                  <c:v>0.9966865014463054</c:v>
                </c:pt>
                <c:pt idx="981">
                  <c:v>0.9967078101873995</c:v>
                </c:pt>
                <c:pt idx="982">
                  <c:v>0.9967290975556339</c:v>
                </c:pt>
                <c:pt idx="983">
                  <c:v>0.9967501551656268</c:v>
                </c:pt>
                <c:pt idx="984">
                  <c:v>0.9967711646866855</c:v>
                </c:pt>
                <c:pt idx="985">
                  <c:v>0.9967919337630727</c:v>
                </c:pt>
                <c:pt idx="986">
                  <c:v>0.9968126868098153</c:v>
                </c:pt>
                <c:pt idx="987">
                  <c:v>0.996833429170128</c:v>
                </c:pt>
                <c:pt idx="988">
                  <c:v>0.996854150157581</c:v>
                </c:pt>
                <c:pt idx="989">
                  <c:v>0.9968748497721744</c:v>
                </c:pt>
                <c:pt idx="990">
                  <c:v>0.9968955066410484</c:v>
                </c:pt>
                <c:pt idx="991">
                  <c:v>0.996916126107418</c:v>
                </c:pt>
                <c:pt idx="992">
                  <c:v>0.9969367295441428</c:v>
                </c:pt>
                <c:pt idx="993">
                  <c:v>0.9969572955783632</c:v>
                </c:pt>
                <c:pt idx="994">
                  <c:v>0.9969775784221929</c:v>
                </c:pt>
                <c:pt idx="995">
                  <c:v>0.9969977971474436</c:v>
                </c:pt>
                <c:pt idx="996">
                  <c:v>0.9970177593983783</c:v>
                </c:pt>
                <c:pt idx="997">
                  <c:v>0.9970376628739489</c:v>
                </c:pt>
                <c:pt idx="998">
                  <c:v>0.9970574968877255</c:v>
                </c:pt>
                <c:pt idx="999">
                  <c:v>0.9970772186939888</c:v>
                </c:pt>
                <c:pt idx="1000">
                  <c:v>0.9970968282927388</c:v>
                </c:pt>
                <c:pt idx="1001">
                  <c:v>0.9971164004889844</c:v>
                </c:pt>
                <c:pt idx="1002">
                  <c:v>0.9971358604777167</c:v>
                </c:pt>
                <c:pt idx="1003">
                  <c:v>0.9971552563478701</c:v>
                </c:pt>
                <c:pt idx="1004">
                  <c:v>0.9971745613833698</c:v>
                </c:pt>
                <c:pt idx="1005">
                  <c:v>0.9971938290163651</c:v>
                </c:pt>
                <c:pt idx="1006">
                  <c:v>0.997212995128277</c:v>
                </c:pt>
                <c:pt idx="1007">
                  <c:v>0.9972321238376844</c:v>
                </c:pt>
                <c:pt idx="1008">
                  <c:v>0.9972511884285128</c:v>
                </c:pt>
                <c:pt idx="1009">
                  <c:v>0.9972701835575473</c:v>
                </c:pt>
                <c:pt idx="1010">
                  <c:v>0.9972889809876297</c:v>
                </c:pt>
                <c:pt idx="1011">
                  <c:v>0.9973076768966288</c:v>
                </c:pt>
                <c:pt idx="1012">
                  <c:v>0.9973263728056279</c:v>
                </c:pt>
                <c:pt idx="1013">
                  <c:v>0.9973450366553374</c:v>
                </c:pt>
                <c:pt idx="1014">
                  <c:v>0.997363625700038</c:v>
                </c:pt>
                <c:pt idx="1015">
                  <c:v>0.9973820971940105</c:v>
                </c:pt>
                <c:pt idx="1016">
                  <c:v>0.9974005259422636</c:v>
                </c:pt>
                <c:pt idx="1017">
                  <c:v>0.9974189440040868</c:v>
                </c:pt>
                <c:pt idx="1018">
                  <c:v>0.9974371643669581</c:v>
                </c:pt>
                <c:pt idx="1019">
                  <c:v>0.9974549305565613</c:v>
                </c:pt>
                <c:pt idx="1020">
                  <c:v>0.9974725738522214</c:v>
                </c:pt>
                <c:pt idx="1021">
                  <c:v>0.9974902011182368</c:v>
                </c:pt>
                <c:pt idx="1022">
                  <c:v>0.997507646714945</c:v>
                </c:pt>
                <c:pt idx="1023">
                  <c:v>0.9975250816252232</c:v>
                </c:pt>
                <c:pt idx="1024">
                  <c:v>0.997542425700848</c:v>
                </c:pt>
                <c:pt idx="1025">
                  <c:v>0.997559353005709</c:v>
                </c:pt>
                <c:pt idx="1026">
                  <c:v>0.9975762375648507</c:v>
                </c:pt>
                <c:pt idx="1027">
                  <c:v>0.9975930366325537</c:v>
                </c:pt>
                <c:pt idx="1028">
                  <c:v>0.9976098089841822</c:v>
                </c:pt>
                <c:pt idx="1029">
                  <c:v>0.9976264958443719</c:v>
                </c:pt>
                <c:pt idx="1030">
                  <c:v>0.9976431185859826</c:v>
                </c:pt>
                <c:pt idx="1031">
                  <c:v>0.9976597413275934</c:v>
                </c:pt>
                <c:pt idx="1032">
                  <c:v>0.997676112938103</c:v>
                </c:pt>
                <c:pt idx="1033">
                  <c:v>0.9976924845486126</c:v>
                </c:pt>
                <c:pt idx="1034">
                  <c:v>0.9977086317440956</c:v>
                </c:pt>
                <c:pt idx="1035">
                  <c:v>0.9977247094777847</c:v>
                </c:pt>
                <c:pt idx="1036">
                  <c:v>0.9977407124064649</c:v>
                </c:pt>
                <c:pt idx="1037">
                  <c:v>0.9977566084708468</c:v>
                </c:pt>
                <c:pt idx="1038">
                  <c:v>0.997772483162369</c:v>
                </c:pt>
                <c:pt idx="1039">
                  <c:v>0.9977883097649569</c:v>
                </c:pt>
                <c:pt idx="1040">
                  <c:v>0.9978040775921807</c:v>
                </c:pt>
                <c:pt idx="1041">
                  <c:v>0.9978197171822465</c:v>
                </c:pt>
                <c:pt idx="1042">
                  <c:v>0.9978353033401631</c:v>
                </c:pt>
                <c:pt idx="1043">
                  <c:v>0.9978506543966233</c:v>
                </c:pt>
                <c:pt idx="1044">
                  <c:v>0.997865775694842</c:v>
                </c:pt>
                <c:pt idx="1045">
                  <c:v>0.9978807847855474</c:v>
                </c:pt>
                <c:pt idx="1046">
                  <c:v>0.9978957564737484</c:v>
                </c:pt>
                <c:pt idx="1047">
                  <c:v>0.9979106693865852</c:v>
                </c:pt>
                <c:pt idx="1048">
                  <c:v>0.9979253792572552</c:v>
                </c:pt>
                <c:pt idx="1049">
                  <c:v>0.9979400250093462</c:v>
                </c:pt>
                <c:pt idx="1050">
                  <c:v>0.997954547867494</c:v>
                </c:pt>
                <c:pt idx="1051">
                  <c:v>0.9979690226367076</c:v>
                </c:pt>
                <c:pt idx="1052">
                  <c:v>0.997983443973772</c:v>
                </c:pt>
                <c:pt idx="1053">
                  <c:v>0.9979977958490425</c:v>
                </c:pt>
                <c:pt idx="1054">
                  <c:v>0.9980120568896593</c:v>
                </c:pt>
                <c:pt idx="1055">
                  <c:v>0.9980261148881093</c:v>
                </c:pt>
                <c:pt idx="1056">
                  <c:v>0.998040060679046</c:v>
                </c:pt>
                <c:pt idx="1057">
                  <c:v>0.9980537660253114</c:v>
                </c:pt>
                <c:pt idx="1058">
                  <c:v>0.9980674286258574</c:v>
                </c:pt>
                <c:pt idx="1059">
                  <c:v>0.9980810858831884</c:v>
                </c:pt>
                <c:pt idx="1060">
                  <c:v>0.9980947324540898</c:v>
                </c:pt>
                <c:pt idx="1061">
                  <c:v>0.998108379024991</c:v>
                </c:pt>
                <c:pt idx="1062">
                  <c:v>0.9981220255958924</c:v>
                </c:pt>
                <c:pt idx="1063">
                  <c:v>0.998135650793934</c:v>
                </c:pt>
                <c:pt idx="1064">
                  <c:v>0.9981491050090981</c:v>
                </c:pt>
                <c:pt idx="1065">
                  <c:v>0.9981625485378325</c:v>
                </c:pt>
                <c:pt idx="1066">
                  <c:v>0.998175981380137</c:v>
                </c:pt>
                <c:pt idx="1067">
                  <c:v>0.9981893981927967</c:v>
                </c:pt>
                <c:pt idx="1068">
                  <c:v>0.9982027134843731</c:v>
                </c:pt>
                <c:pt idx="1069">
                  <c:v>0.9982159700005853</c:v>
                </c:pt>
                <c:pt idx="1070">
                  <c:v>0.998229189114293</c:v>
                </c:pt>
                <c:pt idx="1071">
                  <c:v>0.9982421090079654</c:v>
                </c:pt>
                <c:pt idx="1072">
                  <c:v>0.9982548472323306</c:v>
                </c:pt>
                <c:pt idx="1073">
                  <c:v>0.998267574770266</c:v>
                </c:pt>
                <c:pt idx="1074">
                  <c:v>0.9982802862785565</c:v>
                </c:pt>
                <c:pt idx="1075">
                  <c:v>0.9982929657275575</c:v>
                </c:pt>
                <c:pt idx="1076">
                  <c:v>0.9983055650283348</c:v>
                </c:pt>
                <c:pt idx="1077">
                  <c:v>0.9983180574648137</c:v>
                </c:pt>
                <c:pt idx="1078">
                  <c:v>0.9983305071555733</c:v>
                </c:pt>
                <c:pt idx="1079">
                  <c:v>0.9983427484609511</c:v>
                </c:pt>
                <c:pt idx="1080">
                  <c:v>0.9983549416773946</c:v>
                </c:pt>
                <c:pt idx="1081">
                  <c:v>0.9983670868049038</c:v>
                </c:pt>
                <c:pt idx="1082">
                  <c:v>0.9983792105595534</c:v>
                </c:pt>
                <c:pt idx="1083">
                  <c:v>0.9983912915684836</c:v>
                </c:pt>
                <c:pt idx="1084">
                  <c:v>0.9984033672341989</c:v>
                </c:pt>
                <c:pt idx="1085">
                  <c:v>0.9984154161838396</c:v>
                </c:pt>
                <c:pt idx="1086">
                  <c:v>0.9984274437606205</c:v>
                </c:pt>
                <c:pt idx="1087">
                  <c:v>0.9984393911891778</c:v>
                </c:pt>
                <c:pt idx="1088">
                  <c:v>0.9984512317534366</c:v>
                </c:pt>
                <c:pt idx="1089">
                  <c:v>0.9984629921694718</c:v>
                </c:pt>
                <c:pt idx="1090">
                  <c:v>0.9984747098397875</c:v>
                </c:pt>
                <c:pt idx="1091">
                  <c:v>0.998486379421169</c:v>
                </c:pt>
                <c:pt idx="1092">
                  <c:v>0.9984978566468135</c:v>
                </c:pt>
                <c:pt idx="1093">
                  <c:v>0.998509259067449</c:v>
                </c:pt>
                <c:pt idx="1094">
                  <c:v>0.9985206240855802</c:v>
                </c:pt>
                <c:pt idx="1095">
                  <c:v>0.9985318394936936</c:v>
                </c:pt>
                <c:pt idx="1096">
                  <c:v>0.9985430281857325</c:v>
                </c:pt>
                <c:pt idx="1097">
                  <c:v>0.9985542115345564</c:v>
                </c:pt>
                <c:pt idx="1098">
                  <c:v>0.9985653200783714</c:v>
                </c:pt>
                <c:pt idx="1099">
                  <c:v>0.9985763858764671</c:v>
                </c:pt>
                <c:pt idx="1100">
                  <c:v>0.998587376869554</c:v>
                </c:pt>
                <c:pt idx="1101">
                  <c:v>0.9985982716847723</c:v>
                </c:pt>
                <c:pt idx="1102">
                  <c:v>0.9986090596356924</c:v>
                </c:pt>
                <c:pt idx="1103">
                  <c:v>0.9986197834680334</c:v>
                </c:pt>
                <c:pt idx="1104">
                  <c:v>0.9986305073003744</c:v>
                </c:pt>
                <c:pt idx="1105">
                  <c:v>0.9986412151030706</c:v>
                </c:pt>
                <c:pt idx="1106">
                  <c:v>0.9986519229057668</c:v>
                </c:pt>
                <c:pt idx="1107">
                  <c:v>0.9986626200220331</c:v>
                </c:pt>
                <c:pt idx="1108">
                  <c:v>0.9986732957654398</c:v>
                </c:pt>
                <c:pt idx="1109">
                  <c:v>0.9986839661656316</c:v>
                </c:pt>
                <c:pt idx="1110">
                  <c:v>0.9986945297015251</c:v>
                </c:pt>
                <c:pt idx="1111">
                  <c:v>0.9987050130891947</c:v>
                </c:pt>
                <c:pt idx="1112">
                  <c:v>0.9987153789261362</c:v>
                </c:pt>
                <c:pt idx="1113">
                  <c:v>0.9987257127037881</c:v>
                </c:pt>
                <c:pt idx="1114">
                  <c:v>0.9987360037357207</c:v>
                </c:pt>
                <c:pt idx="1115">
                  <c:v>0.99874618256014</c:v>
                </c:pt>
                <c:pt idx="1116">
                  <c:v>0.9987561743720372</c:v>
                </c:pt>
                <c:pt idx="1117">
                  <c:v>0.9987661448110747</c:v>
                </c:pt>
                <c:pt idx="1118">
                  <c:v>0.9987761152501122</c:v>
                </c:pt>
                <c:pt idx="1119">
                  <c:v>0.9987860750027199</c:v>
                </c:pt>
                <c:pt idx="1120">
                  <c:v>0.998795943920674</c:v>
                </c:pt>
                <c:pt idx="1121">
                  <c:v>0.998805609796461</c:v>
                </c:pt>
                <c:pt idx="1122">
                  <c:v>0.9988152489561736</c:v>
                </c:pt>
                <c:pt idx="1123">
                  <c:v>0.9988248613998115</c:v>
                </c:pt>
                <c:pt idx="1124">
                  <c:v>0.998834372322366</c:v>
                </c:pt>
                <c:pt idx="1125">
                  <c:v>0.9988438137831266</c:v>
                </c:pt>
                <c:pt idx="1126">
                  <c:v>0.9988532499006723</c:v>
                </c:pt>
                <c:pt idx="1127">
                  <c:v>0.9988625150353405</c:v>
                </c:pt>
                <c:pt idx="1128">
                  <c:v>0.9988717801700088</c:v>
                </c:pt>
                <c:pt idx="1129">
                  <c:v>0.9988809651564533</c:v>
                </c:pt>
                <c:pt idx="1130">
                  <c:v>0.998890134113253</c:v>
                </c:pt>
                <c:pt idx="1131">
                  <c:v>0.9988992175786141</c:v>
                </c:pt>
                <c:pt idx="1132">
                  <c:v>0.9989082796711155</c:v>
                </c:pt>
                <c:pt idx="1133">
                  <c:v>0.9989172562721782</c:v>
                </c:pt>
                <c:pt idx="1134">
                  <c:v>0.9989261954707365</c:v>
                </c:pt>
                <c:pt idx="1135">
                  <c:v>0.998935054521071</c:v>
                </c:pt>
                <c:pt idx="1136">
                  <c:v>0.9989438921985458</c:v>
                </c:pt>
                <c:pt idx="1137">
                  <c:v>0.9989527245328057</c:v>
                </c:pt>
                <c:pt idx="1138">
                  <c:v>0.998961530150991</c:v>
                </c:pt>
                <c:pt idx="1139">
                  <c:v>0.9989703250827464</c:v>
                </c:pt>
                <c:pt idx="1140">
                  <c:v>0.9989788635401858</c:v>
                </c:pt>
                <c:pt idx="1141">
                  <c:v>0.9989873699383357</c:v>
                </c:pt>
                <c:pt idx="1142">
                  <c:v>0.9989958603068408</c:v>
                </c:pt>
                <c:pt idx="1143">
                  <c:v>0.9990041048874597</c:v>
                </c:pt>
                <c:pt idx="1144">
                  <c:v>0.9990123387816487</c:v>
                </c:pt>
                <c:pt idx="1145">
                  <c:v>0.9990205619894079</c:v>
                </c:pt>
                <c:pt idx="1146">
                  <c:v>0.9990283256806841</c:v>
                </c:pt>
                <c:pt idx="1147">
                  <c:v>0.9990360733423156</c:v>
                </c:pt>
                <c:pt idx="1148">
                  <c:v>0.9990438103175172</c:v>
                </c:pt>
                <c:pt idx="1149">
                  <c:v>0.999051536606289</c:v>
                </c:pt>
                <c:pt idx="1150">
                  <c:v>0.9990591774036222</c:v>
                </c:pt>
                <c:pt idx="1151">
                  <c:v>0.9990667540823762</c:v>
                </c:pt>
                <c:pt idx="1152">
                  <c:v>0.9990743307611303</c:v>
                </c:pt>
                <c:pt idx="1153">
                  <c:v>0.9990818700373799</c:v>
                </c:pt>
                <c:pt idx="1154">
                  <c:v>0.9990893398518357</c:v>
                </c:pt>
                <c:pt idx="1155">
                  <c:v>0.9990966600562737</c:v>
                </c:pt>
                <c:pt idx="1156">
                  <c:v>0.9991039588878521</c:v>
                </c:pt>
                <c:pt idx="1157">
                  <c:v>0.999111150855132</c:v>
                </c:pt>
                <c:pt idx="1158">
                  <c:v>0.9991182893902628</c:v>
                </c:pt>
                <c:pt idx="1159">
                  <c:v>0.9991253638068146</c:v>
                </c:pt>
                <c:pt idx="1160">
                  <c:v>0.9991323046429934</c:v>
                </c:pt>
                <c:pt idx="1161">
                  <c:v>0.9991392401359573</c:v>
                </c:pt>
                <c:pt idx="1162">
                  <c:v>0.9991461702857063</c:v>
                </c:pt>
                <c:pt idx="1163">
                  <c:v>0.9991530790625957</c:v>
                </c:pt>
                <c:pt idx="1164">
                  <c:v>0.999159923720906</c:v>
                </c:pt>
                <c:pt idx="1165">
                  <c:v>0.9991666989174224</c:v>
                </c:pt>
                <c:pt idx="1166">
                  <c:v>0.9991734260250045</c:v>
                </c:pt>
                <c:pt idx="1167">
                  <c:v>0.9991801477893717</c:v>
                </c:pt>
                <c:pt idx="1168">
                  <c:v>0.9991868642105239</c:v>
                </c:pt>
                <c:pt idx="1169">
                  <c:v>0.9991935432291718</c:v>
                </c:pt>
                <c:pt idx="1170">
                  <c:v>0.9992002062181748</c:v>
                </c:pt>
                <c:pt idx="1171">
                  <c:v>0.9992068531775332</c:v>
                </c:pt>
                <c:pt idx="1172">
                  <c:v>0.9992134627343872</c:v>
                </c:pt>
                <c:pt idx="1173">
                  <c:v>0.9992200509183814</c:v>
                </c:pt>
                <c:pt idx="1174">
                  <c:v>0.9992266391023756</c:v>
                </c:pt>
                <c:pt idx="1175">
                  <c:v>0.99923321659994</c:v>
                </c:pt>
                <c:pt idx="1176">
                  <c:v>0.9992397673814298</c:v>
                </c:pt>
                <c:pt idx="1177">
                  <c:v>0.9992462700739854</c:v>
                </c:pt>
                <c:pt idx="1178">
                  <c:v>0.9992527727665409</c:v>
                </c:pt>
                <c:pt idx="1179">
                  <c:v>0.9992592327133771</c:v>
                </c:pt>
                <c:pt idx="1180">
                  <c:v>0.9992656819737835</c:v>
                </c:pt>
                <c:pt idx="1181">
                  <c:v>0.9992721045181153</c:v>
                </c:pt>
                <c:pt idx="1182">
                  <c:v>0.9992785270624471</c:v>
                </c:pt>
                <c:pt idx="1183">
                  <c:v>0.9992849389203491</c:v>
                </c:pt>
                <c:pt idx="1184">
                  <c:v>0.9992913347486062</c:v>
                </c:pt>
                <c:pt idx="1185">
                  <c:v>0.9992977038607888</c:v>
                </c:pt>
                <c:pt idx="1186">
                  <c:v>0.9993040195408222</c:v>
                </c:pt>
                <c:pt idx="1187">
                  <c:v>0.9993103298776407</c:v>
                </c:pt>
                <c:pt idx="1188">
                  <c:v>0.9993166134983845</c:v>
                </c:pt>
                <c:pt idx="1189">
                  <c:v>0.9993228864326986</c:v>
                </c:pt>
                <c:pt idx="1190">
                  <c:v>0.999329137994153</c:v>
                </c:pt>
                <c:pt idx="1191">
                  <c:v>0.9993353788691776</c:v>
                </c:pt>
                <c:pt idx="1192">
                  <c:v>0.9993415128799037</c:v>
                </c:pt>
                <c:pt idx="1193">
                  <c:v>0.9993476255177702</c:v>
                </c:pt>
                <c:pt idx="1194">
                  <c:v>0.9993536473209831</c:v>
                </c:pt>
                <c:pt idx="1195">
                  <c:v>0.9993596050056169</c:v>
                </c:pt>
                <c:pt idx="1196">
                  <c:v>0.9993655626902508</c:v>
                </c:pt>
                <c:pt idx="1197">
                  <c:v>0.9993715096884548</c:v>
                </c:pt>
                <c:pt idx="1198">
                  <c:v>0.9993773658520052</c:v>
                </c:pt>
                <c:pt idx="1199">
                  <c:v>0.9993832113291258</c:v>
                </c:pt>
                <c:pt idx="1200">
                  <c:v>0.9993889659715928</c:v>
                </c:pt>
                <c:pt idx="1201">
                  <c:v>0.9993946885547702</c:v>
                </c:pt>
                <c:pt idx="1202">
                  <c:v>0.9994003737354432</c:v>
                </c:pt>
                <c:pt idx="1203">
                  <c:v>0.9994060268568268</c:v>
                </c:pt>
                <c:pt idx="1204">
                  <c:v>0.9994116586053506</c:v>
                </c:pt>
                <c:pt idx="1205">
                  <c:v>0.9994171995192209</c:v>
                </c:pt>
                <c:pt idx="1206">
                  <c:v>0.9994227350898762</c:v>
                </c:pt>
                <c:pt idx="1207">
                  <c:v>0.9994282653173167</c:v>
                </c:pt>
                <c:pt idx="1208">
                  <c:v>0.9994337795151124</c:v>
                </c:pt>
                <c:pt idx="1209">
                  <c:v>0.9994392509671887</c:v>
                </c:pt>
                <c:pt idx="1210">
                  <c:v>0.9994447063896202</c:v>
                </c:pt>
                <c:pt idx="1211">
                  <c:v>0.9994501350959772</c:v>
                </c:pt>
                <c:pt idx="1212">
                  <c:v>0.9994554889973254</c:v>
                </c:pt>
                <c:pt idx="1213">
                  <c:v>0.9994608215258138</c:v>
                </c:pt>
                <c:pt idx="1214">
                  <c:v>0.9994661433678724</c:v>
                </c:pt>
                <c:pt idx="1215">
                  <c:v>0.999471465209931</c:v>
                </c:pt>
                <c:pt idx="1216">
                  <c:v>0.9994767656791299</c:v>
                </c:pt>
                <c:pt idx="1217">
                  <c:v>0.9994820554618989</c:v>
                </c:pt>
                <c:pt idx="1218">
                  <c:v>0.9994872597532294</c:v>
                </c:pt>
                <c:pt idx="1219">
                  <c:v>0.9994923144345421</c:v>
                </c:pt>
                <c:pt idx="1220">
                  <c:v>0.999497358429425</c:v>
                </c:pt>
                <c:pt idx="1221">
                  <c:v>0.9995023810514482</c:v>
                </c:pt>
                <c:pt idx="1222">
                  <c:v>0.9995072968091729</c:v>
                </c:pt>
                <c:pt idx="1223">
                  <c:v>0.9995122072236828</c:v>
                </c:pt>
                <c:pt idx="1224">
                  <c:v>0.999517101608548</c:v>
                </c:pt>
                <c:pt idx="1225">
                  <c:v>0.9995219959934132</c:v>
                </c:pt>
                <c:pt idx="1226">
                  <c:v>0.9995267835139799</c:v>
                </c:pt>
                <c:pt idx="1227">
                  <c:v>0.9995315710345467</c:v>
                </c:pt>
                <c:pt idx="1228">
                  <c:v>0.9995363318390389</c:v>
                </c:pt>
                <c:pt idx="1229">
                  <c:v>0.9995410445545968</c:v>
                </c:pt>
                <c:pt idx="1230">
                  <c:v>0.9995456610922862</c:v>
                </c:pt>
                <c:pt idx="1231">
                  <c:v>0.9995502616003308</c:v>
                </c:pt>
                <c:pt idx="1232">
                  <c:v>0.9995548567651605</c:v>
                </c:pt>
                <c:pt idx="1233">
                  <c:v>0.9995594465867753</c:v>
                </c:pt>
                <c:pt idx="1234">
                  <c:v>0.9995640096923155</c:v>
                </c:pt>
                <c:pt idx="1235">
                  <c:v>0.9995730290390975</c:v>
                </c:pt>
                <c:pt idx="1236">
                  <c:v>0.9995774852803393</c:v>
                </c:pt>
                <c:pt idx="1237">
                  <c:v>0.9995819308351513</c:v>
                </c:pt>
                <c:pt idx="1238">
                  <c:v>0.9995863603603186</c:v>
                </c:pt>
                <c:pt idx="1239">
                  <c:v>0.9995907524829813</c:v>
                </c:pt>
                <c:pt idx="1240">
                  <c:v>0.9995951392624293</c:v>
                </c:pt>
                <c:pt idx="1241">
                  <c:v>0.999599467266513</c:v>
                </c:pt>
                <c:pt idx="1242">
                  <c:v>0.9996036296309344</c:v>
                </c:pt>
                <c:pt idx="1243">
                  <c:v>0.9996077652792812</c:v>
                </c:pt>
                <c:pt idx="1244">
                  <c:v>0.999611895584413</c:v>
                </c:pt>
                <c:pt idx="1245">
                  <c:v>0.9996160098599001</c:v>
                </c:pt>
                <c:pt idx="1246">
                  <c:v>0.9996201187921722</c:v>
                </c:pt>
                <c:pt idx="1247">
                  <c:v>0.9996242010083697</c:v>
                </c:pt>
                <c:pt idx="1248">
                  <c:v>0.9996282778813523</c:v>
                </c:pt>
                <c:pt idx="1249">
                  <c:v>0.9996322959789709</c:v>
                </c:pt>
                <c:pt idx="1250">
                  <c:v>0.9996362927037297</c:v>
                </c:pt>
                <c:pt idx="1251">
                  <c:v>0.9996402787420587</c:v>
                </c:pt>
                <c:pt idx="1252">
                  <c:v>0.9996442273778834</c:v>
                </c:pt>
                <c:pt idx="1253">
                  <c:v>0.9996481599840632</c:v>
                </c:pt>
                <c:pt idx="1254">
                  <c:v>0.9996520498445237</c:v>
                </c:pt>
                <c:pt idx="1255">
                  <c:v>0.9996559236753395</c:v>
                </c:pt>
                <c:pt idx="1256">
                  <c:v>0.9996597921629403</c:v>
                </c:pt>
                <c:pt idx="1257">
                  <c:v>0.9996636606505411</c:v>
                </c:pt>
                <c:pt idx="1258">
                  <c:v>0.9996675184517121</c:v>
                </c:pt>
                <c:pt idx="1259">
                  <c:v>0.9996713388503786</c:v>
                </c:pt>
                <c:pt idx="1260">
                  <c:v>0.999675041698317</c:v>
                </c:pt>
                <c:pt idx="1261">
                  <c:v>0.9996786750844614</c:v>
                </c:pt>
                <c:pt idx="1262">
                  <c:v>0.9996823084706058</c:v>
                </c:pt>
                <c:pt idx="1263">
                  <c:v>0.9996858937678159</c:v>
                </c:pt>
                <c:pt idx="1264">
                  <c:v>0.9996894737218112</c:v>
                </c:pt>
                <c:pt idx="1265">
                  <c:v>0.9996930323029467</c:v>
                </c:pt>
                <c:pt idx="1266">
                  <c:v>0.9996965641680077</c:v>
                </c:pt>
                <c:pt idx="1267">
                  <c:v>0.9997000960330686</c:v>
                </c:pt>
                <c:pt idx="1268">
                  <c:v>0.999703601182055</c:v>
                </c:pt>
                <c:pt idx="1269">
                  <c:v>0.9997070903013967</c:v>
                </c:pt>
                <c:pt idx="1270">
                  <c:v>0.9997105473614488</c:v>
                </c:pt>
                <c:pt idx="1271">
                  <c:v>0.9997139937350711</c:v>
                </c:pt>
                <c:pt idx="1272">
                  <c:v>0.9997174187358336</c:v>
                </c:pt>
                <c:pt idx="1273">
                  <c:v>0.9997207689315873</c:v>
                </c:pt>
                <c:pt idx="1274">
                  <c:v>0.9997241084409113</c:v>
                </c:pt>
                <c:pt idx="1275">
                  <c:v>0.999727399861301</c:v>
                </c:pt>
                <c:pt idx="1276">
                  <c:v>0.9997306912816907</c:v>
                </c:pt>
                <c:pt idx="1277">
                  <c:v>0.9997339132402864</c:v>
                </c:pt>
                <c:pt idx="1278">
                  <c:v>0.9997371245124522</c:v>
                </c:pt>
                <c:pt idx="1279">
                  <c:v>0.9997403197549734</c:v>
                </c:pt>
                <c:pt idx="1280">
                  <c:v>0.9997434722517752</c:v>
                </c:pt>
                <c:pt idx="1281">
                  <c:v>0.999746619405362</c:v>
                </c:pt>
                <c:pt idx="1282">
                  <c:v>0.99974969175394</c:v>
                </c:pt>
                <c:pt idx="1283">
                  <c:v>0.9997527267000136</c:v>
                </c:pt>
                <c:pt idx="1284">
                  <c:v>0.9997557563028723</c:v>
                </c:pt>
                <c:pt idx="1285">
                  <c:v>0.9997587752193011</c:v>
                </c:pt>
                <c:pt idx="1286">
                  <c:v>0.9997617834493001</c:v>
                </c:pt>
                <c:pt idx="1287">
                  <c:v>0.9997647863360842</c:v>
                </c:pt>
                <c:pt idx="1288">
                  <c:v>0.9997677731932235</c:v>
                </c:pt>
                <c:pt idx="1289">
                  <c:v>0.9997736667592784</c:v>
                </c:pt>
                <c:pt idx="1290">
                  <c:v>0.9997766055274834</c:v>
                </c:pt>
                <c:pt idx="1291">
                  <c:v>0.9997795122363989</c:v>
                </c:pt>
                <c:pt idx="1292">
                  <c:v>0.9997824136020995</c:v>
                </c:pt>
                <c:pt idx="1293">
                  <c:v>0.9997853149678001</c:v>
                </c:pt>
                <c:pt idx="1294">
                  <c:v>0.9997882056470708</c:v>
                </c:pt>
                <c:pt idx="1295">
                  <c:v>0.9997910589238371</c:v>
                </c:pt>
                <c:pt idx="1296">
                  <c:v>0.9997939068573886</c:v>
                </c:pt>
                <c:pt idx="1297">
                  <c:v>0.9997967334180803</c:v>
                </c:pt>
                <c:pt idx="1298">
                  <c:v>0.9997995332626974</c:v>
                </c:pt>
                <c:pt idx="1299">
                  <c:v>0.9998022636455207</c:v>
                </c:pt>
                <c:pt idx="1300">
                  <c:v>0.9998049779986992</c:v>
                </c:pt>
                <c:pt idx="1301">
                  <c:v>0.9998076923518776</c:v>
                </c:pt>
                <c:pt idx="1302">
                  <c:v>0.9998103532729069</c:v>
                </c:pt>
                <c:pt idx="1303">
                  <c:v>0.9998130088507213</c:v>
                </c:pt>
                <c:pt idx="1304">
                  <c:v>0.999815643055676</c:v>
                </c:pt>
                <c:pt idx="1305">
                  <c:v>0.9998182505445562</c:v>
                </c:pt>
                <c:pt idx="1306">
                  <c:v>0.9998208206309319</c:v>
                </c:pt>
                <c:pt idx="1307">
                  <c:v>0.9998233426283734</c:v>
                </c:pt>
                <c:pt idx="1308">
                  <c:v>0.9998258379097402</c:v>
                </c:pt>
                <c:pt idx="1309">
                  <c:v>0.9998283278478921</c:v>
                </c:pt>
                <c:pt idx="1310">
                  <c:v>0.9998307643538948</c:v>
                </c:pt>
                <c:pt idx="1311">
                  <c:v>0.9998331955166827</c:v>
                </c:pt>
                <c:pt idx="1312">
                  <c:v>0.9998356266794706</c:v>
                </c:pt>
                <c:pt idx="1313">
                  <c:v>0.9998380418126136</c:v>
                </c:pt>
                <c:pt idx="1314">
                  <c:v>0.9998404409161119</c:v>
                </c:pt>
                <c:pt idx="1315">
                  <c:v>0.9998427919306759</c:v>
                </c:pt>
                <c:pt idx="1316">
                  <c:v>0.9998451055427355</c:v>
                </c:pt>
                <c:pt idx="1317">
                  <c:v>0.9998474084683653</c:v>
                </c:pt>
                <c:pt idx="1318">
                  <c:v>0.9998496846779205</c:v>
                </c:pt>
                <c:pt idx="1319">
                  <c:v>0.9998519502010458</c:v>
                </c:pt>
                <c:pt idx="1320">
                  <c:v>0.9998541516055921</c:v>
                </c:pt>
                <c:pt idx="1321">
                  <c:v>0.9998563476669236</c:v>
                </c:pt>
                <c:pt idx="1322">
                  <c:v>0.9998585116689654</c:v>
                </c:pt>
                <c:pt idx="1323">
                  <c:v>0.9998606542981476</c:v>
                </c:pt>
                <c:pt idx="1324">
                  <c:v>0.9998627648680404</c:v>
                </c:pt>
                <c:pt idx="1325">
                  <c:v>0.9998648220057839</c:v>
                </c:pt>
                <c:pt idx="1326">
                  <c:v>0.9998668470842379</c:v>
                </c:pt>
                <c:pt idx="1327">
                  <c:v>0.9998688454466174</c:v>
                </c:pt>
                <c:pt idx="1328">
                  <c:v>0.999870833122567</c:v>
                </c:pt>
                <c:pt idx="1329">
                  <c:v>0.999872788739227</c:v>
                </c:pt>
                <c:pt idx="1330">
                  <c:v>0.9998747390126722</c:v>
                </c:pt>
                <c:pt idx="1331">
                  <c:v>0.9998766411971831</c:v>
                </c:pt>
                <c:pt idx="1332">
                  <c:v>0.9998785380384791</c:v>
                </c:pt>
                <c:pt idx="1333">
                  <c:v>0.9998803921340558</c:v>
                </c:pt>
                <c:pt idx="1334">
                  <c:v>0.9998822462296324</c:v>
                </c:pt>
                <c:pt idx="1335">
                  <c:v>0.99988403620663</c:v>
                </c:pt>
                <c:pt idx="1336">
                  <c:v>0.9998858048107679</c:v>
                </c:pt>
                <c:pt idx="1337">
                  <c:v>0.9998875573852611</c:v>
                </c:pt>
                <c:pt idx="1338">
                  <c:v>0.9998893099597543</c:v>
                </c:pt>
                <c:pt idx="1339">
                  <c:v>0.999891030474958</c:v>
                </c:pt>
                <c:pt idx="1340">
                  <c:v>0.999892729617302</c:v>
                </c:pt>
                <c:pt idx="1341">
                  <c:v>0.9998943486114222</c:v>
                </c:pt>
                <c:pt idx="1342">
                  <c:v>0.999895935546253</c:v>
                </c:pt>
                <c:pt idx="1343">
                  <c:v>0.9998974957650091</c:v>
                </c:pt>
                <c:pt idx="1344">
                  <c:v>0.9998990132380459</c:v>
                </c:pt>
                <c:pt idx="1345">
                  <c:v>0.9999005200246528</c:v>
                </c:pt>
                <c:pt idx="1346">
                  <c:v>0.9999020268112597</c:v>
                </c:pt>
                <c:pt idx="1347">
                  <c:v>0.9999035282546518</c:v>
                </c:pt>
                <c:pt idx="1348">
                  <c:v>0.9999050083251841</c:v>
                </c:pt>
                <c:pt idx="1349">
                  <c:v>0.9999064830525016</c:v>
                </c:pt>
                <c:pt idx="1350">
                  <c:v>0.999907899004455</c:v>
                </c:pt>
                <c:pt idx="1351">
                  <c:v>0.9999093096131934</c:v>
                </c:pt>
                <c:pt idx="1352">
                  <c:v>0.999910709535502</c:v>
                </c:pt>
                <c:pt idx="1353">
                  <c:v>0.9999120827417359</c:v>
                </c:pt>
                <c:pt idx="1354">
                  <c:v>0.9999134399183252</c:v>
                </c:pt>
                <c:pt idx="1355">
                  <c:v>0.9999147810652697</c:v>
                </c:pt>
                <c:pt idx="1356">
                  <c:v>0.9999161061825694</c:v>
                </c:pt>
                <c:pt idx="1357">
                  <c:v>0.9999173618380752</c:v>
                </c:pt>
                <c:pt idx="1358">
                  <c:v>0.9999186068071512</c:v>
                </c:pt>
                <c:pt idx="1359">
                  <c:v>0.9999198517762271</c:v>
                </c:pt>
                <c:pt idx="1360">
                  <c:v>0.9999210914020882</c:v>
                </c:pt>
                <c:pt idx="1361">
                  <c:v>0.9999223310279493</c:v>
                </c:pt>
                <c:pt idx="1362">
                  <c:v>0.9999235706538103</c:v>
                </c:pt>
                <c:pt idx="1363">
                  <c:v>0.9999248049364564</c:v>
                </c:pt>
                <c:pt idx="1364">
                  <c:v>0.9999260285326727</c:v>
                </c:pt>
                <c:pt idx="1365">
                  <c:v>0.9999272521288889</c:v>
                </c:pt>
                <c:pt idx="1366">
                  <c:v>0.9999284596954604</c:v>
                </c:pt>
                <c:pt idx="1367">
                  <c:v>0.9999296298595275</c:v>
                </c:pt>
                <c:pt idx="1368">
                  <c:v>0.9999307839939499</c:v>
                </c:pt>
                <c:pt idx="1369">
                  <c:v>0.9999319381283722</c:v>
                </c:pt>
                <c:pt idx="1370">
                  <c:v>0.9999330815763647</c:v>
                </c:pt>
                <c:pt idx="1371">
                  <c:v>0.9999341929650677</c:v>
                </c:pt>
                <c:pt idx="1372">
                  <c:v>0.9999352509216215</c:v>
                </c:pt>
                <c:pt idx="1373">
                  <c:v>0.9999363035349604</c:v>
                </c:pt>
                <c:pt idx="1374">
                  <c:v>0.9999373294322248</c:v>
                </c:pt>
                <c:pt idx="1375">
                  <c:v>0.9999383553294892</c:v>
                </c:pt>
                <c:pt idx="1376">
                  <c:v>0.9999393812267535</c:v>
                </c:pt>
                <c:pt idx="1377">
                  <c:v>0.999940391094373</c:v>
                </c:pt>
                <c:pt idx="1378">
                  <c:v>0.9999413956187777</c:v>
                </c:pt>
                <c:pt idx="1379">
                  <c:v>0.9999424001431824</c:v>
                </c:pt>
                <c:pt idx="1380">
                  <c:v>0.999943399324372</c:v>
                </c:pt>
                <c:pt idx="1381">
                  <c:v>0.9999443450734126</c:v>
                </c:pt>
                <c:pt idx="1382">
                  <c:v>0.9999452854792382</c:v>
                </c:pt>
                <c:pt idx="1383">
                  <c:v>0.999946209855419</c:v>
                </c:pt>
                <c:pt idx="1384">
                  <c:v>0.9999471342315999</c:v>
                </c:pt>
                <c:pt idx="1385">
                  <c:v>0.9999480372349211</c:v>
                </c:pt>
                <c:pt idx="1386">
                  <c:v>0.9999488974925229</c:v>
                </c:pt>
                <c:pt idx="1387">
                  <c:v>0.9999497524069099</c:v>
                </c:pt>
                <c:pt idx="1388">
                  <c:v>0.9999506073212968</c:v>
                </c:pt>
                <c:pt idx="1389">
                  <c:v>0.9999514622356838</c:v>
                </c:pt>
                <c:pt idx="1390">
                  <c:v>0.9999531239755234</c:v>
                </c:pt>
                <c:pt idx="1391">
                  <c:v>0.9999539361441909</c:v>
                </c:pt>
                <c:pt idx="1392">
                  <c:v>0.9999547483128585</c:v>
                </c:pt>
                <c:pt idx="1393">
                  <c:v>0.9999555391086664</c:v>
                </c:pt>
                <c:pt idx="1394">
                  <c:v>0.9999563245612594</c:v>
                </c:pt>
                <c:pt idx="1395">
                  <c:v>0.9999571046706375</c:v>
                </c:pt>
                <c:pt idx="1396">
                  <c:v>0.9999578687503707</c:v>
                </c:pt>
                <c:pt idx="1397">
                  <c:v>0.999958632830104</c:v>
                </c:pt>
                <c:pt idx="1398">
                  <c:v>0.9999593915666224</c:v>
                </c:pt>
                <c:pt idx="1399">
                  <c:v>0.9999601289302811</c:v>
                </c:pt>
                <c:pt idx="1400">
                  <c:v>0.9999608662939398</c:v>
                </c:pt>
                <c:pt idx="1401">
                  <c:v>0.9999615769415239</c:v>
                </c:pt>
                <c:pt idx="1402">
                  <c:v>0.9999622822458931</c:v>
                </c:pt>
                <c:pt idx="1403">
                  <c:v>0.9999629822070474</c:v>
                </c:pt>
                <c:pt idx="1404">
                  <c:v>0.9999636821682016</c:v>
                </c:pt>
                <c:pt idx="1405">
                  <c:v>0.9999643607564963</c:v>
                </c:pt>
                <c:pt idx="1406">
                  <c:v>0.999965034001576</c:v>
                </c:pt>
                <c:pt idx="1407">
                  <c:v>0.9999657019034408</c:v>
                </c:pt>
                <c:pt idx="1408">
                  <c:v>0.9999663698053056</c:v>
                </c:pt>
                <c:pt idx="1409">
                  <c:v>0.9999670323639555</c:v>
                </c:pt>
                <c:pt idx="1410">
                  <c:v>0.9999676895793904</c:v>
                </c:pt>
                <c:pt idx="1411">
                  <c:v>0.9999683414516104</c:v>
                </c:pt>
                <c:pt idx="1412">
                  <c:v>0.9999689826374006</c:v>
                </c:pt>
                <c:pt idx="1413">
                  <c:v>0.9999696024503312</c:v>
                </c:pt>
                <c:pt idx="1414">
                  <c:v>0.9999702169200467</c:v>
                </c:pt>
                <c:pt idx="1415">
                  <c:v>0.9999708260465474</c:v>
                </c:pt>
                <c:pt idx="1416">
                  <c:v>0.9999714138001884</c:v>
                </c:pt>
                <c:pt idx="1417">
                  <c:v>0.9999720015538294</c:v>
                </c:pt>
                <c:pt idx="1418">
                  <c:v>0.9999725786210405</c:v>
                </c:pt>
                <c:pt idx="1419">
                  <c:v>0.9999731450018219</c:v>
                </c:pt>
                <c:pt idx="1420">
                  <c:v>0.9999736953529584</c:v>
                </c:pt>
                <c:pt idx="1421">
                  <c:v>0.9999742350176651</c:v>
                </c:pt>
                <c:pt idx="1422">
                  <c:v>0.999974769339157</c:v>
                </c:pt>
                <c:pt idx="1423">
                  <c:v>0.9999753036606488</c:v>
                </c:pt>
                <c:pt idx="1424">
                  <c:v>0.9999758272957108</c:v>
                </c:pt>
                <c:pt idx="1425">
                  <c:v>0.9999763455875579</c:v>
                </c:pt>
                <c:pt idx="1426">
                  <c:v>0.99997685853619</c:v>
                </c:pt>
                <c:pt idx="1427">
                  <c:v>0.9999773661416073</c:v>
                </c:pt>
                <c:pt idx="1428">
                  <c:v>0.9999778577173798</c:v>
                </c:pt>
                <c:pt idx="1429">
                  <c:v>0.9999783439499373</c:v>
                </c:pt>
                <c:pt idx="1430">
                  <c:v>0.9999787981232054</c:v>
                </c:pt>
                <c:pt idx="1431">
                  <c:v>0.9999792362668287</c:v>
                </c:pt>
                <c:pt idx="1432">
                  <c:v>0.9999796690672371</c:v>
                </c:pt>
                <c:pt idx="1433">
                  <c:v>0.9999801018676455</c:v>
                </c:pt>
                <c:pt idx="1434">
                  <c:v>0.9999805293248389</c:v>
                </c:pt>
                <c:pt idx="1435">
                  <c:v>0.9999809567820324</c:v>
                </c:pt>
                <c:pt idx="1436">
                  <c:v>0.9999813842392258</c:v>
                </c:pt>
                <c:pt idx="1437">
                  <c:v>0.9999818063532043</c:v>
                </c:pt>
                <c:pt idx="1438">
                  <c:v>0.999982223123968</c:v>
                </c:pt>
                <c:pt idx="1439">
                  <c:v>0.9999826292083018</c:v>
                </c:pt>
                <c:pt idx="1440">
                  <c:v>0.9999830299494207</c:v>
                </c:pt>
                <c:pt idx="1441">
                  <c:v>0.9999834253473247</c:v>
                </c:pt>
                <c:pt idx="1442">
                  <c:v>0.9999837993723689</c:v>
                </c:pt>
                <c:pt idx="1443">
                  <c:v>0.9999841733974132</c:v>
                </c:pt>
                <c:pt idx="1444">
                  <c:v>0.9999849161042869</c:v>
                </c:pt>
                <c:pt idx="1445">
                  <c:v>0.9999852740996864</c:v>
                </c:pt>
                <c:pt idx="1446">
                  <c:v>0.999985632095086</c:v>
                </c:pt>
                <c:pt idx="1447">
                  <c:v>0.9999863053401657</c:v>
                </c:pt>
                <c:pt idx="1448">
                  <c:v>0.9999866259330609</c:v>
                </c:pt>
                <c:pt idx="1449">
                  <c:v>0.999986941182741</c:v>
                </c:pt>
                <c:pt idx="1450">
                  <c:v>0.9999872564324211</c:v>
                </c:pt>
                <c:pt idx="1451">
                  <c:v>0.9999875716821013</c:v>
                </c:pt>
                <c:pt idx="1452">
                  <c:v>0.9999878869317814</c:v>
                </c:pt>
                <c:pt idx="1453">
                  <c:v>0.9999881968382467</c:v>
                </c:pt>
                <c:pt idx="1454">
                  <c:v>0.999988501401497</c:v>
                </c:pt>
                <c:pt idx="1455">
                  <c:v>0.9999887952783175</c:v>
                </c:pt>
                <c:pt idx="1456">
                  <c:v>0.9999890838119231</c:v>
                </c:pt>
                <c:pt idx="1457">
                  <c:v>0.9999893723455286</c:v>
                </c:pt>
                <c:pt idx="1458">
                  <c:v>0.9999896555359193</c:v>
                </c:pt>
                <c:pt idx="1459">
                  <c:v>0.999989933383095</c:v>
                </c:pt>
                <c:pt idx="1460">
                  <c:v>0.9999902112302708</c:v>
                </c:pt>
                <c:pt idx="1461">
                  <c:v>0.9999904783910166</c:v>
                </c:pt>
                <c:pt idx="1462">
                  <c:v>0.9999907402085476</c:v>
                </c:pt>
                <c:pt idx="1463">
                  <c:v>0.9999910020260786</c:v>
                </c:pt>
                <c:pt idx="1464">
                  <c:v>0.9999912585003947</c:v>
                </c:pt>
                <c:pt idx="1465">
                  <c:v>0.9999915096314959</c:v>
                </c:pt>
                <c:pt idx="1466">
                  <c:v>0.9999917500761671</c:v>
                </c:pt>
                <c:pt idx="1467">
                  <c:v>0.9999919905208384</c:v>
                </c:pt>
                <c:pt idx="1468">
                  <c:v>0.9999922309655097</c:v>
                </c:pt>
                <c:pt idx="1469">
                  <c:v>0.9999924660669661</c:v>
                </c:pt>
                <c:pt idx="1470">
                  <c:v>0.9999927011684225</c:v>
                </c:pt>
                <c:pt idx="1471">
                  <c:v>0.999992930926664</c:v>
                </c:pt>
                <c:pt idx="1472">
                  <c:v>0.9999931553416905</c:v>
                </c:pt>
                <c:pt idx="1473">
                  <c:v>0.9999933797567171</c:v>
                </c:pt>
                <c:pt idx="1474">
                  <c:v>0.9999935881420989</c:v>
                </c:pt>
                <c:pt idx="1475">
                  <c:v>0.9999937965274808</c:v>
                </c:pt>
                <c:pt idx="1476">
                  <c:v>0.9999939995696476</c:v>
                </c:pt>
                <c:pt idx="1477">
                  <c:v>0.9999942026118145</c:v>
                </c:pt>
                <c:pt idx="1478">
                  <c:v>0.9999944003107665</c:v>
                </c:pt>
                <c:pt idx="1479">
                  <c:v>0.9999945980097185</c:v>
                </c:pt>
                <c:pt idx="1480">
                  <c:v>0.9999947850222406</c:v>
                </c:pt>
                <c:pt idx="1481">
                  <c:v>0.9999949720347627</c:v>
                </c:pt>
                <c:pt idx="1482">
                  <c:v>0.9999951590472849</c:v>
                </c:pt>
                <c:pt idx="1483">
                  <c:v>0.999995346059807</c:v>
                </c:pt>
                <c:pt idx="1484">
                  <c:v>0.9999955330723291</c:v>
                </c:pt>
                <c:pt idx="1485">
                  <c:v>0.9999957200848513</c:v>
                </c:pt>
                <c:pt idx="1486">
                  <c:v>0.9999959017541585</c:v>
                </c:pt>
                <c:pt idx="1487">
                  <c:v>0.999996072737036</c:v>
                </c:pt>
                <c:pt idx="1488">
                  <c:v>0.9999962437199134</c:v>
                </c:pt>
                <c:pt idx="1489">
                  <c:v>0.9999964040163609</c:v>
                </c:pt>
                <c:pt idx="1490">
                  <c:v>0.9999965643128085</c:v>
                </c:pt>
                <c:pt idx="1491">
                  <c:v>0.999996724609256</c:v>
                </c:pt>
                <c:pt idx="1492">
                  <c:v>0.9999968795624886</c:v>
                </c:pt>
                <c:pt idx="1493">
                  <c:v>0.9999970291725063</c:v>
                </c:pt>
                <c:pt idx="1494">
                  <c:v>0.9999971734393092</c:v>
                </c:pt>
                <c:pt idx="1495">
                  <c:v>0.9999973070196821</c:v>
                </c:pt>
                <c:pt idx="1496">
                  <c:v>0.9999974352568402</c:v>
                </c:pt>
                <c:pt idx="1497">
                  <c:v>0.9999975634939982</c:v>
                </c:pt>
                <c:pt idx="1498">
                  <c:v>0.9999978146250993</c:v>
                </c:pt>
                <c:pt idx="1499">
                  <c:v>0.9999980604129856</c:v>
                </c:pt>
                <c:pt idx="1500">
                  <c:v>0.9999981779637137</c:v>
                </c:pt>
                <c:pt idx="1501">
                  <c:v>0.999998290171227</c:v>
                </c:pt>
                <c:pt idx="1502">
                  <c:v>0.9999984023787403</c:v>
                </c:pt>
                <c:pt idx="1503">
                  <c:v>0.9999985092430387</c:v>
                </c:pt>
                <c:pt idx="1504">
                  <c:v>0.9999986107641221</c:v>
                </c:pt>
                <c:pt idx="1505">
                  <c:v>0.9999987069419907</c:v>
                </c:pt>
                <c:pt idx="1506">
                  <c:v>0.9999988992977278</c:v>
                </c:pt>
                <c:pt idx="1507">
                  <c:v>0.9999989954755963</c:v>
                </c:pt>
                <c:pt idx="1508">
                  <c:v>0.9999990916534649</c:v>
                </c:pt>
                <c:pt idx="1509">
                  <c:v>0.9999991824881185</c:v>
                </c:pt>
                <c:pt idx="1510">
                  <c:v>0.999999273322772</c:v>
                </c:pt>
                <c:pt idx="1511">
                  <c:v>0.9999993641574256</c:v>
                </c:pt>
                <c:pt idx="1512">
                  <c:v>0.9999994389624345</c:v>
                </c:pt>
                <c:pt idx="1513">
                  <c:v>0.9999995137674433</c:v>
                </c:pt>
                <c:pt idx="1514">
                  <c:v>0.9999995885724522</c:v>
                </c:pt>
                <c:pt idx="1515">
                  <c:v>0.9999997221528252</c:v>
                </c:pt>
                <c:pt idx="1516">
                  <c:v>0.9999997809281893</c:v>
                </c:pt>
                <c:pt idx="1517">
                  <c:v>0.9999998397035534</c:v>
                </c:pt>
                <c:pt idx="1518">
                  <c:v>0.9999998984789176</c:v>
                </c:pt>
                <c:pt idx="1519">
                  <c:v>0.9999999519110667</c:v>
                </c:pt>
                <c:pt idx="1520">
                  <c:v>1.0000000000000009</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1263</c:f>
              <c:strCache>
                <c:ptCount val="1262"/>
                <c:pt idx="0">
                  <c:v>Private Lab</c:v>
                </c:pt>
                <c:pt idx="1">
                  <c:v>Private Lab</c:v>
                </c:pt>
                <c:pt idx="2">
                  <c:v>Private Lab</c:v>
                </c:pt>
                <c:pt idx="3">
                  <c:v>Private Lab</c:v>
                </c:pt>
                <c:pt idx="4">
                  <c:v>Private Lab</c:v>
                </c:pt>
                <c:pt idx="5">
                  <c:v>Private Lab</c:v>
                </c:pt>
                <c:pt idx="6">
                  <c:v>Private Lab</c:v>
                </c:pt>
                <c:pt idx="7">
                  <c:v>Private Lab</c:v>
                </c:pt>
                <c:pt idx="8">
                  <c:v>Private Lab</c:v>
                </c:pt>
                <c:pt idx="9">
                  <c:v>Caprice Des</c:v>
                </c:pt>
                <c:pt idx="10">
                  <c:v>Private Lab</c:v>
                </c:pt>
                <c:pt idx="11">
                  <c:v>Private Lab</c:v>
                </c:pt>
                <c:pt idx="12">
                  <c:v>Private Lab</c:v>
                </c:pt>
                <c:pt idx="13">
                  <c:v>Private Lab</c:v>
                </c:pt>
                <c:pt idx="14">
                  <c:v>Private Lab</c:v>
                </c:pt>
                <c:pt idx="15">
                  <c:v>Private Lab</c:v>
                </c:pt>
                <c:pt idx="16">
                  <c:v>President</c:v>
                </c:pt>
                <c:pt idx="17">
                  <c:v>Private Lab</c:v>
                </c:pt>
                <c:pt idx="18">
                  <c:v>Soignon</c:v>
                </c:pt>
                <c:pt idx="19">
                  <c:v>Private Lab</c:v>
                </c:pt>
                <c:pt idx="20">
                  <c:v>Private Lab</c:v>
                </c:pt>
                <c:pt idx="21">
                  <c:v>President</c:v>
                </c:pt>
                <c:pt idx="22">
                  <c:v>Private Lab</c:v>
                </c:pt>
                <c:pt idx="23">
                  <c:v>Private Lab</c:v>
                </c:pt>
                <c:pt idx="24">
                  <c:v>Private Lab</c:v>
                </c:pt>
                <c:pt idx="25">
                  <c:v>Entremont</c:v>
                </c:pt>
                <c:pt idx="26">
                  <c:v>President</c:v>
                </c:pt>
                <c:pt idx="27">
                  <c:v>Coeur De Li</c:v>
                </c:pt>
                <c:pt idx="28">
                  <c:v>Private Lab</c:v>
                </c:pt>
                <c:pt idx="29">
                  <c:v>Richesmonts</c:v>
                </c:pt>
                <c:pt idx="30">
                  <c:v>Mini Babybe</c:v>
                </c:pt>
                <c:pt idx="31">
                  <c:v>Caprice Des</c:v>
                </c:pt>
                <c:pt idx="32">
                  <c:v>President</c:v>
                </c:pt>
                <c:pt idx="33">
                  <c:v>Entremont</c:v>
                </c:pt>
                <c:pt idx="34">
                  <c:v>Galbani</c:v>
                </c:pt>
                <c:pt idx="35">
                  <c:v>Private Lab</c:v>
                </c:pt>
                <c:pt idx="36">
                  <c:v>Private Lab</c:v>
                </c:pt>
                <c:pt idx="37">
                  <c:v>Chaussee Au</c:v>
                </c:pt>
                <c:pt idx="38">
                  <c:v>Leerdammer</c:v>
                </c:pt>
                <c:pt idx="39">
                  <c:v>Private Lab</c:v>
                </c:pt>
                <c:pt idx="40">
                  <c:v>Private Lab</c:v>
                </c:pt>
                <c:pt idx="41">
                  <c:v>La Vache Qu</c:v>
                </c:pt>
                <c:pt idx="42">
                  <c:v>Le Rustique</c:v>
                </c:pt>
                <c:pt idx="43">
                  <c:v>Mini Babybe</c:v>
                </c:pt>
                <c:pt idx="44">
                  <c:v>St Moret</c:v>
                </c:pt>
                <c:pt idx="45">
                  <c:v>St Moret</c:v>
                </c:pt>
                <c:pt idx="46">
                  <c:v>Private Lab</c:v>
                </c:pt>
                <c:pt idx="47">
                  <c:v>Soignon</c:v>
                </c:pt>
                <c:pt idx="48">
                  <c:v>Private Lab</c:v>
                </c:pt>
                <c:pt idx="49">
                  <c:v>Salakis</c:v>
                </c:pt>
                <c:pt idx="50">
                  <c:v>Private Lab</c:v>
                </c:pt>
                <c:pt idx="51">
                  <c:v>Private Lab</c:v>
                </c:pt>
                <c:pt idx="52">
                  <c:v>President</c:v>
                </c:pt>
                <c:pt idx="53">
                  <c:v>President</c:v>
                </c:pt>
                <c:pt idx="54">
                  <c:v>Private Lab</c:v>
                </c:pt>
                <c:pt idx="55">
                  <c:v>Private Lab</c:v>
                </c:pt>
                <c:pt idx="56">
                  <c:v>Societe</c:v>
                </c:pt>
                <c:pt idx="57">
                  <c:v>Entremont</c:v>
                </c:pt>
                <c:pt idx="58">
                  <c:v>President</c:v>
                </c:pt>
                <c:pt idx="59">
                  <c:v>Private Lab</c:v>
                </c:pt>
                <c:pt idx="60">
                  <c:v>Private Lab</c:v>
                </c:pt>
                <c:pt idx="61">
                  <c:v>Private Lab</c:v>
                </c:pt>
                <c:pt idx="62">
                  <c:v>Private Lab</c:v>
                </c:pt>
                <c:pt idx="63">
                  <c:v>Saint Agur</c:v>
                </c:pt>
                <c:pt idx="64">
                  <c:v>Private Lab</c:v>
                </c:pt>
                <c:pt idx="65">
                  <c:v>Private Lab</c:v>
                </c:pt>
                <c:pt idx="66">
                  <c:v>La Vache Qu</c:v>
                </c:pt>
                <c:pt idx="67">
                  <c:v>President</c:v>
                </c:pt>
                <c:pt idx="68">
                  <c:v>Private Lab</c:v>
                </c:pt>
                <c:pt idx="69">
                  <c:v>Tartare</c:v>
                </c:pt>
                <c:pt idx="70">
                  <c:v>Private Lab</c:v>
                </c:pt>
                <c:pt idx="71">
                  <c:v>Private Lab</c:v>
                </c:pt>
                <c:pt idx="72">
                  <c:v>Private Lab</c:v>
                </c:pt>
                <c:pt idx="73">
                  <c:v>Private Lab</c:v>
                </c:pt>
                <c:pt idx="74">
                  <c:v>Juraflore</c:v>
                </c:pt>
                <c:pt idx="75">
                  <c:v>St Moret</c:v>
                </c:pt>
                <c:pt idx="76">
                  <c:v>St Moret</c:v>
                </c:pt>
                <c:pt idx="77">
                  <c:v>Private Lab</c:v>
                </c:pt>
                <c:pt idx="78">
                  <c:v>Private Lab</c:v>
                </c:pt>
                <c:pt idx="79">
                  <c:v>Private Lab</c:v>
                </c:pt>
                <c:pt idx="80">
                  <c:v>Kiri</c:v>
                </c:pt>
                <c:pt idx="81">
                  <c:v>Private Lab</c:v>
                </c:pt>
                <c:pt idx="82">
                  <c:v>Private Lab</c:v>
                </c:pt>
                <c:pt idx="83">
                  <c:v>Entremont</c:v>
                </c:pt>
                <c:pt idx="84">
                  <c:v>President</c:v>
                </c:pt>
                <c:pt idx="85">
                  <c:v>Private Lab</c:v>
                </c:pt>
                <c:pt idx="86">
                  <c:v>Parmareggio</c:v>
                </c:pt>
                <c:pt idx="87">
                  <c:v>Private Lab</c:v>
                </c:pt>
                <c:pt idx="88">
                  <c:v>Private Lab</c:v>
                </c:pt>
                <c:pt idx="89">
                  <c:v>Entremont</c:v>
                </c:pt>
                <c:pt idx="90">
                  <c:v>Paysan Bret</c:v>
                </c:pt>
                <c:pt idx="91">
                  <c:v>Private Lab</c:v>
                </c:pt>
                <c:pt idx="92">
                  <c:v>Private Lab</c:v>
                </c:pt>
                <c:pt idx="93">
                  <c:v>La Vache Qu</c:v>
                </c:pt>
                <c:pt idx="94">
                  <c:v>Galbani</c:v>
                </c:pt>
                <c:pt idx="95">
                  <c:v>Private Lab</c:v>
                </c:pt>
                <c:pt idx="96">
                  <c:v>Private Lab</c:v>
                </c:pt>
                <c:pt idx="97">
                  <c:v>Private Lab</c:v>
                </c:pt>
                <c:pt idx="98">
                  <c:v>Private Lab</c:v>
                </c:pt>
                <c:pt idx="99">
                  <c:v>Entremont</c:v>
                </c:pt>
                <c:pt idx="100">
                  <c:v>Saint Agur</c:v>
                </c:pt>
                <c:pt idx="101">
                  <c:v>Casa Azzurr</c:v>
                </c:pt>
                <c:pt idx="102">
                  <c:v>Coeur De Li</c:v>
                </c:pt>
                <c:pt idx="103">
                  <c:v>Private Lab</c:v>
                </c:pt>
                <c:pt idx="104">
                  <c:v>Leerdammer</c:v>
                </c:pt>
                <c:pt idx="105">
                  <c:v>Saint Albra</c:v>
                </c:pt>
                <c:pt idx="106">
                  <c:v>Private Lab</c:v>
                </c:pt>
                <c:pt idx="107">
                  <c:v>Private Lab</c:v>
                </c:pt>
                <c:pt idx="108">
                  <c:v>Private Lab</c:v>
                </c:pt>
                <c:pt idx="109">
                  <c:v>Private Lab</c:v>
                </c:pt>
                <c:pt idx="110">
                  <c:v>Entremont</c:v>
                </c:pt>
                <c:pt idx="111">
                  <c:v>Leerdammer</c:v>
                </c:pt>
                <c:pt idx="112">
                  <c:v>Private Lab</c:v>
                </c:pt>
                <c:pt idx="113">
                  <c:v>L'Ortolan</c:v>
                </c:pt>
                <c:pt idx="114">
                  <c:v>Istara</c:v>
                </c:pt>
                <c:pt idx="115">
                  <c:v>Kiri</c:v>
                </c:pt>
                <c:pt idx="116">
                  <c:v>Galbani</c:v>
                </c:pt>
                <c:pt idx="117">
                  <c:v>Private Lab</c:v>
                </c:pt>
                <c:pt idx="118">
                  <c:v>Private Lab</c:v>
                </c:pt>
                <c:pt idx="119">
                  <c:v>Private Lab</c:v>
                </c:pt>
                <c:pt idx="120">
                  <c:v>Private Lab</c:v>
                </c:pt>
                <c:pt idx="121">
                  <c:v>Carre Frais</c:v>
                </c:pt>
                <c:pt idx="122">
                  <c:v>All Others</c:v>
                </c:pt>
                <c:pt idx="123">
                  <c:v>Philadelphi</c:v>
                </c:pt>
                <c:pt idx="124">
                  <c:v>Private Lab</c:v>
                </c:pt>
                <c:pt idx="125">
                  <c:v>Boursin</c:v>
                </c:pt>
                <c:pt idx="126">
                  <c:v>Carre Frais</c:v>
                </c:pt>
                <c:pt idx="127">
                  <c:v>Private Lab</c:v>
                </c:pt>
                <c:pt idx="128">
                  <c:v>Chaussee Au</c:v>
                </c:pt>
                <c:pt idx="129">
                  <c:v>Private Lab</c:v>
                </c:pt>
                <c:pt idx="130">
                  <c:v>Boursin</c:v>
                </c:pt>
                <c:pt idx="131">
                  <c:v>Apericube</c:v>
                </c:pt>
                <c:pt idx="132">
                  <c:v>Galbani</c:v>
                </c:pt>
                <c:pt idx="133">
                  <c:v>Private Lab</c:v>
                </c:pt>
                <c:pt idx="134">
                  <c:v>Private Lab</c:v>
                </c:pt>
                <c:pt idx="135">
                  <c:v>Leerdammer</c:v>
                </c:pt>
                <c:pt idx="136">
                  <c:v>Paysan Bret</c:v>
                </c:pt>
                <c:pt idx="137">
                  <c:v>Lou Perac</c:v>
                </c:pt>
                <c:pt idx="138">
                  <c:v>Entremont</c:v>
                </c:pt>
                <c:pt idx="139">
                  <c:v>Bresse Bleu</c:v>
                </c:pt>
                <c:pt idx="140">
                  <c:v>Galbani</c:v>
                </c:pt>
                <c:pt idx="141">
                  <c:v>Kiri</c:v>
                </c:pt>
                <c:pt idx="142">
                  <c:v>Private Lab</c:v>
                </c:pt>
                <c:pt idx="143">
                  <c:v>Private Lab</c:v>
                </c:pt>
                <c:pt idx="144">
                  <c:v>Private Lab</c:v>
                </c:pt>
                <c:pt idx="145">
                  <c:v>President</c:v>
                </c:pt>
                <c:pt idx="146">
                  <c:v>Ficello</c:v>
                </c:pt>
                <c:pt idx="147">
                  <c:v>Private Lab</c:v>
                </c:pt>
                <c:pt idx="148">
                  <c:v>Soignon</c:v>
                </c:pt>
                <c:pt idx="149">
                  <c:v>Islos</c:v>
                </c:pt>
                <c:pt idx="150">
                  <c:v>Apericube</c:v>
                </c:pt>
                <c:pt idx="151">
                  <c:v>Tartare</c:v>
                </c:pt>
                <c:pt idx="152">
                  <c:v>Lepetit</c:v>
                </c:pt>
                <c:pt idx="153">
                  <c:v>Private Lab</c:v>
                </c:pt>
                <c:pt idx="154">
                  <c:v>Private Lab</c:v>
                </c:pt>
                <c:pt idx="155">
                  <c:v>Philadelphi</c:v>
                </c:pt>
                <c:pt idx="156">
                  <c:v>Private Lab</c:v>
                </c:pt>
                <c:pt idx="157">
                  <c:v>Petit Billy</c:v>
                </c:pt>
                <c:pt idx="158">
                  <c:v>Galbani</c:v>
                </c:pt>
                <c:pt idx="159">
                  <c:v>Private Lab</c:v>
                </c:pt>
                <c:pt idx="160">
                  <c:v>Private Lab</c:v>
                </c:pt>
                <c:pt idx="161">
                  <c:v>Galbani</c:v>
                </c:pt>
                <c:pt idx="162">
                  <c:v>President</c:v>
                </c:pt>
                <c:pt idx="163">
                  <c:v>Private Lab</c:v>
                </c:pt>
                <c:pt idx="164">
                  <c:v>Private Lab</c:v>
                </c:pt>
                <c:pt idx="165">
                  <c:v>Private Lab</c:v>
                </c:pt>
                <c:pt idx="166">
                  <c:v>Private Lab</c:v>
                </c:pt>
                <c:pt idx="167">
                  <c:v>Kiri</c:v>
                </c:pt>
                <c:pt idx="168">
                  <c:v>Private Lab</c:v>
                </c:pt>
                <c:pt idx="169">
                  <c:v>Private Lab</c:v>
                </c:pt>
                <c:pt idx="170">
                  <c:v>President</c:v>
                </c:pt>
                <c:pt idx="171">
                  <c:v>All Others</c:v>
                </c:pt>
                <c:pt idx="172">
                  <c:v>Salakis</c:v>
                </c:pt>
                <c:pt idx="173">
                  <c:v>Private Lab</c:v>
                </c:pt>
                <c:pt idx="174">
                  <c:v>Babybel</c:v>
                </c:pt>
                <c:pt idx="175">
                  <c:v>Richesmonts</c:v>
                </c:pt>
                <c:pt idx="176">
                  <c:v>Private Lab</c:v>
                </c:pt>
                <c:pt idx="177">
                  <c:v>Private Lab</c:v>
                </c:pt>
                <c:pt idx="178">
                  <c:v>Private Lab</c:v>
                </c:pt>
                <c:pt idx="179">
                  <c:v>St Moret</c:v>
                </c:pt>
                <c:pt idx="180">
                  <c:v>Private Lab</c:v>
                </c:pt>
                <c:pt idx="181">
                  <c:v>Boursin</c:v>
                </c:pt>
                <c:pt idx="182">
                  <c:v>St Moret</c:v>
                </c:pt>
                <c:pt idx="183">
                  <c:v>Leerdammer</c:v>
                </c:pt>
                <c:pt idx="184">
                  <c:v>Private Lab</c:v>
                </c:pt>
                <c:pt idx="185">
                  <c:v>Boursin</c:v>
                </c:pt>
                <c:pt idx="186">
                  <c:v>Entremont</c:v>
                </c:pt>
                <c:pt idx="187">
                  <c:v>President</c:v>
                </c:pt>
                <c:pt idx="188">
                  <c:v>Private Lab</c:v>
                </c:pt>
                <c:pt idx="189">
                  <c:v>Private Lab</c:v>
                </c:pt>
                <c:pt idx="190">
                  <c:v>President</c:v>
                </c:pt>
                <c:pt idx="191">
                  <c:v>Kiri</c:v>
                </c:pt>
                <c:pt idx="192">
                  <c:v>Le Rustique</c:v>
                </c:pt>
                <c:pt idx="193">
                  <c:v>Port Salut</c:v>
                </c:pt>
                <c:pt idx="194">
                  <c:v>Paturages</c:v>
                </c:pt>
                <c:pt idx="195">
                  <c:v>Private Lab</c:v>
                </c:pt>
                <c:pt idx="196">
                  <c:v>Caprice Des</c:v>
                </c:pt>
                <c:pt idx="197">
                  <c:v>Entremont</c:v>
                </c:pt>
                <c:pt idx="198">
                  <c:v>Coeur De Li</c:v>
                </c:pt>
                <c:pt idx="199">
                  <c:v>Private Lab</c:v>
                </c:pt>
                <c:pt idx="200">
                  <c:v>Private Lab</c:v>
                </c:pt>
                <c:pt idx="201">
                  <c:v>Private Lab</c:v>
                </c:pt>
                <c:pt idx="202">
                  <c:v>Soignon</c:v>
                </c:pt>
                <c:pt idx="203">
                  <c:v>Private Lab</c:v>
                </c:pt>
                <c:pt idx="204">
                  <c:v>Aperivrais</c:v>
                </c:pt>
                <c:pt idx="205">
                  <c:v>Private Lab</c:v>
                </c:pt>
                <c:pt idx="206">
                  <c:v>Coeur De Li</c:v>
                </c:pt>
                <c:pt idx="207">
                  <c:v>Leerdammer</c:v>
                </c:pt>
                <c:pt idx="208">
                  <c:v>President</c:v>
                </c:pt>
                <c:pt idx="209">
                  <c:v>Soignon</c:v>
                </c:pt>
                <c:pt idx="210">
                  <c:v>Etorki</c:v>
                </c:pt>
                <c:pt idx="211">
                  <c:v>L'Ortolan</c:v>
                </c:pt>
                <c:pt idx="212">
                  <c:v>Parmareggio</c:v>
                </c:pt>
                <c:pt idx="213">
                  <c:v>Ficello</c:v>
                </c:pt>
                <c:pt idx="214">
                  <c:v>Societe</c:v>
                </c:pt>
                <c:pt idx="215">
                  <c:v>President</c:v>
                </c:pt>
                <c:pt idx="216">
                  <c:v>Pochat</c:v>
                </c:pt>
                <c:pt idx="217">
                  <c:v>Pave D'Affi</c:v>
                </c:pt>
                <c:pt idx="218">
                  <c:v>Private Lab</c:v>
                </c:pt>
                <c:pt idx="219">
                  <c:v>St Moret</c:v>
                </c:pt>
                <c:pt idx="220">
                  <c:v>Richesmonts</c:v>
                </c:pt>
                <c:pt idx="221">
                  <c:v>Apericube</c:v>
                </c:pt>
                <c:pt idx="222">
                  <c:v>Private Lab</c:v>
                </c:pt>
                <c:pt idx="223">
                  <c:v>Private Lab</c:v>
                </c:pt>
                <c:pt idx="224">
                  <c:v>Ficello</c:v>
                </c:pt>
                <c:pt idx="225">
                  <c:v>Private Lab</c:v>
                </c:pt>
                <c:pt idx="226">
                  <c:v>Entremont</c:v>
                </c:pt>
                <c:pt idx="227">
                  <c:v>All Others</c:v>
                </c:pt>
                <c:pt idx="228">
                  <c:v>Fol Epi</c:v>
                </c:pt>
                <c:pt idx="229">
                  <c:v>All Others</c:v>
                </c:pt>
                <c:pt idx="230">
                  <c:v>Private Lab</c:v>
                </c:pt>
                <c:pt idx="231">
                  <c:v>President</c:v>
                </c:pt>
                <c:pt idx="232">
                  <c:v>Entremont</c:v>
                </c:pt>
                <c:pt idx="233">
                  <c:v>Boursin</c:v>
                </c:pt>
                <c:pt idx="234">
                  <c:v>Casa Azzurr</c:v>
                </c:pt>
                <c:pt idx="235">
                  <c:v>Entremont</c:v>
                </c:pt>
                <c:pt idx="236">
                  <c:v>President</c:v>
                </c:pt>
                <c:pt idx="237">
                  <c:v>Private Lab</c:v>
                </c:pt>
                <c:pt idx="238">
                  <c:v>Private Lab</c:v>
                </c:pt>
                <c:pt idx="239">
                  <c:v>Vieux Pane</c:v>
                </c:pt>
                <c:pt idx="240">
                  <c:v>Apericube</c:v>
                </c:pt>
                <c:pt idx="241">
                  <c:v>President</c:v>
                </c:pt>
                <c:pt idx="242">
                  <c:v>Soignon</c:v>
                </c:pt>
                <c:pt idx="243">
                  <c:v>Private Lab</c:v>
                </c:pt>
                <c:pt idx="244">
                  <c:v>Private Lab</c:v>
                </c:pt>
                <c:pt idx="245">
                  <c:v>La Vache Qu</c:v>
                </c:pt>
                <c:pt idx="246">
                  <c:v>President</c:v>
                </c:pt>
                <c:pt idx="247">
                  <c:v>Private Lab</c:v>
                </c:pt>
                <c:pt idx="248">
                  <c:v>Private Lab</c:v>
                </c:pt>
                <c:pt idx="249">
                  <c:v>Private Lab</c:v>
                </c:pt>
                <c:pt idx="250">
                  <c:v>President</c:v>
                </c:pt>
                <c:pt idx="251">
                  <c:v>All Others</c:v>
                </c:pt>
                <c:pt idx="252">
                  <c:v>Private Lab</c:v>
                </c:pt>
                <c:pt idx="253">
                  <c:v>Leerdammer</c:v>
                </c:pt>
                <c:pt idx="254">
                  <c:v>Chavroux</c:v>
                </c:pt>
                <c:pt idx="255">
                  <c:v>Casa Azzurr</c:v>
                </c:pt>
                <c:pt idx="256">
                  <c:v>Pochat</c:v>
                </c:pt>
                <c:pt idx="257">
                  <c:v>Entremont</c:v>
                </c:pt>
                <c:pt idx="258">
                  <c:v>Private Lab</c:v>
                </c:pt>
                <c:pt idx="259">
                  <c:v>Private Lab</c:v>
                </c:pt>
                <c:pt idx="260">
                  <c:v>Private Lab</c:v>
                </c:pt>
                <c:pt idx="261">
                  <c:v>Cousteron</c:v>
                </c:pt>
                <c:pt idx="262">
                  <c:v>Boursin</c:v>
                </c:pt>
                <c:pt idx="263">
                  <c:v>Private Lab</c:v>
                </c:pt>
                <c:pt idx="264">
                  <c:v>Private Lab</c:v>
                </c:pt>
                <c:pt idx="265">
                  <c:v>President</c:v>
                </c:pt>
                <c:pt idx="266">
                  <c:v>Private Lab</c:v>
                </c:pt>
                <c:pt idx="267">
                  <c:v>Private Lab</c:v>
                </c:pt>
                <c:pt idx="268">
                  <c:v>Soignon</c:v>
                </c:pt>
                <c:pt idx="269">
                  <c:v>Apericube</c:v>
                </c:pt>
                <c:pt idx="270">
                  <c:v>Private Lab</c:v>
                </c:pt>
                <c:pt idx="271">
                  <c:v>Private Lab</c:v>
                </c:pt>
                <c:pt idx="272">
                  <c:v>Private Lab</c:v>
                </c:pt>
                <c:pt idx="273">
                  <c:v>P'Tit Louis</c:v>
                </c:pt>
                <c:pt idx="274">
                  <c:v>Le Brebiou</c:v>
                </c:pt>
                <c:pt idx="275">
                  <c:v>Leerdammer</c:v>
                </c:pt>
                <c:pt idx="276">
                  <c:v>Private Lab</c:v>
                </c:pt>
                <c:pt idx="277">
                  <c:v>Soignon</c:v>
                </c:pt>
                <c:pt idx="278">
                  <c:v>Private Lab</c:v>
                </c:pt>
                <c:pt idx="279">
                  <c:v>All Others</c:v>
                </c:pt>
                <c:pt idx="280">
                  <c:v>President</c:v>
                </c:pt>
                <c:pt idx="281">
                  <c:v>Private Lab</c:v>
                </c:pt>
                <c:pt idx="282">
                  <c:v>Boursin</c:v>
                </c:pt>
                <c:pt idx="283">
                  <c:v>Istara</c:v>
                </c:pt>
                <c:pt idx="284">
                  <c:v>Soignon</c:v>
                </c:pt>
                <c:pt idx="285">
                  <c:v>Tartare</c:v>
                </c:pt>
                <c:pt idx="286">
                  <c:v>Lactalis: A</c:v>
                </c:pt>
                <c:pt idx="287">
                  <c:v>Caprice Des</c:v>
                </c:pt>
                <c:pt idx="288">
                  <c:v>Leerdammer</c:v>
                </c:pt>
                <c:pt idx="289">
                  <c:v>Private Lab</c:v>
                </c:pt>
                <c:pt idx="290">
                  <c:v>Private Lab</c:v>
                </c:pt>
                <c:pt idx="291">
                  <c:v>Private Lab</c:v>
                </c:pt>
                <c:pt idx="292">
                  <c:v>Paysan Bret</c:v>
                </c:pt>
                <c:pt idx="293">
                  <c:v>Galbani</c:v>
                </c:pt>
                <c:pt idx="294">
                  <c:v>Private Lab</c:v>
                </c:pt>
                <c:pt idx="295">
                  <c:v>Apericube</c:v>
                </c:pt>
                <c:pt idx="296">
                  <c:v>Lou Perac</c:v>
                </c:pt>
                <c:pt idx="297">
                  <c:v>Saint Albra</c:v>
                </c:pt>
                <c:pt idx="298">
                  <c:v>Galbani</c:v>
                </c:pt>
                <c:pt idx="299">
                  <c:v>Private Lab</c:v>
                </c:pt>
                <c:pt idx="300">
                  <c:v>All Others</c:v>
                </c:pt>
                <c:pt idx="301">
                  <c:v>Private Lab</c:v>
                </c:pt>
                <c:pt idx="302">
                  <c:v>Private Lab</c:v>
                </c:pt>
                <c:pt idx="303">
                  <c:v>Richesmonts</c:v>
                </c:pt>
                <c:pt idx="304">
                  <c:v>All Others</c:v>
                </c:pt>
                <c:pt idx="305">
                  <c:v>Boursin</c:v>
                </c:pt>
                <c:pt idx="306">
                  <c:v>Private Lab</c:v>
                </c:pt>
                <c:pt idx="307">
                  <c:v>Private Lab</c:v>
                </c:pt>
                <c:pt idx="308">
                  <c:v>Entremont</c:v>
                </c:pt>
                <c:pt idx="309">
                  <c:v>Paysan Bret</c:v>
                </c:pt>
                <c:pt idx="310">
                  <c:v>Private Lab</c:v>
                </c:pt>
                <c:pt idx="311">
                  <c:v>All Others</c:v>
                </c:pt>
                <c:pt idx="312">
                  <c:v>Private Lab</c:v>
                </c:pt>
                <c:pt idx="313">
                  <c:v>President</c:v>
                </c:pt>
                <c:pt idx="314">
                  <c:v>Casa Azzurr</c:v>
                </c:pt>
                <c:pt idx="315">
                  <c:v>Private Lab</c:v>
                </c:pt>
                <c:pt idx="316">
                  <c:v>Private Lab</c:v>
                </c:pt>
                <c:pt idx="317">
                  <c:v>Private Lab</c:v>
                </c:pt>
                <c:pt idx="318">
                  <c:v>Boursin</c:v>
                </c:pt>
                <c:pt idx="319">
                  <c:v>Richesmonts</c:v>
                </c:pt>
                <c:pt idx="320">
                  <c:v>Private Lab</c:v>
                </c:pt>
                <c:pt idx="321">
                  <c:v>All Others</c:v>
                </c:pt>
                <c:pt idx="322">
                  <c:v>Soignon</c:v>
                </c:pt>
                <c:pt idx="323">
                  <c:v>Private Lab</c:v>
                </c:pt>
                <c:pt idx="324">
                  <c:v>Galbani</c:v>
                </c:pt>
                <c:pt idx="325">
                  <c:v>Private Lab</c:v>
                </c:pt>
                <c:pt idx="326">
                  <c:v>Private Lab</c:v>
                </c:pt>
                <c:pt idx="327">
                  <c:v>Boursin</c:v>
                </c:pt>
                <c:pt idx="328">
                  <c:v>Apericube</c:v>
                </c:pt>
                <c:pt idx="329">
                  <c:v>President</c:v>
                </c:pt>
                <c:pt idx="330">
                  <c:v>Private Lab</c:v>
                </c:pt>
                <c:pt idx="331">
                  <c:v>Private Lab</c:v>
                </c:pt>
                <c:pt idx="332">
                  <c:v>Bresse Bleu</c:v>
                </c:pt>
                <c:pt idx="333">
                  <c:v>Private Lab</c:v>
                </c:pt>
                <c:pt idx="334">
                  <c:v>Private Lab</c:v>
                </c:pt>
                <c:pt idx="335">
                  <c:v>Private Lab</c:v>
                </c:pt>
                <c:pt idx="336">
                  <c:v>All Others</c:v>
                </c:pt>
                <c:pt idx="337">
                  <c:v>All Others</c:v>
                </c:pt>
                <c:pt idx="338">
                  <c:v>Apericube</c:v>
                </c:pt>
                <c:pt idx="339">
                  <c:v>Private Lab</c:v>
                </c:pt>
                <c:pt idx="340">
                  <c:v>Apericube</c:v>
                </c:pt>
                <c:pt idx="341">
                  <c:v>Private Lab</c:v>
                </c:pt>
                <c:pt idx="342">
                  <c:v>Salakis</c:v>
                </c:pt>
                <c:pt idx="343">
                  <c:v>Private Lab</c:v>
                </c:pt>
                <c:pt idx="344">
                  <c:v>Galbani</c:v>
                </c:pt>
                <c:pt idx="345">
                  <c:v>St Moret</c:v>
                </c:pt>
                <c:pt idx="346">
                  <c:v>Galbani</c:v>
                </c:pt>
                <c:pt idx="347">
                  <c:v>All Others</c:v>
                </c:pt>
                <c:pt idx="348">
                  <c:v>Private Lab</c:v>
                </c:pt>
                <c:pt idx="349">
                  <c:v>Le Rustique</c:v>
                </c:pt>
                <c:pt idx="350">
                  <c:v>Private Lab</c:v>
                </c:pt>
                <c:pt idx="351">
                  <c:v>Mini Babybe</c:v>
                </c:pt>
                <c:pt idx="352">
                  <c:v>Private Lab</c:v>
                </c:pt>
                <c:pt idx="353">
                  <c:v>Richesmonts</c:v>
                </c:pt>
                <c:pt idx="354">
                  <c:v>Private Lab</c:v>
                </c:pt>
                <c:pt idx="355">
                  <c:v>Private Lab</c:v>
                </c:pt>
                <c:pt idx="356">
                  <c:v>Boursin</c:v>
                </c:pt>
                <c:pt idx="357">
                  <c:v>Societe</c:v>
                </c:pt>
                <c:pt idx="358">
                  <c:v>Aperivrais</c:v>
                </c:pt>
                <c:pt idx="359">
                  <c:v>Private Lab</c:v>
                </c:pt>
                <c:pt idx="360">
                  <c:v>Paysan Bret</c:v>
                </c:pt>
                <c:pt idx="361">
                  <c:v>Private Lab</c:v>
                </c:pt>
                <c:pt idx="362">
                  <c:v>Savencia: A</c:v>
                </c:pt>
                <c:pt idx="363">
                  <c:v>Private Lab</c:v>
                </c:pt>
                <c:pt idx="364">
                  <c:v>La Vache Qu</c:v>
                </c:pt>
                <c:pt idx="365">
                  <c:v>Societe</c:v>
                </c:pt>
                <c:pt idx="366">
                  <c:v>Casa Azzurr</c:v>
                </c:pt>
                <c:pt idx="367">
                  <c:v>Saint Agur</c:v>
                </c:pt>
                <c:pt idx="368">
                  <c:v>Milleret: A</c:v>
                </c:pt>
                <c:pt idx="369">
                  <c:v>Savencia: A</c:v>
                </c:pt>
                <c:pt idx="370">
                  <c:v>Private Lab</c:v>
                </c:pt>
                <c:pt idx="371">
                  <c:v>Soignon</c:v>
                </c:pt>
                <c:pt idx="372">
                  <c:v>Private Lab</c:v>
                </c:pt>
                <c:pt idx="373">
                  <c:v>Entremont</c:v>
                </c:pt>
                <c:pt idx="374">
                  <c:v>Aperivrais</c:v>
                </c:pt>
                <c:pt idx="375">
                  <c:v>Lou Perac</c:v>
                </c:pt>
                <c:pt idx="376">
                  <c:v>Boursin</c:v>
                </c:pt>
                <c:pt idx="377">
                  <c:v>Galbani</c:v>
                </c:pt>
                <c:pt idx="378">
                  <c:v>Chavroux</c:v>
                </c:pt>
                <c:pt idx="379">
                  <c:v>Coeur De Li</c:v>
                </c:pt>
                <c:pt idx="380">
                  <c:v>Private Lab</c:v>
                </c:pt>
                <c:pt idx="381">
                  <c:v>Private Lab</c:v>
                </c:pt>
                <c:pt idx="382">
                  <c:v>Carre Frais</c:v>
                </c:pt>
                <c:pt idx="383">
                  <c:v>Private Lab</c:v>
                </c:pt>
                <c:pt idx="384">
                  <c:v>Entremont</c:v>
                </c:pt>
                <c:pt idx="385">
                  <c:v>President</c:v>
                </c:pt>
                <c:pt idx="386">
                  <c:v>Juraflore</c:v>
                </c:pt>
                <c:pt idx="387">
                  <c:v>Private Lab</c:v>
                </c:pt>
                <c:pt idx="388">
                  <c:v>Lactalis: A</c:v>
                </c:pt>
                <c:pt idx="389">
                  <c:v>Casa Azzurr</c:v>
                </c:pt>
                <c:pt idx="390">
                  <c:v>Pave D'Affi</c:v>
                </c:pt>
                <c:pt idx="391">
                  <c:v>Private Lab</c:v>
                </c:pt>
                <c:pt idx="392">
                  <c:v>President</c:v>
                </c:pt>
                <c:pt idx="393">
                  <c:v>Private Lab</c:v>
                </c:pt>
                <c:pt idx="394">
                  <c:v>Private Lab</c:v>
                </c:pt>
                <c:pt idx="395">
                  <c:v>Galbani</c:v>
                </c:pt>
                <c:pt idx="396">
                  <c:v>All Others</c:v>
                </c:pt>
                <c:pt idx="397">
                  <c:v>Private Lab</c:v>
                </c:pt>
                <c:pt idx="398">
                  <c:v>Private Lab</c:v>
                </c:pt>
                <c:pt idx="399">
                  <c:v>Saint Agur</c:v>
                </c:pt>
                <c:pt idx="400">
                  <c:v>All Others</c:v>
                </c:pt>
                <c:pt idx="401">
                  <c:v>Salakis</c:v>
                </c:pt>
                <c:pt idx="402">
                  <c:v>Casa Azzurr</c:v>
                </c:pt>
                <c:pt idx="403">
                  <c:v>Tartare</c:v>
                </c:pt>
                <c:pt idx="404">
                  <c:v>President</c:v>
                </c:pt>
                <c:pt idx="405">
                  <c:v>La Vache Qu</c:v>
                </c:pt>
                <c:pt idx="406">
                  <c:v>Tartare</c:v>
                </c:pt>
                <c:pt idx="407">
                  <c:v>Private Lab</c:v>
                </c:pt>
                <c:pt idx="408">
                  <c:v>Top Budget</c:v>
                </c:pt>
                <c:pt idx="409">
                  <c:v>L'Ortolan</c:v>
                </c:pt>
                <c:pt idx="410">
                  <c:v>Savencia: A</c:v>
                </c:pt>
                <c:pt idx="411">
                  <c:v>Paysan Bret</c:v>
                </c:pt>
                <c:pt idx="412">
                  <c:v>Private Lab</c:v>
                </c:pt>
                <c:pt idx="413">
                  <c:v>All Others</c:v>
                </c:pt>
                <c:pt idx="414">
                  <c:v>Richesmonts</c:v>
                </c:pt>
                <c:pt idx="415">
                  <c:v>Private Lab</c:v>
                </c:pt>
                <c:pt idx="416">
                  <c:v>Private Lab</c:v>
                </c:pt>
                <c:pt idx="417">
                  <c:v>Coeur De Li</c:v>
                </c:pt>
                <c:pt idx="418">
                  <c:v>All Others</c:v>
                </c:pt>
                <c:pt idx="419">
                  <c:v>All Others</c:v>
                </c:pt>
                <c:pt idx="420">
                  <c:v>Mini Babybe</c:v>
                </c:pt>
                <c:pt idx="421">
                  <c:v>Private Lab</c:v>
                </c:pt>
                <c:pt idx="422">
                  <c:v>Salakis</c:v>
                </c:pt>
                <c:pt idx="423">
                  <c:v>Eurial Autr</c:v>
                </c:pt>
                <c:pt idx="424">
                  <c:v>Savencia: A</c:v>
                </c:pt>
                <c:pt idx="425">
                  <c:v>Richesmonts</c:v>
                </c:pt>
                <c:pt idx="426">
                  <c:v>Paysan Bret</c:v>
                </c:pt>
                <c:pt idx="427">
                  <c:v>All Others</c:v>
                </c:pt>
                <c:pt idx="428">
                  <c:v>Lactalis: A</c:v>
                </c:pt>
                <c:pt idx="429">
                  <c:v>Richesmonts</c:v>
                </c:pt>
                <c:pt idx="430">
                  <c:v>Casa Azzurr</c:v>
                </c:pt>
                <c:pt idx="431">
                  <c:v>Paysan Bret</c:v>
                </c:pt>
                <c:pt idx="432">
                  <c:v>Apericube</c:v>
                </c:pt>
                <c:pt idx="433">
                  <c:v>Richesmonts</c:v>
                </c:pt>
                <c:pt idx="434">
                  <c:v>Private Lab</c:v>
                </c:pt>
                <c:pt idx="435">
                  <c:v>Kiri</c:v>
                </c:pt>
                <c:pt idx="436">
                  <c:v>All Others</c:v>
                </c:pt>
                <c:pt idx="437">
                  <c:v>La Belle Et</c:v>
                </c:pt>
                <c:pt idx="438">
                  <c:v>President</c:v>
                </c:pt>
                <c:pt idx="439">
                  <c:v>Triballat N</c:v>
                </c:pt>
                <c:pt idx="440">
                  <c:v>Soignon</c:v>
                </c:pt>
                <c:pt idx="441">
                  <c:v>Casa Azzurr</c:v>
                </c:pt>
                <c:pt idx="442">
                  <c:v>Societe</c:v>
                </c:pt>
                <c:pt idx="443">
                  <c:v>Private Lab</c:v>
                </c:pt>
                <c:pt idx="444">
                  <c:v>Boursin</c:v>
                </c:pt>
                <c:pt idx="445">
                  <c:v>Fauquet</c:v>
                </c:pt>
                <c:pt idx="446">
                  <c:v>Caprice Des</c:v>
                </c:pt>
                <c:pt idx="447">
                  <c:v>President</c:v>
                </c:pt>
                <c:pt idx="448">
                  <c:v>Le Rustique</c:v>
                </c:pt>
                <c:pt idx="449">
                  <c:v>St Moret</c:v>
                </c:pt>
                <c:pt idx="450">
                  <c:v>Savencia: A</c:v>
                </c:pt>
                <c:pt idx="451">
                  <c:v>Kiri</c:v>
                </c:pt>
                <c:pt idx="452">
                  <c:v>Private Lab</c:v>
                </c:pt>
                <c:pt idx="453">
                  <c:v>Saint Agur</c:v>
                </c:pt>
                <c:pt idx="454">
                  <c:v>Societe</c:v>
                </c:pt>
                <c:pt idx="455">
                  <c:v>Boursin</c:v>
                </c:pt>
                <c:pt idx="456">
                  <c:v>Private Lab</c:v>
                </c:pt>
                <c:pt idx="457">
                  <c:v>Casa Azzurr</c:v>
                </c:pt>
                <c:pt idx="458">
                  <c:v>Galbani</c:v>
                </c:pt>
                <c:pt idx="459">
                  <c:v>Private Lab</c:v>
                </c:pt>
                <c:pt idx="460">
                  <c:v>Caprice Des</c:v>
                </c:pt>
                <c:pt idx="461">
                  <c:v>Le Saint Am</c:v>
                </c:pt>
                <c:pt idx="462">
                  <c:v>Tartare</c:v>
                </c:pt>
                <c:pt idx="463">
                  <c:v>Casa Azzurr</c:v>
                </c:pt>
                <c:pt idx="464">
                  <c:v>Private Lab</c:v>
                </c:pt>
                <c:pt idx="465">
                  <c:v>All Others</c:v>
                </c:pt>
                <c:pt idx="466">
                  <c:v>Leerdammer</c:v>
                </c:pt>
                <c:pt idx="467">
                  <c:v>Galbani</c:v>
                </c:pt>
                <c:pt idx="468">
                  <c:v>Pochat</c:v>
                </c:pt>
                <c:pt idx="469">
                  <c:v>Lactalis: A</c:v>
                </c:pt>
                <c:pt idx="470">
                  <c:v>Mini Babybe</c:v>
                </c:pt>
                <c:pt idx="471">
                  <c:v>President</c:v>
                </c:pt>
                <c:pt idx="472">
                  <c:v>Top Budget</c:v>
                </c:pt>
                <c:pt idx="473">
                  <c:v>Paysan Bret</c:v>
                </c:pt>
                <c:pt idx="474">
                  <c:v>Private Lab</c:v>
                </c:pt>
                <c:pt idx="475">
                  <c:v>Savencia: A</c:v>
                </c:pt>
                <c:pt idx="476">
                  <c:v>Soignon</c:v>
                </c:pt>
                <c:pt idx="477">
                  <c:v>Casa Azzurr</c:v>
                </c:pt>
                <c:pt idx="478">
                  <c:v>Paturages</c:v>
                </c:pt>
                <c:pt idx="479">
                  <c:v>Caprice Des</c:v>
                </c:pt>
                <c:pt idx="480">
                  <c:v>Lactalis: A</c:v>
                </c:pt>
                <c:pt idx="481">
                  <c:v>Galbani</c:v>
                </c:pt>
                <c:pt idx="482">
                  <c:v>All Others</c:v>
                </c:pt>
                <c:pt idx="483">
                  <c:v>Private Lab</c:v>
                </c:pt>
                <c:pt idx="484">
                  <c:v>St Moret</c:v>
                </c:pt>
                <c:pt idx="485">
                  <c:v>All Others</c:v>
                </c:pt>
                <c:pt idx="486">
                  <c:v>Etorki</c:v>
                </c:pt>
                <c:pt idx="487">
                  <c:v>All Others</c:v>
                </c:pt>
                <c:pt idx="488">
                  <c:v>All Others</c:v>
                </c:pt>
                <c:pt idx="489">
                  <c:v>All Others</c:v>
                </c:pt>
                <c:pt idx="490">
                  <c:v>Tartare</c:v>
                </c:pt>
                <c:pt idx="491">
                  <c:v>Milleret: A</c:v>
                </c:pt>
                <c:pt idx="492">
                  <c:v>Soignon</c:v>
                </c:pt>
                <c:pt idx="493">
                  <c:v>Pave D'Affi</c:v>
                </c:pt>
                <c:pt idx="494">
                  <c:v>All Others</c:v>
                </c:pt>
                <c:pt idx="495">
                  <c:v>Casa Azzurr</c:v>
                </c:pt>
                <c:pt idx="496">
                  <c:v>Private Lab</c:v>
                </c:pt>
                <c:pt idx="497">
                  <c:v>Aperivrais</c:v>
                </c:pt>
                <c:pt idx="498">
                  <c:v>St Moret</c:v>
                </c:pt>
                <c:pt idx="499">
                  <c:v>Entremont</c:v>
                </c:pt>
                <c:pt idx="500">
                  <c:v>La Belle Et</c:v>
                </c:pt>
                <c:pt idx="501">
                  <c:v>All Others</c:v>
                </c:pt>
                <c:pt idx="502">
                  <c:v>Corsica</c:v>
                </c:pt>
                <c:pt idx="503">
                  <c:v>Entremont</c:v>
                </c:pt>
                <c:pt idx="504">
                  <c:v>Kiri</c:v>
                </c:pt>
                <c:pt idx="505">
                  <c:v>Soignon</c:v>
                </c:pt>
                <c:pt idx="506">
                  <c:v>Boursin</c:v>
                </c:pt>
                <c:pt idx="507">
                  <c:v>Eurial Autr</c:v>
                </c:pt>
                <c:pt idx="508">
                  <c:v>All Others</c:v>
                </c:pt>
                <c:pt idx="509">
                  <c:v>Entremont</c:v>
                </c:pt>
                <c:pt idx="510">
                  <c:v>All Others</c:v>
                </c:pt>
                <c:pt idx="511">
                  <c:v>Entremont</c:v>
                </c:pt>
                <c:pt idx="512">
                  <c:v>Salakis</c:v>
                </c:pt>
                <c:pt idx="513">
                  <c:v>Galbani</c:v>
                </c:pt>
                <c:pt idx="514">
                  <c:v>Soignon</c:v>
                </c:pt>
                <c:pt idx="515">
                  <c:v>All Others</c:v>
                </c:pt>
                <c:pt idx="516">
                  <c:v>Juraflore</c:v>
                </c:pt>
                <c:pt idx="517">
                  <c:v>All Others</c:v>
                </c:pt>
                <c:pt idx="518">
                  <c:v>La Vache Qu</c:v>
                </c:pt>
                <c:pt idx="519">
                  <c:v>Lou Perac</c:v>
                </c:pt>
                <c:pt idx="520">
                  <c:v>All Others</c:v>
                </c:pt>
                <c:pt idx="521">
                  <c:v>All Others</c:v>
                </c:pt>
                <c:pt idx="522">
                  <c:v>President</c:v>
                </c:pt>
                <c:pt idx="523">
                  <c:v>Kiri</c:v>
                </c:pt>
                <c:pt idx="524">
                  <c:v>Private Lab</c:v>
                </c:pt>
                <c:pt idx="525">
                  <c:v>Tartare</c:v>
                </c:pt>
                <c:pt idx="526">
                  <c:v>All Others</c:v>
                </c:pt>
                <c:pt idx="527">
                  <c:v>All Others</c:v>
                </c:pt>
                <c:pt idx="528">
                  <c:v>Pave D'Affi</c:v>
                </c:pt>
                <c:pt idx="529">
                  <c:v>Salakis</c:v>
                </c:pt>
                <c:pt idx="530">
                  <c:v>Galbani</c:v>
                </c:pt>
                <c:pt idx="531">
                  <c:v>Casa Azzurr</c:v>
                </c:pt>
                <c:pt idx="532">
                  <c:v>All Others</c:v>
                </c:pt>
                <c:pt idx="533">
                  <c:v>All Others</c:v>
                </c:pt>
                <c:pt idx="534">
                  <c:v>All Others</c:v>
                </c:pt>
                <c:pt idx="535">
                  <c:v>Mini Babybe</c:v>
                </c:pt>
                <c:pt idx="536">
                  <c:v>Raguin</c:v>
                </c:pt>
                <c:pt idx="537">
                  <c:v>Paturages</c:v>
                </c:pt>
                <c:pt idx="538">
                  <c:v>All Others</c:v>
                </c:pt>
                <c:pt idx="539">
                  <c:v>Entremont</c:v>
                </c:pt>
                <c:pt idx="540">
                  <c:v>Raguin</c:v>
                </c:pt>
                <c:pt idx="541">
                  <c:v>President</c:v>
                </c:pt>
                <c:pt idx="542">
                  <c:v>Aperivrais</c:v>
                </c:pt>
                <c:pt idx="543">
                  <c:v>L'Ortolan</c:v>
                </c:pt>
                <c:pt idx="544">
                  <c:v>Mini Babybe</c:v>
                </c:pt>
                <c:pt idx="545">
                  <c:v>L'Ortolan</c:v>
                </c:pt>
                <c:pt idx="546">
                  <c:v>Private Lab</c:v>
                </c:pt>
                <c:pt idx="547">
                  <c:v>La Table M</c:v>
                </c:pt>
                <c:pt idx="548">
                  <c:v>Paysan Bret</c:v>
                </c:pt>
                <c:pt idx="549">
                  <c:v>Saint Agur</c:v>
                </c:pt>
                <c:pt idx="550">
                  <c:v>Private Lab</c:v>
                </c:pt>
                <c:pt idx="551">
                  <c:v>Triballat N</c:v>
                </c:pt>
                <c:pt idx="552">
                  <c:v>All Others</c:v>
                </c:pt>
                <c:pt idx="553">
                  <c:v>All Others</c:v>
                </c:pt>
                <c:pt idx="554">
                  <c:v>Private Lab</c:v>
                </c:pt>
                <c:pt idx="555">
                  <c:v>Private Lab</c:v>
                </c:pt>
                <c:pt idx="556">
                  <c:v>All Others</c:v>
                </c:pt>
                <c:pt idx="557">
                  <c:v>All Others</c:v>
                </c:pt>
                <c:pt idx="558">
                  <c:v>La Belle Et</c:v>
                </c:pt>
                <c:pt idx="559">
                  <c:v>Casa Azzurr</c:v>
                </c:pt>
                <c:pt idx="560">
                  <c:v>Casa Azzurr</c:v>
                </c:pt>
                <c:pt idx="561">
                  <c:v>All Others</c:v>
                </c:pt>
                <c:pt idx="562">
                  <c:v>All Others</c:v>
                </c:pt>
                <c:pt idx="563">
                  <c:v>St Moret</c:v>
                </c:pt>
                <c:pt idx="564">
                  <c:v>Lactalis: A</c:v>
                </c:pt>
                <c:pt idx="565">
                  <c:v>All Others</c:v>
                </c:pt>
                <c:pt idx="566">
                  <c:v>Apericube</c:v>
                </c:pt>
                <c:pt idx="567">
                  <c:v>Vieux Pane</c:v>
                </c:pt>
                <c:pt idx="568">
                  <c:v>La Belle Et</c:v>
                </c:pt>
                <c:pt idx="569">
                  <c:v>Milleret: A</c:v>
                </c:pt>
                <c:pt idx="570">
                  <c:v>All Others</c:v>
                </c:pt>
                <c:pt idx="571">
                  <c:v>All Others</c:v>
                </c:pt>
                <c:pt idx="572">
                  <c:v>President</c:v>
                </c:pt>
                <c:pt idx="573">
                  <c:v>Galbani</c:v>
                </c:pt>
                <c:pt idx="574">
                  <c:v>All Others</c:v>
                </c:pt>
                <c:pt idx="575">
                  <c:v>Raguin</c:v>
                </c:pt>
                <c:pt idx="576">
                  <c:v>All Others</c:v>
                </c:pt>
                <c:pt idx="577">
                  <c:v>All Others</c:v>
                </c:pt>
                <c:pt idx="578">
                  <c:v>Islos</c:v>
                </c:pt>
                <c:pt idx="579">
                  <c:v>Kiri</c:v>
                </c:pt>
                <c:pt idx="580">
                  <c:v>Istara</c:v>
                </c:pt>
                <c:pt idx="581">
                  <c:v>L'Ortolan</c:v>
                </c:pt>
                <c:pt idx="582">
                  <c:v>La Belle Et</c:v>
                </c:pt>
                <c:pt idx="583">
                  <c:v>Entremont</c:v>
                </c:pt>
                <c:pt idx="584">
                  <c:v>Societe</c:v>
                </c:pt>
                <c:pt idx="585">
                  <c:v>All Others</c:v>
                </c:pt>
                <c:pt idx="586">
                  <c:v>All Others</c:v>
                </c:pt>
                <c:pt idx="587">
                  <c:v>Private Lab</c:v>
                </c:pt>
                <c:pt idx="588">
                  <c:v>Entremont</c:v>
                </c:pt>
                <c:pt idx="589">
                  <c:v>Lactalis: A</c:v>
                </c:pt>
                <c:pt idx="590">
                  <c:v>Paysan Bret</c:v>
                </c:pt>
                <c:pt idx="591">
                  <c:v>L'Ortolan</c:v>
                </c:pt>
                <c:pt idx="592">
                  <c:v>All Others</c:v>
                </c:pt>
                <c:pt idx="593">
                  <c:v>Le Coq Crem</c:v>
                </c:pt>
                <c:pt idx="594">
                  <c:v>Milleret: A</c:v>
                </c:pt>
                <c:pt idx="595">
                  <c:v>Ranou</c:v>
                </c:pt>
                <c:pt idx="596">
                  <c:v>Raguin</c:v>
                </c:pt>
                <c:pt idx="597">
                  <c:v>All Others</c:v>
                </c:pt>
                <c:pt idx="598">
                  <c:v>Mini Babybe</c:v>
                </c:pt>
                <c:pt idx="599">
                  <c:v>Lactalis: A</c:v>
                </c:pt>
                <c:pt idx="600">
                  <c:v>Leerdammer</c:v>
                </c:pt>
                <c:pt idx="601">
                  <c:v>All Others</c:v>
                </c:pt>
                <c:pt idx="602">
                  <c:v>All Others</c:v>
                </c:pt>
                <c:pt idx="603">
                  <c:v>Milleret: A</c:v>
                </c:pt>
                <c:pt idx="604">
                  <c:v>Private Lab</c:v>
                </c:pt>
                <c:pt idx="605">
                  <c:v>Etoile Du Q</c:v>
                </c:pt>
                <c:pt idx="606">
                  <c:v>Boursin</c:v>
                </c:pt>
                <c:pt idx="607">
                  <c:v>Apericube</c:v>
                </c:pt>
                <c:pt idx="608">
                  <c:v>Paysan Bret</c:v>
                </c:pt>
                <c:pt idx="609">
                  <c:v>Pochat</c:v>
                </c:pt>
                <c:pt idx="610">
                  <c:v>All Others</c:v>
                </c:pt>
                <c:pt idx="611">
                  <c:v>Eurial Autr</c:v>
                </c:pt>
                <c:pt idx="612">
                  <c:v>All Others</c:v>
                </c:pt>
                <c:pt idx="613">
                  <c:v>Entremont</c:v>
                </c:pt>
                <c:pt idx="614">
                  <c:v>All Others</c:v>
                </c:pt>
                <c:pt idx="615">
                  <c:v>All Others</c:v>
                </c:pt>
                <c:pt idx="616">
                  <c:v>Galbani</c:v>
                </c:pt>
                <c:pt idx="617">
                  <c:v>All Others</c:v>
                </c:pt>
                <c:pt idx="618">
                  <c:v>Milleret: A</c:v>
                </c:pt>
                <c:pt idx="619">
                  <c:v>All Others</c:v>
                </c:pt>
                <c:pt idx="620">
                  <c:v>All Others</c:v>
                </c:pt>
                <c:pt idx="621">
                  <c:v>Entremont</c:v>
                </c:pt>
                <c:pt idx="622">
                  <c:v>Entremont</c:v>
                </c:pt>
                <c:pt idx="623">
                  <c:v>All Others</c:v>
                </c:pt>
                <c:pt idx="624">
                  <c:v>All Others</c:v>
                </c:pt>
                <c:pt idx="625">
                  <c:v>Galbani</c:v>
                </c:pt>
                <c:pt idx="626">
                  <c:v>Soignon</c:v>
                </c:pt>
                <c:pt idx="627">
                  <c:v>Soignon</c:v>
                </c:pt>
                <c:pt idx="628">
                  <c:v>All Others</c:v>
                </c:pt>
                <c:pt idx="629">
                  <c:v>All Others</c:v>
                </c:pt>
                <c:pt idx="630">
                  <c:v>Private Lab</c:v>
                </c:pt>
                <c:pt idx="631">
                  <c:v>All Others</c:v>
                </c:pt>
                <c:pt idx="632">
                  <c:v>La Belle Et</c:v>
                </c:pt>
                <c:pt idx="633">
                  <c:v>Bresse Bleu</c:v>
                </c:pt>
                <c:pt idx="634">
                  <c:v>Pochat</c:v>
                </c:pt>
                <c:pt idx="635">
                  <c:v>Savencia: A</c:v>
                </c:pt>
                <c:pt idx="636">
                  <c:v>Triballat N</c:v>
                </c:pt>
                <c:pt idx="637">
                  <c:v>Savencia: A</c:v>
                </c:pt>
                <c:pt idx="638">
                  <c:v>Etoile Du V</c:v>
                </c:pt>
                <c:pt idx="639">
                  <c:v>All Others</c:v>
                </c:pt>
                <c:pt idx="640">
                  <c:v>Savencia: A</c:v>
                </c:pt>
                <c:pt idx="641">
                  <c:v>Societe</c:v>
                </c:pt>
                <c:pt idx="642">
                  <c:v>Milleret: A</c:v>
                </c:pt>
                <c:pt idx="643">
                  <c:v>Nurishh</c:v>
                </c:pt>
                <c:pt idx="644">
                  <c:v>Richesmonts</c:v>
                </c:pt>
                <c:pt idx="645">
                  <c:v>All Others</c:v>
                </c:pt>
                <c:pt idx="646">
                  <c:v>Richesmonts</c:v>
                </c:pt>
                <c:pt idx="647">
                  <c:v>All Others</c:v>
                </c:pt>
                <c:pt idx="648">
                  <c:v>Paysan Bret</c:v>
                </c:pt>
                <c:pt idx="649">
                  <c:v>L'Ortolan</c:v>
                </c:pt>
                <c:pt idx="650">
                  <c:v>All Others</c:v>
                </c:pt>
                <c:pt idx="651">
                  <c:v>President</c:v>
                </c:pt>
                <c:pt idx="652">
                  <c:v>All Others</c:v>
                </c:pt>
                <c:pt idx="653">
                  <c:v>Lactalis: A</c:v>
                </c:pt>
                <c:pt idx="654">
                  <c:v>Boursin</c:v>
                </c:pt>
                <c:pt idx="655">
                  <c:v>All Others</c:v>
                </c:pt>
                <c:pt idx="656">
                  <c:v>Eurial Autr</c:v>
                </c:pt>
                <c:pt idx="657">
                  <c:v>All Others</c:v>
                </c:pt>
                <c:pt idx="658">
                  <c:v>Private Lab</c:v>
                </c:pt>
                <c:pt idx="659">
                  <c:v>All Others</c:v>
                </c:pt>
                <c:pt idx="660">
                  <c:v>All Others</c:v>
                </c:pt>
                <c:pt idx="661">
                  <c:v>Le Rustique</c:v>
                </c:pt>
                <c:pt idx="662">
                  <c:v>Paysan Bret</c:v>
                </c:pt>
                <c:pt idx="663">
                  <c:v>All Others</c:v>
                </c:pt>
                <c:pt idx="664">
                  <c:v>All Others</c:v>
                </c:pt>
                <c:pt idx="665">
                  <c:v>All Others</c:v>
                </c:pt>
                <c:pt idx="666">
                  <c:v>Salakis</c:v>
                </c:pt>
                <c:pt idx="667">
                  <c:v>Savencia: A</c:v>
                </c:pt>
                <c:pt idx="668">
                  <c:v>All Others</c:v>
                </c:pt>
                <c:pt idx="669">
                  <c:v>Soignon</c:v>
                </c:pt>
                <c:pt idx="670">
                  <c:v>Private Lab</c:v>
                </c:pt>
                <c:pt idx="671">
                  <c:v>Violife</c:v>
                </c:pt>
                <c:pt idx="672">
                  <c:v>All Others</c:v>
                </c:pt>
                <c:pt idx="673">
                  <c:v>All Others</c:v>
                </c:pt>
                <c:pt idx="674">
                  <c:v>All Others</c:v>
                </c:pt>
                <c:pt idx="675">
                  <c:v>All Others</c:v>
                </c:pt>
                <c:pt idx="676">
                  <c:v>All Others</c:v>
                </c:pt>
                <c:pt idx="677">
                  <c:v>Islos</c:v>
                </c:pt>
                <c:pt idx="678">
                  <c:v>All Others</c:v>
                </c:pt>
                <c:pt idx="679">
                  <c:v>All Others</c:v>
                </c:pt>
                <c:pt idx="680">
                  <c:v>All Others</c:v>
                </c:pt>
                <c:pt idx="681">
                  <c:v>Carre Frais</c:v>
                </c:pt>
                <c:pt idx="682">
                  <c:v>Nurishh</c:v>
                </c:pt>
                <c:pt idx="683">
                  <c:v>Triballat N</c:v>
                </c:pt>
                <c:pt idx="684">
                  <c:v>All Others</c:v>
                </c:pt>
                <c:pt idx="685">
                  <c:v>All Others</c:v>
                </c:pt>
                <c:pt idx="686">
                  <c:v>Nurishh</c:v>
                </c:pt>
                <c:pt idx="687">
                  <c:v>All Others</c:v>
                </c:pt>
                <c:pt idx="688">
                  <c:v>All Others</c:v>
                </c:pt>
                <c:pt idx="689">
                  <c:v>All Others</c:v>
                </c:pt>
                <c:pt idx="690">
                  <c:v>All Others</c:v>
                </c:pt>
                <c:pt idx="691">
                  <c:v>Pave D'Affi</c:v>
                </c:pt>
                <c:pt idx="692">
                  <c:v>All Others</c:v>
                </c:pt>
                <c:pt idx="693">
                  <c:v>All Others</c:v>
                </c:pt>
                <c:pt idx="694">
                  <c:v>Entremont</c:v>
                </c:pt>
                <c:pt idx="695">
                  <c:v>Entremont</c:v>
                </c:pt>
                <c:pt idx="696">
                  <c:v>Paturages</c:v>
                </c:pt>
                <c:pt idx="697">
                  <c:v>All Others</c:v>
                </c:pt>
                <c:pt idx="698">
                  <c:v>All Others</c:v>
                </c:pt>
                <c:pt idx="699">
                  <c:v>All Others</c:v>
                </c:pt>
                <c:pt idx="700">
                  <c:v>Lactalis: A</c:v>
                </c:pt>
                <c:pt idx="701">
                  <c:v>All Others</c:v>
                </c:pt>
                <c:pt idx="702">
                  <c:v>All Others</c:v>
                </c:pt>
                <c:pt idx="703">
                  <c:v>All Others</c:v>
                </c:pt>
                <c:pt idx="704">
                  <c:v>Lactalis: A</c:v>
                </c:pt>
                <c:pt idx="705">
                  <c:v>All Others</c:v>
                </c:pt>
                <c:pt idx="706">
                  <c:v>Pochat</c:v>
                </c:pt>
                <c:pt idx="707">
                  <c:v>All Others</c:v>
                </c:pt>
                <c:pt idx="708">
                  <c:v>All Others</c:v>
                </c:pt>
                <c:pt idx="709">
                  <c:v>Violife</c:v>
                </c:pt>
                <c:pt idx="710">
                  <c:v>Le Brebiou</c:v>
                </c:pt>
                <c:pt idx="711">
                  <c:v>All Others</c:v>
                </c:pt>
                <c:pt idx="712">
                  <c:v>All Others</c:v>
                </c:pt>
                <c:pt idx="713">
                  <c:v>Entremont</c:v>
                </c:pt>
                <c:pt idx="714">
                  <c:v>All Others</c:v>
                </c:pt>
                <c:pt idx="715">
                  <c:v>All Others</c:v>
                </c:pt>
                <c:pt idx="716">
                  <c:v>All Others</c:v>
                </c:pt>
                <c:pt idx="717">
                  <c:v>Coeur De Li</c:v>
                </c:pt>
                <c:pt idx="718">
                  <c:v>All Others</c:v>
                </c:pt>
                <c:pt idx="719">
                  <c:v>Casa Azzurr</c:v>
                </c:pt>
                <c:pt idx="720">
                  <c:v>All Others</c:v>
                </c:pt>
                <c:pt idx="721">
                  <c:v>Boursin</c:v>
                </c:pt>
                <c:pt idx="722">
                  <c:v>All Others</c:v>
                </c:pt>
                <c:pt idx="723">
                  <c:v>President</c:v>
                </c:pt>
                <c:pt idx="724">
                  <c:v>Soignon</c:v>
                </c:pt>
                <c:pt idx="725">
                  <c:v>Paysan Bret</c:v>
                </c:pt>
                <c:pt idx="726">
                  <c:v>Etoile Du V</c:v>
                </c:pt>
                <c:pt idx="727">
                  <c:v>All Others</c:v>
                </c:pt>
                <c:pt idx="728">
                  <c:v>Etoile Du V</c:v>
                </c:pt>
                <c:pt idx="729">
                  <c:v>Etoile Du V</c:v>
                </c:pt>
                <c:pt idx="730">
                  <c:v>All Others</c:v>
                </c:pt>
                <c:pt idx="731">
                  <c:v>Etoile Du V</c:v>
                </c:pt>
                <c:pt idx="732">
                  <c:v>All Others</c:v>
                </c:pt>
                <c:pt idx="733">
                  <c:v>Fol Epi</c:v>
                </c:pt>
                <c:pt idx="734">
                  <c:v>Caprice Des</c:v>
                </c:pt>
                <c:pt idx="735">
                  <c:v>All Others</c:v>
                </c:pt>
                <c:pt idx="736">
                  <c:v>All Others</c:v>
                </c:pt>
                <c:pt idx="737">
                  <c:v>Etoile Du V</c:v>
                </c:pt>
                <c:pt idx="738">
                  <c:v>Apericube</c:v>
                </c:pt>
                <c:pt idx="739">
                  <c:v>All Others</c:v>
                </c:pt>
                <c:pt idx="740">
                  <c:v>P'Tit Louis</c:v>
                </c:pt>
                <c:pt idx="741">
                  <c:v>Pochat</c:v>
                </c:pt>
                <c:pt idx="742">
                  <c:v>Entremont</c:v>
                </c:pt>
                <c:pt idx="743">
                  <c:v>Nurishh</c:v>
                </c:pt>
                <c:pt idx="744">
                  <c:v>Nurishh</c:v>
                </c:pt>
                <c:pt idx="745">
                  <c:v>All Others</c:v>
                </c:pt>
                <c:pt idx="746">
                  <c:v>Ids</c:v>
                </c:pt>
                <c:pt idx="747">
                  <c:v>Boursin</c:v>
                </c:pt>
                <c:pt idx="748">
                  <c:v>Milleret: A</c:v>
                </c:pt>
                <c:pt idx="749">
                  <c:v>Milleret: A</c:v>
                </c:pt>
                <c:pt idx="750">
                  <c:v>All Others</c:v>
                </c:pt>
                <c:pt idx="751">
                  <c:v>All Others</c:v>
                </c:pt>
                <c:pt idx="752">
                  <c:v>All Others</c:v>
                </c:pt>
                <c:pt idx="753">
                  <c:v>All Others</c:v>
                </c:pt>
                <c:pt idx="754">
                  <c:v>Apericube</c:v>
                </c:pt>
                <c:pt idx="755">
                  <c:v>Milleret: A</c:v>
                </c:pt>
                <c:pt idx="756">
                  <c:v>La Belle Et</c:v>
                </c:pt>
                <c:pt idx="757">
                  <c:v>Istara</c:v>
                </c:pt>
                <c:pt idx="758">
                  <c:v>Mini Babybe</c:v>
                </c:pt>
                <c:pt idx="759">
                  <c:v>All Others</c:v>
                </c:pt>
                <c:pt idx="760">
                  <c:v>All Others</c:v>
                </c:pt>
                <c:pt idx="761">
                  <c:v>All Others</c:v>
                </c:pt>
                <c:pt idx="762">
                  <c:v>Private Lab</c:v>
                </c:pt>
                <c:pt idx="763">
                  <c:v>Lactalis: A</c:v>
                </c:pt>
                <c:pt idx="764">
                  <c:v>All Others</c:v>
                </c:pt>
                <c:pt idx="765">
                  <c:v>All Others</c:v>
                </c:pt>
                <c:pt idx="766">
                  <c:v>Entremont</c:v>
                </c:pt>
                <c:pt idx="767">
                  <c:v>Fauquet</c:v>
                </c:pt>
                <c:pt idx="768">
                  <c:v>Bresse Bleu</c:v>
                </c:pt>
                <c:pt idx="769">
                  <c:v>Lactalis: A</c:v>
                </c:pt>
                <c:pt idx="770">
                  <c:v>Savencia: A</c:v>
                </c:pt>
                <c:pt idx="771">
                  <c:v>All Others</c:v>
                </c:pt>
                <c:pt idx="772">
                  <c:v>Mini Babybe</c:v>
                </c:pt>
                <c:pt idx="773">
                  <c:v>All Others</c:v>
                </c:pt>
                <c:pt idx="774">
                  <c:v>Nurishh</c:v>
                </c:pt>
                <c:pt idx="775">
                  <c:v>All Others</c:v>
                </c:pt>
                <c:pt idx="776">
                  <c:v>All Others</c:v>
                </c:pt>
                <c:pt idx="777">
                  <c:v>All Others</c:v>
                </c:pt>
                <c:pt idx="778">
                  <c:v>All Others</c:v>
                </c:pt>
                <c:pt idx="779">
                  <c:v>All Others</c:v>
                </c:pt>
                <c:pt idx="780">
                  <c:v>Casa Azzurr</c:v>
                </c:pt>
                <c:pt idx="781">
                  <c:v>All Others</c:v>
                </c:pt>
                <c:pt idx="782">
                  <c:v>Saint Agur</c:v>
                </c:pt>
                <c:pt idx="783">
                  <c:v>All Others</c:v>
                </c:pt>
                <c:pt idx="784">
                  <c:v>All Others</c:v>
                </c:pt>
                <c:pt idx="785">
                  <c:v>St Moret</c:v>
                </c:pt>
                <c:pt idx="786">
                  <c:v>Entremont</c:v>
                </c:pt>
                <c:pt idx="787">
                  <c:v>Aperivrais</c:v>
                </c:pt>
                <c:pt idx="788">
                  <c:v>All Others</c:v>
                </c:pt>
                <c:pt idx="789">
                  <c:v>Chavroux</c:v>
                </c:pt>
                <c:pt idx="790">
                  <c:v>Paysan Bret</c:v>
                </c:pt>
                <c:pt idx="791">
                  <c:v>All Others</c:v>
                </c:pt>
                <c:pt idx="792">
                  <c:v>All Others</c:v>
                </c:pt>
                <c:pt idx="793">
                  <c:v>All Others</c:v>
                </c:pt>
                <c:pt idx="794">
                  <c:v>All Others</c:v>
                </c:pt>
                <c:pt idx="795">
                  <c:v>All Others</c:v>
                </c:pt>
                <c:pt idx="796">
                  <c:v>All Others</c:v>
                </c:pt>
                <c:pt idx="797">
                  <c:v>Casa Azzurr</c:v>
                </c:pt>
                <c:pt idx="798">
                  <c:v>All Others</c:v>
                </c:pt>
                <c:pt idx="799">
                  <c:v>All Others</c:v>
                </c:pt>
                <c:pt idx="800">
                  <c:v>All Others</c:v>
                </c:pt>
                <c:pt idx="801">
                  <c:v>Saint Agur</c:v>
                </c:pt>
                <c:pt idx="802">
                  <c:v>All Others</c:v>
                </c:pt>
                <c:pt idx="803">
                  <c:v>Boursin</c:v>
                </c:pt>
                <c:pt idx="804">
                  <c:v>Private Lab</c:v>
                </c:pt>
                <c:pt idx="805">
                  <c:v>All Others</c:v>
                </c:pt>
                <c:pt idx="806">
                  <c:v>All Others</c:v>
                </c:pt>
                <c:pt idx="807">
                  <c:v>All Others</c:v>
                </c:pt>
                <c:pt idx="808">
                  <c:v>All Others</c:v>
                </c:pt>
                <c:pt idx="809">
                  <c:v>All Others</c:v>
                </c:pt>
                <c:pt idx="810">
                  <c:v>All Others</c:v>
                </c:pt>
                <c:pt idx="811">
                  <c:v>Saint Albra</c:v>
                </c:pt>
                <c:pt idx="812">
                  <c:v>Richesmonts</c:v>
                </c:pt>
                <c:pt idx="813">
                  <c:v>All Others</c:v>
                </c:pt>
                <c:pt idx="814">
                  <c:v>All Others</c:v>
                </c:pt>
                <c:pt idx="815">
                  <c:v>All Others</c:v>
                </c:pt>
                <c:pt idx="816">
                  <c:v>All Others</c:v>
                </c:pt>
                <c:pt idx="817">
                  <c:v>All Others</c:v>
                </c:pt>
                <c:pt idx="818">
                  <c:v>All Others</c:v>
                </c:pt>
                <c:pt idx="819">
                  <c:v>All Others</c:v>
                </c:pt>
                <c:pt idx="820">
                  <c:v>All Others</c:v>
                </c:pt>
                <c:pt idx="821">
                  <c:v>All Others</c:v>
                </c:pt>
                <c:pt idx="822">
                  <c:v>Lactalis: A</c:v>
                </c:pt>
                <c:pt idx="823">
                  <c:v>All Others</c:v>
                </c:pt>
                <c:pt idx="824">
                  <c:v>All Others</c:v>
                </c:pt>
                <c:pt idx="825">
                  <c:v>All Others</c:v>
                </c:pt>
                <c:pt idx="826">
                  <c:v>All Others</c:v>
                </c:pt>
                <c:pt idx="827">
                  <c:v>President</c:v>
                </c:pt>
                <c:pt idx="828">
                  <c:v>All Others</c:v>
                </c:pt>
                <c:pt idx="829">
                  <c:v>Vieux Pane</c:v>
                </c:pt>
                <c:pt idx="830">
                  <c:v>All Others</c:v>
                </c:pt>
                <c:pt idx="831">
                  <c:v>All Others</c:v>
                </c:pt>
                <c:pt idx="832">
                  <c:v>Tartare</c:v>
                </c:pt>
                <c:pt idx="833">
                  <c:v>Casa Azzur</c:v>
                </c:pt>
                <c:pt idx="834">
                  <c:v>Violife</c:v>
                </c:pt>
                <c:pt idx="835">
                  <c:v>All Others</c:v>
                </c:pt>
                <c:pt idx="836">
                  <c:v>All Others</c:v>
                </c:pt>
                <c:pt idx="837">
                  <c:v>All Others</c:v>
                </c:pt>
                <c:pt idx="838">
                  <c:v>All Others</c:v>
                </c:pt>
                <c:pt idx="839">
                  <c:v>All Others</c:v>
                </c:pt>
                <c:pt idx="840">
                  <c:v>All Others</c:v>
                </c:pt>
                <c:pt idx="841">
                  <c:v>All Others</c:v>
                </c:pt>
                <c:pt idx="842">
                  <c:v>La Belle Et</c:v>
                </c:pt>
                <c:pt idx="843">
                  <c:v>All Others</c:v>
                </c:pt>
                <c:pt idx="844">
                  <c:v>Boursin</c:v>
                </c:pt>
                <c:pt idx="845">
                  <c:v>All Others</c:v>
                </c:pt>
                <c:pt idx="846">
                  <c:v>La Belle Et</c:v>
                </c:pt>
                <c:pt idx="847">
                  <c:v>Etoile Du V</c:v>
                </c:pt>
                <c:pt idx="848">
                  <c:v>All Others</c:v>
                </c:pt>
                <c:pt idx="849">
                  <c:v>All Others</c:v>
                </c:pt>
                <c:pt idx="850">
                  <c:v>All Others</c:v>
                </c:pt>
                <c:pt idx="851">
                  <c:v>Lindahls Pr</c:v>
                </c:pt>
                <c:pt idx="852">
                  <c:v>All Others</c:v>
                </c:pt>
                <c:pt idx="853">
                  <c:v>All Others</c:v>
                </c:pt>
                <c:pt idx="854">
                  <c:v>Savencia: A</c:v>
                </c:pt>
                <c:pt idx="855">
                  <c:v>Aperivrais</c:v>
                </c:pt>
                <c:pt idx="856">
                  <c:v>Richesmonts</c:v>
                </c:pt>
                <c:pt idx="857">
                  <c:v>Entremont</c:v>
                </c:pt>
                <c:pt idx="858">
                  <c:v>All Others</c:v>
                </c:pt>
                <c:pt idx="859">
                  <c:v>All Others</c:v>
                </c:pt>
                <c:pt idx="860">
                  <c:v>All Others</c:v>
                </c:pt>
                <c:pt idx="861">
                  <c:v>All Others</c:v>
                </c:pt>
                <c:pt idx="862">
                  <c:v>All Others</c:v>
                </c:pt>
                <c:pt idx="863">
                  <c:v>La Belle Et</c:v>
                </c:pt>
                <c:pt idx="864">
                  <c:v>All Others</c:v>
                </c:pt>
                <c:pt idx="865">
                  <c:v>Paysan Bret</c:v>
                </c:pt>
                <c:pt idx="866">
                  <c:v>All Others</c:v>
                </c:pt>
                <c:pt idx="867">
                  <c:v>All Others</c:v>
                </c:pt>
                <c:pt idx="868">
                  <c:v>Lactalis: A</c:v>
                </c:pt>
                <c:pt idx="869">
                  <c:v>All Others</c:v>
                </c:pt>
                <c:pt idx="870">
                  <c:v>All Others</c:v>
                </c:pt>
                <c:pt idx="871">
                  <c:v>La Belle Et</c:v>
                </c:pt>
                <c:pt idx="872">
                  <c:v>All Others</c:v>
                </c:pt>
                <c:pt idx="873">
                  <c:v>All Others</c:v>
                </c:pt>
                <c:pt idx="874">
                  <c:v>All Others</c:v>
                </c:pt>
                <c:pt idx="875">
                  <c:v>All Others</c:v>
                </c:pt>
                <c:pt idx="876">
                  <c:v>All Others</c:v>
                </c:pt>
                <c:pt idx="877">
                  <c:v>Entremont</c:v>
                </c:pt>
                <c:pt idx="878">
                  <c:v>All Others</c:v>
                </c:pt>
                <c:pt idx="879">
                  <c:v>All Others</c:v>
                </c:pt>
                <c:pt idx="880">
                  <c:v>All Others</c:v>
                </c:pt>
                <c:pt idx="881">
                  <c:v>All Others</c:v>
                </c:pt>
                <c:pt idx="882">
                  <c:v>All Others</c:v>
                </c:pt>
                <c:pt idx="883">
                  <c:v>All Others</c:v>
                </c:pt>
                <c:pt idx="884">
                  <c:v>President</c:v>
                </c:pt>
                <c:pt idx="885">
                  <c:v>All Others</c:v>
                </c:pt>
                <c:pt idx="886">
                  <c:v>Private Lab</c:v>
                </c:pt>
                <c:pt idx="887">
                  <c:v>All Others</c:v>
                </c:pt>
                <c:pt idx="888">
                  <c:v>All Others</c:v>
                </c:pt>
                <c:pt idx="889">
                  <c:v>All Others</c:v>
                </c:pt>
                <c:pt idx="890">
                  <c:v>La Belle Et</c:v>
                </c:pt>
                <c:pt idx="891">
                  <c:v>All Others</c:v>
                </c:pt>
                <c:pt idx="892">
                  <c:v>All Others</c:v>
                </c:pt>
                <c:pt idx="893">
                  <c:v>All Others</c:v>
                </c:pt>
                <c:pt idx="894">
                  <c:v>All Others</c:v>
                </c:pt>
                <c:pt idx="895">
                  <c:v>Pave D'Affi</c:v>
                </c:pt>
                <c:pt idx="896">
                  <c:v>All Others</c:v>
                </c:pt>
                <c:pt idx="897">
                  <c:v>All Others</c:v>
                </c:pt>
                <c:pt idx="898">
                  <c:v>All Others</c:v>
                </c:pt>
                <c:pt idx="899">
                  <c:v>Boursin</c:v>
                </c:pt>
                <c:pt idx="900">
                  <c:v>All Others</c:v>
                </c:pt>
                <c:pt idx="901">
                  <c:v>La Belle Et</c:v>
                </c:pt>
                <c:pt idx="902">
                  <c:v>Chavroux</c:v>
                </c:pt>
                <c:pt idx="903">
                  <c:v>All Others</c:v>
                </c:pt>
                <c:pt idx="904">
                  <c:v>All Others</c:v>
                </c:pt>
                <c:pt idx="905">
                  <c:v>All Others</c:v>
                </c:pt>
                <c:pt idx="906">
                  <c:v>All Others</c:v>
                </c:pt>
                <c:pt idx="907">
                  <c:v>Etorki</c:v>
                </c:pt>
                <c:pt idx="908">
                  <c:v>Apericube</c:v>
                </c:pt>
                <c:pt idx="909">
                  <c:v>All Others</c:v>
                </c:pt>
                <c:pt idx="910">
                  <c:v>All Others</c:v>
                </c:pt>
                <c:pt idx="911">
                  <c:v>All Others</c:v>
                </c:pt>
                <c:pt idx="912">
                  <c:v>La Belle Et</c:v>
                </c:pt>
                <c:pt idx="913">
                  <c:v>All Others</c:v>
                </c:pt>
                <c:pt idx="914">
                  <c:v>Salakis</c:v>
                </c:pt>
                <c:pt idx="915">
                  <c:v>All Others</c:v>
                </c:pt>
                <c:pt idx="916">
                  <c:v>All Others</c:v>
                </c:pt>
                <c:pt idx="917">
                  <c:v>All Others</c:v>
                </c:pt>
                <c:pt idx="918">
                  <c:v>Entremont</c:v>
                </c:pt>
                <c:pt idx="919">
                  <c:v>Soignon</c:v>
                </c:pt>
                <c:pt idx="920">
                  <c:v>All Others</c:v>
                </c:pt>
                <c:pt idx="921">
                  <c:v>Casa Azzurr</c:v>
                </c:pt>
                <c:pt idx="922">
                  <c:v>All Others</c:v>
                </c:pt>
                <c:pt idx="923">
                  <c:v>All Others</c:v>
                </c:pt>
                <c:pt idx="924">
                  <c:v>All Others</c:v>
                </c:pt>
                <c:pt idx="925">
                  <c:v>Apericube</c:v>
                </c:pt>
                <c:pt idx="926">
                  <c:v>All Others</c:v>
                </c:pt>
                <c:pt idx="927">
                  <c:v>All Others</c:v>
                </c:pt>
                <c:pt idx="928">
                  <c:v>Boursin</c:v>
                </c:pt>
                <c:pt idx="929">
                  <c:v>Salakis</c:v>
                </c:pt>
                <c:pt idx="930">
                  <c:v>All Others</c:v>
                </c:pt>
                <c:pt idx="931">
                  <c:v>All Others</c:v>
                </c:pt>
                <c:pt idx="932">
                  <c:v>All Others</c:v>
                </c:pt>
                <c:pt idx="933">
                  <c:v>Galbani</c:v>
                </c:pt>
                <c:pt idx="934">
                  <c:v>All Others</c:v>
                </c:pt>
                <c:pt idx="935">
                  <c:v>All Others</c:v>
                </c:pt>
                <c:pt idx="936">
                  <c:v>President</c:v>
                </c:pt>
                <c:pt idx="937">
                  <c:v>Boursin</c:v>
                </c:pt>
                <c:pt idx="938">
                  <c:v>Lactalis: A</c:v>
                </c:pt>
                <c:pt idx="939">
                  <c:v>Tartare</c:v>
                </c:pt>
                <c:pt idx="940">
                  <c:v>All Others</c:v>
                </c:pt>
                <c:pt idx="941">
                  <c:v>All Others</c:v>
                </c:pt>
                <c:pt idx="942">
                  <c:v>All Others</c:v>
                </c:pt>
                <c:pt idx="943">
                  <c:v>All Others</c:v>
                </c:pt>
                <c:pt idx="944">
                  <c:v>All Others</c:v>
                </c:pt>
                <c:pt idx="945">
                  <c:v>All Others</c:v>
                </c:pt>
                <c:pt idx="946">
                  <c:v>All Others</c:v>
                </c:pt>
                <c:pt idx="947">
                  <c:v>La Belle Et</c:v>
                </c:pt>
                <c:pt idx="948">
                  <c:v>All Others</c:v>
                </c:pt>
                <c:pt idx="949">
                  <c:v>All Others</c:v>
                </c:pt>
                <c:pt idx="950">
                  <c:v>Lactalis: A</c:v>
                </c:pt>
                <c:pt idx="951">
                  <c:v>All Others</c:v>
                </c:pt>
                <c:pt idx="952">
                  <c:v>Lactalis: A</c:v>
                </c:pt>
                <c:pt idx="953">
                  <c:v>All Others</c:v>
                </c:pt>
                <c:pt idx="954">
                  <c:v>All Others</c:v>
                </c:pt>
                <c:pt idx="955">
                  <c:v>Societe</c:v>
                </c:pt>
                <c:pt idx="956">
                  <c:v>Pave D'Affi</c:v>
                </c:pt>
                <c:pt idx="957">
                  <c:v>All Others</c:v>
                </c:pt>
                <c:pt idx="958">
                  <c:v>All Others</c:v>
                </c:pt>
                <c:pt idx="959">
                  <c:v>All Others</c:v>
                </c:pt>
                <c:pt idx="960">
                  <c:v>All Others</c:v>
                </c:pt>
                <c:pt idx="961">
                  <c:v>All Others</c:v>
                </c:pt>
                <c:pt idx="962">
                  <c:v>All Others</c:v>
                </c:pt>
                <c:pt idx="963">
                  <c:v>All Others</c:v>
                </c:pt>
                <c:pt idx="964">
                  <c:v>All Others</c:v>
                </c:pt>
                <c:pt idx="965">
                  <c:v>Lactalis: A</c:v>
                </c:pt>
                <c:pt idx="966">
                  <c:v>All Others</c:v>
                </c:pt>
                <c:pt idx="967">
                  <c:v>All Others</c:v>
                </c:pt>
                <c:pt idx="968">
                  <c:v>All Others</c:v>
                </c:pt>
                <c:pt idx="969">
                  <c:v>All Others</c:v>
                </c:pt>
                <c:pt idx="970">
                  <c:v>All Others</c:v>
                </c:pt>
                <c:pt idx="971">
                  <c:v>Fol Epi</c:v>
                </c:pt>
                <c:pt idx="972">
                  <c:v>All Others</c:v>
                </c:pt>
                <c:pt idx="973">
                  <c:v>All Others</c:v>
                </c:pt>
                <c:pt idx="974">
                  <c:v>All Others</c:v>
                </c:pt>
                <c:pt idx="975">
                  <c:v>All Others</c:v>
                </c:pt>
                <c:pt idx="976">
                  <c:v>All Others</c:v>
                </c:pt>
                <c:pt idx="977">
                  <c:v>Chaussee Au</c:v>
                </c:pt>
                <c:pt idx="978">
                  <c:v>All Others</c:v>
                </c:pt>
                <c:pt idx="979">
                  <c:v>La Belle Et</c:v>
                </c:pt>
                <c:pt idx="980">
                  <c:v>All Others</c:v>
                </c:pt>
                <c:pt idx="981">
                  <c:v>Savencia: A</c:v>
                </c:pt>
                <c:pt idx="982">
                  <c:v>All Others</c:v>
                </c:pt>
                <c:pt idx="983">
                  <c:v>All Others</c:v>
                </c:pt>
                <c:pt idx="984">
                  <c:v>Coeur Lion</c:v>
                </c:pt>
                <c:pt idx="985">
                  <c:v>All Others</c:v>
                </c:pt>
                <c:pt idx="986">
                  <c:v>All Others</c:v>
                </c:pt>
                <c:pt idx="987">
                  <c:v>Milleret</c:v>
                </c:pt>
                <c:pt idx="988">
                  <c:v>All Others</c:v>
                </c:pt>
                <c:pt idx="989">
                  <c:v>All Others</c:v>
                </c:pt>
                <c:pt idx="990">
                  <c:v>All Others</c:v>
                </c:pt>
                <c:pt idx="991">
                  <c:v>All Others</c:v>
                </c:pt>
                <c:pt idx="992">
                  <c:v>All Others</c:v>
                </c:pt>
                <c:pt idx="993">
                  <c:v>All Others</c:v>
                </c:pt>
                <c:pt idx="994">
                  <c:v>All Others</c:v>
                </c:pt>
                <c:pt idx="995">
                  <c:v>All Others</c:v>
                </c:pt>
                <c:pt idx="996">
                  <c:v>All Others</c:v>
                </c:pt>
                <c:pt idx="997">
                  <c:v>All Others</c:v>
                </c:pt>
                <c:pt idx="998">
                  <c:v>Milleret</c:v>
                </c:pt>
                <c:pt idx="999">
                  <c:v>All Others</c:v>
                </c:pt>
                <c:pt idx="1000">
                  <c:v>All Others</c:v>
                </c:pt>
                <c:pt idx="1001">
                  <c:v>All Others</c:v>
                </c:pt>
                <c:pt idx="1002">
                  <c:v>All Others</c:v>
                </c:pt>
                <c:pt idx="1003">
                  <c:v>All Others</c:v>
                </c:pt>
                <c:pt idx="1004">
                  <c:v>All Others</c:v>
                </c:pt>
                <c:pt idx="1005">
                  <c:v>All Others</c:v>
                </c:pt>
                <c:pt idx="1006">
                  <c:v>All Others</c:v>
                </c:pt>
                <c:pt idx="1007">
                  <c:v>Lactalis: A</c:v>
                </c:pt>
                <c:pt idx="1008">
                  <c:v>All Others</c:v>
                </c:pt>
                <c:pt idx="1009">
                  <c:v>Entremont</c:v>
                </c:pt>
                <c:pt idx="1010">
                  <c:v>All Others</c:v>
                </c:pt>
                <c:pt idx="1011">
                  <c:v>All Others</c:v>
                </c:pt>
                <c:pt idx="1012">
                  <c:v>All Others</c:v>
                </c:pt>
                <c:pt idx="1013">
                  <c:v>All Others</c:v>
                </c:pt>
                <c:pt idx="1014">
                  <c:v>All Others</c:v>
                </c:pt>
                <c:pt idx="1015">
                  <c:v>La Belle Et</c:v>
                </c:pt>
                <c:pt idx="1016">
                  <c:v>All Others</c:v>
                </c:pt>
                <c:pt idx="1017">
                  <c:v>All Others</c:v>
                </c:pt>
                <c:pt idx="1018">
                  <c:v>All Others</c:v>
                </c:pt>
                <c:pt idx="1019">
                  <c:v>All Others</c:v>
                </c:pt>
                <c:pt idx="1020">
                  <c:v>Etoile Du V</c:v>
                </c:pt>
                <c:pt idx="1021">
                  <c:v>All Others</c:v>
                </c:pt>
                <c:pt idx="1022">
                  <c:v>Entremont</c:v>
                </c:pt>
                <c:pt idx="1023">
                  <c:v>All Others</c:v>
                </c:pt>
                <c:pt idx="1024">
                  <c:v>All Others</c:v>
                </c:pt>
                <c:pt idx="1025">
                  <c:v>All Others</c:v>
                </c:pt>
                <c:pt idx="1026">
                  <c:v>All Others</c:v>
                </c:pt>
                <c:pt idx="1027">
                  <c:v>All Others</c:v>
                </c:pt>
                <c:pt idx="1028">
                  <c:v>Richesmonts</c:v>
                </c:pt>
                <c:pt idx="1029">
                  <c:v>Paysan Bret</c:v>
                </c:pt>
                <c:pt idx="1030">
                  <c:v>Aperivrais</c:v>
                </c:pt>
                <c:pt idx="1031">
                  <c:v>All Others</c:v>
                </c:pt>
                <c:pt idx="1032">
                  <c:v>All Others</c:v>
                </c:pt>
                <c:pt idx="1033">
                  <c:v>Lactalis: A</c:v>
                </c:pt>
                <c:pt idx="1034">
                  <c:v>All Others</c:v>
                </c:pt>
                <c:pt idx="1035">
                  <c:v>Entremont</c:v>
                </c:pt>
                <c:pt idx="1036">
                  <c:v>Entremont</c:v>
                </c:pt>
                <c:pt idx="1037">
                  <c:v>All Others</c:v>
                </c:pt>
                <c:pt idx="1038">
                  <c:v>Lactalis: A</c:v>
                </c:pt>
                <c:pt idx="1039">
                  <c:v>All Others</c:v>
                </c:pt>
                <c:pt idx="1040">
                  <c:v>All Others</c:v>
                </c:pt>
                <c:pt idx="1041">
                  <c:v>Tomasoni</c:v>
                </c:pt>
                <c:pt idx="1042">
                  <c:v>All Others</c:v>
                </c:pt>
                <c:pt idx="1043">
                  <c:v>All Others</c:v>
                </c:pt>
                <c:pt idx="1044">
                  <c:v>All Others</c:v>
                </c:pt>
                <c:pt idx="1045">
                  <c:v>All Others</c:v>
                </c:pt>
                <c:pt idx="1046">
                  <c:v>All Others</c:v>
                </c:pt>
                <c:pt idx="1047">
                  <c:v>All Others</c:v>
                </c:pt>
                <c:pt idx="1048">
                  <c:v>Petit Billy</c:v>
                </c:pt>
                <c:pt idx="1049">
                  <c:v>All Others</c:v>
                </c:pt>
                <c:pt idx="1050">
                  <c:v>All Others</c:v>
                </c:pt>
                <c:pt idx="1051">
                  <c:v>Lincet</c:v>
                </c:pt>
                <c:pt idx="1052">
                  <c:v>All Others</c:v>
                </c:pt>
                <c:pt idx="1053">
                  <c:v>All Others</c:v>
                </c:pt>
                <c:pt idx="1054">
                  <c:v>All Others</c:v>
                </c:pt>
                <c:pt idx="1055">
                  <c:v>All Others</c:v>
                </c:pt>
                <c:pt idx="1056">
                  <c:v>All Others</c:v>
                </c:pt>
                <c:pt idx="1057">
                  <c:v>All Others</c:v>
                </c:pt>
                <c:pt idx="1058">
                  <c:v>All Others</c:v>
                </c:pt>
                <c:pt idx="1059">
                  <c:v>All Others</c:v>
                </c:pt>
                <c:pt idx="1060">
                  <c:v>All Others</c:v>
                </c:pt>
                <c:pt idx="1061">
                  <c:v>La Belle Et</c:v>
                </c:pt>
                <c:pt idx="1062">
                  <c:v>All Others</c:v>
                </c:pt>
                <c:pt idx="1063">
                  <c:v>All Others</c:v>
                </c:pt>
                <c:pt idx="1064">
                  <c:v>All Others</c:v>
                </c:pt>
                <c:pt idx="1065">
                  <c:v>All Others</c:v>
                </c:pt>
                <c:pt idx="1066">
                  <c:v>All Others</c:v>
                </c:pt>
                <c:pt idx="1067">
                  <c:v>All Others</c:v>
                </c:pt>
                <c:pt idx="1068">
                  <c:v>All Others</c:v>
                </c:pt>
                <c:pt idx="1069">
                  <c:v>All Others</c:v>
                </c:pt>
                <c:pt idx="1070">
                  <c:v>All Others</c:v>
                </c:pt>
                <c:pt idx="1071">
                  <c:v>All Others</c:v>
                </c:pt>
                <c:pt idx="1072">
                  <c:v>All Others</c:v>
                </c:pt>
                <c:pt idx="1073">
                  <c:v>All Others</c:v>
                </c:pt>
                <c:pt idx="1074">
                  <c:v>All Others</c:v>
                </c:pt>
                <c:pt idx="1075">
                  <c:v>Richesmonts</c:v>
                </c:pt>
                <c:pt idx="1076">
                  <c:v>Fol Epi</c:v>
                </c:pt>
                <c:pt idx="1077">
                  <c:v>All Others</c:v>
                </c:pt>
                <c:pt idx="1078">
                  <c:v>All Others</c:v>
                </c:pt>
                <c:pt idx="1079">
                  <c:v>Dodin</c:v>
                </c:pt>
                <c:pt idx="1080">
                  <c:v>All Others</c:v>
                </c:pt>
                <c:pt idx="1081">
                  <c:v>Entremont</c:v>
                </c:pt>
                <c:pt idx="1082">
                  <c:v>All Others</c:v>
                </c:pt>
                <c:pt idx="1083">
                  <c:v>All Others</c:v>
                </c:pt>
                <c:pt idx="1084">
                  <c:v>All Others</c:v>
                </c:pt>
                <c:pt idx="1085">
                  <c:v>All Others</c:v>
                </c:pt>
                <c:pt idx="1086">
                  <c:v>All Others</c:v>
                </c:pt>
                <c:pt idx="1087">
                  <c:v>All Others</c:v>
                </c:pt>
                <c:pt idx="1088">
                  <c:v>All Others</c:v>
                </c:pt>
                <c:pt idx="1089">
                  <c:v>All Others</c:v>
                </c:pt>
                <c:pt idx="1090">
                  <c:v>All Others</c:v>
                </c:pt>
                <c:pt idx="1091">
                  <c:v>All Others</c:v>
                </c:pt>
                <c:pt idx="1092">
                  <c:v>All Others</c:v>
                </c:pt>
                <c:pt idx="1093">
                  <c:v>All Others</c:v>
                </c:pt>
                <c:pt idx="1094">
                  <c:v>All Others</c:v>
                </c:pt>
                <c:pt idx="1095">
                  <c:v>All Others</c:v>
                </c:pt>
                <c:pt idx="1096">
                  <c:v>All Others</c:v>
                </c:pt>
                <c:pt idx="1097">
                  <c:v>All Others</c:v>
                </c:pt>
                <c:pt idx="1098">
                  <c:v>All Others</c:v>
                </c:pt>
                <c:pt idx="1099">
                  <c:v>All Others</c:v>
                </c:pt>
                <c:pt idx="1100">
                  <c:v>All Others</c:v>
                </c:pt>
                <c:pt idx="1101">
                  <c:v>All Others</c:v>
                </c:pt>
                <c:pt idx="1102">
                  <c:v>All Others</c:v>
                </c:pt>
                <c:pt idx="1103">
                  <c:v>All Others</c:v>
                </c:pt>
                <c:pt idx="1104">
                  <c:v>All Others</c:v>
                </c:pt>
                <c:pt idx="1105">
                  <c:v>All Others</c:v>
                </c:pt>
                <c:pt idx="1106">
                  <c:v>All Others</c:v>
                </c:pt>
                <c:pt idx="1107">
                  <c:v>All Others</c:v>
                </c:pt>
                <c:pt idx="1108">
                  <c:v>Chavroux</c:v>
                </c:pt>
                <c:pt idx="1109">
                  <c:v>All Others</c:v>
                </c:pt>
                <c:pt idx="1110">
                  <c:v>All Others</c:v>
                </c:pt>
                <c:pt idx="1111">
                  <c:v>All Others</c:v>
                </c:pt>
                <c:pt idx="1112">
                  <c:v>All Others</c:v>
                </c:pt>
                <c:pt idx="1113">
                  <c:v>All Others</c:v>
                </c:pt>
                <c:pt idx="1114">
                  <c:v>All Others</c:v>
                </c:pt>
                <c:pt idx="1115">
                  <c:v>All Others</c:v>
                </c:pt>
                <c:pt idx="1116">
                  <c:v>All Others</c:v>
                </c:pt>
                <c:pt idx="1117">
                  <c:v>All Others</c:v>
                </c:pt>
                <c:pt idx="1118">
                  <c:v>All Others</c:v>
                </c:pt>
                <c:pt idx="1119">
                  <c:v>All Others</c:v>
                </c:pt>
                <c:pt idx="1120">
                  <c:v>Paysan Bret</c:v>
                </c:pt>
                <c:pt idx="1121">
                  <c:v>La Belle Et</c:v>
                </c:pt>
                <c:pt idx="1122">
                  <c:v>All Others</c:v>
                </c:pt>
                <c:pt idx="1123">
                  <c:v>All Others</c:v>
                </c:pt>
                <c:pt idx="1124">
                  <c:v>Paysan Bret</c:v>
                </c:pt>
                <c:pt idx="1125">
                  <c:v>All Others</c:v>
                </c:pt>
                <c:pt idx="1126">
                  <c:v>All Others</c:v>
                </c:pt>
                <c:pt idx="1127">
                  <c:v>All Others</c:v>
                </c:pt>
                <c:pt idx="1128">
                  <c:v>All Others</c:v>
                </c:pt>
                <c:pt idx="1129">
                  <c:v>Pave D'Affi</c:v>
                </c:pt>
                <c:pt idx="1130">
                  <c:v>All Others</c:v>
                </c:pt>
                <c:pt idx="1131">
                  <c:v>All Others</c:v>
                </c:pt>
                <c:pt idx="1132">
                  <c:v>All Others</c:v>
                </c:pt>
                <c:pt idx="1133">
                  <c:v>All Others</c:v>
                </c:pt>
                <c:pt idx="1134">
                  <c:v>All Others</c:v>
                </c:pt>
                <c:pt idx="1135">
                  <c:v>Corsica</c:v>
                </c:pt>
                <c:pt idx="1136">
                  <c:v>Lactalis: A</c:v>
                </c:pt>
                <c:pt idx="1137">
                  <c:v>All Others</c:v>
                </c:pt>
                <c:pt idx="1138">
                  <c:v>All Others</c:v>
                </c:pt>
                <c:pt idx="1139">
                  <c:v>All Others</c:v>
                </c:pt>
                <c:pt idx="1140">
                  <c:v>All Others</c:v>
                </c:pt>
                <c:pt idx="1141">
                  <c:v>Rians</c:v>
                </c:pt>
                <c:pt idx="1142">
                  <c:v>Laiteries H</c:v>
                </c:pt>
                <c:pt idx="1143">
                  <c:v>All Others</c:v>
                </c:pt>
                <c:pt idx="1144">
                  <c:v>All Others</c:v>
                </c:pt>
                <c:pt idx="1145">
                  <c:v>All Others</c:v>
                </c:pt>
                <c:pt idx="1146">
                  <c:v>All Others</c:v>
                </c:pt>
                <c:pt idx="1147">
                  <c:v>All Others</c:v>
                </c:pt>
                <c:pt idx="1148">
                  <c:v>Ambrosi</c:v>
                </c:pt>
                <c:pt idx="1149">
                  <c:v>All Others</c:v>
                </c:pt>
                <c:pt idx="1150">
                  <c:v>All Others</c:v>
                </c:pt>
                <c:pt idx="1151">
                  <c:v>All Others</c:v>
                </c:pt>
                <c:pt idx="1152">
                  <c:v>Rians</c:v>
                </c:pt>
                <c:pt idx="1153">
                  <c:v>All Others</c:v>
                </c:pt>
                <c:pt idx="1154">
                  <c:v>All Others</c:v>
                </c:pt>
                <c:pt idx="1155">
                  <c:v>All Others</c:v>
                </c:pt>
                <c:pt idx="1156">
                  <c:v>All Others</c:v>
                </c:pt>
                <c:pt idx="1157">
                  <c:v>All Others</c:v>
                </c:pt>
                <c:pt idx="1158">
                  <c:v>Baillon</c:v>
                </c:pt>
                <c:pt idx="1159">
                  <c:v>Pave D'Affi</c:v>
                </c:pt>
                <c:pt idx="1160">
                  <c:v>All Others</c:v>
                </c:pt>
                <c:pt idx="1161">
                  <c:v>All Others</c:v>
                </c:pt>
                <c:pt idx="1162">
                  <c:v>All Others</c:v>
                </c:pt>
                <c:pt idx="1163">
                  <c:v>Savencia: A</c:v>
                </c:pt>
                <c:pt idx="1164">
                  <c:v>All Others</c:v>
                </c:pt>
                <c:pt idx="1165">
                  <c:v>Savencia: A</c:v>
                </c:pt>
                <c:pt idx="1166">
                  <c:v>All Others</c:v>
                </c:pt>
                <c:pt idx="1167">
                  <c:v>Jperrin</c:v>
                </c:pt>
                <c:pt idx="1168">
                  <c:v>All Others</c:v>
                </c:pt>
                <c:pt idx="1169">
                  <c:v>All Others</c:v>
                </c:pt>
                <c:pt idx="1170">
                  <c:v>All Others</c:v>
                </c:pt>
                <c:pt idx="1171">
                  <c:v>All Others</c:v>
                </c:pt>
                <c:pt idx="1172">
                  <c:v>All Others</c:v>
                </c:pt>
                <c:pt idx="1173">
                  <c:v>All Others</c:v>
                </c:pt>
                <c:pt idx="1174">
                  <c:v>All Others</c:v>
                </c:pt>
                <c:pt idx="1175">
                  <c:v>Etoile Du V</c:v>
                </c:pt>
                <c:pt idx="1176">
                  <c:v>Mini Babybe</c:v>
                </c:pt>
                <c:pt idx="1177">
                  <c:v>All Others</c:v>
                </c:pt>
                <c:pt idx="1178">
                  <c:v>All Others</c:v>
                </c:pt>
                <c:pt idx="1179">
                  <c:v>All Others</c:v>
                </c:pt>
                <c:pt idx="1180">
                  <c:v>All Others</c:v>
                </c:pt>
                <c:pt idx="1181">
                  <c:v>All Others</c:v>
                </c:pt>
                <c:pt idx="1182">
                  <c:v>All Others</c:v>
                </c:pt>
                <c:pt idx="1183">
                  <c:v>All Others</c:v>
                </c:pt>
                <c:pt idx="1184">
                  <c:v>All Others</c:v>
                </c:pt>
                <c:pt idx="1185">
                  <c:v>All Others</c:v>
                </c:pt>
                <c:pt idx="1186">
                  <c:v>Rians</c:v>
                </c:pt>
                <c:pt idx="1187">
                  <c:v>Chirag</c:v>
                </c:pt>
                <c:pt idx="1188">
                  <c:v>All Others</c:v>
                </c:pt>
                <c:pt idx="1189">
                  <c:v>All Others</c:v>
                </c:pt>
                <c:pt idx="1190">
                  <c:v>Violife</c:v>
                </c:pt>
                <c:pt idx="1191">
                  <c:v>All Others</c:v>
                </c:pt>
                <c:pt idx="1192">
                  <c:v>Richesmonts</c:v>
                </c:pt>
                <c:pt idx="1193">
                  <c:v>All Others</c:v>
                </c:pt>
                <c:pt idx="1194">
                  <c:v>Gillot</c:v>
                </c:pt>
                <c:pt idx="1195">
                  <c:v>Gillot</c:v>
                </c:pt>
                <c:pt idx="1196">
                  <c:v>Gillot</c:v>
                </c:pt>
                <c:pt idx="1197">
                  <c:v>Private Lab</c:v>
                </c:pt>
                <c:pt idx="1198">
                  <c:v>All Others</c:v>
                </c:pt>
                <c:pt idx="1199">
                  <c:v>All Others</c:v>
                </c:pt>
                <c:pt idx="1200">
                  <c:v>All Others</c:v>
                </c:pt>
                <c:pt idx="1201">
                  <c:v>Netto</c:v>
                </c:pt>
                <c:pt idx="1202">
                  <c:v>All Others</c:v>
                </c:pt>
                <c:pt idx="1203">
                  <c:v>Private Lab</c:v>
                </c:pt>
                <c:pt idx="1204">
                  <c:v>All Others</c:v>
                </c:pt>
                <c:pt idx="1205">
                  <c:v>All Others</c:v>
                </c:pt>
                <c:pt idx="1206">
                  <c:v>Raguin</c:v>
                </c:pt>
                <c:pt idx="1207">
                  <c:v>All Others</c:v>
                </c:pt>
                <c:pt idx="1208">
                  <c:v>Milleret: A</c:v>
                </c:pt>
                <c:pt idx="1209">
                  <c:v>Private Lab</c:v>
                </c:pt>
                <c:pt idx="1210">
                  <c:v>All Others</c:v>
                </c:pt>
                <c:pt idx="1211">
                  <c:v>All Others</c:v>
                </c:pt>
                <c:pt idx="1212">
                  <c:v>Lactalis: A</c:v>
                </c:pt>
                <c:pt idx="1213">
                  <c:v>All Others</c:v>
                </c:pt>
                <c:pt idx="1214">
                  <c:v>La Vache Qu</c:v>
                </c:pt>
                <c:pt idx="1215">
                  <c:v>All Others</c:v>
                </c:pt>
                <c:pt idx="1216">
                  <c:v>All Others</c:v>
                </c:pt>
                <c:pt idx="1217">
                  <c:v>All Others</c:v>
                </c:pt>
                <c:pt idx="1218">
                  <c:v>All Others</c:v>
                </c:pt>
                <c:pt idx="1219">
                  <c:v>Lactalis: A</c:v>
                </c:pt>
                <c:pt idx="1220">
                  <c:v>Casa Azzur</c:v>
                </c:pt>
                <c:pt idx="1221">
                  <c:v>All Others</c:v>
                </c:pt>
                <c:pt idx="1222">
                  <c:v>Private Lab</c:v>
                </c:pt>
                <c:pt idx="1223">
                  <c:v>All Others</c:v>
                </c:pt>
                <c:pt idx="1224">
                  <c:v>All Others</c:v>
                </c:pt>
                <c:pt idx="1225">
                  <c:v>All Others</c:v>
                </c:pt>
                <c:pt idx="1226">
                  <c:v>All Others</c:v>
                </c:pt>
                <c:pt idx="1227">
                  <c:v>Alsacelait</c:v>
                </c:pt>
                <c:pt idx="1228">
                  <c:v>All Others</c:v>
                </c:pt>
                <c:pt idx="1229">
                  <c:v>Savencia: A</c:v>
                </c:pt>
                <c:pt idx="1230">
                  <c:v>British H</c:v>
                </c:pt>
                <c:pt idx="1231">
                  <c:v>All Others</c:v>
                </c:pt>
                <c:pt idx="1232">
                  <c:v>All Others</c:v>
                </c:pt>
                <c:pt idx="1233">
                  <c:v>Jperrin</c:v>
                </c:pt>
                <c:pt idx="1234">
                  <c:v>Raguin</c:v>
                </c:pt>
                <c:pt idx="1235">
                  <c:v>All Others</c:v>
                </c:pt>
                <c:pt idx="1236">
                  <c:v>All Others</c:v>
                </c:pt>
                <c:pt idx="1237">
                  <c:v>All Others</c:v>
                </c:pt>
                <c:pt idx="1238">
                  <c:v>Private Lab</c:v>
                </c:pt>
                <c:pt idx="1239">
                  <c:v>Gillot</c:v>
                </c:pt>
                <c:pt idx="1240">
                  <c:v>All Others</c:v>
                </c:pt>
                <c:pt idx="1241">
                  <c:v>Ambrosi</c:v>
                </c:pt>
                <c:pt idx="1242">
                  <c:v>Private Lab</c:v>
                </c:pt>
                <c:pt idx="1243">
                  <c:v>All Others</c:v>
                </c:pt>
                <c:pt idx="1244">
                  <c:v>La Vache Qu</c:v>
                </c:pt>
                <c:pt idx="1245">
                  <c:v>All Others</c:v>
                </c:pt>
                <c:pt idx="1246">
                  <c:v>All Others</c:v>
                </c:pt>
                <c:pt idx="1247">
                  <c:v>All Others</c:v>
                </c:pt>
                <c:pt idx="1248">
                  <c:v>All Others</c:v>
                </c:pt>
                <c:pt idx="1249">
                  <c:v>All Others</c:v>
                </c:pt>
                <c:pt idx="1250">
                  <c:v>Netto</c:v>
                </c:pt>
                <c:pt idx="1251">
                  <c:v>All Others</c:v>
                </c:pt>
                <c:pt idx="1252">
                  <c:v>President</c:v>
                </c:pt>
                <c:pt idx="1253">
                  <c:v>All Others</c:v>
                </c:pt>
                <c:pt idx="1254">
                  <c:v>Kiri</c:v>
                </c:pt>
                <c:pt idx="1255">
                  <c:v>All Others</c:v>
                </c:pt>
                <c:pt idx="1256">
                  <c:v>All Others</c:v>
                </c:pt>
                <c:pt idx="1257">
                  <c:v>La Vache Qu</c:v>
                </c:pt>
                <c:pt idx="1258">
                  <c:v>All Others</c:v>
                </c:pt>
                <c:pt idx="1259">
                  <c:v>All Others</c:v>
                </c:pt>
                <c:pt idx="1260">
                  <c:v>All Others</c:v>
                </c:pt>
                <c:pt idx="1261">
                  <c:v>La Vache Qu</c:v>
                </c:pt>
              </c:strCache>
            </c:strRef>
          </c:cat>
          <c:val>
            <c:numRef>
              <c:f>Sheet1!$B$2:$B$1263</c:f>
              <c:numCache>
                <c:formatCode>General</c:formatCode>
                <c:ptCount val="1262"/>
                <c:pt idx="0">
                  <c:v>0.99</c:v>
                </c:pt>
                <c:pt idx="1">
                  <c:v>0.99</c:v>
                </c:pt>
                <c:pt idx="2">
                  <c:v>0.98</c:v>
                </c:pt>
                <c:pt idx="3">
                  <c:v>0.99</c:v>
                </c:pt>
                <c:pt idx="4">
                  <c:v>0.99</c:v>
                </c:pt>
                <c:pt idx="5">
                  <c:v>1.0</c:v>
                </c:pt>
                <c:pt idx="6">
                  <c:v>0.99</c:v>
                </c:pt>
                <c:pt idx="7">
                  <c:v>0.99</c:v>
                </c:pt>
                <c:pt idx="8">
                  <c:v>0.94</c:v>
                </c:pt>
                <c:pt idx="9">
                  <c:v>0.93</c:v>
                </c:pt>
                <c:pt idx="10">
                  <c:v>0.98</c:v>
                </c:pt>
                <c:pt idx="11">
                  <c:v>0.69</c:v>
                </c:pt>
                <c:pt idx="12">
                  <c:v>1.0</c:v>
                </c:pt>
                <c:pt idx="13">
                  <c:v>1.0</c:v>
                </c:pt>
                <c:pt idx="14">
                  <c:v>0.98</c:v>
                </c:pt>
                <c:pt idx="15">
                  <c:v>0.96</c:v>
                </c:pt>
                <c:pt idx="16">
                  <c:v>0.98</c:v>
                </c:pt>
                <c:pt idx="17">
                  <c:v>0.79</c:v>
                </c:pt>
                <c:pt idx="18">
                  <c:v>0.99</c:v>
                </c:pt>
                <c:pt idx="19">
                  <c:v>1.0</c:v>
                </c:pt>
                <c:pt idx="20">
                  <c:v>0.97</c:v>
                </c:pt>
                <c:pt idx="21">
                  <c:v>0.99</c:v>
                </c:pt>
                <c:pt idx="22">
                  <c:v>0.99</c:v>
                </c:pt>
                <c:pt idx="23">
                  <c:v>0.99</c:v>
                </c:pt>
                <c:pt idx="24">
                  <c:v>0.94</c:v>
                </c:pt>
                <c:pt idx="25">
                  <c:v>0.94</c:v>
                </c:pt>
                <c:pt idx="26">
                  <c:v>0.97</c:v>
                </c:pt>
                <c:pt idx="27">
                  <c:v>0.98</c:v>
                </c:pt>
                <c:pt idx="28">
                  <c:v>0.97</c:v>
                </c:pt>
                <c:pt idx="29">
                  <c:v>0.94</c:v>
                </c:pt>
                <c:pt idx="30">
                  <c:v>0.88</c:v>
                </c:pt>
                <c:pt idx="31">
                  <c:v>0.91</c:v>
                </c:pt>
                <c:pt idx="32">
                  <c:v>0.98</c:v>
                </c:pt>
                <c:pt idx="33">
                  <c:v>0.74</c:v>
                </c:pt>
                <c:pt idx="34">
                  <c:v>0.96</c:v>
                </c:pt>
                <c:pt idx="35">
                  <c:v>0.98</c:v>
                </c:pt>
                <c:pt idx="36">
                  <c:v>0.99</c:v>
                </c:pt>
                <c:pt idx="37">
                  <c:v>0.99</c:v>
                </c:pt>
                <c:pt idx="38">
                  <c:v>0.97</c:v>
                </c:pt>
                <c:pt idx="39">
                  <c:v>0.98</c:v>
                </c:pt>
                <c:pt idx="40">
                  <c:v>0.89</c:v>
                </c:pt>
                <c:pt idx="41">
                  <c:v>0.98</c:v>
                </c:pt>
                <c:pt idx="42">
                  <c:v>0.97</c:v>
                </c:pt>
                <c:pt idx="43">
                  <c:v>0.98</c:v>
                </c:pt>
                <c:pt idx="44">
                  <c:v>0.99</c:v>
                </c:pt>
                <c:pt idx="45">
                  <c:v>0.88</c:v>
                </c:pt>
                <c:pt idx="46">
                  <c:v>0.93</c:v>
                </c:pt>
                <c:pt idx="47">
                  <c:v>0.95</c:v>
                </c:pt>
                <c:pt idx="48">
                  <c:v>0.97</c:v>
                </c:pt>
                <c:pt idx="49">
                  <c:v>0.94</c:v>
                </c:pt>
                <c:pt idx="50">
                  <c:v>0.95</c:v>
                </c:pt>
                <c:pt idx="51">
                  <c:v>0.97</c:v>
                </c:pt>
                <c:pt idx="52">
                  <c:v>0.95</c:v>
                </c:pt>
                <c:pt idx="53">
                  <c:v>0.91</c:v>
                </c:pt>
                <c:pt idx="54">
                  <c:v>0.97</c:v>
                </c:pt>
                <c:pt idx="55">
                  <c:v>0.99</c:v>
                </c:pt>
                <c:pt idx="56">
                  <c:v>0.98</c:v>
                </c:pt>
                <c:pt idx="57">
                  <c:v>0.91</c:v>
                </c:pt>
                <c:pt idx="58">
                  <c:v>0.9</c:v>
                </c:pt>
                <c:pt idx="59">
                  <c:v>1.0</c:v>
                </c:pt>
                <c:pt idx="60">
                  <c:v>0.99</c:v>
                </c:pt>
                <c:pt idx="61">
                  <c:v>0.78</c:v>
                </c:pt>
                <c:pt idx="62">
                  <c:v>0.92</c:v>
                </c:pt>
                <c:pt idx="63">
                  <c:v>0.97</c:v>
                </c:pt>
                <c:pt idx="64">
                  <c:v>0.95</c:v>
                </c:pt>
                <c:pt idx="65">
                  <c:v>0.98</c:v>
                </c:pt>
                <c:pt idx="66">
                  <c:v>0.68</c:v>
                </c:pt>
                <c:pt idx="67">
                  <c:v>0.94</c:v>
                </c:pt>
                <c:pt idx="68">
                  <c:v>0.92</c:v>
                </c:pt>
                <c:pt idx="69">
                  <c:v>0.93</c:v>
                </c:pt>
                <c:pt idx="70">
                  <c:v>0.84</c:v>
                </c:pt>
                <c:pt idx="71">
                  <c:v>0.99</c:v>
                </c:pt>
                <c:pt idx="72">
                  <c:v>0.76</c:v>
                </c:pt>
                <c:pt idx="73">
                  <c:v>0.85</c:v>
                </c:pt>
                <c:pt idx="74">
                  <c:v>0.84</c:v>
                </c:pt>
                <c:pt idx="75">
                  <c:v>0.97</c:v>
                </c:pt>
                <c:pt idx="76">
                  <c:v>0.76</c:v>
                </c:pt>
                <c:pt idx="77">
                  <c:v>0.97</c:v>
                </c:pt>
                <c:pt idx="78">
                  <c:v>0.76</c:v>
                </c:pt>
                <c:pt idx="79">
                  <c:v>0.97</c:v>
                </c:pt>
                <c:pt idx="80">
                  <c:v>0.85</c:v>
                </c:pt>
                <c:pt idx="81">
                  <c:v>0.98</c:v>
                </c:pt>
                <c:pt idx="82">
                  <c:v>0.94</c:v>
                </c:pt>
                <c:pt idx="83">
                  <c:v>0.82</c:v>
                </c:pt>
                <c:pt idx="84">
                  <c:v>0.91</c:v>
                </c:pt>
                <c:pt idx="85">
                  <c:v>0.91</c:v>
                </c:pt>
                <c:pt idx="86">
                  <c:v>0.86</c:v>
                </c:pt>
                <c:pt idx="87">
                  <c:v>0.93</c:v>
                </c:pt>
                <c:pt idx="88">
                  <c:v>0.98</c:v>
                </c:pt>
                <c:pt idx="89">
                  <c:v>0.64</c:v>
                </c:pt>
                <c:pt idx="90">
                  <c:v>0.87</c:v>
                </c:pt>
                <c:pt idx="91">
                  <c:v>0.97</c:v>
                </c:pt>
                <c:pt idx="92">
                  <c:v>0.96</c:v>
                </c:pt>
                <c:pt idx="93">
                  <c:v>0.68</c:v>
                </c:pt>
                <c:pt idx="94">
                  <c:v>0.73</c:v>
                </c:pt>
                <c:pt idx="95">
                  <c:v>0.94</c:v>
                </c:pt>
                <c:pt idx="96">
                  <c:v>0.92</c:v>
                </c:pt>
                <c:pt idx="97">
                  <c:v>0.95</c:v>
                </c:pt>
                <c:pt idx="98">
                  <c:v>0.79</c:v>
                </c:pt>
                <c:pt idx="99">
                  <c:v>0.86</c:v>
                </c:pt>
                <c:pt idx="100">
                  <c:v>0.94</c:v>
                </c:pt>
                <c:pt idx="101">
                  <c:v>0.74</c:v>
                </c:pt>
                <c:pt idx="102">
                  <c:v>0.9</c:v>
                </c:pt>
                <c:pt idx="103">
                  <c:v>0.83</c:v>
                </c:pt>
                <c:pt idx="104">
                  <c:v>0.72</c:v>
                </c:pt>
                <c:pt idx="105">
                  <c:v>0.96</c:v>
                </c:pt>
                <c:pt idx="106">
                  <c:v>0.67</c:v>
                </c:pt>
                <c:pt idx="107">
                  <c:v>0.95</c:v>
                </c:pt>
                <c:pt idx="108">
                  <c:v>0.7</c:v>
                </c:pt>
                <c:pt idx="109">
                  <c:v>0.98</c:v>
                </c:pt>
                <c:pt idx="110">
                  <c:v>0.68</c:v>
                </c:pt>
                <c:pt idx="111">
                  <c:v>0.87</c:v>
                </c:pt>
                <c:pt idx="112">
                  <c:v>0.96</c:v>
                </c:pt>
                <c:pt idx="113">
                  <c:v>0.72</c:v>
                </c:pt>
                <c:pt idx="114">
                  <c:v>0.87</c:v>
                </c:pt>
                <c:pt idx="115">
                  <c:v>0.92</c:v>
                </c:pt>
                <c:pt idx="116">
                  <c:v>0.85</c:v>
                </c:pt>
                <c:pt idx="117">
                  <c:v>0.68</c:v>
                </c:pt>
                <c:pt idx="118">
                  <c:v>0.91</c:v>
                </c:pt>
                <c:pt idx="119">
                  <c:v>0.98</c:v>
                </c:pt>
                <c:pt idx="120">
                  <c:v>0.95</c:v>
                </c:pt>
                <c:pt idx="121">
                  <c:v>0.91</c:v>
                </c:pt>
                <c:pt idx="122">
                  <c:v>0.89</c:v>
                </c:pt>
                <c:pt idx="123">
                  <c:v>0.92</c:v>
                </c:pt>
                <c:pt idx="124">
                  <c:v>0.88</c:v>
                </c:pt>
                <c:pt idx="125">
                  <c:v>0.98</c:v>
                </c:pt>
                <c:pt idx="126">
                  <c:v>0.74</c:v>
                </c:pt>
                <c:pt idx="127">
                  <c:v>0.85</c:v>
                </c:pt>
                <c:pt idx="128">
                  <c:v>0.63</c:v>
                </c:pt>
                <c:pt idx="129">
                  <c:v>0.98</c:v>
                </c:pt>
                <c:pt idx="130">
                  <c:v>0.9</c:v>
                </c:pt>
                <c:pt idx="131">
                  <c:v>0.75</c:v>
                </c:pt>
                <c:pt idx="132">
                  <c:v>0.7</c:v>
                </c:pt>
                <c:pt idx="133">
                  <c:v>0.91</c:v>
                </c:pt>
                <c:pt idx="134">
                  <c:v>0.66</c:v>
                </c:pt>
                <c:pt idx="135">
                  <c:v>0.74</c:v>
                </c:pt>
                <c:pt idx="136">
                  <c:v>0.47</c:v>
                </c:pt>
                <c:pt idx="137">
                  <c:v>0.83</c:v>
                </c:pt>
                <c:pt idx="138">
                  <c:v>0.69</c:v>
                </c:pt>
                <c:pt idx="139">
                  <c:v>0.61</c:v>
                </c:pt>
                <c:pt idx="140">
                  <c:v>0.63</c:v>
                </c:pt>
                <c:pt idx="141">
                  <c:v>0.9</c:v>
                </c:pt>
                <c:pt idx="142">
                  <c:v>0.85</c:v>
                </c:pt>
                <c:pt idx="143">
                  <c:v>0.98</c:v>
                </c:pt>
                <c:pt idx="144">
                  <c:v>0.95</c:v>
                </c:pt>
                <c:pt idx="145">
                  <c:v>0.85</c:v>
                </c:pt>
                <c:pt idx="146">
                  <c:v>0.84</c:v>
                </c:pt>
                <c:pt idx="147">
                  <c:v>0.92</c:v>
                </c:pt>
                <c:pt idx="148">
                  <c:v>0.53</c:v>
                </c:pt>
                <c:pt idx="149">
                  <c:v>0.63</c:v>
                </c:pt>
                <c:pt idx="150">
                  <c:v>0.82</c:v>
                </c:pt>
                <c:pt idx="151">
                  <c:v>0.77</c:v>
                </c:pt>
                <c:pt idx="152">
                  <c:v>0.76</c:v>
                </c:pt>
                <c:pt idx="153">
                  <c:v>0.72</c:v>
                </c:pt>
                <c:pt idx="154">
                  <c:v>0.86</c:v>
                </c:pt>
                <c:pt idx="155">
                  <c:v>0.62</c:v>
                </c:pt>
                <c:pt idx="156">
                  <c:v>0.84</c:v>
                </c:pt>
                <c:pt idx="157">
                  <c:v>0.8</c:v>
                </c:pt>
                <c:pt idx="158">
                  <c:v>0.92</c:v>
                </c:pt>
                <c:pt idx="159">
                  <c:v>0.75</c:v>
                </c:pt>
                <c:pt idx="160">
                  <c:v>0.79</c:v>
                </c:pt>
                <c:pt idx="161">
                  <c:v>0.64</c:v>
                </c:pt>
                <c:pt idx="162">
                  <c:v>0.37</c:v>
                </c:pt>
                <c:pt idx="163">
                  <c:v>0.93</c:v>
                </c:pt>
                <c:pt idx="164">
                  <c:v>0.88</c:v>
                </c:pt>
                <c:pt idx="165">
                  <c:v>0.87</c:v>
                </c:pt>
                <c:pt idx="166">
                  <c:v>0.86</c:v>
                </c:pt>
                <c:pt idx="167">
                  <c:v>0.52</c:v>
                </c:pt>
                <c:pt idx="168">
                  <c:v>0.9</c:v>
                </c:pt>
                <c:pt idx="169">
                  <c:v>0.97</c:v>
                </c:pt>
                <c:pt idx="170">
                  <c:v>0.81</c:v>
                </c:pt>
                <c:pt idx="171">
                  <c:v>0.35</c:v>
                </c:pt>
                <c:pt idx="172">
                  <c:v>0.96</c:v>
                </c:pt>
                <c:pt idx="173">
                  <c:v>0.81</c:v>
                </c:pt>
                <c:pt idx="174">
                  <c:v>0.93</c:v>
                </c:pt>
                <c:pt idx="175">
                  <c:v>0.75</c:v>
                </c:pt>
                <c:pt idx="176">
                  <c:v>0.8</c:v>
                </c:pt>
                <c:pt idx="177">
                  <c:v>0.93</c:v>
                </c:pt>
                <c:pt idx="178">
                  <c:v>0.64</c:v>
                </c:pt>
                <c:pt idx="179">
                  <c:v>0.75</c:v>
                </c:pt>
                <c:pt idx="180">
                  <c:v>0.6</c:v>
                </c:pt>
                <c:pt idx="181">
                  <c:v>0.85</c:v>
                </c:pt>
                <c:pt idx="182">
                  <c:v>0.56</c:v>
                </c:pt>
                <c:pt idx="183">
                  <c:v>0.63</c:v>
                </c:pt>
                <c:pt idx="184">
                  <c:v>0.81</c:v>
                </c:pt>
                <c:pt idx="185">
                  <c:v>0.89</c:v>
                </c:pt>
                <c:pt idx="186">
                  <c:v>0.53</c:v>
                </c:pt>
                <c:pt idx="187">
                  <c:v>0.85</c:v>
                </c:pt>
                <c:pt idx="188">
                  <c:v>0.85</c:v>
                </c:pt>
                <c:pt idx="189">
                  <c:v>0.87</c:v>
                </c:pt>
                <c:pt idx="190">
                  <c:v>0.75</c:v>
                </c:pt>
                <c:pt idx="191">
                  <c:v>0.68</c:v>
                </c:pt>
                <c:pt idx="192">
                  <c:v>0.7</c:v>
                </c:pt>
                <c:pt idx="193">
                  <c:v>0.81</c:v>
                </c:pt>
                <c:pt idx="194">
                  <c:v>0.79</c:v>
                </c:pt>
                <c:pt idx="195">
                  <c:v>0.86</c:v>
                </c:pt>
                <c:pt idx="196">
                  <c:v>0.74</c:v>
                </c:pt>
                <c:pt idx="197">
                  <c:v>0.86</c:v>
                </c:pt>
                <c:pt idx="198">
                  <c:v>0.87</c:v>
                </c:pt>
                <c:pt idx="199">
                  <c:v>0.64</c:v>
                </c:pt>
                <c:pt idx="200">
                  <c:v>0.7</c:v>
                </c:pt>
                <c:pt idx="201">
                  <c:v>0.6</c:v>
                </c:pt>
                <c:pt idx="202">
                  <c:v>0.7</c:v>
                </c:pt>
                <c:pt idx="203">
                  <c:v>0.79</c:v>
                </c:pt>
                <c:pt idx="204">
                  <c:v>0.9</c:v>
                </c:pt>
                <c:pt idx="205">
                  <c:v>0.33</c:v>
                </c:pt>
                <c:pt idx="206">
                  <c:v>0.74</c:v>
                </c:pt>
                <c:pt idx="207">
                  <c:v>0.66</c:v>
                </c:pt>
                <c:pt idx="208">
                  <c:v>0.71</c:v>
                </c:pt>
                <c:pt idx="209">
                  <c:v>0.75</c:v>
                </c:pt>
                <c:pt idx="210">
                  <c:v>0.66</c:v>
                </c:pt>
                <c:pt idx="211">
                  <c:v>0.37</c:v>
                </c:pt>
                <c:pt idx="212">
                  <c:v>0.41</c:v>
                </c:pt>
                <c:pt idx="213">
                  <c:v>0.7</c:v>
                </c:pt>
                <c:pt idx="214">
                  <c:v>0.84</c:v>
                </c:pt>
                <c:pt idx="215">
                  <c:v>0.53</c:v>
                </c:pt>
                <c:pt idx="216">
                  <c:v>0.66</c:v>
                </c:pt>
                <c:pt idx="217">
                  <c:v>0.81</c:v>
                </c:pt>
                <c:pt idx="218">
                  <c:v>0.71</c:v>
                </c:pt>
                <c:pt idx="219">
                  <c:v>0.6</c:v>
                </c:pt>
                <c:pt idx="220">
                  <c:v>0.72</c:v>
                </c:pt>
                <c:pt idx="221">
                  <c:v>0.71</c:v>
                </c:pt>
                <c:pt idx="222">
                  <c:v>0.8</c:v>
                </c:pt>
                <c:pt idx="223">
                  <c:v>0.79</c:v>
                </c:pt>
                <c:pt idx="224">
                  <c:v>0.37</c:v>
                </c:pt>
                <c:pt idx="225">
                  <c:v>0.67</c:v>
                </c:pt>
                <c:pt idx="226">
                  <c:v>0.54</c:v>
                </c:pt>
                <c:pt idx="227">
                  <c:v>0.7</c:v>
                </c:pt>
                <c:pt idx="228">
                  <c:v>0.73</c:v>
                </c:pt>
                <c:pt idx="229">
                  <c:v>0.54</c:v>
                </c:pt>
                <c:pt idx="230">
                  <c:v>0.62</c:v>
                </c:pt>
                <c:pt idx="231">
                  <c:v>0.74</c:v>
                </c:pt>
                <c:pt idx="232">
                  <c:v>0.48</c:v>
                </c:pt>
                <c:pt idx="233">
                  <c:v>0.81</c:v>
                </c:pt>
                <c:pt idx="234">
                  <c:v>0.58</c:v>
                </c:pt>
                <c:pt idx="235">
                  <c:v>0.57</c:v>
                </c:pt>
                <c:pt idx="236">
                  <c:v>0.86</c:v>
                </c:pt>
                <c:pt idx="237">
                  <c:v>0.79</c:v>
                </c:pt>
                <c:pt idx="238">
                  <c:v>0.31</c:v>
                </c:pt>
                <c:pt idx="239">
                  <c:v>0.87</c:v>
                </c:pt>
                <c:pt idx="240">
                  <c:v>0.7</c:v>
                </c:pt>
                <c:pt idx="241">
                  <c:v>0.87</c:v>
                </c:pt>
                <c:pt idx="242">
                  <c:v>0.75</c:v>
                </c:pt>
                <c:pt idx="243">
                  <c:v>0.85</c:v>
                </c:pt>
                <c:pt idx="244">
                  <c:v>0.7</c:v>
                </c:pt>
                <c:pt idx="245">
                  <c:v>0.82</c:v>
                </c:pt>
                <c:pt idx="246">
                  <c:v>0.4</c:v>
                </c:pt>
                <c:pt idx="247">
                  <c:v>0.72</c:v>
                </c:pt>
                <c:pt idx="248">
                  <c:v>0.49</c:v>
                </c:pt>
                <c:pt idx="249">
                  <c:v>0.73</c:v>
                </c:pt>
                <c:pt idx="250">
                  <c:v>0.46</c:v>
                </c:pt>
                <c:pt idx="251">
                  <c:v>0.4</c:v>
                </c:pt>
                <c:pt idx="252">
                  <c:v>0.65</c:v>
                </c:pt>
                <c:pt idx="253">
                  <c:v>0.57</c:v>
                </c:pt>
                <c:pt idx="254">
                  <c:v>0.92</c:v>
                </c:pt>
                <c:pt idx="255">
                  <c:v>0.65</c:v>
                </c:pt>
                <c:pt idx="256">
                  <c:v>0.29</c:v>
                </c:pt>
                <c:pt idx="257">
                  <c:v>0.71</c:v>
                </c:pt>
                <c:pt idx="258">
                  <c:v>0.59</c:v>
                </c:pt>
                <c:pt idx="259">
                  <c:v>0.64</c:v>
                </c:pt>
                <c:pt idx="260">
                  <c:v>0.41</c:v>
                </c:pt>
                <c:pt idx="261">
                  <c:v>0.81</c:v>
                </c:pt>
                <c:pt idx="262">
                  <c:v>0.89</c:v>
                </c:pt>
                <c:pt idx="263">
                  <c:v>0.45</c:v>
                </c:pt>
                <c:pt idx="264">
                  <c:v>0.68</c:v>
                </c:pt>
                <c:pt idx="265">
                  <c:v>0.69</c:v>
                </c:pt>
                <c:pt idx="266">
                  <c:v>0.55</c:v>
                </c:pt>
                <c:pt idx="267">
                  <c:v>0.8</c:v>
                </c:pt>
                <c:pt idx="268">
                  <c:v>0.72</c:v>
                </c:pt>
                <c:pt idx="269">
                  <c:v>0.71</c:v>
                </c:pt>
                <c:pt idx="270">
                  <c:v>0.74</c:v>
                </c:pt>
                <c:pt idx="271">
                  <c:v>0.75</c:v>
                </c:pt>
                <c:pt idx="272">
                  <c:v>0.5</c:v>
                </c:pt>
                <c:pt idx="273">
                  <c:v>0.67</c:v>
                </c:pt>
                <c:pt idx="274">
                  <c:v>0.62</c:v>
                </c:pt>
                <c:pt idx="275">
                  <c:v>0.53</c:v>
                </c:pt>
                <c:pt idx="276">
                  <c:v>0.7</c:v>
                </c:pt>
                <c:pt idx="277">
                  <c:v>0.59</c:v>
                </c:pt>
                <c:pt idx="278">
                  <c:v>0.67</c:v>
                </c:pt>
                <c:pt idx="279">
                  <c:v>0.6</c:v>
                </c:pt>
                <c:pt idx="280">
                  <c:v>0.73</c:v>
                </c:pt>
                <c:pt idx="281">
                  <c:v>0.7</c:v>
                </c:pt>
                <c:pt idx="282">
                  <c:v>0.74</c:v>
                </c:pt>
                <c:pt idx="283">
                  <c:v>0.43</c:v>
                </c:pt>
                <c:pt idx="284">
                  <c:v>0.57</c:v>
                </c:pt>
                <c:pt idx="285">
                  <c:v>0.77</c:v>
                </c:pt>
                <c:pt idx="286">
                  <c:v>0.53</c:v>
                </c:pt>
                <c:pt idx="287">
                  <c:v>0.67</c:v>
                </c:pt>
                <c:pt idx="288">
                  <c:v>0.68</c:v>
                </c:pt>
                <c:pt idx="289">
                  <c:v>0.61</c:v>
                </c:pt>
                <c:pt idx="290">
                  <c:v>0.35</c:v>
                </c:pt>
                <c:pt idx="291">
                  <c:v>0.54</c:v>
                </c:pt>
                <c:pt idx="292">
                  <c:v>0.49</c:v>
                </c:pt>
                <c:pt idx="293">
                  <c:v>0.55</c:v>
                </c:pt>
                <c:pt idx="294">
                  <c:v>0.79</c:v>
                </c:pt>
                <c:pt idx="295">
                  <c:v>0.75</c:v>
                </c:pt>
                <c:pt idx="296">
                  <c:v>0.55</c:v>
                </c:pt>
                <c:pt idx="297">
                  <c:v>0.47</c:v>
                </c:pt>
                <c:pt idx="298">
                  <c:v>0.48</c:v>
                </c:pt>
                <c:pt idx="299">
                  <c:v>0.38</c:v>
                </c:pt>
                <c:pt idx="300">
                  <c:v>0.57</c:v>
                </c:pt>
                <c:pt idx="301">
                  <c:v>0.72</c:v>
                </c:pt>
                <c:pt idx="302">
                  <c:v>0.68</c:v>
                </c:pt>
                <c:pt idx="303">
                  <c:v>0.76</c:v>
                </c:pt>
                <c:pt idx="304">
                  <c:v>0.5</c:v>
                </c:pt>
                <c:pt idx="305">
                  <c:v>0.85</c:v>
                </c:pt>
                <c:pt idx="306">
                  <c:v>0.5</c:v>
                </c:pt>
                <c:pt idx="307">
                  <c:v>0.62</c:v>
                </c:pt>
                <c:pt idx="308">
                  <c:v>0.86</c:v>
                </c:pt>
                <c:pt idx="309">
                  <c:v>0.51</c:v>
                </c:pt>
                <c:pt idx="310">
                  <c:v>0.47</c:v>
                </c:pt>
                <c:pt idx="311">
                  <c:v>0.39</c:v>
                </c:pt>
                <c:pt idx="312">
                  <c:v>0.85</c:v>
                </c:pt>
                <c:pt idx="313">
                  <c:v>0.51</c:v>
                </c:pt>
                <c:pt idx="314">
                  <c:v>0.51</c:v>
                </c:pt>
                <c:pt idx="315">
                  <c:v>0.62</c:v>
                </c:pt>
                <c:pt idx="316">
                  <c:v>0.43</c:v>
                </c:pt>
                <c:pt idx="317">
                  <c:v>0.39</c:v>
                </c:pt>
                <c:pt idx="318">
                  <c:v>0.83</c:v>
                </c:pt>
                <c:pt idx="319">
                  <c:v>0.67</c:v>
                </c:pt>
                <c:pt idx="320">
                  <c:v>0.71</c:v>
                </c:pt>
                <c:pt idx="321">
                  <c:v>0.16</c:v>
                </c:pt>
                <c:pt idx="322">
                  <c:v>0.51</c:v>
                </c:pt>
                <c:pt idx="323">
                  <c:v>0.47</c:v>
                </c:pt>
                <c:pt idx="324">
                  <c:v>0.59</c:v>
                </c:pt>
                <c:pt idx="325">
                  <c:v>0.34</c:v>
                </c:pt>
                <c:pt idx="326">
                  <c:v>0.43</c:v>
                </c:pt>
                <c:pt idx="327">
                  <c:v>0.73</c:v>
                </c:pt>
                <c:pt idx="328">
                  <c:v>0.46</c:v>
                </c:pt>
                <c:pt idx="329">
                  <c:v>0.78</c:v>
                </c:pt>
                <c:pt idx="330">
                  <c:v>0.47</c:v>
                </c:pt>
                <c:pt idx="331">
                  <c:v>0.37</c:v>
                </c:pt>
                <c:pt idx="332">
                  <c:v>0.43</c:v>
                </c:pt>
                <c:pt idx="333">
                  <c:v>0.52</c:v>
                </c:pt>
                <c:pt idx="334">
                  <c:v>0.68</c:v>
                </c:pt>
                <c:pt idx="335">
                  <c:v>0.75</c:v>
                </c:pt>
                <c:pt idx="336">
                  <c:v>0.52</c:v>
                </c:pt>
                <c:pt idx="337">
                  <c:v>0.25</c:v>
                </c:pt>
                <c:pt idx="338">
                  <c:v>0.45</c:v>
                </c:pt>
                <c:pt idx="339">
                  <c:v>0.55</c:v>
                </c:pt>
                <c:pt idx="340">
                  <c:v>0.41</c:v>
                </c:pt>
                <c:pt idx="341">
                  <c:v>0.49</c:v>
                </c:pt>
                <c:pt idx="342">
                  <c:v>0.42</c:v>
                </c:pt>
                <c:pt idx="343">
                  <c:v>0.5</c:v>
                </c:pt>
                <c:pt idx="344">
                  <c:v>0.65</c:v>
                </c:pt>
                <c:pt idx="345">
                  <c:v>0.69</c:v>
                </c:pt>
                <c:pt idx="346">
                  <c:v>0.47</c:v>
                </c:pt>
                <c:pt idx="347">
                  <c:v>0.51</c:v>
                </c:pt>
                <c:pt idx="348">
                  <c:v>0.64</c:v>
                </c:pt>
                <c:pt idx="349">
                  <c:v>0.41</c:v>
                </c:pt>
                <c:pt idx="350">
                  <c:v>0.43</c:v>
                </c:pt>
                <c:pt idx="351">
                  <c:v>0.39</c:v>
                </c:pt>
                <c:pt idx="352">
                  <c:v>0.6</c:v>
                </c:pt>
                <c:pt idx="353">
                  <c:v>0.64</c:v>
                </c:pt>
                <c:pt idx="354">
                  <c:v>0.37</c:v>
                </c:pt>
                <c:pt idx="355">
                  <c:v>0.4</c:v>
                </c:pt>
                <c:pt idx="356">
                  <c:v>0.56</c:v>
                </c:pt>
                <c:pt idx="357">
                  <c:v>0.58</c:v>
                </c:pt>
                <c:pt idx="358">
                  <c:v>0.74</c:v>
                </c:pt>
                <c:pt idx="359">
                  <c:v>0.61</c:v>
                </c:pt>
                <c:pt idx="360">
                  <c:v>0.29</c:v>
                </c:pt>
                <c:pt idx="361">
                  <c:v>0.49</c:v>
                </c:pt>
                <c:pt idx="362">
                  <c:v>0.38</c:v>
                </c:pt>
                <c:pt idx="363">
                  <c:v>0.71</c:v>
                </c:pt>
                <c:pt idx="364">
                  <c:v>0.5</c:v>
                </c:pt>
                <c:pt idx="365">
                  <c:v>0.62</c:v>
                </c:pt>
                <c:pt idx="366">
                  <c:v>0.43</c:v>
                </c:pt>
                <c:pt idx="367">
                  <c:v>0.45</c:v>
                </c:pt>
                <c:pt idx="368">
                  <c:v>0.38</c:v>
                </c:pt>
                <c:pt idx="369">
                  <c:v>0.52</c:v>
                </c:pt>
                <c:pt idx="370">
                  <c:v>0.71</c:v>
                </c:pt>
                <c:pt idx="371">
                  <c:v>0.49</c:v>
                </c:pt>
                <c:pt idx="372">
                  <c:v>0.59</c:v>
                </c:pt>
                <c:pt idx="373">
                  <c:v>0.21</c:v>
                </c:pt>
                <c:pt idx="374">
                  <c:v>0.78</c:v>
                </c:pt>
                <c:pt idx="375">
                  <c:v>0.53</c:v>
                </c:pt>
                <c:pt idx="376">
                  <c:v>0.75</c:v>
                </c:pt>
                <c:pt idx="377">
                  <c:v>0.25</c:v>
                </c:pt>
                <c:pt idx="378">
                  <c:v>0.51</c:v>
                </c:pt>
                <c:pt idx="379">
                  <c:v>0.37</c:v>
                </c:pt>
                <c:pt idx="380">
                  <c:v>0.66</c:v>
                </c:pt>
                <c:pt idx="381">
                  <c:v>0.32</c:v>
                </c:pt>
                <c:pt idx="382">
                  <c:v>0.39</c:v>
                </c:pt>
                <c:pt idx="383">
                  <c:v>0.43</c:v>
                </c:pt>
                <c:pt idx="384">
                  <c:v>0.12</c:v>
                </c:pt>
                <c:pt idx="385">
                  <c:v>0.49</c:v>
                </c:pt>
                <c:pt idx="386">
                  <c:v>0.32</c:v>
                </c:pt>
                <c:pt idx="387">
                  <c:v>0.41</c:v>
                </c:pt>
                <c:pt idx="388">
                  <c:v>0.24</c:v>
                </c:pt>
                <c:pt idx="389">
                  <c:v>0.11</c:v>
                </c:pt>
                <c:pt idx="390">
                  <c:v>0.37</c:v>
                </c:pt>
                <c:pt idx="391">
                  <c:v>0.37</c:v>
                </c:pt>
                <c:pt idx="392">
                  <c:v>0.41</c:v>
                </c:pt>
                <c:pt idx="393">
                  <c:v>0.32</c:v>
                </c:pt>
                <c:pt idx="394">
                  <c:v>0.63</c:v>
                </c:pt>
                <c:pt idx="395">
                  <c:v>0.48</c:v>
                </c:pt>
                <c:pt idx="396">
                  <c:v>0.07</c:v>
                </c:pt>
                <c:pt idx="397">
                  <c:v>0.27</c:v>
                </c:pt>
                <c:pt idx="398">
                  <c:v>0.37</c:v>
                </c:pt>
                <c:pt idx="399">
                  <c:v>0.45</c:v>
                </c:pt>
                <c:pt idx="400">
                  <c:v>0.27</c:v>
                </c:pt>
                <c:pt idx="401">
                  <c:v>0.2</c:v>
                </c:pt>
                <c:pt idx="402">
                  <c:v>0.22</c:v>
                </c:pt>
                <c:pt idx="403">
                  <c:v>0.62</c:v>
                </c:pt>
                <c:pt idx="404">
                  <c:v>0.67</c:v>
                </c:pt>
                <c:pt idx="405">
                  <c:v>0.42</c:v>
                </c:pt>
                <c:pt idx="406">
                  <c:v>0.73</c:v>
                </c:pt>
                <c:pt idx="407">
                  <c:v>0.37</c:v>
                </c:pt>
                <c:pt idx="408">
                  <c:v>0.68</c:v>
                </c:pt>
                <c:pt idx="409">
                  <c:v>0.28</c:v>
                </c:pt>
                <c:pt idx="410">
                  <c:v>0.39</c:v>
                </c:pt>
                <c:pt idx="411">
                  <c:v>0.19</c:v>
                </c:pt>
                <c:pt idx="412">
                  <c:v>0.6</c:v>
                </c:pt>
                <c:pt idx="413">
                  <c:v>0.37</c:v>
                </c:pt>
                <c:pt idx="414">
                  <c:v>0.61</c:v>
                </c:pt>
                <c:pt idx="415">
                  <c:v>0.24</c:v>
                </c:pt>
                <c:pt idx="416">
                  <c:v>0.56</c:v>
                </c:pt>
                <c:pt idx="417">
                  <c:v>0.4</c:v>
                </c:pt>
                <c:pt idx="418">
                  <c:v>0.16</c:v>
                </c:pt>
                <c:pt idx="419">
                  <c:v>0.4</c:v>
                </c:pt>
                <c:pt idx="420">
                  <c:v>0.41</c:v>
                </c:pt>
                <c:pt idx="421">
                  <c:v>0.45</c:v>
                </c:pt>
                <c:pt idx="422">
                  <c:v>0.75</c:v>
                </c:pt>
                <c:pt idx="423">
                  <c:v>0.18</c:v>
                </c:pt>
                <c:pt idx="424">
                  <c:v>0.23</c:v>
                </c:pt>
                <c:pt idx="425">
                  <c:v>0.56</c:v>
                </c:pt>
                <c:pt idx="426">
                  <c:v>0.26</c:v>
                </c:pt>
                <c:pt idx="427">
                  <c:v>0.24</c:v>
                </c:pt>
                <c:pt idx="428">
                  <c:v>0.29</c:v>
                </c:pt>
                <c:pt idx="429">
                  <c:v>0.34</c:v>
                </c:pt>
                <c:pt idx="430">
                  <c:v>0.29</c:v>
                </c:pt>
                <c:pt idx="431">
                  <c:v>0.14</c:v>
                </c:pt>
                <c:pt idx="432">
                  <c:v>0.45</c:v>
                </c:pt>
                <c:pt idx="433">
                  <c:v>0.56</c:v>
                </c:pt>
                <c:pt idx="434">
                  <c:v>0.52</c:v>
                </c:pt>
                <c:pt idx="435">
                  <c:v>0.31</c:v>
                </c:pt>
                <c:pt idx="436">
                  <c:v>0.57</c:v>
                </c:pt>
                <c:pt idx="437">
                  <c:v>0.04</c:v>
                </c:pt>
                <c:pt idx="438">
                  <c:v>0.6</c:v>
                </c:pt>
                <c:pt idx="439">
                  <c:v>0.39</c:v>
                </c:pt>
                <c:pt idx="440">
                  <c:v>0.31</c:v>
                </c:pt>
                <c:pt idx="441">
                  <c:v>0.49</c:v>
                </c:pt>
                <c:pt idx="442">
                  <c:v>0.51</c:v>
                </c:pt>
                <c:pt idx="443">
                  <c:v>0.33</c:v>
                </c:pt>
                <c:pt idx="444">
                  <c:v>0.64</c:v>
                </c:pt>
                <c:pt idx="445">
                  <c:v>0.13</c:v>
                </c:pt>
                <c:pt idx="446">
                  <c:v>0.64</c:v>
                </c:pt>
                <c:pt idx="447">
                  <c:v>0.65</c:v>
                </c:pt>
                <c:pt idx="448">
                  <c:v>0.73</c:v>
                </c:pt>
                <c:pt idx="449">
                  <c:v>0.34</c:v>
                </c:pt>
                <c:pt idx="450">
                  <c:v>0.69</c:v>
                </c:pt>
                <c:pt idx="451">
                  <c:v>0.44</c:v>
                </c:pt>
                <c:pt idx="452">
                  <c:v>0.77</c:v>
                </c:pt>
                <c:pt idx="453">
                  <c:v>0.31</c:v>
                </c:pt>
                <c:pt idx="454">
                  <c:v>0.4</c:v>
                </c:pt>
                <c:pt idx="455">
                  <c:v>0.57</c:v>
                </c:pt>
                <c:pt idx="456">
                  <c:v>0.25</c:v>
                </c:pt>
                <c:pt idx="457">
                  <c:v>0.2</c:v>
                </c:pt>
                <c:pt idx="458">
                  <c:v>0.19</c:v>
                </c:pt>
                <c:pt idx="459">
                  <c:v>0.28</c:v>
                </c:pt>
                <c:pt idx="460">
                  <c:v>0.57</c:v>
                </c:pt>
                <c:pt idx="461">
                  <c:v>0.21</c:v>
                </c:pt>
                <c:pt idx="462">
                  <c:v>0.36</c:v>
                </c:pt>
                <c:pt idx="463">
                  <c:v>0.24</c:v>
                </c:pt>
                <c:pt idx="464">
                  <c:v>0.37</c:v>
                </c:pt>
                <c:pt idx="465">
                  <c:v>0.36</c:v>
                </c:pt>
                <c:pt idx="466">
                  <c:v>0.48</c:v>
                </c:pt>
                <c:pt idx="467">
                  <c:v>0.23</c:v>
                </c:pt>
                <c:pt idx="468">
                  <c:v>0.19</c:v>
                </c:pt>
                <c:pt idx="469">
                  <c:v>0.26</c:v>
                </c:pt>
                <c:pt idx="470">
                  <c:v>0.36</c:v>
                </c:pt>
                <c:pt idx="471">
                  <c:v>0.56</c:v>
                </c:pt>
                <c:pt idx="472">
                  <c:v>0.59</c:v>
                </c:pt>
                <c:pt idx="473">
                  <c:v>0.28</c:v>
                </c:pt>
                <c:pt idx="474">
                  <c:v>0.18</c:v>
                </c:pt>
                <c:pt idx="475">
                  <c:v>0.09</c:v>
                </c:pt>
                <c:pt idx="476">
                  <c:v>0.58</c:v>
                </c:pt>
                <c:pt idx="477">
                  <c:v>0.34</c:v>
                </c:pt>
                <c:pt idx="478">
                  <c:v>0.67</c:v>
                </c:pt>
                <c:pt idx="479">
                  <c:v>0.54</c:v>
                </c:pt>
                <c:pt idx="480">
                  <c:v>0.27</c:v>
                </c:pt>
                <c:pt idx="481">
                  <c:v>0.44</c:v>
                </c:pt>
                <c:pt idx="482">
                  <c:v>0.47</c:v>
                </c:pt>
                <c:pt idx="483">
                  <c:v>0.15</c:v>
                </c:pt>
                <c:pt idx="484">
                  <c:v>0.45</c:v>
                </c:pt>
                <c:pt idx="485">
                  <c:v>0.04</c:v>
                </c:pt>
                <c:pt idx="486">
                  <c:v>0.18</c:v>
                </c:pt>
                <c:pt idx="487">
                  <c:v>0.08</c:v>
                </c:pt>
                <c:pt idx="488">
                  <c:v>0.18</c:v>
                </c:pt>
                <c:pt idx="489">
                  <c:v>0.02</c:v>
                </c:pt>
                <c:pt idx="490">
                  <c:v>0.67</c:v>
                </c:pt>
                <c:pt idx="491">
                  <c:v>0.1</c:v>
                </c:pt>
                <c:pt idx="492">
                  <c:v>0.26</c:v>
                </c:pt>
                <c:pt idx="493">
                  <c:v>0.24</c:v>
                </c:pt>
                <c:pt idx="494">
                  <c:v>0.13</c:v>
                </c:pt>
                <c:pt idx="495">
                  <c:v>0.16</c:v>
                </c:pt>
                <c:pt idx="496">
                  <c:v>0.28</c:v>
                </c:pt>
                <c:pt idx="497">
                  <c:v>0.55</c:v>
                </c:pt>
                <c:pt idx="498">
                  <c:v>0.52</c:v>
                </c:pt>
                <c:pt idx="499">
                  <c:v>0.2</c:v>
                </c:pt>
                <c:pt idx="500">
                  <c:v>0.04</c:v>
                </c:pt>
                <c:pt idx="501">
                  <c:v>0.15</c:v>
                </c:pt>
                <c:pt idx="502">
                  <c:v>0.14</c:v>
                </c:pt>
                <c:pt idx="503">
                  <c:v>0.62</c:v>
                </c:pt>
                <c:pt idx="504">
                  <c:v>0.59</c:v>
                </c:pt>
                <c:pt idx="505">
                  <c:v>0.21</c:v>
                </c:pt>
                <c:pt idx="506">
                  <c:v>0.46</c:v>
                </c:pt>
                <c:pt idx="507">
                  <c:v>0.25</c:v>
                </c:pt>
                <c:pt idx="508">
                  <c:v>0.12</c:v>
                </c:pt>
                <c:pt idx="509">
                  <c:v>0.1</c:v>
                </c:pt>
                <c:pt idx="510">
                  <c:v>0.09</c:v>
                </c:pt>
                <c:pt idx="511">
                  <c:v>0.21</c:v>
                </c:pt>
                <c:pt idx="512">
                  <c:v>0.69</c:v>
                </c:pt>
                <c:pt idx="513">
                  <c:v>0.14</c:v>
                </c:pt>
                <c:pt idx="514">
                  <c:v>0.4</c:v>
                </c:pt>
                <c:pt idx="515">
                  <c:v>0.03</c:v>
                </c:pt>
                <c:pt idx="516">
                  <c:v>0.13</c:v>
                </c:pt>
                <c:pt idx="517">
                  <c:v>0.14</c:v>
                </c:pt>
                <c:pt idx="518">
                  <c:v>0.33</c:v>
                </c:pt>
                <c:pt idx="519">
                  <c:v>0.16</c:v>
                </c:pt>
                <c:pt idx="520">
                  <c:v>0.21</c:v>
                </c:pt>
                <c:pt idx="521">
                  <c:v>0.07</c:v>
                </c:pt>
                <c:pt idx="522">
                  <c:v>0.21</c:v>
                </c:pt>
                <c:pt idx="523">
                  <c:v>0.38</c:v>
                </c:pt>
                <c:pt idx="524">
                  <c:v>0.15</c:v>
                </c:pt>
                <c:pt idx="525">
                  <c:v>0.16</c:v>
                </c:pt>
                <c:pt idx="526">
                  <c:v>0.16</c:v>
                </c:pt>
                <c:pt idx="527">
                  <c:v>0.16</c:v>
                </c:pt>
                <c:pt idx="528">
                  <c:v>0.33</c:v>
                </c:pt>
                <c:pt idx="529">
                  <c:v>0.22</c:v>
                </c:pt>
                <c:pt idx="530">
                  <c:v>0.22</c:v>
                </c:pt>
                <c:pt idx="531">
                  <c:v>0.34</c:v>
                </c:pt>
                <c:pt idx="532">
                  <c:v>0.06</c:v>
                </c:pt>
                <c:pt idx="533">
                  <c:v>0.09</c:v>
                </c:pt>
                <c:pt idx="534">
                  <c:v>0.11</c:v>
                </c:pt>
                <c:pt idx="535">
                  <c:v>0.73</c:v>
                </c:pt>
                <c:pt idx="536">
                  <c:v>0.02</c:v>
                </c:pt>
                <c:pt idx="537">
                  <c:v>0.25</c:v>
                </c:pt>
                <c:pt idx="538">
                  <c:v>0.08</c:v>
                </c:pt>
                <c:pt idx="539">
                  <c:v>0.56</c:v>
                </c:pt>
                <c:pt idx="540">
                  <c:v>0.04</c:v>
                </c:pt>
                <c:pt idx="541">
                  <c:v>0.16</c:v>
                </c:pt>
                <c:pt idx="542">
                  <c:v>0.53</c:v>
                </c:pt>
                <c:pt idx="543">
                  <c:v>0.2</c:v>
                </c:pt>
                <c:pt idx="544">
                  <c:v>0.3</c:v>
                </c:pt>
                <c:pt idx="545">
                  <c:v>0.06</c:v>
                </c:pt>
                <c:pt idx="546">
                  <c:v>0.25</c:v>
                </c:pt>
                <c:pt idx="547">
                  <c:v>0.11</c:v>
                </c:pt>
                <c:pt idx="548">
                  <c:v>0.12</c:v>
                </c:pt>
                <c:pt idx="549">
                  <c:v>0.41</c:v>
                </c:pt>
                <c:pt idx="550">
                  <c:v>0.25</c:v>
                </c:pt>
                <c:pt idx="551">
                  <c:v>0.25</c:v>
                </c:pt>
                <c:pt idx="552">
                  <c:v>0.1</c:v>
                </c:pt>
                <c:pt idx="553">
                  <c:v>0.16</c:v>
                </c:pt>
                <c:pt idx="554">
                  <c:v>0.24</c:v>
                </c:pt>
                <c:pt idx="555">
                  <c:v>0.17</c:v>
                </c:pt>
                <c:pt idx="556">
                  <c:v>0.08</c:v>
                </c:pt>
                <c:pt idx="557">
                  <c:v>0.08</c:v>
                </c:pt>
                <c:pt idx="558">
                  <c:v>0.08</c:v>
                </c:pt>
                <c:pt idx="559">
                  <c:v>0.13</c:v>
                </c:pt>
                <c:pt idx="560">
                  <c:v>0.36</c:v>
                </c:pt>
                <c:pt idx="561">
                  <c:v>0.16</c:v>
                </c:pt>
                <c:pt idx="562">
                  <c:v>0.41</c:v>
                </c:pt>
                <c:pt idx="563">
                  <c:v>0.53</c:v>
                </c:pt>
                <c:pt idx="564">
                  <c:v>0.24</c:v>
                </c:pt>
                <c:pt idx="565">
                  <c:v>0.01</c:v>
                </c:pt>
                <c:pt idx="566">
                  <c:v>0.37</c:v>
                </c:pt>
                <c:pt idx="567">
                  <c:v>0.2</c:v>
                </c:pt>
                <c:pt idx="568">
                  <c:v>0.08</c:v>
                </c:pt>
                <c:pt idx="569">
                  <c:v>0.13</c:v>
                </c:pt>
                <c:pt idx="570">
                  <c:v>0.12</c:v>
                </c:pt>
                <c:pt idx="571">
                  <c:v>0.18</c:v>
                </c:pt>
                <c:pt idx="572">
                  <c:v>0.51</c:v>
                </c:pt>
                <c:pt idx="573">
                  <c:v>0.27</c:v>
                </c:pt>
                <c:pt idx="574">
                  <c:v>0.19</c:v>
                </c:pt>
                <c:pt idx="575">
                  <c:v>0.02</c:v>
                </c:pt>
                <c:pt idx="576">
                  <c:v>0.13</c:v>
                </c:pt>
                <c:pt idx="577">
                  <c:v>0.07</c:v>
                </c:pt>
                <c:pt idx="578">
                  <c:v>0.2</c:v>
                </c:pt>
                <c:pt idx="579">
                  <c:v>0.5</c:v>
                </c:pt>
                <c:pt idx="580">
                  <c:v>0.09</c:v>
                </c:pt>
                <c:pt idx="581">
                  <c:v>0.12</c:v>
                </c:pt>
                <c:pt idx="582">
                  <c:v>0.02</c:v>
                </c:pt>
                <c:pt idx="583">
                  <c:v>0.27</c:v>
                </c:pt>
                <c:pt idx="584">
                  <c:v>0.29</c:v>
                </c:pt>
                <c:pt idx="585">
                  <c:v>0.17</c:v>
                </c:pt>
                <c:pt idx="586">
                  <c:v>0.08</c:v>
                </c:pt>
                <c:pt idx="587">
                  <c:v>0.16</c:v>
                </c:pt>
                <c:pt idx="588">
                  <c:v>0.26</c:v>
                </c:pt>
                <c:pt idx="589">
                  <c:v>0.12</c:v>
                </c:pt>
                <c:pt idx="590">
                  <c:v>0.17</c:v>
                </c:pt>
                <c:pt idx="591">
                  <c:v>0.17</c:v>
                </c:pt>
                <c:pt idx="592">
                  <c:v>0.04</c:v>
                </c:pt>
                <c:pt idx="593">
                  <c:v>0.17</c:v>
                </c:pt>
                <c:pt idx="594">
                  <c:v>0.08</c:v>
                </c:pt>
                <c:pt idx="595">
                  <c:v>0.21</c:v>
                </c:pt>
                <c:pt idx="596">
                  <c:v>0.04</c:v>
                </c:pt>
                <c:pt idx="597">
                  <c:v>0.02</c:v>
                </c:pt>
                <c:pt idx="598">
                  <c:v>0.29</c:v>
                </c:pt>
                <c:pt idx="599">
                  <c:v>0.18</c:v>
                </c:pt>
                <c:pt idx="600">
                  <c:v>0.51</c:v>
                </c:pt>
                <c:pt idx="601">
                  <c:v>0.11</c:v>
                </c:pt>
                <c:pt idx="602">
                  <c:v>0.1</c:v>
                </c:pt>
                <c:pt idx="603">
                  <c:v>0.16</c:v>
                </c:pt>
                <c:pt idx="604">
                  <c:v>0.48</c:v>
                </c:pt>
                <c:pt idx="605">
                  <c:v>0.06</c:v>
                </c:pt>
                <c:pt idx="606">
                  <c:v>0.43</c:v>
                </c:pt>
                <c:pt idx="607">
                  <c:v>0.33</c:v>
                </c:pt>
                <c:pt idx="608">
                  <c:v>0.16</c:v>
                </c:pt>
                <c:pt idx="609">
                  <c:v>0.1</c:v>
                </c:pt>
                <c:pt idx="610">
                  <c:v>0.07</c:v>
                </c:pt>
                <c:pt idx="611">
                  <c:v>0.17</c:v>
                </c:pt>
                <c:pt idx="612">
                  <c:v>0.09</c:v>
                </c:pt>
                <c:pt idx="613">
                  <c:v>0.06</c:v>
                </c:pt>
                <c:pt idx="614">
                  <c:v>0.04</c:v>
                </c:pt>
                <c:pt idx="615">
                  <c:v>0.1</c:v>
                </c:pt>
                <c:pt idx="616">
                  <c:v>0.14</c:v>
                </c:pt>
                <c:pt idx="617">
                  <c:v>0.03</c:v>
                </c:pt>
                <c:pt idx="618">
                  <c:v>0.16</c:v>
                </c:pt>
                <c:pt idx="619">
                  <c:v>0.07</c:v>
                </c:pt>
                <c:pt idx="620">
                  <c:v>0.16</c:v>
                </c:pt>
                <c:pt idx="621">
                  <c:v>0.2</c:v>
                </c:pt>
                <c:pt idx="622">
                  <c:v>0.18</c:v>
                </c:pt>
                <c:pt idx="623">
                  <c:v>0.15</c:v>
                </c:pt>
                <c:pt idx="624">
                  <c:v>0.19</c:v>
                </c:pt>
                <c:pt idx="625">
                  <c:v>0.09</c:v>
                </c:pt>
                <c:pt idx="626">
                  <c:v>0.17</c:v>
                </c:pt>
                <c:pt idx="627">
                  <c:v>0.19</c:v>
                </c:pt>
                <c:pt idx="628">
                  <c:v>0.08</c:v>
                </c:pt>
                <c:pt idx="629">
                  <c:v>0.02</c:v>
                </c:pt>
                <c:pt idx="630">
                  <c:v>0.13</c:v>
                </c:pt>
                <c:pt idx="631">
                  <c:v>0.1</c:v>
                </c:pt>
                <c:pt idx="632">
                  <c:v>0.02</c:v>
                </c:pt>
                <c:pt idx="633">
                  <c:v>0.11</c:v>
                </c:pt>
                <c:pt idx="634">
                  <c:v>0.11</c:v>
                </c:pt>
                <c:pt idx="635">
                  <c:v>0.09</c:v>
                </c:pt>
                <c:pt idx="636">
                  <c:v>0.12</c:v>
                </c:pt>
                <c:pt idx="637">
                  <c:v>0.1</c:v>
                </c:pt>
                <c:pt idx="638">
                  <c:v>0.06</c:v>
                </c:pt>
                <c:pt idx="639">
                  <c:v>0.06</c:v>
                </c:pt>
                <c:pt idx="640">
                  <c:v>0.09</c:v>
                </c:pt>
                <c:pt idx="641">
                  <c:v>0.41</c:v>
                </c:pt>
                <c:pt idx="642">
                  <c:v>0.09</c:v>
                </c:pt>
                <c:pt idx="643">
                  <c:v>0.16</c:v>
                </c:pt>
                <c:pt idx="644">
                  <c:v>0.38</c:v>
                </c:pt>
                <c:pt idx="645">
                  <c:v>0.07</c:v>
                </c:pt>
                <c:pt idx="646">
                  <c:v>0.13</c:v>
                </c:pt>
                <c:pt idx="647">
                  <c:v>0.05</c:v>
                </c:pt>
                <c:pt idx="648">
                  <c:v>0.03</c:v>
                </c:pt>
                <c:pt idx="649">
                  <c:v>0.05</c:v>
                </c:pt>
                <c:pt idx="650">
                  <c:v>0.15</c:v>
                </c:pt>
                <c:pt idx="651">
                  <c:v>0.23</c:v>
                </c:pt>
                <c:pt idx="652">
                  <c:v>0.18</c:v>
                </c:pt>
                <c:pt idx="653">
                  <c:v>0.03</c:v>
                </c:pt>
                <c:pt idx="654">
                  <c:v>0.47</c:v>
                </c:pt>
                <c:pt idx="655">
                  <c:v>0.05</c:v>
                </c:pt>
                <c:pt idx="656">
                  <c:v>0.18</c:v>
                </c:pt>
                <c:pt idx="657">
                  <c:v>0.05</c:v>
                </c:pt>
                <c:pt idx="658">
                  <c:v>0.17</c:v>
                </c:pt>
                <c:pt idx="659">
                  <c:v>0.02</c:v>
                </c:pt>
                <c:pt idx="660">
                  <c:v>0.12</c:v>
                </c:pt>
                <c:pt idx="661">
                  <c:v>0.13</c:v>
                </c:pt>
                <c:pt idx="662">
                  <c:v>0.16</c:v>
                </c:pt>
                <c:pt idx="663">
                  <c:v>0.13</c:v>
                </c:pt>
                <c:pt idx="664">
                  <c:v>0.12</c:v>
                </c:pt>
                <c:pt idx="665">
                  <c:v>0.08</c:v>
                </c:pt>
                <c:pt idx="666">
                  <c:v>0.13</c:v>
                </c:pt>
                <c:pt idx="667">
                  <c:v>0.18</c:v>
                </c:pt>
                <c:pt idx="668">
                  <c:v>0.11</c:v>
                </c:pt>
                <c:pt idx="669">
                  <c:v>0.13</c:v>
                </c:pt>
                <c:pt idx="670">
                  <c:v>0.12</c:v>
                </c:pt>
                <c:pt idx="671">
                  <c:v>0.06</c:v>
                </c:pt>
                <c:pt idx="672">
                  <c:v>0.08</c:v>
                </c:pt>
                <c:pt idx="673">
                  <c:v>0.04</c:v>
                </c:pt>
                <c:pt idx="674">
                  <c:v>0.03</c:v>
                </c:pt>
                <c:pt idx="675">
                  <c:v>0.02</c:v>
                </c:pt>
                <c:pt idx="676">
                  <c:v>0.01</c:v>
                </c:pt>
                <c:pt idx="677">
                  <c:v>0.18</c:v>
                </c:pt>
                <c:pt idx="678">
                  <c:v>0.06</c:v>
                </c:pt>
                <c:pt idx="679">
                  <c:v>0.09</c:v>
                </c:pt>
                <c:pt idx="680">
                  <c:v>0.09</c:v>
                </c:pt>
                <c:pt idx="681">
                  <c:v>0.1</c:v>
                </c:pt>
                <c:pt idx="682">
                  <c:v>0.14</c:v>
                </c:pt>
                <c:pt idx="683">
                  <c:v>0.11</c:v>
                </c:pt>
                <c:pt idx="684">
                  <c:v>0.11</c:v>
                </c:pt>
                <c:pt idx="685">
                  <c:v>0.06</c:v>
                </c:pt>
                <c:pt idx="686">
                  <c:v>0.13</c:v>
                </c:pt>
                <c:pt idx="687">
                  <c:v>0.07</c:v>
                </c:pt>
                <c:pt idx="688">
                  <c:v>0.03</c:v>
                </c:pt>
                <c:pt idx="689">
                  <c:v>0.26</c:v>
                </c:pt>
                <c:pt idx="690">
                  <c:v>0.12</c:v>
                </c:pt>
                <c:pt idx="691">
                  <c:v>0.06</c:v>
                </c:pt>
                <c:pt idx="692">
                  <c:v>0.03</c:v>
                </c:pt>
                <c:pt idx="693">
                  <c:v>0.06</c:v>
                </c:pt>
                <c:pt idx="694">
                  <c:v>0.36</c:v>
                </c:pt>
                <c:pt idx="695">
                  <c:v>0.3</c:v>
                </c:pt>
                <c:pt idx="696">
                  <c:v>0.25</c:v>
                </c:pt>
                <c:pt idx="697">
                  <c:v>0.08</c:v>
                </c:pt>
                <c:pt idx="698">
                  <c:v>0.04</c:v>
                </c:pt>
                <c:pt idx="699">
                  <c:v>0.08</c:v>
                </c:pt>
                <c:pt idx="700">
                  <c:v>0.16</c:v>
                </c:pt>
                <c:pt idx="701">
                  <c:v>0.1</c:v>
                </c:pt>
                <c:pt idx="702">
                  <c:v>0.03</c:v>
                </c:pt>
                <c:pt idx="703">
                  <c:v>0.05</c:v>
                </c:pt>
                <c:pt idx="704">
                  <c:v>0.15</c:v>
                </c:pt>
                <c:pt idx="705">
                  <c:v>0.03</c:v>
                </c:pt>
                <c:pt idx="706">
                  <c:v>0.06</c:v>
                </c:pt>
                <c:pt idx="707">
                  <c:v>0.02</c:v>
                </c:pt>
                <c:pt idx="708">
                  <c:v>0.06</c:v>
                </c:pt>
                <c:pt idx="709">
                  <c:v>0.1</c:v>
                </c:pt>
                <c:pt idx="710">
                  <c:v>0.41</c:v>
                </c:pt>
                <c:pt idx="711">
                  <c:v>0.06</c:v>
                </c:pt>
                <c:pt idx="712">
                  <c:v>0.1</c:v>
                </c:pt>
                <c:pt idx="713">
                  <c:v>0.42</c:v>
                </c:pt>
                <c:pt idx="714">
                  <c:v>0.07</c:v>
                </c:pt>
                <c:pt idx="715">
                  <c:v>0.06</c:v>
                </c:pt>
                <c:pt idx="716">
                  <c:v>0.04</c:v>
                </c:pt>
                <c:pt idx="717">
                  <c:v>0.19</c:v>
                </c:pt>
                <c:pt idx="718">
                  <c:v>0.06</c:v>
                </c:pt>
                <c:pt idx="719">
                  <c:v>0.1</c:v>
                </c:pt>
                <c:pt idx="720">
                  <c:v>0.02</c:v>
                </c:pt>
                <c:pt idx="721">
                  <c:v>0.12</c:v>
                </c:pt>
                <c:pt idx="722">
                  <c:v>0.07</c:v>
                </c:pt>
                <c:pt idx="723">
                  <c:v>0.11</c:v>
                </c:pt>
                <c:pt idx="724">
                  <c:v>0.09</c:v>
                </c:pt>
                <c:pt idx="725">
                  <c:v>0.04</c:v>
                </c:pt>
                <c:pt idx="726">
                  <c:v>0.03</c:v>
                </c:pt>
                <c:pt idx="727">
                  <c:v>0.01</c:v>
                </c:pt>
                <c:pt idx="728">
                  <c:v>0.03</c:v>
                </c:pt>
                <c:pt idx="729">
                  <c:v>0.05</c:v>
                </c:pt>
                <c:pt idx="730">
                  <c:v>0.1</c:v>
                </c:pt>
                <c:pt idx="731">
                  <c:v>0.02</c:v>
                </c:pt>
                <c:pt idx="732">
                  <c:v>0.07</c:v>
                </c:pt>
                <c:pt idx="733">
                  <c:v>0.2</c:v>
                </c:pt>
                <c:pt idx="734">
                  <c:v>0.03</c:v>
                </c:pt>
                <c:pt idx="735">
                  <c:v>0.14</c:v>
                </c:pt>
                <c:pt idx="736">
                  <c:v>0.03</c:v>
                </c:pt>
                <c:pt idx="737">
                  <c:v>0.02</c:v>
                </c:pt>
                <c:pt idx="738">
                  <c:v>0.4</c:v>
                </c:pt>
                <c:pt idx="739">
                  <c:v>0.07</c:v>
                </c:pt>
                <c:pt idx="740">
                  <c:v>0.07</c:v>
                </c:pt>
                <c:pt idx="741">
                  <c:v>0.09</c:v>
                </c:pt>
                <c:pt idx="742">
                  <c:v>0.05</c:v>
                </c:pt>
                <c:pt idx="743">
                  <c:v>0.08</c:v>
                </c:pt>
                <c:pt idx="744">
                  <c:v>0.09</c:v>
                </c:pt>
                <c:pt idx="745">
                  <c:v>0.03</c:v>
                </c:pt>
                <c:pt idx="746">
                  <c:v>0.21</c:v>
                </c:pt>
                <c:pt idx="747">
                  <c:v>0.28</c:v>
                </c:pt>
                <c:pt idx="748">
                  <c:v>0.04</c:v>
                </c:pt>
                <c:pt idx="749">
                  <c:v>0.08</c:v>
                </c:pt>
                <c:pt idx="750">
                  <c:v>0.01</c:v>
                </c:pt>
                <c:pt idx="751">
                  <c:v>0.14</c:v>
                </c:pt>
                <c:pt idx="752">
                  <c:v>0.06</c:v>
                </c:pt>
                <c:pt idx="753">
                  <c:v>0.07</c:v>
                </c:pt>
                <c:pt idx="754">
                  <c:v>0.16</c:v>
                </c:pt>
                <c:pt idx="755">
                  <c:v>0.08</c:v>
                </c:pt>
                <c:pt idx="756">
                  <c:v>0.02</c:v>
                </c:pt>
                <c:pt idx="757">
                  <c:v>0.03</c:v>
                </c:pt>
                <c:pt idx="758">
                  <c:v>0.13</c:v>
                </c:pt>
                <c:pt idx="759">
                  <c:v>0.07</c:v>
                </c:pt>
                <c:pt idx="760">
                  <c:v>0.09</c:v>
                </c:pt>
                <c:pt idx="761">
                  <c:v>0.13</c:v>
                </c:pt>
                <c:pt idx="762">
                  <c:v>0.11</c:v>
                </c:pt>
                <c:pt idx="763">
                  <c:v>0.01</c:v>
                </c:pt>
                <c:pt idx="764">
                  <c:v>0.02</c:v>
                </c:pt>
                <c:pt idx="765">
                  <c:v>0.04</c:v>
                </c:pt>
                <c:pt idx="766">
                  <c:v>0.34</c:v>
                </c:pt>
                <c:pt idx="767">
                  <c:v>0.02</c:v>
                </c:pt>
                <c:pt idx="768">
                  <c:v>0.02</c:v>
                </c:pt>
                <c:pt idx="769">
                  <c:v>0.05</c:v>
                </c:pt>
                <c:pt idx="770">
                  <c:v>0.06</c:v>
                </c:pt>
                <c:pt idx="771">
                  <c:v>0.14</c:v>
                </c:pt>
                <c:pt idx="772">
                  <c:v>0.19</c:v>
                </c:pt>
                <c:pt idx="773">
                  <c:v>0.06</c:v>
                </c:pt>
                <c:pt idx="774">
                  <c:v>0.11</c:v>
                </c:pt>
                <c:pt idx="775">
                  <c:v>0.02</c:v>
                </c:pt>
                <c:pt idx="776">
                  <c:v>0.04</c:v>
                </c:pt>
                <c:pt idx="777">
                  <c:v>0.02</c:v>
                </c:pt>
                <c:pt idx="778">
                  <c:v>0.1</c:v>
                </c:pt>
                <c:pt idx="779">
                  <c:v>0.02</c:v>
                </c:pt>
                <c:pt idx="780">
                  <c:v>0.08</c:v>
                </c:pt>
                <c:pt idx="781">
                  <c:v>0.04</c:v>
                </c:pt>
                <c:pt idx="782">
                  <c:v>0.25</c:v>
                </c:pt>
                <c:pt idx="783">
                  <c:v>0.02</c:v>
                </c:pt>
                <c:pt idx="784">
                  <c:v>0.07</c:v>
                </c:pt>
                <c:pt idx="785">
                  <c:v>0.03</c:v>
                </c:pt>
                <c:pt idx="786">
                  <c:v>0.06</c:v>
                </c:pt>
                <c:pt idx="787">
                  <c:v>0.59</c:v>
                </c:pt>
                <c:pt idx="788">
                  <c:v>0.13</c:v>
                </c:pt>
                <c:pt idx="789">
                  <c:v>0.12</c:v>
                </c:pt>
                <c:pt idx="790">
                  <c:v>0.03</c:v>
                </c:pt>
                <c:pt idx="791">
                  <c:v>0.24</c:v>
                </c:pt>
                <c:pt idx="792">
                  <c:v>0.07</c:v>
                </c:pt>
                <c:pt idx="793">
                  <c:v>0.06</c:v>
                </c:pt>
                <c:pt idx="794">
                  <c:v>0.06</c:v>
                </c:pt>
                <c:pt idx="795">
                  <c:v>0.01</c:v>
                </c:pt>
                <c:pt idx="796">
                  <c:v>0.02</c:v>
                </c:pt>
                <c:pt idx="797">
                  <c:v>0.05</c:v>
                </c:pt>
                <c:pt idx="798">
                  <c:v>0.05</c:v>
                </c:pt>
                <c:pt idx="799">
                  <c:v>0.02</c:v>
                </c:pt>
                <c:pt idx="800">
                  <c:v>0.03</c:v>
                </c:pt>
                <c:pt idx="801">
                  <c:v>0.25</c:v>
                </c:pt>
                <c:pt idx="802">
                  <c:v>0.03</c:v>
                </c:pt>
                <c:pt idx="803">
                  <c:v>0.41</c:v>
                </c:pt>
                <c:pt idx="804">
                  <c:v>0.13</c:v>
                </c:pt>
                <c:pt idx="805">
                  <c:v>0.03</c:v>
                </c:pt>
                <c:pt idx="806">
                  <c:v>0.03</c:v>
                </c:pt>
                <c:pt idx="807">
                  <c:v>0.02</c:v>
                </c:pt>
                <c:pt idx="808">
                  <c:v>0.14</c:v>
                </c:pt>
                <c:pt idx="809">
                  <c:v>0.05</c:v>
                </c:pt>
                <c:pt idx="810">
                  <c:v>0.02</c:v>
                </c:pt>
                <c:pt idx="811">
                  <c:v>0.05</c:v>
                </c:pt>
                <c:pt idx="812">
                  <c:v>0.06</c:v>
                </c:pt>
                <c:pt idx="813">
                  <c:v>0.03</c:v>
                </c:pt>
                <c:pt idx="814">
                  <c:v>0.02</c:v>
                </c:pt>
                <c:pt idx="815">
                  <c:v>0.05</c:v>
                </c:pt>
                <c:pt idx="816">
                  <c:v>0.07</c:v>
                </c:pt>
                <c:pt idx="817">
                  <c:v>0.13</c:v>
                </c:pt>
                <c:pt idx="818">
                  <c:v>0.09</c:v>
                </c:pt>
                <c:pt idx="819">
                  <c:v>0.09</c:v>
                </c:pt>
                <c:pt idx="820">
                  <c:v>0.02</c:v>
                </c:pt>
                <c:pt idx="821">
                  <c:v>0.07</c:v>
                </c:pt>
                <c:pt idx="822">
                  <c:v>0.02</c:v>
                </c:pt>
                <c:pt idx="823">
                  <c:v>0.08</c:v>
                </c:pt>
                <c:pt idx="824">
                  <c:v>0.04</c:v>
                </c:pt>
                <c:pt idx="825">
                  <c:v>0.01</c:v>
                </c:pt>
                <c:pt idx="826">
                  <c:v>0.08</c:v>
                </c:pt>
                <c:pt idx="827">
                  <c:v>0.09</c:v>
                </c:pt>
                <c:pt idx="828">
                  <c:v>0.07</c:v>
                </c:pt>
                <c:pt idx="829">
                  <c:v>0.14</c:v>
                </c:pt>
                <c:pt idx="830">
                  <c:v>0.05</c:v>
                </c:pt>
                <c:pt idx="831">
                  <c:v>0.03</c:v>
                </c:pt>
                <c:pt idx="832">
                  <c:v>0.06</c:v>
                </c:pt>
                <c:pt idx="833">
                  <c:v>0.27</c:v>
                </c:pt>
                <c:pt idx="834">
                  <c:v>0.03</c:v>
                </c:pt>
                <c:pt idx="835">
                  <c:v>0.03</c:v>
                </c:pt>
                <c:pt idx="836">
                  <c:v>0.05</c:v>
                </c:pt>
                <c:pt idx="837">
                  <c:v>0.05</c:v>
                </c:pt>
                <c:pt idx="838">
                  <c:v>0.06</c:v>
                </c:pt>
                <c:pt idx="839">
                  <c:v>0.02</c:v>
                </c:pt>
                <c:pt idx="840">
                  <c:v>0.1</c:v>
                </c:pt>
                <c:pt idx="841">
                  <c:v>0.01</c:v>
                </c:pt>
                <c:pt idx="842">
                  <c:v>0.02</c:v>
                </c:pt>
                <c:pt idx="843">
                  <c:v>0.03</c:v>
                </c:pt>
                <c:pt idx="844">
                  <c:v>0.33</c:v>
                </c:pt>
                <c:pt idx="845">
                  <c:v>0.07</c:v>
                </c:pt>
                <c:pt idx="846">
                  <c:v>0.02</c:v>
                </c:pt>
                <c:pt idx="847">
                  <c:v>0.02</c:v>
                </c:pt>
                <c:pt idx="848">
                  <c:v>0.05</c:v>
                </c:pt>
                <c:pt idx="849">
                  <c:v>0.01</c:v>
                </c:pt>
                <c:pt idx="850">
                  <c:v>0.06</c:v>
                </c:pt>
                <c:pt idx="851">
                  <c:v>0.2</c:v>
                </c:pt>
                <c:pt idx="852">
                  <c:v>0.02</c:v>
                </c:pt>
                <c:pt idx="853">
                  <c:v>0.03</c:v>
                </c:pt>
                <c:pt idx="854">
                  <c:v>0.05</c:v>
                </c:pt>
                <c:pt idx="855">
                  <c:v>0.05</c:v>
                </c:pt>
                <c:pt idx="856">
                  <c:v>0.03</c:v>
                </c:pt>
                <c:pt idx="857">
                  <c:v>0.24</c:v>
                </c:pt>
                <c:pt idx="858">
                  <c:v>0.03</c:v>
                </c:pt>
                <c:pt idx="859">
                  <c:v>0.02</c:v>
                </c:pt>
                <c:pt idx="860">
                  <c:v>0.08</c:v>
                </c:pt>
                <c:pt idx="861">
                  <c:v>0.06</c:v>
                </c:pt>
                <c:pt idx="862">
                  <c:v>0.1</c:v>
                </c:pt>
                <c:pt idx="863">
                  <c:v>0.03</c:v>
                </c:pt>
                <c:pt idx="864">
                  <c:v>0.02</c:v>
                </c:pt>
                <c:pt idx="865">
                  <c:v>0.02</c:v>
                </c:pt>
                <c:pt idx="866">
                  <c:v>0.01</c:v>
                </c:pt>
                <c:pt idx="867">
                  <c:v>0.01</c:v>
                </c:pt>
                <c:pt idx="868">
                  <c:v>0.02</c:v>
                </c:pt>
                <c:pt idx="869">
                  <c:v>0.02</c:v>
                </c:pt>
                <c:pt idx="870">
                  <c:v>0.02</c:v>
                </c:pt>
                <c:pt idx="871">
                  <c:v>0.02</c:v>
                </c:pt>
                <c:pt idx="872">
                  <c:v>0.06</c:v>
                </c:pt>
                <c:pt idx="873">
                  <c:v>0.03</c:v>
                </c:pt>
                <c:pt idx="874">
                  <c:v>0.05</c:v>
                </c:pt>
                <c:pt idx="875">
                  <c:v>0.02</c:v>
                </c:pt>
                <c:pt idx="876">
                  <c:v>0.02</c:v>
                </c:pt>
                <c:pt idx="877">
                  <c:v>0.3</c:v>
                </c:pt>
                <c:pt idx="878">
                  <c:v>0.04</c:v>
                </c:pt>
                <c:pt idx="879">
                  <c:v>0.04</c:v>
                </c:pt>
                <c:pt idx="880">
                  <c:v>0.05</c:v>
                </c:pt>
                <c:pt idx="881">
                  <c:v>0.03</c:v>
                </c:pt>
                <c:pt idx="882">
                  <c:v>0.01</c:v>
                </c:pt>
                <c:pt idx="883">
                  <c:v>0.01</c:v>
                </c:pt>
                <c:pt idx="884">
                  <c:v>0.15</c:v>
                </c:pt>
                <c:pt idx="885">
                  <c:v>0.02</c:v>
                </c:pt>
                <c:pt idx="886">
                  <c:v>0.11</c:v>
                </c:pt>
                <c:pt idx="887">
                  <c:v>0.01</c:v>
                </c:pt>
                <c:pt idx="888">
                  <c:v>0.01</c:v>
                </c:pt>
                <c:pt idx="889">
                  <c:v>0.01</c:v>
                </c:pt>
                <c:pt idx="890">
                  <c:v>0.04</c:v>
                </c:pt>
                <c:pt idx="891">
                  <c:v>0.05</c:v>
                </c:pt>
                <c:pt idx="892">
                  <c:v>0.02</c:v>
                </c:pt>
                <c:pt idx="893">
                  <c:v>0.04</c:v>
                </c:pt>
                <c:pt idx="894">
                  <c:v>0.01</c:v>
                </c:pt>
                <c:pt idx="895">
                  <c:v>0.22</c:v>
                </c:pt>
                <c:pt idx="896">
                  <c:v>0.08</c:v>
                </c:pt>
                <c:pt idx="897">
                  <c:v>0.02</c:v>
                </c:pt>
                <c:pt idx="898">
                  <c:v>0.06</c:v>
                </c:pt>
                <c:pt idx="899">
                  <c:v>0.14</c:v>
                </c:pt>
                <c:pt idx="900">
                  <c:v>0.01</c:v>
                </c:pt>
                <c:pt idx="901">
                  <c:v>0.02</c:v>
                </c:pt>
                <c:pt idx="902">
                  <c:v>0.3</c:v>
                </c:pt>
                <c:pt idx="903">
                  <c:v>0.04</c:v>
                </c:pt>
                <c:pt idx="904">
                  <c:v>0.02</c:v>
                </c:pt>
                <c:pt idx="905">
                  <c:v>0.09</c:v>
                </c:pt>
                <c:pt idx="906">
                  <c:v>0.01</c:v>
                </c:pt>
                <c:pt idx="907">
                  <c:v>0.04</c:v>
                </c:pt>
                <c:pt idx="908">
                  <c:v>0.09</c:v>
                </c:pt>
                <c:pt idx="909">
                  <c:v>0.01</c:v>
                </c:pt>
                <c:pt idx="910">
                  <c:v>0.02</c:v>
                </c:pt>
                <c:pt idx="911">
                  <c:v>0.04</c:v>
                </c:pt>
                <c:pt idx="912">
                  <c:v>0.02</c:v>
                </c:pt>
                <c:pt idx="913">
                  <c:v>0.08</c:v>
                </c:pt>
                <c:pt idx="914">
                  <c:v>0.08</c:v>
                </c:pt>
                <c:pt idx="915">
                  <c:v>0.03</c:v>
                </c:pt>
                <c:pt idx="916">
                  <c:v>0.06</c:v>
                </c:pt>
                <c:pt idx="917">
                  <c:v>0.04</c:v>
                </c:pt>
                <c:pt idx="918">
                  <c:v>0.11</c:v>
                </c:pt>
                <c:pt idx="919">
                  <c:v>0.11</c:v>
                </c:pt>
                <c:pt idx="920">
                  <c:v>0.08</c:v>
                </c:pt>
                <c:pt idx="921">
                  <c:v>0.04</c:v>
                </c:pt>
                <c:pt idx="922">
                  <c:v>0.05</c:v>
                </c:pt>
                <c:pt idx="923">
                  <c:v>0.01</c:v>
                </c:pt>
                <c:pt idx="924">
                  <c:v>0.01</c:v>
                </c:pt>
                <c:pt idx="925">
                  <c:v>0.07</c:v>
                </c:pt>
                <c:pt idx="926">
                  <c:v>0.01</c:v>
                </c:pt>
                <c:pt idx="927">
                  <c:v>0.03</c:v>
                </c:pt>
                <c:pt idx="928">
                  <c:v>0.18</c:v>
                </c:pt>
                <c:pt idx="929">
                  <c:v>0.08</c:v>
                </c:pt>
                <c:pt idx="930">
                  <c:v>0.03</c:v>
                </c:pt>
                <c:pt idx="931">
                  <c:v>0.06</c:v>
                </c:pt>
                <c:pt idx="932">
                  <c:v>0.02</c:v>
                </c:pt>
                <c:pt idx="933">
                  <c:v>0.08</c:v>
                </c:pt>
                <c:pt idx="934">
                  <c:v>0.04</c:v>
                </c:pt>
                <c:pt idx="935">
                  <c:v>0.02</c:v>
                </c:pt>
                <c:pt idx="936">
                  <c:v>0.02</c:v>
                </c:pt>
                <c:pt idx="937">
                  <c:v>0.17</c:v>
                </c:pt>
                <c:pt idx="938">
                  <c:v>0.05</c:v>
                </c:pt>
                <c:pt idx="939">
                  <c:v>0.03</c:v>
                </c:pt>
                <c:pt idx="940">
                  <c:v>0.01</c:v>
                </c:pt>
                <c:pt idx="941">
                  <c:v>0.01</c:v>
                </c:pt>
                <c:pt idx="942">
                  <c:v>0.01</c:v>
                </c:pt>
                <c:pt idx="943">
                  <c:v>0.04</c:v>
                </c:pt>
                <c:pt idx="944">
                  <c:v>0.01</c:v>
                </c:pt>
                <c:pt idx="945">
                  <c:v>0.05</c:v>
                </c:pt>
                <c:pt idx="946">
                  <c:v>0.04</c:v>
                </c:pt>
                <c:pt idx="947">
                  <c:v>0.01</c:v>
                </c:pt>
                <c:pt idx="948">
                  <c:v>0.02</c:v>
                </c:pt>
                <c:pt idx="949">
                  <c:v>0.06</c:v>
                </c:pt>
                <c:pt idx="950">
                  <c:v>0.04</c:v>
                </c:pt>
                <c:pt idx="951">
                  <c:v>0.02</c:v>
                </c:pt>
                <c:pt idx="952">
                  <c:v>0.01</c:v>
                </c:pt>
                <c:pt idx="953">
                  <c:v>0.02</c:v>
                </c:pt>
                <c:pt idx="954">
                  <c:v>0.05</c:v>
                </c:pt>
                <c:pt idx="955">
                  <c:v>0.1</c:v>
                </c:pt>
                <c:pt idx="956">
                  <c:v>0.1</c:v>
                </c:pt>
                <c:pt idx="957">
                  <c:v>0.08</c:v>
                </c:pt>
                <c:pt idx="958">
                  <c:v>0.06</c:v>
                </c:pt>
                <c:pt idx="959">
                  <c:v>0.02</c:v>
                </c:pt>
                <c:pt idx="960">
                  <c:v>0.01</c:v>
                </c:pt>
                <c:pt idx="961">
                  <c:v>0.02</c:v>
                </c:pt>
                <c:pt idx="962">
                  <c:v>0.01</c:v>
                </c:pt>
                <c:pt idx="963">
                  <c:v>0.07</c:v>
                </c:pt>
                <c:pt idx="964">
                  <c:v>0.02</c:v>
                </c:pt>
                <c:pt idx="965">
                  <c:v>0.04</c:v>
                </c:pt>
                <c:pt idx="966">
                  <c:v>0.01</c:v>
                </c:pt>
                <c:pt idx="967">
                  <c:v>0.06</c:v>
                </c:pt>
                <c:pt idx="968">
                  <c:v>0.01</c:v>
                </c:pt>
                <c:pt idx="969">
                  <c:v>0.06</c:v>
                </c:pt>
                <c:pt idx="970">
                  <c:v>0.01</c:v>
                </c:pt>
                <c:pt idx="971">
                  <c:v>0.12</c:v>
                </c:pt>
                <c:pt idx="972">
                  <c:v>0.06</c:v>
                </c:pt>
                <c:pt idx="973">
                  <c:v>0.03</c:v>
                </c:pt>
                <c:pt idx="974">
                  <c:v>0.04</c:v>
                </c:pt>
                <c:pt idx="975">
                  <c:v>0.06</c:v>
                </c:pt>
                <c:pt idx="976">
                  <c:v>0.02</c:v>
                </c:pt>
                <c:pt idx="977">
                  <c:v>0.05</c:v>
                </c:pt>
                <c:pt idx="978">
                  <c:v>0.03</c:v>
                </c:pt>
                <c:pt idx="979">
                  <c:v>0.01</c:v>
                </c:pt>
                <c:pt idx="980">
                  <c:v>0.03</c:v>
                </c:pt>
                <c:pt idx="981">
                  <c:v>0.02</c:v>
                </c:pt>
                <c:pt idx="982">
                  <c:v>0.08</c:v>
                </c:pt>
                <c:pt idx="983">
                  <c:v>0.01</c:v>
                </c:pt>
                <c:pt idx="984">
                  <c:v>0.05</c:v>
                </c:pt>
                <c:pt idx="985">
                  <c:v>0.01</c:v>
                </c:pt>
                <c:pt idx="986">
                  <c:v>0.04</c:v>
                </c:pt>
                <c:pt idx="987">
                  <c:v>0.07</c:v>
                </c:pt>
                <c:pt idx="988">
                  <c:v>0.01</c:v>
                </c:pt>
                <c:pt idx="989">
                  <c:v>0.06</c:v>
                </c:pt>
                <c:pt idx="990">
                  <c:v>0.04</c:v>
                </c:pt>
                <c:pt idx="991">
                  <c:v>0.01</c:v>
                </c:pt>
                <c:pt idx="992">
                  <c:v>0.01</c:v>
                </c:pt>
                <c:pt idx="993">
                  <c:v>0.01</c:v>
                </c:pt>
                <c:pt idx="994">
                  <c:v>0.04</c:v>
                </c:pt>
                <c:pt idx="995">
                  <c:v>0.02</c:v>
                </c:pt>
                <c:pt idx="996">
                  <c:v>0.03</c:v>
                </c:pt>
                <c:pt idx="997">
                  <c:v>0.02</c:v>
                </c:pt>
                <c:pt idx="998">
                  <c:v>0.07</c:v>
                </c:pt>
                <c:pt idx="999">
                  <c:v>0.02</c:v>
                </c:pt>
                <c:pt idx="1000">
                  <c:v>0.04</c:v>
                </c:pt>
                <c:pt idx="1001">
                  <c:v>0.01</c:v>
                </c:pt>
                <c:pt idx="1002">
                  <c:v>0.02</c:v>
                </c:pt>
                <c:pt idx="1003">
                  <c:v>0.03</c:v>
                </c:pt>
                <c:pt idx="1004">
                  <c:v>0.01</c:v>
                </c:pt>
                <c:pt idx="1005">
                  <c:v>0.04</c:v>
                </c:pt>
                <c:pt idx="1006">
                  <c:v>0.02</c:v>
                </c:pt>
                <c:pt idx="1007">
                  <c:v>0.1</c:v>
                </c:pt>
                <c:pt idx="1008">
                  <c:v>0.02</c:v>
                </c:pt>
                <c:pt idx="1009">
                  <c:v>0.09</c:v>
                </c:pt>
                <c:pt idx="1010">
                  <c:v>0.05</c:v>
                </c:pt>
                <c:pt idx="1011">
                  <c:v>0.01</c:v>
                </c:pt>
                <c:pt idx="1012">
                  <c:v>0.02</c:v>
                </c:pt>
                <c:pt idx="1013">
                  <c:v>0.1</c:v>
                </c:pt>
                <c:pt idx="1014">
                  <c:v>0.01</c:v>
                </c:pt>
                <c:pt idx="1015">
                  <c:v>0.02</c:v>
                </c:pt>
                <c:pt idx="1016">
                  <c:v>0.01</c:v>
                </c:pt>
                <c:pt idx="1017">
                  <c:v>0.01</c:v>
                </c:pt>
                <c:pt idx="1018">
                  <c:v>0.01</c:v>
                </c:pt>
                <c:pt idx="1019">
                  <c:v>0.01</c:v>
                </c:pt>
                <c:pt idx="1020">
                  <c:v>0.01</c:v>
                </c:pt>
                <c:pt idx="1021">
                  <c:v>0.07</c:v>
                </c:pt>
                <c:pt idx="1022">
                  <c:v>0.08</c:v>
                </c:pt>
                <c:pt idx="1023">
                  <c:v>0.01</c:v>
                </c:pt>
                <c:pt idx="1024">
                  <c:v>0.01</c:v>
                </c:pt>
                <c:pt idx="1025">
                  <c:v>0.04</c:v>
                </c:pt>
                <c:pt idx="1026">
                  <c:v>0.01</c:v>
                </c:pt>
                <c:pt idx="1027">
                  <c:v>0.01</c:v>
                </c:pt>
                <c:pt idx="1028">
                  <c:v>0.04</c:v>
                </c:pt>
                <c:pt idx="1029">
                  <c:v>0.01</c:v>
                </c:pt>
                <c:pt idx="1030">
                  <c:v>0.05</c:v>
                </c:pt>
                <c:pt idx="1031">
                  <c:v>0.04</c:v>
                </c:pt>
                <c:pt idx="1032">
                  <c:v>0.03</c:v>
                </c:pt>
                <c:pt idx="1033">
                  <c:v>0.03</c:v>
                </c:pt>
                <c:pt idx="1034">
                  <c:v>0.01</c:v>
                </c:pt>
                <c:pt idx="1035">
                  <c:v>0.09</c:v>
                </c:pt>
                <c:pt idx="1036">
                  <c:v>0.03</c:v>
                </c:pt>
                <c:pt idx="1037">
                  <c:v>0.01</c:v>
                </c:pt>
                <c:pt idx="1038">
                  <c:v>0.04</c:v>
                </c:pt>
                <c:pt idx="1039">
                  <c:v>0.01</c:v>
                </c:pt>
                <c:pt idx="1040">
                  <c:v>0.02</c:v>
                </c:pt>
                <c:pt idx="1041">
                  <c:v>0.07</c:v>
                </c:pt>
                <c:pt idx="1042">
                  <c:v>0.01</c:v>
                </c:pt>
                <c:pt idx="1043">
                  <c:v>0.01</c:v>
                </c:pt>
                <c:pt idx="1044">
                  <c:v>0.01</c:v>
                </c:pt>
                <c:pt idx="1045">
                  <c:v>0.02</c:v>
                </c:pt>
                <c:pt idx="1046">
                  <c:v>0.05</c:v>
                </c:pt>
                <c:pt idx="1047">
                  <c:v>0.02</c:v>
                </c:pt>
                <c:pt idx="1048">
                  <c:v>0.03</c:v>
                </c:pt>
                <c:pt idx="1049">
                  <c:v>0.02</c:v>
                </c:pt>
                <c:pt idx="1050">
                  <c:v>0.06</c:v>
                </c:pt>
                <c:pt idx="1051">
                  <c:v>0.03</c:v>
                </c:pt>
                <c:pt idx="1052">
                  <c:v>0.01</c:v>
                </c:pt>
                <c:pt idx="1053">
                  <c:v>0.01</c:v>
                </c:pt>
                <c:pt idx="1054">
                  <c:v>0.07</c:v>
                </c:pt>
                <c:pt idx="1055">
                  <c:v>0.02</c:v>
                </c:pt>
                <c:pt idx="1056">
                  <c:v>0.01</c:v>
                </c:pt>
                <c:pt idx="1057">
                  <c:v>0.01</c:v>
                </c:pt>
                <c:pt idx="1058">
                  <c:v>0.01</c:v>
                </c:pt>
                <c:pt idx="1059">
                  <c:v>0.01</c:v>
                </c:pt>
                <c:pt idx="1060">
                  <c:v>0.01</c:v>
                </c:pt>
                <c:pt idx="1061">
                  <c:v>0.02</c:v>
                </c:pt>
                <c:pt idx="1062">
                  <c:v>0.01</c:v>
                </c:pt>
                <c:pt idx="1063">
                  <c:v>0.01</c:v>
                </c:pt>
                <c:pt idx="1064">
                  <c:v>0.01</c:v>
                </c:pt>
                <c:pt idx="1065">
                  <c:v>0.03</c:v>
                </c:pt>
                <c:pt idx="1066">
                  <c:v>0.01</c:v>
                </c:pt>
                <c:pt idx="1067">
                  <c:v>0.04</c:v>
                </c:pt>
                <c:pt idx="1068">
                  <c:v>0.03</c:v>
                </c:pt>
                <c:pt idx="1069">
                  <c:v>0.02</c:v>
                </c:pt>
                <c:pt idx="1070">
                  <c:v>0.03</c:v>
                </c:pt>
                <c:pt idx="1071">
                  <c:v>0.11</c:v>
                </c:pt>
                <c:pt idx="1072">
                  <c:v>0.01</c:v>
                </c:pt>
                <c:pt idx="1073">
                  <c:v>0.01</c:v>
                </c:pt>
                <c:pt idx="1074">
                  <c:v>0.03</c:v>
                </c:pt>
                <c:pt idx="1075">
                  <c:v>0.05</c:v>
                </c:pt>
                <c:pt idx="1076">
                  <c:v>0.02</c:v>
                </c:pt>
                <c:pt idx="1077">
                  <c:v>0.04</c:v>
                </c:pt>
                <c:pt idx="1078">
                  <c:v>0.01</c:v>
                </c:pt>
                <c:pt idx="1079">
                  <c:v>0.07</c:v>
                </c:pt>
                <c:pt idx="1080">
                  <c:v>0.01</c:v>
                </c:pt>
                <c:pt idx="1081">
                  <c:v>0.02</c:v>
                </c:pt>
                <c:pt idx="1082">
                  <c:v>0.01</c:v>
                </c:pt>
                <c:pt idx="1083">
                  <c:v>0.01</c:v>
                </c:pt>
                <c:pt idx="1084">
                  <c:v>0.01</c:v>
                </c:pt>
                <c:pt idx="1085">
                  <c:v>0.02</c:v>
                </c:pt>
                <c:pt idx="1086">
                  <c:v>0.01</c:v>
                </c:pt>
                <c:pt idx="1087">
                  <c:v>0.01</c:v>
                </c:pt>
                <c:pt idx="1088">
                  <c:v>0.01</c:v>
                </c:pt>
                <c:pt idx="1089">
                  <c:v>0.01</c:v>
                </c:pt>
                <c:pt idx="1090">
                  <c:v>0.07</c:v>
                </c:pt>
                <c:pt idx="1091">
                  <c:v>0.01</c:v>
                </c:pt>
                <c:pt idx="1092">
                  <c:v>0.01</c:v>
                </c:pt>
                <c:pt idx="1093">
                  <c:v>0.01</c:v>
                </c:pt>
                <c:pt idx="1094">
                  <c:v>0.01</c:v>
                </c:pt>
                <c:pt idx="1095">
                  <c:v>0.01</c:v>
                </c:pt>
                <c:pt idx="1096">
                  <c:v>0.01</c:v>
                </c:pt>
                <c:pt idx="1097">
                  <c:v>0.01</c:v>
                </c:pt>
                <c:pt idx="1098">
                  <c:v>0.02</c:v>
                </c:pt>
                <c:pt idx="1099">
                  <c:v>0.01</c:v>
                </c:pt>
                <c:pt idx="1100">
                  <c:v>0.03</c:v>
                </c:pt>
                <c:pt idx="1101">
                  <c:v>0.02</c:v>
                </c:pt>
                <c:pt idx="1102">
                  <c:v>0.01</c:v>
                </c:pt>
                <c:pt idx="1103">
                  <c:v>0.02</c:v>
                </c:pt>
                <c:pt idx="1104">
                  <c:v>0.01</c:v>
                </c:pt>
                <c:pt idx="1105">
                  <c:v>0.01</c:v>
                </c:pt>
                <c:pt idx="1106">
                  <c:v>0.01</c:v>
                </c:pt>
                <c:pt idx="1107">
                  <c:v>0.02</c:v>
                </c:pt>
                <c:pt idx="1108">
                  <c:v>0.03</c:v>
                </c:pt>
                <c:pt idx="1109">
                  <c:v>0.01</c:v>
                </c:pt>
                <c:pt idx="1110">
                  <c:v>0.01</c:v>
                </c:pt>
                <c:pt idx="1111">
                  <c:v>0.03</c:v>
                </c:pt>
                <c:pt idx="1112">
                  <c:v>0.01</c:v>
                </c:pt>
                <c:pt idx="1113">
                  <c:v>0.02</c:v>
                </c:pt>
                <c:pt idx="1114">
                  <c:v>0.04</c:v>
                </c:pt>
                <c:pt idx="1115">
                  <c:v>0.02</c:v>
                </c:pt>
                <c:pt idx="1116">
                  <c:v>0.03</c:v>
                </c:pt>
                <c:pt idx="1117">
                  <c:v>0.01</c:v>
                </c:pt>
                <c:pt idx="1118">
                  <c:v>0.01</c:v>
                </c:pt>
                <c:pt idx="1119">
                  <c:v>0.01</c:v>
                </c:pt>
                <c:pt idx="1120">
                  <c:v>0.04</c:v>
                </c:pt>
                <c:pt idx="1121">
                  <c:v>0.01</c:v>
                </c:pt>
                <c:pt idx="1122">
                  <c:v>0.02</c:v>
                </c:pt>
                <c:pt idx="1123">
                  <c:v>0.01</c:v>
                </c:pt>
                <c:pt idx="1124">
                  <c:v>0.01</c:v>
                </c:pt>
                <c:pt idx="1125">
                  <c:v>0.01</c:v>
                </c:pt>
                <c:pt idx="1126">
                  <c:v>0.01</c:v>
                </c:pt>
                <c:pt idx="1127">
                  <c:v>0.01</c:v>
                </c:pt>
                <c:pt idx="1128">
                  <c:v>0.01</c:v>
                </c:pt>
                <c:pt idx="1129">
                  <c:v>0.04</c:v>
                </c:pt>
                <c:pt idx="1130">
                  <c:v>0.01</c:v>
                </c:pt>
                <c:pt idx="1131">
                  <c:v>0.01</c:v>
                </c:pt>
                <c:pt idx="1132">
                  <c:v>0.01</c:v>
                </c:pt>
                <c:pt idx="1133">
                  <c:v>0.02</c:v>
                </c:pt>
                <c:pt idx="1134">
                  <c:v>0.01</c:v>
                </c:pt>
                <c:pt idx="1135">
                  <c:v>0.02</c:v>
                </c:pt>
                <c:pt idx="1136">
                  <c:v>0.01</c:v>
                </c:pt>
                <c:pt idx="1137">
                  <c:v>0.01</c:v>
                </c:pt>
                <c:pt idx="1138">
                  <c:v>0.01</c:v>
                </c:pt>
                <c:pt idx="1139">
                  <c:v>0.03</c:v>
                </c:pt>
                <c:pt idx="1140">
                  <c:v>0.01</c:v>
                </c:pt>
                <c:pt idx="1141">
                  <c:v>0.05</c:v>
                </c:pt>
                <c:pt idx="1142">
                  <c:v>0.01</c:v>
                </c:pt>
                <c:pt idx="1143">
                  <c:v>0.01</c:v>
                </c:pt>
                <c:pt idx="1144">
                  <c:v>0.05</c:v>
                </c:pt>
                <c:pt idx="1145">
                  <c:v>0.01</c:v>
                </c:pt>
                <c:pt idx="1146">
                  <c:v>0.02</c:v>
                </c:pt>
                <c:pt idx="1147">
                  <c:v>0.02</c:v>
                </c:pt>
                <c:pt idx="1148">
                  <c:v>0.01</c:v>
                </c:pt>
                <c:pt idx="1149">
                  <c:v>0.02</c:v>
                </c:pt>
                <c:pt idx="1150">
                  <c:v>0.01</c:v>
                </c:pt>
                <c:pt idx="1151">
                  <c:v>0.02</c:v>
                </c:pt>
                <c:pt idx="1152">
                  <c:v>0.08</c:v>
                </c:pt>
                <c:pt idx="1153">
                  <c:v>0.01</c:v>
                </c:pt>
                <c:pt idx="1154">
                  <c:v>0.01</c:v>
                </c:pt>
                <c:pt idx="1155">
                  <c:v>0.01</c:v>
                </c:pt>
                <c:pt idx="1156">
                  <c:v>0.01</c:v>
                </c:pt>
                <c:pt idx="1157">
                  <c:v>0.01</c:v>
                </c:pt>
                <c:pt idx="1158">
                  <c:v>0.01</c:v>
                </c:pt>
                <c:pt idx="1159">
                  <c:v>0.03</c:v>
                </c:pt>
                <c:pt idx="1160">
                  <c:v>0.01</c:v>
                </c:pt>
                <c:pt idx="1161">
                  <c:v>0.01</c:v>
                </c:pt>
                <c:pt idx="1162">
                  <c:v>0.02</c:v>
                </c:pt>
                <c:pt idx="1163">
                  <c:v>0.06</c:v>
                </c:pt>
                <c:pt idx="1164">
                  <c:v>0.01</c:v>
                </c:pt>
                <c:pt idx="1165">
                  <c:v>0.05</c:v>
                </c:pt>
                <c:pt idx="1166">
                  <c:v>0.01</c:v>
                </c:pt>
                <c:pt idx="1167">
                  <c:v>0.02</c:v>
                </c:pt>
                <c:pt idx="1168">
                  <c:v>0.03</c:v>
                </c:pt>
                <c:pt idx="1169">
                  <c:v>0.01</c:v>
                </c:pt>
                <c:pt idx="1170">
                  <c:v>0.01</c:v>
                </c:pt>
                <c:pt idx="1171">
                  <c:v>0.01</c:v>
                </c:pt>
                <c:pt idx="1172">
                  <c:v>0.01</c:v>
                </c:pt>
                <c:pt idx="1173">
                  <c:v>0.05</c:v>
                </c:pt>
                <c:pt idx="1174">
                  <c:v>0.03</c:v>
                </c:pt>
                <c:pt idx="1175">
                  <c:v>0.01</c:v>
                </c:pt>
                <c:pt idx="1176">
                  <c:v>0.05</c:v>
                </c:pt>
                <c:pt idx="1177">
                  <c:v>0.01</c:v>
                </c:pt>
                <c:pt idx="1178">
                  <c:v>0.01</c:v>
                </c:pt>
                <c:pt idx="1179">
                  <c:v>0.02</c:v>
                </c:pt>
                <c:pt idx="1180">
                  <c:v>0.01</c:v>
                </c:pt>
                <c:pt idx="1181">
                  <c:v>0.02</c:v>
                </c:pt>
                <c:pt idx="1182">
                  <c:v>0.02</c:v>
                </c:pt>
                <c:pt idx="1183">
                  <c:v>0.01</c:v>
                </c:pt>
                <c:pt idx="1184">
                  <c:v>0.01</c:v>
                </c:pt>
                <c:pt idx="1185">
                  <c:v>0.01</c:v>
                </c:pt>
                <c:pt idx="1186">
                  <c:v>0.09</c:v>
                </c:pt>
                <c:pt idx="1187">
                  <c:v>0.01</c:v>
                </c:pt>
                <c:pt idx="1188">
                  <c:v>0.01</c:v>
                </c:pt>
                <c:pt idx="1189">
                  <c:v>0.01</c:v>
                </c:pt>
                <c:pt idx="1190">
                  <c:v>0.01</c:v>
                </c:pt>
                <c:pt idx="1191">
                  <c:v>0.01</c:v>
                </c:pt>
                <c:pt idx="1192">
                  <c:v>0.02</c:v>
                </c:pt>
                <c:pt idx="1193">
                  <c:v>0.01</c:v>
                </c:pt>
                <c:pt idx="1194">
                  <c:v>0.01</c:v>
                </c:pt>
                <c:pt idx="1195">
                  <c:v>0.01</c:v>
                </c:pt>
                <c:pt idx="1196">
                  <c:v>0.01</c:v>
                </c:pt>
                <c:pt idx="1197">
                  <c:v>0.01</c:v>
                </c:pt>
                <c:pt idx="1198">
                  <c:v>0.01</c:v>
                </c:pt>
                <c:pt idx="1199">
                  <c:v>0.01</c:v>
                </c:pt>
                <c:pt idx="1200">
                  <c:v>0.01</c:v>
                </c:pt>
                <c:pt idx="1201">
                  <c:v>0.01</c:v>
                </c:pt>
                <c:pt idx="1202">
                  <c:v>0.01</c:v>
                </c:pt>
                <c:pt idx="1203">
                  <c:v>0.01</c:v>
                </c:pt>
                <c:pt idx="1204">
                  <c:v>0.01</c:v>
                </c:pt>
                <c:pt idx="1205">
                  <c:v>0.01</c:v>
                </c:pt>
                <c:pt idx="1206">
                  <c:v>0.01</c:v>
                </c:pt>
                <c:pt idx="1207">
                  <c:v>0.02</c:v>
                </c:pt>
                <c:pt idx="1208">
                  <c:v>0.01</c:v>
                </c:pt>
                <c:pt idx="1209">
                  <c:v>0.03</c:v>
                </c:pt>
                <c:pt idx="1210">
                  <c:v>0.01</c:v>
                </c:pt>
                <c:pt idx="1211">
                  <c:v>0.02</c:v>
                </c:pt>
                <c:pt idx="1212">
                  <c:v>0.01</c:v>
                </c:pt>
                <c:pt idx="1213">
                  <c:v>0.01</c:v>
                </c:pt>
                <c:pt idx="1214">
                  <c:v>0.01</c:v>
                </c:pt>
                <c:pt idx="1215">
                  <c:v>0.01</c:v>
                </c:pt>
                <c:pt idx="1216">
                  <c:v>0.01</c:v>
                </c:pt>
                <c:pt idx="1217">
                  <c:v>0.01</c:v>
                </c:pt>
                <c:pt idx="1218">
                  <c:v>0.01</c:v>
                </c:pt>
                <c:pt idx="1219">
                  <c:v>0.01</c:v>
                </c:pt>
                <c:pt idx="1220">
                  <c:v>0.01</c:v>
                </c:pt>
                <c:pt idx="1221">
                  <c:v>0.01</c:v>
                </c:pt>
                <c:pt idx="1222">
                  <c:v>0.01</c:v>
                </c:pt>
                <c:pt idx="1223">
                  <c:v>0.01</c:v>
                </c:pt>
                <c:pt idx="1224">
                  <c:v>0.01</c:v>
                </c:pt>
                <c:pt idx="1225">
                  <c:v>0.01</c:v>
                </c:pt>
                <c:pt idx="1226">
                  <c:v>0.01</c:v>
                </c:pt>
                <c:pt idx="1227">
                  <c:v>0.01</c:v>
                </c:pt>
                <c:pt idx="1228">
                  <c:v>0.01</c:v>
                </c:pt>
                <c:pt idx="1229">
                  <c:v>0.01</c:v>
                </c:pt>
                <c:pt idx="1230">
                  <c:v>0.02</c:v>
                </c:pt>
                <c:pt idx="1231">
                  <c:v>0.01</c:v>
                </c:pt>
                <c:pt idx="1232">
                  <c:v>0.01</c:v>
                </c:pt>
                <c:pt idx="1233">
                  <c:v>0.01</c:v>
                </c:pt>
                <c:pt idx="1234">
                  <c:v>0.01</c:v>
                </c:pt>
                <c:pt idx="1235">
                  <c:v>0.01</c:v>
                </c:pt>
                <c:pt idx="1236">
                  <c:v>0.01</c:v>
                </c:pt>
                <c:pt idx="1237">
                  <c:v>0.01</c:v>
                </c:pt>
                <c:pt idx="1238">
                  <c:v>0.01</c:v>
                </c:pt>
                <c:pt idx="1239">
                  <c:v>0.01</c:v>
                </c:pt>
                <c:pt idx="1240">
                  <c:v>0.01</c:v>
                </c:pt>
                <c:pt idx="1241">
                  <c:v>0.01</c:v>
                </c:pt>
                <c:pt idx="1242">
                  <c:v>0.01</c:v>
                </c:pt>
                <c:pt idx="1243">
                  <c:v>0.02</c:v>
                </c:pt>
                <c:pt idx="1244">
                  <c:v>0.04</c:v>
                </c:pt>
                <c:pt idx="1245">
                  <c:v>0.01</c:v>
                </c:pt>
                <c:pt idx="1246">
                  <c:v>0.01</c:v>
                </c:pt>
                <c:pt idx="1247">
                  <c:v>0.01</c:v>
                </c:pt>
                <c:pt idx="1248">
                  <c:v>0.01</c:v>
                </c:pt>
                <c:pt idx="1249">
                  <c:v>0.01</c:v>
                </c:pt>
                <c:pt idx="1250">
                  <c:v>0.01</c:v>
                </c:pt>
                <c:pt idx="1251">
                  <c:v>0.01</c:v>
                </c:pt>
                <c:pt idx="1252">
                  <c:v>0.01</c:v>
                </c:pt>
                <c:pt idx="1253">
                  <c:v>0.01</c:v>
                </c:pt>
                <c:pt idx="1254">
                  <c:v>0.01</c:v>
                </c:pt>
                <c:pt idx="1255">
                  <c:v>0.01</c:v>
                </c:pt>
                <c:pt idx="1256">
                  <c:v>0.01</c:v>
                </c:pt>
                <c:pt idx="1257">
                  <c:v>0.01</c:v>
                </c:pt>
                <c:pt idx="1258">
                  <c:v>0.01</c:v>
                </c:pt>
                <c:pt idx="1259">
                  <c:v>0.01</c:v>
                </c:pt>
                <c:pt idx="1260">
                  <c:v>0.01</c:v>
                </c:pt>
                <c:pt idx="1261">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Item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00A097"/>
              </a:solidFill>
            </c:spPr>
            <c:extLst>
              <c:ext xmlns:c16="http://schemas.microsoft.com/office/drawing/2014/chart" uri="{C3380CC4-5D6E-409C-BE32-E72D297353CC}">
                <c16:uniqueId val="{000000EB-2993-41DE-A2CB-63102DE87051}"/>
              </c:ext>
            </c:extLst>
          </c:dPt>
          <c:dPt>
            <c:idx val="117"/>
            <c:invertIfNegative val="1"/>
            <c:bubble3D val="0"/>
            <c:spPr>
              <a:solidFill>
                <a:srgbClr val="00A097"/>
              </a:solidFill>
            </c:spPr>
            <c:extLst>
              <c:ext xmlns:c16="http://schemas.microsoft.com/office/drawing/2014/chart" uri="{C3380CC4-5D6E-409C-BE32-E72D297353CC}">
                <c16:uniqueId val="{000000ED-2993-41DE-A2CB-63102DE87051}"/>
              </c:ext>
            </c:extLst>
          </c:dPt>
          <c:dPt>
            <c:idx val="118"/>
            <c:invertIfNegative val="1"/>
            <c:bubble3D val="0"/>
            <c:spPr>
              <a:solidFill>
                <a:srgbClr val="00A097"/>
              </a:solidFill>
            </c:spPr>
            <c:extLst>
              <c:ext xmlns:c16="http://schemas.microsoft.com/office/drawing/2014/chart" uri="{C3380CC4-5D6E-409C-BE32-E72D297353CC}">
                <c16:uniqueId val="{000000EF-2993-41DE-A2CB-63102DE87051}"/>
              </c:ext>
            </c:extLst>
          </c:dPt>
          <c:dPt>
            <c:idx val="119"/>
            <c:invertIfNegative val="1"/>
            <c:bubble3D val="0"/>
            <c:spPr>
              <a:solidFill>
                <a:srgbClr val="00A097"/>
              </a:solidFill>
            </c:spPr>
            <c:extLst>
              <c:ext xmlns:c16="http://schemas.microsoft.com/office/drawing/2014/chart" uri="{C3380CC4-5D6E-409C-BE32-E72D297353CC}">
                <c16:uniqueId val="{000000F1-2993-41DE-A2CB-63102DE87051}"/>
              </c:ext>
            </c:extLst>
          </c:dPt>
          <c:dPt>
            <c:idx val="120"/>
            <c:invertIfNegative val="1"/>
            <c:bubble3D val="0"/>
            <c:spPr>
              <a:solidFill>
                <a:srgbClr val="00A097"/>
              </a:solidFill>
            </c:spPr>
            <c:extLst>
              <c:ext xmlns:c16="http://schemas.microsoft.com/office/drawing/2014/chart" uri="{C3380CC4-5D6E-409C-BE32-E72D297353CC}">
                <c16:uniqueId val="{000000F3-2993-41DE-A2CB-63102DE87051}"/>
              </c:ext>
            </c:extLst>
          </c:dPt>
          <c:dPt>
            <c:idx val="121"/>
            <c:invertIfNegative val="1"/>
            <c:bubble3D val="0"/>
            <c:spPr>
              <a:solidFill>
                <a:srgbClr val="00A097"/>
              </a:solidFill>
            </c:spPr>
            <c:extLst>
              <c:ext xmlns:c16="http://schemas.microsoft.com/office/drawing/2014/chart" uri="{C3380CC4-5D6E-409C-BE32-E72D297353CC}">
                <c16:uniqueId val="{000000F5-2993-41DE-A2CB-63102DE87051}"/>
              </c:ext>
            </c:extLst>
          </c:dPt>
          <c:dPt>
            <c:idx val="122"/>
            <c:invertIfNegative val="1"/>
            <c:bubble3D val="0"/>
            <c:spPr>
              <a:solidFill>
                <a:srgbClr val="00A097"/>
              </a:solidFill>
            </c:spPr>
            <c:extLst>
              <c:ext xmlns:c16="http://schemas.microsoft.com/office/drawing/2014/chart" uri="{C3380CC4-5D6E-409C-BE32-E72D297353CC}">
                <c16:uniqueId val="{000000F7-2993-41DE-A2CB-63102DE87051}"/>
              </c:ext>
            </c:extLst>
          </c:dPt>
          <c:dPt>
            <c:idx val="123"/>
            <c:invertIfNegative val="1"/>
            <c:bubble3D val="0"/>
            <c:spPr>
              <a:solidFill>
                <a:srgbClr val="00A097"/>
              </a:solidFill>
            </c:spPr>
            <c:extLst>
              <c:ext xmlns:c16="http://schemas.microsoft.com/office/drawing/2014/chart" uri="{C3380CC4-5D6E-409C-BE32-E72D297353CC}">
                <c16:uniqueId val="{000000F9-2993-41DE-A2CB-63102DE87051}"/>
              </c:ext>
            </c:extLst>
          </c:dPt>
          <c:dPt>
            <c:idx val="124"/>
            <c:invertIfNegative val="1"/>
            <c:bubble3D val="0"/>
            <c:spPr>
              <a:solidFill>
                <a:srgbClr val="00A097"/>
              </a:solidFill>
            </c:spPr>
            <c:extLst>
              <c:ext xmlns:c16="http://schemas.microsoft.com/office/drawing/2014/chart" uri="{C3380CC4-5D6E-409C-BE32-E72D297353CC}">
                <c16:uniqueId val="{000000FB-2993-41DE-A2CB-63102DE87051}"/>
              </c:ext>
            </c:extLst>
          </c:dPt>
          <c:dPt>
            <c:idx val="125"/>
            <c:invertIfNegative val="1"/>
            <c:bubble3D val="0"/>
            <c:spPr>
              <a:solidFill>
                <a:srgbClr val="00A097"/>
              </a:solidFill>
            </c:spPr>
            <c:extLst>
              <c:ext xmlns:c16="http://schemas.microsoft.com/office/drawing/2014/chart" uri="{C3380CC4-5D6E-409C-BE32-E72D297353CC}">
                <c16:uniqueId val="{000000FD-2993-41DE-A2CB-63102DE87051}"/>
              </c:ext>
            </c:extLst>
          </c:dPt>
          <c:dPt>
            <c:idx val="126"/>
            <c:invertIfNegative val="1"/>
            <c:bubble3D val="0"/>
            <c:spPr>
              <a:solidFill>
                <a:srgbClr val="00A097"/>
              </a:solidFill>
            </c:spPr>
            <c:extLst>
              <c:ext xmlns:c16="http://schemas.microsoft.com/office/drawing/2014/chart" uri="{C3380CC4-5D6E-409C-BE32-E72D297353CC}">
                <c16:uniqueId val="{000000FF-2993-41DE-A2CB-63102DE87051}"/>
              </c:ext>
            </c:extLst>
          </c:dPt>
          <c:dPt>
            <c:idx val="127"/>
            <c:invertIfNegative val="1"/>
            <c:bubble3D val="0"/>
            <c:spPr>
              <a:solidFill>
                <a:srgbClr val="00A097"/>
              </a:solidFill>
            </c:spPr>
            <c:extLst>
              <c:ext xmlns:c16="http://schemas.microsoft.com/office/drawing/2014/chart" uri="{C3380CC4-5D6E-409C-BE32-E72D297353CC}">
                <c16:uniqueId val="{00000101-2993-41DE-A2CB-63102DE87051}"/>
              </c:ext>
            </c:extLst>
          </c:dPt>
          <c:dPt>
            <c:idx val="128"/>
            <c:invertIfNegative val="1"/>
            <c:bubble3D val="0"/>
            <c:spPr>
              <a:solidFill>
                <a:srgbClr val="00A097"/>
              </a:solidFill>
            </c:spPr>
            <c:extLst>
              <c:ext xmlns:c16="http://schemas.microsoft.com/office/drawing/2014/chart" uri="{C3380CC4-5D6E-409C-BE32-E72D297353CC}">
                <c16:uniqueId val="{00000103-2993-41DE-A2CB-63102DE87051}"/>
              </c:ext>
            </c:extLst>
          </c:dPt>
          <c:dPt>
            <c:idx val="129"/>
            <c:invertIfNegative val="1"/>
            <c:bubble3D val="0"/>
            <c:spPr>
              <a:solidFill>
                <a:srgbClr val="00A097"/>
              </a:solidFill>
            </c:spPr>
            <c:extLst>
              <c:ext xmlns:c16="http://schemas.microsoft.com/office/drawing/2014/chart" uri="{C3380CC4-5D6E-409C-BE32-E72D297353CC}">
                <c16:uniqueId val="{00000105-2993-41DE-A2CB-63102DE87051}"/>
              </c:ext>
            </c:extLst>
          </c:dPt>
          <c:dPt>
            <c:idx val="130"/>
            <c:invertIfNegative val="1"/>
            <c:bubble3D val="0"/>
            <c:spPr>
              <a:solidFill>
                <a:srgbClr val="00A097"/>
              </a:solidFill>
            </c:spPr>
            <c:extLst>
              <c:ext xmlns:c16="http://schemas.microsoft.com/office/drawing/2014/chart" uri="{C3380CC4-5D6E-409C-BE32-E72D297353CC}">
                <c16:uniqueId val="{00000107-2993-41DE-A2CB-63102DE87051}"/>
              </c:ext>
            </c:extLst>
          </c:dPt>
          <c:dPt>
            <c:idx val="131"/>
            <c:invertIfNegative val="1"/>
            <c:bubble3D val="0"/>
            <c:spPr>
              <a:solidFill>
                <a:srgbClr val="00A097"/>
              </a:solidFill>
            </c:spPr>
            <c:extLst>
              <c:ext xmlns:c16="http://schemas.microsoft.com/office/drawing/2014/chart" uri="{C3380CC4-5D6E-409C-BE32-E72D297353CC}">
                <c16:uniqueId val="{00000109-2993-41DE-A2CB-63102DE87051}"/>
              </c:ext>
            </c:extLst>
          </c:dPt>
          <c:dPt>
            <c:idx val="132"/>
            <c:invertIfNegative val="1"/>
            <c:bubble3D val="0"/>
            <c:spPr>
              <a:solidFill>
                <a:srgbClr val="00A097"/>
              </a:solidFill>
            </c:spPr>
            <c:extLst>
              <c:ext xmlns:c16="http://schemas.microsoft.com/office/drawing/2014/chart" uri="{C3380CC4-5D6E-409C-BE32-E72D297353CC}">
                <c16:uniqueId val="{0000010B-2993-41DE-A2CB-63102DE87051}"/>
              </c:ext>
            </c:extLst>
          </c:dPt>
          <c:dPt>
            <c:idx val="133"/>
            <c:invertIfNegative val="1"/>
            <c:bubble3D val="0"/>
            <c:spPr>
              <a:solidFill>
                <a:srgbClr val="00A097"/>
              </a:solidFill>
            </c:spPr>
            <c:extLst>
              <c:ext xmlns:c16="http://schemas.microsoft.com/office/drawing/2014/chart" uri="{C3380CC4-5D6E-409C-BE32-E72D297353CC}">
                <c16:uniqueId val="{0000010D-2993-41DE-A2CB-63102DE87051}"/>
              </c:ext>
            </c:extLst>
          </c:dPt>
          <c:dPt>
            <c:idx val="134"/>
            <c:invertIfNegative val="1"/>
            <c:bubble3D val="0"/>
            <c:spPr>
              <a:solidFill>
                <a:srgbClr val="00A097"/>
              </a:solidFill>
            </c:spPr>
            <c:extLst>
              <c:ext xmlns:c16="http://schemas.microsoft.com/office/drawing/2014/chart" uri="{C3380CC4-5D6E-409C-BE32-E72D297353CC}">
                <c16:uniqueId val="{0000010F-2993-41DE-A2CB-63102DE87051}"/>
              </c:ext>
            </c:extLst>
          </c:dPt>
          <c:dPt>
            <c:idx val="135"/>
            <c:invertIfNegative val="1"/>
            <c:bubble3D val="0"/>
            <c:spPr>
              <a:solidFill>
                <a:srgbClr val="00A097"/>
              </a:solidFill>
            </c:spPr>
            <c:extLst>
              <c:ext xmlns:c16="http://schemas.microsoft.com/office/drawing/2014/chart" uri="{C3380CC4-5D6E-409C-BE32-E72D297353CC}">
                <c16:uniqueId val="{00000111-2993-41DE-A2CB-63102DE87051}"/>
              </c:ext>
            </c:extLst>
          </c:dPt>
          <c:dPt>
            <c:idx val="136"/>
            <c:invertIfNegative val="1"/>
            <c:bubble3D val="0"/>
            <c:spPr>
              <a:solidFill>
                <a:srgbClr val="00A097"/>
              </a:solidFill>
            </c:spPr>
            <c:extLst>
              <c:ext xmlns:c16="http://schemas.microsoft.com/office/drawing/2014/chart" uri="{C3380CC4-5D6E-409C-BE32-E72D297353CC}">
                <c16:uniqueId val="{00000113-2993-41DE-A2CB-63102DE87051}"/>
              </c:ext>
            </c:extLst>
          </c:dPt>
          <c:dPt>
            <c:idx val="137"/>
            <c:invertIfNegative val="1"/>
            <c:bubble3D val="0"/>
            <c:spPr>
              <a:solidFill>
                <a:srgbClr val="00A097"/>
              </a:solidFill>
            </c:spPr>
            <c:extLst>
              <c:ext xmlns:c16="http://schemas.microsoft.com/office/drawing/2014/chart" uri="{C3380CC4-5D6E-409C-BE32-E72D297353CC}">
                <c16:uniqueId val="{00000115-2993-41DE-A2CB-63102DE87051}"/>
              </c:ext>
            </c:extLst>
          </c:dPt>
          <c:dPt>
            <c:idx val="138"/>
            <c:invertIfNegative val="1"/>
            <c:bubble3D val="0"/>
            <c:spPr>
              <a:solidFill>
                <a:srgbClr val="00A097"/>
              </a:solidFill>
            </c:spPr>
            <c:extLst>
              <c:ext xmlns:c16="http://schemas.microsoft.com/office/drawing/2014/chart" uri="{C3380CC4-5D6E-409C-BE32-E72D297353CC}">
                <c16:uniqueId val="{00000117-2993-41DE-A2CB-63102DE87051}"/>
              </c:ext>
            </c:extLst>
          </c:dPt>
          <c:dPt>
            <c:idx val="139"/>
            <c:invertIfNegative val="1"/>
            <c:bubble3D val="0"/>
            <c:spPr>
              <a:solidFill>
                <a:srgbClr val="00A097"/>
              </a:solidFill>
            </c:spPr>
            <c:extLst>
              <c:ext xmlns:c16="http://schemas.microsoft.com/office/drawing/2014/chart" uri="{C3380CC4-5D6E-409C-BE32-E72D297353CC}">
                <c16:uniqueId val="{00000119-2993-41DE-A2CB-63102DE87051}"/>
              </c:ext>
            </c:extLst>
          </c:dPt>
          <c:dPt>
            <c:idx val="140"/>
            <c:invertIfNegative val="1"/>
            <c:bubble3D val="0"/>
            <c:spPr>
              <a:solidFill>
                <a:srgbClr val="00A097"/>
              </a:solidFill>
            </c:spPr>
            <c:extLst>
              <c:ext xmlns:c16="http://schemas.microsoft.com/office/drawing/2014/chart" uri="{C3380CC4-5D6E-409C-BE32-E72D297353CC}">
                <c16:uniqueId val="{0000011B-2993-41DE-A2CB-63102DE87051}"/>
              </c:ext>
            </c:extLst>
          </c:dPt>
          <c:dPt>
            <c:idx val="141"/>
            <c:invertIfNegative val="1"/>
            <c:bubble3D val="0"/>
            <c:spPr>
              <a:solidFill>
                <a:srgbClr val="00A097"/>
              </a:solidFill>
            </c:spPr>
            <c:extLst>
              <c:ext xmlns:c16="http://schemas.microsoft.com/office/drawing/2014/chart" uri="{C3380CC4-5D6E-409C-BE32-E72D297353CC}">
                <c16:uniqueId val="{0000011D-2993-41DE-A2CB-63102DE87051}"/>
              </c:ext>
            </c:extLst>
          </c:dPt>
          <c:dPt>
            <c:idx val="142"/>
            <c:invertIfNegative val="1"/>
            <c:bubble3D val="0"/>
            <c:spPr>
              <a:solidFill>
                <a:srgbClr val="00A097"/>
              </a:solidFill>
            </c:spPr>
            <c:extLst>
              <c:ext xmlns:c16="http://schemas.microsoft.com/office/drawing/2014/chart" uri="{C3380CC4-5D6E-409C-BE32-E72D297353CC}">
                <c16:uniqueId val="{0000011F-2993-41DE-A2CB-63102DE87051}"/>
              </c:ext>
            </c:extLst>
          </c:dPt>
          <c:dPt>
            <c:idx val="143"/>
            <c:invertIfNegative val="1"/>
            <c:bubble3D val="0"/>
            <c:spPr>
              <a:solidFill>
                <a:srgbClr val="00A097"/>
              </a:solidFill>
            </c:spPr>
            <c:extLst>
              <c:ext xmlns:c16="http://schemas.microsoft.com/office/drawing/2014/chart" uri="{C3380CC4-5D6E-409C-BE32-E72D297353CC}">
                <c16:uniqueId val="{00000121-2993-41DE-A2CB-63102DE87051}"/>
              </c:ext>
            </c:extLst>
          </c:dPt>
          <c:dPt>
            <c:idx val="144"/>
            <c:invertIfNegative val="1"/>
            <c:bubble3D val="0"/>
            <c:spPr>
              <a:solidFill>
                <a:srgbClr val="00A097"/>
              </a:solidFill>
            </c:spPr>
            <c:extLst>
              <c:ext xmlns:c16="http://schemas.microsoft.com/office/drawing/2014/chart" uri="{C3380CC4-5D6E-409C-BE32-E72D297353CC}">
                <c16:uniqueId val="{00000123-2993-41DE-A2CB-63102DE87051}"/>
              </c:ext>
            </c:extLst>
          </c:dPt>
          <c:dPt>
            <c:idx val="145"/>
            <c:invertIfNegative val="1"/>
            <c:bubble3D val="0"/>
            <c:spPr>
              <a:solidFill>
                <a:srgbClr val="00A097"/>
              </a:solidFill>
            </c:spPr>
            <c:extLst>
              <c:ext xmlns:c16="http://schemas.microsoft.com/office/drawing/2014/chart" uri="{C3380CC4-5D6E-409C-BE32-E72D297353CC}">
                <c16:uniqueId val="{00000125-2993-41DE-A2CB-63102DE87051}"/>
              </c:ext>
            </c:extLst>
          </c:dPt>
          <c:dPt>
            <c:idx val="146"/>
            <c:invertIfNegative val="1"/>
            <c:bubble3D val="0"/>
            <c:spPr>
              <a:solidFill>
                <a:srgbClr val="00A097"/>
              </a:solidFill>
            </c:spPr>
            <c:extLst>
              <c:ext xmlns:c16="http://schemas.microsoft.com/office/drawing/2014/chart" uri="{C3380CC4-5D6E-409C-BE32-E72D297353CC}">
                <c16:uniqueId val="{00000127-2993-41DE-A2CB-63102DE87051}"/>
              </c:ext>
            </c:extLst>
          </c:dPt>
          <c:dPt>
            <c:idx val="147"/>
            <c:invertIfNegative val="1"/>
            <c:bubble3D val="0"/>
            <c:spPr>
              <a:solidFill>
                <a:srgbClr val="00A097"/>
              </a:solidFill>
            </c:spPr>
            <c:extLst>
              <c:ext xmlns:c16="http://schemas.microsoft.com/office/drawing/2014/chart" uri="{C3380CC4-5D6E-409C-BE32-E72D297353CC}">
                <c16:uniqueId val="{00000129-2993-41DE-A2CB-63102DE87051}"/>
              </c:ext>
            </c:extLst>
          </c:dPt>
          <c:dPt>
            <c:idx val="148"/>
            <c:invertIfNegative val="1"/>
            <c:bubble3D val="0"/>
            <c:spPr>
              <a:solidFill>
                <a:srgbClr val="00A097"/>
              </a:solidFill>
            </c:spPr>
            <c:extLst>
              <c:ext xmlns:c16="http://schemas.microsoft.com/office/drawing/2014/chart" uri="{C3380CC4-5D6E-409C-BE32-E72D297353CC}">
                <c16:uniqueId val="{0000012B-2993-41DE-A2CB-63102DE87051}"/>
              </c:ext>
            </c:extLst>
          </c:dPt>
          <c:dPt>
            <c:idx val="149"/>
            <c:invertIfNegative val="1"/>
            <c:bubble3D val="0"/>
            <c:spPr>
              <a:solidFill>
                <a:srgbClr val="00A097"/>
              </a:solidFill>
            </c:spPr>
            <c:extLst>
              <c:ext xmlns:c16="http://schemas.microsoft.com/office/drawing/2014/chart" uri="{C3380CC4-5D6E-409C-BE32-E72D297353CC}">
                <c16:uniqueId val="{0000012D-2993-41DE-A2CB-63102DE87051}"/>
              </c:ext>
            </c:extLst>
          </c:dPt>
          <c:dPt>
            <c:idx val="150"/>
            <c:invertIfNegative val="1"/>
            <c:bubble3D val="0"/>
            <c:spPr>
              <a:solidFill>
                <a:srgbClr val="00A097"/>
              </a:solidFill>
            </c:spPr>
            <c:extLst>
              <c:ext xmlns:c16="http://schemas.microsoft.com/office/drawing/2014/chart" uri="{C3380CC4-5D6E-409C-BE32-E72D297353CC}">
                <c16:uniqueId val="{0000012F-2993-41DE-A2CB-63102DE87051}"/>
              </c:ext>
            </c:extLst>
          </c:dPt>
          <c:dPt>
            <c:idx val="151"/>
            <c:invertIfNegative val="1"/>
            <c:bubble3D val="0"/>
            <c:spPr>
              <a:solidFill>
                <a:srgbClr val="00A097"/>
              </a:solidFill>
            </c:spPr>
            <c:extLst>
              <c:ext xmlns:c16="http://schemas.microsoft.com/office/drawing/2014/chart" uri="{C3380CC4-5D6E-409C-BE32-E72D297353CC}">
                <c16:uniqueId val="{00000131-2993-41DE-A2CB-63102DE87051}"/>
              </c:ext>
            </c:extLst>
          </c:dPt>
          <c:dPt>
            <c:idx val="152"/>
            <c:invertIfNegative val="1"/>
            <c:bubble3D val="0"/>
            <c:spPr>
              <a:solidFill>
                <a:srgbClr val="00A097"/>
              </a:solidFill>
            </c:spPr>
            <c:extLst>
              <c:ext xmlns:c16="http://schemas.microsoft.com/office/drawing/2014/chart" uri="{C3380CC4-5D6E-409C-BE32-E72D297353CC}">
                <c16:uniqueId val="{00000133-2993-41DE-A2CB-63102DE87051}"/>
              </c:ext>
            </c:extLst>
          </c:dPt>
          <c:dPt>
            <c:idx val="153"/>
            <c:invertIfNegative val="1"/>
            <c:bubble3D val="0"/>
            <c:spPr>
              <a:solidFill>
                <a:srgbClr val="00A097"/>
              </a:solidFill>
            </c:spPr>
            <c:extLst>
              <c:ext xmlns:c16="http://schemas.microsoft.com/office/drawing/2014/chart" uri="{C3380CC4-5D6E-409C-BE32-E72D297353CC}">
                <c16:uniqueId val="{00000135-2993-41DE-A2CB-63102DE87051}"/>
              </c:ext>
            </c:extLst>
          </c:dPt>
          <c:dPt>
            <c:idx val="154"/>
            <c:invertIfNegative val="1"/>
            <c:bubble3D val="0"/>
            <c:spPr>
              <a:solidFill>
                <a:srgbClr val="00A097"/>
              </a:solidFill>
            </c:spPr>
            <c:extLst>
              <c:ext xmlns:c16="http://schemas.microsoft.com/office/drawing/2014/chart" uri="{C3380CC4-5D6E-409C-BE32-E72D297353CC}">
                <c16:uniqueId val="{00000137-2993-41DE-A2CB-63102DE87051}"/>
              </c:ext>
            </c:extLst>
          </c:dPt>
          <c:dPt>
            <c:idx val="155"/>
            <c:invertIfNegative val="1"/>
            <c:bubble3D val="0"/>
            <c:spPr>
              <a:solidFill>
                <a:srgbClr val="00A097"/>
              </a:solidFill>
            </c:spPr>
            <c:extLst>
              <c:ext xmlns:c16="http://schemas.microsoft.com/office/drawing/2014/chart" uri="{C3380CC4-5D6E-409C-BE32-E72D297353CC}">
                <c16:uniqueId val="{00000139-2993-41DE-A2CB-63102DE87051}"/>
              </c:ext>
            </c:extLst>
          </c:dPt>
          <c:dPt>
            <c:idx val="156"/>
            <c:invertIfNegative val="1"/>
            <c:bubble3D val="0"/>
            <c:spPr>
              <a:solidFill>
                <a:srgbClr val="00A097"/>
              </a:solidFill>
            </c:spPr>
            <c:extLst>
              <c:ext xmlns:c16="http://schemas.microsoft.com/office/drawing/2014/chart" uri="{C3380CC4-5D6E-409C-BE32-E72D297353CC}">
                <c16:uniqueId val="{0000013B-2993-41DE-A2CB-63102DE87051}"/>
              </c:ext>
            </c:extLst>
          </c:dPt>
          <c:dPt>
            <c:idx val="157"/>
            <c:invertIfNegative val="1"/>
            <c:bubble3D val="0"/>
            <c:spPr>
              <a:solidFill>
                <a:srgbClr val="00A097"/>
              </a:solidFill>
            </c:spPr>
            <c:extLst>
              <c:ext xmlns:c16="http://schemas.microsoft.com/office/drawing/2014/chart" uri="{C3380CC4-5D6E-409C-BE32-E72D297353CC}">
                <c16:uniqueId val="{0000013D-2993-41DE-A2CB-63102DE87051}"/>
              </c:ext>
            </c:extLst>
          </c:dPt>
          <c:dPt>
            <c:idx val="158"/>
            <c:invertIfNegative val="1"/>
            <c:bubble3D val="0"/>
            <c:spPr>
              <a:solidFill>
                <a:srgbClr val="00A097"/>
              </a:solidFill>
            </c:spPr>
            <c:extLst>
              <c:ext xmlns:c16="http://schemas.microsoft.com/office/drawing/2014/chart" uri="{C3380CC4-5D6E-409C-BE32-E72D297353CC}">
                <c16:uniqueId val="{0000013F-2993-41DE-A2CB-63102DE87051}"/>
              </c:ext>
            </c:extLst>
          </c:dPt>
          <c:dPt>
            <c:idx val="159"/>
            <c:invertIfNegative val="1"/>
            <c:bubble3D val="0"/>
            <c:spPr>
              <a:solidFill>
                <a:srgbClr val="00A097"/>
              </a:solidFill>
            </c:spPr>
            <c:extLst>
              <c:ext xmlns:c16="http://schemas.microsoft.com/office/drawing/2014/chart" uri="{C3380CC4-5D6E-409C-BE32-E72D297353CC}">
                <c16:uniqueId val="{00000141-2993-41DE-A2CB-63102DE87051}"/>
              </c:ext>
            </c:extLst>
          </c:dPt>
          <c:dPt>
            <c:idx val="160"/>
            <c:invertIfNegative val="1"/>
            <c:bubble3D val="0"/>
            <c:spPr>
              <a:solidFill>
                <a:srgbClr val="00A097"/>
              </a:solidFill>
            </c:spPr>
            <c:extLst>
              <c:ext xmlns:c16="http://schemas.microsoft.com/office/drawing/2014/chart" uri="{C3380CC4-5D6E-409C-BE32-E72D297353CC}">
                <c16:uniqueId val="{00000143-2993-41DE-A2CB-63102DE87051}"/>
              </c:ext>
            </c:extLst>
          </c:dPt>
          <c:dPt>
            <c:idx val="161"/>
            <c:invertIfNegative val="1"/>
            <c:bubble3D val="0"/>
            <c:spPr>
              <a:solidFill>
                <a:srgbClr val="00A097"/>
              </a:solidFill>
            </c:spPr>
            <c:extLst>
              <c:ext xmlns:c16="http://schemas.microsoft.com/office/drawing/2014/chart" uri="{C3380CC4-5D6E-409C-BE32-E72D297353CC}">
                <c16:uniqueId val="{00000145-2993-41DE-A2CB-63102DE87051}"/>
              </c:ext>
            </c:extLst>
          </c:dPt>
          <c:dPt>
            <c:idx val="162"/>
            <c:invertIfNegative val="1"/>
            <c:bubble3D val="0"/>
            <c:spPr>
              <a:solidFill>
                <a:srgbClr val="00A097"/>
              </a:solidFill>
            </c:spPr>
            <c:extLst>
              <c:ext xmlns:c16="http://schemas.microsoft.com/office/drawing/2014/chart" uri="{C3380CC4-5D6E-409C-BE32-E72D297353CC}">
                <c16:uniqueId val="{00000147-2993-41DE-A2CB-63102DE87051}"/>
              </c:ext>
            </c:extLst>
          </c:dPt>
          <c:dPt>
            <c:idx val="163"/>
            <c:invertIfNegative val="1"/>
            <c:bubble3D val="0"/>
            <c:spPr>
              <a:solidFill>
                <a:srgbClr val="00A097"/>
              </a:solidFill>
            </c:spPr>
            <c:extLst>
              <c:ext xmlns:c16="http://schemas.microsoft.com/office/drawing/2014/chart" uri="{C3380CC4-5D6E-409C-BE32-E72D297353CC}">
                <c16:uniqueId val="{00000149-2993-41DE-A2CB-63102DE87051}"/>
              </c:ext>
            </c:extLst>
          </c:dPt>
          <c:dPt>
            <c:idx val="164"/>
            <c:invertIfNegative val="1"/>
            <c:bubble3D val="0"/>
            <c:spPr>
              <a:solidFill>
                <a:srgbClr val="00A097"/>
              </a:solidFill>
            </c:spPr>
            <c:extLst>
              <c:ext xmlns:c16="http://schemas.microsoft.com/office/drawing/2014/chart" uri="{C3380CC4-5D6E-409C-BE32-E72D297353CC}">
                <c16:uniqueId val="{0000014B-2993-41DE-A2CB-63102DE87051}"/>
              </c:ext>
            </c:extLst>
          </c:dPt>
          <c:dPt>
            <c:idx val="165"/>
            <c:invertIfNegative val="1"/>
            <c:bubble3D val="0"/>
            <c:spPr>
              <a:solidFill>
                <a:srgbClr val="00A097"/>
              </a:solidFill>
            </c:spPr>
            <c:extLst>
              <c:ext xmlns:c16="http://schemas.microsoft.com/office/drawing/2014/chart" uri="{C3380CC4-5D6E-409C-BE32-E72D297353CC}">
                <c16:uniqueId val="{0000014D-2993-41DE-A2CB-63102DE87051}"/>
              </c:ext>
            </c:extLst>
          </c:dPt>
          <c:dPt>
            <c:idx val="166"/>
            <c:invertIfNegative val="1"/>
            <c:bubble3D val="0"/>
            <c:spPr>
              <a:solidFill>
                <a:srgbClr val="00A097"/>
              </a:solidFill>
            </c:spPr>
            <c:extLst>
              <c:ext xmlns:c16="http://schemas.microsoft.com/office/drawing/2014/chart" uri="{C3380CC4-5D6E-409C-BE32-E72D297353CC}">
                <c16:uniqueId val="{0000014F-2993-41DE-A2CB-63102DE87051}"/>
              </c:ext>
            </c:extLst>
          </c:dPt>
          <c:dPt>
            <c:idx val="167"/>
            <c:invertIfNegative val="1"/>
            <c:bubble3D val="0"/>
            <c:spPr>
              <a:solidFill>
                <a:srgbClr val="00A097"/>
              </a:solidFill>
            </c:spPr>
            <c:extLst>
              <c:ext xmlns:c16="http://schemas.microsoft.com/office/drawing/2014/chart" uri="{C3380CC4-5D6E-409C-BE32-E72D297353CC}">
                <c16:uniqueId val="{00000151-2993-41DE-A2CB-63102DE87051}"/>
              </c:ext>
            </c:extLst>
          </c:dPt>
          <c:dPt>
            <c:idx val="168"/>
            <c:invertIfNegative val="1"/>
            <c:bubble3D val="0"/>
            <c:spPr>
              <a:solidFill>
                <a:srgbClr val="00A097"/>
              </a:solidFill>
            </c:spPr>
            <c:extLst>
              <c:ext xmlns:c16="http://schemas.microsoft.com/office/drawing/2014/chart" uri="{C3380CC4-5D6E-409C-BE32-E72D297353CC}">
                <c16:uniqueId val="{00000153-2993-41DE-A2CB-63102DE87051}"/>
              </c:ext>
            </c:extLst>
          </c:dPt>
          <c:dPt>
            <c:idx val="169"/>
            <c:invertIfNegative val="1"/>
            <c:bubble3D val="0"/>
            <c:spPr>
              <a:solidFill>
                <a:srgbClr val="00A097"/>
              </a:solidFill>
            </c:spPr>
            <c:extLst>
              <c:ext xmlns:c16="http://schemas.microsoft.com/office/drawing/2014/chart" uri="{C3380CC4-5D6E-409C-BE32-E72D297353CC}">
                <c16:uniqueId val="{00000155-2993-41DE-A2CB-63102DE87051}"/>
              </c:ext>
            </c:extLst>
          </c:dPt>
          <c:dPt>
            <c:idx val="170"/>
            <c:invertIfNegative val="1"/>
            <c:bubble3D val="0"/>
            <c:spPr>
              <a:solidFill>
                <a:srgbClr val="00A097"/>
              </a:solidFill>
            </c:spPr>
            <c:extLst>
              <c:ext xmlns:c16="http://schemas.microsoft.com/office/drawing/2014/chart" uri="{C3380CC4-5D6E-409C-BE32-E72D297353CC}">
                <c16:uniqueId val="{00000157-2993-41DE-A2CB-63102DE87051}"/>
              </c:ext>
            </c:extLst>
          </c:dPt>
          <c:dPt>
            <c:idx val="171"/>
            <c:invertIfNegative val="1"/>
            <c:bubble3D val="0"/>
            <c:spPr>
              <a:solidFill>
                <a:srgbClr val="00A097"/>
              </a:solidFill>
            </c:spPr>
            <c:extLst>
              <c:ext xmlns:c16="http://schemas.microsoft.com/office/drawing/2014/chart" uri="{C3380CC4-5D6E-409C-BE32-E72D297353CC}">
                <c16:uniqueId val="{00000159-2993-41DE-A2CB-63102DE87051}"/>
              </c:ext>
            </c:extLst>
          </c:dPt>
          <c:dPt>
            <c:idx val="172"/>
            <c:invertIfNegative val="1"/>
            <c:bubble3D val="0"/>
            <c:spPr>
              <a:solidFill>
                <a:srgbClr val="00A097"/>
              </a:solidFill>
            </c:spPr>
            <c:extLst>
              <c:ext xmlns:c16="http://schemas.microsoft.com/office/drawing/2014/chart" uri="{C3380CC4-5D6E-409C-BE32-E72D297353CC}">
                <c16:uniqueId val="{0000015B-2993-41DE-A2CB-63102DE87051}"/>
              </c:ext>
            </c:extLst>
          </c:dPt>
          <c:dPt>
            <c:idx val="173"/>
            <c:invertIfNegative val="1"/>
            <c:bubble3D val="0"/>
            <c:spPr>
              <a:solidFill>
                <a:srgbClr val="00A097"/>
              </a:solidFill>
            </c:spPr>
            <c:extLst>
              <c:ext xmlns:c16="http://schemas.microsoft.com/office/drawing/2014/chart" uri="{C3380CC4-5D6E-409C-BE32-E72D297353CC}">
                <c16:uniqueId val="{0000015D-2993-41DE-A2CB-63102DE87051}"/>
              </c:ext>
            </c:extLst>
          </c:dPt>
          <c:dPt>
            <c:idx val="174"/>
            <c:invertIfNegative val="1"/>
            <c:bubble3D val="0"/>
            <c:spPr>
              <a:solidFill>
                <a:srgbClr val="00A097"/>
              </a:solidFill>
            </c:spPr>
            <c:extLst>
              <c:ext xmlns:c16="http://schemas.microsoft.com/office/drawing/2014/chart" uri="{C3380CC4-5D6E-409C-BE32-E72D297353CC}">
                <c16:uniqueId val="{0000015F-2993-41DE-A2CB-63102DE87051}"/>
              </c:ext>
            </c:extLst>
          </c:dPt>
          <c:dPt>
            <c:idx val="175"/>
            <c:invertIfNegative val="1"/>
            <c:bubble3D val="0"/>
            <c:spPr>
              <a:solidFill>
                <a:srgbClr val="00A097"/>
              </a:solidFill>
            </c:spPr>
            <c:extLst>
              <c:ext xmlns:c16="http://schemas.microsoft.com/office/drawing/2014/chart" uri="{C3380CC4-5D6E-409C-BE32-E72D297353CC}">
                <c16:uniqueId val="{00000161-2993-41DE-A2CB-63102DE87051}"/>
              </c:ext>
            </c:extLst>
          </c:dPt>
          <c:dPt>
            <c:idx val="176"/>
            <c:invertIfNegative val="1"/>
            <c:bubble3D val="0"/>
            <c:spPr>
              <a:solidFill>
                <a:srgbClr val="00A097"/>
              </a:solidFill>
            </c:spPr>
            <c:extLst>
              <c:ext xmlns:c16="http://schemas.microsoft.com/office/drawing/2014/chart" uri="{C3380CC4-5D6E-409C-BE32-E72D297353CC}">
                <c16:uniqueId val="{00000163-2993-41DE-A2CB-63102DE87051}"/>
              </c:ext>
            </c:extLst>
          </c:dPt>
          <c:dPt>
            <c:idx val="177"/>
            <c:invertIfNegative val="1"/>
            <c:bubble3D val="0"/>
            <c:spPr>
              <a:solidFill>
                <a:srgbClr val="00A097"/>
              </a:solidFill>
            </c:spPr>
            <c:extLst>
              <c:ext xmlns:c16="http://schemas.microsoft.com/office/drawing/2014/chart" uri="{C3380CC4-5D6E-409C-BE32-E72D297353CC}">
                <c16:uniqueId val="{00000165-2993-41DE-A2CB-63102DE87051}"/>
              </c:ext>
            </c:extLst>
          </c:dPt>
          <c:dPt>
            <c:idx val="178"/>
            <c:invertIfNegative val="1"/>
            <c:bubble3D val="0"/>
            <c:spPr>
              <a:solidFill>
                <a:srgbClr val="00A097"/>
              </a:solidFill>
            </c:spPr>
            <c:extLst>
              <c:ext xmlns:c16="http://schemas.microsoft.com/office/drawing/2014/chart" uri="{C3380CC4-5D6E-409C-BE32-E72D297353CC}">
                <c16:uniqueId val="{00000167-2993-41DE-A2CB-63102DE87051}"/>
              </c:ext>
            </c:extLst>
          </c:dPt>
          <c:dPt>
            <c:idx val="179"/>
            <c:invertIfNegative val="1"/>
            <c:bubble3D val="0"/>
            <c:spPr>
              <a:solidFill>
                <a:srgbClr val="00A097"/>
              </a:solidFill>
            </c:spPr>
            <c:extLst>
              <c:ext xmlns:c16="http://schemas.microsoft.com/office/drawing/2014/chart" uri="{C3380CC4-5D6E-409C-BE32-E72D297353CC}">
                <c16:uniqueId val="{00000169-2993-41DE-A2CB-63102DE87051}"/>
              </c:ext>
            </c:extLst>
          </c:dPt>
          <c:dPt>
            <c:idx val="180"/>
            <c:invertIfNegative val="1"/>
            <c:bubble3D val="0"/>
            <c:spPr>
              <a:solidFill>
                <a:srgbClr val="00A097"/>
              </a:solidFill>
            </c:spPr>
            <c:extLst>
              <c:ext xmlns:c16="http://schemas.microsoft.com/office/drawing/2014/chart" uri="{C3380CC4-5D6E-409C-BE32-E72D297353CC}">
                <c16:uniqueId val="{0000016B-2993-41DE-A2CB-63102DE87051}"/>
              </c:ext>
            </c:extLst>
          </c:dPt>
          <c:dPt>
            <c:idx val="181"/>
            <c:invertIfNegative val="1"/>
            <c:bubble3D val="0"/>
            <c:spPr>
              <a:solidFill>
                <a:srgbClr val="00A097"/>
              </a:solidFill>
            </c:spPr>
            <c:extLst>
              <c:ext xmlns:c16="http://schemas.microsoft.com/office/drawing/2014/chart" uri="{C3380CC4-5D6E-409C-BE32-E72D297353CC}">
                <c16:uniqueId val="{0000016D-2993-41DE-A2CB-63102DE87051}"/>
              </c:ext>
            </c:extLst>
          </c:dPt>
          <c:dPt>
            <c:idx val="182"/>
            <c:invertIfNegative val="1"/>
            <c:bubble3D val="0"/>
            <c:spPr>
              <a:solidFill>
                <a:srgbClr val="00A097"/>
              </a:solidFill>
            </c:spPr>
            <c:extLst>
              <c:ext xmlns:c16="http://schemas.microsoft.com/office/drawing/2014/chart" uri="{C3380CC4-5D6E-409C-BE32-E72D297353CC}">
                <c16:uniqueId val="{0000016F-2993-41DE-A2CB-63102DE87051}"/>
              </c:ext>
            </c:extLst>
          </c:dPt>
          <c:dPt>
            <c:idx val="183"/>
            <c:invertIfNegative val="1"/>
            <c:bubble3D val="0"/>
            <c:spPr>
              <a:solidFill>
                <a:srgbClr val="00A097"/>
              </a:solidFill>
            </c:spPr>
            <c:extLst>
              <c:ext xmlns:c16="http://schemas.microsoft.com/office/drawing/2014/chart" uri="{C3380CC4-5D6E-409C-BE32-E72D297353CC}">
                <c16:uniqueId val="{00000171-2993-41DE-A2CB-63102DE87051}"/>
              </c:ext>
            </c:extLst>
          </c:dPt>
          <c:dPt>
            <c:idx val="184"/>
            <c:invertIfNegative val="1"/>
            <c:bubble3D val="0"/>
            <c:spPr>
              <a:solidFill>
                <a:srgbClr val="00A097"/>
              </a:solidFill>
            </c:spPr>
            <c:extLst>
              <c:ext xmlns:c16="http://schemas.microsoft.com/office/drawing/2014/chart" uri="{C3380CC4-5D6E-409C-BE32-E72D297353CC}">
                <c16:uniqueId val="{00000173-2993-41DE-A2CB-63102DE87051}"/>
              </c:ext>
            </c:extLst>
          </c:dPt>
          <c:dPt>
            <c:idx val="185"/>
            <c:invertIfNegative val="1"/>
            <c:bubble3D val="0"/>
            <c:spPr>
              <a:solidFill>
                <a:srgbClr val="00A097"/>
              </a:solidFill>
            </c:spPr>
            <c:extLst>
              <c:ext xmlns:c16="http://schemas.microsoft.com/office/drawing/2014/chart" uri="{C3380CC4-5D6E-409C-BE32-E72D297353CC}">
                <c16:uniqueId val="{00000175-2993-41DE-A2CB-63102DE87051}"/>
              </c:ext>
            </c:extLst>
          </c:dPt>
          <c:dPt>
            <c:idx val="186"/>
            <c:invertIfNegative val="1"/>
            <c:bubble3D val="0"/>
            <c:spPr>
              <a:solidFill>
                <a:srgbClr val="00A097"/>
              </a:solidFill>
            </c:spPr>
            <c:extLst>
              <c:ext xmlns:c16="http://schemas.microsoft.com/office/drawing/2014/chart" uri="{C3380CC4-5D6E-409C-BE32-E72D297353CC}">
                <c16:uniqueId val="{00000177-2993-41DE-A2CB-63102DE87051}"/>
              </c:ext>
            </c:extLst>
          </c:dPt>
          <c:dPt>
            <c:idx val="187"/>
            <c:invertIfNegative val="1"/>
            <c:bubble3D val="0"/>
            <c:spPr>
              <a:solidFill>
                <a:srgbClr val="00A097"/>
              </a:solidFill>
            </c:spPr>
            <c:extLst>
              <c:ext xmlns:c16="http://schemas.microsoft.com/office/drawing/2014/chart" uri="{C3380CC4-5D6E-409C-BE32-E72D297353CC}">
                <c16:uniqueId val="{00000179-2993-41DE-A2CB-63102DE87051}"/>
              </c:ext>
            </c:extLst>
          </c:dPt>
          <c:dPt>
            <c:idx val="188"/>
            <c:invertIfNegative val="1"/>
            <c:bubble3D val="0"/>
            <c:spPr>
              <a:solidFill>
                <a:srgbClr val="00A097"/>
              </a:solidFill>
            </c:spPr>
            <c:extLst>
              <c:ext xmlns:c16="http://schemas.microsoft.com/office/drawing/2014/chart" uri="{C3380CC4-5D6E-409C-BE32-E72D297353CC}">
                <c16:uniqueId val="{0000017B-2993-41DE-A2CB-63102DE87051}"/>
              </c:ext>
            </c:extLst>
          </c:dPt>
          <c:dPt>
            <c:idx val="189"/>
            <c:invertIfNegative val="1"/>
            <c:bubble3D val="0"/>
            <c:spPr>
              <a:solidFill>
                <a:srgbClr val="00A097"/>
              </a:solidFill>
            </c:spPr>
            <c:extLst>
              <c:ext xmlns:c16="http://schemas.microsoft.com/office/drawing/2014/chart" uri="{C3380CC4-5D6E-409C-BE32-E72D297353CC}">
                <c16:uniqueId val="{0000017D-2993-41DE-A2CB-63102DE87051}"/>
              </c:ext>
            </c:extLst>
          </c:dPt>
          <c:dPt>
            <c:idx val="190"/>
            <c:invertIfNegative val="1"/>
            <c:bubble3D val="0"/>
            <c:spPr>
              <a:solidFill>
                <a:srgbClr val="00A097"/>
              </a:solidFill>
            </c:spPr>
            <c:extLst>
              <c:ext xmlns:c16="http://schemas.microsoft.com/office/drawing/2014/chart" uri="{C3380CC4-5D6E-409C-BE32-E72D297353CC}">
                <c16:uniqueId val="{0000017F-2993-41DE-A2CB-63102DE87051}"/>
              </c:ext>
            </c:extLst>
          </c:dPt>
          <c:dPt>
            <c:idx val="191"/>
            <c:invertIfNegative val="1"/>
            <c:bubble3D val="0"/>
            <c:spPr>
              <a:solidFill>
                <a:srgbClr val="00A097"/>
              </a:solidFill>
            </c:spPr>
            <c:extLst>
              <c:ext xmlns:c16="http://schemas.microsoft.com/office/drawing/2014/chart" uri="{C3380CC4-5D6E-409C-BE32-E72D297353CC}">
                <c16:uniqueId val="{00000181-2993-41DE-A2CB-63102DE87051}"/>
              </c:ext>
            </c:extLst>
          </c:dPt>
          <c:dPt>
            <c:idx val="192"/>
            <c:invertIfNegative val="1"/>
            <c:bubble3D val="0"/>
            <c:spPr>
              <a:solidFill>
                <a:srgbClr val="00A097"/>
              </a:solidFill>
            </c:spPr>
            <c:extLst>
              <c:ext xmlns:c16="http://schemas.microsoft.com/office/drawing/2014/chart" uri="{C3380CC4-5D6E-409C-BE32-E72D297353CC}">
                <c16:uniqueId val="{00000183-2993-41DE-A2CB-63102DE87051}"/>
              </c:ext>
            </c:extLst>
          </c:dPt>
          <c:dPt>
            <c:idx val="193"/>
            <c:invertIfNegative val="1"/>
            <c:bubble3D val="0"/>
            <c:spPr>
              <a:solidFill>
                <a:srgbClr val="00A097"/>
              </a:solidFill>
            </c:spPr>
            <c:extLst>
              <c:ext xmlns:c16="http://schemas.microsoft.com/office/drawing/2014/chart" uri="{C3380CC4-5D6E-409C-BE32-E72D297353CC}">
                <c16:uniqueId val="{00000185-2993-41DE-A2CB-63102DE87051}"/>
              </c:ext>
            </c:extLst>
          </c:dPt>
          <c:dPt>
            <c:idx val="194"/>
            <c:invertIfNegative val="1"/>
            <c:bubble3D val="0"/>
            <c:spPr>
              <a:solidFill>
                <a:srgbClr val="00A097"/>
              </a:solidFill>
            </c:spPr>
            <c:extLst>
              <c:ext xmlns:c16="http://schemas.microsoft.com/office/drawing/2014/chart" uri="{C3380CC4-5D6E-409C-BE32-E72D297353CC}">
                <c16:uniqueId val="{00000187-2993-41DE-A2CB-63102DE87051}"/>
              </c:ext>
            </c:extLst>
          </c:dPt>
          <c:dPt>
            <c:idx val="195"/>
            <c:invertIfNegative val="1"/>
            <c:bubble3D val="0"/>
            <c:spPr>
              <a:solidFill>
                <a:srgbClr val="00A097"/>
              </a:solidFill>
            </c:spPr>
            <c:extLst>
              <c:ext xmlns:c16="http://schemas.microsoft.com/office/drawing/2014/chart" uri="{C3380CC4-5D6E-409C-BE32-E72D297353CC}">
                <c16:uniqueId val="{00000189-2993-41DE-A2CB-63102DE87051}"/>
              </c:ext>
            </c:extLst>
          </c:dPt>
          <c:dPt>
            <c:idx val="196"/>
            <c:invertIfNegative val="1"/>
            <c:bubble3D val="0"/>
            <c:spPr>
              <a:solidFill>
                <a:srgbClr val="00A097"/>
              </a:solidFill>
            </c:spPr>
            <c:extLst>
              <c:ext xmlns:c16="http://schemas.microsoft.com/office/drawing/2014/chart" uri="{C3380CC4-5D6E-409C-BE32-E72D297353CC}">
                <c16:uniqueId val="{0000018B-2993-41DE-A2CB-63102DE87051}"/>
              </c:ext>
            </c:extLst>
          </c:dPt>
          <c:dPt>
            <c:idx val="197"/>
            <c:invertIfNegative val="1"/>
            <c:bubble3D val="0"/>
            <c:spPr>
              <a:solidFill>
                <a:srgbClr val="00A097"/>
              </a:solidFill>
            </c:spPr>
            <c:extLst>
              <c:ext xmlns:c16="http://schemas.microsoft.com/office/drawing/2014/chart" uri="{C3380CC4-5D6E-409C-BE32-E72D297353CC}">
                <c16:uniqueId val="{0000018D-2993-41DE-A2CB-63102DE87051}"/>
              </c:ext>
            </c:extLst>
          </c:dPt>
          <c:dPt>
            <c:idx val="198"/>
            <c:invertIfNegative val="1"/>
            <c:bubble3D val="0"/>
            <c:spPr>
              <a:solidFill>
                <a:srgbClr val="00A097"/>
              </a:solidFill>
            </c:spPr>
            <c:extLst>
              <c:ext xmlns:c16="http://schemas.microsoft.com/office/drawing/2014/chart" uri="{C3380CC4-5D6E-409C-BE32-E72D297353CC}">
                <c16:uniqueId val="{0000018F-2993-41DE-A2CB-63102DE87051}"/>
              </c:ext>
            </c:extLst>
          </c:dPt>
          <c:dPt>
            <c:idx val="199"/>
            <c:invertIfNegative val="1"/>
            <c:bubble3D val="0"/>
            <c:spPr>
              <a:solidFill>
                <a:srgbClr val="00A097"/>
              </a:solidFill>
            </c:spPr>
            <c:extLst>
              <c:ext xmlns:c16="http://schemas.microsoft.com/office/drawing/2014/chart" uri="{C3380CC4-5D6E-409C-BE32-E72D297353CC}">
                <c16:uniqueId val="{00000191-2993-41DE-A2CB-63102DE87051}"/>
              </c:ext>
            </c:extLst>
          </c:dPt>
          <c:dPt>
            <c:idx val="200"/>
            <c:invertIfNegative val="1"/>
            <c:bubble3D val="0"/>
            <c:spPr>
              <a:solidFill>
                <a:srgbClr val="00A097"/>
              </a:solidFill>
            </c:spPr>
            <c:extLst>
              <c:ext xmlns:c16="http://schemas.microsoft.com/office/drawing/2014/chart" uri="{C3380CC4-5D6E-409C-BE32-E72D297353CC}">
                <c16:uniqueId val="{00000193-2993-41DE-A2CB-63102DE87051}"/>
              </c:ext>
            </c:extLst>
          </c:dPt>
          <c:dPt>
            <c:idx val="201"/>
            <c:invertIfNegative val="1"/>
            <c:bubble3D val="0"/>
            <c:spPr>
              <a:solidFill>
                <a:srgbClr val="00A097"/>
              </a:solidFill>
            </c:spPr>
            <c:extLst>
              <c:ext xmlns:c16="http://schemas.microsoft.com/office/drawing/2014/chart" uri="{C3380CC4-5D6E-409C-BE32-E72D297353CC}">
                <c16:uniqueId val="{00000195-2993-41DE-A2CB-63102DE87051}"/>
              </c:ext>
            </c:extLst>
          </c:dPt>
          <c:dPt>
            <c:idx val="202"/>
            <c:invertIfNegative val="1"/>
            <c:bubble3D val="0"/>
            <c:spPr>
              <a:solidFill>
                <a:srgbClr val="00A097"/>
              </a:solidFill>
            </c:spPr>
            <c:extLst>
              <c:ext xmlns:c16="http://schemas.microsoft.com/office/drawing/2014/chart" uri="{C3380CC4-5D6E-409C-BE32-E72D297353CC}">
                <c16:uniqueId val="{00000197-2993-41DE-A2CB-63102DE87051}"/>
              </c:ext>
            </c:extLst>
          </c:dPt>
          <c:dPt>
            <c:idx val="203"/>
            <c:invertIfNegative val="1"/>
            <c:bubble3D val="0"/>
            <c:spPr>
              <a:solidFill>
                <a:srgbClr val="00A097"/>
              </a:solidFill>
            </c:spPr>
            <c:extLst>
              <c:ext xmlns:c16="http://schemas.microsoft.com/office/drawing/2014/chart" uri="{C3380CC4-5D6E-409C-BE32-E72D297353CC}">
                <c16:uniqueId val="{00000199-2993-41DE-A2CB-63102DE87051}"/>
              </c:ext>
            </c:extLst>
          </c:dPt>
          <c:dPt>
            <c:idx val="204"/>
            <c:invertIfNegative val="1"/>
            <c:bubble3D val="0"/>
            <c:spPr>
              <a:solidFill>
                <a:srgbClr val="00A097"/>
              </a:solidFill>
            </c:spPr>
            <c:extLst>
              <c:ext xmlns:c16="http://schemas.microsoft.com/office/drawing/2014/chart" uri="{C3380CC4-5D6E-409C-BE32-E72D297353CC}">
                <c16:uniqueId val="{0000019B-2993-41DE-A2CB-63102DE87051}"/>
              </c:ext>
            </c:extLst>
          </c:dPt>
          <c:dPt>
            <c:idx val="205"/>
            <c:invertIfNegative val="1"/>
            <c:bubble3D val="0"/>
            <c:spPr>
              <a:solidFill>
                <a:srgbClr val="00A097"/>
              </a:solidFill>
            </c:spPr>
            <c:extLst>
              <c:ext xmlns:c16="http://schemas.microsoft.com/office/drawing/2014/chart" uri="{C3380CC4-5D6E-409C-BE32-E72D297353CC}">
                <c16:uniqueId val="{0000019D-2993-41DE-A2CB-63102DE87051}"/>
              </c:ext>
            </c:extLst>
          </c:dPt>
          <c:dPt>
            <c:idx val="206"/>
            <c:invertIfNegative val="1"/>
            <c:bubble3D val="0"/>
            <c:spPr>
              <a:solidFill>
                <a:srgbClr val="00A097"/>
              </a:solidFill>
            </c:spPr>
            <c:extLst>
              <c:ext xmlns:c16="http://schemas.microsoft.com/office/drawing/2014/chart" uri="{C3380CC4-5D6E-409C-BE32-E72D297353CC}">
                <c16:uniqueId val="{0000019F-2993-41DE-A2CB-63102DE87051}"/>
              </c:ext>
            </c:extLst>
          </c:dPt>
          <c:dPt>
            <c:idx val="207"/>
            <c:invertIfNegative val="1"/>
            <c:bubble3D val="0"/>
            <c:spPr>
              <a:solidFill>
                <a:srgbClr val="00A097"/>
              </a:solidFill>
            </c:spPr>
            <c:extLst>
              <c:ext xmlns:c16="http://schemas.microsoft.com/office/drawing/2014/chart" uri="{C3380CC4-5D6E-409C-BE32-E72D297353CC}">
                <c16:uniqueId val="{000001A1-2993-41DE-A2CB-63102DE87051}"/>
              </c:ext>
            </c:extLst>
          </c:dPt>
          <c:dPt>
            <c:idx val="208"/>
            <c:invertIfNegative val="1"/>
            <c:bubble3D val="0"/>
            <c:spPr>
              <a:solidFill>
                <a:srgbClr val="00A097"/>
              </a:solidFill>
            </c:spPr>
            <c:extLst>
              <c:ext xmlns:c16="http://schemas.microsoft.com/office/drawing/2014/chart" uri="{C3380CC4-5D6E-409C-BE32-E72D297353CC}">
                <c16:uniqueId val="{000001A3-2993-41DE-A2CB-63102DE87051}"/>
              </c:ext>
            </c:extLst>
          </c:dPt>
          <c:dPt>
            <c:idx val="209"/>
            <c:invertIfNegative val="1"/>
            <c:bubble3D val="0"/>
            <c:spPr>
              <a:solidFill>
                <a:srgbClr val="00A097"/>
              </a:solidFill>
            </c:spPr>
            <c:extLst>
              <c:ext xmlns:c16="http://schemas.microsoft.com/office/drawing/2014/chart" uri="{C3380CC4-5D6E-409C-BE32-E72D297353CC}">
                <c16:uniqueId val="{000001A5-2993-41DE-A2CB-63102DE87051}"/>
              </c:ext>
            </c:extLst>
          </c:dPt>
          <c:dPt>
            <c:idx val="210"/>
            <c:spPr>
              <a:solidFill>
                <a:srgbClr val="00A097"/>
              </a:solidFill>
            </c:spPr>
          </c:dPt>
          <c:dPt>
            <c:idx val="211"/>
            <c:spPr>
              <a:solidFill>
                <a:srgbClr val="00A097"/>
              </a:solidFill>
            </c:spPr>
          </c:dPt>
          <c:dPt>
            <c:idx val="212"/>
            <c:spPr>
              <a:solidFill>
                <a:srgbClr val="00A097"/>
              </a:solidFill>
            </c:spPr>
          </c:dPt>
          <c:dPt>
            <c:idx val="213"/>
            <c:spPr>
              <a:solidFill>
                <a:srgbClr val="00A097"/>
              </a:solidFill>
            </c:spPr>
          </c:dPt>
          <c:dPt>
            <c:idx val="214"/>
            <c:spPr>
              <a:solidFill>
                <a:srgbClr val="00A097"/>
              </a:solidFill>
            </c:spPr>
          </c:dPt>
          <c:dPt>
            <c:idx val="215"/>
            <c:spPr>
              <a:solidFill>
                <a:srgbClr val="00A097"/>
              </a:solidFill>
            </c:spPr>
          </c:dPt>
          <c:dPt>
            <c:idx val="216"/>
            <c:spPr>
              <a:solidFill>
                <a:srgbClr val="00A097"/>
              </a:solidFill>
            </c:spPr>
          </c:dPt>
          <c:dPt>
            <c:idx val="217"/>
            <c:spPr>
              <a:solidFill>
                <a:srgbClr val="00A097"/>
              </a:solidFill>
            </c:spPr>
          </c:dPt>
          <c:dPt>
            <c:idx val="218"/>
            <c:spPr>
              <a:solidFill>
                <a:srgbClr val="00A097"/>
              </a:solidFill>
            </c:spPr>
          </c:dPt>
          <c:dPt>
            <c:idx val="219"/>
            <c:spPr>
              <a:solidFill>
                <a:srgbClr val="00A097"/>
              </a:solidFill>
            </c:spPr>
          </c:dPt>
          <c:dPt>
            <c:idx val="220"/>
            <c:spPr>
              <a:solidFill>
                <a:srgbClr val="00A097"/>
              </a:solidFill>
            </c:spPr>
          </c:dPt>
          <c:dPt>
            <c:idx val="221"/>
            <c:spPr>
              <a:solidFill>
                <a:srgbClr val="00A097"/>
              </a:solidFill>
            </c:spPr>
          </c:dPt>
          <c:dPt>
            <c:idx val="222"/>
            <c:spPr>
              <a:solidFill>
                <a:srgbClr val="00A097"/>
              </a:solidFill>
            </c:spPr>
          </c:dPt>
          <c:dPt>
            <c:idx val="223"/>
            <c:spPr>
              <a:solidFill>
                <a:srgbClr val="00A097"/>
              </a:solidFill>
            </c:spPr>
          </c:dPt>
          <c:dPt>
            <c:idx val="224"/>
            <c:spPr>
              <a:solidFill>
                <a:srgbClr val="00A097"/>
              </a:solidFill>
            </c:spPr>
          </c:dPt>
          <c:dPt>
            <c:idx val="225"/>
            <c:spPr>
              <a:solidFill>
                <a:srgbClr val="00A097"/>
              </a:solidFill>
            </c:spPr>
          </c:dPt>
          <c:dPt>
            <c:idx val="226"/>
            <c:spPr>
              <a:solidFill>
                <a:srgbClr val="7ECAC4"/>
              </a:solidFill>
            </c:spPr>
          </c:dPt>
          <c:dPt>
            <c:idx val="227"/>
            <c:spPr>
              <a:solidFill>
                <a:srgbClr val="7ECAC4"/>
              </a:solidFill>
            </c:spPr>
          </c:dPt>
          <c:dPt>
            <c:idx val="228"/>
            <c:spPr>
              <a:solidFill>
                <a:srgbClr val="7ECAC4"/>
              </a:solidFill>
            </c:spPr>
          </c:dPt>
          <c:dPt>
            <c:idx val="229"/>
            <c:spPr>
              <a:solidFill>
                <a:srgbClr val="7ECAC4"/>
              </a:solidFill>
            </c:spPr>
          </c:dPt>
          <c:dPt>
            <c:idx val="230"/>
            <c:spPr>
              <a:solidFill>
                <a:srgbClr val="7ECAC4"/>
              </a:solidFill>
            </c:spPr>
          </c:dPt>
          <c:dPt>
            <c:idx val="231"/>
            <c:spPr>
              <a:solidFill>
                <a:srgbClr val="7ECAC4"/>
              </a:solidFill>
            </c:spPr>
          </c:dPt>
          <c:dPt>
            <c:idx val="232"/>
            <c:spPr>
              <a:solidFill>
                <a:srgbClr val="7ECAC4"/>
              </a:solidFill>
            </c:spPr>
          </c:dPt>
          <c:dPt>
            <c:idx val="233"/>
            <c:spPr>
              <a:solidFill>
                <a:srgbClr val="7ECAC4"/>
              </a:solidFill>
            </c:spPr>
          </c:dPt>
          <c:dPt>
            <c:idx val="234"/>
            <c:spPr>
              <a:solidFill>
                <a:srgbClr val="7ECAC4"/>
              </a:solidFill>
            </c:spPr>
          </c:dPt>
          <c:dPt>
            <c:idx val="235"/>
            <c:spPr>
              <a:solidFill>
                <a:srgbClr val="7ECAC4"/>
              </a:solidFill>
            </c:spPr>
          </c:dPt>
          <c:dPt>
            <c:idx val="236"/>
            <c:spPr>
              <a:solidFill>
                <a:srgbClr val="7ECAC4"/>
              </a:solidFill>
            </c:spPr>
          </c:dPt>
          <c:dPt>
            <c:idx val="237"/>
            <c:spPr>
              <a:solidFill>
                <a:srgbClr val="7ECAC4"/>
              </a:solidFill>
            </c:spPr>
          </c:dPt>
          <c:dPt>
            <c:idx val="238"/>
            <c:spPr>
              <a:solidFill>
                <a:srgbClr val="7ECAC4"/>
              </a:solidFill>
            </c:spPr>
          </c:dPt>
          <c:dPt>
            <c:idx val="239"/>
            <c:spPr>
              <a:solidFill>
                <a:srgbClr val="7ECAC4"/>
              </a:solidFill>
            </c:spPr>
          </c:dPt>
          <c:dPt>
            <c:idx val="240"/>
            <c:spPr>
              <a:solidFill>
                <a:srgbClr val="7ECAC4"/>
              </a:solidFill>
            </c:spPr>
          </c:dPt>
          <c:dPt>
            <c:idx val="241"/>
            <c:spPr>
              <a:solidFill>
                <a:srgbClr val="7ECAC4"/>
              </a:solidFill>
            </c:spPr>
          </c:dPt>
          <c:dPt>
            <c:idx val="242"/>
            <c:spPr>
              <a:solidFill>
                <a:srgbClr val="7ECAC4"/>
              </a:solidFill>
            </c:spPr>
          </c:dPt>
          <c:dPt>
            <c:idx val="243"/>
            <c:spPr>
              <a:solidFill>
                <a:srgbClr val="7ECAC4"/>
              </a:solidFill>
            </c:spPr>
          </c:dPt>
          <c:dPt>
            <c:idx val="244"/>
            <c:spPr>
              <a:solidFill>
                <a:srgbClr val="7ECAC4"/>
              </a:solidFill>
            </c:spPr>
          </c:dPt>
          <c:dPt>
            <c:idx val="245"/>
            <c:spPr>
              <a:solidFill>
                <a:srgbClr val="7ECAC4"/>
              </a:solidFill>
            </c:spPr>
          </c:dPt>
          <c:dPt>
            <c:idx val="246"/>
            <c:spPr>
              <a:solidFill>
                <a:srgbClr val="7ECAC4"/>
              </a:solidFill>
            </c:spPr>
          </c:dPt>
          <c:dPt>
            <c:idx val="247"/>
            <c:spPr>
              <a:solidFill>
                <a:srgbClr val="7ECAC4"/>
              </a:solidFill>
            </c:spPr>
          </c:dPt>
          <c:dPt>
            <c:idx val="248"/>
            <c:spPr>
              <a:solidFill>
                <a:srgbClr val="7ECAC4"/>
              </a:solidFill>
            </c:spPr>
          </c:dPt>
          <c:dPt>
            <c:idx val="249"/>
            <c:spPr>
              <a:solidFill>
                <a:srgbClr val="7ECAC4"/>
              </a:solidFill>
            </c:spPr>
          </c:dPt>
          <c:dPt>
            <c:idx val="250"/>
            <c:spPr>
              <a:solidFill>
                <a:srgbClr val="7ECAC4"/>
              </a:solidFill>
            </c:spPr>
          </c:dPt>
          <c:dPt>
            <c:idx val="251"/>
            <c:spPr>
              <a:solidFill>
                <a:srgbClr val="7ECAC4"/>
              </a:solidFill>
            </c:spPr>
          </c:dPt>
          <c:dPt>
            <c:idx val="252"/>
            <c:spPr>
              <a:solidFill>
                <a:srgbClr val="7ECAC4"/>
              </a:solidFill>
            </c:spPr>
          </c:dPt>
          <c:dPt>
            <c:idx val="253"/>
            <c:spPr>
              <a:solidFill>
                <a:srgbClr val="7ECAC4"/>
              </a:solidFill>
            </c:spPr>
          </c:dPt>
          <c:dPt>
            <c:idx val="254"/>
            <c:spPr>
              <a:solidFill>
                <a:srgbClr val="7ECAC4"/>
              </a:solidFill>
            </c:spPr>
          </c:dPt>
          <c:dPt>
            <c:idx val="255"/>
            <c:spPr>
              <a:solidFill>
                <a:srgbClr val="7ECAC4"/>
              </a:solidFill>
            </c:spPr>
          </c:dPt>
          <c:dPt>
            <c:idx val="256"/>
            <c:spPr>
              <a:solidFill>
                <a:srgbClr val="7ECAC4"/>
              </a:solidFill>
            </c:spPr>
          </c:dPt>
          <c:dPt>
            <c:idx val="257"/>
            <c:spPr>
              <a:solidFill>
                <a:srgbClr val="7ECAC4"/>
              </a:solidFill>
            </c:spPr>
          </c:dPt>
          <c:dPt>
            <c:idx val="258"/>
            <c:spPr>
              <a:solidFill>
                <a:srgbClr val="7ECAC4"/>
              </a:solidFill>
            </c:spPr>
          </c:dPt>
          <c:dPt>
            <c:idx val="259"/>
            <c:spPr>
              <a:solidFill>
                <a:srgbClr val="7ECAC4"/>
              </a:solidFill>
            </c:spPr>
          </c:dPt>
          <c:dPt>
            <c:idx val="260"/>
            <c:spPr>
              <a:solidFill>
                <a:srgbClr val="7ECAC4"/>
              </a:solidFill>
            </c:spPr>
          </c:dPt>
          <c:dPt>
            <c:idx val="261"/>
            <c:spPr>
              <a:solidFill>
                <a:srgbClr val="7ECAC4"/>
              </a:solidFill>
            </c:spPr>
          </c:dPt>
          <c:dPt>
            <c:idx val="262"/>
            <c:spPr>
              <a:solidFill>
                <a:srgbClr val="7ECAC4"/>
              </a:solidFill>
            </c:spPr>
          </c:dPt>
          <c:dPt>
            <c:idx val="263"/>
            <c:spPr>
              <a:solidFill>
                <a:srgbClr val="7ECAC4"/>
              </a:solidFill>
            </c:spPr>
          </c:dPt>
          <c:dPt>
            <c:idx val="264"/>
            <c:spPr>
              <a:solidFill>
                <a:srgbClr val="7ECAC4"/>
              </a:solidFill>
            </c:spPr>
          </c:dPt>
          <c:dPt>
            <c:idx val="265"/>
            <c:spPr>
              <a:solidFill>
                <a:srgbClr val="7ECAC4"/>
              </a:solidFill>
            </c:spPr>
          </c:dPt>
          <c:dPt>
            <c:idx val="266"/>
            <c:spPr>
              <a:solidFill>
                <a:srgbClr val="7ECAC4"/>
              </a:solidFill>
            </c:spPr>
          </c:dPt>
          <c:dPt>
            <c:idx val="267"/>
            <c:spPr>
              <a:solidFill>
                <a:srgbClr val="7ECAC4"/>
              </a:solidFill>
            </c:spPr>
          </c:dPt>
          <c:dPt>
            <c:idx val="268"/>
            <c:spPr>
              <a:solidFill>
                <a:srgbClr val="7ECAC4"/>
              </a:solidFill>
            </c:spPr>
          </c:dPt>
          <c:dPt>
            <c:idx val="269"/>
            <c:spPr>
              <a:solidFill>
                <a:srgbClr val="7ECAC4"/>
              </a:solidFill>
            </c:spPr>
          </c:dPt>
          <c:dPt>
            <c:idx val="270"/>
            <c:spPr>
              <a:solidFill>
                <a:srgbClr val="7ECAC4"/>
              </a:solidFill>
            </c:spPr>
          </c:dPt>
          <c:dPt>
            <c:idx val="271"/>
            <c:spPr>
              <a:solidFill>
                <a:srgbClr val="7ECAC4"/>
              </a:solidFill>
            </c:spPr>
          </c:dPt>
          <c:dPt>
            <c:idx val="272"/>
            <c:spPr>
              <a:solidFill>
                <a:srgbClr val="7ECAC4"/>
              </a:solidFill>
            </c:spPr>
          </c:dPt>
          <c:dPt>
            <c:idx val="273"/>
            <c:spPr>
              <a:solidFill>
                <a:srgbClr val="7ECAC4"/>
              </a:solidFill>
            </c:spPr>
          </c:dPt>
          <c:dPt>
            <c:idx val="274"/>
            <c:spPr>
              <a:solidFill>
                <a:srgbClr val="7ECAC4"/>
              </a:solidFill>
            </c:spPr>
          </c:dPt>
          <c:dPt>
            <c:idx val="275"/>
            <c:spPr>
              <a:solidFill>
                <a:srgbClr val="7ECAC4"/>
              </a:solidFill>
            </c:spPr>
          </c:dPt>
          <c:dPt>
            <c:idx val="276"/>
            <c:spPr>
              <a:solidFill>
                <a:srgbClr val="7ECAC4"/>
              </a:solidFill>
            </c:spPr>
          </c:dPt>
          <c:dPt>
            <c:idx val="277"/>
            <c:spPr>
              <a:solidFill>
                <a:srgbClr val="7ECAC4"/>
              </a:solidFill>
            </c:spPr>
          </c:dPt>
          <c:dPt>
            <c:idx val="278"/>
            <c:spPr>
              <a:solidFill>
                <a:srgbClr val="7ECAC4"/>
              </a:solidFill>
            </c:spPr>
          </c:dPt>
          <c:dPt>
            <c:idx val="279"/>
            <c:spPr>
              <a:solidFill>
                <a:srgbClr val="7ECAC4"/>
              </a:solidFill>
            </c:spPr>
          </c:dPt>
          <c:dPt>
            <c:idx val="280"/>
            <c:spPr>
              <a:solidFill>
                <a:srgbClr val="7ECAC4"/>
              </a:solidFill>
            </c:spPr>
          </c:dPt>
          <c:dPt>
            <c:idx val="281"/>
            <c:spPr>
              <a:solidFill>
                <a:srgbClr val="7ECAC4"/>
              </a:solidFill>
            </c:spPr>
          </c:dPt>
          <c:dPt>
            <c:idx val="282"/>
            <c:spPr>
              <a:solidFill>
                <a:srgbClr val="7ECAC4"/>
              </a:solidFill>
            </c:spPr>
          </c:dPt>
          <c:dPt>
            <c:idx val="283"/>
            <c:spPr>
              <a:solidFill>
                <a:srgbClr val="7ECAC4"/>
              </a:solidFill>
            </c:spPr>
          </c:dPt>
          <c:dPt>
            <c:idx val="284"/>
            <c:spPr>
              <a:solidFill>
                <a:srgbClr val="7ECAC4"/>
              </a:solidFill>
            </c:spPr>
          </c:dPt>
          <c:dPt>
            <c:idx val="285"/>
            <c:spPr>
              <a:solidFill>
                <a:srgbClr val="7ECAC4"/>
              </a:solidFill>
            </c:spPr>
          </c:dPt>
          <c:dPt>
            <c:idx val="286"/>
            <c:spPr>
              <a:solidFill>
                <a:srgbClr val="7ECAC4"/>
              </a:solidFill>
            </c:spPr>
          </c:dPt>
          <c:dPt>
            <c:idx val="287"/>
            <c:spPr>
              <a:solidFill>
                <a:srgbClr val="7ECAC4"/>
              </a:solidFill>
            </c:spPr>
          </c:dPt>
          <c:dPt>
            <c:idx val="288"/>
            <c:spPr>
              <a:solidFill>
                <a:srgbClr val="7ECAC4"/>
              </a:solidFill>
            </c:spPr>
          </c:dPt>
          <c:dPt>
            <c:idx val="289"/>
            <c:spPr>
              <a:solidFill>
                <a:srgbClr val="7ECAC4"/>
              </a:solidFill>
            </c:spPr>
          </c:dPt>
          <c:dPt>
            <c:idx val="290"/>
            <c:spPr>
              <a:solidFill>
                <a:srgbClr val="7ECAC4"/>
              </a:solidFill>
            </c:spPr>
          </c:dPt>
          <c:dPt>
            <c:idx val="291"/>
            <c:spPr>
              <a:solidFill>
                <a:srgbClr val="7ECAC4"/>
              </a:solidFill>
            </c:spPr>
          </c:dPt>
          <c:dPt>
            <c:idx val="292"/>
            <c:spPr>
              <a:solidFill>
                <a:srgbClr val="7ECAC4"/>
              </a:solidFill>
            </c:spPr>
          </c:dPt>
          <c:dPt>
            <c:idx val="293"/>
            <c:spPr>
              <a:solidFill>
                <a:srgbClr val="7ECAC4"/>
              </a:solidFill>
            </c:spPr>
          </c:dPt>
          <c:dPt>
            <c:idx val="294"/>
            <c:spPr>
              <a:solidFill>
                <a:srgbClr val="7ECAC4"/>
              </a:solidFill>
            </c:spPr>
          </c:dPt>
          <c:dPt>
            <c:idx val="295"/>
            <c:spPr>
              <a:solidFill>
                <a:srgbClr val="7ECAC4"/>
              </a:solidFill>
            </c:spPr>
          </c:dPt>
          <c:dPt>
            <c:idx val="296"/>
            <c:spPr>
              <a:solidFill>
                <a:srgbClr val="7ECAC4"/>
              </a:solidFill>
            </c:spPr>
          </c:dPt>
          <c:dPt>
            <c:idx val="297"/>
            <c:spPr>
              <a:solidFill>
                <a:srgbClr val="7ECAC4"/>
              </a:solidFill>
            </c:spPr>
          </c:dPt>
          <c:dPt>
            <c:idx val="298"/>
            <c:spPr>
              <a:solidFill>
                <a:srgbClr val="7ECAC4"/>
              </a:solidFill>
            </c:spPr>
          </c:dPt>
          <c:dPt>
            <c:idx val="299"/>
            <c:spPr>
              <a:solidFill>
                <a:srgbClr val="7ECAC4"/>
              </a:solidFill>
            </c:spPr>
          </c:dPt>
          <c:dPt>
            <c:idx val="300"/>
            <c:spPr>
              <a:solidFill>
                <a:srgbClr val="7ECAC4"/>
              </a:solidFill>
            </c:spPr>
          </c:dPt>
          <c:dPt>
            <c:idx val="301"/>
            <c:spPr>
              <a:solidFill>
                <a:srgbClr val="7ECAC4"/>
              </a:solidFill>
            </c:spPr>
          </c:dPt>
          <c:dPt>
            <c:idx val="302"/>
            <c:spPr>
              <a:solidFill>
                <a:srgbClr val="7ECAC4"/>
              </a:solidFill>
            </c:spPr>
          </c:dPt>
          <c:dPt>
            <c:idx val="303"/>
            <c:spPr>
              <a:solidFill>
                <a:srgbClr val="7ECAC4"/>
              </a:solidFill>
            </c:spPr>
          </c:dPt>
          <c:dPt>
            <c:idx val="304"/>
            <c:spPr>
              <a:solidFill>
                <a:srgbClr val="7ECAC4"/>
              </a:solidFill>
            </c:spPr>
          </c:dPt>
          <c:dPt>
            <c:idx val="305"/>
            <c:spPr>
              <a:solidFill>
                <a:srgbClr val="7ECAC4"/>
              </a:solidFill>
            </c:spPr>
          </c:dPt>
          <c:dPt>
            <c:idx val="306"/>
            <c:spPr>
              <a:solidFill>
                <a:srgbClr val="7ECAC4"/>
              </a:solidFill>
            </c:spPr>
          </c:dPt>
          <c:dPt>
            <c:idx val="307"/>
            <c:spPr>
              <a:solidFill>
                <a:srgbClr val="7ECAC4"/>
              </a:solidFill>
            </c:spPr>
          </c:dPt>
          <c:dPt>
            <c:idx val="308"/>
            <c:spPr>
              <a:solidFill>
                <a:srgbClr val="7ECAC4"/>
              </a:solidFill>
            </c:spPr>
          </c:dPt>
          <c:dPt>
            <c:idx val="309"/>
            <c:spPr>
              <a:solidFill>
                <a:srgbClr val="7ECAC4"/>
              </a:solidFill>
            </c:spPr>
          </c:dPt>
          <c:dPt>
            <c:idx val="310"/>
            <c:spPr>
              <a:solidFill>
                <a:srgbClr val="7ECAC4"/>
              </a:solidFill>
            </c:spPr>
          </c:dPt>
          <c:dPt>
            <c:idx val="311"/>
            <c:spPr>
              <a:solidFill>
                <a:srgbClr val="7ECAC4"/>
              </a:solidFill>
            </c:spPr>
          </c:dPt>
          <c:dPt>
            <c:idx val="312"/>
            <c:spPr>
              <a:solidFill>
                <a:srgbClr val="7ECAC4"/>
              </a:solidFill>
            </c:spPr>
          </c:dPt>
          <c:dPt>
            <c:idx val="313"/>
            <c:spPr>
              <a:solidFill>
                <a:srgbClr val="7ECAC4"/>
              </a:solidFill>
            </c:spPr>
          </c:dPt>
          <c:dPt>
            <c:idx val="314"/>
            <c:spPr>
              <a:solidFill>
                <a:srgbClr val="7ECAC4"/>
              </a:solidFill>
            </c:spPr>
          </c:dPt>
          <c:dPt>
            <c:idx val="315"/>
            <c:spPr>
              <a:solidFill>
                <a:srgbClr val="7ECAC4"/>
              </a:solidFill>
            </c:spPr>
          </c:dPt>
          <c:dPt>
            <c:idx val="316"/>
            <c:spPr>
              <a:solidFill>
                <a:srgbClr val="7ECAC4"/>
              </a:solidFill>
            </c:spPr>
          </c:dPt>
          <c:dPt>
            <c:idx val="317"/>
            <c:spPr>
              <a:solidFill>
                <a:srgbClr val="7ECAC4"/>
              </a:solidFill>
            </c:spPr>
          </c:dPt>
          <c:dPt>
            <c:idx val="318"/>
            <c:spPr>
              <a:solidFill>
                <a:srgbClr val="7ECAC4"/>
              </a:solidFill>
            </c:spPr>
          </c:dPt>
          <c:dPt>
            <c:idx val="319"/>
            <c:spPr>
              <a:solidFill>
                <a:srgbClr val="7ECAC4"/>
              </a:solidFill>
            </c:spPr>
          </c:dPt>
          <c:dPt>
            <c:idx val="320"/>
            <c:spPr>
              <a:solidFill>
                <a:srgbClr val="7ECAC4"/>
              </a:solidFill>
            </c:spPr>
          </c:dPt>
          <c:dPt>
            <c:idx val="321"/>
            <c:spPr>
              <a:solidFill>
                <a:srgbClr val="7ECAC4"/>
              </a:solidFill>
            </c:spPr>
          </c:dPt>
          <c:dPt>
            <c:idx val="322"/>
            <c:spPr>
              <a:solidFill>
                <a:srgbClr val="7ECAC4"/>
              </a:solidFill>
            </c:spPr>
          </c:dPt>
          <c:dPt>
            <c:idx val="323"/>
            <c:spPr>
              <a:solidFill>
                <a:srgbClr val="7ECAC4"/>
              </a:solidFill>
            </c:spPr>
          </c:dPt>
          <c:dPt>
            <c:idx val="324"/>
            <c:spPr>
              <a:solidFill>
                <a:srgbClr val="7ECAC4"/>
              </a:solidFill>
            </c:spPr>
          </c:dPt>
          <c:dPt>
            <c:idx val="325"/>
            <c:spPr>
              <a:solidFill>
                <a:srgbClr val="7ECAC4"/>
              </a:solidFill>
            </c:spPr>
          </c:dPt>
          <c:dPt>
            <c:idx val="326"/>
            <c:spPr>
              <a:solidFill>
                <a:srgbClr val="7ECAC4"/>
              </a:solidFill>
            </c:spPr>
          </c:dPt>
          <c:dPt>
            <c:idx val="327"/>
            <c:spPr>
              <a:solidFill>
                <a:srgbClr val="7ECAC4"/>
              </a:solidFill>
            </c:spPr>
          </c:dPt>
          <c:dPt>
            <c:idx val="328"/>
            <c:spPr>
              <a:solidFill>
                <a:srgbClr val="7ECAC4"/>
              </a:solidFill>
            </c:spPr>
          </c:dPt>
          <c:dPt>
            <c:idx val="329"/>
            <c:spPr>
              <a:solidFill>
                <a:srgbClr val="7ECAC4"/>
              </a:solidFill>
            </c:spPr>
          </c:dPt>
          <c:dPt>
            <c:idx val="330"/>
            <c:spPr>
              <a:solidFill>
                <a:srgbClr val="7ECAC4"/>
              </a:solidFill>
            </c:spPr>
          </c:dPt>
          <c:dPt>
            <c:idx val="331"/>
            <c:spPr>
              <a:solidFill>
                <a:srgbClr val="7ECAC4"/>
              </a:solidFill>
            </c:spPr>
          </c:dPt>
          <c:dPt>
            <c:idx val="332"/>
            <c:spPr>
              <a:solidFill>
                <a:srgbClr val="7ECAC4"/>
              </a:solidFill>
            </c:spPr>
          </c:dPt>
          <c:dPt>
            <c:idx val="333"/>
            <c:spPr>
              <a:solidFill>
                <a:srgbClr val="7ECAC4"/>
              </a:solidFill>
            </c:spPr>
          </c:dPt>
          <c:dPt>
            <c:idx val="334"/>
            <c:spPr>
              <a:solidFill>
                <a:srgbClr val="7ECAC4"/>
              </a:solidFill>
            </c:spPr>
          </c:dPt>
          <c:dPt>
            <c:idx val="335"/>
            <c:spPr>
              <a:solidFill>
                <a:srgbClr val="7ECAC4"/>
              </a:solidFill>
            </c:spPr>
          </c:dPt>
          <c:dPt>
            <c:idx val="336"/>
            <c:spPr>
              <a:solidFill>
                <a:srgbClr val="7ECAC4"/>
              </a:solidFill>
            </c:spPr>
          </c:dPt>
          <c:dPt>
            <c:idx val="337"/>
            <c:spPr>
              <a:solidFill>
                <a:srgbClr val="7ECAC4"/>
              </a:solidFill>
            </c:spPr>
          </c:dPt>
          <c:dPt>
            <c:idx val="338"/>
            <c:spPr>
              <a:solidFill>
                <a:srgbClr val="7ECAC4"/>
              </a:solidFill>
            </c:spPr>
          </c:dPt>
          <c:dPt>
            <c:idx val="339"/>
            <c:spPr>
              <a:solidFill>
                <a:srgbClr val="7ECAC4"/>
              </a:solidFill>
            </c:spPr>
          </c:dPt>
          <c:dPt>
            <c:idx val="340"/>
            <c:spPr>
              <a:solidFill>
                <a:srgbClr val="7ECAC4"/>
              </a:solidFill>
            </c:spPr>
          </c:dPt>
          <c:dPt>
            <c:idx val="341"/>
            <c:spPr>
              <a:solidFill>
                <a:srgbClr val="7ECAC4"/>
              </a:solidFill>
            </c:spPr>
          </c:dPt>
          <c:dPt>
            <c:idx val="342"/>
            <c:spPr>
              <a:solidFill>
                <a:srgbClr val="7ECAC4"/>
              </a:solidFill>
            </c:spPr>
          </c:dPt>
          <c:dPt>
            <c:idx val="343"/>
            <c:spPr>
              <a:solidFill>
                <a:srgbClr val="7ECAC4"/>
              </a:solidFill>
            </c:spPr>
          </c:dPt>
          <c:dPt>
            <c:idx val="344"/>
            <c:spPr>
              <a:solidFill>
                <a:srgbClr val="7ECAC4"/>
              </a:solidFill>
            </c:spPr>
          </c:dPt>
          <c:dPt>
            <c:idx val="345"/>
            <c:spPr>
              <a:solidFill>
                <a:srgbClr val="7ECAC4"/>
              </a:solidFill>
            </c:spPr>
          </c:dPt>
          <c:dPt>
            <c:idx val="346"/>
            <c:spPr>
              <a:solidFill>
                <a:srgbClr val="7ECAC4"/>
              </a:solidFill>
            </c:spPr>
          </c:dPt>
          <c:dPt>
            <c:idx val="347"/>
            <c:spPr>
              <a:solidFill>
                <a:srgbClr val="7ECAC4"/>
              </a:solidFill>
            </c:spPr>
          </c:dPt>
          <c:dPt>
            <c:idx val="348"/>
            <c:spPr>
              <a:solidFill>
                <a:srgbClr val="7ECAC4"/>
              </a:solidFill>
            </c:spPr>
          </c:dPt>
          <c:dPt>
            <c:idx val="349"/>
            <c:spPr>
              <a:solidFill>
                <a:srgbClr val="7ECAC4"/>
              </a:solidFill>
            </c:spPr>
          </c:dPt>
          <c:dPt>
            <c:idx val="350"/>
            <c:spPr>
              <a:solidFill>
                <a:srgbClr val="7ECAC4"/>
              </a:solidFill>
            </c:spPr>
          </c:dPt>
          <c:dPt>
            <c:idx val="351"/>
            <c:spPr>
              <a:solidFill>
                <a:srgbClr val="7ECAC4"/>
              </a:solidFill>
            </c:spPr>
          </c:dPt>
          <c:dPt>
            <c:idx val="352"/>
            <c:spPr>
              <a:solidFill>
                <a:srgbClr val="7ECAC4"/>
              </a:solidFill>
            </c:spPr>
          </c:dPt>
          <c:dPt>
            <c:idx val="353"/>
            <c:spPr>
              <a:solidFill>
                <a:srgbClr val="7ECAC4"/>
              </a:solidFill>
            </c:spPr>
          </c:dPt>
          <c:dPt>
            <c:idx val="354"/>
            <c:spPr>
              <a:solidFill>
                <a:srgbClr val="7ECAC4"/>
              </a:solidFill>
            </c:spPr>
          </c:dPt>
          <c:dPt>
            <c:idx val="355"/>
            <c:spPr>
              <a:solidFill>
                <a:srgbClr val="7ECAC4"/>
              </a:solidFill>
            </c:spPr>
          </c:dPt>
          <c:dPt>
            <c:idx val="356"/>
            <c:spPr>
              <a:solidFill>
                <a:srgbClr val="7ECAC4"/>
              </a:solidFill>
            </c:spPr>
          </c:dPt>
          <c:dPt>
            <c:idx val="357"/>
            <c:spPr>
              <a:solidFill>
                <a:srgbClr val="7ECAC4"/>
              </a:solidFill>
            </c:spPr>
          </c:dPt>
          <c:dPt>
            <c:idx val="358"/>
            <c:spPr>
              <a:solidFill>
                <a:srgbClr val="7ECAC4"/>
              </a:solidFill>
            </c:spPr>
          </c:dPt>
          <c:dPt>
            <c:idx val="359"/>
            <c:spPr>
              <a:solidFill>
                <a:srgbClr val="7ECAC4"/>
              </a:solidFill>
            </c:spPr>
          </c:dPt>
          <c:dPt>
            <c:idx val="360"/>
            <c:spPr>
              <a:solidFill>
                <a:srgbClr val="7ECAC4"/>
              </a:solidFill>
            </c:spPr>
          </c:dPt>
          <c:dPt>
            <c:idx val="361"/>
            <c:spPr>
              <a:solidFill>
                <a:srgbClr val="7ECAC4"/>
              </a:solidFill>
            </c:spPr>
          </c:dPt>
          <c:dPt>
            <c:idx val="362"/>
            <c:spPr>
              <a:solidFill>
                <a:srgbClr val="7ECAC4"/>
              </a:solidFill>
            </c:spPr>
          </c:dPt>
          <c:dPt>
            <c:idx val="363"/>
            <c:spPr>
              <a:solidFill>
                <a:srgbClr val="7ECAC4"/>
              </a:solidFill>
            </c:spPr>
          </c:dPt>
          <c:dPt>
            <c:idx val="364"/>
            <c:spPr>
              <a:solidFill>
                <a:srgbClr val="7ECAC4"/>
              </a:solidFill>
            </c:spPr>
          </c:dPt>
          <c:dPt>
            <c:idx val="365"/>
            <c:spPr>
              <a:solidFill>
                <a:srgbClr val="7ECAC4"/>
              </a:solidFill>
            </c:spPr>
          </c:dPt>
          <c:dPt>
            <c:idx val="366"/>
            <c:spPr>
              <a:solidFill>
                <a:srgbClr val="7ECAC4"/>
              </a:solidFill>
            </c:spPr>
          </c:dPt>
          <c:dPt>
            <c:idx val="367"/>
            <c:spPr>
              <a:solidFill>
                <a:srgbClr val="7ECAC4"/>
              </a:solidFill>
            </c:spPr>
          </c:dPt>
          <c:dPt>
            <c:idx val="368"/>
            <c:spPr>
              <a:solidFill>
                <a:srgbClr val="7ECAC4"/>
              </a:solidFill>
            </c:spPr>
          </c:dPt>
          <c:dPt>
            <c:idx val="369"/>
            <c:spPr>
              <a:solidFill>
                <a:srgbClr val="7ECAC4"/>
              </a:solidFill>
            </c:spPr>
          </c:dPt>
          <c:dPt>
            <c:idx val="370"/>
            <c:spPr>
              <a:solidFill>
                <a:srgbClr val="7ECAC4"/>
              </a:solidFill>
            </c:spPr>
          </c:dPt>
          <c:dPt>
            <c:idx val="371"/>
            <c:spPr>
              <a:solidFill>
                <a:srgbClr val="7ECAC4"/>
              </a:solidFill>
            </c:spPr>
          </c:dPt>
          <c:dPt>
            <c:idx val="372"/>
            <c:spPr>
              <a:solidFill>
                <a:srgbClr val="7ECAC4"/>
              </a:solidFill>
            </c:spPr>
          </c:dPt>
          <c:dPt>
            <c:idx val="373"/>
            <c:spPr>
              <a:solidFill>
                <a:srgbClr val="7ECAC4"/>
              </a:solidFill>
            </c:spPr>
          </c:dPt>
          <c:dPt>
            <c:idx val="374"/>
            <c:spPr>
              <a:solidFill>
                <a:srgbClr val="7ECAC4"/>
              </a:solidFill>
            </c:spPr>
          </c:dPt>
          <c:dPt>
            <c:idx val="375"/>
            <c:spPr>
              <a:solidFill>
                <a:srgbClr val="7ECAC4"/>
              </a:solidFill>
            </c:spPr>
          </c:dPt>
          <c:dPt>
            <c:idx val="376"/>
            <c:spPr>
              <a:solidFill>
                <a:srgbClr val="7ECAC4"/>
              </a:solidFill>
            </c:spPr>
          </c:dPt>
          <c:dPt>
            <c:idx val="377"/>
            <c:spPr>
              <a:solidFill>
                <a:srgbClr val="7ECAC4"/>
              </a:solidFill>
            </c:spPr>
          </c:dPt>
          <c:dPt>
            <c:idx val="378"/>
            <c:spPr>
              <a:solidFill>
                <a:srgbClr val="7ECAC4"/>
              </a:solidFill>
            </c:spPr>
          </c:dPt>
          <c:dPt>
            <c:idx val="379"/>
            <c:spPr>
              <a:solidFill>
                <a:srgbClr val="7ECAC4"/>
              </a:solidFill>
            </c:spPr>
          </c:dPt>
          <c:dPt>
            <c:idx val="380"/>
            <c:spPr>
              <a:solidFill>
                <a:srgbClr val="7ECAC4"/>
              </a:solidFill>
            </c:spPr>
          </c:dPt>
          <c:dPt>
            <c:idx val="381"/>
            <c:spPr>
              <a:solidFill>
                <a:srgbClr val="7ECAC4"/>
              </a:solidFill>
            </c:spPr>
          </c:dPt>
          <c:dPt>
            <c:idx val="382"/>
            <c:spPr>
              <a:solidFill>
                <a:srgbClr val="7ECAC4"/>
              </a:solidFill>
            </c:spPr>
          </c:dPt>
          <c:dPt>
            <c:idx val="383"/>
            <c:spPr>
              <a:solidFill>
                <a:srgbClr val="7ECAC4"/>
              </a:solidFill>
            </c:spPr>
          </c:dPt>
          <c:dPt>
            <c:idx val="384"/>
            <c:spPr>
              <a:solidFill>
                <a:srgbClr val="7ECAC4"/>
              </a:solidFill>
            </c:spPr>
          </c:dPt>
          <c:dPt>
            <c:idx val="385"/>
            <c:spPr>
              <a:solidFill>
                <a:srgbClr val="7ECAC4"/>
              </a:solidFill>
            </c:spPr>
          </c:dPt>
          <c:dPt>
            <c:idx val="386"/>
            <c:spPr>
              <a:solidFill>
                <a:srgbClr val="7ECAC4"/>
              </a:solidFill>
            </c:spPr>
          </c:dPt>
          <c:dPt>
            <c:idx val="387"/>
            <c:spPr>
              <a:solidFill>
                <a:srgbClr val="7ECAC4"/>
              </a:solidFill>
            </c:spPr>
          </c:dPt>
          <c:dPt>
            <c:idx val="388"/>
            <c:spPr>
              <a:solidFill>
                <a:srgbClr val="7ECAC4"/>
              </a:solidFill>
            </c:spPr>
          </c:dPt>
          <c:dPt>
            <c:idx val="389"/>
            <c:spPr>
              <a:solidFill>
                <a:srgbClr val="7ECAC4"/>
              </a:solidFill>
            </c:spPr>
          </c:dPt>
          <c:dPt>
            <c:idx val="390"/>
            <c:spPr>
              <a:solidFill>
                <a:srgbClr val="7ECAC4"/>
              </a:solidFill>
            </c:spPr>
          </c:dPt>
          <c:dPt>
            <c:idx val="391"/>
            <c:spPr>
              <a:solidFill>
                <a:srgbClr val="7ECAC4"/>
              </a:solidFill>
            </c:spPr>
          </c:dPt>
          <c:dPt>
            <c:idx val="392"/>
            <c:spPr>
              <a:solidFill>
                <a:srgbClr val="7ECAC4"/>
              </a:solidFill>
            </c:spPr>
          </c:dPt>
          <c:dPt>
            <c:idx val="393"/>
            <c:spPr>
              <a:solidFill>
                <a:srgbClr val="7ECAC4"/>
              </a:solidFill>
            </c:spPr>
          </c:dPt>
          <c:dPt>
            <c:idx val="394"/>
            <c:spPr>
              <a:solidFill>
                <a:srgbClr val="7ECAC4"/>
              </a:solidFill>
            </c:spPr>
          </c:dPt>
          <c:dPt>
            <c:idx val="395"/>
            <c:spPr>
              <a:solidFill>
                <a:srgbClr val="7ECAC4"/>
              </a:solidFill>
            </c:spPr>
          </c:dPt>
          <c:dPt>
            <c:idx val="396"/>
            <c:spPr>
              <a:solidFill>
                <a:srgbClr val="7ECAC4"/>
              </a:solidFill>
            </c:spPr>
          </c:dPt>
          <c:dPt>
            <c:idx val="397"/>
            <c:spPr>
              <a:solidFill>
                <a:srgbClr val="7ECAC4"/>
              </a:solidFill>
            </c:spPr>
          </c:dPt>
          <c:dPt>
            <c:idx val="398"/>
            <c:spPr>
              <a:solidFill>
                <a:srgbClr val="7ECAC4"/>
              </a:solidFill>
            </c:spPr>
          </c:dPt>
          <c:dPt>
            <c:idx val="399"/>
            <c:spPr>
              <a:solidFill>
                <a:srgbClr val="7ECAC4"/>
              </a:solidFill>
            </c:spPr>
          </c:dPt>
          <c:dPt>
            <c:idx val="400"/>
            <c:spPr>
              <a:solidFill>
                <a:srgbClr val="7ECAC4"/>
              </a:solidFill>
            </c:spPr>
          </c:dPt>
          <c:dPt>
            <c:idx val="401"/>
            <c:spPr>
              <a:solidFill>
                <a:srgbClr val="7ECAC4"/>
              </a:solidFill>
            </c:spPr>
          </c:dPt>
          <c:dPt>
            <c:idx val="402"/>
            <c:spPr>
              <a:solidFill>
                <a:srgbClr val="7ECAC4"/>
              </a:solidFill>
            </c:spPr>
          </c:dPt>
          <c:dPt>
            <c:idx val="403"/>
            <c:spPr>
              <a:solidFill>
                <a:srgbClr val="7ECAC4"/>
              </a:solidFill>
            </c:spPr>
          </c:dPt>
          <c:dPt>
            <c:idx val="404"/>
            <c:spPr>
              <a:solidFill>
                <a:srgbClr val="7ECAC4"/>
              </a:solidFill>
            </c:spPr>
          </c:dPt>
          <c:dPt>
            <c:idx val="405"/>
            <c:spPr>
              <a:solidFill>
                <a:srgbClr val="7ECAC4"/>
              </a:solidFill>
            </c:spPr>
          </c:dPt>
          <c:dPt>
            <c:idx val="406"/>
            <c:spPr>
              <a:solidFill>
                <a:srgbClr val="7ECAC4"/>
              </a:solidFill>
            </c:spPr>
          </c:dPt>
          <c:dPt>
            <c:idx val="407"/>
            <c:spPr>
              <a:solidFill>
                <a:srgbClr val="7ECAC4"/>
              </a:solidFill>
            </c:spPr>
          </c:dPt>
          <c:dPt>
            <c:idx val="408"/>
            <c:spPr>
              <a:solidFill>
                <a:srgbClr val="7ECAC4"/>
              </a:solidFill>
            </c:spPr>
          </c:dPt>
          <c:dPt>
            <c:idx val="409"/>
            <c:spPr>
              <a:solidFill>
                <a:srgbClr val="7ECAC4"/>
              </a:solidFill>
            </c:spPr>
          </c:dPt>
          <c:dPt>
            <c:idx val="410"/>
            <c:spPr>
              <a:solidFill>
                <a:srgbClr val="7ECAC4"/>
              </a:solidFill>
            </c:spPr>
          </c:dPt>
          <c:dPt>
            <c:idx val="411"/>
            <c:spPr>
              <a:solidFill>
                <a:srgbClr val="7ECAC4"/>
              </a:solidFill>
            </c:spPr>
          </c:dPt>
          <c:dPt>
            <c:idx val="412"/>
            <c:spPr>
              <a:solidFill>
                <a:srgbClr val="7ECAC4"/>
              </a:solidFill>
            </c:spPr>
          </c:dPt>
          <c:dPt>
            <c:idx val="413"/>
            <c:spPr>
              <a:solidFill>
                <a:srgbClr val="7ECAC4"/>
              </a:solidFill>
            </c:spPr>
          </c:dPt>
          <c:dPt>
            <c:idx val="414"/>
            <c:spPr>
              <a:solidFill>
                <a:srgbClr val="7ECAC4"/>
              </a:solidFill>
            </c:spPr>
          </c:dPt>
          <c:dPt>
            <c:idx val="415"/>
            <c:spPr>
              <a:solidFill>
                <a:srgbClr val="7ECAC4"/>
              </a:solidFill>
            </c:spPr>
          </c:dPt>
          <c:dPt>
            <c:idx val="416"/>
            <c:spPr>
              <a:solidFill>
                <a:srgbClr val="7ECAC4"/>
              </a:solidFill>
            </c:spPr>
          </c:dPt>
          <c:dPt>
            <c:idx val="417"/>
            <c:spPr>
              <a:solidFill>
                <a:srgbClr val="7ECAC4"/>
              </a:solidFill>
            </c:spPr>
          </c:dPt>
          <c:dPt>
            <c:idx val="418"/>
            <c:spPr>
              <a:solidFill>
                <a:srgbClr val="7ECAC4"/>
              </a:solidFill>
            </c:spPr>
          </c:dPt>
          <c:dPt>
            <c:idx val="419"/>
            <c:spPr>
              <a:solidFill>
                <a:srgbClr val="7ECAC4"/>
              </a:solidFill>
            </c:spPr>
          </c:dPt>
          <c:dPt>
            <c:idx val="420"/>
            <c:spPr>
              <a:solidFill>
                <a:srgbClr val="7ECAC4"/>
              </a:solidFill>
            </c:spPr>
          </c:dPt>
          <c:dPt>
            <c:idx val="421"/>
            <c:spPr>
              <a:solidFill>
                <a:srgbClr val="7ECAC4"/>
              </a:solidFill>
            </c:spPr>
          </c:dPt>
          <c:dPt>
            <c:idx val="422"/>
            <c:spPr>
              <a:solidFill>
                <a:srgbClr val="7ECAC4"/>
              </a:solidFill>
            </c:spPr>
          </c:dPt>
          <c:dPt>
            <c:idx val="423"/>
            <c:spPr>
              <a:solidFill>
                <a:srgbClr val="7ECAC4"/>
              </a:solidFill>
            </c:spPr>
          </c:dPt>
          <c:dPt>
            <c:idx val="424"/>
            <c:spPr>
              <a:solidFill>
                <a:srgbClr val="7ECAC4"/>
              </a:solidFill>
            </c:spPr>
          </c:dPt>
          <c:dPt>
            <c:idx val="425"/>
            <c:spPr>
              <a:solidFill>
                <a:srgbClr val="7ECAC4"/>
              </a:solidFill>
            </c:spPr>
          </c:dPt>
          <c:dPt>
            <c:idx val="426"/>
            <c:spPr>
              <a:solidFill>
                <a:srgbClr val="7ECAC4"/>
              </a:solidFill>
            </c:spPr>
          </c:dPt>
          <c:dPt>
            <c:idx val="427"/>
            <c:spPr>
              <a:solidFill>
                <a:srgbClr val="7ECAC4"/>
              </a:solidFill>
            </c:spPr>
          </c:dPt>
          <c:dPt>
            <c:idx val="428"/>
            <c:spPr>
              <a:solidFill>
                <a:srgbClr val="7ECAC4"/>
              </a:solidFill>
            </c:spPr>
          </c:dPt>
          <c:dPt>
            <c:idx val="429"/>
            <c:spPr>
              <a:solidFill>
                <a:srgbClr val="7ECAC4"/>
              </a:solidFill>
            </c:spPr>
          </c:dPt>
          <c:dPt>
            <c:idx val="430"/>
            <c:spPr>
              <a:solidFill>
                <a:srgbClr val="7ECAC4"/>
              </a:solidFill>
            </c:spPr>
          </c:dPt>
          <c:dPt>
            <c:idx val="431"/>
            <c:spPr>
              <a:solidFill>
                <a:srgbClr val="7ECAC4"/>
              </a:solidFill>
            </c:spPr>
          </c:dPt>
          <c:dPt>
            <c:idx val="432"/>
            <c:spPr>
              <a:solidFill>
                <a:srgbClr val="7ECAC4"/>
              </a:solidFill>
            </c:spPr>
          </c:dPt>
          <c:dPt>
            <c:idx val="433"/>
            <c:spPr>
              <a:solidFill>
                <a:srgbClr val="7ECAC4"/>
              </a:solidFill>
            </c:spPr>
          </c:dPt>
          <c:dPt>
            <c:idx val="434"/>
            <c:spPr>
              <a:solidFill>
                <a:srgbClr val="7ECAC4"/>
              </a:solidFill>
            </c:spPr>
          </c:dPt>
          <c:dPt>
            <c:idx val="435"/>
            <c:spPr>
              <a:solidFill>
                <a:srgbClr val="7ECAC4"/>
              </a:solidFill>
            </c:spPr>
          </c:dPt>
          <c:dPt>
            <c:idx val="436"/>
            <c:spPr>
              <a:solidFill>
                <a:srgbClr val="7ECAC4"/>
              </a:solidFill>
            </c:spPr>
          </c:dPt>
          <c:dPt>
            <c:idx val="437"/>
            <c:spPr>
              <a:solidFill>
                <a:srgbClr val="7ECAC4"/>
              </a:solidFill>
            </c:spPr>
          </c:dPt>
          <c:dPt>
            <c:idx val="438"/>
            <c:spPr>
              <a:solidFill>
                <a:srgbClr val="7ECAC4"/>
              </a:solidFill>
            </c:spPr>
          </c:dPt>
          <c:dPt>
            <c:idx val="439"/>
            <c:spPr>
              <a:solidFill>
                <a:srgbClr val="7ECAC4"/>
              </a:solidFill>
            </c:spPr>
          </c:dPt>
          <c:dPt>
            <c:idx val="440"/>
            <c:spPr>
              <a:solidFill>
                <a:srgbClr val="AEABAB"/>
              </a:solidFill>
            </c:spPr>
          </c:dPt>
          <c:dPt>
            <c:idx val="441"/>
            <c:spPr>
              <a:solidFill>
                <a:srgbClr val="AEABAB"/>
              </a:solidFill>
            </c:spPr>
          </c:dPt>
          <c:dPt>
            <c:idx val="442"/>
            <c:spPr>
              <a:solidFill>
                <a:srgbClr val="AEABAB"/>
              </a:solidFill>
            </c:spPr>
          </c:dPt>
          <c:dPt>
            <c:idx val="443"/>
            <c:spPr>
              <a:solidFill>
                <a:srgbClr val="AEABAB"/>
              </a:solidFill>
            </c:spPr>
          </c:dPt>
          <c:dPt>
            <c:idx val="444"/>
            <c:spPr>
              <a:solidFill>
                <a:srgbClr val="AEABAB"/>
              </a:solidFill>
            </c:spPr>
          </c:dPt>
          <c:dPt>
            <c:idx val="445"/>
            <c:spPr>
              <a:solidFill>
                <a:srgbClr val="AEABAB"/>
              </a:solidFill>
            </c:spPr>
          </c:dPt>
          <c:dPt>
            <c:idx val="446"/>
            <c:spPr>
              <a:solidFill>
                <a:srgbClr val="AEABAB"/>
              </a:solidFill>
            </c:spPr>
          </c:dPt>
          <c:dPt>
            <c:idx val="447"/>
            <c:spPr>
              <a:solidFill>
                <a:srgbClr val="AEABAB"/>
              </a:solidFill>
            </c:spPr>
          </c:dPt>
          <c:dPt>
            <c:idx val="448"/>
            <c:spPr>
              <a:solidFill>
                <a:srgbClr val="AEABAB"/>
              </a:solidFill>
            </c:spPr>
          </c:dPt>
          <c:dPt>
            <c:idx val="449"/>
            <c:spPr>
              <a:solidFill>
                <a:srgbClr val="AEABAB"/>
              </a:solidFill>
            </c:spPr>
          </c:dPt>
          <c:dPt>
            <c:idx val="450"/>
            <c:spPr>
              <a:solidFill>
                <a:srgbClr val="AEABAB"/>
              </a:solidFill>
            </c:spPr>
          </c:dPt>
          <c:dPt>
            <c:idx val="451"/>
            <c:spPr>
              <a:solidFill>
                <a:srgbClr val="AEABAB"/>
              </a:solidFill>
            </c:spPr>
          </c:dPt>
          <c:dPt>
            <c:idx val="452"/>
            <c:spPr>
              <a:solidFill>
                <a:srgbClr val="AEABAB"/>
              </a:solidFill>
            </c:spPr>
          </c:dPt>
          <c:dPt>
            <c:idx val="453"/>
            <c:spPr>
              <a:solidFill>
                <a:srgbClr val="AEABAB"/>
              </a:solidFill>
            </c:spPr>
          </c:dPt>
          <c:dPt>
            <c:idx val="454"/>
            <c:spPr>
              <a:solidFill>
                <a:srgbClr val="AEABAB"/>
              </a:solidFill>
            </c:spPr>
          </c:dPt>
          <c:dPt>
            <c:idx val="455"/>
            <c:spPr>
              <a:solidFill>
                <a:srgbClr val="AEABAB"/>
              </a:solidFill>
            </c:spPr>
          </c:dPt>
          <c:dPt>
            <c:idx val="456"/>
            <c:spPr>
              <a:solidFill>
                <a:srgbClr val="AEABAB"/>
              </a:solidFill>
            </c:spPr>
          </c:dPt>
          <c:dPt>
            <c:idx val="457"/>
            <c:spPr>
              <a:solidFill>
                <a:srgbClr val="AEABAB"/>
              </a:solidFill>
            </c:spPr>
          </c:dPt>
          <c:dPt>
            <c:idx val="458"/>
            <c:spPr>
              <a:solidFill>
                <a:srgbClr val="AEABAB"/>
              </a:solidFill>
            </c:spPr>
          </c:dPt>
          <c:dPt>
            <c:idx val="459"/>
            <c:spPr>
              <a:solidFill>
                <a:srgbClr val="AEABAB"/>
              </a:solidFill>
            </c:spPr>
          </c:dPt>
          <c:dPt>
            <c:idx val="460"/>
            <c:spPr>
              <a:solidFill>
                <a:srgbClr val="AEABAB"/>
              </a:solidFill>
            </c:spPr>
          </c:dPt>
          <c:dPt>
            <c:idx val="461"/>
            <c:spPr>
              <a:solidFill>
                <a:srgbClr val="AEABAB"/>
              </a:solidFill>
            </c:spPr>
          </c:dPt>
          <c:dPt>
            <c:idx val="462"/>
            <c:spPr>
              <a:solidFill>
                <a:srgbClr val="AEABAB"/>
              </a:solidFill>
            </c:spPr>
          </c:dPt>
          <c:dPt>
            <c:idx val="463"/>
            <c:spPr>
              <a:solidFill>
                <a:srgbClr val="AEABAB"/>
              </a:solidFill>
            </c:spPr>
          </c:dPt>
          <c:dPt>
            <c:idx val="464"/>
            <c:spPr>
              <a:solidFill>
                <a:srgbClr val="AEABAB"/>
              </a:solidFill>
            </c:spPr>
          </c:dPt>
          <c:dPt>
            <c:idx val="465"/>
            <c:spPr>
              <a:solidFill>
                <a:srgbClr val="AEABAB"/>
              </a:solidFill>
            </c:spPr>
          </c:dPt>
          <c:dPt>
            <c:idx val="466"/>
            <c:spPr>
              <a:solidFill>
                <a:srgbClr val="AEABAB"/>
              </a:solidFill>
            </c:spPr>
          </c:dPt>
          <c:dPt>
            <c:idx val="467"/>
            <c:spPr>
              <a:solidFill>
                <a:srgbClr val="AEABAB"/>
              </a:solidFill>
            </c:spPr>
          </c:dPt>
          <c:dPt>
            <c:idx val="468"/>
            <c:spPr>
              <a:solidFill>
                <a:srgbClr val="AEABAB"/>
              </a:solidFill>
            </c:spPr>
          </c:dPt>
          <c:dPt>
            <c:idx val="469"/>
            <c:spPr>
              <a:solidFill>
                <a:srgbClr val="AEABAB"/>
              </a:solidFill>
            </c:spPr>
          </c:dPt>
          <c:dPt>
            <c:idx val="470"/>
            <c:spPr>
              <a:solidFill>
                <a:srgbClr val="AEABAB"/>
              </a:solidFill>
            </c:spPr>
          </c:dPt>
          <c:dPt>
            <c:idx val="471"/>
            <c:spPr>
              <a:solidFill>
                <a:srgbClr val="AEABAB"/>
              </a:solidFill>
            </c:spPr>
          </c:dPt>
          <c:dPt>
            <c:idx val="472"/>
            <c:spPr>
              <a:solidFill>
                <a:srgbClr val="AEABAB"/>
              </a:solidFill>
            </c:spPr>
          </c:dPt>
          <c:dPt>
            <c:idx val="473"/>
            <c:spPr>
              <a:solidFill>
                <a:srgbClr val="AEABAB"/>
              </a:solidFill>
            </c:spPr>
          </c:dPt>
          <c:dPt>
            <c:idx val="474"/>
            <c:spPr>
              <a:solidFill>
                <a:srgbClr val="AEABAB"/>
              </a:solidFill>
            </c:spPr>
          </c:dPt>
          <c:dPt>
            <c:idx val="475"/>
            <c:spPr>
              <a:solidFill>
                <a:srgbClr val="AEABAB"/>
              </a:solidFill>
            </c:spPr>
          </c:dPt>
          <c:dPt>
            <c:idx val="476"/>
            <c:spPr>
              <a:solidFill>
                <a:srgbClr val="AEABAB"/>
              </a:solidFill>
            </c:spPr>
          </c:dPt>
          <c:dPt>
            <c:idx val="477"/>
            <c:spPr>
              <a:solidFill>
                <a:srgbClr val="AEABAB"/>
              </a:solidFill>
            </c:spPr>
          </c:dPt>
          <c:dPt>
            <c:idx val="478"/>
            <c:spPr>
              <a:solidFill>
                <a:srgbClr val="AEABAB"/>
              </a:solidFill>
            </c:spPr>
          </c:dPt>
          <c:dPt>
            <c:idx val="479"/>
            <c:spPr>
              <a:solidFill>
                <a:srgbClr val="AEABAB"/>
              </a:solidFill>
            </c:spPr>
          </c:dPt>
          <c:dPt>
            <c:idx val="480"/>
            <c:spPr>
              <a:solidFill>
                <a:srgbClr val="AEABAB"/>
              </a:solidFill>
            </c:spPr>
          </c:dPt>
          <c:dPt>
            <c:idx val="481"/>
            <c:spPr>
              <a:solidFill>
                <a:srgbClr val="AEABAB"/>
              </a:solidFill>
            </c:spPr>
          </c:dPt>
          <c:dPt>
            <c:idx val="482"/>
            <c:spPr>
              <a:solidFill>
                <a:srgbClr val="AEABAB"/>
              </a:solidFill>
            </c:spPr>
          </c:dPt>
          <c:dPt>
            <c:idx val="483"/>
            <c:spPr>
              <a:solidFill>
                <a:srgbClr val="AEABAB"/>
              </a:solidFill>
            </c:spPr>
          </c:dPt>
          <c:dPt>
            <c:idx val="484"/>
            <c:spPr>
              <a:solidFill>
                <a:srgbClr val="AEABAB"/>
              </a:solidFill>
            </c:spPr>
          </c:dPt>
          <c:dPt>
            <c:idx val="485"/>
            <c:spPr>
              <a:solidFill>
                <a:srgbClr val="AEABAB"/>
              </a:solidFill>
            </c:spPr>
          </c:dPt>
          <c:dPt>
            <c:idx val="486"/>
            <c:spPr>
              <a:solidFill>
                <a:srgbClr val="AEABAB"/>
              </a:solidFill>
            </c:spPr>
          </c:dPt>
          <c:dPt>
            <c:idx val="487"/>
            <c:spPr>
              <a:solidFill>
                <a:srgbClr val="AEABAB"/>
              </a:solidFill>
            </c:spPr>
          </c:dPt>
          <c:dPt>
            <c:idx val="488"/>
            <c:spPr>
              <a:solidFill>
                <a:srgbClr val="AEABAB"/>
              </a:solidFill>
            </c:spPr>
          </c:dPt>
          <c:dPt>
            <c:idx val="489"/>
            <c:spPr>
              <a:solidFill>
                <a:srgbClr val="AEABAB"/>
              </a:solidFill>
            </c:spPr>
          </c:dPt>
          <c:dPt>
            <c:idx val="490"/>
            <c:spPr>
              <a:solidFill>
                <a:srgbClr val="AEABAB"/>
              </a:solidFill>
            </c:spPr>
          </c:dPt>
          <c:dPt>
            <c:idx val="491"/>
            <c:spPr>
              <a:solidFill>
                <a:srgbClr val="AEABAB"/>
              </a:solidFill>
            </c:spPr>
          </c:dPt>
          <c:dPt>
            <c:idx val="492"/>
            <c:spPr>
              <a:solidFill>
                <a:srgbClr val="AEABAB"/>
              </a:solidFill>
            </c:spPr>
          </c:dPt>
          <c:dPt>
            <c:idx val="493"/>
            <c:spPr>
              <a:solidFill>
                <a:srgbClr val="AEABAB"/>
              </a:solidFill>
            </c:spPr>
          </c:dPt>
          <c:dPt>
            <c:idx val="494"/>
            <c:spPr>
              <a:solidFill>
                <a:srgbClr val="AEABAB"/>
              </a:solidFill>
            </c:spPr>
          </c:dPt>
          <c:dPt>
            <c:idx val="495"/>
            <c:spPr>
              <a:solidFill>
                <a:srgbClr val="AEABAB"/>
              </a:solidFill>
            </c:spPr>
          </c:dPt>
          <c:dPt>
            <c:idx val="496"/>
            <c:spPr>
              <a:solidFill>
                <a:srgbClr val="AEABAB"/>
              </a:solidFill>
            </c:spPr>
          </c:dPt>
          <c:dPt>
            <c:idx val="497"/>
            <c:spPr>
              <a:solidFill>
                <a:srgbClr val="AEABAB"/>
              </a:solidFill>
            </c:spPr>
          </c:dPt>
          <c:dPt>
            <c:idx val="498"/>
            <c:spPr>
              <a:solidFill>
                <a:srgbClr val="AEABAB"/>
              </a:solidFill>
            </c:spPr>
          </c:dPt>
          <c:dPt>
            <c:idx val="499"/>
            <c:spPr>
              <a:solidFill>
                <a:srgbClr val="AEABAB"/>
              </a:solidFill>
            </c:spPr>
          </c:dPt>
          <c:dPt>
            <c:idx val="500"/>
            <c:spPr>
              <a:solidFill>
                <a:srgbClr val="AEABAB"/>
              </a:solidFill>
            </c:spPr>
          </c:dPt>
          <c:dPt>
            <c:idx val="501"/>
            <c:spPr>
              <a:solidFill>
                <a:srgbClr val="AEABAB"/>
              </a:solidFill>
            </c:spPr>
          </c:dPt>
          <c:dPt>
            <c:idx val="502"/>
            <c:spPr>
              <a:solidFill>
                <a:srgbClr val="AEABAB"/>
              </a:solidFill>
            </c:spPr>
          </c:dPt>
          <c:dPt>
            <c:idx val="503"/>
            <c:spPr>
              <a:solidFill>
                <a:srgbClr val="AEABAB"/>
              </a:solidFill>
            </c:spPr>
          </c:dPt>
          <c:dPt>
            <c:idx val="504"/>
            <c:spPr>
              <a:solidFill>
                <a:srgbClr val="AEABAB"/>
              </a:solidFill>
            </c:spPr>
          </c:dPt>
          <c:dPt>
            <c:idx val="505"/>
            <c:spPr>
              <a:solidFill>
                <a:srgbClr val="AEABAB"/>
              </a:solidFill>
            </c:spPr>
          </c:dPt>
          <c:dPt>
            <c:idx val="506"/>
            <c:spPr>
              <a:solidFill>
                <a:srgbClr val="AEABAB"/>
              </a:solidFill>
            </c:spPr>
          </c:dPt>
          <c:dPt>
            <c:idx val="507"/>
            <c:spPr>
              <a:solidFill>
                <a:srgbClr val="AEABAB"/>
              </a:solidFill>
            </c:spPr>
          </c:dPt>
          <c:dPt>
            <c:idx val="508"/>
            <c:spPr>
              <a:solidFill>
                <a:srgbClr val="AEABAB"/>
              </a:solidFill>
            </c:spPr>
          </c:dPt>
          <c:dPt>
            <c:idx val="509"/>
            <c:spPr>
              <a:solidFill>
                <a:srgbClr val="AEABAB"/>
              </a:solidFill>
            </c:spPr>
          </c:dPt>
          <c:dPt>
            <c:idx val="510"/>
            <c:spPr>
              <a:solidFill>
                <a:srgbClr val="AEABAB"/>
              </a:solidFill>
            </c:spPr>
          </c:dPt>
          <c:dPt>
            <c:idx val="511"/>
            <c:spPr>
              <a:solidFill>
                <a:srgbClr val="AEABAB"/>
              </a:solidFill>
            </c:spPr>
          </c:dPt>
          <c:dPt>
            <c:idx val="512"/>
            <c:spPr>
              <a:solidFill>
                <a:srgbClr val="AEABAB"/>
              </a:solidFill>
            </c:spPr>
          </c:dPt>
          <c:dPt>
            <c:idx val="513"/>
            <c:spPr>
              <a:solidFill>
                <a:srgbClr val="AEABAB"/>
              </a:solidFill>
            </c:spPr>
          </c:dPt>
          <c:dPt>
            <c:idx val="514"/>
            <c:spPr>
              <a:solidFill>
                <a:srgbClr val="AEABAB"/>
              </a:solidFill>
            </c:spPr>
          </c:dPt>
          <c:dPt>
            <c:idx val="515"/>
            <c:spPr>
              <a:solidFill>
                <a:srgbClr val="AEABAB"/>
              </a:solidFill>
            </c:spPr>
          </c:dPt>
          <c:dPt>
            <c:idx val="516"/>
            <c:spPr>
              <a:solidFill>
                <a:srgbClr val="AEABAB"/>
              </a:solidFill>
            </c:spPr>
          </c:dPt>
          <c:dPt>
            <c:idx val="517"/>
            <c:spPr>
              <a:solidFill>
                <a:srgbClr val="AEABAB"/>
              </a:solidFill>
            </c:spPr>
          </c:dPt>
          <c:dPt>
            <c:idx val="518"/>
            <c:spPr>
              <a:solidFill>
                <a:srgbClr val="AEABAB"/>
              </a:solidFill>
            </c:spPr>
          </c:dPt>
          <c:dPt>
            <c:idx val="519"/>
            <c:spPr>
              <a:solidFill>
                <a:srgbClr val="AEABAB"/>
              </a:solidFill>
            </c:spPr>
          </c:dPt>
          <c:dPt>
            <c:idx val="520"/>
            <c:spPr>
              <a:solidFill>
                <a:srgbClr val="AEABAB"/>
              </a:solidFill>
            </c:spPr>
          </c:dPt>
          <c:dPt>
            <c:idx val="521"/>
            <c:spPr>
              <a:solidFill>
                <a:srgbClr val="AEABAB"/>
              </a:solidFill>
            </c:spPr>
          </c:dPt>
          <c:dPt>
            <c:idx val="522"/>
            <c:spPr>
              <a:solidFill>
                <a:srgbClr val="AEABAB"/>
              </a:solidFill>
            </c:spPr>
          </c:dPt>
          <c:dPt>
            <c:idx val="523"/>
            <c:spPr>
              <a:solidFill>
                <a:srgbClr val="AEABAB"/>
              </a:solidFill>
            </c:spPr>
          </c:dPt>
          <c:dPt>
            <c:idx val="524"/>
            <c:spPr>
              <a:solidFill>
                <a:srgbClr val="AEABAB"/>
              </a:solidFill>
            </c:spPr>
          </c:dPt>
          <c:dPt>
            <c:idx val="525"/>
            <c:spPr>
              <a:solidFill>
                <a:srgbClr val="AEABAB"/>
              </a:solidFill>
            </c:spPr>
          </c:dPt>
          <c:dPt>
            <c:idx val="526"/>
            <c:spPr>
              <a:solidFill>
                <a:srgbClr val="AEABAB"/>
              </a:solidFill>
            </c:spPr>
          </c:dPt>
          <c:dPt>
            <c:idx val="527"/>
            <c:spPr>
              <a:solidFill>
                <a:srgbClr val="AEABAB"/>
              </a:solidFill>
            </c:spPr>
          </c:dPt>
          <c:dPt>
            <c:idx val="528"/>
            <c:spPr>
              <a:solidFill>
                <a:srgbClr val="AEABAB"/>
              </a:solidFill>
            </c:spPr>
          </c:dPt>
          <c:dPt>
            <c:idx val="529"/>
            <c:spPr>
              <a:solidFill>
                <a:srgbClr val="AEABAB"/>
              </a:solidFill>
            </c:spPr>
          </c:dPt>
          <c:dPt>
            <c:idx val="530"/>
            <c:spPr>
              <a:solidFill>
                <a:srgbClr val="AEABAB"/>
              </a:solidFill>
            </c:spPr>
          </c:dPt>
          <c:dPt>
            <c:idx val="531"/>
            <c:spPr>
              <a:solidFill>
                <a:srgbClr val="AEABAB"/>
              </a:solidFill>
            </c:spPr>
          </c:dPt>
          <c:dPt>
            <c:idx val="532"/>
            <c:spPr>
              <a:solidFill>
                <a:srgbClr val="AEABAB"/>
              </a:solidFill>
            </c:spPr>
          </c:dPt>
          <c:dPt>
            <c:idx val="533"/>
            <c:spPr>
              <a:solidFill>
                <a:srgbClr val="AEABAB"/>
              </a:solidFill>
            </c:spPr>
          </c:dPt>
          <c:dPt>
            <c:idx val="534"/>
            <c:spPr>
              <a:solidFill>
                <a:srgbClr val="AEABAB"/>
              </a:solidFill>
            </c:spPr>
          </c:dPt>
          <c:dPt>
            <c:idx val="535"/>
            <c:spPr>
              <a:solidFill>
                <a:srgbClr val="AEABAB"/>
              </a:solidFill>
            </c:spPr>
          </c:dPt>
          <c:dPt>
            <c:idx val="536"/>
            <c:spPr>
              <a:solidFill>
                <a:srgbClr val="AEABAB"/>
              </a:solidFill>
            </c:spPr>
          </c:dPt>
          <c:dPt>
            <c:idx val="537"/>
            <c:spPr>
              <a:solidFill>
                <a:srgbClr val="AEABAB"/>
              </a:solidFill>
            </c:spPr>
          </c:dPt>
          <c:dPt>
            <c:idx val="538"/>
            <c:spPr>
              <a:solidFill>
                <a:srgbClr val="AEABAB"/>
              </a:solidFill>
            </c:spPr>
          </c:dPt>
          <c:dPt>
            <c:idx val="539"/>
            <c:spPr>
              <a:solidFill>
                <a:srgbClr val="AEABAB"/>
              </a:solidFill>
            </c:spPr>
          </c:dPt>
          <c:dPt>
            <c:idx val="540"/>
            <c:spPr>
              <a:solidFill>
                <a:srgbClr val="AEABAB"/>
              </a:solidFill>
            </c:spPr>
          </c:dPt>
          <c:dPt>
            <c:idx val="541"/>
            <c:spPr>
              <a:solidFill>
                <a:srgbClr val="AEABAB"/>
              </a:solidFill>
            </c:spPr>
          </c:dPt>
          <c:dPt>
            <c:idx val="542"/>
            <c:spPr>
              <a:solidFill>
                <a:srgbClr val="AEABAB"/>
              </a:solidFill>
            </c:spPr>
          </c:dPt>
          <c:dPt>
            <c:idx val="543"/>
            <c:spPr>
              <a:solidFill>
                <a:srgbClr val="AEABAB"/>
              </a:solidFill>
            </c:spPr>
          </c:dPt>
          <c:dPt>
            <c:idx val="544"/>
            <c:spPr>
              <a:solidFill>
                <a:srgbClr val="AEABAB"/>
              </a:solidFill>
            </c:spPr>
          </c:dPt>
          <c:dPt>
            <c:idx val="545"/>
            <c:spPr>
              <a:solidFill>
                <a:srgbClr val="AEABAB"/>
              </a:solidFill>
            </c:spPr>
          </c:dPt>
          <c:dPt>
            <c:idx val="546"/>
            <c:spPr>
              <a:solidFill>
                <a:srgbClr val="AEABAB"/>
              </a:solidFill>
            </c:spPr>
          </c:dPt>
          <c:dPt>
            <c:idx val="547"/>
            <c:spPr>
              <a:solidFill>
                <a:srgbClr val="AEABAB"/>
              </a:solidFill>
            </c:spPr>
          </c:dPt>
          <c:dPt>
            <c:idx val="548"/>
            <c:spPr>
              <a:solidFill>
                <a:srgbClr val="AEABAB"/>
              </a:solidFill>
            </c:spPr>
          </c:dPt>
          <c:dPt>
            <c:idx val="549"/>
            <c:spPr>
              <a:solidFill>
                <a:srgbClr val="AEABAB"/>
              </a:solidFill>
            </c:spPr>
          </c:dPt>
          <c:dPt>
            <c:idx val="550"/>
            <c:spPr>
              <a:solidFill>
                <a:srgbClr val="AEABAB"/>
              </a:solidFill>
            </c:spPr>
          </c:dPt>
          <c:dPt>
            <c:idx val="551"/>
            <c:spPr>
              <a:solidFill>
                <a:srgbClr val="AEABAB"/>
              </a:solidFill>
            </c:spPr>
          </c:dPt>
          <c:dPt>
            <c:idx val="552"/>
            <c:spPr>
              <a:solidFill>
                <a:srgbClr val="AEABAB"/>
              </a:solidFill>
            </c:spPr>
          </c:dPt>
          <c:dPt>
            <c:idx val="553"/>
            <c:spPr>
              <a:solidFill>
                <a:srgbClr val="AEABAB"/>
              </a:solidFill>
            </c:spPr>
          </c:dPt>
          <c:dPt>
            <c:idx val="554"/>
            <c:spPr>
              <a:solidFill>
                <a:srgbClr val="AEABAB"/>
              </a:solidFill>
            </c:spPr>
          </c:dPt>
          <c:dPt>
            <c:idx val="555"/>
            <c:spPr>
              <a:solidFill>
                <a:srgbClr val="AEABAB"/>
              </a:solidFill>
            </c:spPr>
          </c:dPt>
          <c:dPt>
            <c:idx val="556"/>
            <c:spPr>
              <a:solidFill>
                <a:srgbClr val="AEABAB"/>
              </a:solidFill>
            </c:spPr>
          </c:dPt>
          <c:dPt>
            <c:idx val="557"/>
            <c:spPr>
              <a:solidFill>
                <a:srgbClr val="AEABAB"/>
              </a:solidFill>
            </c:spPr>
          </c:dPt>
          <c:dPt>
            <c:idx val="558"/>
            <c:spPr>
              <a:solidFill>
                <a:srgbClr val="AEABAB"/>
              </a:solidFill>
            </c:spPr>
          </c:dPt>
          <c:dPt>
            <c:idx val="559"/>
            <c:spPr>
              <a:solidFill>
                <a:srgbClr val="AEABAB"/>
              </a:solidFill>
            </c:spPr>
          </c:dPt>
          <c:dPt>
            <c:idx val="560"/>
            <c:spPr>
              <a:solidFill>
                <a:srgbClr val="AEABAB"/>
              </a:solidFill>
            </c:spPr>
          </c:dPt>
          <c:dPt>
            <c:idx val="561"/>
            <c:spPr>
              <a:solidFill>
                <a:srgbClr val="AEABAB"/>
              </a:solidFill>
            </c:spPr>
          </c:dPt>
          <c:dPt>
            <c:idx val="562"/>
            <c:spPr>
              <a:solidFill>
                <a:srgbClr val="AEABAB"/>
              </a:solidFill>
            </c:spPr>
          </c:dPt>
          <c:dPt>
            <c:idx val="563"/>
            <c:spPr>
              <a:solidFill>
                <a:srgbClr val="AEABAB"/>
              </a:solidFill>
            </c:spPr>
          </c:dPt>
          <c:dPt>
            <c:idx val="564"/>
            <c:spPr>
              <a:solidFill>
                <a:srgbClr val="AEABAB"/>
              </a:solidFill>
            </c:spPr>
          </c:dPt>
          <c:dPt>
            <c:idx val="565"/>
            <c:spPr>
              <a:solidFill>
                <a:srgbClr val="AEABAB"/>
              </a:solidFill>
            </c:spPr>
          </c:dPt>
          <c:dPt>
            <c:idx val="566"/>
            <c:spPr>
              <a:solidFill>
                <a:srgbClr val="AEABAB"/>
              </a:solidFill>
            </c:spPr>
          </c:dPt>
          <c:dPt>
            <c:idx val="567"/>
            <c:spPr>
              <a:solidFill>
                <a:srgbClr val="AEABAB"/>
              </a:solidFill>
            </c:spPr>
          </c:dPt>
          <c:dPt>
            <c:idx val="568"/>
            <c:spPr>
              <a:solidFill>
                <a:srgbClr val="AEABAB"/>
              </a:solidFill>
            </c:spPr>
          </c:dPt>
          <c:dPt>
            <c:idx val="569"/>
            <c:spPr>
              <a:solidFill>
                <a:srgbClr val="AEABAB"/>
              </a:solidFill>
            </c:spPr>
          </c:dPt>
          <c:dPt>
            <c:idx val="570"/>
            <c:spPr>
              <a:solidFill>
                <a:srgbClr val="AEABAB"/>
              </a:solidFill>
            </c:spPr>
          </c:dPt>
          <c:dPt>
            <c:idx val="571"/>
            <c:spPr>
              <a:solidFill>
                <a:srgbClr val="AEABAB"/>
              </a:solidFill>
            </c:spPr>
          </c:dPt>
          <c:dPt>
            <c:idx val="572"/>
            <c:spPr>
              <a:solidFill>
                <a:srgbClr val="AEABAB"/>
              </a:solidFill>
            </c:spPr>
          </c:dPt>
          <c:dPt>
            <c:idx val="573"/>
            <c:spPr>
              <a:solidFill>
                <a:srgbClr val="AEABAB"/>
              </a:solidFill>
            </c:spPr>
          </c:dPt>
          <c:dPt>
            <c:idx val="574"/>
            <c:spPr>
              <a:solidFill>
                <a:srgbClr val="AEABAB"/>
              </a:solidFill>
            </c:spPr>
          </c:dPt>
          <c:dPt>
            <c:idx val="575"/>
            <c:spPr>
              <a:solidFill>
                <a:srgbClr val="AEABAB"/>
              </a:solidFill>
            </c:spPr>
          </c:dPt>
          <c:dPt>
            <c:idx val="576"/>
            <c:spPr>
              <a:solidFill>
                <a:srgbClr val="AEABAB"/>
              </a:solidFill>
            </c:spPr>
          </c:dPt>
          <c:dPt>
            <c:idx val="577"/>
            <c:spPr>
              <a:solidFill>
                <a:srgbClr val="AEABAB"/>
              </a:solidFill>
            </c:spPr>
          </c:dPt>
          <c:dPt>
            <c:idx val="578"/>
            <c:spPr>
              <a:solidFill>
                <a:srgbClr val="AEABAB"/>
              </a:solidFill>
            </c:spPr>
          </c:dPt>
          <c:dPt>
            <c:idx val="579"/>
            <c:spPr>
              <a:solidFill>
                <a:srgbClr val="AEABAB"/>
              </a:solidFill>
            </c:spPr>
          </c:dPt>
          <c:dPt>
            <c:idx val="580"/>
            <c:spPr>
              <a:solidFill>
                <a:srgbClr val="AEABAB"/>
              </a:solidFill>
            </c:spPr>
          </c:dPt>
          <c:dPt>
            <c:idx val="581"/>
            <c:spPr>
              <a:solidFill>
                <a:srgbClr val="AEABAB"/>
              </a:solidFill>
            </c:spPr>
          </c:dPt>
          <c:dPt>
            <c:idx val="582"/>
            <c:spPr>
              <a:solidFill>
                <a:srgbClr val="AEABAB"/>
              </a:solidFill>
            </c:spPr>
          </c:dPt>
          <c:dPt>
            <c:idx val="583"/>
            <c:spPr>
              <a:solidFill>
                <a:srgbClr val="AEABAB"/>
              </a:solidFill>
            </c:spPr>
          </c:dPt>
          <c:dPt>
            <c:idx val="584"/>
            <c:spPr>
              <a:solidFill>
                <a:srgbClr val="AEABAB"/>
              </a:solidFill>
            </c:spPr>
          </c:dPt>
          <c:dPt>
            <c:idx val="585"/>
            <c:spPr>
              <a:solidFill>
                <a:srgbClr val="AEABAB"/>
              </a:solidFill>
            </c:spPr>
          </c:dPt>
          <c:dPt>
            <c:idx val="586"/>
            <c:spPr>
              <a:solidFill>
                <a:srgbClr val="AEABAB"/>
              </a:solidFill>
            </c:spPr>
          </c:dPt>
          <c:dPt>
            <c:idx val="587"/>
            <c:spPr>
              <a:solidFill>
                <a:srgbClr val="AEABAB"/>
              </a:solidFill>
            </c:spPr>
          </c:dPt>
          <c:dPt>
            <c:idx val="588"/>
            <c:spPr>
              <a:solidFill>
                <a:srgbClr val="AEABAB"/>
              </a:solidFill>
            </c:spPr>
          </c:dPt>
          <c:dPt>
            <c:idx val="589"/>
            <c:spPr>
              <a:solidFill>
                <a:srgbClr val="AEABAB"/>
              </a:solidFill>
            </c:spPr>
          </c:dPt>
          <c:dPt>
            <c:idx val="590"/>
            <c:spPr>
              <a:solidFill>
                <a:srgbClr val="AEABAB"/>
              </a:solidFill>
            </c:spPr>
          </c:dPt>
          <c:dPt>
            <c:idx val="591"/>
            <c:spPr>
              <a:solidFill>
                <a:srgbClr val="AEABAB"/>
              </a:solidFill>
            </c:spPr>
          </c:dPt>
          <c:dPt>
            <c:idx val="592"/>
            <c:spPr>
              <a:solidFill>
                <a:srgbClr val="AEABAB"/>
              </a:solidFill>
            </c:spPr>
          </c:dPt>
          <c:dPt>
            <c:idx val="593"/>
            <c:spPr>
              <a:solidFill>
                <a:srgbClr val="AEABAB"/>
              </a:solidFill>
            </c:spPr>
          </c:dPt>
          <c:dPt>
            <c:idx val="594"/>
            <c:spPr>
              <a:solidFill>
                <a:srgbClr val="AEABAB"/>
              </a:solidFill>
            </c:spPr>
          </c:dPt>
          <c:dPt>
            <c:idx val="595"/>
            <c:spPr>
              <a:solidFill>
                <a:srgbClr val="AEABAB"/>
              </a:solidFill>
            </c:spPr>
          </c:dPt>
          <c:dPt>
            <c:idx val="596"/>
            <c:spPr>
              <a:solidFill>
                <a:srgbClr val="AEABAB"/>
              </a:solidFill>
            </c:spPr>
          </c:dPt>
          <c:dPt>
            <c:idx val="597"/>
            <c:spPr>
              <a:solidFill>
                <a:srgbClr val="AEABAB"/>
              </a:solidFill>
            </c:spPr>
          </c:dPt>
          <c:dPt>
            <c:idx val="598"/>
            <c:spPr>
              <a:solidFill>
                <a:srgbClr val="AEABAB"/>
              </a:solidFill>
            </c:spPr>
          </c:dPt>
          <c:dPt>
            <c:idx val="599"/>
            <c:spPr>
              <a:solidFill>
                <a:srgbClr val="AEABAB"/>
              </a:solidFill>
            </c:spPr>
          </c:dPt>
          <c:dPt>
            <c:idx val="600"/>
            <c:spPr>
              <a:solidFill>
                <a:srgbClr val="AEABAB"/>
              </a:solidFill>
            </c:spPr>
          </c:dPt>
          <c:dPt>
            <c:idx val="601"/>
            <c:spPr>
              <a:solidFill>
                <a:srgbClr val="AEABAB"/>
              </a:solidFill>
            </c:spPr>
          </c:dPt>
          <c:dPt>
            <c:idx val="602"/>
            <c:spPr>
              <a:solidFill>
                <a:srgbClr val="AEABAB"/>
              </a:solidFill>
            </c:spPr>
          </c:dPt>
          <c:dPt>
            <c:idx val="603"/>
            <c:spPr>
              <a:solidFill>
                <a:srgbClr val="AEABAB"/>
              </a:solidFill>
            </c:spPr>
          </c:dPt>
          <c:dPt>
            <c:idx val="604"/>
            <c:spPr>
              <a:solidFill>
                <a:srgbClr val="AEABAB"/>
              </a:solidFill>
            </c:spPr>
          </c:dPt>
          <c:dPt>
            <c:idx val="605"/>
            <c:spPr>
              <a:solidFill>
                <a:srgbClr val="AEABAB"/>
              </a:solidFill>
            </c:spPr>
          </c:dPt>
          <c:dPt>
            <c:idx val="606"/>
            <c:spPr>
              <a:solidFill>
                <a:srgbClr val="AEABAB"/>
              </a:solidFill>
            </c:spPr>
          </c:dPt>
          <c:dPt>
            <c:idx val="607"/>
            <c:spPr>
              <a:solidFill>
                <a:srgbClr val="AEABAB"/>
              </a:solidFill>
            </c:spPr>
          </c:dPt>
          <c:dPt>
            <c:idx val="608"/>
            <c:spPr>
              <a:solidFill>
                <a:srgbClr val="AEABAB"/>
              </a:solidFill>
            </c:spPr>
          </c:dPt>
          <c:dPt>
            <c:idx val="609"/>
            <c:spPr>
              <a:solidFill>
                <a:srgbClr val="AEABAB"/>
              </a:solidFill>
            </c:spPr>
          </c:dPt>
          <c:dPt>
            <c:idx val="610"/>
            <c:spPr>
              <a:solidFill>
                <a:srgbClr val="AEABAB"/>
              </a:solidFill>
            </c:spPr>
          </c:dPt>
          <c:dPt>
            <c:idx val="611"/>
            <c:spPr>
              <a:solidFill>
                <a:srgbClr val="AEABAB"/>
              </a:solidFill>
            </c:spPr>
          </c:dPt>
          <c:dPt>
            <c:idx val="612"/>
            <c:spPr>
              <a:solidFill>
                <a:srgbClr val="AEABAB"/>
              </a:solidFill>
            </c:spPr>
          </c:dPt>
          <c:dPt>
            <c:idx val="613"/>
            <c:spPr>
              <a:solidFill>
                <a:srgbClr val="AEABAB"/>
              </a:solidFill>
            </c:spPr>
          </c:dPt>
          <c:dPt>
            <c:idx val="614"/>
            <c:spPr>
              <a:solidFill>
                <a:srgbClr val="AEABAB"/>
              </a:solidFill>
            </c:spPr>
          </c:dPt>
          <c:dPt>
            <c:idx val="615"/>
            <c:spPr>
              <a:solidFill>
                <a:srgbClr val="AEABAB"/>
              </a:solidFill>
            </c:spPr>
          </c:dPt>
          <c:dPt>
            <c:idx val="616"/>
            <c:spPr>
              <a:solidFill>
                <a:srgbClr val="AEABAB"/>
              </a:solidFill>
            </c:spPr>
          </c:dPt>
          <c:dPt>
            <c:idx val="617"/>
            <c:spPr>
              <a:solidFill>
                <a:srgbClr val="AEABAB"/>
              </a:solidFill>
            </c:spPr>
          </c:dPt>
          <c:dPt>
            <c:idx val="618"/>
            <c:spPr>
              <a:solidFill>
                <a:srgbClr val="AEABAB"/>
              </a:solidFill>
            </c:spPr>
          </c:dPt>
          <c:dPt>
            <c:idx val="619"/>
            <c:spPr>
              <a:solidFill>
                <a:srgbClr val="AEABAB"/>
              </a:solidFill>
            </c:spPr>
          </c:dPt>
          <c:dPt>
            <c:idx val="620"/>
            <c:spPr>
              <a:solidFill>
                <a:srgbClr val="AEABAB"/>
              </a:solidFill>
            </c:spPr>
          </c:dPt>
          <c:dPt>
            <c:idx val="621"/>
            <c:spPr>
              <a:solidFill>
                <a:srgbClr val="AEABAB"/>
              </a:solidFill>
            </c:spPr>
          </c:dPt>
          <c:dPt>
            <c:idx val="622"/>
            <c:spPr>
              <a:solidFill>
                <a:srgbClr val="AEABAB"/>
              </a:solidFill>
            </c:spPr>
          </c:dPt>
          <c:dPt>
            <c:idx val="623"/>
            <c:spPr>
              <a:solidFill>
                <a:srgbClr val="AEABAB"/>
              </a:solidFill>
            </c:spPr>
          </c:dPt>
          <c:dPt>
            <c:idx val="624"/>
            <c:spPr>
              <a:solidFill>
                <a:srgbClr val="AEABAB"/>
              </a:solidFill>
            </c:spPr>
          </c:dPt>
          <c:dPt>
            <c:idx val="625"/>
            <c:spPr>
              <a:solidFill>
                <a:srgbClr val="AEABAB"/>
              </a:solidFill>
            </c:spPr>
          </c:dPt>
          <c:dPt>
            <c:idx val="626"/>
            <c:spPr>
              <a:solidFill>
                <a:srgbClr val="AEABAB"/>
              </a:solidFill>
            </c:spPr>
          </c:dPt>
          <c:dPt>
            <c:idx val="627"/>
            <c:spPr>
              <a:solidFill>
                <a:srgbClr val="AEABAB"/>
              </a:solidFill>
            </c:spPr>
          </c:dPt>
          <c:dPt>
            <c:idx val="628"/>
            <c:spPr>
              <a:solidFill>
                <a:srgbClr val="AEABAB"/>
              </a:solidFill>
            </c:spPr>
          </c:dPt>
          <c:dPt>
            <c:idx val="629"/>
            <c:spPr>
              <a:solidFill>
                <a:srgbClr val="AEABAB"/>
              </a:solidFill>
            </c:spPr>
          </c:dPt>
          <c:dPt>
            <c:idx val="630"/>
            <c:spPr>
              <a:solidFill>
                <a:srgbClr val="AEABAB"/>
              </a:solidFill>
            </c:spPr>
          </c:dPt>
          <c:dPt>
            <c:idx val="631"/>
            <c:spPr>
              <a:solidFill>
                <a:srgbClr val="AEABAB"/>
              </a:solidFill>
            </c:spPr>
          </c:dPt>
          <c:dPt>
            <c:idx val="632"/>
            <c:spPr>
              <a:solidFill>
                <a:srgbClr val="AEABAB"/>
              </a:solidFill>
            </c:spPr>
          </c:dPt>
          <c:dPt>
            <c:idx val="633"/>
            <c:spPr>
              <a:solidFill>
                <a:srgbClr val="AEABAB"/>
              </a:solidFill>
            </c:spPr>
          </c:dPt>
          <c:dPt>
            <c:idx val="634"/>
            <c:spPr>
              <a:solidFill>
                <a:srgbClr val="AEABAB"/>
              </a:solidFill>
            </c:spPr>
          </c:dPt>
          <c:dPt>
            <c:idx val="635"/>
            <c:spPr>
              <a:solidFill>
                <a:srgbClr val="AEABAB"/>
              </a:solidFill>
            </c:spPr>
          </c:dPt>
          <c:dPt>
            <c:idx val="636"/>
            <c:spPr>
              <a:solidFill>
                <a:srgbClr val="AEABAB"/>
              </a:solidFill>
            </c:spPr>
          </c:dPt>
          <c:dPt>
            <c:idx val="637"/>
            <c:spPr>
              <a:solidFill>
                <a:srgbClr val="AEABAB"/>
              </a:solidFill>
            </c:spPr>
          </c:dPt>
          <c:dPt>
            <c:idx val="638"/>
            <c:spPr>
              <a:solidFill>
                <a:srgbClr val="AEABAB"/>
              </a:solidFill>
            </c:spPr>
          </c:dPt>
          <c:dPt>
            <c:idx val="639"/>
            <c:spPr>
              <a:solidFill>
                <a:srgbClr val="AEABAB"/>
              </a:solidFill>
            </c:spPr>
          </c:dPt>
          <c:dPt>
            <c:idx val="640"/>
            <c:spPr>
              <a:solidFill>
                <a:srgbClr val="AEABAB"/>
              </a:solidFill>
            </c:spPr>
          </c:dPt>
          <c:dPt>
            <c:idx val="641"/>
            <c:spPr>
              <a:solidFill>
                <a:srgbClr val="AEABAB"/>
              </a:solidFill>
            </c:spPr>
          </c:dPt>
          <c:dPt>
            <c:idx val="642"/>
            <c:spPr>
              <a:solidFill>
                <a:srgbClr val="AEABAB"/>
              </a:solidFill>
            </c:spPr>
          </c:dPt>
          <c:dPt>
            <c:idx val="643"/>
            <c:spPr>
              <a:solidFill>
                <a:srgbClr val="AEABAB"/>
              </a:solidFill>
            </c:spPr>
          </c:dPt>
          <c:dPt>
            <c:idx val="644"/>
            <c:spPr>
              <a:solidFill>
                <a:srgbClr val="AEABAB"/>
              </a:solidFill>
            </c:spPr>
          </c:dPt>
          <c:dPt>
            <c:idx val="645"/>
            <c:spPr>
              <a:solidFill>
                <a:srgbClr val="AEABAB"/>
              </a:solidFill>
            </c:spPr>
          </c:dPt>
          <c:dPt>
            <c:idx val="646"/>
            <c:spPr>
              <a:solidFill>
                <a:srgbClr val="AEABAB"/>
              </a:solidFill>
            </c:spPr>
          </c:dPt>
          <c:dPt>
            <c:idx val="647"/>
            <c:spPr>
              <a:solidFill>
                <a:srgbClr val="AEABAB"/>
              </a:solidFill>
            </c:spPr>
          </c:dPt>
          <c:dPt>
            <c:idx val="648"/>
            <c:spPr>
              <a:solidFill>
                <a:srgbClr val="AEABAB"/>
              </a:solidFill>
            </c:spPr>
          </c:dPt>
          <c:dPt>
            <c:idx val="649"/>
            <c:spPr>
              <a:solidFill>
                <a:srgbClr val="AEABAB"/>
              </a:solidFill>
            </c:spPr>
          </c:dPt>
          <c:dPt>
            <c:idx val="650"/>
            <c:spPr>
              <a:solidFill>
                <a:srgbClr val="AEABAB"/>
              </a:solidFill>
            </c:spPr>
          </c:dPt>
          <c:dPt>
            <c:idx val="651"/>
            <c:spPr>
              <a:solidFill>
                <a:srgbClr val="AEABAB"/>
              </a:solidFill>
            </c:spPr>
          </c:dPt>
          <c:dPt>
            <c:idx val="652"/>
            <c:spPr>
              <a:solidFill>
                <a:srgbClr val="AEABAB"/>
              </a:solidFill>
            </c:spPr>
          </c:dPt>
          <c:dPt>
            <c:idx val="653"/>
            <c:spPr>
              <a:solidFill>
                <a:srgbClr val="AEABAB"/>
              </a:solidFill>
            </c:spPr>
          </c:dPt>
          <c:dPt>
            <c:idx val="654"/>
            <c:spPr>
              <a:solidFill>
                <a:srgbClr val="AEABAB"/>
              </a:solidFill>
            </c:spPr>
          </c:dPt>
          <c:dPt>
            <c:idx val="655"/>
            <c:spPr>
              <a:solidFill>
                <a:srgbClr val="AEABAB"/>
              </a:solidFill>
            </c:spPr>
          </c:dPt>
          <c:dPt>
            <c:idx val="656"/>
            <c:spPr>
              <a:solidFill>
                <a:srgbClr val="AEABAB"/>
              </a:solidFill>
            </c:spPr>
          </c:dPt>
          <c:dPt>
            <c:idx val="657"/>
            <c:spPr>
              <a:solidFill>
                <a:srgbClr val="AEABAB"/>
              </a:solidFill>
            </c:spPr>
          </c:dPt>
          <c:dPt>
            <c:idx val="658"/>
            <c:spPr>
              <a:solidFill>
                <a:srgbClr val="AEABAB"/>
              </a:solidFill>
            </c:spPr>
          </c:dPt>
          <c:dPt>
            <c:idx val="659"/>
            <c:spPr>
              <a:solidFill>
                <a:srgbClr val="AEABAB"/>
              </a:solidFill>
            </c:spPr>
          </c:dPt>
          <c:dPt>
            <c:idx val="660"/>
            <c:spPr>
              <a:solidFill>
                <a:srgbClr val="AEABAB"/>
              </a:solidFill>
            </c:spPr>
          </c:dPt>
          <c:dPt>
            <c:idx val="661"/>
            <c:spPr>
              <a:solidFill>
                <a:srgbClr val="AEABAB"/>
              </a:solidFill>
            </c:spPr>
          </c:dPt>
          <c:dPt>
            <c:idx val="662"/>
            <c:spPr>
              <a:solidFill>
                <a:srgbClr val="AEABAB"/>
              </a:solidFill>
            </c:spPr>
          </c:dPt>
          <c:dPt>
            <c:idx val="663"/>
            <c:spPr>
              <a:solidFill>
                <a:srgbClr val="AEABAB"/>
              </a:solidFill>
            </c:spPr>
          </c:dPt>
          <c:dPt>
            <c:idx val="664"/>
            <c:spPr>
              <a:solidFill>
                <a:srgbClr val="AEABAB"/>
              </a:solidFill>
            </c:spPr>
          </c:dPt>
          <c:dPt>
            <c:idx val="665"/>
            <c:spPr>
              <a:solidFill>
                <a:srgbClr val="AEABAB"/>
              </a:solidFill>
            </c:spPr>
          </c:dPt>
          <c:dPt>
            <c:idx val="666"/>
            <c:spPr>
              <a:solidFill>
                <a:srgbClr val="AEABAB"/>
              </a:solidFill>
            </c:spPr>
          </c:dPt>
          <c:dPt>
            <c:idx val="667"/>
            <c:spPr>
              <a:solidFill>
                <a:srgbClr val="AEABAB"/>
              </a:solidFill>
            </c:spPr>
          </c:dPt>
          <c:dPt>
            <c:idx val="668"/>
            <c:spPr>
              <a:solidFill>
                <a:srgbClr val="AEABAB"/>
              </a:solidFill>
            </c:spPr>
          </c:dPt>
          <c:dPt>
            <c:idx val="669"/>
            <c:spPr>
              <a:solidFill>
                <a:srgbClr val="AEABAB"/>
              </a:solidFill>
            </c:spPr>
          </c:dPt>
          <c:dPt>
            <c:idx val="670"/>
            <c:spPr>
              <a:solidFill>
                <a:srgbClr val="AEABAB"/>
              </a:solidFill>
            </c:spPr>
          </c:dPt>
          <c:dPt>
            <c:idx val="671"/>
            <c:spPr>
              <a:solidFill>
                <a:srgbClr val="AEABAB"/>
              </a:solidFill>
            </c:spPr>
          </c:dPt>
          <c:dPt>
            <c:idx val="672"/>
            <c:spPr>
              <a:solidFill>
                <a:srgbClr val="AEABAB"/>
              </a:solidFill>
            </c:spPr>
          </c:dPt>
          <c:dPt>
            <c:idx val="673"/>
            <c:spPr>
              <a:solidFill>
                <a:srgbClr val="AEABAB"/>
              </a:solidFill>
            </c:spPr>
          </c:dPt>
          <c:dPt>
            <c:idx val="674"/>
            <c:spPr>
              <a:solidFill>
                <a:srgbClr val="AEABAB"/>
              </a:solidFill>
            </c:spPr>
          </c:dPt>
          <c:dPt>
            <c:idx val="675"/>
            <c:spPr>
              <a:solidFill>
                <a:srgbClr val="AEABAB"/>
              </a:solidFill>
            </c:spPr>
          </c:dPt>
          <c:dPt>
            <c:idx val="676"/>
            <c:spPr>
              <a:solidFill>
                <a:srgbClr val="AEABAB"/>
              </a:solidFill>
            </c:spPr>
          </c:dPt>
          <c:dPt>
            <c:idx val="677"/>
            <c:spPr>
              <a:solidFill>
                <a:srgbClr val="AEABAB"/>
              </a:solidFill>
            </c:spPr>
          </c:dPt>
          <c:dPt>
            <c:idx val="678"/>
            <c:spPr>
              <a:solidFill>
                <a:srgbClr val="AEABAB"/>
              </a:solidFill>
            </c:spPr>
          </c:dPt>
          <c:dPt>
            <c:idx val="679"/>
            <c:spPr>
              <a:solidFill>
                <a:srgbClr val="AEABAB"/>
              </a:solidFill>
            </c:spPr>
          </c:dPt>
          <c:dPt>
            <c:idx val="680"/>
            <c:spPr>
              <a:solidFill>
                <a:srgbClr val="AEABAB"/>
              </a:solidFill>
            </c:spPr>
          </c:dPt>
          <c:dPt>
            <c:idx val="681"/>
            <c:spPr>
              <a:solidFill>
                <a:srgbClr val="AEABAB"/>
              </a:solidFill>
            </c:spPr>
          </c:dPt>
          <c:dPt>
            <c:idx val="682"/>
            <c:spPr>
              <a:solidFill>
                <a:srgbClr val="AEABAB"/>
              </a:solidFill>
            </c:spPr>
          </c:dPt>
          <c:dPt>
            <c:idx val="683"/>
            <c:spPr>
              <a:solidFill>
                <a:srgbClr val="AEABAB"/>
              </a:solidFill>
            </c:spPr>
          </c:dPt>
          <c:dPt>
            <c:idx val="684"/>
            <c:spPr>
              <a:solidFill>
                <a:srgbClr val="AEABAB"/>
              </a:solidFill>
            </c:spPr>
          </c:dPt>
          <c:dPt>
            <c:idx val="685"/>
            <c:spPr>
              <a:solidFill>
                <a:srgbClr val="AEABAB"/>
              </a:solidFill>
            </c:spPr>
          </c:dPt>
          <c:dPt>
            <c:idx val="686"/>
            <c:spPr>
              <a:solidFill>
                <a:srgbClr val="AEABAB"/>
              </a:solidFill>
            </c:spPr>
          </c:dPt>
          <c:dPt>
            <c:idx val="687"/>
            <c:spPr>
              <a:solidFill>
                <a:srgbClr val="AEABAB"/>
              </a:solidFill>
            </c:spPr>
          </c:dPt>
          <c:dPt>
            <c:idx val="688"/>
            <c:spPr>
              <a:solidFill>
                <a:srgbClr val="AEABAB"/>
              </a:solidFill>
            </c:spPr>
          </c:dPt>
          <c:dPt>
            <c:idx val="689"/>
            <c:spPr>
              <a:solidFill>
                <a:srgbClr val="AEABAB"/>
              </a:solidFill>
            </c:spPr>
          </c:dPt>
          <c:dPt>
            <c:idx val="690"/>
            <c:spPr>
              <a:solidFill>
                <a:srgbClr val="AEABAB"/>
              </a:solidFill>
            </c:spPr>
          </c:dPt>
          <c:dPt>
            <c:idx val="691"/>
            <c:spPr>
              <a:solidFill>
                <a:srgbClr val="AEABAB"/>
              </a:solidFill>
            </c:spPr>
          </c:dPt>
          <c:dPt>
            <c:idx val="692"/>
            <c:spPr>
              <a:solidFill>
                <a:srgbClr val="AEABAB"/>
              </a:solidFill>
            </c:spPr>
          </c:dPt>
          <c:dPt>
            <c:idx val="693"/>
            <c:spPr>
              <a:solidFill>
                <a:srgbClr val="AEABAB"/>
              </a:solidFill>
            </c:spPr>
          </c:dPt>
          <c:dPt>
            <c:idx val="694"/>
            <c:spPr>
              <a:solidFill>
                <a:srgbClr val="AEABAB"/>
              </a:solidFill>
            </c:spPr>
          </c:dPt>
          <c:dPt>
            <c:idx val="695"/>
            <c:spPr>
              <a:solidFill>
                <a:srgbClr val="AEABAB"/>
              </a:solidFill>
            </c:spPr>
          </c:dPt>
          <c:dPt>
            <c:idx val="696"/>
            <c:spPr>
              <a:solidFill>
                <a:srgbClr val="AEABAB"/>
              </a:solidFill>
            </c:spPr>
          </c:dPt>
          <c:dPt>
            <c:idx val="697"/>
            <c:spPr>
              <a:solidFill>
                <a:srgbClr val="AEABAB"/>
              </a:solidFill>
            </c:spPr>
          </c:dPt>
          <c:dPt>
            <c:idx val="698"/>
            <c:spPr>
              <a:solidFill>
                <a:srgbClr val="AEABAB"/>
              </a:solidFill>
            </c:spPr>
          </c:dPt>
          <c:dPt>
            <c:idx val="699"/>
            <c:spPr>
              <a:solidFill>
                <a:srgbClr val="AEABAB"/>
              </a:solidFill>
            </c:spPr>
          </c:dPt>
          <c:dPt>
            <c:idx val="700"/>
            <c:spPr>
              <a:solidFill>
                <a:srgbClr val="AEABAB"/>
              </a:solidFill>
            </c:spPr>
          </c:dPt>
          <c:dPt>
            <c:idx val="701"/>
            <c:spPr>
              <a:solidFill>
                <a:srgbClr val="AEABAB"/>
              </a:solidFill>
            </c:spPr>
          </c:dPt>
          <c:dPt>
            <c:idx val="702"/>
            <c:spPr>
              <a:solidFill>
                <a:srgbClr val="AEABAB"/>
              </a:solidFill>
            </c:spPr>
          </c:dPt>
          <c:dPt>
            <c:idx val="703"/>
            <c:spPr>
              <a:solidFill>
                <a:srgbClr val="AEABAB"/>
              </a:solidFill>
            </c:spPr>
          </c:dPt>
          <c:dPt>
            <c:idx val="704"/>
            <c:spPr>
              <a:solidFill>
                <a:srgbClr val="AEABAB"/>
              </a:solidFill>
            </c:spPr>
          </c:dPt>
          <c:dPt>
            <c:idx val="705"/>
            <c:spPr>
              <a:solidFill>
                <a:srgbClr val="AEABAB"/>
              </a:solidFill>
            </c:spPr>
          </c:dPt>
          <c:dPt>
            <c:idx val="706"/>
            <c:spPr>
              <a:solidFill>
                <a:srgbClr val="AEABAB"/>
              </a:solidFill>
            </c:spPr>
          </c:dPt>
          <c:dPt>
            <c:idx val="707"/>
            <c:spPr>
              <a:solidFill>
                <a:srgbClr val="AEABAB"/>
              </a:solidFill>
            </c:spPr>
          </c:dPt>
          <c:dPt>
            <c:idx val="708"/>
            <c:spPr>
              <a:solidFill>
                <a:srgbClr val="AEABAB"/>
              </a:solidFill>
            </c:spPr>
          </c:dPt>
          <c:dPt>
            <c:idx val="709"/>
            <c:spPr>
              <a:solidFill>
                <a:srgbClr val="AEABAB"/>
              </a:solidFill>
            </c:spPr>
          </c:dPt>
          <c:dPt>
            <c:idx val="710"/>
            <c:spPr>
              <a:solidFill>
                <a:srgbClr val="AEABAB"/>
              </a:solidFill>
            </c:spPr>
          </c:dPt>
          <c:dPt>
            <c:idx val="711"/>
            <c:spPr>
              <a:solidFill>
                <a:srgbClr val="AEABAB"/>
              </a:solidFill>
            </c:spPr>
          </c:dPt>
          <c:dPt>
            <c:idx val="712"/>
            <c:spPr>
              <a:solidFill>
                <a:srgbClr val="AEABAB"/>
              </a:solidFill>
            </c:spPr>
          </c:dPt>
          <c:dPt>
            <c:idx val="713"/>
            <c:spPr>
              <a:solidFill>
                <a:srgbClr val="AEABAB"/>
              </a:solidFill>
            </c:spPr>
          </c:dPt>
          <c:dPt>
            <c:idx val="714"/>
            <c:spPr>
              <a:solidFill>
                <a:srgbClr val="AEABAB"/>
              </a:solidFill>
            </c:spPr>
          </c:dPt>
          <c:dPt>
            <c:idx val="715"/>
            <c:spPr>
              <a:solidFill>
                <a:srgbClr val="AEABAB"/>
              </a:solidFill>
            </c:spPr>
          </c:dPt>
          <c:dPt>
            <c:idx val="716"/>
            <c:spPr>
              <a:solidFill>
                <a:srgbClr val="AEABAB"/>
              </a:solidFill>
            </c:spPr>
          </c:dPt>
          <c:dPt>
            <c:idx val="717"/>
            <c:spPr>
              <a:solidFill>
                <a:srgbClr val="AEABAB"/>
              </a:solidFill>
            </c:spPr>
          </c:dPt>
          <c:dPt>
            <c:idx val="718"/>
            <c:spPr>
              <a:solidFill>
                <a:srgbClr val="AEABAB"/>
              </a:solidFill>
            </c:spPr>
          </c:dPt>
          <c:dPt>
            <c:idx val="719"/>
            <c:spPr>
              <a:solidFill>
                <a:srgbClr val="AEABAB"/>
              </a:solidFill>
            </c:spPr>
          </c:dPt>
          <c:dPt>
            <c:idx val="720"/>
            <c:spPr>
              <a:solidFill>
                <a:srgbClr val="AEABAB"/>
              </a:solidFill>
            </c:spPr>
          </c:dPt>
          <c:dPt>
            <c:idx val="721"/>
            <c:spPr>
              <a:solidFill>
                <a:srgbClr val="AEABAB"/>
              </a:solidFill>
            </c:spPr>
          </c:dPt>
          <c:dPt>
            <c:idx val="722"/>
            <c:spPr>
              <a:solidFill>
                <a:srgbClr val="AEABAB"/>
              </a:solidFill>
            </c:spPr>
          </c:dPt>
          <c:dPt>
            <c:idx val="723"/>
            <c:spPr>
              <a:solidFill>
                <a:srgbClr val="AEABAB"/>
              </a:solidFill>
            </c:spPr>
          </c:dPt>
          <c:dPt>
            <c:idx val="724"/>
            <c:spPr>
              <a:solidFill>
                <a:srgbClr val="AEABAB"/>
              </a:solidFill>
            </c:spPr>
          </c:dPt>
          <c:dPt>
            <c:idx val="725"/>
            <c:spPr>
              <a:solidFill>
                <a:srgbClr val="AEABAB"/>
              </a:solidFill>
            </c:spPr>
          </c:dPt>
          <c:dPt>
            <c:idx val="726"/>
            <c:spPr>
              <a:solidFill>
                <a:srgbClr val="AEABAB"/>
              </a:solidFill>
            </c:spPr>
          </c:dPt>
          <c:dPt>
            <c:idx val="727"/>
            <c:spPr>
              <a:solidFill>
                <a:srgbClr val="AEABAB"/>
              </a:solidFill>
            </c:spPr>
          </c:dPt>
          <c:dPt>
            <c:idx val="728"/>
            <c:spPr>
              <a:solidFill>
                <a:srgbClr val="AEABAB"/>
              </a:solidFill>
            </c:spPr>
          </c:dPt>
          <c:dPt>
            <c:idx val="729"/>
            <c:spPr>
              <a:solidFill>
                <a:srgbClr val="AEABAB"/>
              </a:solidFill>
            </c:spPr>
          </c:dPt>
          <c:dPt>
            <c:idx val="730"/>
            <c:spPr>
              <a:solidFill>
                <a:srgbClr val="AEABAB"/>
              </a:solidFill>
            </c:spPr>
          </c:dPt>
          <c:dPt>
            <c:idx val="731"/>
            <c:spPr>
              <a:solidFill>
                <a:srgbClr val="AEABAB"/>
              </a:solidFill>
            </c:spPr>
          </c:dPt>
          <c:dPt>
            <c:idx val="732"/>
            <c:spPr>
              <a:solidFill>
                <a:srgbClr val="AEABAB"/>
              </a:solidFill>
            </c:spPr>
          </c:dPt>
          <c:dPt>
            <c:idx val="733"/>
            <c:spPr>
              <a:solidFill>
                <a:srgbClr val="AEABAB"/>
              </a:solidFill>
            </c:spPr>
          </c:dPt>
          <c:dPt>
            <c:idx val="734"/>
            <c:spPr>
              <a:solidFill>
                <a:srgbClr val="AEABAB"/>
              </a:solidFill>
            </c:spPr>
          </c:dPt>
          <c:dPt>
            <c:idx val="735"/>
            <c:spPr>
              <a:solidFill>
                <a:srgbClr val="AEABAB"/>
              </a:solidFill>
            </c:spPr>
          </c:dPt>
          <c:dPt>
            <c:idx val="736"/>
            <c:spPr>
              <a:solidFill>
                <a:srgbClr val="AEABAB"/>
              </a:solidFill>
            </c:spPr>
          </c:dPt>
          <c:dPt>
            <c:idx val="737"/>
            <c:spPr>
              <a:solidFill>
                <a:srgbClr val="AEABAB"/>
              </a:solidFill>
            </c:spPr>
          </c:dPt>
          <c:dPt>
            <c:idx val="738"/>
            <c:spPr>
              <a:solidFill>
                <a:srgbClr val="AEABAB"/>
              </a:solidFill>
            </c:spPr>
          </c:dPt>
          <c:dPt>
            <c:idx val="739"/>
            <c:spPr>
              <a:solidFill>
                <a:srgbClr val="AEABAB"/>
              </a:solidFill>
            </c:spPr>
          </c:dPt>
          <c:dPt>
            <c:idx val="740"/>
            <c:spPr>
              <a:solidFill>
                <a:srgbClr val="AEABAB"/>
              </a:solidFill>
            </c:spPr>
          </c:dPt>
          <c:dPt>
            <c:idx val="741"/>
            <c:spPr>
              <a:solidFill>
                <a:srgbClr val="AEABAB"/>
              </a:solidFill>
            </c:spPr>
          </c:dPt>
          <c:dPt>
            <c:idx val="742"/>
            <c:spPr>
              <a:solidFill>
                <a:srgbClr val="AEABAB"/>
              </a:solidFill>
            </c:spPr>
          </c:dPt>
          <c:dPt>
            <c:idx val="743"/>
            <c:spPr>
              <a:solidFill>
                <a:srgbClr val="AEABAB"/>
              </a:solidFill>
            </c:spPr>
          </c:dPt>
          <c:dPt>
            <c:idx val="744"/>
            <c:spPr>
              <a:solidFill>
                <a:srgbClr val="AEABAB"/>
              </a:solidFill>
            </c:spPr>
          </c:dPt>
          <c:dPt>
            <c:idx val="745"/>
            <c:spPr>
              <a:solidFill>
                <a:srgbClr val="AEABAB"/>
              </a:solidFill>
            </c:spPr>
          </c:dPt>
          <c:dPt>
            <c:idx val="746"/>
            <c:spPr>
              <a:solidFill>
                <a:srgbClr val="AEABAB"/>
              </a:solidFill>
            </c:spPr>
          </c:dPt>
          <c:dPt>
            <c:idx val="747"/>
            <c:spPr>
              <a:solidFill>
                <a:srgbClr val="AEABAB"/>
              </a:solidFill>
            </c:spPr>
          </c:dPt>
          <c:dPt>
            <c:idx val="748"/>
            <c:spPr>
              <a:solidFill>
                <a:srgbClr val="AEABAB"/>
              </a:solidFill>
            </c:spPr>
          </c:dPt>
          <c:dPt>
            <c:idx val="749"/>
            <c:spPr>
              <a:solidFill>
                <a:srgbClr val="AEABAB"/>
              </a:solidFill>
            </c:spPr>
          </c:dPt>
          <c:dPt>
            <c:idx val="750"/>
            <c:spPr>
              <a:solidFill>
                <a:srgbClr val="AEABAB"/>
              </a:solidFill>
            </c:spPr>
          </c:dPt>
          <c:dPt>
            <c:idx val="751"/>
            <c:spPr>
              <a:solidFill>
                <a:srgbClr val="AEABAB"/>
              </a:solidFill>
            </c:spPr>
          </c:dPt>
          <c:dPt>
            <c:idx val="752"/>
            <c:spPr>
              <a:solidFill>
                <a:srgbClr val="AEABAB"/>
              </a:solidFill>
            </c:spPr>
          </c:dPt>
          <c:dPt>
            <c:idx val="753"/>
            <c:spPr>
              <a:solidFill>
                <a:srgbClr val="AEABAB"/>
              </a:solidFill>
            </c:spPr>
          </c:dPt>
          <c:dPt>
            <c:idx val="754"/>
            <c:spPr>
              <a:solidFill>
                <a:srgbClr val="AEABAB"/>
              </a:solidFill>
            </c:spPr>
          </c:dPt>
          <c:dPt>
            <c:idx val="755"/>
            <c:spPr>
              <a:solidFill>
                <a:srgbClr val="AEABAB"/>
              </a:solidFill>
            </c:spPr>
          </c:dPt>
          <c:dPt>
            <c:idx val="756"/>
            <c:spPr>
              <a:solidFill>
                <a:srgbClr val="AEABAB"/>
              </a:solidFill>
            </c:spPr>
          </c:dPt>
          <c:dPt>
            <c:idx val="757"/>
            <c:spPr>
              <a:solidFill>
                <a:srgbClr val="AEABAB"/>
              </a:solidFill>
            </c:spPr>
          </c:dPt>
          <c:dPt>
            <c:idx val="758"/>
            <c:spPr>
              <a:solidFill>
                <a:srgbClr val="AEABAB"/>
              </a:solidFill>
            </c:spPr>
          </c:dPt>
          <c:dPt>
            <c:idx val="759"/>
            <c:spPr>
              <a:solidFill>
                <a:srgbClr val="AEABAB"/>
              </a:solidFill>
            </c:spPr>
          </c:dPt>
          <c:dPt>
            <c:idx val="760"/>
            <c:spPr>
              <a:solidFill>
                <a:srgbClr val="AEABAB"/>
              </a:solidFill>
            </c:spPr>
          </c:dPt>
          <c:dPt>
            <c:idx val="761"/>
            <c:spPr>
              <a:solidFill>
                <a:srgbClr val="AEABAB"/>
              </a:solidFill>
            </c:spPr>
          </c:dPt>
          <c:dPt>
            <c:idx val="762"/>
            <c:spPr>
              <a:solidFill>
                <a:srgbClr val="AEABAB"/>
              </a:solidFill>
            </c:spPr>
          </c:dPt>
          <c:dPt>
            <c:idx val="763"/>
            <c:spPr>
              <a:solidFill>
                <a:srgbClr val="AEABAB"/>
              </a:solidFill>
            </c:spPr>
          </c:dPt>
          <c:dPt>
            <c:idx val="764"/>
            <c:spPr>
              <a:solidFill>
                <a:srgbClr val="AEABAB"/>
              </a:solidFill>
            </c:spPr>
          </c:dPt>
          <c:dPt>
            <c:idx val="765"/>
            <c:spPr>
              <a:solidFill>
                <a:srgbClr val="AEABAB"/>
              </a:solidFill>
            </c:spPr>
          </c:dPt>
          <c:dPt>
            <c:idx val="766"/>
            <c:spPr>
              <a:solidFill>
                <a:srgbClr val="AEABAB"/>
              </a:solidFill>
            </c:spPr>
          </c:dPt>
          <c:dPt>
            <c:idx val="767"/>
            <c:spPr>
              <a:solidFill>
                <a:srgbClr val="AEABAB"/>
              </a:solidFill>
            </c:spPr>
          </c:dPt>
          <c:dPt>
            <c:idx val="768"/>
            <c:spPr>
              <a:solidFill>
                <a:srgbClr val="AEABAB"/>
              </a:solidFill>
            </c:spPr>
          </c:dPt>
          <c:dPt>
            <c:idx val="769"/>
            <c:spPr>
              <a:solidFill>
                <a:srgbClr val="AEABAB"/>
              </a:solidFill>
            </c:spPr>
          </c:dPt>
          <c:dPt>
            <c:idx val="770"/>
            <c:spPr>
              <a:solidFill>
                <a:srgbClr val="AEABAB"/>
              </a:solidFill>
            </c:spPr>
          </c:dPt>
          <c:dPt>
            <c:idx val="771"/>
            <c:spPr>
              <a:solidFill>
                <a:srgbClr val="AEABAB"/>
              </a:solidFill>
            </c:spPr>
          </c:dPt>
          <c:dPt>
            <c:idx val="772"/>
            <c:spPr>
              <a:solidFill>
                <a:srgbClr val="AEABAB"/>
              </a:solidFill>
            </c:spPr>
          </c:dPt>
          <c:dPt>
            <c:idx val="773"/>
            <c:spPr>
              <a:solidFill>
                <a:srgbClr val="AEABAB"/>
              </a:solidFill>
            </c:spPr>
          </c:dPt>
          <c:dPt>
            <c:idx val="774"/>
            <c:spPr>
              <a:solidFill>
                <a:srgbClr val="AEABAB"/>
              </a:solidFill>
            </c:spPr>
          </c:dPt>
          <c:dPt>
            <c:idx val="775"/>
            <c:spPr>
              <a:solidFill>
                <a:srgbClr val="AEABAB"/>
              </a:solidFill>
            </c:spPr>
          </c:dPt>
          <c:dPt>
            <c:idx val="776"/>
            <c:spPr>
              <a:solidFill>
                <a:srgbClr val="AEABAB"/>
              </a:solidFill>
            </c:spPr>
          </c:dPt>
          <c:dPt>
            <c:idx val="777"/>
            <c:spPr>
              <a:solidFill>
                <a:srgbClr val="AEABAB"/>
              </a:solidFill>
            </c:spPr>
          </c:dPt>
          <c:dPt>
            <c:idx val="778"/>
            <c:spPr>
              <a:solidFill>
                <a:srgbClr val="AEABAB"/>
              </a:solidFill>
            </c:spPr>
          </c:dPt>
          <c:dPt>
            <c:idx val="779"/>
            <c:spPr>
              <a:solidFill>
                <a:srgbClr val="AEABAB"/>
              </a:solidFill>
            </c:spPr>
          </c:dPt>
          <c:dPt>
            <c:idx val="780"/>
            <c:spPr>
              <a:solidFill>
                <a:srgbClr val="AEABAB"/>
              </a:solidFill>
            </c:spPr>
          </c:dPt>
          <c:dPt>
            <c:idx val="781"/>
            <c:spPr>
              <a:solidFill>
                <a:srgbClr val="AEABAB"/>
              </a:solidFill>
            </c:spPr>
          </c:dPt>
          <c:dPt>
            <c:idx val="782"/>
            <c:spPr>
              <a:solidFill>
                <a:srgbClr val="AEABAB"/>
              </a:solidFill>
            </c:spPr>
          </c:dPt>
          <c:dPt>
            <c:idx val="783"/>
            <c:spPr>
              <a:solidFill>
                <a:srgbClr val="AEABAB"/>
              </a:solidFill>
            </c:spPr>
          </c:dPt>
          <c:dPt>
            <c:idx val="784"/>
            <c:spPr>
              <a:solidFill>
                <a:srgbClr val="AEABAB"/>
              </a:solidFill>
            </c:spPr>
          </c:dPt>
          <c:dPt>
            <c:idx val="785"/>
            <c:spPr>
              <a:solidFill>
                <a:srgbClr val="AEABAB"/>
              </a:solidFill>
            </c:spPr>
          </c:dPt>
          <c:dPt>
            <c:idx val="786"/>
            <c:spPr>
              <a:solidFill>
                <a:srgbClr val="AEABAB"/>
              </a:solidFill>
            </c:spPr>
          </c:dPt>
          <c:dPt>
            <c:idx val="787"/>
            <c:spPr>
              <a:solidFill>
                <a:srgbClr val="AEABAB"/>
              </a:solidFill>
            </c:spPr>
          </c:dPt>
          <c:dPt>
            <c:idx val="788"/>
            <c:spPr>
              <a:solidFill>
                <a:srgbClr val="AEABAB"/>
              </a:solidFill>
            </c:spPr>
          </c:dPt>
          <c:dPt>
            <c:idx val="789"/>
            <c:spPr>
              <a:solidFill>
                <a:srgbClr val="AEABAB"/>
              </a:solidFill>
            </c:spPr>
          </c:dPt>
          <c:dPt>
            <c:idx val="790"/>
            <c:spPr>
              <a:solidFill>
                <a:srgbClr val="AEABAB"/>
              </a:solidFill>
            </c:spPr>
          </c:dPt>
          <c:dPt>
            <c:idx val="791"/>
            <c:spPr>
              <a:solidFill>
                <a:srgbClr val="AEABAB"/>
              </a:solidFill>
            </c:spPr>
          </c:dPt>
          <c:dPt>
            <c:idx val="792"/>
            <c:spPr>
              <a:solidFill>
                <a:srgbClr val="AEABAB"/>
              </a:solidFill>
            </c:spPr>
          </c:dPt>
          <c:dPt>
            <c:idx val="793"/>
            <c:spPr>
              <a:solidFill>
                <a:srgbClr val="AEABAB"/>
              </a:solidFill>
            </c:spPr>
          </c:dPt>
          <c:dPt>
            <c:idx val="794"/>
            <c:spPr>
              <a:solidFill>
                <a:srgbClr val="AEABAB"/>
              </a:solidFill>
            </c:spPr>
          </c:dPt>
          <c:dPt>
            <c:idx val="795"/>
            <c:spPr>
              <a:solidFill>
                <a:srgbClr val="AEABAB"/>
              </a:solidFill>
            </c:spPr>
          </c:dPt>
          <c:dPt>
            <c:idx val="796"/>
            <c:spPr>
              <a:solidFill>
                <a:srgbClr val="AEABAB"/>
              </a:solidFill>
            </c:spPr>
          </c:dPt>
          <c:dPt>
            <c:idx val="797"/>
            <c:spPr>
              <a:solidFill>
                <a:srgbClr val="AEABAB"/>
              </a:solidFill>
            </c:spPr>
          </c:dPt>
          <c:dPt>
            <c:idx val="798"/>
            <c:spPr>
              <a:solidFill>
                <a:srgbClr val="AEABAB"/>
              </a:solidFill>
            </c:spPr>
          </c:dPt>
          <c:dPt>
            <c:idx val="799"/>
            <c:spPr>
              <a:solidFill>
                <a:srgbClr val="AEABAB"/>
              </a:solidFill>
            </c:spPr>
          </c:dPt>
          <c:dPt>
            <c:idx val="800"/>
            <c:spPr>
              <a:solidFill>
                <a:srgbClr val="AEABAB"/>
              </a:solidFill>
            </c:spPr>
          </c:dPt>
          <c:dPt>
            <c:idx val="801"/>
            <c:spPr>
              <a:solidFill>
                <a:srgbClr val="AEABAB"/>
              </a:solidFill>
            </c:spPr>
          </c:dPt>
          <c:dPt>
            <c:idx val="802"/>
            <c:spPr>
              <a:solidFill>
                <a:srgbClr val="AEABAB"/>
              </a:solidFill>
            </c:spPr>
          </c:dPt>
          <c:dPt>
            <c:idx val="803"/>
            <c:spPr>
              <a:solidFill>
                <a:srgbClr val="AEABAB"/>
              </a:solidFill>
            </c:spPr>
          </c:dPt>
          <c:dPt>
            <c:idx val="804"/>
            <c:spPr>
              <a:solidFill>
                <a:srgbClr val="AEABAB"/>
              </a:solidFill>
            </c:spPr>
          </c:dPt>
          <c:dPt>
            <c:idx val="805"/>
            <c:spPr>
              <a:solidFill>
                <a:srgbClr val="AEABAB"/>
              </a:solidFill>
            </c:spPr>
          </c:dPt>
          <c:dPt>
            <c:idx val="806"/>
            <c:spPr>
              <a:solidFill>
                <a:srgbClr val="AEABAB"/>
              </a:solidFill>
            </c:spPr>
          </c:dPt>
          <c:dPt>
            <c:idx val="807"/>
            <c:spPr>
              <a:solidFill>
                <a:srgbClr val="AEABAB"/>
              </a:solidFill>
            </c:spPr>
          </c:dPt>
          <c:dPt>
            <c:idx val="808"/>
            <c:spPr>
              <a:solidFill>
                <a:srgbClr val="AEABAB"/>
              </a:solidFill>
            </c:spPr>
          </c:dPt>
          <c:dPt>
            <c:idx val="809"/>
            <c:spPr>
              <a:solidFill>
                <a:srgbClr val="AEABAB"/>
              </a:solidFill>
            </c:spPr>
          </c:dPt>
          <c:dPt>
            <c:idx val="810"/>
            <c:spPr>
              <a:solidFill>
                <a:srgbClr val="AEABAB"/>
              </a:solidFill>
            </c:spPr>
          </c:dPt>
          <c:dPt>
            <c:idx val="811"/>
            <c:spPr>
              <a:solidFill>
                <a:srgbClr val="AEABAB"/>
              </a:solidFill>
            </c:spPr>
          </c:dPt>
          <c:dPt>
            <c:idx val="812"/>
            <c:spPr>
              <a:solidFill>
                <a:srgbClr val="AEABAB"/>
              </a:solidFill>
            </c:spPr>
          </c:dPt>
          <c:dPt>
            <c:idx val="813"/>
            <c:spPr>
              <a:solidFill>
                <a:srgbClr val="AEABAB"/>
              </a:solidFill>
            </c:spPr>
          </c:dPt>
          <c:dPt>
            <c:idx val="814"/>
            <c:spPr>
              <a:solidFill>
                <a:srgbClr val="AEABAB"/>
              </a:solidFill>
            </c:spPr>
          </c:dPt>
          <c:dPt>
            <c:idx val="815"/>
            <c:spPr>
              <a:solidFill>
                <a:srgbClr val="AEABAB"/>
              </a:solidFill>
            </c:spPr>
          </c:dPt>
          <c:dPt>
            <c:idx val="816"/>
            <c:spPr>
              <a:solidFill>
                <a:srgbClr val="AEABAB"/>
              </a:solidFill>
            </c:spPr>
          </c:dPt>
          <c:dPt>
            <c:idx val="817"/>
            <c:spPr>
              <a:solidFill>
                <a:srgbClr val="AEABAB"/>
              </a:solidFill>
            </c:spPr>
          </c:dPt>
          <c:dPt>
            <c:idx val="818"/>
            <c:spPr>
              <a:solidFill>
                <a:srgbClr val="AEABAB"/>
              </a:solidFill>
            </c:spPr>
          </c:dPt>
          <c:dPt>
            <c:idx val="819"/>
            <c:spPr>
              <a:solidFill>
                <a:srgbClr val="AEABAB"/>
              </a:solidFill>
            </c:spPr>
          </c:dPt>
          <c:dPt>
            <c:idx val="820"/>
            <c:spPr>
              <a:solidFill>
                <a:srgbClr val="AEABAB"/>
              </a:solidFill>
            </c:spPr>
          </c:dPt>
          <c:dPt>
            <c:idx val="821"/>
            <c:spPr>
              <a:solidFill>
                <a:srgbClr val="AEABAB"/>
              </a:solidFill>
            </c:spPr>
          </c:dPt>
          <c:dPt>
            <c:idx val="822"/>
            <c:spPr>
              <a:solidFill>
                <a:srgbClr val="AEABAB"/>
              </a:solidFill>
            </c:spPr>
          </c:dPt>
          <c:dPt>
            <c:idx val="823"/>
            <c:spPr>
              <a:solidFill>
                <a:srgbClr val="AEABAB"/>
              </a:solidFill>
            </c:spPr>
          </c:dPt>
          <c:dPt>
            <c:idx val="824"/>
            <c:spPr>
              <a:solidFill>
                <a:srgbClr val="AEABAB"/>
              </a:solidFill>
            </c:spPr>
          </c:dPt>
          <c:dPt>
            <c:idx val="825"/>
            <c:spPr>
              <a:solidFill>
                <a:srgbClr val="AEABAB"/>
              </a:solidFill>
            </c:spPr>
          </c:dPt>
          <c:dPt>
            <c:idx val="826"/>
            <c:spPr>
              <a:solidFill>
                <a:srgbClr val="AEABAB"/>
              </a:solidFill>
            </c:spPr>
          </c:dPt>
          <c:dPt>
            <c:idx val="827"/>
            <c:spPr>
              <a:solidFill>
                <a:srgbClr val="AEABAB"/>
              </a:solidFill>
            </c:spPr>
          </c:dPt>
          <c:dPt>
            <c:idx val="828"/>
            <c:spPr>
              <a:solidFill>
                <a:srgbClr val="AEABAB"/>
              </a:solidFill>
            </c:spPr>
          </c:dPt>
          <c:dPt>
            <c:idx val="829"/>
            <c:spPr>
              <a:solidFill>
                <a:srgbClr val="AEABAB"/>
              </a:solidFill>
            </c:spPr>
          </c:dPt>
          <c:dPt>
            <c:idx val="830"/>
            <c:spPr>
              <a:solidFill>
                <a:srgbClr val="AEABAB"/>
              </a:solidFill>
            </c:spPr>
          </c:dPt>
          <c:dPt>
            <c:idx val="831"/>
            <c:spPr>
              <a:solidFill>
                <a:srgbClr val="AEABAB"/>
              </a:solidFill>
            </c:spPr>
          </c:dPt>
          <c:dPt>
            <c:idx val="832"/>
            <c:spPr>
              <a:solidFill>
                <a:srgbClr val="AEABAB"/>
              </a:solidFill>
            </c:spPr>
          </c:dPt>
          <c:dPt>
            <c:idx val="833"/>
            <c:spPr>
              <a:solidFill>
                <a:srgbClr val="AEABAB"/>
              </a:solidFill>
            </c:spPr>
          </c:dPt>
          <c:dPt>
            <c:idx val="834"/>
            <c:spPr>
              <a:solidFill>
                <a:srgbClr val="AEABAB"/>
              </a:solidFill>
            </c:spPr>
          </c:dPt>
          <c:dPt>
            <c:idx val="835"/>
            <c:spPr>
              <a:solidFill>
                <a:srgbClr val="AEABAB"/>
              </a:solidFill>
            </c:spPr>
          </c:dPt>
          <c:dPt>
            <c:idx val="836"/>
            <c:spPr>
              <a:solidFill>
                <a:srgbClr val="AEABAB"/>
              </a:solidFill>
            </c:spPr>
          </c:dPt>
          <c:dPt>
            <c:idx val="837"/>
            <c:spPr>
              <a:solidFill>
                <a:srgbClr val="AEABAB"/>
              </a:solidFill>
            </c:spPr>
          </c:dPt>
          <c:dPt>
            <c:idx val="838"/>
            <c:spPr>
              <a:solidFill>
                <a:srgbClr val="AEABAB"/>
              </a:solidFill>
            </c:spPr>
          </c:dPt>
          <c:dPt>
            <c:idx val="839"/>
            <c:spPr>
              <a:solidFill>
                <a:srgbClr val="AEABAB"/>
              </a:solidFill>
            </c:spPr>
          </c:dPt>
          <c:dPt>
            <c:idx val="840"/>
            <c:spPr>
              <a:solidFill>
                <a:srgbClr val="AEABAB"/>
              </a:solidFill>
            </c:spPr>
          </c:dPt>
          <c:dPt>
            <c:idx val="841"/>
            <c:spPr>
              <a:solidFill>
                <a:srgbClr val="AEABAB"/>
              </a:solidFill>
            </c:spPr>
          </c:dPt>
          <c:dPt>
            <c:idx val="842"/>
            <c:spPr>
              <a:solidFill>
                <a:srgbClr val="AEABAB"/>
              </a:solidFill>
            </c:spPr>
          </c:dPt>
          <c:dPt>
            <c:idx val="843"/>
            <c:spPr>
              <a:solidFill>
                <a:srgbClr val="AEABAB"/>
              </a:solidFill>
            </c:spPr>
          </c:dPt>
          <c:dPt>
            <c:idx val="844"/>
            <c:spPr>
              <a:solidFill>
                <a:srgbClr val="AEABAB"/>
              </a:solidFill>
            </c:spPr>
          </c:dPt>
          <c:dPt>
            <c:idx val="845"/>
            <c:spPr>
              <a:solidFill>
                <a:srgbClr val="AEABAB"/>
              </a:solidFill>
            </c:spPr>
          </c:dPt>
          <c:dPt>
            <c:idx val="846"/>
            <c:spPr>
              <a:solidFill>
                <a:srgbClr val="AEABAB"/>
              </a:solidFill>
            </c:spPr>
          </c:dPt>
          <c:dPt>
            <c:idx val="847"/>
            <c:spPr>
              <a:solidFill>
                <a:srgbClr val="AEABAB"/>
              </a:solidFill>
            </c:spPr>
          </c:dPt>
          <c:dPt>
            <c:idx val="848"/>
            <c:spPr>
              <a:solidFill>
                <a:srgbClr val="AEABAB"/>
              </a:solidFill>
            </c:spPr>
          </c:dPt>
          <c:dPt>
            <c:idx val="849"/>
            <c:spPr>
              <a:solidFill>
                <a:srgbClr val="AEABAB"/>
              </a:solidFill>
            </c:spPr>
          </c:dPt>
          <c:dPt>
            <c:idx val="850"/>
            <c:spPr>
              <a:solidFill>
                <a:srgbClr val="AEABAB"/>
              </a:solidFill>
            </c:spPr>
          </c:dPt>
          <c:dPt>
            <c:idx val="851"/>
            <c:spPr>
              <a:solidFill>
                <a:srgbClr val="AEABAB"/>
              </a:solidFill>
            </c:spPr>
          </c:dPt>
          <c:dPt>
            <c:idx val="852"/>
            <c:spPr>
              <a:solidFill>
                <a:srgbClr val="AEABAB"/>
              </a:solidFill>
            </c:spPr>
          </c:dPt>
          <c:dPt>
            <c:idx val="853"/>
            <c:spPr>
              <a:solidFill>
                <a:srgbClr val="AEABAB"/>
              </a:solidFill>
            </c:spPr>
          </c:dPt>
          <c:dPt>
            <c:idx val="854"/>
            <c:spPr>
              <a:solidFill>
                <a:srgbClr val="AEABAB"/>
              </a:solidFill>
            </c:spPr>
          </c:dPt>
          <c:dPt>
            <c:idx val="855"/>
            <c:spPr>
              <a:solidFill>
                <a:srgbClr val="AEABAB"/>
              </a:solidFill>
            </c:spPr>
          </c:dPt>
          <c:dPt>
            <c:idx val="856"/>
            <c:spPr>
              <a:solidFill>
                <a:srgbClr val="AEABAB"/>
              </a:solidFill>
            </c:spPr>
          </c:dPt>
          <c:dPt>
            <c:idx val="857"/>
            <c:spPr>
              <a:solidFill>
                <a:srgbClr val="AEABAB"/>
              </a:solidFill>
            </c:spPr>
          </c:dPt>
          <c:dPt>
            <c:idx val="858"/>
            <c:spPr>
              <a:solidFill>
                <a:srgbClr val="AEABAB"/>
              </a:solidFill>
            </c:spPr>
          </c:dPt>
          <c:dPt>
            <c:idx val="859"/>
            <c:spPr>
              <a:solidFill>
                <a:srgbClr val="AEABAB"/>
              </a:solidFill>
            </c:spPr>
          </c:dPt>
          <c:dPt>
            <c:idx val="860"/>
            <c:spPr>
              <a:solidFill>
                <a:srgbClr val="AEABAB"/>
              </a:solidFill>
            </c:spPr>
          </c:dPt>
          <c:dPt>
            <c:idx val="861"/>
            <c:spPr>
              <a:solidFill>
                <a:srgbClr val="AEABAB"/>
              </a:solidFill>
            </c:spPr>
          </c:dPt>
          <c:dPt>
            <c:idx val="862"/>
            <c:spPr>
              <a:solidFill>
                <a:srgbClr val="AEABAB"/>
              </a:solidFill>
            </c:spPr>
          </c:dPt>
          <c:dPt>
            <c:idx val="863"/>
            <c:spPr>
              <a:solidFill>
                <a:srgbClr val="AEABAB"/>
              </a:solidFill>
            </c:spPr>
          </c:dPt>
          <c:dPt>
            <c:idx val="864"/>
            <c:spPr>
              <a:solidFill>
                <a:srgbClr val="AEABAB"/>
              </a:solidFill>
            </c:spPr>
          </c:dPt>
          <c:dPt>
            <c:idx val="865"/>
            <c:spPr>
              <a:solidFill>
                <a:srgbClr val="AEABAB"/>
              </a:solidFill>
            </c:spPr>
          </c:dPt>
          <c:dPt>
            <c:idx val="866"/>
            <c:spPr>
              <a:solidFill>
                <a:srgbClr val="AEABAB"/>
              </a:solidFill>
            </c:spPr>
          </c:dPt>
          <c:dPt>
            <c:idx val="867"/>
            <c:spPr>
              <a:solidFill>
                <a:srgbClr val="AEABAB"/>
              </a:solidFill>
            </c:spPr>
          </c:dPt>
          <c:dPt>
            <c:idx val="868"/>
            <c:spPr>
              <a:solidFill>
                <a:srgbClr val="AEABAB"/>
              </a:solidFill>
            </c:spPr>
          </c:dPt>
          <c:dPt>
            <c:idx val="869"/>
            <c:spPr>
              <a:solidFill>
                <a:srgbClr val="AEABAB"/>
              </a:solidFill>
            </c:spPr>
          </c:dPt>
          <c:dPt>
            <c:idx val="870"/>
            <c:spPr>
              <a:solidFill>
                <a:srgbClr val="AEABAB"/>
              </a:solidFill>
            </c:spPr>
          </c:dPt>
          <c:dPt>
            <c:idx val="871"/>
            <c:spPr>
              <a:solidFill>
                <a:srgbClr val="AEABAB"/>
              </a:solidFill>
            </c:spPr>
          </c:dPt>
          <c:dPt>
            <c:idx val="872"/>
            <c:spPr>
              <a:solidFill>
                <a:srgbClr val="AEABAB"/>
              </a:solidFill>
            </c:spPr>
          </c:dPt>
          <c:dPt>
            <c:idx val="873"/>
            <c:spPr>
              <a:solidFill>
                <a:srgbClr val="AEABAB"/>
              </a:solidFill>
            </c:spPr>
          </c:dPt>
          <c:dPt>
            <c:idx val="874"/>
            <c:spPr>
              <a:solidFill>
                <a:srgbClr val="AEABAB"/>
              </a:solidFill>
            </c:spPr>
          </c:dPt>
          <c:dPt>
            <c:idx val="875"/>
            <c:spPr>
              <a:solidFill>
                <a:srgbClr val="AEABAB"/>
              </a:solidFill>
            </c:spPr>
          </c:dPt>
          <c:dPt>
            <c:idx val="876"/>
            <c:spPr>
              <a:solidFill>
                <a:srgbClr val="AEABAB"/>
              </a:solidFill>
            </c:spPr>
          </c:dPt>
          <c:dPt>
            <c:idx val="877"/>
            <c:spPr>
              <a:solidFill>
                <a:srgbClr val="AEABAB"/>
              </a:solidFill>
            </c:spPr>
          </c:dPt>
          <c:dPt>
            <c:idx val="878"/>
            <c:spPr>
              <a:solidFill>
                <a:srgbClr val="AEABAB"/>
              </a:solidFill>
            </c:spPr>
          </c:dPt>
          <c:dPt>
            <c:idx val="879"/>
            <c:spPr>
              <a:solidFill>
                <a:srgbClr val="AEABAB"/>
              </a:solidFill>
            </c:spPr>
          </c:dPt>
          <c:dPt>
            <c:idx val="880"/>
            <c:spPr>
              <a:solidFill>
                <a:srgbClr val="AEABAB"/>
              </a:solidFill>
            </c:spPr>
          </c:dPt>
          <c:dPt>
            <c:idx val="881"/>
            <c:spPr>
              <a:solidFill>
                <a:srgbClr val="AEABAB"/>
              </a:solidFill>
            </c:spPr>
          </c:dPt>
          <c:dPt>
            <c:idx val="882"/>
            <c:spPr>
              <a:solidFill>
                <a:srgbClr val="AEABAB"/>
              </a:solidFill>
            </c:spPr>
          </c:dPt>
          <c:dPt>
            <c:idx val="883"/>
            <c:spPr>
              <a:solidFill>
                <a:srgbClr val="AEABAB"/>
              </a:solidFill>
            </c:spPr>
          </c:dPt>
          <c:dPt>
            <c:idx val="884"/>
            <c:spPr>
              <a:solidFill>
                <a:srgbClr val="AEABAB"/>
              </a:solidFill>
            </c:spPr>
          </c:dPt>
          <c:dPt>
            <c:idx val="885"/>
            <c:spPr>
              <a:solidFill>
                <a:srgbClr val="AEABAB"/>
              </a:solidFill>
            </c:spPr>
          </c:dPt>
          <c:dPt>
            <c:idx val="886"/>
            <c:spPr>
              <a:solidFill>
                <a:srgbClr val="AEABAB"/>
              </a:solidFill>
            </c:spPr>
          </c:dPt>
          <c:dPt>
            <c:idx val="887"/>
            <c:spPr>
              <a:solidFill>
                <a:srgbClr val="AEABAB"/>
              </a:solidFill>
            </c:spPr>
          </c:dPt>
          <c:dPt>
            <c:idx val="888"/>
            <c:spPr>
              <a:solidFill>
                <a:srgbClr val="AEABAB"/>
              </a:solidFill>
            </c:spPr>
          </c:dPt>
          <c:dPt>
            <c:idx val="889"/>
            <c:spPr>
              <a:solidFill>
                <a:srgbClr val="AEABAB"/>
              </a:solidFill>
            </c:spPr>
          </c:dPt>
          <c:dPt>
            <c:idx val="890"/>
            <c:spPr>
              <a:solidFill>
                <a:srgbClr val="AEABAB"/>
              </a:solidFill>
            </c:spPr>
          </c:dPt>
          <c:dPt>
            <c:idx val="891"/>
            <c:spPr>
              <a:solidFill>
                <a:srgbClr val="AEABAB"/>
              </a:solidFill>
            </c:spPr>
          </c:dPt>
          <c:dPt>
            <c:idx val="892"/>
            <c:spPr>
              <a:solidFill>
                <a:srgbClr val="AEABAB"/>
              </a:solidFill>
            </c:spPr>
          </c:dPt>
          <c:dPt>
            <c:idx val="893"/>
            <c:spPr>
              <a:solidFill>
                <a:srgbClr val="AEABAB"/>
              </a:solidFill>
            </c:spPr>
          </c:dPt>
          <c:dPt>
            <c:idx val="894"/>
            <c:spPr>
              <a:solidFill>
                <a:srgbClr val="AEABAB"/>
              </a:solidFill>
            </c:spPr>
          </c:dPt>
          <c:dPt>
            <c:idx val="895"/>
            <c:spPr>
              <a:solidFill>
                <a:srgbClr val="AEABAB"/>
              </a:solidFill>
            </c:spPr>
          </c:dPt>
          <c:dPt>
            <c:idx val="896"/>
            <c:spPr>
              <a:solidFill>
                <a:srgbClr val="AEABAB"/>
              </a:solidFill>
            </c:spPr>
          </c:dPt>
          <c:dPt>
            <c:idx val="897"/>
            <c:spPr>
              <a:solidFill>
                <a:srgbClr val="AEABAB"/>
              </a:solidFill>
            </c:spPr>
          </c:dPt>
          <c:dPt>
            <c:idx val="898"/>
            <c:spPr>
              <a:solidFill>
                <a:srgbClr val="AEABAB"/>
              </a:solidFill>
            </c:spPr>
          </c:dPt>
          <c:dPt>
            <c:idx val="899"/>
            <c:spPr>
              <a:solidFill>
                <a:srgbClr val="AEABAB"/>
              </a:solidFill>
            </c:spPr>
          </c:dPt>
          <c:dPt>
            <c:idx val="900"/>
            <c:spPr>
              <a:solidFill>
                <a:srgbClr val="AEABAB"/>
              </a:solidFill>
            </c:spPr>
          </c:dPt>
          <c:dPt>
            <c:idx val="901"/>
            <c:spPr>
              <a:solidFill>
                <a:srgbClr val="AEABAB"/>
              </a:solidFill>
            </c:spPr>
          </c:dPt>
          <c:dPt>
            <c:idx val="902"/>
            <c:spPr>
              <a:solidFill>
                <a:srgbClr val="AEABAB"/>
              </a:solidFill>
            </c:spPr>
          </c:dPt>
          <c:dPt>
            <c:idx val="903"/>
            <c:spPr>
              <a:solidFill>
                <a:srgbClr val="AEABAB"/>
              </a:solidFill>
            </c:spPr>
          </c:dPt>
          <c:dPt>
            <c:idx val="904"/>
            <c:spPr>
              <a:solidFill>
                <a:srgbClr val="AEABAB"/>
              </a:solidFill>
            </c:spPr>
          </c:dPt>
          <c:dPt>
            <c:idx val="905"/>
            <c:spPr>
              <a:solidFill>
                <a:srgbClr val="AEABAB"/>
              </a:solidFill>
            </c:spPr>
          </c:dPt>
          <c:dPt>
            <c:idx val="906"/>
            <c:spPr>
              <a:solidFill>
                <a:srgbClr val="AEABAB"/>
              </a:solidFill>
            </c:spPr>
          </c:dPt>
          <c:dPt>
            <c:idx val="907"/>
            <c:spPr>
              <a:solidFill>
                <a:srgbClr val="AEABAB"/>
              </a:solidFill>
            </c:spPr>
          </c:dPt>
          <c:dPt>
            <c:idx val="908"/>
            <c:spPr>
              <a:solidFill>
                <a:srgbClr val="AEABAB"/>
              </a:solidFill>
            </c:spPr>
          </c:dPt>
          <c:dPt>
            <c:idx val="909"/>
            <c:spPr>
              <a:solidFill>
                <a:srgbClr val="AEABAB"/>
              </a:solidFill>
            </c:spPr>
          </c:dPt>
          <c:dPt>
            <c:idx val="910"/>
            <c:spPr>
              <a:solidFill>
                <a:srgbClr val="AEABAB"/>
              </a:solidFill>
            </c:spPr>
          </c:dPt>
          <c:dPt>
            <c:idx val="911"/>
            <c:spPr>
              <a:solidFill>
                <a:srgbClr val="AEABAB"/>
              </a:solidFill>
            </c:spPr>
          </c:dPt>
          <c:dPt>
            <c:idx val="912"/>
            <c:spPr>
              <a:solidFill>
                <a:srgbClr val="AEABAB"/>
              </a:solidFill>
            </c:spPr>
          </c:dPt>
          <c:dPt>
            <c:idx val="913"/>
            <c:spPr>
              <a:solidFill>
                <a:srgbClr val="AEABAB"/>
              </a:solidFill>
            </c:spPr>
          </c:dPt>
          <c:dPt>
            <c:idx val="914"/>
            <c:spPr>
              <a:solidFill>
                <a:srgbClr val="AEABAB"/>
              </a:solidFill>
            </c:spPr>
          </c:dPt>
          <c:dPt>
            <c:idx val="915"/>
            <c:spPr>
              <a:solidFill>
                <a:srgbClr val="AEABAB"/>
              </a:solidFill>
            </c:spPr>
          </c:dPt>
          <c:dPt>
            <c:idx val="916"/>
            <c:spPr>
              <a:solidFill>
                <a:srgbClr val="AEABAB"/>
              </a:solidFill>
            </c:spPr>
          </c:dPt>
          <c:dPt>
            <c:idx val="917"/>
            <c:spPr>
              <a:solidFill>
                <a:srgbClr val="AEABAB"/>
              </a:solidFill>
            </c:spPr>
          </c:dPt>
          <c:dPt>
            <c:idx val="918"/>
            <c:spPr>
              <a:solidFill>
                <a:srgbClr val="AEABAB"/>
              </a:solidFill>
            </c:spPr>
          </c:dPt>
          <c:dPt>
            <c:idx val="919"/>
            <c:spPr>
              <a:solidFill>
                <a:srgbClr val="AEABAB"/>
              </a:solidFill>
            </c:spPr>
          </c:dPt>
          <c:dPt>
            <c:idx val="920"/>
            <c:spPr>
              <a:solidFill>
                <a:srgbClr val="AEABAB"/>
              </a:solidFill>
            </c:spPr>
          </c:dPt>
          <c:dPt>
            <c:idx val="921"/>
            <c:spPr>
              <a:solidFill>
                <a:srgbClr val="AEABAB"/>
              </a:solidFill>
            </c:spPr>
          </c:dPt>
          <c:dPt>
            <c:idx val="922"/>
            <c:spPr>
              <a:solidFill>
                <a:srgbClr val="AEABAB"/>
              </a:solidFill>
            </c:spPr>
          </c:dPt>
          <c:dPt>
            <c:idx val="923"/>
            <c:spPr>
              <a:solidFill>
                <a:srgbClr val="AEABAB"/>
              </a:solidFill>
            </c:spPr>
          </c:dPt>
          <c:dPt>
            <c:idx val="924"/>
            <c:spPr>
              <a:solidFill>
                <a:srgbClr val="AEABAB"/>
              </a:solidFill>
            </c:spPr>
          </c:dPt>
          <c:dPt>
            <c:idx val="925"/>
            <c:spPr>
              <a:solidFill>
                <a:srgbClr val="AEABAB"/>
              </a:solidFill>
            </c:spPr>
          </c:dPt>
          <c:dPt>
            <c:idx val="926"/>
            <c:spPr>
              <a:solidFill>
                <a:srgbClr val="AEABAB"/>
              </a:solidFill>
            </c:spPr>
          </c:dPt>
          <c:dPt>
            <c:idx val="927"/>
            <c:spPr>
              <a:solidFill>
                <a:srgbClr val="AEABAB"/>
              </a:solidFill>
            </c:spPr>
          </c:dPt>
          <c:dPt>
            <c:idx val="928"/>
            <c:spPr>
              <a:solidFill>
                <a:srgbClr val="AEABAB"/>
              </a:solidFill>
            </c:spPr>
          </c:dPt>
          <c:dPt>
            <c:idx val="929"/>
            <c:spPr>
              <a:solidFill>
                <a:srgbClr val="AEABAB"/>
              </a:solidFill>
            </c:spPr>
          </c:dPt>
          <c:dPt>
            <c:idx val="930"/>
            <c:spPr>
              <a:solidFill>
                <a:srgbClr val="AEABAB"/>
              </a:solidFill>
            </c:spPr>
          </c:dPt>
          <c:dPt>
            <c:idx val="931"/>
            <c:spPr>
              <a:solidFill>
                <a:srgbClr val="AEABAB"/>
              </a:solidFill>
            </c:spPr>
          </c:dPt>
          <c:dPt>
            <c:idx val="932"/>
            <c:spPr>
              <a:solidFill>
                <a:srgbClr val="AEABAB"/>
              </a:solidFill>
            </c:spPr>
          </c:dPt>
          <c:dPt>
            <c:idx val="933"/>
            <c:spPr>
              <a:solidFill>
                <a:srgbClr val="AEABAB"/>
              </a:solidFill>
            </c:spPr>
          </c:dPt>
          <c:dPt>
            <c:idx val="934"/>
            <c:spPr>
              <a:solidFill>
                <a:srgbClr val="AEABAB"/>
              </a:solidFill>
            </c:spPr>
          </c:dPt>
          <c:dPt>
            <c:idx val="935"/>
            <c:spPr>
              <a:solidFill>
                <a:srgbClr val="AEABAB"/>
              </a:solidFill>
            </c:spPr>
          </c:dPt>
          <c:dPt>
            <c:idx val="936"/>
            <c:spPr>
              <a:solidFill>
                <a:srgbClr val="AEABAB"/>
              </a:solidFill>
            </c:spPr>
          </c:dPt>
          <c:dPt>
            <c:idx val="937"/>
            <c:spPr>
              <a:solidFill>
                <a:srgbClr val="AEABAB"/>
              </a:solidFill>
            </c:spPr>
          </c:dPt>
          <c:dPt>
            <c:idx val="938"/>
            <c:spPr>
              <a:solidFill>
                <a:srgbClr val="AEABAB"/>
              </a:solidFill>
            </c:spPr>
          </c:dPt>
          <c:dPt>
            <c:idx val="939"/>
            <c:spPr>
              <a:solidFill>
                <a:srgbClr val="AEABAB"/>
              </a:solidFill>
            </c:spPr>
          </c:dPt>
          <c:dPt>
            <c:idx val="940"/>
            <c:spPr>
              <a:solidFill>
                <a:srgbClr val="AEABAB"/>
              </a:solidFill>
            </c:spPr>
          </c:dPt>
          <c:dPt>
            <c:idx val="941"/>
            <c:spPr>
              <a:solidFill>
                <a:srgbClr val="AEABAB"/>
              </a:solidFill>
            </c:spPr>
          </c:dPt>
          <c:dPt>
            <c:idx val="942"/>
            <c:spPr>
              <a:solidFill>
                <a:srgbClr val="AEABAB"/>
              </a:solidFill>
            </c:spPr>
          </c:dPt>
          <c:dPt>
            <c:idx val="943"/>
            <c:spPr>
              <a:solidFill>
                <a:srgbClr val="AEABAB"/>
              </a:solidFill>
            </c:spPr>
          </c:dPt>
          <c:dPt>
            <c:idx val="944"/>
            <c:spPr>
              <a:solidFill>
                <a:srgbClr val="AEABAB"/>
              </a:solidFill>
            </c:spPr>
          </c:dPt>
          <c:dPt>
            <c:idx val="945"/>
            <c:spPr>
              <a:solidFill>
                <a:srgbClr val="AEABAB"/>
              </a:solidFill>
            </c:spPr>
          </c:dPt>
          <c:dPt>
            <c:idx val="946"/>
            <c:spPr>
              <a:solidFill>
                <a:srgbClr val="AEABAB"/>
              </a:solidFill>
            </c:spPr>
          </c:dPt>
          <c:dPt>
            <c:idx val="947"/>
            <c:spPr>
              <a:solidFill>
                <a:srgbClr val="AEABAB"/>
              </a:solidFill>
            </c:spPr>
          </c:dPt>
          <c:dPt>
            <c:idx val="948"/>
            <c:spPr>
              <a:solidFill>
                <a:srgbClr val="AEABAB"/>
              </a:solidFill>
            </c:spPr>
          </c:dPt>
          <c:dPt>
            <c:idx val="949"/>
            <c:spPr>
              <a:solidFill>
                <a:srgbClr val="AEABAB"/>
              </a:solidFill>
            </c:spPr>
          </c:dPt>
          <c:dPt>
            <c:idx val="950"/>
            <c:spPr>
              <a:solidFill>
                <a:srgbClr val="AEABAB"/>
              </a:solidFill>
            </c:spPr>
          </c:dPt>
          <c:dPt>
            <c:idx val="951"/>
            <c:spPr>
              <a:solidFill>
                <a:srgbClr val="AEABAB"/>
              </a:solidFill>
            </c:spPr>
          </c:dPt>
          <c:dPt>
            <c:idx val="952"/>
            <c:spPr>
              <a:solidFill>
                <a:srgbClr val="AEABAB"/>
              </a:solidFill>
            </c:spPr>
          </c:dPt>
          <c:dPt>
            <c:idx val="953"/>
            <c:spPr>
              <a:solidFill>
                <a:srgbClr val="AEABAB"/>
              </a:solidFill>
            </c:spPr>
          </c:dPt>
          <c:dPt>
            <c:idx val="954"/>
            <c:spPr>
              <a:solidFill>
                <a:srgbClr val="AEABAB"/>
              </a:solidFill>
            </c:spPr>
          </c:dPt>
          <c:dPt>
            <c:idx val="955"/>
            <c:spPr>
              <a:solidFill>
                <a:srgbClr val="AEABAB"/>
              </a:solidFill>
            </c:spPr>
          </c:dPt>
          <c:dPt>
            <c:idx val="956"/>
            <c:spPr>
              <a:solidFill>
                <a:srgbClr val="AEABAB"/>
              </a:solidFill>
            </c:spPr>
          </c:dPt>
          <c:dPt>
            <c:idx val="957"/>
            <c:spPr>
              <a:solidFill>
                <a:srgbClr val="AEABAB"/>
              </a:solidFill>
            </c:spPr>
          </c:dPt>
          <c:dPt>
            <c:idx val="958"/>
            <c:spPr>
              <a:solidFill>
                <a:srgbClr val="AEABAB"/>
              </a:solidFill>
            </c:spPr>
          </c:dPt>
          <c:dPt>
            <c:idx val="959"/>
            <c:spPr>
              <a:solidFill>
                <a:srgbClr val="AEABAB"/>
              </a:solidFill>
            </c:spPr>
          </c:dPt>
          <c:dPt>
            <c:idx val="960"/>
            <c:spPr>
              <a:solidFill>
                <a:srgbClr val="AEABAB"/>
              </a:solidFill>
            </c:spPr>
          </c:dPt>
          <c:dPt>
            <c:idx val="961"/>
            <c:spPr>
              <a:solidFill>
                <a:srgbClr val="AEABAB"/>
              </a:solidFill>
            </c:spPr>
          </c:dPt>
          <c:dPt>
            <c:idx val="962"/>
            <c:spPr>
              <a:solidFill>
                <a:srgbClr val="AEABAB"/>
              </a:solidFill>
            </c:spPr>
          </c:dPt>
          <c:dPt>
            <c:idx val="963"/>
            <c:spPr>
              <a:solidFill>
                <a:srgbClr val="AEABAB"/>
              </a:solidFill>
            </c:spPr>
          </c:dPt>
          <c:dPt>
            <c:idx val="964"/>
            <c:spPr>
              <a:solidFill>
                <a:srgbClr val="AEABAB"/>
              </a:solidFill>
            </c:spPr>
          </c:dPt>
          <c:dPt>
            <c:idx val="965"/>
            <c:spPr>
              <a:solidFill>
                <a:srgbClr val="AEABAB"/>
              </a:solidFill>
            </c:spPr>
          </c:dPt>
          <c:dPt>
            <c:idx val="966"/>
            <c:spPr>
              <a:solidFill>
                <a:srgbClr val="AEABAB"/>
              </a:solidFill>
            </c:spPr>
          </c:dPt>
          <c:dPt>
            <c:idx val="967"/>
            <c:spPr>
              <a:solidFill>
                <a:srgbClr val="AEABAB"/>
              </a:solidFill>
            </c:spPr>
          </c:dPt>
          <c:dPt>
            <c:idx val="968"/>
            <c:spPr>
              <a:solidFill>
                <a:srgbClr val="AEABAB"/>
              </a:solidFill>
            </c:spPr>
          </c:dPt>
          <c:dPt>
            <c:idx val="969"/>
            <c:spPr>
              <a:solidFill>
                <a:srgbClr val="AEABAB"/>
              </a:solidFill>
            </c:spPr>
          </c:dPt>
          <c:dPt>
            <c:idx val="970"/>
            <c:spPr>
              <a:solidFill>
                <a:srgbClr val="AEABAB"/>
              </a:solidFill>
            </c:spPr>
          </c:dPt>
          <c:dPt>
            <c:idx val="971"/>
            <c:spPr>
              <a:solidFill>
                <a:srgbClr val="AEABAB"/>
              </a:solidFill>
            </c:spPr>
          </c:dPt>
          <c:dPt>
            <c:idx val="972"/>
            <c:spPr>
              <a:solidFill>
                <a:srgbClr val="AEABAB"/>
              </a:solidFill>
            </c:spPr>
          </c:dPt>
          <c:dPt>
            <c:idx val="973"/>
            <c:spPr>
              <a:solidFill>
                <a:srgbClr val="AEABAB"/>
              </a:solidFill>
            </c:spPr>
          </c:dPt>
          <c:dPt>
            <c:idx val="974"/>
            <c:spPr>
              <a:solidFill>
                <a:srgbClr val="AEABAB"/>
              </a:solidFill>
            </c:spPr>
          </c:dPt>
          <c:dPt>
            <c:idx val="975"/>
            <c:spPr>
              <a:solidFill>
                <a:srgbClr val="AEABAB"/>
              </a:solidFill>
            </c:spPr>
          </c:dPt>
          <c:dPt>
            <c:idx val="976"/>
            <c:spPr>
              <a:solidFill>
                <a:srgbClr val="AEABAB"/>
              </a:solidFill>
            </c:spPr>
          </c:dPt>
          <c:dPt>
            <c:idx val="977"/>
            <c:spPr>
              <a:solidFill>
                <a:srgbClr val="AEABAB"/>
              </a:solidFill>
            </c:spPr>
          </c:dPt>
          <c:dPt>
            <c:idx val="978"/>
            <c:spPr>
              <a:solidFill>
                <a:srgbClr val="AEABAB"/>
              </a:solidFill>
            </c:spPr>
          </c:dPt>
          <c:dPt>
            <c:idx val="979"/>
            <c:spPr>
              <a:solidFill>
                <a:srgbClr val="AEABAB"/>
              </a:solidFill>
            </c:spPr>
          </c:dPt>
          <c:dPt>
            <c:idx val="980"/>
            <c:spPr>
              <a:solidFill>
                <a:srgbClr val="AEABAB"/>
              </a:solidFill>
            </c:spPr>
          </c:dPt>
          <c:dPt>
            <c:idx val="981"/>
            <c:spPr>
              <a:solidFill>
                <a:srgbClr val="AEABAB"/>
              </a:solidFill>
            </c:spPr>
          </c:dPt>
          <c:dPt>
            <c:idx val="982"/>
            <c:spPr>
              <a:solidFill>
                <a:srgbClr val="AEABAB"/>
              </a:solidFill>
            </c:spPr>
          </c:dPt>
          <c:dPt>
            <c:idx val="983"/>
            <c:spPr>
              <a:solidFill>
                <a:srgbClr val="AEABAB"/>
              </a:solidFill>
            </c:spPr>
          </c:dPt>
          <c:dPt>
            <c:idx val="984"/>
            <c:spPr>
              <a:solidFill>
                <a:srgbClr val="AEABAB"/>
              </a:solidFill>
            </c:spPr>
          </c:dPt>
          <c:dPt>
            <c:idx val="985"/>
            <c:spPr>
              <a:solidFill>
                <a:srgbClr val="AEABAB"/>
              </a:solidFill>
            </c:spPr>
          </c:dPt>
          <c:dPt>
            <c:idx val="986"/>
            <c:spPr>
              <a:solidFill>
                <a:srgbClr val="AEABAB"/>
              </a:solidFill>
            </c:spPr>
          </c:dPt>
          <c:dPt>
            <c:idx val="987"/>
            <c:spPr>
              <a:solidFill>
                <a:srgbClr val="AEABAB"/>
              </a:solidFill>
            </c:spPr>
          </c:dPt>
          <c:dPt>
            <c:idx val="988"/>
            <c:spPr>
              <a:solidFill>
                <a:srgbClr val="AEABAB"/>
              </a:solidFill>
            </c:spPr>
          </c:dPt>
          <c:dPt>
            <c:idx val="989"/>
            <c:spPr>
              <a:solidFill>
                <a:srgbClr val="AEABAB"/>
              </a:solidFill>
            </c:spPr>
          </c:dPt>
          <c:dPt>
            <c:idx val="990"/>
            <c:spPr>
              <a:solidFill>
                <a:srgbClr val="AEABAB"/>
              </a:solidFill>
            </c:spPr>
          </c:dPt>
          <c:dPt>
            <c:idx val="991"/>
            <c:spPr>
              <a:solidFill>
                <a:srgbClr val="AEABAB"/>
              </a:solidFill>
            </c:spPr>
          </c:dPt>
          <c:dPt>
            <c:idx val="992"/>
            <c:spPr>
              <a:solidFill>
                <a:srgbClr val="AEABAB"/>
              </a:solidFill>
            </c:spPr>
          </c:dPt>
          <c:dPt>
            <c:idx val="993"/>
            <c:spPr>
              <a:solidFill>
                <a:srgbClr val="AEABAB"/>
              </a:solidFill>
            </c:spPr>
          </c:dPt>
          <c:dPt>
            <c:idx val="994"/>
            <c:spPr>
              <a:solidFill>
                <a:srgbClr val="AEABAB"/>
              </a:solidFill>
            </c:spPr>
          </c:dPt>
          <c:dPt>
            <c:idx val="995"/>
            <c:spPr>
              <a:solidFill>
                <a:srgbClr val="AEABAB"/>
              </a:solidFill>
            </c:spPr>
          </c:dPt>
          <c:dPt>
            <c:idx val="996"/>
            <c:spPr>
              <a:solidFill>
                <a:srgbClr val="AEABAB"/>
              </a:solidFill>
            </c:spPr>
          </c:dPt>
          <c:dPt>
            <c:idx val="997"/>
            <c:spPr>
              <a:solidFill>
                <a:srgbClr val="AEABAB"/>
              </a:solidFill>
            </c:spPr>
          </c:dPt>
          <c:dPt>
            <c:idx val="998"/>
            <c:spPr>
              <a:solidFill>
                <a:srgbClr val="AEABAB"/>
              </a:solidFill>
            </c:spPr>
          </c:dPt>
          <c:dPt>
            <c:idx val="999"/>
            <c:spPr>
              <a:solidFill>
                <a:srgbClr val="AEABAB"/>
              </a:solidFill>
            </c:spPr>
          </c:dPt>
          <c:dPt>
            <c:idx val="1000"/>
            <c:spPr>
              <a:solidFill>
                <a:srgbClr val="AEABAB"/>
              </a:solidFill>
            </c:spPr>
          </c:dPt>
          <c:dPt>
            <c:idx val="1001"/>
            <c:spPr>
              <a:solidFill>
                <a:srgbClr val="AEABAB"/>
              </a:solidFill>
            </c:spPr>
          </c:dPt>
          <c:dPt>
            <c:idx val="1002"/>
            <c:spPr>
              <a:solidFill>
                <a:srgbClr val="AEABAB"/>
              </a:solidFill>
            </c:spPr>
          </c:dPt>
          <c:dPt>
            <c:idx val="1003"/>
            <c:spPr>
              <a:solidFill>
                <a:srgbClr val="AEABAB"/>
              </a:solidFill>
            </c:spPr>
          </c:dPt>
          <c:dPt>
            <c:idx val="1004"/>
            <c:spPr>
              <a:solidFill>
                <a:srgbClr val="AEABAB"/>
              </a:solidFill>
            </c:spPr>
          </c:dPt>
          <c:dPt>
            <c:idx val="1005"/>
            <c:spPr>
              <a:solidFill>
                <a:srgbClr val="AEABAB"/>
              </a:solidFill>
            </c:spPr>
          </c:dPt>
          <c:dPt>
            <c:idx val="1006"/>
            <c:spPr>
              <a:solidFill>
                <a:srgbClr val="AEABAB"/>
              </a:solidFill>
            </c:spPr>
          </c:dPt>
          <c:dPt>
            <c:idx val="1007"/>
            <c:spPr>
              <a:solidFill>
                <a:srgbClr val="AEABAB"/>
              </a:solidFill>
            </c:spPr>
          </c:dPt>
          <c:dPt>
            <c:idx val="1008"/>
            <c:spPr>
              <a:solidFill>
                <a:srgbClr val="AEABAB"/>
              </a:solidFill>
            </c:spPr>
          </c:dPt>
          <c:dPt>
            <c:idx val="1009"/>
            <c:spPr>
              <a:solidFill>
                <a:srgbClr val="AEABAB"/>
              </a:solidFill>
            </c:spPr>
          </c:dPt>
          <c:dPt>
            <c:idx val="1010"/>
            <c:spPr>
              <a:solidFill>
                <a:srgbClr val="AEABAB"/>
              </a:solidFill>
            </c:spPr>
          </c:dPt>
          <c:dPt>
            <c:idx val="1011"/>
            <c:spPr>
              <a:solidFill>
                <a:srgbClr val="AEABAB"/>
              </a:solidFill>
            </c:spPr>
          </c:dPt>
          <c:dPt>
            <c:idx val="1012"/>
            <c:spPr>
              <a:solidFill>
                <a:srgbClr val="AEABAB"/>
              </a:solidFill>
            </c:spPr>
          </c:dPt>
          <c:dPt>
            <c:idx val="1013"/>
            <c:spPr>
              <a:solidFill>
                <a:srgbClr val="AEABAB"/>
              </a:solidFill>
            </c:spPr>
          </c:dPt>
          <c:dPt>
            <c:idx val="1014"/>
            <c:spPr>
              <a:solidFill>
                <a:srgbClr val="AEABAB"/>
              </a:solidFill>
            </c:spPr>
          </c:dPt>
          <c:dPt>
            <c:idx val="1015"/>
            <c:spPr>
              <a:solidFill>
                <a:srgbClr val="AEABAB"/>
              </a:solidFill>
            </c:spPr>
          </c:dPt>
          <c:dPt>
            <c:idx val="1016"/>
            <c:spPr>
              <a:solidFill>
                <a:srgbClr val="AEABAB"/>
              </a:solidFill>
            </c:spPr>
          </c:dPt>
          <c:dPt>
            <c:idx val="1017"/>
            <c:spPr>
              <a:solidFill>
                <a:srgbClr val="AEABAB"/>
              </a:solidFill>
            </c:spPr>
          </c:dPt>
          <c:dPt>
            <c:idx val="1018"/>
            <c:spPr>
              <a:solidFill>
                <a:srgbClr val="AEABAB"/>
              </a:solidFill>
            </c:spPr>
          </c:dPt>
          <c:dPt>
            <c:idx val="1019"/>
            <c:spPr>
              <a:solidFill>
                <a:srgbClr val="AEABAB"/>
              </a:solidFill>
            </c:spPr>
          </c:dPt>
          <c:dPt>
            <c:idx val="1020"/>
            <c:spPr>
              <a:solidFill>
                <a:srgbClr val="AEABAB"/>
              </a:solidFill>
            </c:spPr>
          </c:dPt>
          <c:dPt>
            <c:idx val="1021"/>
            <c:spPr>
              <a:solidFill>
                <a:srgbClr val="AEABAB"/>
              </a:solidFill>
            </c:spPr>
          </c:dPt>
          <c:dPt>
            <c:idx val="1022"/>
            <c:spPr>
              <a:solidFill>
                <a:srgbClr val="AEABAB"/>
              </a:solidFill>
            </c:spPr>
          </c:dPt>
          <c:dPt>
            <c:idx val="1023"/>
            <c:spPr>
              <a:solidFill>
                <a:srgbClr val="AEABAB"/>
              </a:solidFill>
            </c:spPr>
          </c:dPt>
          <c:dPt>
            <c:idx val="1024"/>
            <c:spPr>
              <a:solidFill>
                <a:srgbClr val="AEABAB"/>
              </a:solidFill>
            </c:spPr>
          </c:dPt>
          <c:dPt>
            <c:idx val="1025"/>
            <c:spPr>
              <a:solidFill>
                <a:srgbClr val="AEABAB"/>
              </a:solidFill>
            </c:spPr>
          </c:dPt>
          <c:dPt>
            <c:idx val="1026"/>
            <c:spPr>
              <a:solidFill>
                <a:srgbClr val="AEABAB"/>
              </a:solidFill>
            </c:spPr>
          </c:dPt>
          <c:dPt>
            <c:idx val="1027"/>
            <c:spPr>
              <a:solidFill>
                <a:srgbClr val="AEABAB"/>
              </a:solidFill>
            </c:spPr>
          </c:dPt>
          <c:dPt>
            <c:idx val="1028"/>
            <c:spPr>
              <a:solidFill>
                <a:srgbClr val="AEABAB"/>
              </a:solidFill>
            </c:spPr>
          </c:dPt>
          <c:dPt>
            <c:idx val="1029"/>
            <c:spPr>
              <a:solidFill>
                <a:srgbClr val="AEABAB"/>
              </a:solidFill>
            </c:spPr>
          </c:dPt>
          <c:dPt>
            <c:idx val="1030"/>
            <c:spPr>
              <a:solidFill>
                <a:srgbClr val="AEABAB"/>
              </a:solidFill>
            </c:spPr>
          </c:dPt>
          <c:dPt>
            <c:idx val="1031"/>
            <c:spPr>
              <a:solidFill>
                <a:srgbClr val="AEABAB"/>
              </a:solidFill>
            </c:spPr>
          </c:dPt>
          <c:dPt>
            <c:idx val="1032"/>
            <c:spPr>
              <a:solidFill>
                <a:srgbClr val="AEABAB"/>
              </a:solidFill>
            </c:spPr>
          </c:dPt>
          <c:dPt>
            <c:idx val="1033"/>
            <c:spPr>
              <a:solidFill>
                <a:srgbClr val="AEABAB"/>
              </a:solidFill>
            </c:spPr>
          </c:dPt>
          <c:dPt>
            <c:idx val="1034"/>
            <c:spPr>
              <a:solidFill>
                <a:srgbClr val="AEABAB"/>
              </a:solidFill>
            </c:spPr>
          </c:dPt>
          <c:dPt>
            <c:idx val="1035"/>
            <c:spPr>
              <a:solidFill>
                <a:srgbClr val="AEABAB"/>
              </a:solidFill>
            </c:spPr>
          </c:dPt>
          <c:dPt>
            <c:idx val="1036"/>
            <c:spPr>
              <a:solidFill>
                <a:srgbClr val="AEABAB"/>
              </a:solidFill>
            </c:spPr>
          </c:dPt>
          <c:dPt>
            <c:idx val="1037"/>
            <c:spPr>
              <a:solidFill>
                <a:srgbClr val="AEABAB"/>
              </a:solidFill>
            </c:spPr>
          </c:dPt>
          <c:dPt>
            <c:idx val="1038"/>
            <c:spPr>
              <a:solidFill>
                <a:srgbClr val="AEABAB"/>
              </a:solidFill>
            </c:spPr>
          </c:dPt>
          <c:dPt>
            <c:idx val="1039"/>
            <c:spPr>
              <a:solidFill>
                <a:srgbClr val="AEABAB"/>
              </a:solidFill>
            </c:spPr>
          </c:dPt>
          <c:dPt>
            <c:idx val="1040"/>
            <c:spPr>
              <a:solidFill>
                <a:srgbClr val="AEABAB"/>
              </a:solidFill>
            </c:spPr>
          </c:dPt>
          <c:dPt>
            <c:idx val="1041"/>
            <c:spPr>
              <a:solidFill>
                <a:srgbClr val="AEABAB"/>
              </a:solidFill>
            </c:spPr>
          </c:dPt>
          <c:dPt>
            <c:idx val="1042"/>
            <c:spPr>
              <a:solidFill>
                <a:srgbClr val="AEABAB"/>
              </a:solidFill>
            </c:spPr>
          </c:dPt>
          <c:dPt>
            <c:idx val="1043"/>
            <c:spPr>
              <a:solidFill>
                <a:srgbClr val="AEABAB"/>
              </a:solidFill>
            </c:spPr>
          </c:dPt>
          <c:dPt>
            <c:idx val="1044"/>
            <c:spPr>
              <a:solidFill>
                <a:srgbClr val="AEABAB"/>
              </a:solidFill>
            </c:spPr>
          </c:dPt>
          <c:dPt>
            <c:idx val="1045"/>
            <c:spPr>
              <a:solidFill>
                <a:srgbClr val="AEABAB"/>
              </a:solidFill>
            </c:spPr>
          </c:dPt>
          <c:dPt>
            <c:idx val="1046"/>
            <c:spPr>
              <a:solidFill>
                <a:srgbClr val="AEABAB"/>
              </a:solidFill>
            </c:spPr>
          </c:dPt>
          <c:dPt>
            <c:idx val="1047"/>
            <c:spPr>
              <a:solidFill>
                <a:srgbClr val="AEABAB"/>
              </a:solidFill>
            </c:spPr>
          </c:dPt>
          <c:dPt>
            <c:idx val="1048"/>
            <c:spPr>
              <a:solidFill>
                <a:srgbClr val="AEABAB"/>
              </a:solidFill>
            </c:spPr>
          </c:dPt>
          <c:dPt>
            <c:idx val="1049"/>
            <c:spPr>
              <a:solidFill>
                <a:srgbClr val="AEABAB"/>
              </a:solidFill>
            </c:spPr>
          </c:dPt>
          <c:dPt>
            <c:idx val="1050"/>
            <c:spPr>
              <a:solidFill>
                <a:srgbClr val="AEABAB"/>
              </a:solidFill>
            </c:spPr>
          </c:dPt>
          <c:dPt>
            <c:idx val="1051"/>
            <c:spPr>
              <a:solidFill>
                <a:srgbClr val="AEABAB"/>
              </a:solidFill>
            </c:spPr>
          </c:dPt>
          <c:dPt>
            <c:idx val="1052"/>
            <c:spPr>
              <a:solidFill>
                <a:srgbClr val="AEABAB"/>
              </a:solidFill>
            </c:spPr>
          </c:dPt>
          <c:dPt>
            <c:idx val="1053"/>
            <c:spPr>
              <a:solidFill>
                <a:srgbClr val="AEABAB"/>
              </a:solidFill>
            </c:spPr>
          </c:dPt>
          <c:dPt>
            <c:idx val="1054"/>
            <c:spPr>
              <a:solidFill>
                <a:srgbClr val="AEABAB"/>
              </a:solidFill>
            </c:spPr>
          </c:dPt>
          <c:dPt>
            <c:idx val="1055"/>
            <c:spPr>
              <a:solidFill>
                <a:srgbClr val="AEABAB"/>
              </a:solidFill>
            </c:spPr>
          </c:dPt>
          <c:dPt>
            <c:idx val="1056"/>
            <c:spPr>
              <a:solidFill>
                <a:srgbClr val="AEABAB"/>
              </a:solidFill>
            </c:spPr>
          </c:dPt>
          <c:dPt>
            <c:idx val="1057"/>
            <c:spPr>
              <a:solidFill>
                <a:srgbClr val="AEABAB"/>
              </a:solidFill>
            </c:spPr>
          </c:dPt>
          <c:dPt>
            <c:idx val="1058"/>
            <c:spPr>
              <a:solidFill>
                <a:srgbClr val="AEABAB"/>
              </a:solidFill>
            </c:spPr>
          </c:dPt>
          <c:dPt>
            <c:idx val="1059"/>
            <c:spPr>
              <a:solidFill>
                <a:srgbClr val="AEABAB"/>
              </a:solidFill>
            </c:spPr>
          </c:dPt>
          <c:dPt>
            <c:idx val="1060"/>
            <c:spPr>
              <a:solidFill>
                <a:srgbClr val="AEABAB"/>
              </a:solidFill>
            </c:spPr>
          </c:dPt>
          <c:dPt>
            <c:idx val="1061"/>
            <c:spPr>
              <a:solidFill>
                <a:srgbClr val="AEABAB"/>
              </a:solidFill>
            </c:spPr>
          </c:dPt>
          <c:dPt>
            <c:idx val="1062"/>
            <c:spPr>
              <a:solidFill>
                <a:srgbClr val="AEABAB"/>
              </a:solidFill>
            </c:spPr>
          </c:dPt>
          <c:dPt>
            <c:idx val="1063"/>
            <c:spPr>
              <a:solidFill>
                <a:srgbClr val="AEABAB"/>
              </a:solidFill>
            </c:spPr>
          </c:dPt>
          <c:dPt>
            <c:idx val="1064"/>
            <c:spPr>
              <a:solidFill>
                <a:srgbClr val="AEABAB"/>
              </a:solidFill>
            </c:spPr>
          </c:dPt>
          <c:dPt>
            <c:idx val="1065"/>
            <c:spPr>
              <a:solidFill>
                <a:srgbClr val="AEABAB"/>
              </a:solidFill>
            </c:spPr>
          </c:dPt>
          <c:dPt>
            <c:idx val="1066"/>
            <c:spPr>
              <a:solidFill>
                <a:srgbClr val="AEABAB"/>
              </a:solidFill>
            </c:spPr>
          </c:dPt>
          <c:dPt>
            <c:idx val="1067"/>
            <c:spPr>
              <a:solidFill>
                <a:srgbClr val="AEABAB"/>
              </a:solidFill>
            </c:spPr>
          </c:dPt>
          <c:dPt>
            <c:idx val="1068"/>
            <c:spPr>
              <a:solidFill>
                <a:srgbClr val="AEABAB"/>
              </a:solidFill>
            </c:spPr>
          </c:dPt>
          <c:dPt>
            <c:idx val="1069"/>
            <c:spPr>
              <a:solidFill>
                <a:srgbClr val="AEABAB"/>
              </a:solidFill>
            </c:spPr>
          </c:dPt>
          <c:dPt>
            <c:idx val="1070"/>
            <c:spPr>
              <a:solidFill>
                <a:srgbClr val="AEABAB"/>
              </a:solidFill>
            </c:spPr>
          </c:dPt>
          <c:dPt>
            <c:idx val="1071"/>
            <c:spPr>
              <a:solidFill>
                <a:srgbClr val="AEABAB"/>
              </a:solidFill>
            </c:spPr>
          </c:dPt>
          <c:dPt>
            <c:idx val="1072"/>
            <c:spPr>
              <a:solidFill>
                <a:srgbClr val="AEABAB"/>
              </a:solidFill>
            </c:spPr>
          </c:dPt>
          <c:dPt>
            <c:idx val="1073"/>
            <c:spPr>
              <a:solidFill>
                <a:srgbClr val="AEABAB"/>
              </a:solidFill>
            </c:spPr>
          </c:dPt>
          <c:dPt>
            <c:idx val="1074"/>
            <c:spPr>
              <a:solidFill>
                <a:srgbClr val="AEABAB"/>
              </a:solidFill>
            </c:spPr>
          </c:dPt>
          <c:dPt>
            <c:idx val="1075"/>
            <c:spPr>
              <a:solidFill>
                <a:srgbClr val="AEABAB"/>
              </a:solidFill>
            </c:spPr>
          </c:dPt>
          <c:dPt>
            <c:idx val="1076"/>
            <c:spPr>
              <a:solidFill>
                <a:srgbClr val="AEABAB"/>
              </a:solidFill>
            </c:spPr>
          </c:dPt>
          <c:dPt>
            <c:idx val="1077"/>
            <c:spPr>
              <a:solidFill>
                <a:srgbClr val="AEABAB"/>
              </a:solidFill>
            </c:spPr>
          </c:dPt>
          <c:dPt>
            <c:idx val="1078"/>
            <c:spPr>
              <a:solidFill>
                <a:srgbClr val="AEABAB"/>
              </a:solidFill>
            </c:spPr>
          </c:dPt>
          <c:dPt>
            <c:idx val="1079"/>
            <c:spPr>
              <a:solidFill>
                <a:srgbClr val="AEABAB"/>
              </a:solidFill>
            </c:spPr>
          </c:dPt>
          <c:dPt>
            <c:idx val="1080"/>
            <c:spPr>
              <a:solidFill>
                <a:srgbClr val="AEABAB"/>
              </a:solidFill>
            </c:spPr>
          </c:dPt>
          <c:dPt>
            <c:idx val="1081"/>
            <c:spPr>
              <a:solidFill>
                <a:srgbClr val="AEABAB"/>
              </a:solidFill>
            </c:spPr>
          </c:dPt>
          <c:dPt>
            <c:idx val="1082"/>
            <c:spPr>
              <a:solidFill>
                <a:srgbClr val="AEABAB"/>
              </a:solidFill>
            </c:spPr>
          </c:dPt>
          <c:dPt>
            <c:idx val="1083"/>
            <c:spPr>
              <a:solidFill>
                <a:srgbClr val="AEABAB"/>
              </a:solidFill>
            </c:spPr>
          </c:dPt>
          <c:dPt>
            <c:idx val="1084"/>
            <c:spPr>
              <a:solidFill>
                <a:srgbClr val="AEABAB"/>
              </a:solidFill>
            </c:spPr>
          </c:dPt>
          <c:dPt>
            <c:idx val="1085"/>
            <c:spPr>
              <a:solidFill>
                <a:srgbClr val="AEABAB"/>
              </a:solidFill>
            </c:spPr>
          </c:dPt>
          <c:dPt>
            <c:idx val="1086"/>
            <c:spPr>
              <a:solidFill>
                <a:srgbClr val="AEABAB"/>
              </a:solidFill>
            </c:spPr>
          </c:dPt>
          <c:dPt>
            <c:idx val="1087"/>
            <c:spPr>
              <a:solidFill>
                <a:srgbClr val="AEABAB"/>
              </a:solidFill>
            </c:spPr>
          </c:dPt>
          <c:dPt>
            <c:idx val="1088"/>
            <c:spPr>
              <a:solidFill>
                <a:srgbClr val="AEABAB"/>
              </a:solidFill>
            </c:spPr>
          </c:dPt>
          <c:dPt>
            <c:idx val="1089"/>
            <c:spPr>
              <a:solidFill>
                <a:srgbClr val="AEABAB"/>
              </a:solidFill>
            </c:spPr>
          </c:dPt>
          <c:dPt>
            <c:idx val="1090"/>
            <c:spPr>
              <a:solidFill>
                <a:srgbClr val="AEABAB"/>
              </a:solidFill>
            </c:spPr>
          </c:dPt>
          <c:dPt>
            <c:idx val="1091"/>
            <c:spPr>
              <a:solidFill>
                <a:srgbClr val="AEABAB"/>
              </a:solidFill>
            </c:spPr>
          </c:dPt>
          <c:dPt>
            <c:idx val="1092"/>
            <c:spPr>
              <a:solidFill>
                <a:srgbClr val="AEABAB"/>
              </a:solidFill>
            </c:spPr>
          </c:dPt>
          <c:dPt>
            <c:idx val="1093"/>
            <c:spPr>
              <a:solidFill>
                <a:srgbClr val="AEABAB"/>
              </a:solidFill>
            </c:spPr>
          </c:dPt>
          <c:dPt>
            <c:idx val="1094"/>
            <c:spPr>
              <a:solidFill>
                <a:srgbClr val="AEABAB"/>
              </a:solidFill>
            </c:spPr>
          </c:dPt>
          <c:dPt>
            <c:idx val="1095"/>
            <c:spPr>
              <a:solidFill>
                <a:srgbClr val="AEABAB"/>
              </a:solidFill>
            </c:spPr>
          </c:dPt>
          <c:dPt>
            <c:idx val="1096"/>
            <c:spPr>
              <a:solidFill>
                <a:srgbClr val="AEABAB"/>
              </a:solidFill>
            </c:spPr>
          </c:dPt>
          <c:dPt>
            <c:idx val="1097"/>
            <c:spPr>
              <a:solidFill>
                <a:srgbClr val="AEABAB"/>
              </a:solidFill>
            </c:spPr>
          </c:dPt>
          <c:dPt>
            <c:idx val="1098"/>
            <c:spPr>
              <a:solidFill>
                <a:srgbClr val="AEABAB"/>
              </a:solidFill>
            </c:spPr>
          </c:dPt>
          <c:dPt>
            <c:idx val="1099"/>
            <c:spPr>
              <a:solidFill>
                <a:srgbClr val="AEABAB"/>
              </a:solidFill>
            </c:spPr>
          </c:dPt>
          <c:dPt>
            <c:idx val="1100"/>
            <c:spPr>
              <a:solidFill>
                <a:srgbClr val="AEABAB"/>
              </a:solidFill>
            </c:spPr>
          </c:dPt>
          <c:dPt>
            <c:idx val="1101"/>
            <c:spPr>
              <a:solidFill>
                <a:srgbClr val="AEABAB"/>
              </a:solidFill>
            </c:spPr>
          </c:dPt>
          <c:dPt>
            <c:idx val="1102"/>
            <c:spPr>
              <a:solidFill>
                <a:srgbClr val="AEABAB"/>
              </a:solidFill>
            </c:spPr>
          </c:dPt>
          <c:dPt>
            <c:idx val="1103"/>
            <c:spPr>
              <a:solidFill>
                <a:srgbClr val="AEABAB"/>
              </a:solidFill>
            </c:spPr>
          </c:dPt>
          <c:dPt>
            <c:idx val="1104"/>
            <c:spPr>
              <a:solidFill>
                <a:srgbClr val="AEABAB"/>
              </a:solidFill>
            </c:spPr>
          </c:dPt>
          <c:dPt>
            <c:idx val="1105"/>
            <c:spPr>
              <a:solidFill>
                <a:srgbClr val="AEABAB"/>
              </a:solidFill>
            </c:spPr>
          </c:dPt>
          <c:dPt>
            <c:idx val="1106"/>
            <c:spPr>
              <a:solidFill>
                <a:srgbClr val="AEABAB"/>
              </a:solidFill>
            </c:spPr>
          </c:dPt>
          <c:dPt>
            <c:idx val="1107"/>
            <c:spPr>
              <a:solidFill>
                <a:srgbClr val="AEABAB"/>
              </a:solidFill>
            </c:spPr>
          </c:dPt>
          <c:dPt>
            <c:idx val="1108"/>
            <c:spPr>
              <a:solidFill>
                <a:srgbClr val="AEABAB"/>
              </a:solidFill>
            </c:spPr>
          </c:dPt>
          <c:dPt>
            <c:idx val="1109"/>
            <c:spPr>
              <a:solidFill>
                <a:srgbClr val="AEABAB"/>
              </a:solidFill>
            </c:spPr>
          </c:dPt>
          <c:dPt>
            <c:idx val="1110"/>
            <c:spPr>
              <a:solidFill>
                <a:srgbClr val="AEABAB"/>
              </a:solidFill>
            </c:spPr>
          </c:dPt>
          <c:dPt>
            <c:idx val="1111"/>
            <c:spPr>
              <a:solidFill>
                <a:srgbClr val="AEABAB"/>
              </a:solidFill>
            </c:spPr>
          </c:dPt>
          <c:dPt>
            <c:idx val="1112"/>
            <c:spPr>
              <a:solidFill>
                <a:srgbClr val="AEABAB"/>
              </a:solidFill>
            </c:spPr>
          </c:dPt>
          <c:dPt>
            <c:idx val="1113"/>
            <c:spPr>
              <a:solidFill>
                <a:srgbClr val="AEABAB"/>
              </a:solidFill>
            </c:spPr>
          </c:dPt>
          <c:dPt>
            <c:idx val="1114"/>
            <c:spPr>
              <a:solidFill>
                <a:srgbClr val="AEABAB"/>
              </a:solidFill>
            </c:spPr>
          </c:dPt>
          <c:dPt>
            <c:idx val="1115"/>
            <c:spPr>
              <a:solidFill>
                <a:srgbClr val="AEABAB"/>
              </a:solidFill>
            </c:spPr>
          </c:dPt>
          <c:dPt>
            <c:idx val="1116"/>
            <c:spPr>
              <a:solidFill>
                <a:srgbClr val="AEABAB"/>
              </a:solidFill>
            </c:spPr>
          </c:dPt>
          <c:dPt>
            <c:idx val="1117"/>
            <c:spPr>
              <a:solidFill>
                <a:srgbClr val="AEABAB"/>
              </a:solidFill>
            </c:spPr>
          </c:dPt>
          <c:dPt>
            <c:idx val="1118"/>
            <c:spPr>
              <a:solidFill>
                <a:srgbClr val="AEABAB"/>
              </a:solidFill>
            </c:spPr>
          </c:dPt>
          <c:dPt>
            <c:idx val="1119"/>
            <c:spPr>
              <a:solidFill>
                <a:srgbClr val="AEABAB"/>
              </a:solidFill>
            </c:spPr>
          </c:dPt>
          <c:dPt>
            <c:idx val="1120"/>
            <c:spPr>
              <a:solidFill>
                <a:srgbClr val="AEABAB"/>
              </a:solidFill>
            </c:spPr>
          </c:dPt>
          <c:dPt>
            <c:idx val="1121"/>
            <c:spPr>
              <a:solidFill>
                <a:srgbClr val="AEABAB"/>
              </a:solidFill>
            </c:spPr>
          </c:dPt>
          <c:dPt>
            <c:idx val="1122"/>
            <c:spPr>
              <a:solidFill>
                <a:srgbClr val="AEABAB"/>
              </a:solidFill>
            </c:spPr>
          </c:dPt>
          <c:dPt>
            <c:idx val="1123"/>
            <c:spPr>
              <a:solidFill>
                <a:srgbClr val="AEABAB"/>
              </a:solidFill>
            </c:spPr>
          </c:dPt>
          <c:dPt>
            <c:idx val="1124"/>
            <c:spPr>
              <a:solidFill>
                <a:srgbClr val="AEABAB"/>
              </a:solidFill>
            </c:spPr>
          </c:dPt>
          <c:dPt>
            <c:idx val="1125"/>
            <c:spPr>
              <a:solidFill>
                <a:srgbClr val="AEABAB"/>
              </a:solidFill>
            </c:spPr>
          </c:dPt>
          <c:dPt>
            <c:idx val="1126"/>
            <c:spPr>
              <a:solidFill>
                <a:srgbClr val="AEABAB"/>
              </a:solidFill>
            </c:spPr>
          </c:dPt>
          <c:dPt>
            <c:idx val="1127"/>
            <c:spPr>
              <a:solidFill>
                <a:srgbClr val="AEABAB"/>
              </a:solidFill>
            </c:spPr>
          </c:dPt>
          <c:dPt>
            <c:idx val="1128"/>
            <c:spPr>
              <a:solidFill>
                <a:srgbClr val="AEABAB"/>
              </a:solidFill>
            </c:spPr>
          </c:dPt>
          <c:dPt>
            <c:idx val="1129"/>
            <c:spPr>
              <a:solidFill>
                <a:srgbClr val="AEABAB"/>
              </a:solidFill>
            </c:spPr>
          </c:dPt>
          <c:dPt>
            <c:idx val="1130"/>
            <c:spPr>
              <a:solidFill>
                <a:srgbClr val="AEABAB"/>
              </a:solidFill>
            </c:spPr>
          </c:dPt>
          <c:dPt>
            <c:idx val="1131"/>
            <c:spPr>
              <a:solidFill>
                <a:srgbClr val="AEABAB"/>
              </a:solidFill>
            </c:spPr>
          </c:dPt>
          <c:dPt>
            <c:idx val="1132"/>
            <c:spPr>
              <a:solidFill>
                <a:srgbClr val="AEABAB"/>
              </a:solidFill>
            </c:spPr>
          </c:dPt>
          <c:dPt>
            <c:idx val="1133"/>
            <c:spPr>
              <a:solidFill>
                <a:srgbClr val="AEABAB"/>
              </a:solidFill>
            </c:spPr>
          </c:dPt>
          <c:dPt>
            <c:idx val="1134"/>
            <c:spPr>
              <a:solidFill>
                <a:srgbClr val="AEABAB"/>
              </a:solidFill>
            </c:spPr>
          </c:dPt>
          <c:dPt>
            <c:idx val="1135"/>
            <c:spPr>
              <a:solidFill>
                <a:srgbClr val="AEABAB"/>
              </a:solidFill>
            </c:spPr>
          </c:dPt>
          <c:dPt>
            <c:idx val="1136"/>
            <c:spPr>
              <a:solidFill>
                <a:srgbClr val="AEABAB"/>
              </a:solidFill>
            </c:spPr>
          </c:dPt>
          <c:dPt>
            <c:idx val="1137"/>
            <c:spPr>
              <a:solidFill>
                <a:srgbClr val="AEABAB"/>
              </a:solidFill>
            </c:spPr>
          </c:dPt>
          <c:dPt>
            <c:idx val="1138"/>
            <c:spPr>
              <a:solidFill>
                <a:srgbClr val="AEABAB"/>
              </a:solidFill>
            </c:spPr>
          </c:dPt>
          <c:dPt>
            <c:idx val="1139"/>
            <c:spPr>
              <a:solidFill>
                <a:srgbClr val="AEABAB"/>
              </a:solidFill>
            </c:spPr>
          </c:dPt>
          <c:dPt>
            <c:idx val="1140"/>
            <c:spPr>
              <a:solidFill>
                <a:srgbClr val="AEABAB"/>
              </a:solidFill>
            </c:spPr>
          </c:dPt>
          <c:dPt>
            <c:idx val="1141"/>
            <c:spPr>
              <a:solidFill>
                <a:srgbClr val="AEABAB"/>
              </a:solidFill>
            </c:spPr>
          </c:dPt>
          <c:dPt>
            <c:idx val="1142"/>
            <c:spPr>
              <a:solidFill>
                <a:srgbClr val="AEABAB"/>
              </a:solidFill>
            </c:spPr>
          </c:dPt>
          <c:dPt>
            <c:idx val="1143"/>
            <c:spPr>
              <a:solidFill>
                <a:srgbClr val="AEABAB"/>
              </a:solidFill>
            </c:spPr>
          </c:dPt>
          <c:dPt>
            <c:idx val="1144"/>
            <c:spPr>
              <a:solidFill>
                <a:srgbClr val="AEABAB"/>
              </a:solidFill>
            </c:spPr>
          </c:dPt>
          <c:dPt>
            <c:idx val="1145"/>
            <c:spPr>
              <a:solidFill>
                <a:srgbClr val="AEABAB"/>
              </a:solidFill>
            </c:spPr>
          </c:dPt>
          <c:dPt>
            <c:idx val="1146"/>
            <c:spPr>
              <a:solidFill>
                <a:srgbClr val="AEABAB"/>
              </a:solidFill>
            </c:spPr>
          </c:dPt>
          <c:dPt>
            <c:idx val="1147"/>
            <c:spPr>
              <a:solidFill>
                <a:srgbClr val="AEABAB"/>
              </a:solidFill>
            </c:spPr>
          </c:dPt>
          <c:dPt>
            <c:idx val="1148"/>
            <c:spPr>
              <a:solidFill>
                <a:srgbClr val="AEABAB"/>
              </a:solidFill>
            </c:spPr>
          </c:dPt>
          <c:dPt>
            <c:idx val="1149"/>
            <c:spPr>
              <a:solidFill>
                <a:srgbClr val="AEABAB"/>
              </a:solidFill>
            </c:spPr>
          </c:dPt>
          <c:dPt>
            <c:idx val="1150"/>
            <c:spPr>
              <a:solidFill>
                <a:srgbClr val="AEABAB"/>
              </a:solidFill>
            </c:spPr>
          </c:dPt>
          <c:dPt>
            <c:idx val="1151"/>
            <c:spPr>
              <a:solidFill>
                <a:srgbClr val="AEABAB"/>
              </a:solidFill>
            </c:spPr>
          </c:dPt>
          <c:dPt>
            <c:idx val="1152"/>
            <c:spPr>
              <a:solidFill>
                <a:srgbClr val="AEABAB"/>
              </a:solidFill>
            </c:spPr>
          </c:dPt>
          <c:dPt>
            <c:idx val="1153"/>
            <c:spPr>
              <a:solidFill>
                <a:srgbClr val="AEABAB"/>
              </a:solidFill>
            </c:spPr>
          </c:dPt>
          <c:dPt>
            <c:idx val="1154"/>
            <c:spPr>
              <a:solidFill>
                <a:srgbClr val="AEABAB"/>
              </a:solidFill>
            </c:spPr>
          </c:dPt>
          <c:dPt>
            <c:idx val="1155"/>
            <c:spPr>
              <a:solidFill>
                <a:srgbClr val="AEABAB"/>
              </a:solidFill>
            </c:spPr>
          </c:dPt>
          <c:dPt>
            <c:idx val="1156"/>
            <c:spPr>
              <a:solidFill>
                <a:srgbClr val="AEABAB"/>
              </a:solidFill>
            </c:spPr>
          </c:dPt>
          <c:dPt>
            <c:idx val="1157"/>
            <c:spPr>
              <a:solidFill>
                <a:srgbClr val="AEABAB"/>
              </a:solidFill>
            </c:spPr>
          </c:dPt>
          <c:dPt>
            <c:idx val="1158"/>
            <c:spPr>
              <a:solidFill>
                <a:srgbClr val="AEABAB"/>
              </a:solidFill>
            </c:spPr>
          </c:dPt>
          <c:dPt>
            <c:idx val="1159"/>
            <c:spPr>
              <a:solidFill>
                <a:srgbClr val="AEABAB"/>
              </a:solidFill>
            </c:spPr>
          </c:dPt>
          <c:dPt>
            <c:idx val="1160"/>
            <c:spPr>
              <a:solidFill>
                <a:srgbClr val="AEABAB"/>
              </a:solidFill>
            </c:spPr>
          </c:dPt>
          <c:dPt>
            <c:idx val="1161"/>
            <c:spPr>
              <a:solidFill>
                <a:srgbClr val="AEABAB"/>
              </a:solidFill>
            </c:spPr>
          </c:dPt>
          <c:dPt>
            <c:idx val="1162"/>
            <c:spPr>
              <a:solidFill>
                <a:srgbClr val="AEABAB"/>
              </a:solidFill>
            </c:spPr>
          </c:dPt>
          <c:dPt>
            <c:idx val="1163"/>
            <c:spPr>
              <a:solidFill>
                <a:srgbClr val="AEABAB"/>
              </a:solidFill>
            </c:spPr>
          </c:dPt>
          <c:dPt>
            <c:idx val="1164"/>
            <c:spPr>
              <a:solidFill>
                <a:srgbClr val="AEABAB"/>
              </a:solidFill>
            </c:spPr>
          </c:dPt>
          <c:dPt>
            <c:idx val="1165"/>
            <c:spPr>
              <a:solidFill>
                <a:srgbClr val="AEABAB"/>
              </a:solidFill>
            </c:spPr>
          </c:dPt>
          <c:dPt>
            <c:idx val="1166"/>
            <c:spPr>
              <a:solidFill>
                <a:srgbClr val="AEABAB"/>
              </a:solidFill>
            </c:spPr>
          </c:dPt>
          <c:dPt>
            <c:idx val="1167"/>
            <c:spPr>
              <a:solidFill>
                <a:srgbClr val="AEABAB"/>
              </a:solidFill>
            </c:spPr>
          </c:dPt>
          <c:dPt>
            <c:idx val="1168"/>
            <c:spPr>
              <a:solidFill>
                <a:srgbClr val="AEABAB"/>
              </a:solidFill>
            </c:spPr>
          </c:dPt>
          <c:dPt>
            <c:idx val="1169"/>
            <c:spPr>
              <a:solidFill>
                <a:srgbClr val="AEABAB"/>
              </a:solidFill>
            </c:spPr>
          </c:dPt>
          <c:dPt>
            <c:idx val="1170"/>
            <c:spPr>
              <a:solidFill>
                <a:srgbClr val="AEABAB"/>
              </a:solidFill>
            </c:spPr>
          </c:dPt>
          <c:dPt>
            <c:idx val="1171"/>
            <c:spPr>
              <a:solidFill>
                <a:srgbClr val="AEABAB"/>
              </a:solidFill>
            </c:spPr>
          </c:dPt>
          <c:dPt>
            <c:idx val="1172"/>
            <c:spPr>
              <a:solidFill>
                <a:srgbClr val="AEABAB"/>
              </a:solidFill>
            </c:spPr>
          </c:dPt>
          <c:dPt>
            <c:idx val="1173"/>
            <c:spPr>
              <a:solidFill>
                <a:srgbClr val="AEABAB"/>
              </a:solidFill>
            </c:spPr>
          </c:dPt>
          <c:dPt>
            <c:idx val="1174"/>
            <c:spPr>
              <a:solidFill>
                <a:srgbClr val="AEABAB"/>
              </a:solidFill>
            </c:spPr>
          </c:dPt>
          <c:dPt>
            <c:idx val="1175"/>
            <c:spPr>
              <a:solidFill>
                <a:srgbClr val="AEABAB"/>
              </a:solidFill>
            </c:spPr>
          </c:dPt>
          <c:dPt>
            <c:idx val="1176"/>
            <c:spPr>
              <a:solidFill>
                <a:srgbClr val="AEABAB"/>
              </a:solidFill>
            </c:spPr>
          </c:dPt>
          <c:dPt>
            <c:idx val="1177"/>
            <c:spPr>
              <a:solidFill>
                <a:srgbClr val="AEABAB"/>
              </a:solidFill>
            </c:spPr>
          </c:dPt>
          <c:dPt>
            <c:idx val="1178"/>
            <c:spPr>
              <a:solidFill>
                <a:srgbClr val="AEABAB"/>
              </a:solidFill>
            </c:spPr>
          </c:dPt>
          <c:dPt>
            <c:idx val="1179"/>
            <c:spPr>
              <a:solidFill>
                <a:srgbClr val="AEABAB"/>
              </a:solidFill>
            </c:spPr>
          </c:dPt>
          <c:dPt>
            <c:idx val="1180"/>
            <c:spPr>
              <a:solidFill>
                <a:srgbClr val="AEABAB"/>
              </a:solidFill>
            </c:spPr>
          </c:dPt>
          <c:dPt>
            <c:idx val="1181"/>
            <c:spPr>
              <a:solidFill>
                <a:srgbClr val="AEABAB"/>
              </a:solidFill>
            </c:spPr>
          </c:dPt>
          <c:dPt>
            <c:idx val="1182"/>
            <c:spPr>
              <a:solidFill>
                <a:srgbClr val="AEABAB"/>
              </a:solidFill>
            </c:spPr>
          </c:dPt>
          <c:dPt>
            <c:idx val="1183"/>
            <c:spPr>
              <a:solidFill>
                <a:srgbClr val="AEABAB"/>
              </a:solidFill>
            </c:spPr>
          </c:dPt>
          <c:dPt>
            <c:idx val="1184"/>
            <c:spPr>
              <a:solidFill>
                <a:srgbClr val="AEABAB"/>
              </a:solidFill>
            </c:spPr>
          </c:dPt>
          <c:dPt>
            <c:idx val="1185"/>
            <c:spPr>
              <a:solidFill>
                <a:srgbClr val="AEABAB"/>
              </a:solidFill>
            </c:spPr>
          </c:dPt>
          <c:dPt>
            <c:idx val="1186"/>
            <c:spPr>
              <a:solidFill>
                <a:srgbClr val="AEABAB"/>
              </a:solidFill>
            </c:spPr>
          </c:dPt>
          <c:dPt>
            <c:idx val="1187"/>
            <c:spPr>
              <a:solidFill>
                <a:srgbClr val="AEABAB"/>
              </a:solidFill>
            </c:spPr>
          </c:dPt>
          <c:dPt>
            <c:idx val="1188"/>
            <c:spPr>
              <a:solidFill>
                <a:srgbClr val="AEABAB"/>
              </a:solidFill>
            </c:spPr>
          </c:dPt>
          <c:dPt>
            <c:idx val="1189"/>
            <c:spPr>
              <a:solidFill>
                <a:srgbClr val="AEABAB"/>
              </a:solidFill>
            </c:spPr>
          </c:dPt>
          <c:dPt>
            <c:idx val="1190"/>
            <c:spPr>
              <a:solidFill>
                <a:srgbClr val="AEABAB"/>
              </a:solidFill>
            </c:spPr>
          </c:dPt>
          <c:dPt>
            <c:idx val="1191"/>
            <c:spPr>
              <a:solidFill>
                <a:srgbClr val="AEABAB"/>
              </a:solidFill>
            </c:spPr>
          </c:dPt>
          <c:dPt>
            <c:idx val="1192"/>
            <c:spPr>
              <a:solidFill>
                <a:srgbClr val="AEABAB"/>
              </a:solidFill>
            </c:spPr>
          </c:dPt>
          <c:dPt>
            <c:idx val="1193"/>
            <c:spPr>
              <a:solidFill>
                <a:srgbClr val="AEABAB"/>
              </a:solidFill>
            </c:spPr>
          </c:dPt>
          <c:dPt>
            <c:idx val="1194"/>
            <c:spPr>
              <a:solidFill>
                <a:srgbClr val="AEABAB"/>
              </a:solidFill>
            </c:spPr>
          </c:dPt>
          <c:dPt>
            <c:idx val="1195"/>
            <c:spPr>
              <a:solidFill>
                <a:srgbClr val="AEABAB"/>
              </a:solidFill>
            </c:spPr>
          </c:dPt>
          <c:dPt>
            <c:idx val="1196"/>
            <c:spPr>
              <a:solidFill>
                <a:srgbClr val="AEABAB"/>
              </a:solidFill>
            </c:spPr>
          </c:dPt>
          <c:dPt>
            <c:idx val="1197"/>
            <c:spPr>
              <a:solidFill>
                <a:srgbClr val="AEABAB"/>
              </a:solidFill>
            </c:spPr>
          </c:dPt>
          <c:dPt>
            <c:idx val="1198"/>
            <c:spPr>
              <a:solidFill>
                <a:srgbClr val="AEABAB"/>
              </a:solidFill>
            </c:spPr>
          </c:dPt>
          <c:dPt>
            <c:idx val="1199"/>
            <c:spPr>
              <a:solidFill>
                <a:srgbClr val="AEABAB"/>
              </a:solidFill>
            </c:spPr>
          </c:dPt>
          <c:dPt>
            <c:idx val="1200"/>
            <c:spPr>
              <a:solidFill>
                <a:srgbClr val="AEABAB"/>
              </a:solidFill>
            </c:spPr>
          </c:dPt>
          <c:dPt>
            <c:idx val="1201"/>
            <c:spPr>
              <a:solidFill>
                <a:srgbClr val="AEABAB"/>
              </a:solidFill>
            </c:spPr>
          </c:dPt>
          <c:dPt>
            <c:idx val="1202"/>
            <c:spPr>
              <a:solidFill>
                <a:srgbClr val="AEABAB"/>
              </a:solidFill>
            </c:spPr>
          </c:dPt>
          <c:dPt>
            <c:idx val="1203"/>
            <c:spPr>
              <a:solidFill>
                <a:srgbClr val="AEABAB"/>
              </a:solidFill>
            </c:spPr>
          </c:dPt>
          <c:dPt>
            <c:idx val="1204"/>
            <c:spPr>
              <a:solidFill>
                <a:srgbClr val="AEABAB"/>
              </a:solidFill>
            </c:spPr>
          </c:dPt>
          <c:dPt>
            <c:idx val="1205"/>
            <c:spPr>
              <a:solidFill>
                <a:srgbClr val="AEABAB"/>
              </a:solidFill>
            </c:spPr>
          </c:dPt>
          <c:dPt>
            <c:idx val="1206"/>
            <c:spPr>
              <a:solidFill>
                <a:srgbClr val="AEABAB"/>
              </a:solidFill>
            </c:spPr>
          </c:dPt>
          <c:dPt>
            <c:idx val="1207"/>
            <c:spPr>
              <a:solidFill>
                <a:srgbClr val="AEABAB"/>
              </a:solidFill>
            </c:spPr>
          </c:dPt>
          <c:dPt>
            <c:idx val="1208"/>
            <c:spPr>
              <a:solidFill>
                <a:srgbClr val="AEABAB"/>
              </a:solidFill>
            </c:spPr>
          </c:dPt>
          <c:dPt>
            <c:idx val="1209"/>
            <c:spPr>
              <a:solidFill>
                <a:srgbClr val="AEABAB"/>
              </a:solidFill>
            </c:spPr>
          </c:dPt>
          <c:dPt>
            <c:idx val="1210"/>
            <c:spPr>
              <a:solidFill>
                <a:srgbClr val="AEABAB"/>
              </a:solidFill>
            </c:spPr>
          </c:dPt>
          <c:dPt>
            <c:idx val="1211"/>
            <c:spPr>
              <a:solidFill>
                <a:srgbClr val="AEABAB"/>
              </a:solidFill>
            </c:spPr>
          </c:dPt>
          <c:dPt>
            <c:idx val="1212"/>
            <c:spPr>
              <a:solidFill>
                <a:srgbClr val="AEABAB"/>
              </a:solidFill>
            </c:spPr>
          </c:dPt>
          <c:dPt>
            <c:idx val="1213"/>
            <c:spPr>
              <a:solidFill>
                <a:srgbClr val="AEABAB"/>
              </a:solidFill>
            </c:spPr>
          </c:dPt>
          <c:dPt>
            <c:idx val="1214"/>
            <c:spPr>
              <a:solidFill>
                <a:srgbClr val="AEABAB"/>
              </a:solidFill>
            </c:spPr>
          </c:dPt>
          <c:dPt>
            <c:idx val="1215"/>
            <c:spPr>
              <a:solidFill>
                <a:srgbClr val="AEABAB"/>
              </a:solidFill>
            </c:spPr>
          </c:dPt>
          <c:dPt>
            <c:idx val="1216"/>
            <c:spPr>
              <a:solidFill>
                <a:srgbClr val="AEABAB"/>
              </a:solidFill>
            </c:spPr>
          </c:dPt>
          <c:dPt>
            <c:idx val="1217"/>
            <c:spPr>
              <a:solidFill>
                <a:srgbClr val="AEABAB"/>
              </a:solidFill>
            </c:spPr>
          </c:dPt>
          <c:dPt>
            <c:idx val="1218"/>
            <c:spPr>
              <a:solidFill>
                <a:srgbClr val="AEABAB"/>
              </a:solidFill>
            </c:spPr>
          </c:dPt>
          <c:dPt>
            <c:idx val="1219"/>
            <c:spPr>
              <a:solidFill>
                <a:srgbClr val="AEABAB"/>
              </a:solidFill>
            </c:spPr>
          </c:dPt>
          <c:dPt>
            <c:idx val="1220"/>
            <c:spPr>
              <a:solidFill>
                <a:srgbClr val="AEABAB"/>
              </a:solidFill>
            </c:spPr>
          </c:dPt>
          <c:dPt>
            <c:idx val="1221"/>
            <c:spPr>
              <a:solidFill>
                <a:srgbClr val="AEABAB"/>
              </a:solidFill>
            </c:spPr>
          </c:dPt>
          <c:dPt>
            <c:idx val="1222"/>
            <c:spPr>
              <a:solidFill>
                <a:srgbClr val="AEABAB"/>
              </a:solidFill>
            </c:spPr>
          </c:dPt>
          <c:dPt>
            <c:idx val="1223"/>
            <c:spPr>
              <a:solidFill>
                <a:srgbClr val="AEABAB"/>
              </a:solidFill>
            </c:spPr>
          </c:dPt>
          <c:dPt>
            <c:idx val="1224"/>
            <c:spPr>
              <a:solidFill>
                <a:srgbClr val="AEABAB"/>
              </a:solidFill>
            </c:spPr>
          </c:dPt>
          <c:dPt>
            <c:idx val="1225"/>
            <c:spPr>
              <a:solidFill>
                <a:srgbClr val="AEABAB"/>
              </a:solidFill>
            </c:spPr>
          </c:dPt>
          <c:dPt>
            <c:idx val="1226"/>
            <c:spPr>
              <a:solidFill>
                <a:srgbClr val="AEABAB"/>
              </a:solidFill>
            </c:spPr>
          </c:dPt>
          <c:dPt>
            <c:idx val="1227"/>
            <c:spPr>
              <a:solidFill>
                <a:srgbClr val="AEABAB"/>
              </a:solidFill>
            </c:spPr>
          </c:dPt>
          <c:dPt>
            <c:idx val="1228"/>
            <c:spPr>
              <a:solidFill>
                <a:srgbClr val="AEABAB"/>
              </a:solidFill>
            </c:spPr>
          </c:dPt>
          <c:dPt>
            <c:idx val="1229"/>
            <c:spPr>
              <a:solidFill>
                <a:srgbClr val="AEABAB"/>
              </a:solidFill>
            </c:spPr>
          </c:dPt>
          <c:dPt>
            <c:idx val="1230"/>
            <c:spPr>
              <a:solidFill>
                <a:srgbClr val="AEABAB"/>
              </a:solidFill>
            </c:spPr>
          </c:dPt>
          <c:dPt>
            <c:idx val="1231"/>
            <c:spPr>
              <a:solidFill>
                <a:srgbClr val="AEABAB"/>
              </a:solidFill>
            </c:spPr>
          </c:dPt>
          <c:dPt>
            <c:idx val="1232"/>
            <c:spPr>
              <a:solidFill>
                <a:srgbClr val="AEABAB"/>
              </a:solidFill>
            </c:spPr>
          </c:dPt>
          <c:dPt>
            <c:idx val="1233"/>
            <c:spPr>
              <a:solidFill>
                <a:srgbClr val="AEABAB"/>
              </a:solidFill>
            </c:spPr>
          </c:dPt>
          <c:dPt>
            <c:idx val="1234"/>
            <c:spPr>
              <a:solidFill>
                <a:srgbClr val="AEABAB"/>
              </a:solidFill>
            </c:spPr>
          </c:dPt>
          <c:dPt>
            <c:idx val="1235"/>
            <c:spPr>
              <a:solidFill>
                <a:srgbClr val="AEABAB"/>
              </a:solidFill>
            </c:spPr>
          </c:dPt>
          <c:dPt>
            <c:idx val="1236"/>
            <c:spPr>
              <a:solidFill>
                <a:srgbClr val="AEABAB"/>
              </a:solidFill>
            </c:spPr>
          </c:dPt>
          <c:dPt>
            <c:idx val="1237"/>
            <c:spPr>
              <a:solidFill>
                <a:srgbClr val="AEABAB"/>
              </a:solidFill>
            </c:spPr>
          </c:dPt>
          <c:dPt>
            <c:idx val="1238"/>
            <c:spPr>
              <a:solidFill>
                <a:srgbClr val="AEABAB"/>
              </a:solidFill>
            </c:spPr>
          </c:dPt>
          <c:dPt>
            <c:idx val="1239"/>
            <c:spPr>
              <a:solidFill>
                <a:srgbClr val="AEABAB"/>
              </a:solidFill>
            </c:spPr>
          </c:dPt>
          <c:dPt>
            <c:idx val="1240"/>
            <c:spPr>
              <a:solidFill>
                <a:srgbClr val="AEABAB"/>
              </a:solidFill>
            </c:spPr>
          </c:dPt>
          <c:dPt>
            <c:idx val="1241"/>
            <c:spPr>
              <a:solidFill>
                <a:srgbClr val="AEABAB"/>
              </a:solidFill>
            </c:spPr>
          </c:dPt>
          <c:dPt>
            <c:idx val="1242"/>
            <c:spPr>
              <a:solidFill>
                <a:srgbClr val="AEABAB"/>
              </a:solidFill>
            </c:spPr>
          </c:dPt>
          <c:dPt>
            <c:idx val="1243"/>
            <c:spPr>
              <a:solidFill>
                <a:srgbClr val="AEABAB"/>
              </a:solidFill>
            </c:spPr>
          </c:dPt>
          <c:dPt>
            <c:idx val="1244"/>
            <c:spPr>
              <a:solidFill>
                <a:srgbClr val="AEABAB"/>
              </a:solidFill>
            </c:spPr>
          </c:dPt>
          <c:dPt>
            <c:idx val="1245"/>
            <c:spPr>
              <a:solidFill>
                <a:srgbClr val="AEABAB"/>
              </a:solidFill>
            </c:spPr>
          </c:dPt>
          <c:dPt>
            <c:idx val="1246"/>
            <c:spPr>
              <a:solidFill>
                <a:srgbClr val="AEABAB"/>
              </a:solidFill>
            </c:spPr>
          </c:dPt>
          <c:dPt>
            <c:idx val="1247"/>
            <c:spPr>
              <a:solidFill>
                <a:srgbClr val="AEABAB"/>
              </a:solidFill>
            </c:spPr>
          </c:dPt>
          <c:dPt>
            <c:idx val="1248"/>
            <c:spPr>
              <a:solidFill>
                <a:srgbClr val="AEABAB"/>
              </a:solidFill>
            </c:spPr>
          </c:dPt>
          <c:dPt>
            <c:idx val="1249"/>
            <c:spPr>
              <a:solidFill>
                <a:srgbClr val="AEABAB"/>
              </a:solidFill>
            </c:spPr>
          </c:dPt>
          <c:dPt>
            <c:idx val="1250"/>
            <c:spPr>
              <a:solidFill>
                <a:srgbClr val="AEABAB"/>
              </a:solidFill>
            </c:spPr>
          </c:dPt>
          <c:dPt>
            <c:idx val="1251"/>
            <c:spPr>
              <a:solidFill>
                <a:srgbClr val="AEABAB"/>
              </a:solidFill>
            </c:spPr>
          </c:dPt>
          <c:dPt>
            <c:idx val="1252"/>
            <c:spPr>
              <a:solidFill>
                <a:srgbClr val="AEABAB"/>
              </a:solidFill>
            </c:spPr>
          </c:dPt>
          <c:dPt>
            <c:idx val="1253"/>
            <c:spPr>
              <a:solidFill>
                <a:srgbClr val="AEABAB"/>
              </a:solidFill>
            </c:spPr>
          </c:dPt>
          <c:dPt>
            <c:idx val="1254"/>
            <c:spPr>
              <a:solidFill>
                <a:srgbClr val="AEABAB"/>
              </a:solidFill>
            </c:spPr>
          </c:dPt>
          <c:dPt>
            <c:idx val="1255"/>
            <c:spPr>
              <a:solidFill>
                <a:srgbClr val="AEABAB"/>
              </a:solidFill>
            </c:spPr>
          </c:dPt>
          <c:dPt>
            <c:idx val="1256"/>
            <c:spPr>
              <a:solidFill>
                <a:srgbClr val="AEABAB"/>
              </a:solidFill>
            </c:spPr>
          </c:dPt>
          <c:dPt>
            <c:idx val="1257"/>
            <c:spPr>
              <a:solidFill>
                <a:srgbClr val="AEABAB"/>
              </a:solidFill>
            </c:spPr>
          </c:dPt>
          <c:dPt>
            <c:idx val="1258"/>
            <c:spPr>
              <a:solidFill>
                <a:srgbClr val="AEABAB"/>
              </a:solidFill>
            </c:spPr>
          </c:dPt>
          <c:dPt>
            <c:idx val="1259"/>
            <c:spPr>
              <a:solidFill>
                <a:srgbClr val="AEABAB"/>
              </a:solidFill>
            </c:spPr>
          </c:dPt>
          <c:dPt>
            <c:idx val="1260"/>
            <c:spPr>
              <a:solidFill>
                <a:srgbClr val="AEABAB"/>
              </a:solidFill>
            </c:spPr>
          </c:dPt>
          <c:dPt>
            <c:idx val="1261"/>
            <c:spPr>
              <a:solidFill>
                <a:srgbClr val="AEABAB"/>
              </a:solidFill>
            </c:spPr>
          </c:dPt>
          <c:cat>
            <c:strRef>
              <c:f>Sheet1!$A$2:$A$1263</c:f>
              <c:strCache>
                <c:ptCount val="1262"/>
                <c:pt idx="0">
                  <c:v>Private Lab</c:v>
                </c:pt>
                <c:pt idx="1">
                  <c:v>Private Lab</c:v>
                </c:pt>
                <c:pt idx="2">
                  <c:v>Private Lab</c:v>
                </c:pt>
                <c:pt idx="3">
                  <c:v>Private Lab</c:v>
                </c:pt>
                <c:pt idx="4">
                  <c:v>Private Lab</c:v>
                </c:pt>
                <c:pt idx="5">
                  <c:v>Private Lab</c:v>
                </c:pt>
                <c:pt idx="6">
                  <c:v>Private Lab</c:v>
                </c:pt>
                <c:pt idx="7">
                  <c:v>Private Lab</c:v>
                </c:pt>
                <c:pt idx="8">
                  <c:v>Private Lab</c:v>
                </c:pt>
                <c:pt idx="9">
                  <c:v>Caprice Des</c:v>
                </c:pt>
                <c:pt idx="10">
                  <c:v>Private Lab</c:v>
                </c:pt>
                <c:pt idx="11">
                  <c:v>Private Lab</c:v>
                </c:pt>
                <c:pt idx="12">
                  <c:v>Private Lab</c:v>
                </c:pt>
                <c:pt idx="13">
                  <c:v>Private Lab</c:v>
                </c:pt>
                <c:pt idx="14">
                  <c:v>Private Lab</c:v>
                </c:pt>
                <c:pt idx="15">
                  <c:v>Private Lab</c:v>
                </c:pt>
                <c:pt idx="16">
                  <c:v>President</c:v>
                </c:pt>
                <c:pt idx="17">
                  <c:v>Private Lab</c:v>
                </c:pt>
                <c:pt idx="18">
                  <c:v>Soignon</c:v>
                </c:pt>
                <c:pt idx="19">
                  <c:v>Private Lab</c:v>
                </c:pt>
                <c:pt idx="20">
                  <c:v>Private Lab</c:v>
                </c:pt>
                <c:pt idx="21">
                  <c:v>President</c:v>
                </c:pt>
                <c:pt idx="22">
                  <c:v>Private Lab</c:v>
                </c:pt>
                <c:pt idx="23">
                  <c:v>Private Lab</c:v>
                </c:pt>
                <c:pt idx="24">
                  <c:v>Private Lab</c:v>
                </c:pt>
                <c:pt idx="25">
                  <c:v>Entremont</c:v>
                </c:pt>
                <c:pt idx="26">
                  <c:v>President</c:v>
                </c:pt>
                <c:pt idx="27">
                  <c:v>Coeur De Li</c:v>
                </c:pt>
                <c:pt idx="28">
                  <c:v>Private Lab</c:v>
                </c:pt>
                <c:pt idx="29">
                  <c:v>Richesmonts</c:v>
                </c:pt>
                <c:pt idx="30">
                  <c:v>Mini Babybe</c:v>
                </c:pt>
                <c:pt idx="31">
                  <c:v>Caprice Des</c:v>
                </c:pt>
                <c:pt idx="32">
                  <c:v>President</c:v>
                </c:pt>
                <c:pt idx="33">
                  <c:v>Entremont</c:v>
                </c:pt>
                <c:pt idx="34">
                  <c:v>Galbani</c:v>
                </c:pt>
                <c:pt idx="35">
                  <c:v>Private Lab</c:v>
                </c:pt>
                <c:pt idx="36">
                  <c:v>Private Lab</c:v>
                </c:pt>
                <c:pt idx="37">
                  <c:v>Chaussee Au</c:v>
                </c:pt>
                <c:pt idx="38">
                  <c:v>Leerdammer</c:v>
                </c:pt>
                <c:pt idx="39">
                  <c:v>Private Lab</c:v>
                </c:pt>
                <c:pt idx="40">
                  <c:v>Private Lab</c:v>
                </c:pt>
                <c:pt idx="41">
                  <c:v>La Vache Qu</c:v>
                </c:pt>
                <c:pt idx="42">
                  <c:v>Le Rustique</c:v>
                </c:pt>
                <c:pt idx="43">
                  <c:v>Mini Babybe</c:v>
                </c:pt>
                <c:pt idx="44">
                  <c:v>St Moret</c:v>
                </c:pt>
                <c:pt idx="45">
                  <c:v>St Moret</c:v>
                </c:pt>
                <c:pt idx="46">
                  <c:v>Private Lab</c:v>
                </c:pt>
                <c:pt idx="47">
                  <c:v>Soignon</c:v>
                </c:pt>
                <c:pt idx="48">
                  <c:v>Private Lab</c:v>
                </c:pt>
                <c:pt idx="49">
                  <c:v>Salakis</c:v>
                </c:pt>
                <c:pt idx="50">
                  <c:v>Private Lab</c:v>
                </c:pt>
                <c:pt idx="51">
                  <c:v>Private Lab</c:v>
                </c:pt>
                <c:pt idx="52">
                  <c:v>President</c:v>
                </c:pt>
                <c:pt idx="53">
                  <c:v>President</c:v>
                </c:pt>
                <c:pt idx="54">
                  <c:v>Private Lab</c:v>
                </c:pt>
                <c:pt idx="55">
                  <c:v>Private Lab</c:v>
                </c:pt>
                <c:pt idx="56">
                  <c:v>Societe</c:v>
                </c:pt>
                <c:pt idx="57">
                  <c:v>Entremont</c:v>
                </c:pt>
                <c:pt idx="58">
                  <c:v>President</c:v>
                </c:pt>
                <c:pt idx="59">
                  <c:v>Private Lab</c:v>
                </c:pt>
                <c:pt idx="60">
                  <c:v>Private Lab</c:v>
                </c:pt>
                <c:pt idx="61">
                  <c:v>Private Lab</c:v>
                </c:pt>
                <c:pt idx="62">
                  <c:v>Private Lab</c:v>
                </c:pt>
                <c:pt idx="63">
                  <c:v>Saint Agur</c:v>
                </c:pt>
                <c:pt idx="64">
                  <c:v>Private Lab</c:v>
                </c:pt>
                <c:pt idx="65">
                  <c:v>Private Lab</c:v>
                </c:pt>
                <c:pt idx="66">
                  <c:v>La Vache Qu</c:v>
                </c:pt>
                <c:pt idx="67">
                  <c:v>President</c:v>
                </c:pt>
                <c:pt idx="68">
                  <c:v>Private Lab</c:v>
                </c:pt>
                <c:pt idx="69">
                  <c:v>Tartare</c:v>
                </c:pt>
                <c:pt idx="70">
                  <c:v>Private Lab</c:v>
                </c:pt>
                <c:pt idx="71">
                  <c:v>Private Lab</c:v>
                </c:pt>
                <c:pt idx="72">
                  <c:v>Private Lab</c:v>
                </c:pt>
                <c:pt idx="73">
                  <c:v>Private Lab</c:v>
                </c:pt>
                <c:pt idx="74">
                  <c:v>Juraflore</c:v>
                </c:pt>
                <c:pt idx="75">
                  <c:v>St Moret</c:v>
                </c:pt>
                <c:pt idx="76">
                  <c:v>St Moret</c:v>
                </c:pt>
                <c:pt idx="77">
                  <c:v>Private Lab</c:v>
                </c:pt>
                <c:pt idx="78">
                  <c:v>Private Lab</c:v>
                </c:pt>
                <c:pt idx="79">
                  <c:v>Private Lab</c:v>
                </c:pt>
                <c:pt idx="80">
                  <c:v>Kiri</c:v>
                </c:pt>
                <c:pt idx="81">
                  <c:v>Private Lab</c:v>
                </c:pt>
                <c:pt idx="82">
                  <c:v>Private Lab</c:v>
                </c:pt>
                <c:pt idx="83">
                  <c:v>Entremont</c:v>
                </c:pt>
                <c:pt idx="84">
                  <c:v>President</c:v>
                </c:pt>
                <c:pt idx="85">
                  <c:v>Private Lab</c:v>
                </c:pt>
                <c:pt idx="86">
                  <c:v>Parmareggio</c:v>
                </c:pt>
                <c:pt idx="87">
                  <c:v>Private Lab</c:v>
                </c:pt>
                <c:pt idx="88">
                  <c:v>Private Lab</c:v>
                </c:pt>
                <c:pt idx="89">
                  <c:v>Entremont</c:v>
                </c:pt>
                <c:pt idx="90">
                  <c:v>Paysan Bret</c:v>
                </c:pt>
                <c:pt idx="91">
                  <c:v>Private Lab</c:v>
                </c:pt>
                <c:pt idx="92">
                  <c:v>Private Lab</c:v>
                </c:pt>
                <c:pt idx="93">
                  <c:v>La Vache Qu</c:v>
                </c:pt>
                <c:pt idx="94">
                  <c:v>Galbani</c:v>
                </c:pt>
                <c:pt idx="95">
                  <c:v>Private Lab</c:v>
                </c:pt>
                <c:pt idx="96">
                  <c:v>Private Lab</c:v>
                </c:pt>
                <c:pt idx="97">
                  <c:v>Private Lab</c:v>
                </c:pt>
                <c:pt idx="98">
                  <c:v>Private Lab</c:v>
                </c:pt>
                <c:pt idx="99">
                  <c:v>Entremont</c:v>
                </c:pt>
                <c:pt idx="100">
                  <c:v>Saint Agur</c:v>
                </c:pt>
                <c:pt idx="101">
                  <c:v>Casa Azzurr</c:v>
                </c:pt>
                <c:pt idx="102">
                  <c:v>Coeur De Li</c:v>
                </c:pt>
                <c:pt idx="103">
                  <c:v>Private Lab</c:v>
                </c:pt>
                <c:pt idx="104">
                  <c:v>Leerdammer</c:v>
                </c:pt>
                <c:pt idx="105">
                  <c:v>Saint Albra</c:v>
                </c:pt>
                <c:pt idx="106">
                  <c:v>Private Lab</c:v>
                </c:pt>
                <c:pt idx="107">
                  <c:v>Private Lab</c:v>
                </c:pt>
                <c:pt idx="108">
                  <c:v>Private Lab</c:v>
                </c:pt>
                <c:pt idx="109">
                  <c:v>Private Lab</c:v>
                </c:pt>
                <c:pt idx="110">
                  <c:v>Entremont</c:v>
                </c:pt>
                <c:pt idx="111">
                  <c:v>Leerdammer</c:v>
                </c:pt>
                <c:pt idx="112">
                  <c:v>Private Lab</c:v>
                </c:pt>
                <c:pt idx="113">
                  <c:v>L'Ortolan</c:v>
                </c:pt>
                <c:pt idx="114">
                  <c:v>Istara</c:v>
                </c:pt>
                <c:pt idx="115">
                  <c:v>Kiri</c:v>
                </c:pt>
                <c:pt idx="116">
                  <c:v>Galbani</c:v>
                </c:pt>
                <c:pt idx="117">
                  <c:v>Private Lab</c:v>
                </c:pt>
                <c:pt idx="118">
                  <c:v>Private Lab</c:v>
                </c:pt>
                <c:pt idx="119">
                  <c:v>Private Lab</c:v>
                </c:pt>
                <c:pt idx="120">
                  <c:v>Private Lab</c:v>
                </c:pt>
                <c:pt idx="121">
                  <c:v>Carre Frais</c:v>
                </c:pt>
                <c:pt idx="122">
                  <c:v>All Others</c:v>
                </c:pt>
                <c:pt idx="123">
                  <c:v>Philadelphi</c:v>
                </c:pt>
                <c:pt idx="124">
                  <c:v>Private Lab</c:v>
                </c:pt>
                <c:pt idx="125">
                  <c:v>Boursin</c:v>
                </c:pt>
                <c:pt idx="126">
                  <c:v>Carre Frais</c:v>
                </c:pt>
                <c:pt idx="127">
                  <c:v>Private Lab</c:v>
                </c:pt>
                <c:pt idx="128">
                  <c:v>Chaussee Au</c:v>
                </c:pt>
                <c:pt idx="129">
                  <c:v>Private Lab</c:v>
                </c:pt>
                <c:pt idx="130">
                  <c:v>Boursin</c:v>
                </c:pt>
                <c:pt idx="131">
                  <c:v>Apericube</c:v>
                </c:pt>
                <c:pt idx="132">
                  <c:v>Galbani</c:v>
                </c:pt>
                <c:pt idx="133">
                  <c:v>Private Lab</c:v>
                </c:pt>
                <c:pt idx="134">
                  <c:v>Private Lab</c:v>
                </c:pt>
                <c:pt idx="135">
                  <c:v>Leerdammer</c:v>
                </c:pt>
                <c:pt idx="136">
                  <c:v>Paysan Bret</c:v>
                </c:pt>
                <c:pt idx="137">
                  <c:v>Lou Perac</c:v>
                </c:pt>
                <c:pt idx="138">
                  <c:v>Entremont</c:v>
                </c:pt>
                <c:pt idx="139">
                  <c:v>Bresse Bleu</c:v>
                </c:pt>
                <c:pt idx="140">
                  <c:v>Galbani</c:v>
                </c:pt>
                <c:pt idx="141">
                  <c:v>Kiri</c:v>
                </c:pt>
                <c:pt idx="142">
                  <c:v>Private Lab</c:v>
                </c:pt>
                <c:pt idx="143">
                  <c:v>Private Lab</c:v>
                </c:pt>
                <c:pt idx="144">
                  <c:v>Private Lab</c:v>
                </c:pt>
                <c:pt idx="145">
                  <c:v>President</c:v>
                </c:pt>
                <c:pt idx="146">
                  <c:v>Ficello</c:v>
                </c:pt>
                <c:pt idx="147">
                  <c:v>Private Lab</c:v>
                </c:pt>
                <c:pt idx="148">
                  <c:v>Soignon</c:v>
                </c:pt>
                <c:pt idx="149">
                  <c:v>Islos</c:v>
                </c:pt>
                <c:pt idx="150">
                  <c:v>Apericube</c:v>
                </c:pt>
                <c:pt idx="151">
                  <c:v>Tartare</c:v>
                </c:pt>
                <c:pt idx="152">
                  <c:v>Lepetit</c:v>
                </c:pt>
                <c:pt idx="153">
                  <c:v>Private Lab</c:v>
                </c:pt>
                <c:pt idx="154">
                  <c:v>Private Lab</c:v>
                </c:pt>
                <c:pt idx="155">
                  <c:v>Philadelphi</c:v>
                </c:pt>
                <c:pt idx="156">
                  <c:v>Private Lab</c:v>
                </c:pt>
                <c:pt idx="157">
                  <c:v>Petit Billy</c:v>
                </c:pt>
                <c:pt idx="158">
                  <c:v>Galbani</c:v>
                </c:pt>
                <c:pt idx="159">
                  <c:v>Private Lab</c:v>
                </c:pt>
                <c:pt idx="160">
                  <c:v>Private Lab</c:v>
                </c:pt>
                <c:pt idx="161">
                  <c:v>Galbani</c:v>
                </c:pt>
                <c:pt idx="162">
                  <c:v>President</c:v>
                </c:pt>
                <c:pt idx="163">
                  <c:v>Private Lab</c:v>
                </c:pt>
                <c:pt idx="164">
                  <c:v>Private Lab</c:v>
                </c:pt>
                <c:pt idx="165">
                  <c:v>Private Lab</c:v>
                </c:pt>
                <c:pt idx="166">
                  <c:v>Private Lab</c:v>
                </c:pt>
                <c:pt idx="167">
                  <c:v>Kiri</c:v>
                </c:pt>
                <c:pt idx="168">
                  <c:v>Private Lab</c:v>
                </c:pt>
                <c:pt idx="169">
                  <c:v>Private Lab</c:v>
                </c:pt>
                <c:pt idx="170">
                  <c:v>President</c:v>
                </c:pt>
                <c:pt idx="171">
                  <c:v>All Others</c:v>
                </c:pt>
                <c:pt idx="172">
                  <c:v>Salakis</c:v>
                </c:pt>
                <c:pt idx="173">
                  <c:v>Private Lab</c:v>
                </c:pt>
                <c:pt idx="174">
                  <c:v>Babybel</c:v>
                </c:pt>
                <c:pt idx="175">
                  <c:v>Richesmonts</c:v>
                </c:pt>
                <c:pt idx="176">
                  <c:v>Private Lab</c:v>
                </c:pt>
                <c:pt idx="177">
                  <c:v>Private Lab</c:v>
                </c:pt>
                <c:pt idx="178">
                  <c:v>Private Lab</c:v>
                </c:pt>
                <c:pt idx="179">
                  <c:v>St Moret</c:v>
                </c:pt>
                <c:pt idx="180">
                  <c:v>Private Lab</c:v>
                </c:pt>
                <c:pt idx="181">
                  <c:v>Boursin</c:v>
                </c:pt>
                <c:pt idx="182">
                  <c:v>St Moret</c:v>
                </c:pt>
                <c:pt idx="183">
                  <c:v>Leerdammer</c:v>
                </c:pt>
                <c:pt idx="184">
                  <c:v>Private Lab</c:v>
                </c:pt>
                <c:pt idx="185">
                  <c:v>Boursin</c:v>
                </c:pt>
                <c:pt idx="186">
                  <c:v>Entremont</c:v>
                </c:pt>
                <c:pt idx="187">
                  <c:v>President</c:v>
                </c:pt>
                <c:pt idx="188">
                  <c:v>Private Lab</c:v>
                </c:pt>
                <c:pt idx="189">
                  <c:v>Private Lab</c:v>
                </c:pt>
                <c:pt idx="190">
                  <c:v>President</c:v>
                </c:pt>
                <c:pt idx="191">
                  <c:v>Kiri</c:v>
                </c:pt>
                <c:pt idx="192">
                  <c:v>Le Rustique</c:v>
                </c:pt>
                <c:pt idx="193">
                  <c:v>Port Salut</c:v>
                </c:pt>
                <c:pt idx="194">
                  <c:v>Paturages</c:v>
                </c:pt>
                <c:pt idx="195">
                  <c:v>Private Lab</c:v>
                </c:pt>
                <c:pt idx="196">
                  <c:v>Caprice Des</c:v>
                </c:pt>
                <c:pt idx="197">
                  <c:v>Entremont</c:v>
                </c:pt>
                <c:pt idx="198">
                  <c:v>Coeur De Li</c:v>
                </c:pt>
                <c:pt idx="199">
                  <c:v>Private Lab</c:v>
                </c:pt>
                <c:pt idx="200">
                  <c:v>Private Lab</c:v>
                </c:pt>
                <c:pt idx="201">
                  <c:v>Private Lab</c:v>
                </c:pt>
                <c:pt idx="202">
                  <c:v>Soignon</c:v>
                </c:pt>
                <c:pt idx="203">
                  <c:v>Private Lab</c:v>
                </c:pt>
                <c:pt idx="204">
                  <c:v>Aperivrais</c:v>
                </c:pt>
                <c:pt idx="205">
                  <c:v>Private Lab</c:v>
                </c:pt>
                <c:pt idx="206">
                  <c:v>Coeur De Li</c:v>
                </c:pt>
                <c:pt idx="207">
                  <c:v>Leerdammer</c:v>
                </c:pt>
                <c:pt idx="208">
                  <c:v>President</c:v>
                </c:pt>
                <c:pt idx="209">
                  <c:v>Soignon</c:v>
                </c:pt>
                <c:pt idx="210">
                  <c:v>Etorki</c:v>
                </c:pt>
                <c:pt idx="211">
                  <c:v>L'Ortolan</c:v>
                </c:pt>
                <c:pt idx="212">
                  <c:v>Parmareggio</c:v>
                </c:pt>
                <c:pt idx="213">
                  <c:v>Ficello</c:v>
                </c:pt>
                <c:pt idx="214">
                  <c:v>Societe</c:v>
                </c:pt>
                <c:pt idx="215">
                  <c:v>President</c:v>
                </c:pt>
                <c:pt idx="216">
                  <c:v>Pochat</c:v>
                </c:pt>
                <c:pt idx="217">
                  <c:v>Pave D'Affi</c:v>
                </c:pt>
                <c:pt idx="218">
                  <c:v>Private Lab</c:v>
                </c:pt>
                <c:pt idx="219">
                  <c:v>St Moret</c:v>
                </c:pt>
                <c:pt idx="220">
                  <c:v>Richesmonts</c:v>
                </c:pt>
                <c:pt idx="221">
                  <c:v>Apericube</c:v>
                </c:pt>
                <c:pt idx="222">
                  <c:v>Private Lab</c:v>
                </c:pt>
                <c:pt idx="223">
                  <c:v>Private Lab</c:v>
                </c:pt>
                <c:pt idx="224">
                  <c:v>Ficello</c:v>
                </c:pt>
                <c:pt idx="225">
                  <c:v>Private Lab</c:v>
                </c:pt>
                <c:pt idx="226">
                  <c:v>Entremont</c:v>
                </c:pt>
                <c:pt idx="227">
                  <c:v>All Others</c:v>
                </c:pt>
                <c:pt idx="228">
                  <c:v>Fol Epi</c:v>
                </c:pt>
                <c:pt idx="229">
                  <c:v>All Others</c:v>
                </c:pt>
                <c:pt idx="230">
                  <c:v>Private Lab</c:v>
                </c:pt>
                <c:pt idx="231">
                  <c:v>President</c:v>
                </c:pt>
                <c:pt idx="232">
                  <c:v>Entremont</c:v>
                </c:pt>
                <c:pt idx="233">
                  <c:v>Boursin</c:v>
                </c:pt>
                <c:pt idx="234">
                  <c:v>Casa Azzurr</c:v>
                </c:pt>
                <c:pt idx="235">
                  <c:v>Entremont</c:v>
                </c:pt>
                <c:pt idx="236">
                  <c:v>President</c:v>
                </c:pt>
                <c:pt idx="237">
                  <c:v>Private Lab</c:v>
                </c:pt>
                <c:pt idx="238">
                  <c:v>Private Lab</c:v>
                </c:pt>
                <c:pt idx="239">
                  <c:v>Vieux Pane</c:v>
                </c:pt>
                <c:pt idx="240">
                  <c:v>Apericube</c:v>
                </c:pt>
                <c:pt idx="241">
                  <c:v>President</c:v>
                </c:pt>
                <c:pt idx="242">
                  <c:v>Soignon</c:v>
                </c:pt>
                <c:pt idx="243">
                  <c:v>Private Lab</c:v>
                </c:pt>
                <c:pt idx="244">
                  <c:v>Private Lab</c:v>
                </c:pt>
                <c:pt idx="245">
                  <c:v>La Vache Qu</c:v>
                </c:pt>
                <c:pt idx="246">
                  <c:v>President</c:v>
                </c:pt>
                <c:pt idx="247">
                  <c:v>Private Lab</c:v>
                </c:pt>
                <c:pt idx="248">
                  <c:v>Private Lab</c:v>
                </c:pt>
                <c:pt idx="249">
                  <c:v>Private Lab</c:v>
                </c:pt>
                <c:pt idx="250">
                  <c:v>President</c:v>
                </c:pt>
                <c:pt idx="251">
                  <c:v>All Others</c:v>
                </c:pt>
                <c:pt idx="252">
                  <c:v>Private Lab</c:v>
                </c:pt>
                <c:pt idx="253">
                  <c:v>Leerdammer</c:v>
                </c:pt>
                <c:pt idx="254">
                  <c:v>Chavroux</c:v>
                </c:pt>
                <c:pt idx="255">
                  <c:v>Casa Azzurr</c:v>
                </c:pt>
                <c:pt idx="256">
                  <c:v>Pochat</c:v>
                </c:pt>
                <c:pt idx="257">
                  <c:v>Entremont</c:v>
                </c:pt>
                <c:pt idx="258">
                  <c:v>Private Lab</c:v>
                </c:pt>
                <c:pt idx="259">
                  <c:v>Private Lab</c:v>
                </c:pt>
                <c:pt idx="260">
                  <c:v>Private Lab</c:v>
                </c:pt>
                <c:pt idx="261">
                  <c:v>Cousteron</c:v>
                </c:pt>
                <c:pt idx="262">
                  <c:v>Boursin</c:v>
                </c:pt>
                <c:pt idx="263">
                  <c:v>Private Lab</c:v>
                </c:pt>
                <c:pt idx="264">
                  <c:v>Private Lab</c:v>
                </c:pt>
                <c:pt idx="265">
                  <c:v>President</c:v>
                </c:pt>
                <c:pt idx="266">
                  <c:v>Private Lab</c:v>
                </c:pt>
                <c:pt idx="267">
                  <c:v>Private Lab</c:v>
                </c:pt>
                <c:pt idx="268">
                  <c:v>Soignon</c:v>
                </c:pt>
                <c:pt idx="269">
                  <c:v>Apericube</c:v>
                </c:pt>
                <c:pt idx="270">
                  <c:v>Private Lab</c:v>
                </c:pt>
                <c:pt idx="271">
                  <c:v>Private Lab</c:v>
                </c:pt>
                <c:pt idx="272">
                  <c:v>Private Lab</c:v>
                </c:pt>
                <c:pt idx="273">
                  <c:v>P'Tit Louis</c:v>
                </c:pt>
                <c:pt idx="274">
                  <c:v>Le Brebiou</c:v>
                </c:pt>
                <c:pt idx="275">
                  <c:v>Leerdammer</c:v>
                </c:pt>
                <c:pt idx="276">
                  <c:v>Private Lab</c:v>
                </c:pt>
                <c:pt idx="277">
                  <c:v>Soignon</c:v>
                </c:pt>
                <c:pt idx="278">
                  <c:v>Private Lab</c:v>
                </c:pt>
                <c:pt idx="279">
                  <c:v>All Others</c:v>
                </c:pt>
                <c:pt idx="280">
                  <c:v>President</c:v>
                </c:pt>
                <c:pt idx="281">
                  <c:v>Private Lab</c:v>
                </c:pt>
                <c:pt idx="282">
                  <c:v>Boursin</c:v>
                </c:pt>
                <c:pt idx="283">
                  <c:v>Istara</c:v>
                </c:pt>
                <c:pt idx="284">
                  <c:v>Soignon</c:v>
                </c:pt>
                <c:pt idx="285">
                  <c:v>Tartare</c:v>
                </c:pt>
                <c:pt idx="286">
                  <c:v>Lactalis: A</c:v>
                </c:pt>
                <c:pt idx="287">
                  <c:v>Caprice Des</c:v>
                </c:pt>
                <c:pt idx="288">
                  <c:v>Leerdammer</c:v>
                </c:pt>
                <c:pt idx="289">
                  <c:v>Private Lab</c:v>
                </c:pt>
                <c:pt idx="290">
                  <c:v>Private Lab</c:v>
                </c:pt>
                <c:pt idx="291">
                  <c:v>Private Lab</c:v>
                </c:pt>
                <c:pt idx="292">
                  <c:v>Paysan Bret</c:v>
                </c:pt>
                <c:pt idx="293">
                  <c:v>Galbani</c:v>
                </c:pt>
                <c:pt idx="294">
                  <c:v>Private Lab</c:v>
                </c:pt>
                <c:pt idx="295">
                  <c:v>Apericube</c:v>
                </c:pt>
                <c:pt idx="296">
                  <c:v>Lou Perac</c:v>
                </c:pt>
                <c:pt idx="297">
                  <c:v>Saint Albra</c:v>
                </c:pt>
                <c:pt idx="298">
                  <c:v>Galbani</c:v>
                </c:pt>
                <c:pt idx="299">
                  <c:v>Private Lab</c:v>
                </c:pt>
                <c:pt idx="300">
                  <c:v>All Others</c:v>
                </c:pt>
                <c:pt idx="301">
                  <c:v>Private Lab</c:v>
                </c:pt>
                <c:pt idx="302">
                  <c:v>Private Lab</c:v>
                </c:pt>
                <c:pt idx="303">
                  <c:v>Richesmonts</c:v>
                </c:pt>
                <c:pt idx="304">
                  <c:v>All Others</c:v>
                </c:pt>
                <c:pt idx="305">
                  <c:v>Boursin</c:v>
                </c:pt>
                <c:pt idx="306">
                  <c:v>Private Lab</c:v>
                </c:pt>
                <c:pt idx="307">
                  <c:v>Private Lab</c:v>
                </c:pt>
                <c:pt idx="308">
                  <c:v>Entremont</c:v>
                </c:pt>
                <c:pt idx="309">
                  <c:v>Paysan Bret</c:v>
                </c:pt>
                <c:pt idx="310">
                  <c:v>Private Lab</c:v>
                </c:pt>
                <c:pt idx="311">
                  <c:v>All Others</c:v>
                </c:pt>
                <c:pt idx="312">
                  <c:v>Private Lab</c:v>
                </c:pt>
                <c:pt idx="313">
                  <c:v>President</c:v>
                </c:pt>
                <c:pt idx="314">
                  <c:v>Casa Azzurr</c:v>
                </c:pt>
                <c:pt idx="315">
                  <c:v>Private Lab</c:v>
                </c:pt>
                <c:pt idx="316">
                  <c:v>Private Lab</c:v>
                </c:pt>
                <c:pt idx="317">
                  <c:v>Private Lab</c:v>
                </c:pt>
                <c:pt idx="318">
                  <c:v>Boursin</c:v>
                </c:pt>
                <c:pt idx="319">
                  <c:v>Richesmonts</c:v>
                </c:pt>
                <c:pt idx="320">
                  <c:v>Private Lab</c:v>
                </c:pt>
                <c:pt idx="321">
                  <c:v>All Others</c:v>
                </c:pt>
                <c:pt idx="322">
                  <c:v>Soignon</c:v>
                </c:pt>
                <c:pt idx="323">
                  <c:v>Private Lab</c:v>
                </c:pt>
                <c:pt idx="324">
                  <c:v>Galbani</c:v>
                </c:pt>
                <c:pt idx="325">
                  <c:v>Private Lab</c:v>
                </c:pt>
                <c:pt idx="326">
                  <c:v>Private Lab</c:v>
                </c:pt>
                <c:pt idx="327">
                  <c:v>Boursin</c:v>
                </c:pt>
                <c:pt idx="328">
                  <c:v>Apericube</c:v>
                </c:pt>
                <c:pt idx="329">
                  <c:v>President</c:v>
                </c:pt>
                <c:pt idx="330">
                  <c:v>Private Lab</c:v>
                </c:pt>
                <c:pt idx="331">
                  <c:v>Private Lab</c:v>
                </c:pt>
                <c:pt idx="332">
                  <c:v>Bresse Bleu</c:v>
                </c:pt>
                <c:pt idx="333">
                  <c:v>Private Lab</c:v>
                </c:pt>
                <c:pt idx="334">
                  <c:v>Private Lab</c:v>
                </c:pt>
                <c:pt idx="335">
                  <c:v>Private Lab</c:v>
                </c:pt>
                <c:pt idx="336">
                  <c:v>All Others</c:v>
                </c:pt>
                <c:pt idx="337">
                  <c:v>All Others</c:v>
                </c:pt>
                <c:pt idx="338">
                  <c:v>Apericube</c:v>
                </c:pt>
                <c:pt idx="339">
                  <c:v>Private Lab</c:v>
                </c:pt>
                <c:pt idx="340">
                  <c:v>Apericube</c:v>
                </c:pt>
                <c:pt idx="341">
                  <c:v>Private Lab</c:v>
                </c:pt>
                <c:pt idx="342">
                  <c:v>Salakis</c:v>
                </c:pt>
                <c:pt idx="343">
                  <c:v>Private Lab</c:v>
                </c:pt>
                <c:pt idx="344">
                  <c:v>Galbani</c:v>
                </c:pt>
                <c:pt idx="345">
                  <c:v>St Moret</c:v>
                </c:pt>
                <c:pt idx="346">
                  <c:v>Galbani</c:v>
                </c:pt>
                <c:pt idx="347">
                  <c:v>All Others</c:v>
                </c:pt>
                <c:pt idx="348">
                  <c:v>Private Lab</c:v>
                </c:pt>
                <c:pt idx="349">
                  <c:v>Le Rustique</c:v>
                </c:pt>
                <c:pt idx="350">
                  <c:v>Private Lab</c:v>
                </c:pt>
                <c:pt idx="351">
                  <c:v>Mini Babybe</c:v>
                </c:pt>
                <c:pt idx="352">
                  <c:v>Private Lab</c:v>
                </c:pt>
                <c:pt idx="353">
                  <c:v>Richesmonts</c:v>
                </c:pt>
                <c:pt idx="354">
                  <c:v>Private Lab</c:v>
                </c:pt>
                <c:pt idx="355">
                  <c:v>Private Lab</c:v>
                </c:pt>
                <c:pt idx="356">
                  <c:v>Boursin</c:v>
                </c:pt>
                <c:pt idx="357">
                  <c:v>Societe</c:v>
                </c:pt>
                <c:pt idx="358">
                  <c:v>Aperivrais</c:v>
                </c:pt>
                <c:pt idx="359">
                  <c:v>Private Lab</c:v>
                </c:pt>
                <c:pt idx="360">
                  <c:v>Paysan Bret</c:v>
                </c:pt>
                <c:pt idx="361">
                  <c:v>Private Lab</c:v>
                </c:pt>
                <c:pt idx="362">
                  <c:v>Savencia: A</c:v>
                </c:pt>
                <c:pt idx="363">
                  <c:v>Private Lab</c:v>
                </c:pt>
                <c:pt idx="364">
                  <c:v>La Vache Qu</c:v>
                </c:pt>
                <c:pt idx="365">
                  <c:v>Societe</c:v>
                </c:pt>
                <c:pt idx="366">
                  <c:v>Casa Azzurr</c:v>
                </c:pt>
                <c:pt idx="367">
                  <c:v>Saint Agur</c:v>
                </c:pt>
                <c:pt idx="368">
                  <c:v>Milleret: A</c:v>
                </c:pt>
                <c:pt idx="369">
                  <c:v>Savencia: A</c:v>
                </c:pt>
                <c:pt idx="370">
                  <c:v>Private Lab</c:v>
                </c:pt>
                <c:pt idx="371">
                  <c:v>Soignon</c:v>
                </c:pt>
                <c:pt idx="372">
                  <c:v>Private Lab</c:v>
                </c:pt>
                <c:pt idx="373">
                  <c:v>Entremont</c:v>
                </c:pt>
                <c:pt idx="374">
                  <c:v>Aperivrais</c:v>
                </c:pt>
                <c:pt idx="375">
                  <c:v>Lou Perac</c:v>
                </c:pt>
                <c:pt idx="376">
                  <c:v>Boursin</c:v>
                </c:pt>
                <c:pt idx="377">
                  <c:v>Galbani</c:v>
                </c:pt>
                <c:pt idx="378">
                  <c:v>Chavroux</c:v>
                </c:pt>
                <c:pt idx="379">
                  <c:v>Coeur De Li</c:v>
                </c:pt>
                <c:pt idx="380">
                  <c:v>Private Lab</c:v>
                </c:pt>
                <c:pt idx="381">
                  <c:v>Private Lab</c:v>
                </c:pt>
                <c:pt idx="382">
                  <c:v>Carre Frais</c:v>
                </c:pt>
                <c:pt idx="383">
                  <c:v>Private Lab</c:v>
                </c:pt>
                <c:pt idx="384">
                  <c:v>Entremont</c:v>
                </c:pt>
                <c:pt idx="385">
                  <c:v>President</c:v>
                </c:pt>
                <c:pt idx="386">
                  <c:v>Juraflore</c:v>
                </c:pt>
                <c:pt idx="387">
                  <c:v>Private Lab</c:v>
                </c:pt>
                <c:pt idx="388">
                  <c:v>Lactalis: A</c:v>
                </c:pt>
                <c:pt idx="389">
                  <c:v>Casa Azzurr</c:v>
                </c:pt>
                <c:pt idx="390">
                  <c:v>Pave D'Affi</c:v>
                </c:pt>
                <c:pt idx="391">
                  <c:v>Private Lab</c:v>
                </c:pt>
                <c:pt idx="392">
                  <c:v>President</c:v>
                </c:pt>
                <c:pt idx="393">
                  <c:v>Private Lab</c:v>
                </c:pt>
                <c:pt idx="394">
                  <c:v>Private Lab</c:v>
                </c:pt>
                <c:pt idx="395">
                  <c:v>Galbani</c:v>
                </c:pt>
                <c:pt idx="396">
                  <c:v>All Others</c:v>
                </c:pt>
                <c:pt idx="397">
                  <c:v>Private Lab</c:v>
                </c:pt>
                <c:pt idx="398">
                  <c:v>Private Lab</c:v>
                </c:pt>
                <c:pt idx="399">
                  <c:v>Saint Agur</c:v>
                </c:pt>
                <c:pt idx="400">
                  <c:v>All Others</c:v>
                </c:pt>
                <c:pt idx="401">
                  <c:v>Salakis</c:v>
                </c:pt>
                <c:pt idx="402">
                  <c:v>Casa Azzurr</c:v>
                </c:pt>
                <c:pt idx="403">
                  <c:v>Tartare</c:v>
                </c:pt>
                <c:pt idx="404">
                  <c:v>President</c:v>
                </c:pt>
                <c:pt idx="405">
                  <c:v>La Vache Qu</c:v>
                </c:pt>
                <c:pt idx="406">
                  <c:v>Tartare</c:v>
                </c:pt>
                <c:pt idx="407">
                  <c:v>Private Lab</c:v>
                </c:pt>
                <c:pt idx="408">
                  <c:v>Top Budget</c:v>
                </c:pt>
                <c:pt idx="409">
                  <c:v>L'Ortolan</c:v>
                </c:pt>
                <c:pt idx="410">
                  <c:v>Savencia: A</c:v>
                </c:pt>
                <c:pt idx="411">
                  <c:v>Paysan Bret</c:v>
                </c:pt>
                <c:pt idx="412">
                  <c:v>Private Lab</c:v>
                </c:pt>
                <c:pt idx="413">
                  <c:v>All Others</c:v>
                </c:pt>
                <c:pt idx="414">
                  <c:v>Richesmonts</c:v>
                </c:pt>
                <c:pt idx="415">
                  <c:v>Private Lab</c:v>
                </c:pt>
                <c:pt idx="416">
                  <c:v>Private Lab</c:v>
                </c:pt>
                <c:pt idx="417">
                  <c:v>Coeur De Li</c:v>
                </c:pt>
                <c:pt idx="418">
                  <c:v>All Others</c:v>
                </c:pt>
                <c:pt idx="419">
                  <c:v>All Others</c:v>
                </c:pt>
                <c:pt idx="420">
                  <c:v>Mini Babybe</c:v>
                </c:pt>
                <c:pt idx="421">
                  <c:v>Private Lab</c:v>
                </c:pt>
                <c:pt idx="422">
                  <c:v>Salakis</c:v>
                </c:pt>
                <c:pt idx="423">
                  <c:v>Eurial Autr</c:v>
                </c:pt>
                <c:pt idx="424">
                  <c:v>Savencia: A</c:v>
                </c:pt>
                <c:pt idx="425">
                  <c:v>Richesmonts</c:v>
                </c:pt>
                <c:pt idx="426">
                  <c:v>Paysan Bret</c:v>
                </c:pt>
                <c:pt idx="427">
                  <c:v>All Others</c:v>
                </c:pt>
                <c:pt idx="428">
                  <c:v>Lactalis: A</c:v>
                </c:pt>
                <c:pt idx="429">
                  <c:v>Richesmonts</c:v>
                </c:pt>
                <c:pt idx="430">
                  <c:v>Casa Azzurr</c:v>
                </c:pt>
                <c:pt idx="431">
                  <c:v>Paysan Bret</c:v>
                </c:pt>
                <c:pt idx="432">
                  <c:v>Apericube</c:v>
                </c:pt>
                <c:pt idx="433">
                  <c:v>Richesmonts</c:v>
                </c:pt>
                <c:pt idx="434">
                  <c:v>Private Lab</c:v>
                </c:pt>
                <c:pt idx="435">
                  <c:v>Kiri</c:v>
                </c:pt>
                <c:pt idx="436">
                  <c:v>All Others</c:v>
                </c:pt>
                <c:pt idx="437">
                  <c:v>La Belle Et</c:v>
                </c:pt>
                <c:pt idx="438">
                  <c:v>President</c:v>
                </c:pt>
                <c:pt idx="439">
                  <c:v>Triballat N</c:v>
                </c:pt>
                <c:pt idx="440">
                  <c:v>Soignon</c:v>
                </c:pt>
                <c:pt idx="441">
                  <c:v>Casa Azzurr</c:v>
                </c:pt>
                <c:pt idx="442">
                  <c:v>Societe</c:v>
                </c:pt>
                <c:pt idx="443">
                  <c:v>Private Lab</c:v>
                </c:pt>
                <c:pt idx="444">
                  <c:v>Boursin</c:v>
                </c:pt>
                <c:pt idx="445">
                  <c:v>Fauquet</c:v>
                </c:pt>
                <c:pt idx="446">
                  <c:v>Caprice Des</c:v>
                </c:pt>
                <c:pt idx="447">
                  <c:v>President</c:v>
                </c:pt>
                <c:pt idx="448">
                  <c:v>Le Rustique</c:v>
                </c:pt>
                <c:pt idx="449">
                  <c:v>St Moret</c:v>
                </c:pt>
                <c:pt idx="450">
                  <c:v>Savencia: A</c:v>
                </c:pt>
                <c:pt idx="451">
                  <c:v>Kiri</c:v>
                </c:pt>
                <c:pt idx="452">
                  <c:v>Private Lab</c:v>
                </c:pt>
                <c:pt idx="453">
                  <c:v>Saint Agur</c:v>
                </c:pt>
                <c:pt idx="454">
                  <c:v>Societe</c:v>
                </c:pt>
                <c:pt idx="455">
                  <c:v>Boursin</c:v>
                </c:pt>
                <c:pt idx="456">
                  <c:v>Private Lab</c:v>
                </c:pt>
                <c:pt idx="457">
                  <c:v>Casa Azzurr</c:v>
                </c:pt>
                <c:pt idx="458">
                  <c:v>Galbani</c:v>
                </c:pt>
                <c:pt idx="459">
                  <c:v>Private Lab</c:v>
                </c:pt>
                <c:pt idx="460">
                  <c:v>Caprice Des</c:v>
                </c:pt>
                <c:pt idx="461">
                  <c:v>Le Saint Am</c:v>
                </c:pt>
                <c:pt idx="462">
                  <c:v>Tartare</c:v>
                </c:pt>
                <c:pt idx="463">
                  <c:v>Casa Azzurr</c:v>
                </c:pt>
                <c:pt idx="464">
                  <c:v>Private Lab</c:v>
                </c:pt>
                <c:pt idx="465">
                  <c:v>All Others</c:v>
                </c:pt>
                <c:pt idx="466">
                  <c:v>Leerdammer</c:v>
                </c:pt>
                <c:pt idx="467">
                  <c:v>Galbani</c:v>
                </c:pt>
                <c:pt idx="468">
                  <c:v>Pochat</c:v>
                </c:pt>
                <c:pt idx="469">
                  <c:v>Lactalis: A</c:v>
                </c:pt>
                <c:pt idx="470">
                  <c:v>Mini Babybe</c:v>
                </c:pt>
                <c:pt idx="471">
                  <c:v>President</c:v>
                </c:pt>
                <c:pt idx="472">
                  <c:v>Top Budget</c:v>
                </c:pt>
                <c:pt idx="473">
                  <c:v>Paysan Bret</c:v>
                </c:pt>
                <c:pt idx="474">
                  <c:v>Private Lab</c:v>
                </c:pt>
                <c:pt idx="475">
                  <c:v>Savencia: A</c:v>
                </c:pt>
                <c:pt idx="476">
                  <c:v>Soignon</c:v>
                </c:pt>
                <c:pt idx="477">
                  <c:v>Casa Azzurr</c:v>
                </c:pt>
                <c:pt idx="478">
                  <c:v>Paturages</c:v>
                </c:pt>
                <c:pt idx="479">
                  <c:v>Caprice Des</c:v>
                </c:pt>
                <c:pt idx="480">
                  <c:v>Lactalis: A</c:v>
                </c:pt>
                <c:pt idx="481">
                  <c:v>Galbani</c:v>
                </c:pt>
                <c:pt idx="482">
                  <c:v>All Others</c:v>
                </c:pt>
                <c:pt idx="483">
                  <c:v>Private Lab</c:v>
                </c:pt>
                <c:pt idx="484">
                  <c:v>St Moret</c:v>
                </c:pt>
                <c:pt idx="485">
                  <c:v>All Others</c:v>
                </c:pt>
                <c:pt idx="486">
                  <c:v>Etorki</c:v>
                </c:pt>
                <c:pt idx="487">
                  <c:v>All Others</c:v>
                </c:pt>
                <c:pt idx="488">
                  <c:v>All Others</c:v>
                </c:pt>
                <c:pt idx="489">
                  <c:v>All Others</c:v>
                </c:pt>
                <c:pt idx="490">
                  <c:v>Tartare</c:v>
                </c:pt>
                <c:pt idx="491">
                  <c:v>Milleret: A</c:v>
                </c:pt>
                <c:pt idx="492">
                  <c:v>Soignon</c:v>
                </c:pt>
                <c:pt idx="493">
                  <c:v>Pave D'Affi</c:v>
                </c:pt>
                <c:pt idx="494">
                  <c:v>All Others</c:v>
                </c:pt>
                <c:pt idx="495">
                  <c:v>Casa Azzurr</c:v>
                </c:pt>
                <c:pt idx="496">
                  <c:v>Private Lab</c:v>
                </c:pt>
                <c:pt idx="497">
                  <c:v>Aperivrais</c:v>
                </c:pt>
                <c:pt idx="498">
                  <c:v>St Moret</c:v>
                </c:pt>
                <c:pt idx="499">
                  <c:v>Entremont</c:v>
                </c:pt>
                <c:pt idx="500">
                  <c:v>La Belle Et</c:v>
                </c:pt>
                <c:pt idx="501">
                  <c:v>All Others</c:v>
                </c:pt>
                <c:pt idx="502">
                  <c:v>Corsica</c:v>
                </c:pt>
                <c:pt idx="503">
                  <c:v>Entremont</c:v>
                </c:pt>
                <c:pt idx="504">
                  <c:v>Kiri</c:v>
                </c:pt>
                <c:pt idx="505">
                  <c:v>Soignon</c:v>
                </c:pt>
                <c:pt idx="506">
                  <c:v>Boursin</c:v>
                </c:pt>
                <c:pt idx="507">
                  <c:v>Eurial Autr</c:v>
                </c:pt>
                <c:pt idx="508">
                  <c:v>All Others</c:v>
                </c:pt>
                <c:pt idx="509">
                  <c:v>Entremont</c:v>
                </c:pt>
                <c:pt idx="510">
                  <c:v>All Others</c:v>
                </c:pt>
                <c:pt idx="511">
                  <c:v>Entremont</c:v>
                </c:pt>
                <c:pt idx="512">
                  <c:v>Salakis</c:v>
                </c:pt>
                <c:pt idx="513">
                  <c:v>Galbani</c:v>
                </c:pt>
                <c:pt idx="514">
                  <c:v>Soignon</c:v>
                </c:pt>
                <c:pt idx="515">
                  <c:v>All Others</c:v>
                </c:pt>
                <c:pt idx="516">
                  <c:v>Juraflore</c:v>
                </c:pt>
                <c:pt idx="517">
                  <c:v>All Others</c:v>
                </c:pt>
                <c:pt idx="518">
                  <c:v>La Vache Qu</c:v>
                </c:pt>
                <c:pt idx="519">
                  <c:v>Lou Perac</c:v>
                </c:pt>
                <c:pt idx="520">
                  <c:v>All Others</c:v>
                </c:pt>
                <c:pt idx="521">
                  <c:v>All Others</c:v>
                </c:pt>
                <c:pt idx="522">
                  <c:v>President</c:v>
                </c:pt>
                <c:pt idx="523">
                  <c:v>Kiri</c:v>
                </c:pt>
                <c:pt idx="524">
                  <c:v>Private Lab</c:v>
                </c:pt>
                <c:pt idx="525">
                  <c:v>Tartare</c:v>
                </c:pt>
                <c:pt idx="526">
                  <c:v>All Others</c:v>
                </c:pt>
                <c:pt idx="527">
                  <c:v>All Others</c:v>
                </c:pt>
                <c:pt idx="528">
                  <c:v>Pave D'Affi</c:v>
                </c:pt>
                <c:pt idx="529">
                  <c:v>Salakis</c:v>
                </c:pt>
                <c:pt idx="530">
                  <c:v>Galbani</c:v>
                </c:pt>
                <c:pt idx="531">
                  <c:v>Casa Azzurr</c:v>
                </c:pt>
                <c:pt idx="532">
                  <c:v>All Others</c:v>
                </c:pt>
                <c:pt idx="533">
                  <c:v>All Others</c:v>
                </c:pt>
                <c:pt idx="534">
                  <c:v>All Others</c:v>
                </c:pt>
                <c:pt idx="535">
                  <c:v>Mini Babybe</c:v>
                </c:pt>
                <c:pt idx="536">
                  <c:v>Raguin</c:v>
                </c:pt>
                <c:pt idx="537">
                  <c:v>Paturages</c:v>
                </c:pt>
                <c:pt idx="538">
                  <c:v>All Others</c:v>
                </c:pt>
                <c:pt idx="539">
                  <c:v>Entremont</c:v>
                </c:pt>
                <c:pt idx="540">
                  <c:v>Raguin</c:v>
                </c:pt>
                <c:pt idx="541">
                  <c:v>President</c:v>
                </c:pt>
                <c:pt idx="542">
                  <c:v>Aperivrais</c:v>
                </c:pt>
                <c:pt idx="543">
                  <c:v>L'Ortolan</c:v>
                </c:pt>
                <c:pt idx="544">
                  <c:v>Mini Babybe</c:v>
                </c:pt>
                <c:pt idx="545">
                  <c:v>L'Ortolan</c:v>
                </c:pt>
                <c:pt idx="546">
                  <c:v>Private Lab</c:v>
                </c:pt>
                <c:pt idx="547">
                  <c:v>La Table M</c:v>
                </c:pt>
                <c:pt idx="548">
                  <c:v>Paysan Bret</c:v>
                </c:pt>
                <c:pt idx="549">
                  <c:v>Saint Agur</c:v>
                </c:pt>
                <c:pt idx="550">
                  <c:v>Private Lab</c:v>
                </c:pt>
                <c:pt idx="551">
                  <c:v>Triballat N</c:v>
                </c:pt>
                <c:pt idx="552">
                  <c:v>All Others</c:v>
                </c:pt>
                <c:pt idx="553">
                  <c:v>All Others</c:v>
                </c:pt>
                <c:pt idx="554">
                  <c:v>Private Lab</c:v>
                </c:pt>
                <c:pt idx="555">
                  <c:v>Private Lab</c:v>
                </c:pt>
                <c:pt idx="556">
                  <c:v>All Others</c:v>
                </c:pt>
                <c:pt idx="557">
                  <c:v>All Others</c:v>
                </c:pt>
                <c:pt idx="558">
                  <c:v>La Belle Et</c:v>
                </c:pt>
                <c:pt idx="559">
                  <c:v>Casa Azzurr</c:v>
                </c:pt>
                <c:pt idx="560">
                  <c:v>Casa Azzurr</c:v>
                </c:pt>
                <c:pt idx="561">
                  <c:v>All Others</c:v>
                </c:pt>
                <c:pt idx="562">
                  <c:v>All Others</c:v>
                </c:pt>
                <c:pt idx="563">
                  <c:v>St Moret</c:v>
                </c:pt>
                <c:pt idx="564">
                  <c:v>Lactalis: A</c:v>
                </c:pt>
                <c:pt idx="565">
                  <c:v>All Others</c:v>
                </c:pt>
                <c:pt idx="566">
                  <c:v>Apericube</c:v>
                </c:pt>
                <c:pt idx="567">
                  <c:v>Vieux Pane</c:v>
                </c:pt>
                <c:pt idx="568">
                  <c:v>La Belle Et</c:v>
                </c:pt>
                <c:pt idx="569">
                  <c:v>Milleret: A</c:v>
                </c:pt>
                <c:pt idx="570">
                  <c:v>All Others</c:v>
                </c:pt>
                <c:pt idx="571">
                  <c:v>All Others</c:v>
                </c:pt>
                <c:pt idx="572">
                  <c:v>President</c:v>
                </c:pt>
                <c:pt idx="573">
                  <c:v>Galbani</c:v>
                </c:pt>
                <c:pt idx="574">
                  <c:v>All Others</c:v>
                </c:pt>
                <c:pt idx="575">
                  <c:v>Raguin</c:v>
                </c:pt>
                <c:pt idx="576">
                  <c:v>All Others</c:v>
                </c:pt>
                <c:pt idx="577">
                  <c:v>All Others</c:v>
                </c:pt>
                <c:pt idx="578">
                  <c:v>Islos</c:v>
                </c:pt>
                <c:pt idx="579">
                  <c:v>Kiri</c:v>
                </c:pt>
                <c:pt idx="580">
                  <c:v>Istara</c:v>
                </c:pt>
                <c:pt idx="581">
                  <c:v>L'Ortolan</c:v>
                </c:pt>
                <c:pt idx="582">
                  <c:v>La Belle Et</c:v>
                </c:pt>
                <c:pt idx="583">
                  <c:v>Entremont</c:v>
                </c:pt>
                <c:pt idx="584">
                  <c:v>Societe</c:v>
                </c:pt>
                <c:pt idx="585">
                  <c:v>All Others</c:v>
                </c:pt>
                <c:pt idx="586">
                  <c:v>All Others</c:v>
                </c:pt>
                <c:pt idx="587">
                  <c:v>Private Lab</c:v>
                </c:pt>
                <c:pt idx="588">
                  <c:v>Entremont</c:v>
                </c:pt>
                <c:pt idx="589">
                  <c:v>Lactalis: A</c:v>
                </c:pt>
                <c:pt idx="590">
                  <c:v>Paysan Bret</c:v>
                </c:pt>
                <c:pt idx="591">
                  <c:v>L'Ortolan</c:v>
                </c:pt>
                <c:pt idx="592">
                  <c:v>All Others</c:v>
                </c:pt>
                <c:pt idx="593">
                  <c:v>Le Coq Crem</c:v>
                </c:pt>
                <c:pt idx="594">
                  <c:v>Milleret: A</c:v>
                </c:pt>
                <c:pt idx="595">
                  <c:v>Ranou</c:v>
                </c:pt>
                <c:pt idx="596">
                  <c:v>Raguin</c:v>
                </c:pt>
                <c:pt idx="597">
                  <c:v>All Others</c:v>
                </c:pt>
                <c:pt idx="598">
                  <c:v>Mini Babybe</c:v>
                </c:pt>
                <c:pt idx="599">
                  <c:v>Lactalis: A</c:v>
                </c:pt>
                <c:pt idx="600">
                  <c:v>Leerdammer</c:v>
                </c:pt>
                <c:pt idx="601">
                  <c:v>All Others</c:v>
                </c:pt>
                <c:pt idx="602">
                  <c:v>All Others</c:v>
                </c:pt>
                <c:pt idx="603">
                  <c:v>Milleret: A</c:v>
                </c:pt>
                <c:pt idx="604">
                  <c:v>Private Lab</c:v>
                </c:pt>
                <c:pt idx="605">
                  <c:v>Etoile Du Q</c:v>
                </c:pt>
                <c:pt idx="606">
                  <c:v>Boursin</c:v>
                </c:pt>
                <c:pt idx="607">
                  <c:v>Apericube</c:v>
                </c:pt>
                <c:pt idx="608">
                  <c:v>Paysan Bret</c:v>
                </c:pt>
                <c:pt idx="609">
                  <c:v>Pochat</c:v>
                </c:pt>
                <c:pt idx="610">
                  <c:v>All Others</c:v>
                </c:pt>
                <c:pt idx="611">
                  <c:v>Eurial Autr</c:v>
                </c:pt>
                <c:pt idx="612">
                  <c:v>All Others</c:v>
                </c:pt>
                <c:pt idx="613">
                  <c:v>Entremont</c:v>
                </c:pt>
                <c:pt idx="614">
                  <c:v>All Others</c:v>
                </c:pt>
                <c:pt idx="615">
                  <c:v>All Others</c:v>
                </c:pt>
                <c:pt idx="616">
                  <c:v>Galbani</c:v>
                </c:pt>
                <c:pt idx="617">
                  <c:v>All Others</c:v>
                </c:pt>
                <c:pt idx="618">
                  <c:v>Milleret: A</c:v>
                </c:pt>
                <c:pt idx="619">
                  <c:v>All Others</c:v>
                </c:pt>
                <c:pt idx="620">
                  <c:v>All Others</c:v>
                </c:pt>
                <c:pt idx="621">
                  <c:v>Entremont</c:v>
                </c:pt>
                <c:pt idx="622">
                  <c:v>Entremont</c:v>
                </c:pt>
                <c:pt idx="623">
                  <c:v>All Others</c:v>
                </c:pt>
                <c:pt idx="624">
                  <c:v>All Others</c:v>
                </c:pt>
                <c:pt idx="625">
                  <c:v>Galbani</c:v>
                </c:pt>
                <c:pt idx="626">
                  <c:v>Soignon</c:v>
                </c:pt>
                <c:pt idx="627">
                  <c:v>Soignon</c:v>
                </c:pt>
                <c:pt idx="628">
                  <c:v>All Others</c:v>
                </c:pt>
                <c:pt idx="629">
                  <c:v>All Others</c:v>
                </c:pt>
                <c:pt idx="630">
                  <c:v>Private Lab</c:v>
                </c:pt>
                <c:pt idx="631">
                  <c:v>All Others</c:v>
                </c:pt>
                <c:pt idx="632">
                  <c:v>La Belle Et</c:v>
                </c:pt>
                <c:pt idx="633">
                  <c:v>Bresse Bleu</c:v>
                </c:pt>
                <c:pt idx="634">
                  <c:v>Pochat</c:v>
                </c:pt>
                <c:pt idx="635">
                  <c:v>Savencia: A</c:v>
                </c:pt>
                <c:pt idx="636">
                  <c:v>Triballat N</c:v>
                </c:pt>
                <c:pt idx="637">
                  <c:v>Savencia: A</c:v>
                </c:pt>
                <c:pt idx="638">
                  <c:v>Etoile Du V</c:v>
                </c:pt>
                <c:pt idx="639">
                  <c:v>All Others</c:v>
                </c:pt>
                <c:pt idx="640">
                  <c:v>Savencia: A</c:v>
                </c:pt>
                <c:pt idx="641">
                  <c:v>Societe</c:v>
                </c:pt>
                <c:pt idx="642">
                  <c:v>Milleret: A</c:v>
                </c:pt>
                <c:pt idx="643">
                  <c:v>Nurishh</c:v>
                </c:pt>
                <c:pt idx="644">
                  <c:v>Richesmonts</c:v>
                </c:pt>
                <c:pt idx="645">
                  <c:v>All Others</c:v>
                </c:pt>
                <c:pt idx="646">
                  <c:v>Richesmonts</c:v>
                </c:pt>
                <c:pt idx="647">
                  <c:v>All Others</c:v>
                </c:pt>
                <c:pt idx="648">
                  <c:v>Paysan Bret</c:v>
                </c:pt>
                <c:pt idx="649">
                  <c:v>L'Ortolan</c:v>
                </c:pt>
                <c:pt idx="650">
                  <c:v>All Others</c:v>
                </c:pt>
                <c:pt idx="651">
                  <c:v>President</c:v>
                </c:pt>
                <c:pt idx="652">
                  <c:v>All Others</c:v>
                </c:pt>
                <c:pt idx="653">
                  <c:v>Lactalis: A</c:v>
                </c:pt>
                <c:pt idx="654">
                  <c:v>Boursin</c:v>
                </c:pt>
                <c:pt idx="655">
                  <c:v>All Others</c:v>
                </c:pt>
                <c:pt idx="656">
                  <c:v>Eurial Autr</c:v>
                </c:pt>
                <c:pt idx="657">
                  <c:v>All Others</c:v>
                </c:pt>
                <c:pt idx="658">
                  <c:v>Private Lab</c:v>
                </c:pt>
                <c:pt idx="659">
                  <c:v>All Others</c:v>
                </c:pt>
                <c:pt idx="660">
                  <c:v>All Others</c:v>
                </c:pt>
                <c:pt idx="661">
                  <c:v>Le Rustique</c:v>
                </c:pt>
                <c:pt idx="662">
                  <c:v>Paysan Bret</c:v>
                </c:pt>
                <c:pt idx="663">
                  <c:v>All Others</c:v>
                </c:pt>
                <c:pt idx="664">
                  <c:v>All Others</c:v>
                </c:pt>
                <c:pt idx="665">
                  <c:v>All Others</c:v>
                </c:pt>
                <c:pt idx="666">
                  <c:v>Salakis</c:v>
                </c:pt>
                <c:pt idx="667">
                  <c:v>Savencia: A</c:v>
                </c:pt>
                <c:pt idx="668">
                  <c:v>All Others</c:v>
                </c:pt>
                <c:pt idx="669">
                  <c:v>Soignon</c:v>
                </c:pt>
                <c:pt idx="670">
                  <c:v>Private Lab</c:v>
                </c:pt>
                <c:pt idx="671">
                  <c:v>Violife</c:v>
                </c:pt>
                <c:pt idx="672">
                  <c:v>All Others</c:v>
                </c:pt>
                <c:pt idx="673">
                  <c:v>All Others</c:v>
                </c:pt>
                <c:pt idx="674">
                  <c:v>All Others</c:v>
                </c:pt>
                <c:pt idx="675">
                  <c:v>All Others</c:v>
                </c:pt>
                <c:pt idx="676">
                  <c:v>All Others</c:v>
                </c:pt>
                <c:pt idx="677">
                  <c:v>Islos</c:v>
                </c:pt>
                <c:pt idx="678">
                  <c:v>All Others</c:v>
                </c:pt>
                <c:pt idx="679">
                  <c:v>All Others</c:v>
                </c:pt>
                <c:pt idx="680">
                  <c:v>All Others</c:v>
                </c:pt>
                <c:pt idx="681">
                  <c:v>Carre Frais</c:v>
                </c:pt>
                <c:pt idx="682">
                  <c:v>Nurishh</c:v>
                </c:pt>
                <c:pt idx="683">
                  <c:v>Triballat N</c:v>
                </c:pt>
                <c:pt idx="684">
                  <c:v>All Others</c:v>
                </c:pt>
                <c:pt idx="685">
                  <c:v>All Others</c:v>
                </c:pt>
                <c:pt idx="686">
                  <c:v>Nurishh</c:v>
                </c:pt>
                <c:pt idx="687">
                  <c:v>All Others</c:v>
                </c:pt>
                <c:pt idx="688">
                  <c:v>All Others</c:v>
                </c:pt>
                <c:pt idx="689">
                  <c:v>All Others</c:v>
                </c:pt>
                <c:pt idx="690">
                  <c:v>All Others</c:v>
                </c:pt>
                <c:pt idx="691">
                  <c:v>Pave D'Affi</c:v>
                </c:pt>
                <c:pt idx="692">
                  <c:v>All Others</c:v>
                </c:pt>
                <c:pt idx="693">
                  <c:v>All Others</c:v>
                </c:pt>
                <c:pt idx="694">
                  <c:v>Entremont</c:v>
                </c:pt>
                <c:pt idx="695">
                  <c:v>Entremont</c:v>
                </c:pt>
                <c:pt idx="696">
                  <c:v>Paturages</c:v>
                </c:pt>
                <c:pt idx="697">
                  <c:v>All Others</c:v>
                </c:pt>
                <c:pt idx="698">
                  <c:v>All Others</c:v>
                </c:pt>
                <c:pt idx="699">
                  <c:v>All Others</c:v>
                </c:pt>
                <c:pt idx="700">
                  <c:v>Lactalis: A</c:v>
                </c:pt>
                <c:pt idx="701">
                  <c:v>All Others</c:v>
                </c:pt>
                <c:pt idx="702">
                  <c:v>All Others</c:v>
                </c:pt>
                <c:pt idx="703">
                  <c:v>All Others</c:v>
                </c:pt>
                <c:pt idx="704">
                  <c:v>Lactalis: A</c:v>
                </c:pt>
                <c:pt idx="705">
                  <c:v>All Others</c:v>
                </c:pt>
                <c:pt idx="706">
                  <c:v>Pochat</c:v>
                </c:pt>
                <c:pt idx="707">
                  <c:v>All Others</c:v>
                </c:pt>
                <c:pt idx="708">
                  <c:v>All Others</c:v>
                </c:pt>
                <c:pt idx="709">
                  <c:v>Violife</c:v>
                </c:pt>
                <c:pt idx="710">
                  <c:v>Le Brebiou</c:v>
                </c:pt>
                <c:pt idx="711">
                  <c:v>All Others</c:v>
                </c:pt>
                <c:pt idx="712">
                  <c:v>All Others</c:v>
                </c:pt>
                <c:pt idx="713">
                  <c:v>Entremont</c:v>
                </c:pt>
                <c:pt idx="714">
                  <c:v>All Others</c:v>
                </c:pt>
                <c:pt idx="715">
                  <c:v>All Others</c:v>
                </c:pt>
                <c:pt idx="716">
                  <c:v>All Others</c:v>
                </c:pt>
                <c:pt idx="717">
                  <c:v>Coeur De Li</c:v>
                </c:pt>
                <c:pt idx="718">
                  <c:v>All Others</c:v>
                </c:pt>
                <c:pt idx="719">
                  <c:v>Casa Azzurr</c:v>
                </c:pt>
                <c:pt idx="720">
                  <c:v>All Others</c:v>
                </c:pt>
                <c:pt idx="721">
                  <c:v>Boursin</c:v>
                </c:pt>
                <c:pt idx="722">
                  <c:v>All Others</c:v>
                </c:pt>
                <c:pt idx="723">
                  <c:v>President</c:v>
                </c:pt>
                <c:pt idx="724">
                  <c:v>Soignon</c:v>
                </c:pt>
                <c:pt idx="725">
                  <c:v>Paysan Bret</c:v>
                </c:pt>
                <c:pt idx="726">
                  <c:v>Etoile Du V</c:v>
                </c:pt>
                <c:pt idx="727">
                  <c:v>All Others</c:v>
                </c:pt>
                <c:pt idx="728">
                  <c:v>Etoile Du V</c:v>
                </c:pt>
                <c:pt idx="729">
                  <c:v>Etoile Du V</c:v>
                </c:pt>
                <c:pt idx="730">
                  <c:v>All Others</c:v>
                </c:pt>
                <c:pt idx="731">
                  <c:v>Etoile Du V</c:v>
                </c:pt>
                <c:pt idx="732">
                  <c:v>All Others</c:v>
                </c:pt>
                <c:pt idx="733">
                  <c:v>Fol Epi</c:v>
                </c:pt>
                <c:pt idx="734">
                  <c:v>Caprice Des</c:v>
                </c:pt>
                <c:pt idx="735">
                  <c:v>All Others</c:v>
                </c:pt>
                <c:pt idx="736">
                  <c:v>All Others</c:v>
                </c:pt>
                <c:pt idx="737">
                  <c:v>Etoile Du V</c:v>
                </c:pt>
                <c:pt idx="738">
                  <c:v>Apericube</c:v>
                </c:pt>
                <c:pt idx="739">
                  <c:v>All Others</c:v>
                </c:pt>
                <c:pt idx="740">
                  <c:v>P'Tit Louis</c:v>
                </c:pt>
                <c:pt idx="741">
                  <c:v>Pochat</c:v>
                </c:pt>
                <c:pt idx="742">
                  <c:v>Entremont</c:v>
                </c:pt>
                <c:pt idx="743">
                  <c:v>Nurishh</c:v>
                </c:pt>
                <c:pt idx="744">
                  <c:v>Nurishh</c:v>
                </c:pt>
                <c:pt idx="745">
                  <c:v>All Others</c:v>
                </c:pt>
                <c:pt idx="746">
                  <c:v>Ids</c:v>
                </c:pt>
                <c:pt idx="747">
                  <c:v>Boursin</c:v>
                </c:pt>
                <c:pt idx="748">
                  <c:v>Milleret: A</c:v>
                </c:pt>
                <c:pt idx="749">
                  <c:v>Milleret: A</c:v>
                </c:pt>
                <c:pt idx="750">
                  <c:v>All Others</c:v>
                </c:pt>
                <c:pt idx="751">
                  <c:v>All Others</c:v>
                </c:pt>
                <c:pt idx="752">
                  <c:v>All Others</c:v>
                </c:pt>
                <c:pt idx="753">
                  <c:v>All Others</c:v>
                </c:pt>
                <c:pt idx="754">
                  <c:v>Apericube</c:v>
                </c:pt>
                <c:pt idx="755">
                  <c:v>Milleret: A</c:v>
                </c:pt>
                <c:pt idx="756">
                  <c:v>La Belle Et</c:v>
                </c:pt>
                <c:pt idx="757">
                  <c:v>Istara</c:v>
                </c:pt>
                <c:pt idx="758">
                  <c:v>Mini Babybe</c:v>
                </c:pt>
                <c:pt idx="759">
                  <c:v>All Others</c:v>
                </c:pt>
                <c:pt idx="760">
                  <c:v>All Others</c:v>
                </c:pt>
                <c:pt idx="761">
                  <c:v>All Others</c:v>
                </c:pt>
                <c:pt idx="762">
                  <c:v>Private Lab</c:v>
                </c:pt>
                <c:pt idx="763">
                  <c:v>Lactalis: A</c:v>
                </c:pt>
                <c:pt idx="764">
                  <c:v>All Others</c:v>
                </c:pt>
                <c:pt idx="765">
                  <c:v>All Others</c:v>
                </c:pt>
                <c:pt idx="766">
                  <c:v>Entremont</c:v>
                </c:pt>
                <c:pt idx="767">
                  <c:v>Fauquet</c:v>
                </c:pt>
                <c:pt idx="768">
                  <c:v>Bresse Bleu</c:v>
                </c:pt>
                <c:pt idx="769">
                  <c:v>Lactalis: A</c:v>
                </c:pt>
                <c:pt idx="770">
                  <c:v>Savencia: A</c:v>
                </c:pt>
                <c:pt idx="771">
                  <c:v>All Others</c:v>
                </c:pt>
                <c:pt idx="772">
                  <c:v>Mini Babybe</c:v>
                </c:pt>
                <c:pt idx="773">
                  <c:v>All Others</c:v>
                </c:pt>
                <c:pt idx="774">
                  <c:v>Nurishh</c:v>
                </c:pt>
                <c:pt idx="775">
                  <c:v>All Others</c:v>
                </c:pt>
                <c:pt idx="776">
                  <c:v>All Others</c:v>
                </c:pt>
                <c:pt idx="777">
                  <c:v>All Others</c:v>
                </c:pt>
                <c:pt idx="778">
                  <c:v>All Others</c:v>
                </c:pt>
                <c:pt idx="779">
                  <c:v>All Others</c:v>
                </c:pt>
                <c:pt idx="780">
                  <c:v>Casa Azzurr</c:v>
                </c:pt>
                <c:pt idx="781">
                  <c:v>All Others</c:v>
                </c:pt>
                <c:pt idx="782">
                  <c:v>Saint Agur</c:v>
                </c:pt>
                <c:pt idx="783">
                  <c:v>All Others</c:v>
                </c:pt>
                <c:pt idx="784">
                  <c:v>All Others</c:v>
                </c:pt>
                <c:pt idx="785">
                  <c:v>St Moret</c:v>
                </c:pt>
                <c:pt idx="786">
                  <c:v>Entremont</c:v>
                </c:pt>
                <c:pt idx="787">
                  <c:v>Aperivrais</c:v>
                </c:pt>
                <c:pt idx="788">
                  <c:v>All Others</c:v>
                </c:pt>
                <c:pt idx="789">
                  <c:v>Chavroux</c:v>
                </c:pt>
                <c:pt idx="790">
                  <c:v>Paysan Bret</c:v>
                </c:pt>
                <c:pt idx="791">
                  <c:v>All Others</c:v>
                </c:pt>
                <c:pt idx="792">
                  <c:v>All Others</c:v>
                </c:pt>
                <c:pt idx="793">
                  <c:v>All Others</c:v>
                </c:pt>
                <c:pt idx="794">
                  <c:v>All Others</c:v>
                </c:pt>
                <c:pt idx="795">
                  <c:v>All Others</c:v>
                </c:pt>
                <c:pt idx="796">
                  <c:v>All Others</c:v>
                </c:pt>
                <c:pt idx="797">
                  <c:v>Casa Azzurr</c:v>
                </c:pt>
                <c:pt idx="798">
                  <c:v>All Others</c:v>
                </c:pt>
                <c:pt idx="799">
                  <c:v>All Others</c:v>
                </c:pt>
                <c:pt idx="800">
                  <c:v>All Others</c:v>
                </c:pt>
                <c:pt idx="801">
                  <c:v>Saint Agur</c:v>
                </c:pt>
                <c:pt idx="802">
                  <c:v>All Others</c:v>
                </c:pt>
                <c:pt idx="803">
                  <c:v>Boursin</c:v>
                </c:pt>
                <c:pt idx="804">
                  <c:v>Private Lab</c:v>
                </c:pt>
                <c:pt idx="805">
                  <c:v>All Others</c:v>
                </c:pt>
                <c:pt idx="806">
                  <c:v>All Others</c:v>
                </c:pt>
                <c:pt idx="807">
                  <c:v>All Others</c:v>
                </c:pt>
                <c:pt idx="808">
                  <c:v>All Others</c:v>
                </c:pt>
                <c:pt idx="809">
                  <c:v>All Others</c:v>
                </c:pt>
                <c:pt idx="810">
                  <c:v>All Others</c:v>
                </c:pt>
                <c:pt idx="811">
                  <c:v>Saint Albra</c:v>
                </c:pt>
                <c:pt idx="812">
                  <c:v>Richesmonts</c:v>
                </c:pt>
                <c:pt idx="813">
                  <c:v>All Others</c:v>
                </c:pt>
                <c:pt idx="814">
                  <c:v>All Others</c:v>
                </c:pt>
                <c:pt idx="815">
                  <c:v>All Others</c:v>
                </c:pt>
                <c:pt idx="816">
                  <c:v>All Others</c:v>
                </c:pt>
                <c:pt idx="817">
                  <c:v>All Others</c:v>
                </c:pt>
                <c:pt idx="818">
                  <c:v>All Others</c:v>
                </c:pt>
                <c:pt idx="819">
                  <c:v>All Others</c:v>
                </c:pt>
                <c:pt idx="820">
                  <c:v>All Others</c:v>
                </c:pt>
                <c:pt idx="821">
                  <c:v>All Others</c:v>
                </c:pt>
                <c:pt idx="822">
                  <c:v>Lactalis: A</c:v>
                </c:pt>
                <c:pt idx="823">
                  <c:v>All Others</c:v>
                </c:pt>
                <c:pt idx="824">
                  <c:v>All Others</c:v>
                </c:pt>
                <c:pt idx="825">
                  <c:v>All Others</c:v>
                </c:pt>
                <c:pt idx="826">
                  <c:v>All Others</c:v>
                </c:pt>
                <c:pt idx="827">
                  <c:v>President</c:v>
                </c:pt>
                <c:pt idx="828">
                  <c:v>All Others</c:v>
                </c:pt>
                <c:pt idx="829">
                  <c:v>Vieux Pane</c:v>
                </c:pt>
                <c:pt idx="830">
                  <c:v>All Others</c:v>
                </c:pt>
                <c:pt idx="831">
                  <c:v>All Others</c:v>
                </c:pt>
                <c:pt idx="832">
                  <c:v>Tartare</c:v>
                </c:pt>
                <c:pt idx="833">
                  <c:v>Casa Azzur</c:v>
                </c:pt>
                <c:pt idx="834">
                  <c:v>Violife</c:v>
                </c:pt>
                <c:pt idx="835">
                  <c:v>All Others</c:v>
                </c:pt>
                <c:pt idx="836">
                  <c:v>All Others</c:v>
                </c:pt>
                <c:pt idx="837">
                  <c:v>All Others</c:v>
                </c:pt>
                <c:pt idx="838">
                  <c:v>All Others</c:v>
                </c:pt>
                <c:pt idx="839">
                  <c:v>All Others</c:v>
                </c:pt>
                <c:pt idx="840">
                  <c:v>All Others</c:v>
                </c:pt>
                <c:pt idx="841">
                  <c:v>All Others</c:v>
                </c:pt>
                <c:pt idx="842">
                  <c:v>La Belle Et</c:v>
                </c:pt>
                <c:pt idx="843">
                  <c:v>All Others</c:v>
                </c:pt>
                <c:pt idx="844">
                  <c:v>Boursin</c:v>
                </c:pt>
                <c:pt idx="845">
                  <c:v>All Others</c:v>
                </c:pt>
                <c:pt idx="846">
                  <c:v>La Belle Et</c:v>
                </c:pt>
                <c:pt idx="847">
                  <c:v>Etoile Du V</c:v>
                </c:pt>
                <c:pt idx="848">
                  <c:v>All Others</c:v>
                </c:pt>
                <c:pt idx="849">
                  <c:v>All Others</c:v>
                </c:pt>
                <c:pt idx="850">
                  <c:v>All Others</c:v>
                </c:pt>
                <c:pt idx="851">
                  <c:v>Lindahls Pr</c:v>
                </c:pt>
                <c:pt idx="852">
                  <c:v>All Others</c:v>
                </c:pt>
                <c:pt idx="853">
                  <c:v>All Others</c:v>
                </c:pt>
                <c:pt idx="854">
                  <c:v>Savencia: A</c:v>
                </c:pt>
                <c:pt idx="855">
                  <c:v>Aperivrais</c:v>
                </c:pt>
                <c:pt idx="856">
                  <c:v>Richesmonts</c:v>
                </c:pt>
                <c:pt idx="857">
                  <c:v>Entremont</c:v>
                </c:pt>
                <c:pt idx="858">
                  <c:v>All Others</c:v>
                </c:pt>
                <c:pt idx="859">
                  <c:v>All Others</c:v>
                </c:pt>
                <c:pt idx="860">
                  <c:v>All Others</c:v>
                </c:pt>
                <c:pt idx="861">
                  <c:v>All Others</c:v>
                </c:pt>
                <c:pt idx="862">
                  <c:v>All Others</c:v>
                </c:pt>
                <c:pt idx="863">
                  <c:v>La Belle Et</c:v>
                </c:pt>
                <c:pt idx="864">
                  <c:v>All Others</c:v>
                </c:pt>
                <c:pt idx="865">
                  <c:v>Paysan Bret</c:v>
                </c:pt>
                <c:pt idx="866">
                  <c:v>All Others</c:v>
                </c:pt>
                <c:pt idx="867">
                  <c:v>All Others</c:v>
                </c:pt>
                <c:pt idx="868">
                  <c:v>Lactalis: A</c:v>
                </c:pt>
                <c:pt idx="869">
                  <c:v>All Others</c:v>
                </c:pt>
                <c:pt idx="870">
                  <c:v>All Others</c:v>
                </c:pt>
                <c:pt idx="871">
                  <c:v>La Belle Et</c:v>
                </c:pt>
                <c:pt idx="872">
                  <c:v>All Others</c:v>
                </c:pt>
                <c:pt idx="873">
                  <c:v>All Others</c:v>
                </c:pt>
                <c:pt idx="874">
                  <c:v>All Others</c:v>
                </c:pt>
                <c:pt idx="875">
                  <c:v>All Others</c:v>
                </c:pt>
                <c:pt idx="876">
                  <c:v>All Others</c:v>
                </c:pt>
                <c:pt idx="877">
                  <c:v>Entremont</c:v>
                </c:pt>
                <c:pt idx="878">
                  <c:v>All Others</c:v>
                </c:pt>
                <c:pt idx="879">
                  <c:v>All Others</c:v>
                </c:pt>
                <c:pt idx="880">
                  <c:v>All Others</c:v>
                </c:pt>
                <c:pt idx="881">
                  <c:v>All Others</c:v>
                </c:pt>
                <c:pt idx="882">
                  <c:v>All Others</c:v>
                </c:pt>
                <c:pt idx="883">
                  <c:v>All Others</c:v>
                </c:pt>
                <c:pt idx="884">
                  <c:v>President</c:v>
                </c:pt>
                <c:pt idx="885">
                  <c:v>All Others</c:v>
                </c:pt>
                <c:pt idx="886">
                  <c:v>Private Lab</c:v>
                </c:pt>
                <c:pt idx="887">
                  <c:v>All Others</c:v>
                </c:pt>
                <c:pt idx="888">
                  <c:v>All Others</c:v>
                </c:pt>
                <c:pt idx="889">
                  <c:v>All Others</c:v>
                </c:pt>
                <c:pt idx="890">
                  <c:v>La Belle Et</c:v>
                </c:pt>
                <c:pt idx="891">
                  <c:v>All Others</c:v>
                </c:pt>
                <c:pt idx="892">
                  <c:v>All Others</c:v>
                </c:pt>
                <c:pt idx="893">
                  <c:v>All Others</c:v>
                </c:pt>
                <c:pt idx="894">
                  <c:v>All Others</c:v>
                </c:pt>
                <c:pt idx="895">
                  <c:v>Pave D'Affi</c:v>
                </c:pt>
                <c:pt idx="896">
                  <c:v>All Others</c:v>
                </c:pt>
                <c:pt idx="897">
                  <c:v>All Others</c:v>
                </c:pt>
                <c:pt idx="898">
                  <c:v>All Others</c:v>
                </c:pt>
                <c:pt idx="899">
                  <c:v>Boursin</c:v>
                </c:pt>
                <c:pt idx="900">
                  <c:v>All Others</c:v>
                </c:pt>
                <c:pt idx="901">
                  <c:v>La Belle Et</c:v>
                </c:pt>
                <c:pt idx="902">
                  <c:v>Chavroux</c:v>
                </c:pt>
                <c:pt idx="903">
                  <c:v>All Others</c:v>
                </c:pt>
                <c:pt idx="904">
                  <c:v>All Others</c:v>
                </c:pt>
                <c:pt idx="905">
                  <c:v>All Others</c:v>
                </c:pt>
                <c:pt idx="906">
                  <c:v>All Others</c:v>
                </c:pt>
                <c:pt idx="907">
                  <c:v>Etorki</c:v>
                </c:pt>
                <c:pt idx="908">
                  <c:v>Apericube</c:v>
                </c:pt>
                <c:pt idx="909">
                  <c:v>All Others</c:v>
                </c:pt>
                <c:pt idx="910">
                  <c:v>All Others</c:v>
                </c:pt>
                <c:pt idx="911">
                  <c:v>All Others</c:v>
                </c:pt>
                <c:pt idx="912">
                  <c:v>La Belle Et</c:v>
                </c:pt>
                <c:pt idx="913">
                  <c:v>All Others</c:v>
                </c:pt>
                <c:pt idx="914">
                  <c:v>Salakis</c:v>
                </c:pt>
                <c:pt idx="915">
                  <c:v>All Others</c:v>
                </c:pt>
                <c:pt idx="916">
                  <c:v>All Others</c:v>
                </c:pt>
                <c:pt idx="917">
                  <c:v>All Others</c:v>
                </c:pt>
                <c:pt idx="918">
                  <c:v>Entremont</c:v>
                </c:pt>
                <c:pt idx="919">
                  <c:v>Soignon</c:v>
                </c:pt>
                <c:pt idx="920">
                  <c:v>All Others</c:v>
                </c:pt>
                <c:pt idx="921">
                  <c:v>Casa Azzurr</c:v>
                </c:pt>
                <c:pt idx="922">
                  <c:v>All Others</c:v>
                </c:pt>
                <c:pt idx="923">
                  <c:v>All Others</c:v>
                </c:pt>
                <c:pt idx="924">
                  <c:v>All Others</c:v>
                </c:pt>
                <c:pt idx="925">
                  <c:v>Apericube</c:v>
                </c:pt>
                <c:pt idx="926">
                  <c:v>All Others</c:v>
                </c:pt>
                <c:pt idx="927">
                  <c:v>All Others</c:v>
                </c:pt>
                <c:pt idx="928">
                  <c:v>Boursin</c:v>
                </c:pt>
                <c:pt idx="929">
                  <c:v>Salakis</c:v>
                </c:pt>
                <c:pt idx="930">
                  <c:v>All Others</c:v>
                </c:pt>
                <c:pt idx="931">
                  <c:v>All Others</c:v>
                </c:pt>
                <c:pt idx="932">
                  <c:v>All Others</c:v>
                </c:pt>
                <c:pt idx="933">
                  <c:v>Galbani</c:v>
                </c:pt>
                <c:pt idx="934">
                  <c:v>All Others</c:v>
                </c:pt>
                <c:pt idx="935">
                  <c:v>All Others</c:v>
                </c:pt>
                <c:pt idx="936">
                  <c:v>President</c:v>
                </c:pt>
                <c:pt idx="937">
                  <c:v>Boursin</c:v>
                </c:pt>
                <c:pt idx="938">
                  <c:v>Lactalis: A</c:v>
                </c:pt>
                <c:pt idx="939">
                  <c:v>Tartare</c:v>
                </c:pt>
                <c:pt idx="940">
                  <c:v>All Others</c:v>
                </c:pt>
                <c:pt idx="941">
                  <c:v>All Others</c:v>
                </c:pt>
                <c:pt idx="942">
                  <c:v>All Others</c:v>
                </c:pt>
                <c:pt idx="943">
                  <c:v>All Others</c:v>
                </c:pt>
                <c:pt idx="944">
                  <c:v>All Others</c:v>
                </c:pt>
                <c:pt idx="945">
                  <c:v>All Others</c:v>
                </c:pt>
                <c:pt idx="946">
                  <c:v>All Others</c:v>
                </c:pt>
                <c:pt idx="947">
                  <c:v>La Belle Et</c:v>
                </c:pt>
                <c:pt idx="948">
                  <c:v>All Others</c:v>
                </c:pt>
                <c:pt idx="949">
                  <c:v>All Others</c:v>
                </c:pt>
                <c:pt idx="950">
                  <c:v>Lactalis: A</c:v>
                </c:pt>
                <c:pt idx="951">
                  <c:v>All Others</c:v>
                </c:pt>
                <c:pt idx="952">
                  <c:v>Lactalis: A</c:v>
                </c:pt>
                <c:pt idx="953">
                  <c:v>All Others</c:v>
                </c:pt>
                <c:pt idx="954">
                  <c:v>All Others</c:v>
                </c:pt>
                <c:pt idx="955">
                  <c:v>Societe</c:v>
                </c:pt>
                <c:pt idx="956">
                  <c:v>Pave D'Affi</c:v>
                </c:pt>
                <c:pt idx="957">
                  <c:v>All Others</c:v>
                </c:pt>
                <c:pt idx="958">
                  <c:v>All Others</c:v>
                </c:pt>
                <c:pt idx="959">
                  <c:v>All Others</c:v>
                </c:pt>
                <c:pt idx="960">
                  <c:v>All Others</c:v>
                </c:pt>
                <c:pt idx="961">
                  <c:v>All Others</c:v>
                </c:pt>
                <c:pt idx="962">
                  <c:v>All Others</c:v>
                </c:pt>
                <c:pt idx="963">
                  <c:v>All Others</c:v>
                </c:pt>
                <c:pt idx="964">
                  <c:v>All Others</c:v>
                </c:pt>
                <c:pt idx="965">
                  <c:v>Lactalis: A</c:v>
                </c:pt>
                <c:pt idx="966">
                  <c:v>All Others</c:v>
                </c:pt>
                <c:pt idx="967">
                  <c:v>All Others</c:v>
                </c:pt>
                <c:pt idx="968">
                  <c:v>All Others</c:v>
                </c:pt>
                <c:pt idx="969">
                  <c:v>All Others</c:v>
                </c:pt>
                <c:pt idx="970">
                  <c:v>All Others</c:v>
                </c:pt>
                <c:pt idx="971">
                  <c:v>Fol Epi</c:v>
                </c:pt>
                <c:pt idx="972">
                  <c:v>All Others</c:v>
                </c:pt>
                <c:pt idx="973">
                  <c:v>All Others</c:v>
                </c:pt>
                <c:pt idx="974">
                  <c:v>All Others</c:v>
                </c:pt>
                <c:pt idx="975">
                  <c:v>All Others</c:v>
                </c:pt>
                <c:pt idx="976">
                  <c:v>All Others</c:v>
                </c:pt>
                <c:pt idx="977">
                  <c:v>Chaussee Au</c:v>
                </c:pt>
                <c:pt idx="978">
                  <c:v>All Others</c:v>
                </c:pt>
                <c:pt idx="979">
                  <c:v>La Belle Et</c:v>
                </c:pt>
                <c:pt idx="980">
                  <c:v>All Others</c:v>
                </c:pt>
                <c:pt idx="981">
                  <c:v>Savencia: A</c:v>
                </c:pt>
                <c:pt idx="982">
                  <c:v>All Others</c:v>
                </c:pt>
                <c:pt idx="983">
                  <c:v>All Others</c:v>
                </c:pt>
                <c:pt idx="984">
                  <c:v>Coeur Lion</c:v>
                </c:pt>
                <c:pt idx="985">
                  <c:v>All Others</c:v>
                </c:pt>
                <c:pt idx="986">
                  <c:v>All Others</c:v>
                </c:pt>
                <c:pt idx="987">
                  <c:v>Milleret</c:v>
                </c:pt>
                <c:pt idx="988">
                  <c:v>All Others</c:v>
                </c:pt>
                <c:pt idx="989">
                  <c:v>All Others</c:v>
                </c:pt>
                <c:pt idx="990">
                  <c:v>All Others</c:v>
                </c:pt>
                <c:pt idx="991">
                  <c:v>All Others</c:v>
                </c:pt>
                <c:pt idx="992">
                  <c:v>All Others</c:v>
                </c:pt>
                <c:pt idx="993">
                  <c:v>All Others</c:v>
                </c:pt>
                <c:pt idx="994">
                  <c:v>All Others</c:v>
                </c:pt>
                <c:pt idx="995">
                  <c:v>All Others</c:v>
                </c:pt>
                <c:pt idx="996">
                  <c:v>All Others</c:v>
                </c:pt>
                <c:pt idx="997">
                  <c:v>All Others</c:v>
                </c:pt>
                <c:pt idx="998">
                  <c:v>Milleret</c:v>
                </c:pt>
                <c:pt idx="999">
                  <c:v>All Others</c:v>
                </c:pt>
                <c:pt idx="1000">
                  <c:v>All Others</c:v>
                </c:pt>
                <c:pt idx="1001">
                  <c:v>All Others</c:v>
                </c:pt>
                <c:pt idx="1002">
                  <c:v>All Others</c:v>
                </c:pt>
                <c:pt idx="1003">
                  <c:v>All Others</c:v>
                </c:pt>
                <c:pt idx="1004">
                  <c:v>All Others</c:v>
                </c:pt>
                <c:pt idx="1005">
                  <c:v>All Others</c:v>
                </c:pt>
                <c:pt idx="1006">
                  <c:v>All Others</c:v>
                </c:pt>
                <c:pt idx="1007">
                  <c:v>Lactalis: A</c:v>
                </c:pt>
                <c:pt idx="1008">
                  <c:v>All Others</c:v>
                </c:pt>
                <c:pt idx="1009">
                  <c:v>Entremont</c:v>
                </c:pt>
                <c:pt idx="1010">
                  <c:v>All Others</c:v>
                </c:pt>
                <c:pt idx="1011">
                  <c:v>All Others</c:v>
                </c:pt>
                <c:pt idx="1012">
                  <c:v>All Others</c:v>
                </c:pt>
                <c:pt idx="1013">
                  <c:v>All Others</c:v>
                </c:pt>
                <c:pt idx="1014">
                  <c:v>All Others</c:v>
                </c:pt>
                <c:pt idx="1015">
                  <c:v>La Belle Et</c:v>
                </c:pt>
                <c:pt idx="1016">
                  <c:v>All Others</c:v>
                </c:pt>
                <c:pt idx="1017">
                  <c:v>All Others</c:v>
                </c:pt>
                <c:pt idx="1018">
                  <c:v>All Others</c:v>
                </c:pt>
                <c:pt idx="1019">
                  <c:v>All Others</c:v>
                </c:pt>
                <c:pt idx="1020">
                  <c:v>Etoile Du V</c:v>
                </c:pt>
                <c:pt idx="1021">
                  <c:v>All Others</c:v>
                </c:pt>
                <c:pt idx="1022">
                  <c:v>Entremont</c:v>
                </c:pt>
                <c:pt idx="1023">
                  <c:v>All Others</c:v>
                </c:pt>
                <c:pt idx="1024">
                  <c:v>All Others</c:v>
                </c:pt>
                <c:pt idx="1025">
                  <c:v>All Others</c:v>
                </c:pt>
                <c:pt idx="1026">
                  <c:v>All Others</c:v>
                </c:pt>
                <c:pt idx="1027">
                  <c:v>All Others</c:v>
                </c:pt>
                <c:pt idx="1028">
                  <c:v>Richesmonts</c:v>
                </c:pt>
                <c:pt idx="1029">
                  <c:v>Paysan Bret</c:v>
                </c:pt>
                <c:pt idx="1030">
                  <c:v>Aperivrais</c:v>
                </c:pt>
                <c:pt idx="1031">
                  <c:v>All Others</c:v>
                </c:pt>
                <c:pt idx="1032">
                  <c:v>All Others</c:v>
                </c:pt>
                <c:pt idx="1033">
                  <c:v>Lactalis: A</c:v>
                </c:pt>
                <c:pt idx="1034">
                  <c:v>All Others</c:v>
                </c:pt>
                <c:pt idx="1035">
                  <c:v>Entremont</c:v>
                </c:pt>
                <c:pt idx="1036">
                  <c:v>Entremont</c:v>
                </c:pt>
                <c:pt idx="1037">
                  <c:v>All Others</c:v>
                </c:pt>
                <c:pt idx="1038">
                  <c:v>Lactalis: A</c:v>
                </c:pt>
                <c:pt idx="1039">
                  <c:v>All Others</c:v>
                </c:pt>
                <c:pt idx="1040">
                  <c:v>All Others</c:v>
                </c:pt>
                <c:pt idx="1041">
                  <c:v>Tomasoni</c:v>
                </c:pt>
                <c:pt idx="1042">
                  <c:v>All Others</c:v>
                </c:pt>
                <c:pt idx="1043">
                  <c:v>All Others</c:v>
                </c:pt>
                <c:pt idx="1044">
                  <c:v>All Others</c:v>
                </c:pt>
                <c:pt idx="1045">
                  <c:v>All Others</c:v>
                </c:pt>
                <c:pt idx="1046">
                  <c:v>All Others</c:v>
                </c:pt>
                <c:pt idx="1047">
                  <c:v>All Others</c:v>
                </c:pt>
                <c:pt idx="1048">
                  <c:v>Petit Billy</c:v>
                </c:pt>
                <c:pt idx="1049">
                  <c:v>All Others</c:v>
                </c:pt>
                <c:pt idx="1050">
                  <c:v>All Others</c:v>
                </c:pt>
                <c:pt idx="1051">
                  <c:v>Lincet</c:v>
                </c:pt>
                <c:pt idx="1052">
                  <c:v>All Others</c:v>
                </c:pt>
                <c:pt idx="1053">
                  <c:v>All Others</c:v>
                </c:pt>
                <c:pt idx="1054">
                  <c:v>All Others</c:v>
                </c:pt>
                <c:pt idx="1055">
                  <c:v>All Others</c:v>
                </c:pt>
                <c:pt idx="1056">
                  <c:v>All Others</c:v>
                </c:pt>
                <c:pt idx="1057">
                  <c:v>All Others</c:v>
                </c:pt>
                <c:pt idx="1058">
                  <c:v>All Others</c:v>
                </c:pt>
                <c:pt idx="1059">
                  <c:v>All Others</c:v>
                </c:pt>
                <c:pt idx="1060">
                  <c:v>All Others</c:v>
                </c:pt>
                <c:pt idx="1061">
                  <c:v>La Belle Et</c:v>
                </c:pt>
                <c:pt idx="1062">
                  <c:v>All Others</c:v>
                </c:pt>
                <c:pt idx="1063">
                  <c:v>All Others</c:v>
                </c:pt>
                <c:pt idx="1064">
                  <c:v>All Others</c:v>
                </c:pt>
                <c:pt idx="1065">
                  <c:v>All Others</c:v>
                </c:pt>
                <c:pt idx="1066">
                  <c:v>All Others</c:v>
                </c:pt>
                <c:pt idx="1067">
                  <c:v>All Others</c:v>
                </c:pt>
                <c:pt idx="1068">
                  <c:v>All Others</c:v>
                </c:pt>
                <c:pt idx="1069">
                  <c:v>All Others</c:v>
                </c:pt>
                <c:pt idx="1070">
                  <c:v>All Others</c:v>
                </c:pt>
                <c:pt idx="1071">
                  <c:v>All Others</c:v>
                </c:pt>
                <c:pt idx="1072">
                  <c:v>All Others</c:v>
                </c:pt>
                <c:pt idx="1073">
                  <c:v>All Others</c:v>
                </c:pt>
                <c:pt idx="1074">
                  <c:v>All Others</c:v>
                </c:pt>
                <c:pt idx="1075">
                  <c:v>Richesmonts</c:v>
                </c:pt>
                <c:pt idx="1076">
                  <c:v>Fol Epi</c:v>
                </c:pt>
                <c:pt idx="1077">
                  <c:v>All Others</c:v>
                </c:pt>
                <c:pt idx="1078">
                  <c:v>All Others</c:v>
                </c:pt>
                <c:pt idx="1079">
                  <c:v>Dodin</c:v>
                </c:pt>
                <c:pt idx="1080">
                  <c:v>All Others</c:v>
                </c:pt>
                <c:pt idx="1081">
                  <c:v>Entremont</c:v>
                </c:pt>
                <c:pt idx="1082">
                  <c:v>All Others</c:v>
                </c:pt>
                <c:pt idx="1083">
                  <c:v>All Others</c:v>
                </c:pt>
                <c:pt idx="1084">
                  <c:v>All Others</c:v>
                </c:pt>
                <c:pt idx="1085">
                  <c:v>All Others</c:v>
                </c:pt>
                <c:pt idx="1086">
                  <c:v>All Others</c:v>
                </c:pt>
                <c:pt idx="1087">
                  <c:v>All Others</c:v>
                </c:pt>
                <c:pt idx="1088">
                  <c:v>All Others</c:v>
                </c:pt>
                <c:pt idx="1089">
                  <c:v>All Others</c:v>
                </c:pt>
                <c:pt idx="1090">
                  <c:v>All Others</c:v>
                </c:pt>
                <c:pt idx="1091">
                  <c:v>All Others</c:v>
                </c:pt>
                <c:pt idx="1092">
                  <c:v>All Others</c:v>
                </c:pt>
                <c:pt idx="1093">
                  <c:v>All Others</c:v>
                </c:pt>
                <c:pt idx="1094">
                  <c:v>All Others</c:v>
                </c:pt>
                <c:pt idx="1095">
                  <c:v>All Others</c:v>
                </c:pt>
                <c:pt idx="1096">
                  <c:v>All Others</c:v>
                </c:pt>
                <c:pt idx="1097">
                  <c:v>All Others</c:v>
                </c:pt>
                <c:pt idx="1098">
                  <c:v>All Others</c:v>
                </c:pt>
                <c:pt idx="1099">
                  <c:v>All Others</c:v>
                </c:pt>
                <c:pt idx="1100">
                  <c:v>All Others</c:v>
                </c:pt>
                <c:pt idx="1101">
                  <c:v>All Others</c:v>
                </c:pt>
                <c:pt idx="1102">
                  <c:v>All Others</c:v>
                </c:pt>
                <c:pt idx="1103">
                  <c:v>All Others</c:v>
                </c:pt>
                <c:pt idx="1104">
                  <c:v>All Others</c:v>
                </c:pt>
                <c:pt idx="1105">
                  <c:v>All Others</c:v>
                </c:pt>
                <c:pt idx="1106">
                  <c:v>All Others</c:v>
                </c:pt>
                <c:pt idx="1107">
                  <c:v>All Others</c:v>
                </c:pt>
                <c:pt idx="1108">
                  <c:v>Chavroux</c:v>
                </c:pt>
                <c:pt idx="1109">
                  <c:v>All Others</c:v>
                </c:pt>
                <c:pt idx="1110">
                  <c:v>All Others</c:v>
                </c:pt>
                <c:pt idx="1111">
                  <c:v>All Others</c:v>
                </c:pt>
                <c:pt idx="1112">
                  <c:v>All Others</c:v>
                </c:pt>
                <c:pt idx="1113">
                  <c:v>All Others</c:v>
                </c:pt>
                <c:pt idx="1114">
                  <c:v>All Others</c:v>
                </c:pt>
                <c:pt idx="1115">
                  <c:v>All Others</c:v>
                </c:pt>
                <c:pt idx="1116">
                  <c:v>All Others</c:v>
                </c:pt>
                <c:pt idx="1117">
                  <c:v>All Others</c:v>
                </c:pt>
                <c:pt idx="1118">
                  <c:v>All Others</c:v>
                </c:pt>
                <c:pt idx="1119">
                  <c:v>All Others</c:v>
                </c:pt>
                <c:pt idx="1120">
                  <c:v>Paysan Bret</c:v>
                </c:pt>
                <c:pt idx="1121">
                  <c:v>La Belle Et</c:v>
                </c:pt>
                <c:pt idx="1122">
                  <c:v>All Others</c:v>
                </c:pt>
                <c:pt idx="1123">
                  <c:v>All Others</c:v>
                </c:pt>
                <c:pt idx="1124">
                  <c:v>Paysan Bret</c:v>
                </c:pt>
                <c:pt idx="1125">
                  <c:v>All Others</c:v>
                </c:pt>
                <c:pt idx="1126">
                  <c:v>All Others</c:v>
                </c:pt>
                <c:pt idx="1127">
                  <c:v>All Others</c:v>
                </c:pt>
                <c:pt idx="1128">
                  <c:v>All Others</c:v>
                </c:pt>
                <c:pt idx="1129">
                  <c:v>Pave D'Affi</c:v>
                </c:pt>
                <c:pt idx="1130">
                  <c:v>All Others</c:v>
                </c:pt>
                <c:pt idx="1131">
                  <c:v>All Others</c:v>
                </c:pt>
                <c:pt idx="1132">
                  <c:v>All Others</c:v>
                </c:pt>
                <c:pt idx="1133">
                  <c:v>All Others</c:v>
                </c:pt>
                <c:pt idx="1134">
                  <c:v>All Others</c:v>
                </c:pt>
                <c:pt idx="1135">
                  <c:v>Corsica</c:v>
                </c:pt>
                <c:pt idx="1136">
                  <c:v>Lactalis: A</c:v>
                </c:pt>
                <c:pt idx="1137">
                  <c:v>All Others</c:v>
                </c:pt>
                <c:pt idx="1138">
                  <c:v>All Others</c:v>
                </c:pt>
                <c:pt idx="1139">
                  <c:v>All Others</c:v>
                </c:pt>
                <c:pt idx="1140">
                  <c:v>All Others</c:v>
                </c:pt>
                <c:pt idx="1141">
                  <c:v>Rians</c:v>
                </c:pt>
                <c:pt idx="1142">
                  <c:v>Laiteries H</c:v>
                </c:pt>
                <c:pt idx="1143">
                  <c:v>All Others</c:v>
                </c:pt>
                <c:pt idx="1144">
                  <c:v>All Others</c:v>
                </c:pt>
                <c:pt idx="1145">
                  <c:v>All Others</c:v>
                </c:pt>
                <c:pt idx="1146">
                  <c:v>All Others</c:v>
                </c:pt>
                <c:pt idx="1147">
                  <c:v>All Others</c:v>
                </c:pt>
                <c:pt idx="1148">
                  <c:v>Ambrosi</c:v>
                </c:pt>
                <c:pt idx="1149">
                  <c:v>All Others</c:v>
                </c:pt>
                <c:pt idx="1150">
                  <c:v>All Others</c:v>
                </c:pt>
                <c:pt idx="1151">
                  <c:v>All Others</c:v>
                </c:pt>
                <c:pt idx="1152">
                  <c:v>Rians</c:v>
                </c:pt>
                <c:pt idx="1153">
                  <c:v>All Others</c:v>
                </c:pt>
                <c:pt idx="1154">
                  <c:v>All Others</c:v>
                </c:pt>
                <c:pt idx="1155">
                  <c:v>All Others</c:v>
                </c:pt>
                <c:pt idx="1156">
                  <c:v>All Others</c:v>
                </c:pt>
                <c:pt idx="1157">
                  <c:v>All Others</c:v>
                </c:pt>
                <c:pt idx="1158">
                  <c:v>Baillon</c:v>
                </c:pt>
                <c:pt idx="1159">
                  <c:v>Pave D'Affi</c:v>
                </c:pt>
                <c:pt idx="1160">
                  <c:v>All Others</c:v>
                </c:pt>
                <c:pt idx="1161">
                  <c:v>All Others</c:v>
                </c:pt>
                <c:pt idx="1162">
                  <c:v>All Others</c:v>
                </c:pt>
                <c:pt idx="1163">
                  <c:v>Savencia: A</c:v>
                </c:pt>
                <c:pt idx="1164">
                  <c:v>All Others</c:v>
                </c:pt>
                <c:pt idx="1165">
                  <c:v>Savencia: A</c:v>
                </c:pt>
                <c:pt idx="1166">
                  <c:v>All Others</c:v>
                </c:pt>
                <c:pt idx="1167">
                  <c:v>Jperrin</c:v>
                </c:pt>
                <c:pt idx="1168">
                  <c:v>All Others</c:v>
                </c:pt>
                <c:pt idx="1169">
                  <c:v>All Others</c:v>
                </c:pt>
                <c:pt idx="1170">
                  <c:v>All Others</c:v>
                </c:pt>
                <c:pt idx="1171">
                  <c:v>All Others</c:v>
                </c:pt>
                <c:pt idx="1172">
                  <c:v>All Others</c:v>
                </c:pt>
                <c:pt idx="1173">
                  <c:v>All Others</c:v>
                </c:pt>
                <c:pt idx="1174">
                  <c:v>All Others</c:v>
                </c:pt>
                <c:pt idx="1175">
                  <c:v>Etoile Du V</c:v>
                </c:pt>
                <c:pt idx="1176">
                  <c:v>Mini Babybe</c:v>
                </c:pt>
                <c:pt idx="1177">
                  <c:v>All Others</c:v>
                </c:pt>
                <c:pt idx="1178">
                  <c:v>All Others</c:v>
                </c:pt>
                <c:pt idx="1179">
                  <c:v>All Others</c:v>
                </c:pt>
                <c:pt idx="1180">
                  <c:v>All Others</c:v>
                </c:pt>
                <c:pt idx="1181">
                  <c:v>All Others</c:v>
                </c:pt>
                <c:pt idx="1182">
                  <c:v>All Others</c:v>
                </c:pt>
                <c:pt idx="1183">
                  <c:v>All Others</c:v>
                </c:pt>
                <c:pt idx="1184">
                  <c:v>All Others</c:v>
                </c:pt>
                <c:pt idx="1185">
                  <c:v>All Others</c:v>
                </c:pt>
                <c:pt idx="1186">
                  <c:v>Rians</c:v>
                </c:pt>
                <c:pt idx="1187">
                  <c:v>Chirag</c:v>
                </c:pt>
                <c:pt idx="1188">
                  <c:v>All Others</c:v>
                </c:pt>
                <c:pt idx="1189">
                  <c:v>All Others</c:v>
                </c:pt>
                <c:pt idx="1190">
                  <c:v>Violife</c:v>
                </c:pt>
                <c:pt idx="1191">
                  <c:v>All Others</c:v>
                </c:pt>
                <c:pt idx="1192">
                  <c:v>Richesmonts</c:v>
                </c:pt>
                <c:pt idx="1193">
                  <c:v>All Others</c:v>
                </c:pt>
                <c:pt idx="1194">
                  <c:v>Gillot</c:v>
                </c:pt>
                <c:pt idx="1195">
                  <c:v>Gillot</c:v>
                </c:pt>
                <c:pt idx="1196">
                  <c:v>Gillot</c:v>
                </c:pt>
                <c:pt idx="1197">
                  <c:v>Private Lab</c:v>
                </c:pt>
                <c:pt idx="1198">
                  <c:v>All Others</c:v>
                </c:pt>
                <c:pt idx="1199">
                  <c:v>All Others</c:v>
                </c:pt>
                <c:pt idx="1200">
                  <c:v>All Others</c:v>
                </c:pt>
                <c:pt idx="1201">
                  <c:v>Netto</c:v>
                </c:pt>
                <c:pt idx="1202">
                  <c:v>All Others</c:v>
                </c:pt>
                <c:pt idx="1203">
                  <c:v>Private Lab</c:v>
                </c:pt>
                <c:pt idx="1204">
                  <c:v>All Others</c:v>
                </c:pt>
                <c:pt idx="1205">
                  <c:v>All Others</c:v>
                </c:pt>
                <c:pt idx="1206">
                  <c:v>Raguin</c:v>
                </c:pt>
                <c:pt idx="1207">
                  <c:v>All Others</c:v>
                </c:pt>
                <c:pt idx="1208">
                  <c:v>Milleret: A</c:v>
                </c:pt>
                <c:pt idx="1209">
                  <c:v>Private Lab</c:v>
                </c:pt>
                <c:pt idx="1210">
                  <c:v>All Others</c:v>
                </c:pt>
                <c:pt idx="1211">
                  <c:v>All Others</c:v>
                </c:pt>
                <c:pt idx="1212">
                  <c:v>Lactalis: A</c:v>
                </c:pt>
                <c:pt idx="1213">
                  <c:v>All Others</c:v>
                </c:pt>
                <c:pt idx="1214">
                  <c:v>La Vache Qu</c:v>
                </c:pt>
                <c:pt idx="1215">
                  <c:v>All Others</c:v>
                </c:pt>
                <c:pt idx="1216">
                  <c:v>All Others</c:v>
                </c:pt>
                <c:pt idx="1217">
                  <c:v>All Others</c:v>
                </c:pt>
                <c:pt idx="1218">
                  <c:v>All Others</c:v>
                </c:pt>
                <c:pt idx="1219">
                  <c:v>Lactalis: A</c:v>
                </c:pt>
                <c:pt idx="1220">
                  <c:v>Casa Azzur</c:v>
                </c:pt>
                <c:pt idx="1221">
                  <c:v>All Others</c:v>
                </c:pt>
                <c:pt idx="1222">
                  <c:v>Private Lab</c:v>
                </c:pt>
                <c:pt idx="1223">
                  <c:v>All Others</c:v>
                </c:pt>
                <c:pt idx="1224">
                  <c:v>All Others</c:v>
                </c:pt>
                <c:pt idx="1225">
                  <c:v>All Others</c:v>
                </c:pt>
                <c:pt idx="1226">
                  <c:v>All Others</c:v>
                </c:pt>
                <c:pt idx="1227">
                  <c:v>Alsacelait</c:v>
                </c:pt>
                <c:pt idx="1228">
                  <c:v>All Others</c:v>
                </c:pt>
                <c:pt idx="1229">
                  <c:v>Savencia: A</c:v>
                </c:pt>
                <c:pt idx="1230">
                  <c:v>British H</c:v>
                </c:pt>
                <c:pt idx="1231">
                  <c:v>All Others</c:v>
                </c:pt>
                <c:pt idx="1232">
                  <c:v>All Others</c:v>
                </c:pt>
                <c:pt idx="1233">
                  <c:v>Jperrin</c:v>
                </c:pt>
                <c:pt idx="1234">
                  <c:v>Raguin</c:v>
                </c:pt>
                <c:pt idx="1235">
                  <c:v>All Others</c:v>
                </c:pt>
                <c:pt idx="1236">
                  <c:v>All Others</c:v>
                </c:pt>
                <c:pt idx="1237">
                  <c:v>All Others</c:v>
                </c:pt>
                <c:pt idx="1238">
                  <c:v>Private Lab</c:v>
                </c:pt>
                <c:pt idx="1239">
                  <c:v>Gillot</c:v>
                </c:pt>
                <c:pt idx="1240">
                  <c:v>All Others</c:v>
                </c:pt>
                <c:pt idx="1241">
                  <c:v>Ambrosi</c:v>
                </c:pt>
                <c:pt idx="1242">
                  <c:v>Private Lab</c:v>
                </c:pt>
                <c:pt idx="1243">
                  <c:v>All Others</c:v>
                </c:pt>
                <c:pt idx="1244">
                  <c:v>La Vache Qu</c:v>
                </c:pt>
                <c:pt idx="1245">
                  <c:v>All Others</c:v>
                </c:pt>
                <c:pt idx="1246">
                  <c:v>All Others</c:v>
                </c:pt>
                <c:pt idx="1247">
                  <c:v>All Others</c:v>
                </c:pt>
                <c:pt idx="1248">
                  <c:v>All Others</c:v>
                </c:pt>
                <c:pt idx="1249">
                  <c:v>All Others</c:v>
                </c:pt>
                <c:pt idx="1250">
                  <c:v>Netto</c:v>
                </c:pt>
                <c:pt idx="1251">
                  <c:v>All Others</c:v>
                </c:pt>
                <c:pt idx="1252">
                  <c:v>President</c:v>
                </c:pt>
                <c:pt idx="1253">
                  <c:v>All Others</c:v>
                </c:pt>
                <c:pt idx="1254">
                  <c:v>Kiri</c:v>
                </c:pt>
                <c:pt idx="1255">
                  <c:v>All Others</c:v>
                </c:pt>
                <c:pt idx="1256">
                  <c:v>All Others</c:v>
                </c:pt>
                <c:pt idx="1257">
                  <c:v>La Vache Qu</c:v>
                </c:pt>
                <c:pt idx="1258">
                  <c:v>All Others</c:v>
                </c:pt>
                <c:pt idx="1259">
                  <c:v>All Others</c:v>
                </c:pt>
                <c:pt idx="1260">
                  <c:v>All Others</c:v>
                </c:pt>
                <c:pt idx="1261">
                  <c:v>La Vache Qu</c:v>
                </c:pt>
              </c:strCache>
            </c:strRef>
          </c:cat>
          <c:val>
            <c:numRef>
              <c:f>Sheet1!$C$2:$C$1263</c:f>
              <c:numCache>
                <c:formatCode>General</c:formatCode>
                <c:ptCount val="1262"/>
                <c:pt idx="0">
                  <c:v>0.021343459780904326</c:v>
                </c:pt>
                <c:pt idx="1">
                  <c:v>0.039787631521849914</c:v>
                </c:pt>
                <c:pt idx="2">
                  <c:v>0.05755955424832425</c:v>
                </c:pt>
                <c:pt idx="3">
                  <c:v>0.0751871719598464</c:v>
                </c:pt>
                <c:pt idx="4">
                  <c:v>0.08790756250278828</c:v>
                </c:pt>
                <c:pt idx="5">
                  <c:v>0.09987299409166885</c:v>
                </c:pt>
                <c:pt idx="6">
                  <c:v>0.11154574349825822</c:v>
                </c:pt>
                <c:pt idx="7">
                  <c:v>0.12187569009786166</c:v>
                </c:pt>
                <c:pt idx="8">
                  <c:v>0.1317836108897318</c:v>
                </c:pt>
                <c:pt idx="9">
                  <c:v>0.14133697088148617</c:v>
                </c:pt>
                <c:pt idx="10">
                  <c:v>0.1507207724806717</c:v>
                </c:pt>
                <c:pt idx="11">
                  <c:v>0.16000004343629215</c:v>
                </c:pt>
                <c:pt idx="12">
                  <c:v>0.1692742709557713</c:v>
                </c:pt>
                <c:pt idx="13">
                  <c:v>0.17768316910946041</c:v>
                </c:pt>
                <c:pt idx="14">
                  <c:v>0.18607384815173</c:v>
                </c:pt>
                <c:pt idx="15">
                  <c:v>0.19436962492852244</c:v>
                </c:pt>
                <c:pt idx="16">
                  <c:v>0.20221335056064946</c:v>
                </c:pt>
                <c:pt idx="17">
                  <c:v>0.20987395602455494</c:v>
                </c:pt>
                <c:pt idx="18">
                  <c:v>0.2173649668989815</c:v>
                </c:pt>
                <c:pt idx="19">
                  <c:v>0.22483290224321606</c:v>
                </c:pt>
                <c:pt idx="20">
                  <c:v>0.23221829053395604</c:v>
                </c:pt>
                <c:pt idx="21">
                  <c:v>0.23934323602367172</c:v>
                </c:pt>
                <c:pt idx="22">
                  <c:v>0.2464116660710767</c:v>
                </c:pt>
                <c:pt idx="23">
                  <c:v>0.25333346846846444</c:v>
                </c:pt>
                <c:pt idx="24">
                  <c:v>0.2600990450018387</c:v>
                </c:pt>
                <c:pt idx="25">
                  <c:v>0.2664551741537412</c:v>
                </c:pt>
                <c:pt idx="26">
                  <c:v>0.2727768619456787</c:v>
                </c:pt>
                <c:pt idx="27">
                  <c:v>0.2789647116625027</c:v>
                </c:pt>
                <c:pt idx="28">
                  <c:v>0.28510829255826825</c:v>
                </c:pt>
                <c:pt idx="29">
                  <c:v>0.29120785197852767</c:v>
                </c:pt>
                <c:pt idx="30">
                  <c:v>0.29724194325404374</c:v>
                </c:pt>
                <c:pt idx="31">
                  <c:v>0.30307135910137073</c:v>
                </c:pt>
                <c:pt idx="32">
                  <c:v>0.30880732659244314</c:v>
                </c:pt>
                <c:pt idx="33">
                  <c:v>0.31453410006834887</c:v>
                </c:pt>
                <c:pt idx="34">
                  <c:v>0.3202403981587718</c:v>
                </c:pt>
                <c:pt idx="35">
                  <c:v>0.3258246342355021</c:v>
                </c:pt>
                <c:pt idx="36">
                  <c:v>0.33137709545797855</c:v>
                </c:pt>
                <c:pt idx="37">
                  <c:v>0.3368846121837412</c:v>
                </c:pt>
                <c:pt idx="38">
                  <c:v>0.3423778371628307</c:v>
                </c:pt>
                <c:pt idx="39">
                  <c:v>0.34784046368724475</c:v>
                </c:pt>
                <c:pt idx="40">
                  <c:v>0.3531960499156597</c:v>
                </c:pt>
                <c:pt idx="41">
                  <c:v>0.3584413562246213</c:v>
                </c:pt>
                <c:pt idx="42">
                  <c:v>0.36358299458304194</c:v>
                </c:pt>
                <c:pt idx="43">
                  <c:v>0.3685536990663098</c:v>
                </c:pt>
                <c:pt idx="44">
                  <c:v>0.37350540620459083</c:v>
                </c:pt>
                <c:pt idx="45">
                  <c:v>0.3784289943765386</c:v>
                </c:pt>
                <c:pt idx="46">
                  <c:v>0.3833467246818677</c:v>
                </c:pt>
                <c:pt idx="47">
                  <c:v>0.3882564313387902</c:v>
                </c:pt>
                <c:pt idx="48">
                  <c:v>0.39308950913702023</c:v>
                </c:pt>
                <c:pt idx="49">
                  <c:v>0.39783690281621326</c:v>
                </c:pt>
                <c:pt idx="50">
                  <c:v>0.4024835665274022</c:v>
                </c:pt>
                <c:pt idx="51">
                  <c:v>0.4071191298528256</c:v>
                </c:pt>
                <c:pt idx="52">
                  <c:v>0.4116985095409476</c:v>
                </c:pt>
                <c:pt idx="53">
                  <c:v>0.41626441191287383</c:v>
                </c:pt>
                <c:pt idx="54">
                  <c:v>0.42082975926551175</c:v>
                </c:pt>
                <c:pt idx="55">
                  <c:v>0.425315636302014</c:v>
                </c:pt>
                <c:pt idx="56">
                  <c:v>0.4296050968386495</c:v>
                </c:pt>
                <c:pt idx="57">
                  <c:v>0.43383847629589556</c:v>
                </c:pt>
                <c:pt idx="58">
                  <c:v>0.4378490577386266</c:v>
                </c:pt>
                <c:pt idx="59">
                  <c:v>0.44178712470478043</c:v>
                </c:pt>
                <c:pt idx="60">
                  <c:v>0.44569866536864566</c:v>
                </c:pt>
                <c:pt idx="61">
                  <c:v>0.4496010964768011</c:v>
                </c:pt>
                <c:pt idx="62">
                  <c:v>0.45345306909227007</c:v>
                </c:pt>
                <c:pt idx="63">
                  <c:v>0.4572552287266161</c:v>
                </c:pt>
                <c:pt idx="64">
                  <c:v>0.4610107486422918</c:v>
                </c:pt>
                <c:pt idx="65">
                  <c:v>0.46469087039421864</c:v>
                </c:pt>
                <c:pt idx="66">
                  <c:v>0.4683566280056521</c:v>
                </c:pt>
                <c:pt idx="67">
                  <c:v>0.4720146455111414</c:v>
                </c:pt>
                <c:pt idx="68">
                  <c:v>0.4756677824665849</c:v>
                </c:pt>
                <c:pt idx="69">
                  <c:v>0.4793205453872907</c:v>
                </c:pt>
                <c:pt idx="70">
                  <c:v>0.48294382592471585</c:v>
                </c:pt>
                <c:pt idx="71">
                  <c:v>0.48656618344093333</c:v>
                </c:pt>
                <c:pt idx="72">
                  <c:v>0.49018549438388365</c:v>
                </c:pt>
                <c:pt idx="73">
                  <c:v>0.49378575971930033</c:v>
                </c:pt>
                <c:pt idx="74">
                  <c:v>0.4973231811859563</c:v>
                </c:pt>
                <c:pt idx="75">
                  <c:v>0.500835681080005</c:v>
                </c:pt>
                <c:pt idx="76">
                  <c:v>0.504339367026443</c:v>
                </c:pt>
                <c:pt idx="77">
                  <c:v>0.5078375631081817</c:v>
                </c:pt>
                <c:pt idx="78">
                  <c:v>0.5113321756958201</c:v>
                </c:pt>
                <c:pt idx="79">
                  <c:v>0.514742920042745</c:v>
                </c:pt>
                <c:pt idx="80">
                  <c:v>0.5181251412245071</c:v>
                </c:pt>
                <c:pt idx="81">
                  <c:v>0.5214647465774389</c:v>
                </c:pt>
                <c:pt idx="82">
                  <c:v>0.5247596789104827</c:v>
                </c:pt>
                <c:pt idx="83">
                  <c:v>0.5280322475859</c:v>
                </c:pt>
                <c:pt idx="84">
                  <c:v>0.531263183781878</c:v>
                </c:pt>
                <c:pt idx="85">
                  <c:v>0.5344888050648889</c:v>
                </c:pt>
                <c:pt idx="86">
                  <c:v>0.5376842441576906</c:v>
                </c:pt>
                <c:pt idx="87">
                  <c:v>0.5408699583473107</c:v>
                </c:pt>
                <c:pt idx="88">
                  <c:v>0.5440212432426025</c:v>
                </c:pt>
                <c:pt idx="89">
                  <c:v>0.5471332243263386</c:v>
                </c:pt>
                <c:pt idx="90">
                  <c:v>0.5502127488473472</c:v>
                </c:pt>
                <c:pt idx="91">
                  <c:v>0.553284798706419</c:v>
                </c:pt>
                <c:pt idx="92">
                  <c:v>0.5562285003550766</c:v>
                </c:pt>
                <c:pt idx="93">
                  <c:v>0.5591484628635237</c:v>
                </c:pt>
                <c:pt idx="94">
                  <c:v>0.562061397138592</c:v>
                </c:pt>
                <c:pt idx="95">
                  <c:v>0.5649606972441875</c:v>
                </c:pt>
                <c:pt idx="96">
                  <c:v>0.5678492227362083</c:v>
                </c:pt>
                <c:pt idx="97">
                  <c:v>0.5706805933071732</c:v>
                </c:pt>
                <c:pt idx="98">
                  <c:v>0.5735100997372677</c:v>
                </c:pt>
                <c:pt idx="99">
                  <c:v>0.5763117224809446</c:v>
                </c:pt>
                <c:pt idx="100">
                  <c:v>0.5791073848000909</c:v>
                </c:pt>
                <c:pt idx="101">
                  <c:v>0.5818554240511756</c:v>
                </c:pt>
                <c:pt idx="102">
                  <c:v>0.5845578491627096</c:v>
                </c:pt>
                <c:pt idx="103">
                  <c:v>0.587245131900183</c:v>
                </c:pt>
                <c:pt idx="104">
                  <c:v>0.5898754346683327</c:v>
                </c:pt>
                <c:pt idx="105">
                  <c:v>0.5924875183250629</c:v>
                </c:pt>
                <c:pt idx="106">
                  <c:v>0.5950800918472463</c:v>
                </c:pt>
                <c:pt idx="107">
                  <c:v>0.5976671513734572</c:v>
                </c:pt>
                <c:pt idx="108">
                  <c:v>0.6002495475310827</c:v>
                </c:pt>
                <c:pt idx="109">
                  <c:v>0.6028196126079992</c:v>
                </c:pt>
                <c:pt idx="110">
                  <c:v>0.6053806948183913</c:v>
                </c:pt>
                <c:pt idx="111">
                  <c:v>0.6079245593652101</c:v>
                </c:pt>
                <c:pt idx="112">
                  <c:v>0.6104602011806166</c:v>
                </c:pt>
                <c:pt idx="113">
                  <c:v>0.612968224753613</c:v>
                </c:pt>
                <c:pt idx="114">
                  <c:v>0.6154185987144487</c:v>
                </c:pt>
                <c:pt idx="115">
                  <c:v>0.6178377830044106</c:v>
                </c:pt>
                <c:pt idx="116">
                  <c:v>0.6202509344760216</c:v>
                </c:pt>
                <c:pt idx="117">
                  <c:v>0.6226496916430475</c:v>
                </c:pt>
                <c:pt idx="118">
                  <c:v>0.6250435863584827</c:v>
                </c:pt>
                <c:pt idx="119">
                  <c:v>0.627410816016807</c:v>
                </c:pt>
                <c:pt idx="120">
                  <c:v>0.6297643572102933</c:v>
                </c:pt>
                <c:pt idx="121">
                  <c:v>0.6320758677583294</c:v>
                </c:pt>
                <c:pt idx="122">
                  <c:v>0.6343645380560891</c:v>
                </c:pt>
                <c:pt idx="123">
                  <c:v>0.6365952631335889</c:v>
                </c:pt>
                <c:pt idx="124">
                  <c:v>0.6388136088678329</c:v>
                </c:pt>
                <c:pt idx="125">
                  <c:v>0.6409837644490902</c:v>
                </c:pt>
                <c:pt idx="126">
                  <c:v>0.6431492747602174</c:v>
                </c:pt>
                <c:pt idx="127">
                  <c:v>0.6453000770602053</c:v>
                </c:pt>
                <c:pt idx="128">
                  <c:v>0.6474371908953551</c:v>
                </c:pt>
                <c:pt idx="129">
                  <c:v>0.6495597475398244</c:v>
                </c:pt>
                <c:pt idx="130">
                  <c:v>0.6516811157190785</c:v>
                </c:pt>
                <c:pt idx="131">
                  <c:v>0.6537913171515651</c:v>
                </c:pt>
                <c:pt idx="132">
                  <c:v>0.6558943877927611</c:v>
                </c:pt>
                <c:pt idx="133">
                  <c:v>0.6579864063107383</c:v>
                </c:pt>
                <c:pt idx="134">
                  <c:v>0.6600563990089167</c:v>
                </c:pt>
                <c:pt idx="135">
                  <c:v>0.6620705760717129</c:v>
                </c:pt>
                <c:pt idx="136">
                  <c:v>0.6640749679031441</c:v>
                </c:pt>
                <c:pt idx="137">
                  <c:v>0.6660419502279817</c:v>
                </c:pt>
                <c:pt idx="138">
                  <c:v>0.6680021818290848</c:v>
                </c:pt>
                <c:pt idx="139">
                  <c:v>0.6699528695115567</c:v>
                </c:pt>
                <c:pt idx="140">
                  <c:v>0.6718946648197797</c:v>
                </c:pt>
                <c:pt idx="141">
                  <c:v>0.6738297214699046</c:v>
                </c:pt>
                <c:pt idx="142">
                  <c:v>0.6757583169715758</c:v>
                </c:pt>
                <c:pt idx="143">
                  <c:v>0.6776799506008702</c:v>
                </c:pt>
                <c:pt idx="144">
                  <c:v>0.6795694956693564</c:v>
                </c:pt>
                <c:pt idx="145">
                  <c:v>0.6814529234600348</c:v>
                </c:pt>
                <c:pt idx="146">
                  <c:v>0.6833310484033829</c:v>
                </c:pt>
                <c:pt idx="147">
                  <c:v>0.685196999119299</c:v>
                </c:pt>
                <c:pt idx="148">
                  <c:v>0.6870446462643386</c:v>
                </c:pt>
                <c:pt idx="149">
                  <c:v>0.6888852289790893</c:v>
                </c:pt>
                <c:pt idx="150">
                  <c:v>0.6907239053232412</c:v>
                </c:pt>
                <c:pt idx="151">
                  <c:v>0.6925319590814443</c:v>
                </c:pt>
                <c:pt idx="152">
                  <c:v>0.6943382572895072</c:v>
                </c:pt>
                <c:pt idx="153">
                  <c:v>0.6961427697833382</c:v>
                </c:pt>
                <c:pt idx="154">
                  <c:v>0.6979426370070392</c:v>
                </c:pt>
                <c:pt idx="155">
                  <c:v>0.6997253710266237</c:v>
                </c:pt>
                <c:pt idx="156">
                  <c:v>0.7015010828456478</c:v>
                </c:pt>
                <c:pt idx="157">
                  <c:v>0.7032633535453863</c:v>
                </c:pt>
                <c:pt idx="158">
                  <c:v>0.7050196155580473</c:v>
                </c:pt>
                <c:pt idx="159">
                  <c:v>0.7067299195605116</c:v>
                </c:pt>
                <c:pt idx="160">
                  <c:v>0.7084323567678463</c:v>
                </c:pt>
                <c:pt idx="161">
                  <c:v>0.7101093475473772</c:v>
                </c:pt>
                <c:pt idx="162">
                  <c:v>0.7117827005374425</c:v>
                </c:pt>
                <c:pt idx="163">
                  <c:v>0.7134403501013407</c:v>
                </c:pt>
                <c:pt idx="164">
                  <c:v>0.71508866689525</c:v>
                </c:pt>
                <c:pt idx="165">
                  <c:v>0.7167339129846187</c:v>
                </c:pt>
                <c:pt idx="166">
                  <c:v>0.7183729151069944</c:v>
                </c:pt>
                <c:pt idx="167">
                  <c:v>0.7200041288608792</c:v>
                </c:pt>
                <c:pt idx="168">
                  <c:v>0.721628380742387</c:v>
                </c:pt>
                <c:pt idx="169">
                  <c:v>0.7232501169386425</c:v>
                </c:pt>
                <c:pt idx="170">
                  <c:v>0.7248701639457598</c:v>
                </c:pt>
                <c:pt idx="171">
                  <c:v>0.7264887087811077</c:v>
                </c:pt>
                <c:pt idx="172">
                  <c:v>0.7280855113391193</c:v>
                </c:pt>
                <c:pt idx="173">
                  <c:v>0.7296754425170291</c:v>
                </c:pt>
                <c:pt idx="174">
                  <c:v>0.7312580860503711</c:v>
                </c:pt>
                <c:pt idx="175">
                  <c:v>0.7328331523638646</c:v>
                </c:pt>
                <c:pt idx="176">
                  <c:v>0.7343985360039049</c:v>
                </c:pt>
                <c:pt idx="177">
                  <c:v>0.735949229731261</c:v>
                </c:pt>
                <c:pt idx="178">
                  <c:v>0.7374610057474357</c:v>
                </c:pt>
                <c:pt idx="179">
                  <c:v>0.7389722207115037</c:v>
                </c:pt>
                <c:pt idx="180">
                  <c:v>0.7404828504921918</c:v>
                </c:pt>
                <c:pt idx="181">
                  <c:v>0.7419885092305587</c:v>
                </c:pt>
                <c:pt idx="182">
                  <c:v>0.7434833873225327</c:v>
                </c:pt>
                <c:pt idx="183">
                  <c:v>0.7449754722196102</c:v>
                </c:pt>
                <c:pt idx="184">
                  <c:v>0.7464293995406187</c:v>
                </c:pt>
                <c:pt idx="185">
                  <c:v>0.7478742354043725</c:v>
                </c:pt>
                <c:pt idx="186">
                  <c:v>0.7493177138839973</c:v>
                </c:pt>
                <c:pt idx="187">
                  <c:v>0.7507606554427888</c:v>
                </c:pt>
                <c:pt idx="188">
                  <c:v>0.7521990603221805</c:v>
                </c:pt>
                <c:pt idx="189">
                  <c:v>0.7536342376437546</c:v>
                </c:pt>
                <c:pt idx="190">
                  <c:v>0.7550531504870548</c:v>
                </c:pt>
                <c:pt idx="191">
                  <c:v>0.7564683893439793</c:v>
                </c:pt>
                <c:pt idx="192">
                  <c:v>0.7578813900252956</c:v>
                </c:pt>
                <c:pt idx="193">
                  <c:v>0.759285775842007</c:v>
                </c:pt>
                <c:pt idx="194">
                  <c:v>0.7606886172572205</c:v>
                </c:pt>
                <c:pt idx="195">
                  <c:v>0.762089310989101</c:v>
                </c:pt>
                <c:pt idx="196">
                  <c:v>0.7634855464682204</c:v>
                </c:pt>
                <c:pt idx="197">
                  <c:v>0.76486981886855</c:v>
                </c:pt>
                <c:pt idx="198">
                  <c:v>0.7662412715298841</c:v>
                </c:pt>
                <c:pt idx="199">
                  <c:v>0.7676052434964631</c:v>
                </c:pt>
                <c:pt idx="200">
                  <c:v>0.7689526855407608</c:v>
                </c:pt>
                <c:pt idx="201">
                  <c:v>0.7702998138785042</c:v>
                </c:pt>
                <c:pt idx="202">
                  <c:v>0.7716380800060902</c:v>
                </c:pt>
                <c:pt idx="203">
                  <c:v>0.7729715983056342</c:v>
                </c:pt>
                <c:pt idx="204">
                  <c:v>0.7742969421363128</c:v>
                </c:pt>
                <c:pt idx="205">
                  <c:v>0.7756173752528538</c:v>
                </c:pt>
                <c:pt idx="206">
                  <c:v>0.7769354073076912</c:v>
                </c:pt>
                <c:pt idx="207">
                  <c:v>0.7782527817853283</c:v>
                </c:pt>
                <c:pt idx="208">
                  <c:v>0.7795647930874515</c:v>
                </c:pt>
                <c:pt idx="209">
                  <c:v>0.7808747471985171</c:v>
                </c:pt>
                <c:pt idx="210">
                  <c:v>0.7821814134235815</c:v>
                </c:pt>
                <c:pt idx="211">
                  <c:v>0.7834800258361475</c:v>
                </c:pt>
                <c:pt idx="212">
                  <c:v>0.7847736008453905</c:v>
                </c:pt>
                <c:pt idx="213">
                  <c:v>0.7860571312120793</c:v>
                </c:pt>
                <c:pt idx="214">
                  <c:v>0.7873361550634601</c:v>
                </c:pt>
                <c:pt idx="215">
                  <c:v>0.7886132303145136</c:v>
                </c:pt>
                <c:pt idx="216">
                  <c:v>0.789882119031065</c:v>
                </c:pt>
                <c:pt idx="217">
                  <c:v>0.7911506156144236</c:v>
                </c:pt>
                <c:pt idx="218">
                  <c:v>0.7924175496978293</c:v>
                </c:pt>
                <c:pt idx="219">
                  <c:v>0.7936694198338129</c:v>
                </c:pt>
                <c:pt idx="220">
                  <c:v>0.7949033001054743</c:v>
                </c:pt>
                <c:pt idx="221">
                  <c:v>0.7961364926358437</c:v>
                </c:pt>
                <c:pt idx="222">
                  <c:v>0.7973651122899033</c:v>
                </c:pt>
                <c:pt idx="223">
                  <c:v>0.798593460467137</c:v>
                </c:pt>
                <c:pt idx="224">
                  <c:v>0.799798292718439</c:v>
                </c:pt>
                <c:pt idx="225">
                  <c:v>0.8009982866494237</c:v>
                </c:pt>
                <c:pt idx="226">
                  <c:v>0.8021856056290534</c:v>
                </c:pt>
                <c:pt idx="227">
                  <c:v>0.8033721886048442</c:v>
                </c:pt>
                <c:pt idx="228">
                  <c:v>0.8045571065227701</c:v>
                </c:pt>
                <c:pt idx="229">
                  <c:v>0.8057380186493112</c:v>
                </c:pt>
                <c:pt idx="230">
                  <c:v>0.8069170606021634</c:v>
                </c:pt>
                <c:pt idx="231">
                  <c:v>0.8080791563682681</c:v>
                </c:pt>
                <c:pt idx="232">
                  <c:v>0.8092363293545985</c:v>
                </c:pt>
                <c:pt idx="233">
                  <c:v>0.8103924284992625</c:v>
                </c:pt>
                <c:pt idx="234">
                  <c:v>0.8115472064567076</c:v>
                </c:pt>
                <c:pt idx="235">
                  <c:v>0.8126995954180859</c:v>
                </c:pt>
                <c:pt idx="236">
                  <c:v>0.81383447714061</c:v>
                </c:pt>
                <c:pt idx="237">
                  <c:v>0.8149576551955334</c:v>
                </c:pt>
                <c:pt idx="238">
                  <c:v>0.816057709457718</c:v>
                </c:pt>
                <c:pt idx="239">
                  <c:v>0.8171558332180304</c:v>
                </c:pt>
                <c:pt idx="240">
                  <c:v>0.8182465788414998</c:v>
                </c:pt>
                <c:pt idx="241">
                  <c:v>0.8193348811735369</c:v>
                </c:pt>
                <c:pt idx="242">
                  <c:v>0.8204117090850709</c:v>
                </c:pt>
                <c:pt idx="243">
                  <c:v>0.8214816475180481</c:v>
                </c:pt>
                <c:pt idx="244">
                  <c:v>0.8225422712794916</c:v>
                </c:pt>
                <c:pt idx="245">
                  <c:v>0.823595154934991</c:v>
                </c:pt>
                <c:pt idx="246">
                  <c:v>0.8246415412451266</c:v>
                </c:pt>
                <c:pt idx="247">
                  <c:v>0.8256790713779231</c:v>
                </c:pt>
                <c:pt idx="248">
                  <c:v>0.8267133437888101</c:v>
                </c:pt>
                <c:pt idx="249">
                  <c:v>0.827746753506673</c:v>
                </c:pt>
                <c:pt idx="250">
                  <c:v>0.828777309701456</c:v>
                </c:pt>
                <c:pt idx="251">
                  <c:v>0.8297917522384238</c:v>
                </c:pt>
                <c:pt idx="252">
                  <c:v>0.830805772478107</c:v>
                </c:pt>
                <c:pt idx="253">
                  <c:v>0.8318185077274816</c:v>
                </c:pt>
                <c:pt idx="254">
                  <c:v>0.8328272371854711</c:v>
                </c:pt>
                <c:pt idx="255">
                  <c:v>0.8338358882168222</c:v>
                </c:pt>
                <c:pt idx="256">
                  <c:v>0.8348421261208329</c:v>
                </c:pt>
                <c:pt idx="257">
                  <c:v>0.8358458302411362</c:v>
                </c:pt>
                <c:pt idx="258">
                  <c:v>0.8368471272669176</c:v>
                </c:pt>
                <c:pt idx="259">
                  <c:v>0.8378378004995831</c:v>
                </c:pt>
                <c:pt idx="260">
                  <c:v>0.8388272309716683</c:v>
                </c:pt>
                <c:pt idx="261">
                  <c:v>0.8398102123609366</c:v>
                </c:pt>
                <c:pt idx="262">
                  <c:v>0.8407816710671546</c:v>
                </c:pt>
                <c:pt idx="263">
                  <c:v>0.8417530091170057</c:v>
                </c:pt>
                <c:pt idx="264">
                  <c:v>0.8427241842807612</c:v>
                </c:pt>
                <c:pt idx="265">
                  <c:v>0.8436952387881498</c:v>
                </c:pt>
                <c:pt idx="266">
                  <c:v>0.8446655753901546</c:v>
                </c:pt>
                <c:pt idx="267">
                  <c:v>0.8456342650327496</c:v>
                </c:pt>
                <c:pt idx="268">
                  <c:v>0.8465854956990373</c:v>
                </c:pt>
                <c:pt idx="269">
                  <c:v>0.8475253605355519</c:v>
                </c:pt>
                <c:pt idx="270">
                  <c:v>0.8484634637891082</c:v>
                </c:pt>
                <c:pt idx="271">
                  <c:v>0.8493978508265603</c:v>
                </c:pt>
                <c:pt idx="272">
                  <c:v>0.8503307236266063</c:v>
                </c:pt>
                <c:pt idx="273">
                  <c:v>0.8512633671795551</c:v>
                </c:pt>
                <c:pt idx="274">
                  <c:v>0.8521893685994996</c:v>
                </c:pt>
                <c:pt idx="275">
                  <c:v>0.8531108635041359</c:v>
                </c:pt>
                <c:pt idx="276">
                  <c:v>0.8540313207640159</c:v>
                </c:pt>
                <c:pt idx="277">
                  <c:v>0.8549512712671544</c:v>
                </c:pt>
                <c:pt idx="278">
                  <c:v>0.8558511143867297</c:v>
                </c:pt>
                <c:pt idx="279">
                  <c:v>0.8567443937999392</c:v>
                </c:pt>
                <c:pt idx="280">
                  <c:v>0.8576372991784109</c:v>
                </c:pt>
                <c:pt idx="281">
                  <c:v>0.8585294926843172</c:v>
                </c:pt>
                <c:pt idx="282">
                  <c:v>0.8594180906304865</c:v>
                </c:pt>
                <c:pt idx="283">
                  <c:v>0.860306314541918</c:v>
                </c:pt>
                <c:pt idx="284">
                  <c:v>0.861182545210468</c:v>
                </c:pt>
                <c:pt idx="285">
                  <c:v>0.8620569780991494</c:v>
                </c:pt>
                <c:pt idx="286">
                  <c:v>0.8629304035071662</c:v>
                </c:pt>
                <c:pt idx="287">
                  <c:v>0.8638012589345656</c:v>
                </c:pt>
                <c:pt idx="288">
                  <c:v>0.8646665521034456</c:v>
                </c:pt>
                <c:pt idx="289">
                  <c:v>0.8655317970097787</c:v>
                </c:pt>
                <c:pt idx="290">
                  <c:v>0.8663961068292674</c:v>
                </c:pt>
                <c:pt idx="291">
                  <c:v>0.867252109457887</c:v>
                </c:pt>
                <c:pt idx="292">
                  <c:v>0.8681074243452146</c:v>
                </c:pt>
                <c:pt idx="293">
                  <c:v>0.8689484052561406</c:v>
                </c:pt>
                <c:pt idx="294">
                  <c:v>0.8697841617463747</c:v>
                </c:pt>
                <c:pt idx="295">
                  <c:v>0.8706188081980324</c:v>
                </c:pt>
                <c:pt idx="296">
                  <c:v>0.8714362731830269</c:v>
                </c:pt>
                <c:pt idx="297">
                  <c:v>0.8722377753306649</c:v>
                </c:pt>
                <c:pt idx="298">
                  <c:v>0.8730290096214699</c:v>
                </c:pt>
                <c:pt idx="299">
                  <c:v>0.8738201051574528</c:v>
                </c:pt>
                <c:pt idx="300">
                  <c:v>0.8746093848151121</c:v>
                </c:pt>
                <c:pt idx="301">
                  <c:v>0.875397385515281</c:v>
                </c:pt>
                <c:pt idx="302">
                  <c:v>0.8761845235224257</c:v>
                </c:pt>
                <c:pt idx="303">
                  <c:v>0.8769715650044768</c:v>
                </c:pt>
                <c:pt idx="304">
                  <c:v>0.8777577558591405</c:v>
                </c:pt>
                <c:pt idx="305">
                  <c:v>0.8785435183837013</c:v>
                </c:pt>
                <c:pt idx="306">
                  <c:v>0.879326958273197</c:v>
                </c:pt>
                <c:pt idx="307">
                  <c:v>0.8801089563191068</c:v>
                </c:pt>
                <c:pt idx="308">
                  <c:v>0.8808791903692325</c:v>
                </c:pt>
                <c:pt idx="309">
                  <c:v>0.8816462873538157</c:v>
                </c:pt>
                <c:pt idx="310">
                  <c:v>0.8824122139716388</c:v>
                </c:pt>
                <c:pt idx="311">
                  <c:v>0.8831697006765892</c:v>
                </c:pt>
                <c:pt idx="312">
                  <c:v>0.8839256067831316</c:v>
                </c:pt>
                <c:pt idx="313">
                  <c:v>0.8846815008240373</c:v>
                </c:pt>
                <c:pt idx="314">
                  <c:v>0.8854354221333423</c:v>
                </c:pt>
                <c:pt idx="315">
                  <c:v>0.8861886557013552</c:v>
                </c:pt>
                <c:pt idx="316">
                  <c:v>0.8869366708814946</c:v>
                </c:pt>
                <c:pt idx="317">
                  <c:v>0.8876846377990874</c:v>
                </c:pt>
                <c:pt idx="318">
                  <c:v>0.88843143434992</c:v>
                </c:pt>
                <c:pt idx="319">
                  <c:v>0.8891723489028606</c:v>
                </c:pt>
                <c:pt idx="320">
                  <c:v>0.8899081476258396</c:v>
                </c:pt>
                <c:pt idx="321">
                  <c:v>0.8906428061461503</c:v>
                </c:pt>
                <c:pt idx="322">
                  <c:v>0.8913762581027909</c:v>
                </c:pt>
                <c:pt idx="323">
                  <c:v>0.8920809817784447</c:v>
                </c:pt>
                <c:pt idx="324">
                  <c:v>0.8927840403962337</c:v>
                </c:pt>
                <c:pt idx="325">
                  <c:v>0.8934851624793321</c:v>
                </c:pt>
                <c:pt idx="326">
                  <c:v>0.8941848246203895</c:v>
                </c:pt>
                <c:pt idx="327">
                  <c:v>0.8948768130165047</c:v>
                </c:pt>
                <c:pt idx="328">
                  <c:v>0.8955678663257756</c:v>
                </c:pt>
                <c:pt idx="329">
                  <c:v>0.8962531341622479</c:v>
                </c:pt>
                <c:pt idx="330">
                  <c:v>0.8969383356377184</c:v>
                </c:pt>
                <c:pt idx="331">
                  <c:v>0.8976189401056056</c:v>
                </c:pt>
                <c:pt idx="332">
                  <c:v>0.8982958464558437</c:v>
                </c:pt>
                <c:pt idx="333">
                  <c:v>0.8989720952288816</c:v>
                </c:pt>
                <c:pt idx="334">
                  <c:v>0.8996471736351593</c:v>
                </c:pt>
                <c:pt idx="335">
                  <c:v>0.9003222279101637</c:v>
                </c:pt>
                <c:pt idx="336">
                  <c:v>0.9009865558341403</c:v>
                </c:pt>
                <c:pt idx="337">
                  <c:v>0.9016264327453409</c:v>
                </c:pt>
                <c:pt idx="338">
                  <c:v>0.9022662613939948</c:v>
                </c:pt>
                <c:pt idx="339">
                  <c:v>0.9029037975716753</c:v>
                </c:pt>
                <c:pt idx="340">
                  <c:v>0.9035333643963143</c:v>
                </c:pt>
                <c:pt idx="341">
                  <c:v>0.9041629131224982</c:v>
                </c:pt>
                <c:pt idx="342">
                  <c:v>0.904791599155658</c:v>
                </c:pt>
                <c:pt idx="343">
                  <c:v>0.9054189700344173</c:v>
                </c:pt>
                <c:pt idx="344">
                  <c:v>0.9060366703053602</c:v>
                </c:pt>
                <c:pt idx="345">
                  <c:v>0.9066483980861357</c:v>
                </c:pt>
                <c:pt idx="346">
                  <c:v>0.9072595648148047</c:v>
                </c:pt>
                <c:pt idx="347">
                  <c:v>0.9078628466498891</c:v>
                </c:pt>
                <c:pt idx="348">
                  <c:v>0.9084647831664813</c:v>
                </c:pt>
                <c:pt idx="349">
                  <c:v>0.9090620925113984</c:v>
                </c:pt>
                <c:pt idx="350">
                  <c:v>0.9096563794143216</c:v>
                </c:pt>
                <c:pt idx="351">
                  <c:v>0.9102505577265146</c:v>
                </c:pt>
                <c:pt idx="352">
                  <c:v>0.9108420514345414</c:v>
                </c:pt>
                <c:pt idx="353">
                  <c:v>0.9114325135306303</c:v>
                </c:pt>
                <c:pt idx="354">
                  <c:v>0.9120213708970378</c:v>
                </c:pt>
                <c:pt idx="355">
                  <c:v>0.9126097154738856</c:v>
                </c:pt>
                <c:pt idx="356">
                  <c:v>0.9131973300797128</c:v>
                </c:pt>
                <c:pt idx="357">
                  <c:v>0.9137779767803449</c:v>
                </c:pt>
                <c:pt idx="358">
                  <c:v>0.9143581106914171</c:v>
                </c:pt>
                <c:pt idx="359">
                  <c:v>0.9149364709538942</c:v>
                </c:pt>
                <c:pt idx="360">
                  <c:v>0.9155132023554166</c:v>
                </c:pt>
                <c:pt idx="361">
                  <c:v>0.9160763056202843</c:v>
                </c:pt>
                <c:pt idx="362">
                  <c:v>0.9166388116361354</c:v>
                </c:pt>
                <c:pt idx="363">
                  <c:v>0.9171972575652363</c:v>
                </c:pt>
                <c:pt idx="364">
                  <c:v>0.9177538815831953</c:v>
                </c:pt>
                <c:pt idx="365">
                  <c:v>0.9183095705143098</c:v>
                </c:pt>
                <c:pt idx="366">
                  <c:v>0.9188577003240308</c:v>
                </c:pt>
                <c:pt idx="367">
                  <c:v>0.9194034532033215</c:v>
                </c:pt>
                <c:pt idx="368">
                  <c:v>0.9199465818066297</c:v>
                </c:pt>
                <c:pt idx="369">
                  <c:v>0.9204808723310538</c:v>
                </c:pt>
                <c:pt idx="370">
                  <c:v>0.9210149879037458</c:v>
                </c:pt>
                <c:pt idx="371">
                  <c:v>0.921540699760475</c:v>
                </c:pt>
                <c:pt idx="372">
                  <c:v>0.9220661582388335</c:v>
                </c:pt>
                <c:pt idx="373">
                  <c:v>0.9225910315338121</c:v>
                </c:pt>
                <c:pt idx="374">
                  <c:v>0.9231155790565996</c:v>
                </c:pt>
                <c:pt idx="375">
                  <c:v>0.9236387088670747</c:v>
                </c:pt>
                <c:pt idx="376">
                  <c:v>0.924158936891923</c:v>
                </c:pt>
                <c:pt idx="377">
                  <c:v>0.9246764682469685</c:v>
                </c:pt>
                <c:pt idx="378">
                  <c:v>0.9251915804418553</c:v>
                </c:pt>
                <c:pt idx="379">
                  <c:v>0.9257057153201693</c:v>
                </c:pt>
                <c:pt idx="380">
                  <c:v>0.9262175094649632</c:v>
                </c:pt>
                <c:pt idx="381">
                  <c:v>0.9267290562642047</c:v>
                </c:pt>
                <c:pt idx="382">
                  <c:v>0.9272280668669131</c:v>
                </c:pt>
                <c:pt idx="383">
                  <c:v>0.9277229932515979</c:v>
                </c:pt>
                <c:pt idx="384">
                  <c:v>0.9282098718566028</c:v>
                </c:pt>
                <c:pt idx="385">
                  <c:v>0.9286952181257465</c:v>
                </c:pt>
                <c:pt idx="386">
                  <c:v>0.9291799852443285</c:v>
                </c:pt>
                <c:pt idx="387">
                  <c:v>0.9296644446891748</c:v>
                </c:pt>
                <c:pt idx="388">
                  <c:v>0.9301454593947426</c:v>
                </c:pt>
                <c:pt idx="389">
                  <c:v>0.9306219193224555</c:v>
                </c:pt>
                <c:pt idx="390">
                  <c:v>0.9310917250515275</c:v>
                </c:pt>
                <c:pt idx="391">
                  <c:v>0.9315599019196448</c:v>
                </c:pt>
                <c:pt idx="392">
                  <c:v>0.9320279098688482</c:v>
                </c:pt>
                <c:pt idx="393">
                  <c:v>0.9324953748644</c:v>
                </c:pt>
                <c:pt idx="394">
                  <c:v>0.9329607283735291</c:v>
                </c:pt>
                <c:pt idx="395">
                  <c:v>0.9334231921626681</c:v>
                </c:pt>
                <c:pt idx="396">
                  <c:v>0.9338729267050868</c:v>
                </c:pt>
                <c:pt idx="397">
                  <c:v>0.9343101793463376</c:v>
                </c:pt>
                <c:pt idx="398">
                  <c:v>0.9347425514375426</c:v>
                </c:pt>
                <c:pt idx="399">
                  <c:v>0.9351660009904067</c:v>
                </c:pt>
                <c:pt idx="400">
                  <c:v>0.9355877673869509</c:v>
                </c:pt>
                <c:pt idx="401">
                  <c:v>0.9360048643820916</c:v>
                </c:pt>
                <c:pt idx="402">
                  <c:v>0.936416212101344</c:v>
                </c:pt>
                <c:pt idx="403">
                  <c:v>0.9368162241549151</c:v>
                </c:pt>
                <c:pt idx="404">
                  <c:v>0.9372162241428494</c:v>
                </c:pt>
                <c:pt idx="405">
                  <c:v>0.9376123208973108</c:v>
                </c:pt>
                <c:pt idx="406">
                  <c:v>0.9380056425553308</c:v>
                </c:pt>
                <c:pt idx="407">
                  <c:v>0.9383965329875554</c:v>
                </c:pt>
                <c:pt idx="408">
                  <c:v>0.9387864340375704</c:v>
                </c:pt>
                <c:pt idx="409">
                  <c:v>0.9391679374044412</c:v>
                </c:pt>
                <c:pt idx="410">
                  <c:v>0.939542979622858</c:v>
                </c:pt>
                <c:pt idx="411">
                  <c:v>0.9399172737717995</c:v>
                </c:pt>
                <c:pt idx="412">
                  <c:v>0.9402910309999076</c:v>
                </c:pt>
                <c:pt idx="413">
                  <c:v>0.940664721867014</c:v>
                </c:pt>
                <c:pt idx="414">
                  <c:v>0.9410359513442332</c:v>
                </c:pt>
                <c:pt idx="415">
                  <c:v>0.9414067042288027</c:v>
                </c:pt>
                <c:pt idx="416">
                  <c:v>0.9417767995361719</c:v>
                </c:pt>
                <c:pt idx="417">
                  <c:v>0.9421459778551518</c:v>
                </c:pt>
                <c:pt idx="418">
                  <c:v>0.9425148545332142</c:v>
                </c:pt>
                <c:pt idx="419">
                  <c:v>0.942881589560762</c:v>
                </c:pt>
                <c:pt idx="420">
                  <c:v>0.9432479807176638</c:v>
                </c:pt>
                <c:pt idx="421">
                  <c:v>0.9436138168552773</c:v>
                </c:pt>
                <c:pt idx="422">
                  <c:v>0.943978898890597</c:v>
                </c:pt>
                <c:pt idx="423">
                  <c:v>0.9443432087251679</c:v>
                </c:pt>
                <c:pt idx="424">
                  <c:v>0.944704773627389</c:v>
                </c:pt>
                <c:pt idx="425">
                  <c:v>0.9450658378056871</c:v>
                </c:pt>
                <c:pt idx="426">
                  <c:v>0.9454239700342666</c:v>
                </c:pt>
                <c:pt idx="427">
                  <c:v>0.9457809198304493</c:v>
                </c:pt>
                <c:pt idx="428">
                  <c:v>0.9461355168274752</c:v>
                </c:pt>
                <c:pt idx="429">
                  <c:v>0.9464897880523102</c:v>
                </c:pt>
                <c:pt idx="430">
                  <c:v>0.9468398544027546</c:v>
                </c:pt>
                <c:pt idx="431">
                  <c:v>0.9471876584463175</c:v>
                </c:pt>
                <c:pt idx="432">
                  <c:v>0.9475331941501804</c:v>
                </c:pt>
                <c:pt idx="433">
                  <c:v>0.9478631470842431</c:v>
                </c:pt>
                <c:pt idx="434">
                  <c:v>0.9481914228948043</c:v>
                </c:pt>
                <c:pt idx="435">
                  <c:v>0.9485192221127158</c:v>
                </c:pt>
                <c:pt idx="436">
                  <c:v>0.9488459474889608</c:v>
                </c:pt>
                <c:pt idx="437">
                  <c:v>0.9491693246510211</c:v>
                </c:pt>
                <c:pt idx="438">
                  <c:v>0.9494901378652822</c:v>
                </c:pt>
                <c:pt idx="439">
                  <c:v>0.9498091472668565</c:v>
                </c:pt>
                <c:pt idx="440">
                  <c:v>0.9501276076819608</c:v>
                </c:pt>
                <c:pt idx="441">
                  <c:v>0.9504452596994062</c:v>
                </c:pt>
                <c:pt idx="442">
                  <c:v>0.9507598832420394</c:v>
                </c:pt>
                <c:pt idx="443">
                  <c:v>0.9510715748349541</c:v>
                </c:pt>
                <c:pt idx="444">
                  <c:v>0.951382892393131</c:v>
                </c:pt>
                <c:pt idx="445">
                  <c:v>0.9516937936868417</c:v>
                </c:pt>
                <c:pt idx="446">
                  <c:v>0.9520039831079871</c:v>
                </c:pt>
                <c:pt idx="447">
                  <c:v>0.9523110414964083</c:v>
                </c:pt>
                <c:pt idx="448">
                  <c:v>0.9526138708791656</c:v>
                </c:pt>
                <c:pt idx="449">
                  <c:v>0.9529152946152472</c:v>
                </c:pt>
                <c:pt idx="450">
                  <c:v>0.9532163865463195</c:v>
                </c:pt>
                <c:pt idx="451">
                  <c:v>0.9535165916530942</c:v>
                </c:pt>
                <c:pt idx="452">
                  <c:v>0.9538124953603848</c:v>
                </c:pt>
                <c:pt idx="453">
                  <c:v>0.9541059497434249</c:v>
                </c:pt>
                <c:pt idx="454">
                  <c:v>0.9543970211632165</c:v>
                </c:pt>
                <c:pt idx="455">
                  <c:v>0.9546859026699466</c:v>
                </c:pt>
                <c:pt idx="456">
                  <c:v>0.9549701268409099</c:v>
                </c:pt>
                <c:pt idx="457">
                  <c:v>0.9552542967165081</c:v>
                </c:pt>
                <c:pt idx="458">
                  <c:v>0.9555383760998309</c:v>
                </c:pt>
                <c:pt idx="459">
                  <c:v>0.9558155599717788</c:v>
                </c:pt>
                <c:pt idx="460">
                  <c:v>0.9560885269036995</c:v>
                </c:pt>
                <c:pt idx="461">
                  <c:v>0.9563546405539736</c:v>
                </c:pt>
                <c:pt idx="462">
                  <c:v>0.9566195778046692</c:v>
                </c:pt>
                <c:pt idx="463">
                  <c:v>0.9568819330091107</c:v>
                </c:pt>
                <c:pt idx="464">
                  <c:v>0.9571442701150972</c:v>
                </c:pt>
                <c:pt idx="465">
                  <c:v>0.9574057565936962</c:v>
                </c:pt>
                <c:pt idx="466">
                  <c:v>0.957666464838728</c:v>
                </c:pt>
                <c:pt idx="467">
                  <c:v>0.9579264250142842</c:v>
                </c:pt>
                <c:pt idx="468">
                  <c:v>0.9581834954698503</c:v>
                </c:pt>
                <c:pt idx="469">
                  <c:v>0.9584401556937686</c:v>
                </c:pt>
                <c:pt idx="470">
                  <c:v>0.9586967254254116</c:v>
                </c:pt>
                <c:pt idx="471">
                  <c:v>0.9589494401861285</c:v>
                </c:pt>
                <c:pt idx="472">
                  <c:v>0.9591994643098609</c:v>
                </c:pt>
                <c:pt idx="473">
                  <c:v>0.9594487041672077</c:v>
                </c:pt>
                <c:pt idx="474">
                  <c:v>0.9596965323450604</c:v>
                </c:pt>
                <c:pt idx="475">
                  <c:v>0.9599439683897202</c:v>
                </c:pt>
                <c:pt idx="476">
                  <c:v>0.9601899746564309</c:v>
                </c:pt>
                <c:pt idx="477">
                  <c:v>0.9604355827571304</c:v>
                </c:pt>
                <c:pt idx="478">
                  <c:v>0.9606809495450959</c:v>
                </c:pt>
                <c:pt idx="479">
                  <c:v>0.960925520001039</c:v>
                </c:pt>
                <c:pt idx="480">
                  <c:v>0.9611667905053444</c:v>
                </c:pt>
                <c:pt idx="481">
                  <c:v>0.9614055453243974</c:v>
                </c:pt>
                <c:pt idx="482">
                  <c:v>0.9616421645257541</c:v>
                </c:pt>
                <c:pt idx="483">
                  <c:v>0.961878699267654</c:v>
                </c:pt>
                <c:pt idx="484">
                  <c:v>0.9621146789902656</c:v>
                </c:pt>
                <c:pt idx="485">
                  <c:v>0.9623492410005647</c:v>
                </c:pt>
                <c:pt idx="486">
                  <c:v>0.9625803824028589</c:v>
                </c:pt>
                <c:pt idx="487">
                  <c:v>0.9628114152144228</c:v>
                </c:pt>
                <c:pt idx="488">
                  <c:v>0.963040939821399</c:v>
                </c:pt>
                <c:pt idx="489">
                  <c:v>0.9632693543897987</c:v>
                </c:pt>
                <c:pt idx="490">
                  <c:v>0.9634969122979925</c:v>
                </c:pt>
                <c:pt idx="491">
                  <c:v>0.9637232455440611</c:v>
                </c:pt>
                <c:pt idx="492">
                  <c:v>0.9639492047553919</c:v>
                </c:pt>
                <c:pt idx="493">
                  <c:v>0.9641733661868542</c:v>
                </c:pt>
                <c:pt idx="494">
                  <c:v>0.9643965442689254</c:v>
                </c:pt>
                <c:pt idx="495">
                  <c:v>0.9646163500055384</c:v>
                </c:pt>
                <c:pt idx="496">
                  <c:v>0.9648357455105036</c:v>
                </c:pt>
                <c:pt idx="497">
                  <c:v>0.965054887637098</c:v>
                </c:pt>
                <c:pt idx="498">
                  <c:v>0.9652726965108369</c:v>
                </c:pt>
                <c:pt idx="499">
                  <c:v>0.9654902278749317</c:v>
                </c:pt>
                <c:pt idx="500">
                  <c:v>0.9657068724147289</c:v>
                </c:pt>
                <c:pt idx="501">
                  <c:v>0.9659232816746103</c:v>
                </c:pt>
                <c:pt idx="502">
                  <c:v>0.9661376578747075</c:v>
                </c:pt>
                <c:pt idx="503">
                  <c:v>0.9663515876462468</c:v>
                </c:pt>
                <c:pt idx="504">
                  <c:v>0.9665629715684421</c:v>
                </c:pt>
                <c:pt idx="505">
                  <c:v>0.9667742529327253</c:v>
                </c:pt>
                <c:pt idx="506">
                  <c:v>0.966984080387786</c:v>
                </c:pt>
                <c:pt idx="507">
                  <c:v>0.9671925202946261</c:v>
                </c:pt>
                <c:pt idx="508">
                  <c:v>0.9674007068230954</c:v>
                </c:pt>
                <c:pt idx="509">
                  <c:v>0.9676069628496924</c:v>
                </c:pt>
                <c:pt idx="510">
                  <c:v>0.9678108117817674</c:v>
                </c:pt>
                <c:pt idx="511">
                  <c:v>0.9680143470072882</c:v>
                </c:pt>
                <c:pt idx="512">
                  <c:v>0.9682145219529875</c:v>
                </c:pt>
                <c:pt idx="513">
                  <c:v>0.9684140755183968</c:v>
                </c:pt>
                <c:pt idx="514">
                  <c:v>0.9686131766224296</c:v>
                </c:pt>
                <c:pt idx="515">
                  <c:v>0.9688119338558165</c:v>
                </c:pt>
                <c:pt idx="516">
                  <c:v>0.9690102748247372</c:v>
                </c:pt>
                <c:pt idx="517">
                  <c:v>0.9692069205717013</c:v>
                </c:pt>
                <c:pt idx="518">
                  <c:v>0.9694031198901075</c:v>
                </c:pt>
                <c:pt idx="519">
                  <c:v>0.9695966527028026</c:v>
                </c:pt>
                <c:pt idx="520">
                  <c:v>0.9697872173688691</c:v>
                </c:pt>
                <c:pt idx="521">
                  <c:v>0.9699776553457502</c:v>
                </c:pt>
                <c:pt idx="522">
                  <c:v>0.9701679907647194</c:v>
                </c:pt>
                <c:pt idx="523">
                  <c:v>0.9703581813960481</c:v>
                </c:pt>
                <c:pt idx="524">
                  <c:v>0.9705478954347271</c:v>
                </c:pt>
                <c:pt idx="525">
                  <c:v>0.9707361012688184</c:v>
                </c:pt>
                <c:pt idx="526">
                  <c:v>0.9709231186376945</c:v>
                </c:pt>
                <c:pt idx="527">
                  <c:v>0.9711098403984715</c:v>
                </c:pt>
                <c:pt idx="528">
                  <c:v>0.9712930993215151</c:v>
                </c:pt>
                <c:pt idx="529">
                  <c:v>0.9714749224337912</c:v>
                </c:pt>
                <c:pt idx="530">
                  <c:v>0.9716566490209737</c:v>
                </c:pt>
                <c:pt idx="531">
                  <c:v>0.9718375249807687</c:v>
                </c:pt>
                <c:pt idx="532">
                  <c:v>0.9720163739135979</c:v>
                </c:pt>
                <c:pt idx="533">
                  <c:v>0.9721924658484407</c:v>
                </c:pt>
                <c:pt idx="534">
                  <c:v>0.9723680449937236</c:v>
                </c:pt>
                <c:pt idx="535">
                  <c:v>0.9725433828262726</c:v>
                </c:pt>
                <c:pt idx="536">
                  <c:v>0.9727180992785314</c:v>
                </c:pt>
                <c:pt idx="537">
                  <c:v>0.9728924778929625</c:v>
                </c:pt>
                <c:pt idx="538">
                  <c:v>0.9730663678491073</c:v>
                </c:pt>
                <c:pt idx="539">
                  <c:v>0.9732374646103555</c:v>
                </c:pt>
                <c:pt idx="540">
                  <c:v>0.973407620251941</c:v>
                </c:pt>
                <c:pt idx="541">
                  <c:v>0.9735759660480213</c:v>
                </c:pt>
                <c:pt idx="542">
                  <c:v>0.9737434431182591</c:v>
                </c:pt>
                <c:pt idx="543">
                  <c:v>0.9739106426788527</c:v>
                </c:pt>
                <c:pt idx="544">
                  <c:v>0.9740777819112629</c:v>
                </c:pt>
                <c:pt idx="545">
                  <c:v>0.974244643634029</c:v>
                </c:pt>
                <c:pt idx="546">
                  <c:v>0.9744069807430318</c:v>
                </c:pt>
                <c:pt idx="547">
                  <c:v>0.9745677674177184</c:v>
                </c:pt>
                <c:pt idx="548">
                  <c:v>0.9747278241213847</c:v>
                </c:pt>
                <c:pt idx="549">
                  <c:v>0.9748865837691055</c:v>
                </c:pt>
                <c:pt idx="550">
                  <c:v>0.9750448426929033</c:v>
                </c:pt>
                <c:pt idx="551">
                  <c:v>0.9752016416746601</c:v>
                </c:pt>
                <c:pt idx="552">
                  <c:v>0.9753583380985049</c:v>
                </c:pt>
                <c:pt idx="553">
                  <c:v>0.9755145337984267</c:v>
                </c:pt>
                <c:pt idx="554">
                  <c:v>0.9756705364481612</c:v>
                </c:pt>
                <c:pt idx="555">
                  <c:v>0.9758260142426991</c:v>
                </c:pt>
                <c:pt idx="556">
                  <c:v>0.975980991313314</c:v>
                </c:pt>
                <c:pt idx="557">
                  <c:v>0.9761312748512518</c:v>
                </c:pt>
                <c:pt idx="558">
                  <c:v>0.9762813593061841</c:v>
                </c:pt>
                <c:pt idx="559">
                  <c:v>0.9764314135970247</c:v>
                </c:pt>
                <c:pt idx="560">
                  <c:v>0.9765807499824815</c:v>
                </c:pt>
                <c:pt idx="561">
                  <c:v>0.9767275948139593</c:v>
                </c:pt>
                <c:pt idx="562">
                  <c:v>0.9768736433134149</c:v>
                </c:pt>
                <c:pt idx="563">
                  <c:v>0.9770196676815971</c:v>
                </c:pt>
                <c:pt idx="564">
                  <c:v>0.9771646001096578</c:v>
                </c:pt>
                <c:pt idx="565">
                  <c:v>0.9773073003949286</c:v>
                </c:pt>
                <c:pt idx="566">
                  <c:v>0.9774498498597407</c:v>
                </c:pt>
                <c:pt idx="567">
                  <c:v>0.9775916995176241</c:v>
                </c:pt>
                <c:pt idx="568">
                  <c:v>0.9777333802565937</c:v>
                </c:pt>
                <c:pt idx="569">
                  <c:v>0.9778742405322676</c:v>
                </c:pt>
                <c:pt idx="570">
                  <c:v>0.9780125609914158</c:v>
                </c:pt>
                <c:pt idx="571">
                  <c:v>0.9781505134486445</c:v>
                </c:pt>
                <c:pt idx="572">
                  <c:v>0.9782844299503964</c:v>
                </c:pt>
                <c:pt idx="573">
                  <c:v>0.9784168322147424</c:v>
                </c:pt>
                <c:pt idx="574">
                  <c:v>0.9785490595273562</c:v>
                </c:pt>
                <c:pt idx="575">
                  <c:v>0.9786794106334629</c:v>
                </c:pt>
                <c:pt idx="576">
                  <c:v>0.9788091101951877</c:v>
                </c:pt>
                <c:pt idx="577">
                  <c:v>0.9789384538206298</c:v>
                </c:pt>
                <c:pt idx="578">
                  <c:v>0.9790667356700422</c:v>
                </c:pt>
                <c:pt idx="579">
                  <c:v>0.9791943901063461</c:v>
                </c:pt>
                <c:pt idx="580">
                  <c:v>0.9793211697839891</c:v>
                </c:pt>
                <c:pt idx="581">
                  <c:v>0.9794478710349935</c:v>
                </c:pt>
                <c:pt idx="582">
                  <c:v>0.9795743551045373</c:v>
                </c:pt>
                <c:pt idx="583">
                  <c:v>0.979699204280308</c:v>
                </c:pt>
                <c:pt idx="584">
                  <c:v>0.9798227925970434</c:v>
                </c:pt>
                <c:pt idx="585">
                  <c:v>0.9799463205855953</c:v>
                </c:pt>
                <c:pt idx="586">
                  <c:v>0.9800690281108514</c:v>
                </c:pt>
                <c:pt idx="587">
                  <c:v>0.9801916029141038</c:v>
                </c:pt>
                <c:pt idx="588">
                  <c:v>0.9803139002077121</c:v>
                </c:pt>
                <c:pt idx="589">
                  <c:v>0.9804345083121823</c:v>
                </c:pt>
                <c:pt idx="590">
                  <c:v>0.9805549957602854</c:v>
                </c:pt>
                <c:pt idx="591">
                  <c:v>0.9806747954670965</c:v>
                </c:pt>
                <c:pt idx="592">
                  <c:v>0.9807945227800873</c:v>
                </c:pt>
                <c:pt idx="593">
                  <c:v>0.9809126996587619</c:v>
                </c:pt>
                <c:pt idx="594">
                  <c:v>0.9810299655818656</c:v>
                </c:pt>
                <c:pt idx="595">
                  <c:v>0.9811461636961212</c:v>
                </c:pt>
                <c:pt idx="596">
                  <c:v>0.9812620843007327</c:v>
                </c:pt>
                <c:pt idx="597">
                  <c:v>0.9813771784092301</c:v>
                </c:pt>
                <c:pt idx="598">
                  <c:v>0.9814922483864541</c:v>
                </c:pt>
                <c:pt idx="599">
                  <c:v>0.9816068055741183</c:v>
                </c:pt>
                <c:pt idx="600">
                  <c:v>0.9817212602038705</c:v>
                </c:pt>
                <c:pt idx="601">
                  <c:v>0.9818350331251491</c:v>
                </c:pt>
                <c:pt idx="602">
                  <c:v>0.9819479373205852</c:v>
                </c:pt>
                <c:pt idx="603">
                  <c:v>0.9820596047882593</c:v>
                </c:pt>
                <c:pt idx="604">
                  <c:v>0.9821708680571039</c:v>
                </c:pt>
                <c:pt idx="605">
                  <c:v>0.9822821313259484</c:v>
                </c:pt>
                <c:pt idx="606">
                  <c:v>0.9823932317086976</c:v>
                </c:pt>
                <c:pt idx="607">
                  <c:v>0.9825037107111566</c:v>
                </c:pt>
                <c:pt idx="608">
                  <c:v>0.9826141414510688</c:v>
                </c:pt>
                <c:pt idx="609">
                  <c:v>0.9827244575674324</c:v>
                </c:pt>
                <c:pt idx="610">
                  <c:v>0.9828347133556125</c:v>
                </c:pt>
                <c:pt idx="611">
                  <c:v>0.9829434066438396</c:v>
                </c:pt>
                <c:pt idx="612">
                  <c:v>0.983051605240962</c:v>
                </c:pt>
                <c:pt idx="613">
                  <c:v>0.9831589170137869</c:v>
                </c:pt>
                <c:pt idx="614">
                  <c:v>0.983264738680479</c:v>
                </c:pt>
                <c:pt idx="615">
                  <c:v>0.983369438242958</c:v>
                </c:pt>
                <c:pt idx="616">
                  <c:v>0.9834739326896129</c:v>
                </c:pt>
                <c:pt idx="617">
                  <c:v>0.9835779867405283</c:v>
                </c:pt>
                <c:pt idx="618">
                  <c:v>0.9836810695076892</c:v>
                </c:pt>
                <c:pt idx="619">
                  <c:v>0.9837841402092133</c:v>
                </c:pt>
                <c:pt idx="620">
                  <c:v>0.9838869454667301</c:v>
                </c:pt>
                <c:pt idx="621">
                  <c:v>0.9839891896721401</c:v>
                </c:pt>
                <c:pt idx="622">
                  <c:v>0.9840908426613518</c:v>
                </c:pt>
                <c:pt idx="623">
                  <c:v>0.984192278469103</c:v>
                </c:pt>
                <c:pt idx="624">
                  <c:v>0.9842927550587363</c:v>
                </c:pt>
                <c:pt idx="625">
                  <c:v>0.9843931411560943</c:v>
                </c:pt>
                <c:pt idx="626">
                  <c:v>0.9844933161048101</c:v>
                </c:pt>
                <c:pt idx="627">
                  <c:v>0.9845934126268873</c:v>
                </c:pt>
                <c:pt idx="628">
                  <c:v>0.9846927369482156</c:v>
                </c:pt>
                <c:pt idx="629">
                  <c:v>0.9847916269066226</c:v>
                </c:pt>
                <c:pt idx="630">
                  <c:v>0.9848890388245337</c:v>
                </c:pt>
                <c:pt idx="631">
                  <c:v>0.9849863843814429</c:v>
                </c:pt>
                <c:pt idx="632">
                  <c:v>0.9850827888186894</c:v>
                </c:pt>
                <c:pt idx="633">
                  <c:v>0.9851787106304678</c:v>
                </c:pt>
                <c:pt idx="634">
                  <c:v>0.9852738481758606</c:v>
                </c:pt>
                <c:pt idx="635">
                  <c:v>0.9853689253930699</c:v>
                </c:pt>
                <c:pt idx="636">
                  <c:v>0.9854639362492773</c:v>
                </c:pt>
                <c:pt idx="637">
                  <c:v>0.9855582834954661</c:v>
                </c:pt>
                <c:pt idx="638">
                  <c:v>0.9856525643806532</c:v>
                </c:pt>
                <c:pt idx="639">
                  <c:v>0.9857459765399976</c:v>
                </c:pt>
                <c:pt idx="640">
                  <c:v>0.9858391715178815</c:v>
                </c:pt>
                <c:pt idx="641">
                  <c:v>0.9859322277409432</c:v>
                </c:pt>
                <c:pt idx="642">
                  <c:v>0.9860240894659715</c:v>
                </c:pt>
                <c:pt idx="643">
                  <c:v>0.9861158064033594</c:v>
                </c:pt>
                <c:pt idx="644">
                  <c:v>0.9862067270087249</c:v>
                </c:pt>
                <c:pt idx="645">
                  <c:v>0.9862960006546807</c:v>
                </c:pt>
                <c:pt idx="646">
                  <c:v>0.9863834825535863</c:v>
                </c:pt>
                <c:pt idx="647">
                  <c:v>0.9864701198579228</c:v>
                </c:pt>
                <c:pt idx="648">
                  <c:v>0.9865562986680646</c:v>
                </c:pt>
                <c:pt idx="649">
                  <c:v>0.9866417113102759</c:v>
                </c:pt>
                <c:pt idx="650">
                  <c:v>0.9867261044061858</c:v>
                </c:pt>
                <c:pt idx="651">
                  <c:v>0.9868098580233505</c:v>
                </c:pt>
                <c:pt idx="652">
                  <c:v>0.986893503049785</c:v>
                </c:pt>
                <c:pt idx="653">
                  <c:v>0.9869768404024836</c:v>
                </c:pt>
                <c:pt idx="654">
                  <c:v>0.9870598459501728</c:v>
                </c:pt>
                <c:pt idx="655">
                  <c:v>0.9871417112951938</c:v>
                </c:pt>
                <c:pt idx="656">
                  <c:v>0.9872230397193815</c:v>
                </c:pt>
                <c:pt idx="657">
                  <c:v>0.9873041811262003</c:v>
                </c:pt>
                <c:pt idx="658">
                  <c:v>0.987383428228057</c:v>
                </c:pt>
                <c:pt idx="659">
                  <c:v>0.9874619996542584</c:v>
                </c:pt>
                <c:pt idx="660">
                  <c:v>0.9875388758585032</c:v>
                </c:pt>
                <c:pt idx="661">
                  <c:v>0.9876155650453792</c:v>
                </c:pt>
                <c:pt idx="662">
                  <c:v>0.9876918681318807</c:v>
                </c:pt>
                <c:pt idx="663">
                  <c:v>0.9877680686604702</c:v>
                </c:pt>
                <c:pt idx="664">
                  <c:v>0.9878426282624683</c:v>
                </c:pt>
                <c:pt idx="665">
                  <c:v>0.9879165302872661</c:v>
                </c:pt>
                <c:pt idx="666">
                  <c:v>0.9879896782097701</c:v>
                </c:pt>
                <c:pt idx="667">
                  <c:v>0.9880621564894372</c:v>
                </c:pt>
                <c:pt idx="668">
                  <c:v>0.9881342124718197</c:v>
                </c:pt>
                <c:pt idx="669">
                  <c:v>0.9882062563885654</c:v>
                </c:pt>
                <c:pt idx="670">
                  <c:v>0.9882779323033918</c:v>
                </c:pt>
                <c:pt idx="671">
                  <c:v>0.9883495901197631</c:v>
                </c:pt>
                <c:pt idx="672">
                  <c:v>0.988421103148494</c:v>
                </c:pt>
                <c:pt idx="673">
                  <c:v>0.9884925980787698</c:v>
                </c:pt>
                <c:pt idx="674">
                  <c:v>0.988562844215647</c:v>
                </c:pt>
                <c:pt idx="675">
                  <c:v>0.9886330420899774</c:v>
                </c:pt>
                <c:pt idx="676">
                  <c:v>0.9887022204180065</c:v>
                </c:pt>
                <c:pt idx="677">
                  <c:v>0.988770698939107</c:v>
                </c:pt>
                <c:pt idx="678">
                  <c:v>0.9888387491301045</c:v>
                </c:pt>
                <c:pt idx="679">
                  <c:v>0.9889058280373475</c:v>
                </c:pt>
                <c:pt idx="680">
                  <c:v>0.988972520844216</c:v>
                </c:pt>
                <c:pt idx="681">
                  <c:v>0.9890392076182662</c:v>
                </c:pt>
                <c:pt idx="682">
                  <c:v>0.9891057737359494</c:v>
                </c:pt>
                <c:pt idx="683">
                  <c:v>0.9891711031258708</c:v>
                </c:pt>
                <c:pt idx="684">
                  <c:v>0.9892359559231423</c:v>
                </c:pt>
                <c:pt idx="685">
                  <c:v>0.9892997771084758</c:v>
                </c:pt>
                <c:pt idx="686">
                  <c:v>0.9893633268169836</c:v>
                </c:pt>
                <c:pt idx="687">
                  <c:v>0.9894264904251169</c:v>
                </c:pt>
                <c:pt idx="688">
                  <c:v>0.9894894730486997</c:v>
                </c:pt>
                <c:pt idx="689">
                  <c:v>0.9895523108846421</c:v>
                </c:pt>
                <c:pt idx="690">
                  <c:v>0.9896148893093955</c:v>
                </c:pt>
                <c:pt idx="691">
                  <c:v>0.9896772867495982</c:v>
                </c:pt>
                <c:pt idx="692">
                  <c:v>0.9897395092380689</c:v>
                </c:pt>
                <c:pt idx="693">
                  <c:v>0.9898015809060807</c:v>
                </c:pt>
                <c:pt idx="694">
                  <c:v>0.9898636344756375</c:v>
                </c:pt>
                <c:pt idx="695">
                  <c:v>0.9899253079776382</c:v>
                </c:pt>
                <c:pt idx="696">
                  <c:v>0.9899868125607251</c:v>
                </c:pt>
                <c:pt idx="697">
                  <c:v>0.9900479370762558</c:v>
                </c:pt>
                <c:pt idx="698">
                  <c:v>0.9901090555589682</c:v>
                </c:pt>
                <c:pt idx="699">
                  <c:v>0.9901697819084878</c:v>
                </c:pt>
                <c:pt idx="700">
                  <c:v>0.9902300799279045</c:v>
                </c:pt>
                <c:pt idx="701">
                  <c:v>0.9902894790573868</c:v>
                </c:pt>
                <c:pt idx="702">
                  <c:v>0.9903482085440323</c:v>
                </c:pt>
                <c:pt idx="703">
                  <c:v>0.9904067992758556</c:v>
                </c:pt>
                <c:pt idx="704">
                  <c:v>0.9904647505289338</c:v>
                </c:pt>
                <c:pt idx="705">
                  <c:v>0.9905225087318248</c:v>
                </c:pt>
                <c:pt idx="706">
                  <c:v>0.9905794887011485</c:v>
                </c:pt>
                <c:pt idx="707">
                  <c:v>0.990635551682083</c:v>
                </c:pt>
                <c:pt idx="708">
                  <c:v>0.9906914940066504</c:v>
                </c:pt>
                <c:pt idx="709">
                  <c:v>0.9907470140339332</c:v>
                </c:pt>
                <c:pt idx="710">
                  <c:v>0.9908023892735756</c:v>
                </c:pt>
                <c:pt idx="711">
                  <c:v>0.9908574266753903</c:v>
                </c:pt>
                <c:pt idx="712">
                  <c:v>0.9909124158146583</c:v>
                </c:pt>
                <c:pt idx="713">
                  <c:v>0.990967230002194</c:v>
                </c:pt>
                <c:pt idx="714">
                  <c:v>0.9910214348750763</c:v>
                </c:pt>
                <c:pt idx="715">
                  <c:v>0.9910756156166852</c:v>
                </c:pt>
                <c:pt idx="716">
                  <c:v>0.9911297661942025</c:v>
                </c:pt>
                <c:pt idx="717">
                  <c:v>0.9911837538856242</c:v>
                </c:pt>
                <c:pt idx="718">
                  <c:v>0.9912371805249393</c:v>
                </c:pt>
                <c:pt idx="719">
                  <c:v>0.9912905046063424</c:v>
                </c:pt>
                <c:pt idx="720">
                  <c:v>0.9913437321626519</c:v>
                </c:pt>
                <c:pt idx="721">
                  <c:v>0.9913968993907779</c:v>
                </c:pt>
                <c:pt idx="722">
                  <c:v>0.9914497287810763</c:v>
                </c:pt>
                <c:pt idx="723">
                  <c:v>0.9915022323991837</c:v>
                </c:pt>
                <c:pt idx="724">
                  <c:v>0.9915543137200065</c:v>
                </c:pt>
                <c:pt idx="725">
                  <c:v>0.9916054418555299</c:v>
                </c:pt>
                <c:pt idx="726">
                  <c:v>0.991656563958235</c:v>
                </c:pt>
                <c:pt idx="727">
                  <c:v>0.9917074025184776</c:v>
                </c:pt>
                <c:pt idx="728">
                  <c:v>0.9917580118316228</c:v>
                </c:pt>
                <c:pt idx="729">
                  <c:v>0.9918085004884011</c:v>
                </c:pt>
                <c:pt idx="730">
                  <c:v>0.9918589650139059</c:v>
                </c:pt>
                <c:pt idx="731">
                  <c:v>0.9919092606204969</c:v>
                </c:pt>
                <c:pt idx="732">
                  <c:v>0.9919594597019943</c:v>
                </c:pt>
                <c:pt idx="733">
                  <c:v>0.9920095924224898</c:v>
                </c:pt>
                <c:pt idx="734">
                  <c:v>0.9920596044866182</c:v>
                </c:pt>
                <c:pt idx="735">
                  <c:v>0.9921091278924603</c:v>
                </c:pt>
                <c:pt idx="736">
                  <c:v>0.9921585487403904</c:v>
                </c:pt>
                <c:pt idx="737">
                  <c:v>0.9922074990284891</c:v>
                </c:pt>
                <c:pt idx="738">
                  <c:v>0.9922558520675712</c:v>
                </c:pt>
                <c:pt idx="739">
                  <c:v>0.9923035957919998</c:v>
                </c:pt>
                <c:pt idx="740">
                  <c:v>0.992350627643863</c:v>
                </c:pt>
                <c:pt idx="741">
                  <c:v>0.9923975328065407</c:v>
                </c:pt>
                <c:pt idx="742">
                  <c:v>0.9924440820329359</c:v>
                </c:pt>
                <c:pt idx="743">
                  <c:v>0.9924901968964097</c:v>
                </c:pt>
                <c:pt idx="744">
                  <c:v>0.9925363057270652</c:v>
                </c:pt>
                <c:pt idx="745">
                  <c:v>0.9925823361310822</c:v>
                </c:pt>
                <c:pt idx="746">
                  <c:v>0.9926281674520935</c:v>
                </c:pt>
                <c:pt idx="747">
                  <c:v>0.992673449786635</c:v>
                </c:pt>
                <c:pt idx="748">
                  <c:v>0.9927184727099874</c:v>
                </c:pt>
                <c:pt idx="749">
                  <c:v>0.9927634353051562</c:v>
                </c:pt>
                <c:pt idx="750">
                  <c:v>0.9928083496377782</c:v>
                </c:pt>
                <c:pt idx="751">
                  <c:v>0.992853173478125</c:v>
                </c:pt>
                <c:pt idx="752">
                  <c:v>0.9928979249246516</c:v>
                </c:pt>
                <c:pt idx="753">
                  <c:v>0.9929424531568991</c:v>
                </c:pt>
                <c:pt idx="754">
                  <c:v>0.992986951225055</c:v>
                </c:pt>
                <c:pt idx="755">
                  <c:v>0.9930313829322089</c:v>
                </c:pt>
                <c:pt idx="756">
                  <c:v>0.9930753621779866</c:v>
                </c:pt>
                <c:pt idx="757">
                  <c:v>0.9931190458156651</c:v>
                </c:pt>
                <c:pt idx="758">
                  <c:v>0.9931625726000665</c:v>
                </c:pt>
                <c:pt idx="759">
                  <c:v>0.9932060269906476</c:v>
                </c:pt>
                <c:pt idx="760">
                  <c:v>0.993249451217137</c:v>
                </c:pt>
                <c:pt idx="761">
                  <c:v>0.9932926763606208</c:v>
                </c:pt>
                <c:pt idx="762">
                  <c:v>0.9933358291102844</c:v>
                </c:pt>
                <c:pt idx="763">
                  <c:v>0.9933785113001166</c:v>
                </c:pt>
                <c:pt idx="764">
                  <c:v>0.9934210547351268</c:v>
                </c:pt>
                <c:pt idx="765">
                  <c:v>0.993463531809135</c:v>
                </c:pt>
                <c:pt idx="766">
                  <c:v>0.9935059666534148</c:v>
                </c:pt>
                <c:pt idx="767">
                  <c:v>0.993547924905045</c:v>
                </c:pt>
                <c:pt idx="768">
                  <c:v>0.9935896116798493</c:v>
                </c:pt>
                <c:pt idx="769">
                  <c:v>0.9936312803561985</c:v>
                </c:pt>
                <c:pt idx="770">
                  <c:v>0.9936726473916303</c:v>
                </c:pt>
                <c:pt idx="771">
                  <c:v>0.9937138334425115</c:v>
                </c:pt>
                <c:pt idx="772">
                  <c:v>0.9937549651980275</c:v>
                </c:pt>
                <c:pt idx="773">
                  <c:v>0.9937958677064462</c:v>
                </c:pt>
                <c:pt idx="774">
                  <c:v>0.9938367641820466</c:v>
                </c:pt>
                <c:pt idx="775">
                  <c:v>0.9938776244607368</c:v>
                </c:pt>
                <c:pt idx="776">
                  <c:v>0.9939183339189683</c:v>
                </c:pt>
                <c:pt idx="777">
                  <c:v>0.9939580479621719</c:v>
                </c:pt>
                <c:pt idx="778">
                  <c:v>0.9939977439069204</c:v>
                </c:pt>
                <c:pt idx="779">
                  <c:v>0.9940372829983919</c:v>
                </c:pt>
                <c:pt idx="780">
                  <c:v>0.9940761584798448</c:v>
                </c:pt>
                <c:pt idx="781">
                  <c:v>0.9941145453030111</c:v>
                </c:pt>
                <c:pt idx="782">
                  <c:v>0.9941525218945297</c:v>
                </c:pt>
                <c:pt idx="783">
                  <c:v>0.9941904803875933</c:v>
                </c:pt>
                <c:pt idx="784">
                  <c:v>0.9942283121914715</c:v>
                </c:pt>
                <c:pt idx="785">
                  <c:v>0.9942661319297129</c:v>
                </c:pt>
                <c:pt idx="786">
                  <c:v>0.9943036801911286</c:v>
                </c:pt>
                <c:pt idx="787">
                  <c:v>0.9943406975645294</c:v>
                </c:pt>
                <c:pt idx="788">
                  <c:v>0.9944132663364716</c:v>
                </c:pt>
                <c:pt idx="789">
                  <c:v>0.9944490469821105</c:v>
                </c:pt>
                <c:pt idx="790">
                  <c:v>0.9944848034964759</c:v>
                </c:pt>
                <c:pt idx="791">
                  <c:v>0.9945201618448303</c:v>
                </c:pt>
                <c:pt idx="792">
                  <c:v>0.9945554116024543</c:v>
                </c:pt>
                <c:pt idx="793">
                  <c:v>0.9945904924411645</c:v>
                </c:pt>
                <c:pt idx="794">
                  <c:v>0.9946254526235077</c:v>
                </c:pt>
                <c:pt idx="795">
                  <c:v>0.9946602800838471</c:v>
                </c:pt>
                <c:pt idx="796">
                  <c:v>0.9946950773800948</c:v>
                </c:pt>
                <c:pt idx="797">
                  <c:v>0.9947298565778874</c:v>
                </c:pt>
                <c:pt idx="798">
                  <c:v>0.9947639601000247</c:v>
                </c:pt>
                <c:pt idx="799">
                  <c:v>0.9947978947032482</c:v>
                </c:pt>
                <c:pt idx="800">
                  <c:v>0.994830906285264</c:v>
                </c:pt>
                <c:pt idx="801">
                  <c:v>0.9948638273750046</c:v>
                </c:pt>
                <c:pt idx="802">
                  <c:v>0.9948963080690055</c:v>
                </c:pt>
                <c:pt idx="803">
                  <c:v>0.9949286379425477</c:v>
                </c:pt>
                <c:pt idx="804">
                  <c:v>0.9949606722079907</c:v>
                </c:pt>
                <c:pt idx="805">
                  <c:v>0.9949926823421602</c:v>
                </c:pt>
                <c:pt idx="806">
                  <c:v>0.9950240831616763</c:v>
                </c:pt>
                <c:pt idx="807">
                  <c:v>0.9950553271279153</c:v>
                </c:pt>
                <c:pt idx="808">
                  <c:v>0.9950865590285176</c:v>
                </c:pt>
                <c:pt idx="809">
                  <c:v>0.9951177728306648</c:v>
                </c:pt>
                <c:pt idx="810">
                  <c:v>0.9951489021733552</c:v>
                </c:pt>
                <c:pt idx="811">
                  <c:v>0.9951799289581336</c:v>
                </c:pt>
                <c:pt idx="812">
                  <c:v>0.9952106782332678</c:v>
                </c:pt>
                <c:pt idx="813">
                  <c:v>0.995240944882934</c:v>
                </c:pt>
                <c:pt idx="814">
                  <c:v>0.9952712115326002</c:v>
                </c:pt>
                <c:pt idx="815">
                  <c:v>0.995301454050993</c:v>
                </c:pt>
                <c:pt idx="816">
                  <c:v>0.9953315336832903</c:v>
                </c:pt>
                <c:pt idx="817">
                  <c:v>0.9953615952171325</c:v>
                </c:pt>
                <c:pt idx="818">
                  <c:v>0.9953915541930628</c:v>
                </c:pt>
                <c:pt idx="819">
                  <c:v>0.9954215131689931</c:v>
                </c:pt>
                <c:pt idx="820">
                  <c:v>0.9954511463727325</c:v>
                </c:pt>
                <c:pt idx="821">
                  <c:v>0.9954806287560131</c:v>
                </c:pt>
                <c:pt idx="822">
                  <c:v>0.9955100749423835</c:v>
                </c:pt>
                <c:pt idx="823">
                  <c:v>0.9955394969974806</c:v>
                </c:pt>
                <c:pt idx="824">
                  <c:v>0.9955689069869409</c:v>
                </c:pt>
                <c:pt idx="825">
                  <c:v>0.995597985171392</c:v>
                </c:pt>
                <c:pt idx="826">
                  <c:v>0.9956268763384741</c:v>
                </c:pt>
                <c:pt idx="827">
                  <c:v>0.9956557554399196</c:v>
                </c:pt>
                <c:pt idx="828">
                  <c:v>0.995684393228631</c:v>
                </c:pt>
                <c:pt idx="829">
                  <c:v>0.9957129948204324</c:v>
                </c:pt>
                <c:pt idx="830">
                  <c:v>0.9957414395589567</c:v>
                </c:pt>
                <c:pt idx="831">
                  <c:v>0.9957696610832019</c:v>
                </c:pt>
                <c:pt idx="832">
                  <c:v>0.9957977679838984</c:v>
                </c:pt>
                <c:pt idx="833">
                  <c:v>0.9958253681278535</c:v>
                </c:pt>
                <c:pt idx="834">
                  <c:v>0.9958529320748986</c:v>
                </c:pt>
                <c:pt idx="835">
                  <c:v>0.9958803632999399</c:v>
                </c:pt>
                <c:pt idx="836">
                  <c:v>0.9959074325558801</c:v>
                </c:pt>
                <c:pt idx="837">
                  <c:v>0.9959340131535339</c:v>
                </c:pt>
                <c:pt idx="838">
                  <c:v>0.9959603524384537</c:v>
                </c:pt>
                <c:pt idx="839">
                  <c:v>0.9959866374280083</c:v>
                </c:pt>
                <c:pt idx="840">
                  <c:v>0.9960127836627408</c:v>
                </c:pt>
                <c:pt idx="841">
                  <c:v>0.9960386463550109</c:v>
                </c:pt>
                <c:pt idx="842">
                  <c:v>0.9960644487190975</c:v>
                </c:pt>
                <c:pt idx="843">
                  <c:v>0.9960897322608059</c:v>
                </c:pt>
                <c:pt idx="844">
                  <c:v>0.9961148287851453</c:v>
                </c:pt>
                <c:pt idx="845">
                  <c:v>0.9961399253094848</c:v>
                </c:pt>
                <c:pt idx="846">
                  <c:v>0.9961649373743674</c:v>
                </c:pt>
                <c:pt idx="847">
                  <c:v>0.9961898830782482</c:v>
                </c:pt>
                <c:pt idx="848">
                  <c:v>0.996214828782129</c:v>
                </c:pt>
                <c:pt idx="849">
                  <c:v>0.9962396960593711</c:v>
                </c:pt>
                <c:pt idx="850">
                  <c:v>0.9962641953346939</c:v>
                </c:pt>
                <c:pt idx="851">
                  <c:v>0.9962886885771983</c:v>
                </c:pt>
                <c:pt idx="852">
                  <c:v>0.9963129887695156</c:v>
                </c:pt>
                <c:pt idx="853">
                  <c:v>0.9963372648305594</c:v>
                </c:pt>
                <c:pt idx="854">
                  <c:v>0.9964093449442152</c:v>
                </c:pt>
                <c:pt idx="855">
                  <c:v>0.9964329996249688</c:v>
                </c:pt>
                <c:pt idx="856">
                  <c:v>0.9964566422400858</c:v>
                </c:pt>
                <c:pt idx="857">
                  <c:v>0.996480170231654</c:v>
                </c:pt>
                <c:pt idx="858">
                  <c:v>0.9965036801247673</c:v>
                </c:pt>
                <c:pt idx="859">
                  <c:v>0.9965270693615136</c:v>
                </c:pt>
                <c:pt idx="860">
                  <c:v>0.9965502836465276</c:v>
                </c:pt>
                <c:pt idx="861">
                  <c:v>0.9965734436361765</c:v>
                </c:pt>
                <c:pt idx="862">
                  <c:v>0.9965965372648236</c:v>
                </c:pt>
                <c:pt idx="863">
                  <c:v>0.9966195464340136</c:v>
                </c:pt>
                <c:pt idx="864">
                  <c:v>0.996642525439112</c:v>
                </c:pt>
                <c:pt idx="865">
                  <c:v>0.9966654079191167</c:v>
                </c:pt>
                <c:pt idx="866">
                  <c:v>0.9966882542022114</c:v>
                </c:pt>
                <c:pt idx="867">
                  <c:v>0.9967110763540327</c:v>
                </c:pt>
                <c:pt idx="868">
                  <c:v>0.9967338683417621</c:v>
                </c:pt>
                <c:pt idx="869">
                  <c:v>0.9967565939684898</c:v>
                </c:pt>
                <c:pt idx="870">
                  <c:v>0.9967791808403954</c:v>
                </c:pt>
                <c:pt idx="871">
                  <c:v>0.9968017013512991</c:v>
                </c:pt>
                <c:pt idx="872">
                  <c:v>0.9968237452695531</c:v>
                </c:pt>
                <c:pt idx="873">
                  <c:v>0.9968457409252602</c:v>
                </c:pt>
                <c:pt idx="874">
                  <c:v>0.9968676340230554</c:v>
                </c:pt>
                <c:pt idx="875">
                  <c:v>0.9968894788583038</c:v>
                </c:pt>
                <c:pt idx="876">
                  <c:v>0.9969112814638238</c:v>
                </c:pt>
                <c:pt idx="877">
                  <c:v>0.9969329573801584</c:v>
                </c:pt>
                <c:pt idx="878">
                  <c:v>0.9969543859509407</c:v>
                </c:pt>
                <c:pt idx="879">
                  <c:v>0.996975627504354</c:v>
                </c:pt>
                <c:pt idx="880">
                  <c:v>0.9969968147624021</c:v>
                </c:pt>
                <c:pt idx="881">
                  <c:v>0.99701792962663</c:v>
                </c:pt>
                <c:pt idx="882">
                  <c:v>0.9970390143267662</c:v>
                </c:pt>
                <c:pt idx="883">
                  <c:v>0.9970597913531666</c:v>
                </c:pt>
                <c:pt idx="884">
                  <c:v>0.9970802184761025</c:v>
                </c:pt>
                <c:pt idx="885">
                  <c:v>0.9971005973364917</c:v>
                </c:pt>
                <c:pt idx="886">
                  <c:v>0.9971209701640625</c:v>
                </c:pt>
                <c:pt idx="887">
                  <c:v>0.9971413067947232</c:v>
                </c:pt>
                <c:pt idx="888">
                  <c:v>0.9971613236860113</c:v>
                </c:pt>
                <c:pt idx="889">
                  <c:v>0.9971813043803893</c:v>
                </c:pt>
                <c:pt idx="890">
                  <c:v>0.9972011644184003</c:v>
                </c:pt>
                <c:pt idx="891">
                  <c:v>0.9972209761938645</c:v>
                </c:pt>
                <c:pt idx="892">
                  <c:v>0.9972404440986827</c:v>
                </c:pt>
                <c:pt idx="893">
                  <c:v>0.9972596948220402</c:v>
                </c:pt>
                <c:pt idx="894">
                  <c:v>0.9972788248890307</c:v>
                </c:pt>
                <c:pt idx="895">
                  <c:v>0.9972976955448322</c:v>
                </c:pt>
                <c:pt idx="896">
                  <c:v>0.9973165239709052</c:v>
                </c:pt>
                <c:pt idx="897">
                  <c:v>0.9973352196749745</c:v>
                </c:pt>
                <c:pt idx="898">
                  <c:v>0.99735374646013</c:v>
                </c:pt>
                <c:pt idx="899">
                  <c:v>0.9973719716043679</c:v>
                </c:pt>
                <c:pt idx="900">
                  <c:v>0.9973899855999635</c:v>
                </c:pt>
                <c:pt idx="901">
                  <c:v>0.9974079875299224</c:v>
                </c:pt>
                <c:pt idx="902">
                  <c:v>0.9974259110332427</c:v>
                </c:pt>
                <c:pt idx="903">
                  <c:v>0.9974438164381081</c:v>
                </c:pt>
                <c:pt idx="904">
                  <c:v>0.9974617037445184</c:v>
                </c:pt>
                <c:pt idx="905">
                  <c:v>0.9974794281648331</c:v>
                </c:pt>
                <c:pt idx="906">
                  <c:v>0.9974971163882378</c:v>
                </c:pt>
                <c:pt idx="907">
                  <c:v>0.9975146839552754</c:v>
                </c:pt>
                <c:pt idx="908">
                  <c:v>0.997532233423858</c:v>
                </c:pt>
                <c:pt idx="909">
                  <c:v>0.9975496441376185</c:v>
                </c:pt>
                <c:pt idx="910">
                  <c:v>0.9975668376699184</c:v>
                </c:pt>
                <c:pt idx="911">
                  <c:v>0.9975839889724898</c:v>
                </c:pt>
                <c:pt idx="912">
                  <c:v>0.9976011282094245</c:v>
                </c:pt>
                <c:pt idx="913">
                  <c:v>0.9976182131509941</c:v>
                </c:pt>
                <c:pt idx="914">
                  <c:v>0.997635183469015</c:v>
                </c:pt>
                <c:pt idx="915">
                  <c:v>0.9976521055244891</c:v>
                </c:pt>
                <c:pt idx="916">
                  <c:v>0.9976690094815082</c:v>
                </c:pt>
                <c:pt idx="917">
                  <c:v>0.9976858893072538</c:v>
                </c:pt>
                <c:pt idx="918">
                  <c:v>0.9977026665750874</c:v>
                </c:pt>
                <c:pt idx="919">
                  <c:v>0.9977191964973687</c:v>
                </c:pt>
                <c:pt idx="920">
                  <c:v>0.9977356721242849</c:v>
                </c:pt>
                <c:pt idx="921">
                  <c:v>0.9977521356855644</c:v>
                </c:pt>
                <c:pt idx="922">
                  <c:v>0.9977685932140256</c:v>
                </c:pt>
                <c:pt idx="923">
                  <c:v>0.9977849843814848</c:v>
                </c:pt>
                <c:pt idx="924">
                  <c:v>0.9978013574504889</c:v>
                </c:pt>
                <c:pt idx="925">
                  <c:v>0.9978173866488471</c:v>
                </c:pt>
                <c:pt idx="926">
                  <c:v>0.9978333736174768</c:v>
                </c:pt>
                <c:pt idx="927">
                  <c:v>0.9978493062907414</c:v>
                </c:pt>
                <c:pt idx="928">
                  <c:v>0.9978649554215435</c:v>
                </c:pt>
                <c:pt idx="929">
                  <c:v>0.99788036927243</c:v>
                </c:pt>
                <c:pt idx="930">
                  <c:v>0.9978957288279512</c:v>
                </c:pt>
                <c:pt idx="931">
                  <c:v>0.9979110461537439</c:v>
                </c:pt>
                <c:pt idx="932">
                  <c:v>0.9979261161339843</c:v>
                </c:pt>
                <c:pt idx="933">
                  <c:v>0.9979410775234944</c:v>
                </c:pt>
                <c:pt idx="934">
                  <c:v>0.9979559966832761</c:v>
                </c:pt>
                <c:pt idx="935">
                  <c:v>0.9979708736133293</c:v>
                </c:pt>
                <c:pt idx="936">
                  <c:v>0.9979855031978301</c:v>
                </c:pt>
                <c:pt idx="937">
                  <c:v>0.9980000965854208</c:v>
                </c:pt>
                <c:pt idx="938">
                  <c:v>0.998014545185371</c:v>
                </c:pt>
                <c:pt idx="939">
                  <c:v>0.9980289575884111</c:v>
                </c:pt>
                <c:pt idx="940">
                  <c:v>0.9980433217289045</c:v>
                </c:pt>
                <c:pt idx="941">
                  <c:v>0.9980576738037612</c:v>
                </c:pt>
                <c:pt idx="942">
                  <c:v>0.9980719655504343</c:v>
                </c:pt>
                <c:pt idx="943">
                  <c:v>0.9980861426735588</c:v>
                </c:pt>
                <c:pt idx="944">
                  <c:v>0.9981003016982282</c:v>
                </c:pt>
                <c:pt idx="945">
                  <c:v>0.9981144003947141</c:v>
                </c:pt>
                <c:pt idx="946">
                  <c:v>0.9981424952297739</c:v>
                </c:pt>
                <c:pt idx="947">
                  <c:v>0.9981562681540689</c:v>
                </c:pt>
                <c:pt idx="948">
                  <c:v>0.9981699143891785</c:v>
                </c:pt>
                <c:pt idx="949">
                  <c:v>0.9981834279022843</c:v>
                </c:pt>
                <c:pt idx="950">
                  <c:v>0.9981967182011112</c:v>
                </c:pt>
                <c:pt idx="951">
                  <c:v>0.998209851646661</c:v>
                </c:pt>
                <c:pt idx="952">
                  <c:v>0.9982228765014804</c:v>
                </c:pt>
                <c:pt idx="953">
                  <c:v>0.9982358953234816</c:v>
                </c:pt>
                <c:pt idx="954">
                  <c:v>0.9982615830640194</c:v>
                </c:pt>
                <c:pt idx="955">
                  <c:v>0.9982740649651872</c:v>
                </c:pt>
                <c:pt idx="956">
                  <c:v>0.99828649257099</c:v>
                </c:pt>
                <c:pt idx="957">
                  <c:v>0.9982989020783377</c:v>
                </c:pt>
                <c:pt idx="958">
                  <c:v>0.9983234737474808</c:v>
                </c:pt>
                <c:pt idx="959">
                  <c:v>0.9983357143359146</c:v>
                </c:pt>
                <c:pt idx="960">
                  <c:v>0.9983479368258934</c:v>
                </c:pt>
                <c:pt idx="961">
                  <c:v>0.9983601593158722</c:v>
                </c:pt>
                <c:pt idx="962">
                  <c:v>0.9983843991800059</c:v>
                </c:pt>
                <c:pt idx="963">
                  <c:v>0.9983964165541608</c:v>
                </c:pt>
                <c:pt idx="964">
                  <c:v>0.9984084097970423</c:v>
                </c:pt>
                <c:pt idx="965">
                  <c:v>0.998420372875832</c:v>
                </c:pt>
                <c:pt idx="966">
                  <c:v>0.9984441844098628</c:v>
                </c:pt>
                <c:pt idx="967">
                  <c:v>0.9984559725369204</c:v>
                </c:pt>
                <c:pt idx="968">
                  <c:v>0.9984676339747927</c:v>
                </c:pt>
                <c:pt idx="969">
                  <c:v>0.998479247150118</c:v>
                </c:pt>
                <c:pt idx="970">
                  <c:v>0.9984907276034397</c:v>
                </c:pt>
                <c:pt idx="971">
                  <c:v>0.9985021537613962</c:v>
                </c:pt>
                <c:pt idx="972">
                  <c:v>0.9985134290988938</c:v>
                </c:pt>
                <c:pt idx="973">
                  <c:v>0.9985245837800245</c:v>
                </c:pt>
                <c:pt idx="974">
                  <c:v>0.9985357143298819</c:v>
                </c:pt>
                <c:pt idx="975">
                  <c:v>0.998546790584374</c:v>
                </c:pt>
                <c:pt idx="976">
                  <c:v>0.9985578004778644</c:v>
                </c:pt>
                <c:pt idx="977">
                  <c:v>0.998568713846261</c:v>
                </c:pt>
                <c:pt idx="978">
                  <c:v>0.9985795729192926</c:v>
                </c:pt>
                <c:pt idx="979">
                  <c:v>0.998590395795414</c:v>
                </c:pt>
                <c:pt idx="980">
                  <c:v>0.9986011221464418</c:v>
                </c:pt>
                <c:pt idx="981">
                  <c:v>0.998611751972376</c:v>
                </c:pt>
                <c:pt idx="982">
                  <c:v>0.998632764278692</c:v>
                </c:pt>
                <c:pt idx="983">
                  <c:v>0.9986431286606187</c:v>
                </c:pt>
                <c:pt idx="984">
                  <c:v>0.9986534809769088</c:v>
                </c:pt>
                <c:pt idx="985">
                  <c:v>0.9986637729650153</c:v>
                </c:pt>
                <c:pt idx="986">
                  <c:v>0.99867403478903</c:v>
                </c:pt>
                <c:pt idx="987">
                  <c:v>0.9986842604161348</c:v>
                </c:pt>
                <c:pt idx="988">
                  <c:v>0.9986944679447844</c:v>
                </c:pt>
                <c:pt idx="989">
                  <c:v>0.9987046332437056</c:v>
                </c:pt>
                <c:pt idx="990">
                  <c:v>0.9987147925098084</c:v>
                </c:pt>
                <c:pt idx="991">
                  <c:v>0.998724897480546</c:v>
                </c:pt>
                <c:pt idx="992">
                  <c:v>0.9987348154339148</c:v>
                </c:pt>
                <c:pt idx="993">
                  <c:v>0.998754422093555</c:v>
                </c:pt>
                <c:pt idx="994">
                  <c:v>0.9987641409639182</c:v>
                </c:pt>
                <c:pt idx="995">
                  <c:v>0.9987738055389163</c:v>
                </c:pt>
                <c:pt idx="996">
                  <c:v>0.998792989901272</c:v>
                </c:pt>
                <c:pt idx="997">
                  <c:v>0.9988023528353525</c:v>
                </c:pt>
                <c:pt idx="998">
                  <c:v>0.9988116976709779</c:v>
                </c:pt>
                <c:pt idx="999">
                  <c:v>0.9988210304409666</c:v>
                </c:pt>
                <c:pt idx="1000">
                  <c:v>0.9988303330468636</c:v>
                </c:pt>
                <c:pt idx="1001">
                  <c:v>0.9988396175543056</c:v>
                </c:pt>
                <c:pt idx="1002">
                  <c:v>0.9988487934710173</c:v>
                </c:pt>
                <c:pt idx="1003">
                  <c:v>0.9988579633549106</c:v>
                </c:pt>
                <c:pt idx="1004">
                  <c:v>0.9988670608449837</c:v>
                </c:pt>
                <c:pt idx="1005">
                  <c:v>0.9988761281709649</c:v>
                </c:pt>
                <c:pt idx="1006">
                  <c:v>0.9988851291359444</c:v>
                </c:pt>
                <c:pt idx="1007">
                  <c:v>0.998894045641467</c:v>
                </c:pt>
                <c:pt idx="1008">
                  <c:v>0.9989027027358005</c:v>
                </c:pt>
                <c:pt idx="1009">
                  <c:v>0.9989113236332239</c:v>
                </c:pt>
                <c:pt idx="1010">
                  <c:v>0.998919835939917</c:v>
                </c:pt>
                <c:pt idx="1011">
                  <c:v>0.9989282939512448</c:v>
                </c:pt>
                <c:pt idx="1012">
                  <c:v>0.998936739896936</c:v>
                </c:pt>
                <c:pt idx="1013">
                  <c:v>0.9989451737769904</c:v>
                </c:pt>
                <c:pt idx="1014">
                  <c:v>0.9989619208807324</c:v>
                </c:pt>
                <c:pt idx="1015">
                  <c:v>0.9989785835250174</c:v>
                </c:pt>
                <c:pt idx="1016">
                  <c:v>0.9989868967487049</c:v>
                </c:pt>
                <c:pt idx="1017">
                  <c:v>0.9989951556770272</c:v>
                </c:pt>
                <c:pt idx="1018">
                  <c:v>0.9990034146053496</c:v>
                </c:pt>
                <c:pt idx="1019">
                  <c:v>0.9990115046147581</c:v>
                </c:pt>
                <c:pt idx="1020">
                  <c:v>0.9990195885913482</c:v>
                </c:pt>
                <c:pt idx="1021">
                  <c:v>0.9990275760428448</c:v>
                </c:pt>
                <c:pt idx="1022">
                  <c:v>0.999035557461523</c:v>
                </c:pt>
                <c:pt idx="1023">
                  <c:v>0.9990435388802011</c:v>
                </c:pt>
                <c:pt idx="1024">
                  <c:v>0.9990514901347876</c:v>
                </c:pt>
                <c:pt idx="1025">
                  <c:v>0.9990593629627355</c:v>
                </c:pt>
                <c:pt idx="1026">
                  <c:v>0.9990672176922283</c:v>
                </c:pt>
                <c:pt idx="1027">
                  <c:v>0.9990750120935376</c:v>
                </c:pt>
                <c:pt idx="1028">
                  <c:v>0.9990905224695176</c:v>
                </c:pt>
                <c:pt idx="1029">
                  <c:v>0.9990982022472782</c:v>
                </c:pt>
                <c:pt idx="1030">
                  <c:v>0.9991058458281287</c:v>
                </c:pt>
                <c:pt idx="1031">
                  <c:v>0.9991133928838856</c:v>
                </c:pt>
                <c:pt idx="1032">
                  <c:v>0.9991208373817305</c:v>
                </c:pt>
                <c:pt idx="1033">
                  <c:v>0.9991282818795755</c:v>
                </c:pt>
                <c:pt idx="1034">
                  <c:v>0.9991357143117837</c:v>
                </c:pt>
                <c:pt idx="1035">
                  <c:v>0.999143146743992</c:v>
                </c:pt>
                <c:pt idx="1036">
                  <c:v>0.999150404224468</c:v>
                </c:pt>
                <c:pt idx="1037">
                  <c:v>0.999157661704944</c:v>
                </c:pt>
                <c:pt idx="1038">
                  <c:v>0.999164864890055</c:v>
                </c:pt>
                <c:pt idx="1039">
                  <c:v>0.9991720620423475</c:v>
                </c:pt>
                <c:pt idx="1040">
                  <c:v>0.9991792350633667</c:v>
                </c:pt>
                <c:pt idx="1041">
                  <c:v>0.999186359821839</c:v>
                </c:pt>
                <c:pt idx="1042">
                  <c:v>0.999193375989581</c:v>
                </c:pt>
                <c:pt idx="1043">
                  <c:v>0.9992003619932313</c:v>
                </c:pt>
                <c:pt idx="1044">
                  <c:v>0.9992073178327898</c:v>
                </c:pt>
                <c:pt idx="1045">
                  <c:v>0.99921426763953</c:v>
                </c:pt>
                <c:pt idx="1046">
                  <c:v>0.9992211812493601</c:v>
                </c:pt>
                <c:pt idx="1047">
                  <c:v>0.9992280827935535</c:v>
                </c:pt>
                <c:pt idx="1048">
                  <c:v>0.9992349481408367</c:v>
                </c:pt>
                <c:pt idx="1049">
                  <c:v>0.9992485762774913</c:v>
                </c:pt>
                <c:pt idx="1050">
                  <c:v>0.999262138053144</c:v>
                </c:pt>
                <c:pt idx="1051">
                  <c:v>0.9992689068753337</c:v>
                </c:pt>
                <c:pt idx="1052">
                  <c:v>0.9992756636318866</c:v>
                </c:pt>
                <c:pt idx="1053">
                  <c:v>0.9992823902243477</c:v>
                </c:pt>
                <c:pt idx="1054">
                  <c:v>0.9992890866527172</c:v>
                </c:pt>
                <c:pt idx="1055">
                  <c:v>0.9992957770482683</c:v>
                </c:pt>
                <c:pt idx="1056">
                  <c:v>0.9993024614110011</c:v>
                </c:pt>
                <c:pt idx="1057">
                  <c:v>0.9993090492486402</c:v>
                </c:pt>
                <c:pt idx="1058">
                  <c:v>0.9993155888237325</c:v>
                </c:pt>
                <c:pt idx="1059">
                  <c:v>0.9993221163331881</c:v>
                </c:pt>
                <c:pt idx="1060">
                  <c:v>0.9993285593831869</c:v>
                </c:pt>
                <c:pt idx="1061">
                  <c:v>0.9993349903675489</c:v>
                </c:pt>
                <c:pt idx="1062">
                  <c:v>0.9993413308596356</c:v>
                </c:pt>
                <c:pt idx="1063">
                  <c:v>0.999353854990532</c:v>
                </c:pt>
                <c:pt idx="1064">
                  <c:v>0.9993661559071494</c:v>
                </c:pt>
                <c:pt idx="1065">
                  <c:v>0.9993722249224103</c:v>
                </c:pt>
                <c:pt idx="1066">
                  <c:v>0.9993782879048528</c:v>
                </c:pt>
                <c:pt idx="1067">
                  <c:v>0.9993843448544771</c:v>
                </c:pt>
                <c:pt idx="1068">
                  <c:v>0.9993903354430995</c:v>
                </c:pt>
                <c:pt idx="1069">
                  <c:v>0.9993962777691751</c:v>
                </c:pt>
                <c:pt idx="1070">
                  <c:v>0.9994021899311589</c:v>
                </c:pt>
                <c:pt idx="1071">
                  <c:v>0.9994080236665042</c:v>
                </c:pt>
                <c:pt idx="1072">
                  <c:v>0.9994138574018494</c:v>
                </c:pt>
                <c:pt idx="1073">
                  <c:v>0.9994196368418296</c:v>
                </c:pt>
                <c:pt idx="1074">
                  <c:v>0.9994253680192628</c:v>
                </c:pt>
                <c:pt idx="1075">
                  <c:v>0.9994310871310594</c:v>
                </c:pt>
                <c:pt idx="1076">
                  <c:v>0.999436806242856</c:v>
                </c:pt>
                <c:pt idx="1077">
                  <c:v>0.9994480574490804</c:v>
                </c:pt>
                <c:pt idx="1078">
                  <c:v>0.9994535714450531</c:v>
                </c:pt>
                <c:pt idx="1079">
                  <c:v>0.9994590733753891</c:v>
                </c:pt>
                <c:pt idx="1080">
                  <c:v>0.9994645692729067</c:v>
                </c:pt>
                <c:pt idx="1081">
                  <c:v>0.9994753559521181</c:v>
                </c:pt>
                <c:pt idx="1082">
                  <c:v>0.999480634668175</c:v>
                </c:pt>
                <c:pt idx="1083">
                  <c:v>0.9994859073514137</c:v>
                </c:pt>
                <c:pt idx="1084">
                  <c:v>0.9994962777661588</c:v>
                </c:pt>
                <c:pt idx="1085">
                  <c:v>0.9995013694648469</c:v>
                </c:pt>
                <c:pt idx="1086">
                  <c:v>0.9995064129009882</c:v>
                </c:pt>
                <c:pt idx="1087">
                  <c:v>0.9995114503043111</c:v>
                </c:pt>
                <c:pt idx="1088">
                  <c:v>0.9995164394450873</c:v>
                </c:pt>
                <c:pt idx="1089">
                  <c:v>0.9995213622248615</c:v>
                </c:pt>
                <c:pt idx="1090">
                  <c:v>0.9995262789718175</c:v>
                </c:pt>
                <c:pt idx="1091">
                  <c:v>0.999531153489045</c:v>
                </c:pt>
                <c:pt idx="1092">
                  <c:v>0.9995359978421807</c:v>
                </c:pt>
                <c:pt idx="1093">
                  <c:v>0.9995407878999513</c:v>
                </c:pt>
                <c:pt idx="1094">
                  <c:v>0.9995455357279934</c:v>
                </c:pt>
                <c:pt idx="1095">
                  <c:v>0.9995502775232172</c:v>
                </c:pt>
                <c:pt idx="1096">
                  <c:v>0.9995549891543493</c:v>
                </c:pt>
                <c:pt idx="1097">
                  <c:v>0.9995596947526629</c:v>
                </c:pt>
                <c:pt idx="1098">
                  <c:v>0.9995643822525215</c:v>
                </c:pt>
                <c:pt idx="1099">
                  <c:v>0.9995690154570149</c:v>
                </c:pt>
                <c:pt idx="1100">
                  <c:v>0.9995736365958717</c:v>
                </c:pt>
                <c:pt idx="1101">
                  <c:v>0.9995782456690918</c:v>
                </c:pt>
                <c:pt idx="1102">
                  <c:v>0.9995871320105226</c:v>
                </c:pt>
                <c:pt idx="1103">
                  <c:v>0.9995915540663738</c:v>
                </c:pt>
                <c:pt idx="1104">
                  <c:v>0.9995959338924965</c:v>
                </c:pt>
                <c:pt idx="1105">
                  <c:v>0.9996046814791051</c:v>
                </c:pt>
                <c:pt idx="1106">
                  <c:v>0.9996090432067728</c:v>
                </c:pt>
                <c:pt idx="1107">
                  <c:v>0.999613362704712</c:v>
                </c:pt>
                <c:pt idx="1108">
                  <c:v>0.9996176701370145</c:v>
                </c:pt>
                <c:pt idx="1109">
                  <c:v>0.9996261402139791</c:v>
                </c:pt>
                <c:pt idx="1110">
                  <c:v>0.9996303149242779</c:v>
                </c:pt>
                <c:pt idx="1111">
                  <c:v>0.9996344594704849</c:v>
                </c:pt>
                <c:pt idx="1112">
                  <c:v>0.9996385919510552</c:v>
                </c:pt>
                <c:pt idx="1113">
                  <c:v>0.9996427183988071</c:v>
                </c:pt>
                <c:pt idx="1114">
                  <c:v>0.9996468026168307</c:v>
                </c:pt>
                <c:pt idx="1115">
                  <c:v>0.9996508385723074</c:v>
                </c:pt>
                <c:pt idx="1116">
                  <c:v>0.999654856429329</c:v>
                </c:pt>
                <c:pt idx="1117">
                  <c:v>0.9996588561878956</c:v>
                </c:pt>
                <c:pt idx="1118">
                  <c:v>0.9996628318151888</c:v>
                </c:pt>
                <c:pt idx="1119">
                  <c:v>0.9996667712455719</c:v>
                </c:pt>
                <c:pt idx="1120">
                  <c:v>0.9996706443149531</c:v>
                </c:pt>
                <c:pt idx="1121">
                  <c:v>0.9996744872202427</c:v>
                </c:pt>
                <c:pt idx="1122">
                  <c:v>0.9996783240927138</c:v>
                </c:pt>
                <c:pt idx="1123">
                  <c:v>0.9996858771812891</c:v>
                </c:pt>
                <c:pt idx="1124">
                  <c:v>0.9996895632333015</c:v>
                </c:pt>
                <c:pt idx="1125">
                  <c:v>0.9996932311868588</c:v>
                </c:pt>
                <c:pt idx="1126">
                  <c:v>0.999696844845051</c:v>
                </c:pt>
                <c:pt idx="1127">
                  <c:v>0.9997004162735147</c:v>
                </c:pt>
                <c:pt idx="1128">
                  <c:v>0.999703963570705</c:v>
                </c:pt>
                <c:pt idx="1129">
                  <c:v>0.999707504835077</c:v>
                </c:pt>
                <c:pt idx="1130">
                  <c:v>0.9997110460994489</c:v>
                </c:pt>
                <c:pt idx="1131">
                  <c:v>0.9997145632325475</c:v>
                </c:pt>
                <c:pt idx="1132">
                  <c:v>0.9997180019390075</c:v>
                </c:pt>
                <c:pt idx="1133">
                  <c:v>0.9997214406454675</c:v>
                </c:pt>
                <c:pt idx="1134">
                  <c:v>0.9997248431550174</c:v>
                </c:pt>
                <c:pt idx="1135">
                  <c:v>0.9997282275661122</c:v>
                </c:pt>
                <c:pt idx="1136">
                  <c:v>0.999731593878752</c:v>
                </c:pt>
                <c:pt idx="1137">
                  <c:v>0.9997347249114761</c:v>
                </c:pt>
                <c:pt idx="1138">
                  <c:v>0.9997378438785635</c:v>
                </c:pt>
                <c:pt idx="1139">
                  <c:v>0.9997409628456508</c:v>
                </c:pt>
                <c:pt idx="1140">
                  <c:v>0.9997440818127382</c:v>
                </c:pt>
                <c:pt idx="1141">
                  <c:v>0.9997471947470072</c:v>
                </c:pt>
                <c:pt idx="1142">
                  <c:v>0.9997564068606289</c:v>
                </c:pt>
                <c:pt idx="1143">
                  <c:v>0.9997594051713493</c:v>
                </c:pt>
                <c:pt idx="1144">
                  <c:v>0.9997623974492513</c:v>
                </c:pt>
                <c:pt idx="1145">
                  <c:v>0.9997653776615166</c:v>
                </c:pt>
                <c:pt idx="1146">
                  <c:v>0.9997683458081452</c:v>
                </c:pt>
                <c:pt idx="1147">
                  <c:v>0.9997712898235004</c:v>
                </c:pt>
                <c:pt idx="1148">
                  <c:v>0.9997741735106721</c:v>
                </c:pt>
                <c:pt idx="1149">
                  <c:v>0.9997769908368419</c:v>
                </c:pt>
                <c:pt idx="1150">
                  <c:v>0.999779796097375</c:v>
                </c:pt>
                <c:pt idx="1151">
                  <c:v>0.9997853221589844</c:v>
                </c:pt>
                <c:pt idx="1152">
                  <c:v>0.9997880550256973</c:v>
                </c:pt>
                <c:pt idx="1153">
                  <c:v>0.9997907878924103</c:v>
                </c:pt>
                <c:pt idx="1154">
                  <c:v>0.9997934845622131</c:v>
                </c:pt>
                <c:pt idx="1155">
                  <c:v>0.9997961751991975</c:v>
                </c:pt>
                <c:pt idx="1156">
                  <c:v>0.9997988356720903</c:v>
                </c:pt>
                <c:pt idx="1157">
                  <c:v>0.9998014840793463</c:v>
                </c:pt>
                <c:pt idx="1158">
                  <c:v>0.9998041143881473</c:v>
                </c:pt>
                <c:pt idx="1159">
                  <c:v>0.9998092905462923</c:v>
                </c:pt>
                <c:pt idx="1160">
                  <c:v>0.9998117881330896</c:v>
                </c:pt>
                <c:pt idx="1161">
                  <c:v>0.9998191481714775</c:v>
                </c:pt>
                <c:pt idx="1162">
                  <c:v>0.9998214285768142</c:v>
                </c:pt>
                <c:pt idx="1163">
                  <c:v>0.9998259773218509</c:v>
                </c:pt>
                <c:pt idx="1164">
                  <c:v>0.9998282275630958</c:v>
                </c:pt>
                <c:pt idx="1165">
                  <c:v>0.9998304597058856</c:v>
                </c:pt>
                <c:pt idx="1166">
                  <c:v>0.9998326918486754</c:v>
                </c:pt>
                <c:pt idx="1167">
                  <c:v>0.9998370958060715</c:v>
                </c:pt>
                <c:pt idx="1168">
                  <c:v>0.999839255555041</c:v>
                </c:pt>
                <c:pt idx="1169">
                  <c:v>0.9998413972055556</c:v>
                </c:pt>
                <c:pt idx="1170">
                  <c:v>0.9998435207576152</c:v>
                </c:pt>
                <c:pt idx="1171">
                  <c:v>0.9998476773694589</c:v>
                </c:pt>
                <c:pt idx="1172">
                  <c:v>0.9998497285276982</c:v>
                </c:pt>
                <c:pt idx="1173">
                  <c:v>0.9998517676203007</c:v>
                </c:pt>
                <c:pt idx="1174">
                  <c:v>0.9998537765488116</c:v>
                </c:pt>
                <c:pt idx="1175">
                  <c:v>0.9998557372147756</c:v>
                </c:pt>
                <c:pt idx="1176">
                  <c:v>0.9998615468188474</c:v>
                </c:pt>
                <c:pt idx="1177">
                  <c:v>0.9998634049268995</c:v>
                </c:pt>
                <c:pt idx="1178">
                  <c:v>0.9998670487491834</c:v>
                </c:pt>
                <c:pt idx="1179">
                  <c:v>0.999868864627507</c:v>
                </c:pt>
                <c:pt idx="1180">
                  <c:v>0.9998706503417388</c:v>
                </c:pt>
                <c:pt idx="1181">
                  <c:v>0.9998724360559706</c:v>
                </c:pt>
                <c:pt idx="1182">
                  <c:v>0.9998742217702025</c:v>
                </c:pt>
                <c:pt idx="1183">
                  <c:v>0.9998810931503042</c:v>
                </c:pt>
                <c:pt idx="1184">
                  <c:v>0.9998828064707158</c:v>
                </c:pt>
                <c:pt idx="1185">
                  <c:v>0.9998862150130841</c:v>
                </c:pt>
                <c:pt idx="1186">
                  <c:v>0.9998878861037672</c:v>
                </c:pt>
                <c:pt idx="1187">
                  <c:v>0.9998895451288137</c:v>
                </c:pt>
                <c:pt idx="1188">
                  <c:v>0.9998944136132228</c:v>
                </c:pt>
                <c:pt idx="1189">
                  <c:v>0.9998960002444491</c:v>
                </c:pt>
                <c:pt idx="1190">
                  <c:v>0.999897562744402</c:v>
                </c:pt>
                <c:pt idx="1191">
                  <c:v>0.9999020089315266</c:v>
                </c:pt>
                <c:pt idx="1192">
                  <c:v>0.9999034628407492</c:v>
                </c:pt>
                <c:pt idx="1193">
                  <c:v>0.9999063525607392</c:v>
                </c:pt>
                <c:pt idx="1194">
                  <c:v>0.9999092241822742</c:v>
                </c:pt>
                <c:pt idx="1195">
                  <c:v>0.9999105996648582</c:v>
                </c:pt>
                <c:pt idx="1196">
                  <c:v>0.9999133325315711</c:v>
                </c:pt>
                <c:pt idx="1197">
                  <c:v>0.9999146838828817</c:v>
                </c:pt>
                <c:pt idx="1198">
                  <c:v>0.9999186776086301</c:v>
                </c:pt>
                <c:pt idx="1199">
                  <c:v>0.9999237632744998</c:v>
                </c:pt>
                <c:pt idx="1200">
                  <c:v>0.9999249939694435</c:v>
                </c:pt>
                <c:pt idx="1201">
                  <c:v>0.9999273769326921</c:v>
                </c:pt>
                <c:pt idx="1202">
                  <c:v>0.9999296513052103</c:v>
                </c:pt>
                <c:pt idx="1203">
                  <c:v>0.9999307673766051</c:v>
                </c:pt>
                <c:pt idx="1204">
                  <c:v>0.9999318713823634</c:v>
                </c:pt>
                <c:pt idx="1205">
                  <c:v>0.9999329753881216</c:v>
                </c:pt>
                <c:pt idx="1206">
                  <c:v>0.9999340311313331</c:v>
                </c:pt>
                <c:pt idx="1207">
                  <c:v>0.9999350687760894</c:v>
                </c:pt>
                <c:pt idx="1208">
                  <c:v>0.9999361064208457</c:v>
                </c:pt>
                <c:pt idx="1209">
                  <c:v>0.9999371380327837</c:v>
                </c:pt>
                <c:pt idx="1210">
                  <c:v>0.9999410714303485</c:v>
                </c:pt>
                <c:pt idx="1211">
                  <c:v>0.9999429476368557</c:v>
                </c:pt>
                <c:pt idx="1212">
                  <c:v>0.9999456443066584</c:v>
                </c:pt>
                <c:pt idx="1213">
                  <c:v>0.9999482022216392</c:v>
                </c:pt>
                <c:pt idx="1214">
                  <c:v>0.99994904078339</c:v>
                </c:pt>
                <c:pt idx="1215">
                  <c:v>0.9999514840748222</c:v>
                </c:pt>
                <c:pt idx="1216">
                  <c:v>0.999953046574775</c:v>
                </c:pt>
                <c:pt idx="1217">
                  <c:v>0.999954542713726</c:v>
                </c:pt>
                <c:pt idx="1218">
                  <c:v>0.9999559604260385</c:v>
                </c:pt>
                <c:pt idx="1219">
                  <c:v>0.9999580719124614</c:v>
                </c:pt>
                <c:pt idx="1220">
                  <c:v>0.9999594534278639</c:v>
                </c:pt>
                <c:pt idx="1221">
                  <c:v>0.9999601411691559</c:v>
                </c:pt>
                <c:pt idx="1222">
                  <c:v>0.9999607927135378</c:v>
                </c:pt>
                <c:pt idx="1223">
                  <c:v>0.9999657396245852</c:v>
                </c:pt>
                <c:pt idx="1224">
                  <c:v>0.9999675253388169</c:v>
                </c:pt>
                <c:pt idx="1225">
                  <c:v>0.9999698479738822</c:v>
                </c:pt>
                <c:pt idx="1226">
                  <c:v>0.9999715250973839</c:v>
                </c:pt>
                <c:pt idx="1227">
                  <c:v>0.9999741735046399</c:v>
                </c:pt>
                <c:pt idx="1228">
                  <c:v>0.9999756515451358</c:v>
                </c:pt>
                <c:pt idx="1229">
                  <c:v>0.9999765866319801</c:v>
                </c:pt>
                <c:pt idx="1230">
                  <c:v>0.9999770451261747</c:v>
                </c:pt>
                <c:pt idx="1231">
                  <c:v>0.9999774975875511</c:v>
                </c:pt>
                <c:pt idx="1232">
                  <c:v>0.9999779379832907</c:v>
                </c:pt>
                <c:pt idx="1233">
                  <c:v>0.9999800615353504</c:v>
                </c:pt>
                <c:pt idx="1234">
                  <c:v>0.9999804717669982</c:v>
                </c:pt>
                <c:pt idx="1235">
                  <c:v>0.9999816722978501</c:v>
                </c:pt>
                <c:pt idx="1236">
                  <c:v>0.9999839285719132</c:v>
                </c:pt>
                <c:pt idx="1237">
                  <c:v>0.9999842724425592</c:v>
                </c:pt>
                <c:pt idx="1238">
                  <c:v>0.9999846163132051</c:v>
                </c:pt>
                <c:pt idx="1239">
                  <c:v>0.999985267857587</c:v>
                </c:pt>
                <c:pt idx="1240">
                  <c:v>0.9999858771722405</c:v>
                </c:pt>
                <c:pt idx="1241">
                  <c:v>0.9999861727803397</c:v>
                </c:pt>
                <c:pt idx="1242">
                  <c:v>0.9999870113420906</c:v>
                </c:pt>
                <c:pt idx="1243">
                  <c:v>0.9999875663613789</c:v>
                </c:pt>
                <c:pt idx="1244">
                  <c:v>0.9999886402030453</c:v>
                </c:pt>
                <c:pt idx="1245">
                  <c:v>0.9999893943053392</c:v>
                </c:pt>
                <c:pt idx="1246">
                  <c:v>0.9999915178573985</c:v>
                </c:pt>
                <c:pt idx="1247">
                  <c:v>0.9999917410716774</c:v>
                </c:pt>
                <c:pt idx="1248">
                  <c:v>0.9999931889480813</c:v>
                </c:pt>
                <c:pt idx="1249">
                  <c:v>0.9999935750484559</c:v>
                </c:pt>
                <c:pt idx="1250">
                  <c:v>0.9999939490831937</c:v>
                </c:pt>
                <c:pt idx="1251">
                  <c:v>0.9999941361005626</c:v>
                </c:pt>
                <c:pt idx="1252">
                  <c:v>0.9999950168920421</c:v>
                </c:pt>
                <c:pt idx="1253">
                  <c:v>0.9999958071912461</c:v>
                </c:pt>
                <c:pt idx="1254">
                  <c:v>0.9999959580117049</c:v>
                </c:pt>
                <c:pt idx="1255">
                  <c:v>0.9999962536198042</c:v>
                </c:pt>
                <c:pt idx="1256">
                  <c:v>0.9999963984074446</c:v>
                </c:pt>
                <c:pt idx="1257">
                  <c:v>0.999996543195085</c:v>
                </c:pt>
                <c:pt idx="1258">
                  <c:v>0.9999966879827255</c:v>
                </c:pt>
                <c:pt idx="1259">
                  <c:v>0.9999985460907774</c:v>
                </c:pt>
                <c:pt idx="1260">
                  <c:v>0.9999993906853463</c:v>
                </c:pt>
                <c:pt idx="1261">
                  <c:v>0.9999996078668068</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1681</c:f>
              <c:strCache>
                <c:ptCount val="1680"/>
                <c:pt idx="0">
                  <c:v>Caprice Des</c:v>
                </c:pt>
                <c:pt idx="1">
                  <c:v>Private Lab</c:v>
                </c:pt>
                <c:pt idx="2">
                  <c:v>La Vache Qu</c:v>
                </c:pt>
                <c:pt idx="3">
                  <c:v>Coeur De Li</c:v>
                </c:pt>
                <c:pt idx="4">
                  <c:v>Caprice Des</c:v>
                </c:pt>
                <c:pt idx="5">
                  <c:v>Soignon</c:v>
                </c:pt>
                <c:pt idx="6">
                  <c:v>President</c:v>
                </c:pt>
                <c:pt idx="7">
                  <c:v>Private Lab</c:v>
                </c:pt>
                <c:pt idx="8">
                  <c:v>Mini Babybe</c:v>
                </c:pt>
                <c:pt idx="9">
                  <c:v>Le Rustique</c:v>
                </c:pt>
                <c:pt idx="10">
                  <c:v>Coeur De Li</c:v>
                </c:pt>
                <c:pt idx="11">
                  <c:v>Galbani</c:v>
                </c:pt>
                <c:pt idx="12">
                  <c:v>Mini Babybe</c:v>
                </c:pt>
                <c:pt idx="13">
                  <c:v>Soignon</c:v>
                </c:pt>
                <c:pt idx="14">
                  <c:v>St Moret</c:v>
                </c:pt>
                <c:pt idx="15">
                  <c:v>La Vache Qu</c:v>
                </c:pt>
                <c:pt idx="16">
                  <c:v>La Vache Qu</c:v>
                </c:pt>
                <c:pt idx="17">
                  <c:v>Private Lab</c:v>
                </c:pt>
                <c:pt idx="18">
                  <c:v>Kiri</c:v>
                </c:pt>
                <c:pt idx="19">
                  <c:v>Private Lab</c:v>
                </c:pt>
                <c:pt idx="20">
                  <c:v>President</c:v>
                </c:pt>
                <c:pt idx="21">
                  <c:v>Tartare</c:v>
                </c:pt>
                <c:pt idx="22">
                  <c:v>Salakis</c:v>
                </c:pt>
                <c:pt idx="23">
                  <c:v>St Moret</c:v>
                </c:pt>
                <c:pt idx="24">
                  <c:v>Paysan Bret</c:v>
                </c:pt>
                <c:pt idx="25">
                  <c:v>President</c:v>
                </c:pt>
                <c:pt idx="26">
                  <c:v>Kiri</c:v>
                </c:pt>
                <c:pt idx="27">
                  <c:v>St Moret</c:v>
                </c:pt>
                <c:pt idx="28">
                  <c:v>All Others</c:v>
                </c:pt>
                <c:pt idx="29">
                  <c:v>Private Lab</c:v>
                </c:pt>
                <c:pt idx="30">
                  <c:v>Soignon</c:v>
                </c:pt>
                <c:pt idx="31">
                  <c:v>Ficello</c:v>
                </c:pt>
                <c:pt idx="32">
                  <c:v>Philadelphi</c:v>
                </c:pt>
                <c:pt idx="33">
                  <c:v>Private Lab</c:v>
                </c:pt>
                <c:pt idx="34">
                  <c:v>Kiri</c:v>
                </c:pt>
                <c:pt idx="35">
                  <c:v>Carre Frais</c:v>
                </c:pt>
                <c:pt idx="36">
                  <c:v>Carre Frais</c:v>
                </c:pt>
                <c:pt idx="37">
                  <c:v>Paysan Bret</c:v>
                </c:pt>
                <c:pt idx="38">
                  <c:v>Boursin</c:v>
                </c:pt>
                <c:pt idx="39">
                  <c:v>Petit Billy</c:v>
                </c:pt>
                <c:pt idx="40">
                  <c:v>Boursin</c:v>
                </c:pt>
                <c:pt idx="41">
                  <c:v>Islos</c:v>
                </c:pt>
                <c:pt idx="42">
                  <c:v>Kiri</c:v>
                </c:pt>
                <c:pt idx="43">
                  <c:v>Private Lab</c:v>
                </c:pt>
                <c:pt idx="44">
                  <c:v>Private Lab</c:v>
                </c:pt>
                <c:pt idx="45">
                  <c:v>Lepetit</c:v>
                </c:pt>
                <c:pt idx="46">
                  <c:v>President</c:v>
                </c:pt>
                <c:pt idx="47">
                  <c:v>Private Lab</c:v>
                </c:pt>
                <c:pt idx="48">
                  <c:v>Ficello</c:v>
                </c:pt>
                <c:pt idx="49">
                  <c:v>Philadelphi</c:v>
                </c:pt>
                <c:pt idx="50">
                  <c:v>Istara</c:v>
                </c:pt>
                <c:pt idx="51">
                  <c:v>St Moret</c:v>
                </c:pt>
                <c:pt idx="52">
                  <c:v>Caprice Des</c:v>
                </c:pt>
                <c:pt idx="53">
                  <c:v>Coeur De Li</c:v>
                </c:pt>
                <c:pt idx="54">
                  <c:v>Private Lab</c:v>
                </c:pt>
                <c:pt idx="55">
                  <c:v>All Others</c:v>
                </c:pt>
                <c:pt idx="56">
                  <c:v>St Moret</c:v>
                </c:pt>
                <c:pt idx="57">
                  <c:v>Galbani</c:v>
                </c:pt>
                <c:pt idx="58">
                  <c:v>Lou Perac</c:v>
                </c:pt>
                <c:pt idx="59">
                  <c:v>Salakis</c:v>
                </c:pt>
                <c:pt idx="60">
                  <c:v>Soignon</c:v>
                </c:pt>
                <c:pt idx="61">
                  <c:v>All Others</c:v>
                </c:pt>
                <c:pt idx="62">
                  <c:v>Private Lab</c:v>
                </c:pt>
                <c:pt idx="63">
                  <c:v>Galbani</c:v>
                </c:pt>
                <c:pt idx="64">
                  <c:v>President</c:v>
                </c:pt>
                <c:pt idx="65">
                  <c:v>Casa Azzurr</c:v>
                </c:pt>
                <c:pt idx="66">
                  <c:v>Private Lab</c:v>
                </c:pt>
                <c:pt idx="67">
                  <c:v>Tartare</c:v>
                </c:pt>
                <c:pt idx="68">
                  <c:v>Private Lab</c:v>
                </c:pt>
                <c:pt idx="69">
                  <c:v>Private Lab</c:v>
                </c:pt>
                <c:pt idx="70">
                  <c:v>Soignon</c:v>
                </c:pt>
                <c:pt idx="71">
                  <c:v>Private Lab</c:v>
                </c:pt>
                <c:pt idx="72">
                  <c:v>Tartare</c:v>
                </c:pt>
                <c:pt idx="73">
                  <c:v>President</c:v>
                </c:pt>
                <c:pt idx="74">
                  <c:v>Le Brebiou</c:v>
                </c:pt>
                <c:pt idx="75">
                  <c:v>Private Lab</c:v>
                </c:pt>
                <c:pt idx="76">
                  <c:v>Boursin</c:v>
                </c:pt>
                <c:pt idx="77">
                  <c:v>Private Lab</c:v>
                </c:pt>
                <c:pt idx="78">
                  <c:v>Private Lab</c:v>
                </c:pt>
                <c:pt idx="79">
                  <c:v>Coeur De Li</c:v>
                </c:pt>
                <c:pt idx="80">
                  <c:v>Etorki</c:v>
                </c:pt>
                <c:pt idx="81">
                  <c:v>Casa Azzurr</c:v>
                </c:pt>
                <c:pt idx="82">
                  <c:v>President</c:v>
                </c:pt>
                <c:pt idx="83">
                  <c:v>St Moret</c:v>
                </c:pt>
                <c:pt idx="84">
                  <c:v>St Moret</c:v>
                </c:pt>
                <c:pt idx="85">
                  <c:v>Galbani</c:v>
                </c:pt>
                <c:pt idx="86">
                  <c:v>Boursin</c:v>
                </c:pt>
                <c:pt idx="87">
                  <c:v>President</c:v>
                </c:pt>
                <c:pt idx="88">
                  <c:v>All Others</c:v>
                </c:pt>
                <c:pt idx="89">
                  <c:v>President</c:v>
                </c:pt>
                <c:pt idx="90">
                  <c:v>Paysan Bret</c:v>
                </c:pt>
                <c:pt idx="91">
                  <c:v>St Moret</c:v>
                </c:pt>
                <c:pt idx="92">
                  <c:v>Chavroux</c:v>
                </c:pt>
                <c:pt idx="93">
                  <c:v>Private Lab</c:v>
                </c:pt>
                <c:pt idx="94">
                  <c:v>Kiri</c:v>
                </c:pt>
                <c:pt idx="95">
                  <c:v>Paysan Bret</c:v>
                </c:pt>
                <c:pt idx="96">
                  <c:v>All Others</c:v>
                </c:pt>
                <c:pt idx="97">
                  <c:v>La Vache Qu</c:v>
                </c:pt>
                <c:pt idx="98">
                  <c:v>Casa Azzurr</c:v>
                </c:pt>
                <c:pt idx="99">
                  <c:v>All Others</c:v>
                </c:pt>
                <c:pt idx="100">
                  <c:v>Private Lab</c:v>
                </c:pt>
                <c:pt idx="101">
                  <c:v>St Moret</c:v>
                </c:pt>
                <c:pt idx="102">
                  <c:v>Mini Babybe</c:v>
                </c:pt>
                <c:pt idx="103">
                  <c:v>Private Lab</c:v>
                </c:pt>
                <c:pt idx="104">
                  <c:v>Soignon</c:v>
                </c:pt>
                <c:pt idx="105">
                  <c:v>Private Lab</c:v>
                </c:pt>
                <c:pt idx="106">
                  <c:v>President</c:v>
                </c:pt>
                <c:pt idx="107">
                  <c:v>Private Lab</c:v>
                </c:pt>
                <c:pt idx="108">
                  <c:v>La Vache Qu</c:v>
                </c:pt>
                <c:pt idx="109">
                  <c:v>Le Rustique</c:v>
                </c:pt>
                <c:pt idx="110">
                  <c:v>Mini Babybe</c:v>
                </c:pt>
                <c:pt idx="111">
                  <c:v>Istara</c:v>
                </c:pt>
                <c:pt idx="112">
                  <c:v>Private Lab</c:v>
                </c:pt>
                <c:pt idx="113">
                  <c:v>Salakis</c:v>
                </c:pt>
                <c:pt idx="114">
                  <c:v>Private Lab</c:v>
                </c:pt>
                <c:pt idx="115">
                  <c:v>Casa Azzurr</c:v>
                </c:pt>
                <c:pt idx="116">
                  <c:v>Private Lab</c:v>
                </c:pt>
                <c:pt idx="117">
                  <c:v>Private Lab</c:v>
                </c:pt>
                <c:pt idx="118">
                  <c:v>Private Lab</c:v>
                </c:pt>
                <c:pt idx="119">
                  <c:v>La Vache Qu</c:v>
                </c:pt>
                <c:pt idx="120">
                  <c:v>Coeur De Li</c:v>
                </c:pt>
                <c:pt idx="121">
                  <c:v>Casa Azzurr</c:v>
                </c:pt>
                <c:pt idx="122">
                  <c:v>Lactalis: A</c:v>
                </c:pt>
                <c:pt idx="123">
                  <c:v>Lactalis: A</c:v>
                </c:pt>
                <c:pt idx="124">
                  <c:v>All Others</c:v>
                </c:pt>
                <c:pt idx="125">
                  <c:v>Caprice Des</c:v>
                </c:pt>
                <c:pt idx="126">
                  <c:v>Casa Azzurr</c:v>
                </c:pt>
                <c:pt idx="127">
                  <c:v>Lactalis: A</c:v>
                </c:pt>
                <c:pt idx="128">
                  <c:v>Private Lab</c:v>
                </c:pt>
                <c:pt idx="129">
                  <c:v>Soignon</c:v>
                </c:pt>
                <c:pt idx="130">
                  <c:v>President</c:v>
                </c:pt>
                <c:pt idx="131">
                  <c:v>Private Lab</c:v>
                </c:pt>
                <c:pt idx="132">
                  <c:v>Kiri</c:v>
                </c:pt>
                <c:pt idx="133">
                  <c:v>Le Rustique</c:v>
                </c:pt>
                <c:pt idx="134">
                  <c:v>Salakis</c:v>
                </c:pt>
                <c:pt idx="135">
                  <c:v>Lou Perac</c:v>
                </c:pt>
                <c:pt idx="136">
                  <c:v>Casa Azzurr</c:v>
                </c:pt>
                <c:pt idx="137">
                  <c:v>All Others</c:v>
                </c:pt>
                <c:pt idx="138">
                  <c:v>Tartare</c:v>
                </c:pt>
                <c:pt idx="139">
                  <c:v>Le Rustique</c:v>
                </c:pt>
                <c:pt idx="140">
                  <c:v>Private Lab</c:v>
                </c:pt>
                <c:pt idx="141">
                  <c:v>President</c:v>
                </c:pt>
                <c:pt idx="142">
                  <c:v>Paysan Bret</c:v>
                </c:pt>
                <c:pt idx="143">
                  <c:v>P'Tit Louis</c:v>
                </c:pt>
                <c:pt idx="144">
                  <c:v>All Others</c:v>
                </c:pt>
                <c:pt idx="145">
                  <c:v>Galbani</c:v>
                </c:pt>
                <c:pt idx="146">
                  <c:v>Carre Frais</c:v>
                </c:pt>
                <c:pt idx="147">
                  <c:v>Philadelphi</c:v>
                </c:pt>
                <c:pt idx="148">
                  <c:v>Private Lab</c:v>
                </c:pt>
                <c:pt idx="149">
                  <c:v>Mini Babybe</c:v>
                </c:pt>
                <c:pt idx="150">
                  <c:v>Private Lab</c:v>
                </c:pt>
                <c:pt idx="151">
                  <c:v>Chavroux</c:v>
                </c:pt>
                <c:pt idx="152">
                  <c:v>Paysan Bret</c:v>
                </c:pt>
                <c:pt idx="153">
                  <c:v>Boursin</c:v>
                </c:pt>
                <c:pt idx="154">
                  <c:v>All Others</c:v>
                </c:pt>
                <c:pt idx="155">
                  <c:v>Soignon</c:v>
                </c:pt>
                <c:pt idx="156">
                  <c:v>Rondele</c:v>
                </c:pt>
                <c:pt idx="157">
                  <c:v>Private Lab</c:v>
                </c:pt>
                <c:pt idx="158">
                  <c:v>Private Lab</c:v>
                </c:pt>
                <c:pt idx="159">
                  <c:v>All Others</c:v>
                </c:pt>
                <c:pt idx="160">
                  <c:v>Private Lab</c:v>
                </c:pt>
                <c:pt idx="161">
                  <c:v>Private Lab</c:v>
                </c:pt>
                <c:pt idx="162">
                  <c:v>All Others</c:v>
                </c:pt>
                <c:pt idx="163">
                  <c:v>Salakis</c:v>
                </c:pt>
                <c:pt idx="164">
                  <c:v>Private Lab</c:v>
                </c:pt>
                <c:pt idx="165">
                  <c:v>All Others</c:v>
                </c:pt>
                <c:pt idx="166">
                  <c:v>Savencia: A</c:v>
                </c:pt>
                <c:pt idx="167">
                  <c:v>Soignon</c:v>
                </c:pt>
                <c:pt idx="168">
                  <c:v>Lactalis: A</c:v>
                </c:pt>
                <c:pt idx="169">
                  <c:v>All Others</c:v>
                </c:pt>
                <c:pt idx="170">
                  <c:v>Mini Babybe</c:v>
                </c:pt>
                <c:pt idx="171">
                  <c:v>Soignon</c:v>
                </c:pt>
                <c:pt idx="172">
                  <c:v>All Others</c:v>
                </c:pt>
                <c:pt idx="173">
                  <c:v>All Others</c:v>
                </c:pt>
                <c:pt idx="174">
                  <c:v>Salakis</c:v>
                </c:pt>
                <c:pt idx="175">
                  <c:v>All Others</c:v>
                </c:pt>
                <c:pt idx="176">
                  <c:v>All Others</c:v>
                </c:pt>
                <c:pt idx="177">
                  <c:v>All Others</c:v>
                </c:pt>
                <c:pt idx="178">
                  <c:v>Galbani</c:v>
                </c:pt>
                <c:pt idx="179">
                  <c:v>Paysan Bret</c:v>
                </c:pt>
                <c:pt idx="180">
                  <c:v>All Others</c:v>
                </c:pt>
                <c:pt idx="181">
                  <c:v>Private Lab</c:v>
                </c:pt>
                <c:pt idx="182">
                  <c:v>All Others</c:v>
                </c:pt>
                <c:pt idx="183">
                  <c:v>Galbani</c:v>
                </c:pt>
                <c:pt idx="184">
                  <c:v>Caprice Des</c:v>
                </c:pt>
                <c:pt idx="185">
                  <c:v>Private Lab</c:v>
                </c:pt>
                <c:pt idx="186">
                  <c:v>All Others</c:v>
                </c:pt>
                <c:pt idx="187">
                  <c:v>Laita: All </c:v>
                </c:pt>
                <c:pt idx="188">
                  <c:v>Kiri</c:v>
                </c:pt>
                <c:pt idx="189">
                  <c:v>Casa Azzurr</c:v>
                </c:pt>
                <c:pt idx="190">
                  <c:v>All Others</c:v>
                </c:pt>
                <c:pt idx="191">
                  <c:v>All Others</c:v>
                </c:pt>
                <c:pt idx="192">
                  <c:v>President</c:v>
                </c:pt>
                <c:pt idx="193">
                  <c:v>Chavroux</c:v>
                </c:pt>
                <c:pt idx="194">
                  <c:v>Galbani</c:v>
                </c:pt>
                <c:pt idx="195">
                  <c:v>Soignon</c:v>
                </c:pt>
                <c:pt idx="196">
                  <c:v>Boursin</c:v>
                </c:pt>
                <c:pt idx="197">
                  <c:v>All Others</c:v>
                </c:pt>
                <c:pt idx="198">
                  <c:v>Private Lab</c:v>
                </c:pt>
                <c:pt idx="199">
                  <c:v>Private Lab</c:v>
                </c:pt>
                <c:pt idx="200">
                  <c:v>All Others</c:v>
                </c:pt>
                <c:pt idx="201">
                  <c:v>All Others</c:v>
                </c:pt>
                <c:pt idx="202">
                  <c:v>Private Lab</c:v>
                </c:pt>
                <c:pt idx="203">
                  <c:v>Casa Azzurr</c:v>
                </c:pt>
                <c:pt idx="204">
                  <c:v>All Others</c:v>
                </c:pt>
                <c:pt idx="205">
                  <c:v>Soignon</c:v>
                </c:pt>
                <c:pt idx="206">
                  <c:v>Private Lab</c:v>
                </c:pt>
                <c:pt idx="207">
                  <c:v>Boursin</c:v>
                </c:pt>
                <c:pt idx="208">
                  <c:v>Soignon</c:v>
                </c:pt>
                <c:pt idx="209">
                  <c:v>Casa Azzurr</c:v>
                </c:pt>
                <c:pt idx="210">
                  <c:v>Private Lab</c:v>
                </c:pt>
                <c:pt idx="211">
                  <c:v>Caprice Des</c:v>
                </c:pt>
                <c:pt idx="212">
                  <c:v>Ficello</c:v>
                </c:pt>
                <c:pt idx="213">
                  <c:v>Pave D'Affi</c:v>
                </c:pt>
                <c:pt idx="214">
                  <c:v>Casa Azzurr</c:v>
                </c:pt>
                <c:pt idx="215">
                  <c:v>Mini Babybe</c:v>
                </c:pt>
                <c:pt idx="216">
                  <c:v>Lou Perac</c:v>
                </c:pt>
                <c:pt idx="217">
                  <c:v>Private Lab</c:v>
                </c:pt>
                <c:pt idx="218">
                  <c:v>Coeur De Li</c:v>
                </c:pt>
                <c:pt idx="219">
                  <c:v>Lou Perac</c:v>
                </c:pt>
                <c:pt idx="220">
                  <c:v>All Others</c:v>
                </c:pt>
                <c:pt idx="221">
                  <c:v>All Others</c:v>
                </c:pt>
                <c:pt idx="222">
                  <c:v>All Others</c:v>
                </c:pt>
                <c:pt idx="223">
                  <c:v>Paysan Bret</c:v>
                </c:pt>
                <c:pt idx="224">
                  <c:v>P'Tit Louis</c:v>
                </c:pt>
                <c:pt idx="225">
                  <c:v>Galbani</c:v>
                </c:pt>
                <c:pt idx="226">
                  <c:v>All Others</c:v>
                </c:pt>
                <c:pt idx="227">
                  <c:v>All Others</c:v>
                </c:pt>
                <c:pt idx="228">
                  <c:v>Private Lab</c:v>
                </c:pt>
                <c:pt idx="229">
                  <c:v>All Others</c:v>
                </c:pt>
                <c:pt idx="230">
                  <c:v>Private Lab</c:v>
                </c:pt>
                <c:pt idx="231">
                  <c:v>All Others</c:v>
                </c:pt>
                <c:pt idx="232">
                  <c:v>Kiri</c:v>
                </c:pt>
                <c:pt idx="233">
                  <c:v>All Others</c:v>
                </c:pt>
                <c:pt idx="234">
                  <c:v>Mini Babybe</c:v>
                </c:pt>
                <c:pt idx="235">
                  <c:v>Tartare</c:v>
                </c:pt>
                <c:pt idx="236">
                  <c:v>All Others</c:v>
                </c:pt>
                <c:pt idx="237">
                  <c:v>All Others</c:v>
                </c:pt>
                <c:pt idx="238">
                  <c:v>All Others</c:v>
                </c:pt>
                <c:pt idx="239">
                  <c:v>Private Lab</c:v>
                </c:pt>
                <c:pt idx="240">
                  <c:v>Paysan Bret</c:v>
                </c:pt>
                <c:pt idx="241">
                  <c:v>Boursin</c:v>
                </c:pt>
                <c:pt idx="242">
                  <c:v>La Vache Qu</c:v>
                </c:pt>
                <c:pt idx="243">
                  <c:v>Boursin</c:v>
                </c:pt>
                <c:pt idx="244">
                  <c:v>St Moret</c:v>
                </c:pt>
                <c:pt idx="245">
                  <c:v>P'Tit Louis</c:v>
                </c:pt>
                <c:pt idx="246">
                  <c:v>Private Lab</c:v>
                </c:pt>
                <c:pt idx="247">
                  <c:v>All Others</c:v>
                </c:pt>
                <c:pt idx="248">
                  <c:v>All Others</c:v>
                </c:pt>
                <c:pt idx="249">
                  <c:v>Savencia: A</c:v>
                </c:pt>
                <c:pt idx="250">
                  <c:v>Triballat N</c:v>
                </c:pt>
                <c:pt idx="251">
                  <c:v>All Others</c:v>
                </c:pt>
                <c:pt idx="252">
                  <c:v>All Others</c:v>
                </c:pt>
                <c:pt idx="253">
                  <c:v>Galbani</c:v>
                </c:pt>
                <c:pt idx="254">
                  <c:v>Etorki</c:v>
                </c:pt>
                <c:pt idx="255">
                  <c:v>All Others</c:v>
                </c:pt>
                <c:pt idx="256">
                  <c:v>Galbani</c:v>
                </c:pt>
                <c:pt idx="257">
                  <c:v>Kiri</c:v>
                </c:pt>
                <c:pt idx="258">
                  <c:v>All Others</c:v>
                </c:pt>
                <c:pt idx="259">
                  <c:v>Tartare</c:v>
                </c:pt>
                <c:pt idx="260">
                  <c:v>Caprice Des</c:v>
                </c:pt>
                <c:pt idx="261">
                  <c:v>All Others</c:v>
                </c:pt>
                <c:pt idx="262">
                  <c:v>Savencia: A</c:v>
                </c:pt>
                <c:pt idx="263">
                  <c:v>All Others</c:v>
                </c:pt>
                <c:pt idx="264">
                  <c:v>All Others</c:v>
                </c:pt>
                <c:pt idx="265">
                  <c:v>Private Lab</c:v>
                </c:pt>
                <c:pt idx="266">
                  <c:v>All Others</c:v>
                </c:pt>
                <c:pt idx="267">
                  <c:v>La Vache Qu</c:v>
                </c:pt>
                <c:pt idx="268">
                  <c:v>Private Lab</c:v>
                </c:pt>
                <c:pt idx="269">
                  <c:v>Caprice Des</c:v>
                </c:pt>
                <c:pt idx="270">
                  <c:v>Etoile Du Q</c:v>
                </c:pt>
                <c:pt idx="271">
                  <c:v>Private Lab</c:v>
                </c:pt>
                <c:pt idx="272">
                  <c:v>Salakis</c:v>
                </c:pt>
                <c:pt idx="273">
                  <c:v>Casa Azzurr</c:v>
                </c:pt>
                <c:pt idx="274">
                  <c:v>All Others</c:v>
                </c:pt>
                <c:pt idx="275">
                  <c:v>All Others</c:v>
                </c:pt>
                <c:pt idx="276">
                  <c:v>All Others</c:v>
                </c:pt>
                <c:pt idx="277">
                  <c:v>All Others</c:v>
                </c:pt>
                <c:pt idx="278">
                  <c:v>All Others</c:v>
                </c:pt>
                <c:pt idx="279">
                  <c:v>Lactalis: A</c:v>
                </c:pt>
                <c:pt idx="280">
                  <c:v>Boursin</c:v>
                </c:pt>
                <c:pt idx="281">
                  <c:v>All Others</c:v>
                </c:pt>
                <c:pt idx="282">
                  <c:v>All Others</c:v>
                </c:pt>
                <c:pt idx="283">
                  <c:v>All Others</c:v>
                </c:pt>
                <c:pt idx="284">
                  <c:v>Ficello</c:v>
                </c:pt>
                <c:pt idx="285">
                  <c:v>Philadelphi</c:v>
                </c:pt>
                <c:pt idx="286">
                  <c:v>All Others</c:v>
                </c:pt>
                <c:pt idx="287">
                  <c:v>All Others</c:v>
                </c:pt>
                <c:pt idx="288">
                  <c:v>Private Lab</c:v>
                </c:pt>
                <c:pt idx="289">
                  <c:v>All Others</c:v>
                </c:pt>
                <c:pt idx="290">
                  <c:v>Galbani</c:v>
                </c:pt>
                <c:pt idx="291">
                  <c:v>All Others</c:v>
                </c:pt>
                <c:pt idx="292">
                  <c:v>Corsica</c:v>
                </c:pt>
                <c:pt idx="293">
                  <c:v>All Others</c:v>
                </c:pt>
                <c:pt idx="294">
                  <c:v>Kiri</c:v>
                </c:pt>
                <c:pt idx="295">
                  <c:v>Tartare</c:v>
                </c:pt>
                <c:pt idx="296">
                  <c:v>Rondele</c:v>
                </c:pt>
                <c:pt idx="297">
                  <c:v>All Others</c:v>
                </c:pt>
                <c:pt idx="298">
                  <c:v>President</c:v>
                </c:pt>
                <c:pt idx="299">
                  <c:v>Casa Azzurr</c:v>
                </c:pt>
                <c:pt idx="300">
                  <c:v>All Others</c:v>
                </c:pt>
                <c:pt idx="301">
                  <c:v>Corsica</c:v>
                </c:pt>
                <c:pt idx="302">
                  <c:v>Private Lab</c:v>
                </c:pt>
                <c:pt idx="303">
                  <c:v>All Others</c:v>
                </c:pt>
                <c:pt idx="304">
                  <c:v>Mini Babybe</c:v>
                </c:pt>
                <c:pt idx="305">
                  <c:v>All Others</c:v>
                </c:pt>
                <c:pt idx="306">
                  <c:v>Istara</c:v>
                </c:pt>
                <c:pt idx="307">
                  <c:v>Etoile Du V</c:v>
                </c:pt>
                <c:pt idx="308">
                  <c:v>All Others</c:v>
                </c:pt>
                <c:pt idx="309">
                  <c:v>All Others</c:v>
                </c:pt>
                <c:pt idx="310">
                  <c:v>All Others</c:v>
                </c:pt>
                <c:pt idx="311">
                  <c:v>Private Lab</c:v>
                </c:pt>
                <c:pt idx="312">
                  <c:v>Private Lab</c:v>
                </c:pt>
                <c:pt idx="313">
                  <c:v>Lactalis: A</c:v>
                </c:pt>
                <c:pt idx="314">
                  <c:v>Rondele</c:v>
                </c:pt>
                <c:pt idx="315">
                  <c:v>All Others</c:v>
                </c:pt>
                <c:pt idx="316">
                  <c:v>Saint Agur</c:v>
                </c:pt>
                <c:pt idx="317">
                  <c:v>Lou Perac</c:v>
                </c:pt>
                <c:pt idx="318">
                  <c:v>All Others</c:v>
                </c:pt>
                <c:pt idx="319">
                  <c:v>Lactalis: A</c:v>
                </c:pt>
                <c:pt idx="320">
                  <c:v>President</c:v>
                </c:pt>
                <c:pt idx="321">
                  <c:v>Casa Azzurr</c:v>
                </c:pt>
                <c:pt idx="322">
                  <c:v>All Others</c:v>
                </c:pt>
                <c:pt idx="323">
                  <c:v>All Others</c:v>
                </c:pt>
                <c:pt idx="324">
                  <c:v>Private Lab</c:v>
                </c:pt>
                <c:pt idx="325">
                  <c:v>Casa Azzurr</c:v>
                </c:pt>
                <c:pt idx="326">
                  <c:v>All Others</c:v>
                </c:pt>
                <c:pt idx="327">
                  <c:v>Eurial Autr</c:v>
                </c:pt>
                <c:pt idx="328">
                  <c:v>All Others</c:v>
                </c:pt>
                <c:pt idx="329">
                  <c:v>All Others</c:v>
                </c:pt>
                <c:pt idx="330">
                  <c:v>All Others</c:v>
                </c:pt>
                <c:pt idx="331">
                  <c:v>Galbani</c:v>
                </c:pt>
                <c:pt idx="332">
                  <c:v>President</c:v>
                </c:pt>
                <c:pt idx="333">
                  <c:v>Triballat R</c:v>
                </c:pt>
                <c:pt idx="334">
                  <c:v>Islos</c:v>
                </c:pt>
                <c:pt idx="335">
                  <c:v>All Others</c:v>
                </c:pt>
                <c:pt idx="336">
                  <c:v>Private Lab</c:v>
                </c:pt>
                <c:pt idx="337">
                  <c:v>All Others</c:v>
                </c:pt>
                <c:pt idx="338">
                  <c:v>Savencia: A</c:v>
                </c:pt>
                <c:pt idx="339">
                  <c:v>All Others</c:v>
                </c:pt>
                <c:pt idx="340">
                  <c:v>All Others</c:v>
                </c:pt>
                <c:pt idx="341">
                  <c:v>All Others</c:v>
                </c:pt>
                <c:pt idx="342">
                  <c:v>All Others</c:v>
                </c:pt>
                <c:pt idx="343">
                  <c:v>All Others</c:v>
                </c:pt>
                <c:pt idx="344">
                  <c:v>All Others</c:v>
                </c:pt>
                <c:pt idx="345">
                  <c:v>All Others</c:v>
                </c:pt>
                <c:pt idx="346">
                  <c:v>Private Lab</c:v>
                </c:pt>
                <c:pt idx="347">
                  <c:v>All Others</c:v>
                </c:pt>
                <c:pt idx="348">
                  <c:v>Private Lab</c:v>
                </c:pt>
                <c:pt idx="349">
                  <c:v>All Others</c:v>
                </c:pt>
                <c:pt idx="350">
                  <c:v>All Others</c:v>
                </c:pt>
                <c:pt idx="351">
                  <c:v>Soignon</c:v>
                </c:pt>
                <c:pt idx="352">
                  <c:v>Milleret: A</c:v>
                </c:pt>
                <c:pt idx="353">
                  <c:v>Private Lab</c:v>
                </c:pt>
                <c:pt idx="354">
                  <c:v>All Others</c:v>
                </c:pt>
                <c:pt idx="355">
                  <c:v>All Others</c:v>
                </c:pt>
                <c:pt idx="356">
                  <c:v>All Others</c:v>
                </c:pt>
                <c:pt idx="357">
                  <c:v>All Others</c:v>
                </c:pt>
                <c:pt idx="358">
                  <c:v>All Others</c:v>
                </c:pt>
                <c:pt idx="359">
                  <c:v>All Others</c:v>
                </c:pt>
                <c:pt idx="360">
                  <c:v>Private Lab</c:v>
                </c:pt>
                <c:pt idx="361">
                  <c:v>All Others</c:v>
                </c:pt>
                <c:pt idx="362">
                  <c:v>Le Brebiou</c:v>
                </c:pt>
                <c:pt idx="363">
                  <c:v>All Others</c:v>
                </c:pt>
                <c:pt idx="364">
                  <c:v>Triballat N</c:v>
                </c:pt>
                <c:pt idx="365">
                  <c:v>Islos</c:v>
                </c:pt>
                <c:pt idx="366">
                  <c:v>Private Lab</c:v>
                </c:pt>
                <c:pt idx="367">
                  <c:v>Salakis</c:v>
                </c:pt>
                <c:pt idx="368">
                  <c:v>All Others</c:v>
                </c:pt>
                <c:pt idx="369">
                  <c:v>Private Lab</c:v>
                </c:pt>
                <c:pt idx="370">
                  <c:v>Private Lab</c:v>
                </c:pt>
                <c:pt idx="371">
                  <c:v>Boursin</c:v>
                </c:pt>
                <c:pt idx="372">
                  <c:v>All Others</c:v>
                </c:pt>
                <c:pt idx="373">
                  <c:v>Lactalis: A</c:v>
                </c:pt>
                <c:pt idx="374">
                  <c:v>All Others</c:v>
                </c:pt>
                <c:pt idx="375">
                  <c:v>Private Lab</c:v>
                </c:pt>
                <c:pt idx="376">
                  <c:v>All Others</c:v>
                </c:pt>
                <c:pt idx="377">
                  <c:v>All Others</c:v>
                </c:pt>
                <c:pt idx="378">
                  <c:v>Private Lab</c:v>
                </c:pt>
                <c:pt idx="379">
                  <c:v>Private Lab</c:v>
                </c:pt>
                <c:pt idx="380">
                  <c:v>All Others</c:v>
                </c:pt>
                <c:pt idx="381">
                  <c:v>Mini Babybe</c:v>
                </c:pt>
                <c:pt idx="382">
                  <c:v>All Others</c:v>
                </c:pt>
                <c:pt idx="383">
                  <c:v>All Others</c:v>
                </c:pt>
                <c:pt idx="384">
                  <c:v>La Vache Qu</c:v>
                </c:pt>
                <c:pt idx="385">
                  <c:v>All Others</c:v>
                </c:pt>
                <c:pt idx="386">
                  <c:v>Private Lab</c:v>
                </c:pt>
                <c:pt idx="387">
                  <c:v>Private Lab</c:v>
                </c:pt>
                <c:pt idx="388">
                  <c:v>Mini Babybe</c:v>
                </c:pt>
                <c:pt idx="389">
                  <c:v>Private Lab</c:v>
                </c:pt>
                <c:pt idx="390">
                  <c:v>All Others</c:v>
                </c:pt>
                <c:pt idx="391">
                  <c:v>All Others</c:v>
                </c:pt>
                <c:pt idx="392">
                  <c:v>Private Lab</c:v>
                </c:pt>
                <c:pt idx="393">
                  <c:v>All Others</c:v>
                </c:pt>
                <c:pt idx="394">
                  <c:v>All Others</c:v>
                </c:pt>
                <c:pt idx="395">
                  <c:v>All Others</c:v>
                </c:pt>
                <c:pt idx="396">
                  <c:v>Private Lab</c:v>
                </c:pt>
                <c:pt idx="397">
                  <c:v>Boursin</c:v>
                </c:pt>
                <c:pt idx="398">
                  <c:v>All Others</c:v>
                </c:pt>
                <c:pt idx="399">
                  <c:v>Ficello</c:v>
                </c:pt>
                <c:pt idx="400">
                  <c:v>Lactalis: A</c:v>
                </c:pt>
                <c:pt idx="401">
                  <c:v>Paysan Bret</c:v>
                </c:pt>
                <c:pt idx="402">
                  <c:v>Private Lab</c:v>
                </c:pt>
                <c:pt idx="403">
                  <c:v>All Others</c:v>
                </c:pt>
                <c:pt idx="404">
                  <c:v>All Others</c:v>
                </c:pt>
                <c:pt idx="405">
                  <c:v>All Others</c:v>
                </c:pt>
                <c:pt idx="406">
                  <c:v>St Moret</c:v>
                </c:pt>
                <c:pt idx="407">
                  <c:v>President</c:v>
                </c:pt>
                <c:pt idx="408">
                  <c:v>All Others</c:v>
                </c:pt>
                <c:pt idx="409">
                  <c:v>All Others</c:v>
                </c:pt>
                <c:pt idx="410">
                  <c:v>Etoile Du Q</c:v>
                </c:pt>
                <c:pt idx="411">
                  <c:v>St Moret</c:v>
                </c:pt>
                <c:pt idx="412">
                  <c:v>Boursin</c:v>
                </c:pt>
                <c:pt idx="413">
                  <c:v>Etoile Du Q</c:v>
                </c:pt>
                <c:pt idx="414">
                  <c:v>Boursin</c:v>
                </c:pt>
                <c:pt idx="415">
                  <c:v>Saint Agur</c:v>
                </c:pt>
                <c:pt idx="416">
                  <c:v>All Others</c:v>
                </c:pt>
                <c:pt idx="417">
                  <c:v>Savencia: A</c:v>
                </c:pt>
                <c:pt idx="418">
                  <c:v>All Others</c:v>
                </c:pt>
                <c:pt idx="419">
                  <c:v>Savencia: A</c:v>
                </c:pt>
                <c:pt idx="420">
                  <c:v>All Others</c:v>
                </c:pt>
                <c:pt idx="421">
                  <c:v>All Others</c:v>
                </c:pt>
                <c:pt idx="422">
                  <c:v>All Others</c:v>
                </c:pt>
                <c:pt idx="423">
                  <c:v>All Others</c:v>
                </c:pt>
                <c:pt idx="424">
                  <c:v>Boursin</c:v>
                </c:pt>
                <c:pt idx="425">
                  <c:v>Salakis</c:v>
                </c:pt>
                <c:pt idx="426">
                  <c:v>All Others</c:v>
                </c:pt>
                <c:pt idx="427">
                  <c:v>All Others</c:v>
                </c:pt>
                <c:pt idx="428">
                  <c:v>All Others</c:v>
                </c:pt>
                <c:pt idx="429">
                  <c:v>All Others</c:v>
                </c:pt>
                <c:pt idx="430">
                  <c:v>All Others</c:v>
                </c:pt>
                <c:pt idx="431">
                  <c:v>Triballat R</c:v>
                </c:pt>
                <c:pt idx="432">
                  <c:v>Paysan Bret</c:v>
                </c:pt>
                <c:pt idx="433">
                  <c:v>Private Lab</c:v>
                </c:pt>
                <c:pt idx="434">
                  <c:v>All Others</c:v>
                </c:pt>
                <c:pt idx="435">
                  <c:v>All Others</c:v>
                </c:pt>
                <c:pt idx="436">
                  <c:v>All Others</c:v>
                </c:pt>
                <c:pt idx="437">
                  <c:v>All Others</c:v>
                </c:pt>
                <c:pt idx="438">
                  <c:v>All Others</c:v>
                </c:pt>
                <c:pt idx="439">
                  <c:v>All Others</c:v>
                </c:pt>
                <c:pt idx="440">
                  <c:v>All Others</c:v>
                </c:pt>
                <c:pt idx="441">
                  <c:v>Milleret: A</c:v>
                </c:pt>
                <c:pt idx="442">
                  <c:v>Tartare</c:v>
                </c:pt>
                <c:pt idx="443">
                  <c:v>Private Lab</c:v>
                </c:pt>
                <c:pt idx="444">
                  <c:v>Triballat R</c:v>
                </c:pt>
                <c:pt idx="445">
                  <c:v>All Others</c:v>
                </c:pt>
                <c:pt idx="446">
                  <c:v>All Others</c:v>
                </c:pt>
                <c:pt idx="447">
                  <c:v>All Others</c:v>
                </c:pt>
                <c:pt idx="448">
                  <c:v>All Others</c:v>
                </c:pt>
                <c:pt idx="449">
                  <c:v>Etorki</c:v>
                </c:pt>
                <c:pt idx="450">
                  <c:v>All Others</c:v>
                </c:pt>
                <c:pt idx="451">
                  <c:v>Paysan Bret</c:v>
                </c:pt>
                <c:pt idx="452">
                  <c:v>Triballat R</c:v>
                </c:pt>
                <c:pt idx="453">
                  <c:v>All Others</c:v>
                </c:pt>
                <c:pt idx="454">
                  <c:v>All Others</c:v>
                </c:pt>
                <c:pt idx="455">
                  <c:v>All Others</c:v>
                </c:pt>
                <c:pt idx="456">
                  <c:v>All Others</c:v>
                </c:pt>
                <c:pt idx="457">
                  <c:v>Private Lab</c:v>
                </c:pt>
                <c:pt idx="458">
                  <c:v>All Others</c:v>
                </c:pt>
                <c:pt idx="459">
                  <c:v>Boursin</c:v>
                </c:pt>
                <c:pt idx="460">
                  <c:v>All Others</c:v>
                </c:pt>
                <c:pt idx="461">
                  <c:v>Lactalis: A</c:v>
                </c:pt>
                <c:pt idx="462">
                  <c:v>Private Lab</c:v>
                </c:pt>
                <c:pt idx="463">
                  <c:v>All Others</c:v>
                </c:pt>
                <c:pt idx="464">
                  <c:v>All Others</c:v>
                </c:pt>
                <c:pt idx="465">
                  <c:v>All Others</c:v>
                </c:pt>
                <c:pt idx="466">
                  <c:v>All Others</c:v>
                </c:pt>
                <c:pt idx="467">
                  <c:v>All Others</c:v>
                </c:pt>
                <c:pt idx="468">
                  <c:v>Private Lab</c:v>
                </c:pt>
                <c:pt idx="469">
                  <c:v>All Others</c:v>
                </c:pt>
                <c:pt idx="470">
                  <c:v>All Others</c:v>
                </c:pt>
                <c:pt idx="471">
                  <c:v>All Others</c:v>
                </c:pt>
                <c:pt idx="472">
                  <c:v>Lactalis: A</c:v>
                </c:pt>
                <c:pt idx="473">
                  <c:v>All Others</c:v>
                </c:pt>
                <c:pt idx="474">
                  <c:v>All Others</c:v>
                </c:pt>
                <c:pt idx="475">
                  <c:v>All Others</c:v>
                </c:pt>
                <c:pt idx="476">
                  <c:v>Petit Billy</c:v>
                </c:pt>
                <c:pt idx="477">
                  <c:v>Private Lab</c:v>
                </c:pt>
                <c:pt idx="478">
                  <c:v>Boursin</c:v>
                </c:pt>
                <c:pt idx="479">
                  <c:v>All Others</c:v>
                </c:pt>
                <c:pt idx="480">
                  <c:v>Mini Babybe</c:v>
                </c:pt>
                <c:pt idx="481">
                  <c:v>All Others</c:v>
                </c:pt>
                <c:pt idx="482">
                  <c:v>All Others</c:v>
                </c:pt>
                <c:pt idx="483">
                  <c:v>Chavroux</c:v>
                </c:pt>
                <c:pt idx="484">
                  <c:v>All Others</c:v>
                </c:pt>
                <c:pt idx="485">
                  <c:v>All Others</c:v>
                </c:pt>
                <c:pt idx="486">
                  <c:v>Etoile Du V</c:v>
                </c:pt>
                <c:pt idx="487">
                  <c:v>All Others</c:v>
                </c:pt>
                <c:pt idx="488">
                  <c:v>Private Lab</c:v>
                </c:pt>
                <c:pt idx="489">
                  <c:v>Private Lab</c:v>
                </c:pt>
                <c:pt idx="490">
                  <c:v>All Others</c:v>
                </c:pt>
                <c:pt idx="491">
                  <c:v>All Others</c:v>
                </c:pt>
                <c:pt idx="492">
                  <c:v>Eurial Autr</c:v>
                </c:pt>
                <c:pt idx="493">
                  <c:v>All Others</c:v>
                </c:pt>
                <c:pt idx="494">
                  <c:v>All Others</c:v>
                </c:pt>
                <c:pt idx="495">
                  <c:v>All Others</c:v>
                </c:pt>
                <c:pt idx="496">
                  <c:v>All Others</c:v>
                </c:pt>
                <c:pt idx="497">
                  <c:v>All Others</c:v>
                </c:pt>
                <c:pt idx="498">
                  <c:v>All Others</c:v>
                </c:pt>
                <c:pt idx="499">
                  <c:v>All Others</c:v>
                </c:pt>
                <c:pt idx="500">
                  <c:v>Savencia: A</c:v>
                </c:pt>
                <c:pt idx="501">
                  <c:v>All Others</c:v>
                </c:pt>
                <c:pt idx="502">
                  <c:v>All Others</c:v>
                </c:pt>
                <c:pt idx="503">
                  <c:v>All Others</c:v>
                </c:pt>
                <c:pt idx="504">
                  <c:v>All Others</c:v>
                </c:pt>
                <c:pt idx="505">
                  <c:v>All Others</c:v>
                </c:pt>
                <c:pt idx="506">
                  <c:v>Etoile Du V</c:v>
                </c:pt>
                <c:pt idx="507">
                  <c:v>Private Lab</c:v>
                </c:pt>
                <c:pt idx="508">
                  <c:v>All Others</c:v>
                </c:pt>
                <c:pt idx="509">
                  <c:v>All Others</c:v>
                </c:pt>
                <c:pt idx="510">
                  <c:v>All Others</c:v>
                </c:pt>
                <c:pt idx="511">
                  <c:v>All Others</c:v>
                </c:pt>
                <c:pt idx="512">
                  <c:v>All Others</c:v>
                </c:pt>
                <c:pt idx="513">
                  <c:v>Lactalis: A</c:v>
                </c:pt>
                <c:pt idx="514">
                  <c:v>Private Lab</c:v>
                </c:pt>
                <c:pt idx="515">
                  <c:v>President</c:v>
                </c:pt>
                <c:pt idx="516">
                  <c:v>All Others</c:v>
                </c:pt>
                <c:pt idx="517">
                  <c:v>Tartare</c:v>
                </c:pt>
                <c:pt idx="518">
                  <c:v>All Others</c:v>
                </c:pt>
                <c:pt idx="519">
                  <c:v>All Others</c:v>
                </c:pt>
                <c:pt idx="520">
                  <c:v>All Others</c:v>
                </c:pt>
                <c:pt idx="521">
                  <c:v>All Others</c:v>
                </c:pt>
                <c:pt idx="522">
                  <c:v>Private Lab</c:v>
                </c:pt>
                <c:pt idx="523">
                  <c:v>All Others</c:v>
                </c:pt>
                <c:pt idx="524">
                  <c:v>Carre Frais</c:v>
                </c:pt>
                <c:pt idx="525">
                  <c:v>All Others</c:v>
                </c:pt>
                <c:pt idx="526">
                  <c:v>All Others</c:v>
                </c:pt>
                <c:pt idx="527">
                  <c:v>All Others</c:v>
                </c:pt>
                <c:pt idx="528">
                  <c:v>All Others</c:v>
                </c:pt>
                <c:pt idx="529">
                  <c:v>Eurial Autr</c:v>
                </c:pt>
                <c:pt idx="530">
                  <c:v>All Others</c:v>
                </c:pt>
                <c:pt idx="531">
                  <c:v>Private Lab</c:v>
                </c:pt>
                <c:pt idx="532">
                  <c:v>Boursin</c:v>
                </c:pt>
                <c:pt idx="533">
                  <c:v>All Others</c:v>
                </c:pt>
                <c:pt idx="534">
                  <c:v>All Others</c:v>
                </c:pt>
                <c:pt idx="535">
                  <c:v>Triballat N</c:v>
                </c:pt>
                <c:pt idx="536">
                  <c:v>All Others</c:v>
                </c:pt>
                <c:pt idx="537">
                  <c:v>All Others</c:v>
                </c:pt>
                <c:pt idx="538">
                  <c:v>All Others</c:v>
                </c:pt>
                <c:pt idx="539">
                  <c:v>All Others</c:v>
                </c:pt>
                <c:pt idx="540">
                  <c:v>Casa Azzurr</c:v>
                </c:pt>
                <c:pt idx="541">
                  <c:v>All Others</c:v>
                </c:pt>
                <c:pt idx="542">
                  <c:v>All Others</c:v>
                </c:pt>
                <c:pt idx="543">
                  <c:v>All Others</c:v>
                </c:pt>
                <c:pt idx="544">
                  <c:v>All Others</c:v>
                </c:pt>
                <c:pt idx="545">
                  <c:v>All Others</c:v>
                </c:pt>
                <c:pt idx="546">
                  <c:v>All Others</c:v>
                </c:pt>
                <c:pt idx="547">
                  <c:v>All Others</c:v>
                </c:pt>
                <c:pt idx="548">
                  <c:v>All Others</c:v>
                </c:pt>
                <c:pt idx="549">
                  <c:v>All Others</c:v>
                </c:pt>
                <c:pt idx="550">
                  <c:v>All Others</c:v>
                </c:pt>
                <c:pt idx="551">
                  <c:v>All Others</c:v>
                </c:pt>
                <c:pt idx="552">
                  <c:v>Soignon</c:v>
                </c:pt>
                <c:pt idx="553">
                  <c:v>Soignon</c:v>
                </c:pt>
                <c:pt idx="554">
                  <c:v>P'Tit Louis</c:v>
                </c:pt>
                <c:pt idx="555">
                  <c:v>Istara</c:v>
                </c:pt>
                <c:pt idx="556">
                  <c:v>All Others</c:v>
                </c:pt>
                <c:pt idx="557">
                  <c:v>Private Lab</c:v>
                </c:pt>
                <c:pt idx="558">
                  <c:v>All Others</c:v>
                </c:pt>
                <c:pt idx="559">
                  <c:v>Savencia: A</c:v>
                </c:pt>
                <c:pt idx="560">
                  <c:v>All Others</c:v>
                </c:pt>
                <c:pt idx="561">
                  <c:v>Salakis</c:v>
                </c:pt>
                <c:pt idx="562">
                  <c:v>All Others</c:v>
                </c:pt>
                <c:pt idx="563">
                  <c:v>All Others</c:v>
                </c:pt>
                <c:pt idx="564">
                  <c:v>Private Lab</c:v>
                </c:pt>
                <c:pt idx="565">
                  <c:v>All Others</c:v>
                </c:pt>
                <c:pt idx="566">
                  <c:v>All Others</c:v>
                </c:pt>
                <c:pt idx="567">
                  <c:v>Lactalis: A</c:v>
                </c:pt>
                <c:pt idx="568">
                  <c:v>Private Lab</c:v>
                </c:pt>
                <c:pt idx="569">
                  <c:v>All Others</c:v>
                </c:pt>
                <c:pt idx="570">
                  <c:v>All Others</c:v>
                </c:pt>
                <c:pt idx="571">
                  <c:v>All Others</c:v>
                </c:pt>
                <c:pt idx="572">
                  <c:v>All Others</c:v>
                </c:pt>
                <c:pt idx="573">
                  <c:v>Coeur De Li</c:v>
                </c:pt>
                <c:pt idx="574">
                  <c:v>Salakis</c:v>
                </c:pt>
                <c:pt idx="575">
                  <c:v>All Others</c:v>
                </c:pt>
                <c:pt idx="576">
                  <c:v>All Others</c:v>
                </c:pt>
                <c:pt idx="577">
                  <c:v>All Others</c:v>
                </c:pt>
                <c:pt idx="578">
                  <c:v>Boursin</c:v>
                </c:pt>
                <c:pt idx="579">
                  <c:v>Etoile Du V</c:v>
                </c:pt>
                <c:pt idx="580">
                  <c:v>All Others</c:v>
                </c:pt>
                <c:pt idx="581">
                  <c:v>All Others</c:v>
                </c:pt>
                <c:pt idx="582">
                  <c:v>All Others</c:v>
                </c:pt>
                <c:pt idx="583">
                  <c:v>Boursin</c:v>
                </c:pt>
                <c:pt idx="584">
                  <c:v>All Others</c:v>
                </c:pt>
                <c:pt idx="585">
                  <c:v>Private Lab</c:v>
                </c:pt>
                <c:pt idx="586">
                  <c:v>All Others</c:v>
                </c:pt>
                <c:pt idx="587">
                  <c:v>Etoile Du V</c:v>
                </c:pt>
                <c:pt idx="588">
                  <c:v>Private Lab</c:v>
                </c:pt>
                <c:pt idx="589">
                  <c:v>All Others</c:v>
                </c:pt>
                <c:pt idx="590">
                  <c:v>All Others</c:v>
                </c:pt>
                <c:pt idx="591">
                  <c:v>All Others</c:v>
                </c:pt>
                <c:pt idx="592">
                  <c:v>All Others</c:v>
                </c:pt>
                <c:pt idx="593">
                  <c:v>Boursin</c:v>
                </c:pt>
                <c:pt idx="594">
                  <c:v>Casa Azzurr</c:v>
                </c:pt>
                <c:pt idx="595">
                  <c:v>Private Lab</c:v>
                </c:pt>
                <c:pt idx="596">
                  <c:v>All Others</c:v>
                </c:pt>
                <c:pt idx="597">
                  <c:v>All Others</c:v>
                </c:pt>
                <c:pt idx="598">
                  <c:v>All Others</c:v>
                </c:pt>
                <c:pt idx="599">
                  <c:v>All Others</c:v>
                </c:pt>
                <c:pt idx="600">
                  <c:v>All Others</c:v>
                </c:pt>
                <c:pt idx="601">
                  <c:v>All Others</c:v>
                </c:pt>
                <c:pt idx="602">
                  <c:v>Tartare</c:v>
                </c:pt>
                <c:pt idx="603">
                  <c:v>Carre Frais</c:v>
                </c:pt>
                <c:pt idx="604">
                  <c:v>All Others</c:v>
                </c:pt>
                <c:pt idx="605">
                  <c:v>Eurial Autr</c:v>
                </c:pt>
                <c:pt idx="606">
                  <c:v>All Others</c:v>
                </c:pt>
                <c:pt idx="607">
                  <c:v>All Others</c:v>
                </c:pt>
                <c:pt idx="608">
                  <c:v>Casa Azzurr</c:v>
                </c:pt>
                <c:pt idx="609">
                  <c:v>Private Lab</c:v>
                </c:pt>
                <c:pt idx="610">
                  <c:v>Philadelphi</c:v>
                </c:pt>
                <c:pt idx="611">
                  <c:v>Mini Babybe</c:v>
                </c:pt>
                <c:pt idx="612">
                  <c:v>All Others</c:v>
                </c:pt>
                <c:pt idx="613">
                  <c:v>Private Lab</c:v>
                </c:pt>
                <c:pt idx="614">
                  <c:v>All Others</c:v>
                </c:pt>
                <c:pt idx="615">
                  <c:v>Etoile Du V</c:v>
                </c:pt>
                <c:pt idx="616">
                  <c:v>Etoile Du Q</c:v>
                </c:pt>
                <c:pt idx="617">
                  <c:v>All Others</c:v>
                </c:pt>
                <c:pt idx="618">
                  <c:v>All Others</c:v>
                </c:pt>
                <c:pt idx="619">
                  <c:v>All Others</c:v>
                </c:pt>
                <c:pt idx="620">
                  <c:v>All Others</c:v>
                </c:pt>
                <c:pt idx="621">
                  <c:v>All Others</c:v>
                </c:pt>
                <c:pt idx="622">
                  <c:v>All Others</c:v>
                </c:pt>
                <c:pt idx="623">
                  <c:v>All Others</c:v>
                </c:pt>
                <c:pt idx="624">
                  <c:v>Private Lab</c:v>
                </c:pt>
                <c:pt idx="625">
                  <c:v>Lactalis: A</c:v>
                </c:pt>
                <c:pt idx="626">
                  <c:v>Lactalis: A</c:v>
                </c:pt>
                <c:pt idx="627">
                  <c:v>All Others</c:v>
                </c:pt>
                <c:pt idx="628">
                  <c:v>All Others</c:v>
                </c:pt>
                <c:pt idx="629">
                  <c:v>All Others</c:v>
                </c:pt>
                <c:pt idx="630">
                  <c:v>All Others</c:v>
                </c:pt>
                <c:pt idx="631">
                  <c:v>Private Lab</c:v>
                </c:pt>
                <c:pt idx="632">
                  <c:v>All Others</c:v>
                </c:pt>
                <c:pt idx="633">
                  <c:v>All Others</c:v>
                </c:pt>
                <c:pt idx="634">
                  <c:v>Milleret: A</c:v>
                </c:pt>
                <c:pt idx="635">
                  <c:v>All Others</c:v>
                </c:pt>
                <c:pt idx="636">
                  <c:v>All Others</c:v>
                </c:pt>
                <c:pt idx="637">
                  <c:v>All Others</c:v>
                </c:pt>
                <c:pt idx="638">
                  <c:v>All Others</c:v>
                </c:pt>
                <c:pt idx="639">
                  <c:v>Corsica</c:v>
                </c:pt>
                <c:pt idx="640">
                  <c:v>All Others</c:v>
                </c:pt>
                <c:pt idx="641">
                  <c:v>All Others</c:v>
                </c:pt>
                <c:pt idx="642">
                  <c:v>All Others</c:v>
                </c:pt>
                <c:pt idx="643">
                  <c:v>All Others</c:v>
                </c:pt>
                <c:pt idx="644">
                  <c:v>All Others</c:v>
                </c:pt>
                <c:pt idx="645">
                  <c:v>All Others</c:v>
                </c:pt>
                <c:pt idx="646">
                  <c:v>All Others</c:v>
                </c:pt>
                <c:pt idx="647">
                  <c:v>All Others</c:v>
                </c:pt>
                <c:pt idx="648">
                  <c:v>All Others</c:v>
                </c:pt>
                <c:pt idx="649">
                  <c:v>All Others</c:v>
                </c:pt>
                <c:pt idx="650">
                  <c:v>All Others</c:v>
                </c:pt>
                <c:pt idx="651">
                  <c:v>All Others</c:v>
                </c:pt>
                <c:pt idx="652">
                  <c:v>Private Lab</c:v>
                </c:pt>
                <c:pt idx="653">
                  <c:v>All Others</c:v>
                </c:pt>
                <c:pt idx="654">
                  <c:v>Mini Babybe</c:v>
                </c:pt>
                <c:pt idx="655">
                  <c:v>All Others</c:v>
                </c:pt>
                <c:pt idx="656">
                  <c:v>All Others</c:v>
                </c:pt>
                <c:pt idx="657">
                  <c:v>All Others</c:v>
                </c:pt>
                <c:pt idx="658">
                  <c:v>All Others</c:v>
                </c:pt>
                <c:pt idx="659">
                  <c:v>All Others</c:v>
                </c:pt>
                <c:pt idx="660">
                  <c:v>All Others</c:v>
                </c:pt>
                <c:pt idx="661">
                  <c:v>All Others</c:v>
                </c:pt>
                <c:pt idx="662">
                  <c:v>All Others</c:v>
                </c:pt>
                <c:pt idx="663">
                  <c:v>All Others</c:v>
                </c:pt>
                <c:pt idx="664">
                  <c:v>All Others</c:v>
                </c:pt>
                <c:pt idx="665">
                  <c:v>All Others</c:v>
                </c:pt>
                <c:pt idx="666">
                  <c:v>All Others</c:v>
                </c:pt>
                <c:pt idx="667">
                  <c:v>All Others</c:v>
                </c:pt>
                <c:pt idx="668">
                  <c:v>All Others</c:v>
                </c:pt>
                <c:pt idx="669">
                  <c:v>All Others</c:v>
                </c:pt>
                <c:pt idx="670">
                  <c:v>All Others</c:v>
                </c:pt>
                <c:pt idx="671">
                  <c:v>Lactalis: A</c:v>
                </c:pt>
                <c:pt idx="672">
                  <c:v>All Others</c:v>
                </c:pt>
                <c:pt idx="673">
                  <c:v>All Others</c:v>
                </c:pt>
                <c:pt idx="674">
                  <c:v>All Others</c:v>
                </c:pt>
                <c:pt idx="675">
                  <c:v>All Others</c:v>
                </c:pt>
                <c:pt idx="676">
                  <c:v>All Others</c:v>
                </c:pt>
                <c:pt idx="677">
                  <c:v>All Others</c:v>
                </c:pt>
                <c:pt idx="678">
                  <c:v>All Others</c:v>
                </c:pt>
                <c:pt idx="679">
                  <c:v>All Others</c:v>
                </c:pt>
                <c:pt idx="680">
                  <c:v>All Others</c:v>
                </c:pt>
                <c:pt idx="681">
                  <c:v>All Others</c:v>
                </c:pt>
                <c:pt idx="682">
                  <c:v>Triballat N</c:v>
                </c:pt>
                <c:pt idx="683">
                  <c:v>All Others</c:v>
                </c:pt>
                <c:pt idx="684">
                  <c:v>All Others</c:v>
                </c:pt>
                <c:pt idx="685">
                  <c:v>All Others</c:v>
                </c:pt>
                <c:pt idx="686">
                  <c:v>La Vache Qu</c:v>
                </c:pt>
                <c:pt idx="687">
                  <c:v>All Others</c:v>
                </c:pt>
                <c:pt idx="688">
                  <c:v>All Others</c:v>
                </c:pt>
                <c:pt idx="689">
                  <c:v>Galbani</c:v>
                </c:pt>
                <c:pt idx="690">
                  <c:v>All Others</c:v>
                </c:pt>
                <c:pt idx="691">
                  <c:v>All Others</c:v>
                </c:pt>
                <c:pt idx="692">
                  <c:v>All Others</c:v>
                </c:pt>
                <c:pt idx="693">
                  <c:v>All Others</c:v>
                </c:pt>
                <c:pt idx="694">
                  <c:v>Lactalis: A</c:v>
                </c:pt>
                <c:pt idx="695">
                  <c:v>All Others</c:v>
                </c:pt>
                <c:pt idx="696">
                  <c:v>All Others</c:v>
                </c:pt>
                <c:pt idx="697">
                  <c:v>All Others</c:v>
                </c:pt>
                <c:pt idx="698">
                  <c:v>All Others</c:v>
                </c:pt>
                <c:pt idx="699">
                  <c:v>All Others</c:v>
                </c:pt>
                <c:pt idx="700">
                  <c:v>St Moret</c:v>
                </c:pt>
                <c:pt idx="701">
                  <c:v>All Others</c:v>
                </c:pt>
                <c:pt idx="702">
                  <c:v>All Others</c:v>
                </c:pt>
                <c:pt idx="703">
                  <c:v>Savencia: A</c:v>
                </c:pt>
                <c:pt idx="704">
                  <c:v>All Others</c:v>
                </c:pt>
                <c:pt idx="705">
                  <c:v>All Others</c:v>
                </c:pt>
                <c:pt idx="706">
                  <c:v>Private Lab</c:v>
                </c:pt>
                <c:pt idx="707">
                  <c:v>All Others</c:v>
                </c:pt>
                <c:pt idx="708">
                  <c:v>All Others</c:v>
                </c:pt>
                <c:pt idx="709">
                  <c:v>All Others</c:v>
                </c:pt>
                <c:pt idx="710">
                  <c:v>All Others</c:v>
                </c:pt>
                <c:pt idx="711">
                  <c:v>Triballat N</c:v>
                </c:pt>
                <c:pt idx="712">
                  <c:v>Triballat R</c:v>
                </c:pt>
                <c:pt idx="713">
                  <c:v>All Others</c:v>
                </c:pt>
                <c:pt idx="714">
                  <c:v>All Others</c:v>
                </c:pt>
                <c:pt idx="715">
                  <c:v>All Others</c:v>
                </c:pt>
                <c:pt idx="716">
                  <c:v>All Others</c:v>
                </c:pt>
                <c:pt idx="717">
                  <c:v>All Others</c:v>
                </c:pt>
                <c:pt idx="718">
                  <c:v>All Others</c:v>
                </c:pt>
                <c:pt idx="719">
                  <c:v>Private Lab</c:v>
                </c:pt>
                <c:pt idx="720">
                  <c:v>All Others</c:v>
                </c:pt>
                <c:pt idx="721">
                  <c:v>Lactalis: A</c:v>
                </c:pt>
                <c:pt idx="722">
                  <c:v>All Others</c:v>
                </c:pt>
                <c:pt idx="723">
                  <c:v>All Others</c:v>
                </c:pt>
                <c:pt idx="724">
                  <c:v>All Others</c:v>
                </c:pt>
                <c:pt idx="725">
                  <c:v>Savencia: A</c:v>
                </c:pt>
                <c:pt idx="726">
                  <c:v>All Others</c:v>
                </c:pt>
                <c:pt idx="727">
                  <c:v>Savencia: A</c:v>
                </c:pt>
                <c:pt idx="728">
                  <c:v>Private Lab</c:v>
                </c:pt>
                <c:pt idx="729">
                  <c:v>All Others</c:v>
                </c:pt>
                <c:pt idx="730">
                  <c:v>All Others</c:v>
                </c:pt>
                <c:pt idx="731">
                  <c:v>All Others</c:v>
                </c:pt>
                <c:pt idx="732">
                  <c:v>All Others</c:v>
                </c:pt>
                <c:pt idx="733">
                  <c:v>All Others</c:v>
                </c:pt>
                <c:pt idx="734">
                  <c:v>All Others</c:v>
                </c:pt>
                <c:pt idx="735">
                  <c:v>All Others</c:v>
                </c:pt>
                <c:pt idx="736">
                  <c:v>All Others</c:v>
                </c:pt>
                <c:pt idx="737">
                  <c:v>All Others</c:v>
                </c:pt>
                <c:pt idx="738">
                  <c:v>All Others</c:v>
                </c:pt>
                <c:pt idx="739">
                  <c:v>Salakis</c:v>
                </c:pt>
                <c:pt idx="740">
                  <c:v>Triballat N</c:v>
                </c:pt>
                <c:pt idx="741">
                  <c:v>All Others</c:v>
                </c:pt>
                <c:pt idx="742">
                  <c:v>All Others</c:v>
                </c:pt>
                <c:pt idx="743">
                  <c:v>All Others</c:v>
                </c:pt>
                <c:pt idx="744">
                  <c:v>Private Lab</c:v>
                </c:pt>
                <c:pt idx="745">
                  <c:v>All Others</c:v>
                </c:pt>
                <c:pt idx="746">
                  <c:v>La Vache Qu</c:v>
                </c:pt>
                <c:pt idx="747">
                  <c:v>All Others</c:v>
                </c:pt>
                <c:pt idx="748">
                  <c:v>Private Lab</c:v>
                </c:pt>
                <c:pt idx="749">
                  <c:v>Savencia: A</c:v>
                </c:pt>
                <c:pt idx="750">
                  <c:v>All Others</c:v>
                </c:pt>
                <c:pt idx="751">
                  <c:v>All Others</c:v>
                </c:pt>
                <c:pt idx="752">
                  <c:v>All Others</c:v>
                </c:pt>
                <c:pt idx="753">
                  <c:v>All Others</c:v>
                </c:pt>
                <c:pt idx="754">
                  <c:v>All Others</c:v>
                </c:pt>
                <c:pt idx="755">
                  <c:v>All Others</c:v>
                </c:pt>
                <c:pt idx="756">
                  <c:v>Petit Billy</c:v>
                </c:pt>
                <c:pt idx="757">
                  <c:v>All Others</c:v>
                </c:pt>
                <c:pt idx="758">
                  <c:v>All Others</c:v>
                </c:pt>
                <c:pt idx="759">
                  <c:v>All Others</c:v>
                </c:pt>
                <c:pt idx="760">
                  <c:v>All Others</c:v>
                </c:pt>
                <c:pt idx="761">
                  <c:v>All Others</c:v>
                </c:pt>
                <c:pt idx="762">
                  <c:v>All Others</c:v>
                </c:pt>
                <c:pt idx="763">
                  <c:v>All Others</c:v>
                </c:pt>
                <c:pt idx="764">
                  <c:v>All Others</c:v>
                </c:pt>
                <c:pt idx="765">
                  <c:v>Private Lab</c:v>
                </c:pt>
                <c:pt idx="766">
                  <c:v>Islos</c:v>
                </c:pt>
                <c:pt idx="767">
                  <c:v>All Others</c:v>
                </c:pt>
                <c:pt idx="768">
                  <c:v>All Others</c:v>
                </c:pt>
                <c:pt idx="769">
                  <c:v>All Others</c:v>
                </c:pt>
                <c:pt idx="770">
                  <c:v>All Others</c:v>
                </c:pt>
                <c:pt idx="771">
                  <c:v>All Others</c:v>
                </c:pt>
                <c:pt idx="772">
                  <c:v>All Others</c:v>
                </c:pt>
                <c:pt idx="773">
                  <c:v>All Others</c:v>
                </c:pt>
                <c:pt idx="774">
                  <c:v>All Others</c:v>
                </c:pt>
                <c:pt idx="775">
                  <c:v>All Others</c:v>
                </c:pt>
                <c:pt idx="776">
                  <c:v>Lactalis: A</c:v>
                </c:pt>
                <c:pt idx="777">
                  <c:v>All Others</c:v>
                </c:pt>
                <c:pt idx="778">
                  <c:v>All Others</c:v>
                </c:pt>
                <c:pt idx="779">
                  <c:v>All Others</c:v>
                </c:pt>
                <c:pt idx="780">
                  <c:v>All Others</c:v>
                </c:pt>
                <c:pt idx="781">
                  <c:v>All Others</c:v>
                </c:pt>
                <c:pt idx="782">
                  <c:v>All Others</c:v>
                </c:pt>
                <c:pt idx="783">
                  <c:v>All Others</c:v>
                </c:pt>
                <c:pt idx="784">
                  <c:v>All Others</c:v>
                </c:pt>
                <c:pt idx="785">
                  <c:v>All Others</c:v>
                </c:pt>
                <c:pt idx="786">
                  <c:v>All Others</c:v>
                </c:pt>
                <c:pt idx="787">
                  <c:v>All Others</c:v>
                </c:pt>
                <c:pt idx="788">
                  <c:v>All Others</c:v>
                </c:pt>
                <c:pt idx="789">
                  <c:v>Private Lab</c:v>
                </c:pt>
                <c:pt idx="790">
                  <c:v>All Others</c:v>
                </c:pt>
                <c:pt idx="791">
                  <c:v>All Others</c:v>
                </c:pt>
                <c:pt idx="792">
                  <c:v>All Others</c:v>
                </c:pt>
                <c:pt idx="793">
                  <c:v>All Others</c:v>
                </c:pt>
                <c:pt idx="794">
                  <c:v>All Others</c:v>
                </c:pt>
                <c:pt idx="795">
                  <c:v>Private Lab</c:v>
                </c:pt>
                <c:pt idx="796">
                  <c:v>Private Lab</c:v>
                </c:pt>
                <c:pt idx="797">
                  <c:v>All Others</c:v>
                </c:pt>
                <c:pt idx="798">
                  <c:v>All Others</c:v>
                </c:pt>
                <c:pt idx="799">
                  <c:v>All Others</c:v>
                </c:pt>
                <c:pt idx="800">
                  <c:v>All Others</c:v>
                </c:pt>
                <c:pt idx="801">
                  <c:v>All Others</c:v>
                </c:pt>
                <c:pt idx="802">
                  <c:v>All Others</c:v>
                </c:pt>
                <c:pt idx="803">
                  <c:v>Private Lab</c:v>
                </c:pt>
                <c:pt idx="804">
                  <c:v>All Others</c:v>
                </c:pt>
                <c:pt idx="805">
                  <c:v>All Others</c:v>
                </c:pt>
                <c:pt idx="806">
                  <c:v>All Others</c:v>
                </c:pt>
                <c:pt idx="807">
                  <c:v>All Others</c:v>
                </c:pt>
                <c:pt idx="808">
                  <c:v>All Others</c:v>
                </c:pt>
                <c:pt idx="809">
                  <c:v>All Others</c:v>
                </c:pt>
                <c:pt idx="810">
                  <c:v>All Others</c:v>
                </c:pt>
                <c:pt idx="811">
                  <c:v>All Others</c:v>
                </c:pt>
                <c:pt idx="812">
                  <c:v>All Others</c:v>
                </c:pt>
                <c:pt idx="813">
                  <c:v>All Others</c:v>
                </c:pt>
                <c:pt idx="814">
                  <c:v>All Others</c:v>
                </c:pt>
                <c:pt idx="815">
                  <c:v>All Others</c:v>
                </c:pt>
                <c:pt idx="816">
                  <c:v>All Others</c:v>
                </c:pt>
                <c:pt idx="817">
                  <c:v>All Others</c:v>
                </c:pt>
                <c:pt idx="818">
                  <c:v>Kiri</c:v>
                </c:pt>
                <c:pt idx="819">
                  <c:v>All Others</c:v>
                </c:pt>
                <c:pt idx="820">
                  <c:v>All Others</c:v>
                </c:pt>
                <c:pt idx="821">
                  <c:v>All Others</c:v>
                </c:pt>
                <c:pt idx="822">
                  <c:v>All Others</c:v>
                </c:pt>
                <c:pt idx="823">
                  <c:v>All Others</c:v>
                </c:pt>
                <c:pt idx="824">
                  <c:v>All Others</c:v>
                </c:pt>
                <c:pt idx="825">
                  <c:v>All Others</c:v>
                </c:pt>
                <c:pt idx="826">
                  <c:v>All Others</c:v>
                </c:pt>
                <c:pt idx="827">
                  <c:v>All Others</c:v>
                </c:pt>
                <c:pt idx="828">
                  <c:v>Boursin</c:v>
                </c:pt>
                <c:pt idx="829">
                  <c:v>All Others</c:v>
                </c:pt>
                <c:pt idx="830">
                  <c:v>All Others</c:v>
                </c:pt>
                <c:pt idx="831">
                  <c:v>All Others</c:v>
                </c:pt>
                <c:pt idx="832">
                  <c:v>All Others</c:v>
                </c:pt>
                <c:pt idx="833">
                  <c:v>All Others</c:v>
                </c:pt>
                <c:pt idx="834">
                  <c:v>All Others</c:v>
                </c:pt>
                <c:pt idx="835">
                  <c:v>Soignon</c:v>
                </c:pt>
                <c:pt idx="836">
                  <c:v>Mini Babybe</c:v>
                </c:pt>
                <c:pt idx="837">
                  <c:v>All Others</c:v>
                </c:pt>
                <c:pt idx="838">
                  <c:v>All Others</c:v>
                </c:pt>
                <c:pt idx="839">
                  <c:v>All Others</c:v>
                </c:pt>
                <c:pt idx="840">
                  <c:v>All Others</c:v>
                </c:pt>
                <c:pt idx="841">
                  <c:v>Eurial Autr</c:v>
                </c:pt>
                <c:pt idx="842">
                  <c:v>All Others</c:v>
                </c:pt>
                <c:pt idx="843">
                  <c:v>All Others</c:v>
                </c:pt>
                <c:pt idx="844">
                  <c:v>All Others</c:v>
                </c:pt>
                <c:pt idx="845">
                  <c:v>Triballat R</c:v>
                </c:pt>
                <c:pt idx="846">
                  <c:v>All Others</c:v>
                </c:pt>
                <c:pt idx="847">
                  <c:v>All Others</c:v>
                </c:pt>
                <c:pt idx="848">
                  <c:v>All Others</c:v>
                </c:pt>
                <c:pt idx="849">
                  <c:v>All Others</c:v>
                </c:pt>
                <c:pt idx="850">
                  <c:v>All Others</c:v>
                </c:pt>
                <c:pt idx="851">
                  <c:v>All Others</c:v>
                </c:pt>
                <c:pt idx="852">
                  <c:v>All Others</c:v>
                </c:pt>
                <c:pt idx="853">
                  <c:v>All Others</c:v>
                </c:pt>
                <c:pt idx="854">
                  <c:v>All Others</c:v>
                </c:pt>
                <c:pt idx="855">
                  <c:v>All Others</c:v>
                </c:pt>
                <c:pt idx="856">
                  <c:v>All Others</c:v>
                </c:pt>
                <c:pt idx="857">
                  <c:v>All Others</c:v>
                </c:pt>
                <c:pt idx="858">
                  <c:v>All Others</c:v>
                </c:pt>
                <c:pt idx="859">
                  <c:v>All Others</c:v>
                </c:pt>
                <c:pt idx="860">
                  <c:v>All Others</c:v>
                </c:pt>
                <c:pt idx="861">
                  <c:v>All Others</c:v>
                </c:pt>
                <c:pt idx="862">
                  <c:v>All Others</c:v>
                </c:pt>
                <c:pt idx="863">
                  <c:v>All Others</c:v>
                </c:pt>
                <c:pt idx="864">
                  <c:v>All Others</c:v>
                </c:pt>
                <c:pt idx="865">
                  <c:v>All Others</c:v>
                </c:pt>
                <c:pt idx="866">
                  <c:v>Boursin</c:v>
                </c:pt>
                <c:pt idx="867">
                  <c:v>All Others</c:v>
                </c:pt>
                <c:pt idx="868">
                  <c:v>All Others</c:v>
                </c:pt>
                <c:pt idx="869">
                  <c:v>All Others</c:v>
                </c:pt>
                <c:pt idx="870">
                  <c:v>All Others</c:v>
                </c:pt>
                <c:pt idx="871">
                  <c:v>All Others</c:v>
                </c:pt>
                <c:pt idx="872">
                  <c:v>Etoile Du Q</c:v>
                </c:pt>
                <c:pt idx="873">
                  <c:v>All Others</c:v>
                </c:pt>
                <c:pt idx="874">
                  <c:v>All Others</c:v>
                </c:pt>
                <c:pt idx="875">
                  <c:v>All Others</c:v>
                </c:pt>
                <c:pt idx="876">
                  <c:v>All Others</c:v>
                </c:pt>
                <c:pt idx="877">
                  <c:v>All Others</c:v>
                </c:pt>
                <c:pt idx="878">
                  <c:v>All Others</c:v>
                </c:pt>
                <c:pt idx="879">
                  <c:v>All Others</c:v>
                </c:pt>
                <c:pt idx="880">
                  <c:v>All Others</c:v>
                </c:pt>
                <c:pt idx="881">
                  <c:v>All Others</c:v>
                </c:pt>
                <c:pt idx="882">
                  <c:v>All Others</c:v>
                </c:pt>
                <c:pt idx="883">
                  <c:v>All Others</c:v>
                </c:pt>
                <c:pt idx="884">
                  <c:v>All Others</c:v>
                </c:pt>
                <c:pt idx="885">
                  <c:v>All Others</c:v>
                </c:pt>
                <c:pt idx="886">
                  <c:v>All Others</c:v>
                </c:pt>
                <c:pt idx="887">
                  <c:v>All Others</c:v>
                </c:pt>
                <c:pt idx="888">
                  <c:v>All Others</c:v>
                </c:pt>
                <c:pt idx="889">
                  <c:v>President</c:v>
                </c:pt>
                <c:pt idx="890">
                  <c:v>All Others</c:v>
                </c:pt>
                <c:pt idx="891">
                  <c:v>All Others</c:v>
                </c:pt>
                <c:pt idx="892">
                  <c:v>All Others</c:v>
                </c:pt>
                <c:pt idx="893">
                  <c:v>Private Lab</c:v>
                </c:pt>
                <c:pt idx="894">
                  <c:v>All Others</c:v>
                </c:pt>
                <c:pt idx="895">
                  <c:v>All Others</c:v>
                </c:pt>
                <c:pt idx="896">
                  <c:v>All Others</c:v>
                </c:pt>
                <c:pt idx="897">
                  <c:v>All Others</c:v>
                </c:pt>
                <c:pt idx="898">
                  <c:v>Tartare</c:v>
                </c:pt>
                <c:pt idx="899">
                  <c:v>All Others</c:v>
                </c:pt>
                <c:pt idx="900">
                  <c:v>All Others</c:v>
                </c:pt>
                <c:pt idx="901">
                  <c:v>All Others</c:v>
                </c:pt>
                <c:pt idx="902">
                  <c:v>All Others</c:v>
                </c:pt>
                <c:pt idx="903">
                  <c:v>All Others</c:v>
                </c:pt>
                <c:pt idx="904">
                  <c:v>Triballat R</c:v>
                </c:pt>
                <c:pt idx="905">
                  <c:v>All Others</c:v>
                </c:pt>
                <c:pt idx="906">
                  <c:v>All Others</c:v>
                </c:pt>
                <c:pt idx="907">
                  <c:v>All Others</c:v>
                </c:pt>
                <c:pt idx="908">
                  <c:v>All Others</c:v>
                </c:pt>
                <c:pt idx="909">
                  <c:v>All Others</c:v>
                </c:pt>
                <c:pt idx="910">
                  <c:v>All Others</c:v>
                </c:pt>
                <c:pt idx="911">
                  <c:v>Triballat R</c:v>
                </c:pt>
                <c:pt idx="912">
                  <c:v>All Others</c:v>
                </c:pt>
                <c:pt idx="913">
                  <c:v>All Others</c:v>
                </c:pt>
                <c:pt idx="914">
                  <c:v>Private Lab</c:v>
                </c:pt>
                <c:pt idx="915">
                  <c:v>All Others</c:v>
                </c:pt>
                <c:pt idx="916">
                  <c:v>All Others</c:v>
                </c:pt>
                <c:pt idx="917">
                  <c:v>All Others</c:v>
                </c:pt>
                <c:pt idx="918">
                  <c:v>All Others</c:v>
                </c:pt>
                <c:pt idx="919">
                  <c:v>Savencia: A</c:v>
                </c:pt>
                <c:pt idx="920">
                  <c:v>Lactalis: A</c:v>
                </c:pt>
                <c:pt idx="921">
                  <c:v>All Others</c:v>
                </c:pt>
                <c:pt idx="922">
                  <c:v>All Others</c:v>
                </c:pt>
                <c:pt idx="923">
                  <c:v>Savencia: A</c:v>
                </c:pt>
                <c:pt idx="924">
                  <c:v>All Others</c:v>
                </c:pt>
                <c:pt idx="925">
                  <c:v>All Others</c:v>
                </c:pt>
                <c:pt idx="926">
                  <c:v>President</c:v>
                </c:pt>
                <c:pt idx="927">
                  <c:v>All Others</c:v>
                </c:pt>
                <c:pt idx="928">
                  <c:v>All Others</c:v>
                </c:pt>
                <c:pt idx="929">
                  <c:v>All Others</c:v>
                </c:pt>
                <c:pt idx="930">
                  <c:v>All Others</c:v>
                </c:pt>
                <c:pt idx="931">
                  <c:v>All Others</c:v>
                </c:pt>
                <c:pt idx="932">
                  <c:v>All Others</c:v>
                </c:pt>
                <c:pt idx="933">
                  <c:v>All Others</c:v>
                </c:pt>
                <c:pt idx="934">
                  <c:v>All Others</c:v>
                </c:pt>
                <c:pt idx="935">
                  <c:v>Private Lab</c:v>
                </c:pt>
                <c:pt idx="936">
                  <c:v>All Others</c:v>
                </c:pt>
                <c:pt idx="937">
                  <c:v>All Others</c:v>
                </c:pt>
                <c:pt idx="938">
                  <c:v>Eurial Autr</c:v>
                </c:pt>
                <c:pt idx="939">
                  <c:v>Triballat R</c:v>
                </c:pt>
                <c:pt idx="940">
                  <c:v>All Others</c:v>
                </c:pt>
                <c:pt idx="941">
                  <c:v>All Others</c:v>
                </c:pt>
                <c:pt idx="942">
                  <c:v>All Others</c:v>
                </c:pt>
                <c:pt idx="943">
                  <c:v>All Others</c:v>
                </c:pt>
                <c:pt idx="944">
                  <c:v>All Others</c:v>
                </c:pt>
                <c:pt idx="945">
                  <c:v>All Others</c:v>
                </c:pt>
                <c:pt idx="946">
                  <c:v>All Others</c:v>
                </c:pt>
                <c:pt idx="947">
                  <c:v>All Others</c:v>
                </c:pt>
                <c:pt idx="948">
                  <c:v>All Others</c:v>
                </c:pt>
                <c:pt idx="949">
                  <c:v>All Others</c:v>
                </c:pt>
                <c:pt idx="950">
                  <c:v>Eurial Autr</c:v>
                </c:pt>
                <c:pt idx="951">
                  <c:v>All Others</c:v>
                </c:pt>
                <c:pt idx="952">
                  <c:v>All Others</c:v>
                </c:pt>
                <c:pt idx="953">
                  <c:v>All Others</c:v>
                </c:pt>
                <c:pt idx="954">
                  <c:v>All Others</c:v>
                </c:pt>
                <c:pt idx="955">
                  <c:v>All Others</c:v>
                </c:pt>
                <c:pt idx="956">
                  <c:v>St Moret</c:v>
                </c:pt>
                <c:pt idx="957">
                  <c:v>All Others</c:v>
                </c:pt>
                <c:pt idx="958">
                  <c:v>Savencia: A</c:v>
                </c:pt>
                <c:pt idx="959">
                  <c:v>Private Lab</c:v>
                </c:pt>
                <c:pt idx="960">
                  <c:v>All Others</c:v>
                </c:pt>
                <c:pt idx="961">
                  <c:v>All Others</c:v>
                </c:pt>
                <c:pt idx="962">
                  <c:v>All Others</c:v>
                </c:pt>
                <c:pt idx="963">
                  <c:v>Private Lab</c:v>
                </c:pt>
                <c:pt idx="964">
                  <c:v>All Others</c:v>
                </c:pt>
                <c:pt idx="965">
                  <c:v>All Others</c:v>
                </c:pt>
                <c:pt idx="966">
                  <c:v>All Others</c:v>
                </c:pt>
                <c:pt idx="967">
                  <c:v>All Others</c:v>
                </c:pt>
                <c:pt idx="968">
                  <c:v>All Others</c:v>
                </c:pt>
                <c:pt idx="969">
                  <c:v>All Others</c:v>
                </c:pt>
                <c:pt idx="970">
                  <c:v>All Others</c:v>
                </c:pt>
                <c:pt idx="971">
                  <c:v>All Others</c:v>
                </c:pt>
                <c:pt idx="972">
                  <c:v>All Others</c:v>
                </c:pt>
                <c:pt idx="973">
                  <c:v>All Others</c:v>
                </c:pt>
                <c:pt idx="974">
                  <c:v>All Others</c:v>
                </c:pt>
                <c:pt idx="975">
                  <c:v>All Others</c:v>
                </c:pt>
                <c:pt idx="976">
                  <c:v>All Others</c:v>
                </c:pt>
                <c:pt idx="977">
                  <c:v>All Others</c:v>
                </c:pt>
                <c:pt idx="978">
                  <c:v>All Others</c:v>
                </c:pt>
                <c:pt idx="979">
                  <c:v>All Others</c:v>
                </c:pt>
                <c:pt idx="980">
                  <c:v>All Others</c:v>
                </c:pt>
                <c:pt idx="981">
                  <c:v>All Others</c:v>
                </c:pt>
                <c:pt idx="982">
                  <c:v>All Others</c:v>
                </c:pt>
                <c:pt idx="983">
                  <c:v>All Others</c:v>
                </c:pt>
                <c:pt idx="984">
                  <c:v>All Others</c:v>
                </c:pt>
                <c:pt idx="985">
                  <c:v>All Others</c:v>
                </c:pt>
                <c:pt idx="986">
                  <c:v>All Others</c:v>
                </c:pt>
                <c:pt idx="987">
                  <c:v>All Others</c:v>
                </c:pt>
                <c:pt idx="988">
                  <c:v>All Others</c:v>
                </c:pt>
                <c:pt idx="989">
                  <c:v>All Others</c:v>
                </c:pt>
                <c:pt idx="990">
                  <c:v>All Others</c:v>
                </c:pt>
                <c:pt idx="991">
                  <c:v>All Others</c:v>
                </c:pt>
                <c:pt idx="992">
                  <c:v>All Others</c:v>
                </c:pt>
                <c:pt idx="993">
                  <c:v>All Others</c:v>
                </c:pt>
                <c:pt idx="994">
                  <c:v>Eurial Autr</c:v>
                </c:pt>
                <c:pt idx="995">
                  <c:v>Eurial Autr</c:v>
                </c:pt>
                <c:pt idx="996">
                  <c:v>All Others</c:v>
                </c:pt>
                <c:pt idx="997">
                  <c:v>All Others</c:v>
                </c:pt>
                <c:pt idx="998">
                  <c:v>All Others</c:v>
                </c:pt>
                <c:pt idx="999">
                  <c:v>All Others</c:v>
                </c:pt>
                <c:pt idx="1000">
                  <c:v>All Others</c:v>
                </c:pt>
                <c:pt idx="1001">
                  <c:v>All Others</c:v>
                </c:pt>
                <c:pt idx="1002">
                  <c:v>Private Lab</c:v>
                </c:pt>
                <c:pt idx="1003">
                  <c:v>All Others</c:v>
                </c:pt>
                <c:pt idx="1004">
                  <c:v>All Others</c:v>
                </c:pt>
                <c:pt idx="1005">
                  <c:v>Eurial Autr</c:v>
                </c:pt>
                <c:pt idx="1006">
                  <c:v>All Others</c:v>
                </c:pt>
                <c:pt idx="1007">
                  <c:v>All Others</c:v>
                </c:pt>
                <c:pt idx="1008">
                  <c:v>Lou Perac</c:v>
                </c:pt>
                <c:pt idx="1009">
                  <c:v>All Others</c:v>
                </c:pt>
                <c:pt idx="1010">
                  <c:v>All Others</c:v>
                </c:pt>
                <c:pt idx="1011">
                  <c:v>Triballat N</c:v>
                </c:pt>
                <c:pt idx="1012">
                  <c:v>All Others</c:v>
                </c:pt>
                <c:pt idx="1013">
                  <c:v>All Others</c:v>
                </c:pt>
                <c:pt idx="1014">
                  <c:v>All Others</c:v>
                </c:pt>
                <c:pt idx="1015">
                  <c:v>All Others</c:v>
                </c:pt>
                <c:pt idx="1016">
                  <c:v>All Others</c:v>
                </c:pt>
                <c:pt idx="1017">
                  <c:v>All Others</c:v>
                </c:pt>
                <c:pt idx="1018">
                  <c:v>All Others</c:v>
                </c:pt>
                <c:pt idx="1019">
                  <c:v>All Others</c:v>
                </c:pt>
                <c:pt idx="1020">
                  <c:v>All Others</c:v>
                </c:pt>
                <c:pt idx="1021">
                  <c:v>All Others</c:v>
                </c:pt>
                <c:pt idx="1022">
                  <c:v>All Others</c:v>
                </c:pt>
                <c:pt idx="1023">
                  <c:v>All Others</c:v>
                </c:pt>
                <c:pt idx="1024">
                  <c:v>All Others</c:v>
                </c:pt>
                <c:pt idx="1025">
                  <c:v>All Others</c:v>
                </c:pt>
                <c:pt idx="1026">
                  <c:v>All Others</c:v>
                </c:pt>
                <c:pt idx="1027">
                  <c:v>All Others</c:v>
                </c:pt>
                <c:pt idx="1028">
                  <c:v>All Others</c:v>
                </c:pt>
                <c:pt idx="1029">
                  <c:v>All Others</c:v>
                </c:pt>
                <c:pt idx="1030">
                  <c:v>All Others</c:v>
                </c:pt>
                <c:pt idx="1031">
                  <c:v>All Others</c:v>
                </c:pt>
                <c:pt idx="1032">
                  <c:v>All Others</c:v>
                </c:pt>
                <c:pt idx="1033">
                  <c:v>All Others</c:v>
                </c:pt>
                <c:pt idx="1034">
                  <c:v>All Others</c:v>
                </c:pt>
                <c:pt idx="1035">
                  <c:v>All Others</c:v>
                </c:pt>
                <c:pt idx="1036">
                  <c:v>Triballat R</c:v>
                </c:pt>
                <c:pt idx="1037">
                  <c:v>All Others</c:v>
                </c:pt>
                <c:pt idx="1038">
                  <c:v>All Others</c:v>
                </c:pt>
                <c:pt idx="1039">
                  <c:v>All Others</c:v>
                </c:pt>
                <c:pt idx="1040">
                  <c:v>All Others</c:v>
                </c:pt>
                <c:pt idx="1041">
                  <c:v>All Others</c:v>
                </c:pt>
                <c:pt idx="1042">
                  <c:v>All Others</c:v>
                </c:pt>
                <c:pt idx="1043">
                  <c:v>All Others</c:v>
                </c:pt>
                <c:pt idx="1044">
                  <c:v>All Others</c:v>
                </c:pt>
                <c:pt idx="1045">
                  <c:v>All Others</c:v>
                </c:pt>
                <c:pt idx="1046">
                  <c:v>All Others</c:v>
                </c:pt>
                <c:pt idx="1047">
                  <c:v>All Others</c:v>
                </c:pt>
                <c:pt idx="1048">
                  <c:v>All Others</c:v>
                </c:pt>
                <c:pt idx="1049">
                  <c:v>All Others</c:v>
                </c:pt>
                <c:pt idx="1050">
                  <c:v>All Others</c:v>
                </c:pt>
                <c:pt idx="1051">
                  <c:v>All Others</c:v>
                </c:pt>
                <c:pt idx="1052">
                  <c:v>All Others</c:v>
                </c:pt>
                <c:pt idx="1053">
                  <c:v>Caprice Des</c:v>
                </c:pt>
                <c:pt idx="1054">
                  <c:v>All Others</c:v>
                </c:pt>
                <c:pt idx="1055">
                  <c:v>All Others</c:v>
                </c:pt>
                <c:pt idx="1056">
                  <c:v>Savencia: A</c:v>
                </c:pt>
                <c:pt idx="1057">
                  <c:v>Savencia: A</c:v>
                </c:pt>
                <c:pt idx="1058">
                  <c:v>All Others</c:v>
                </c:pt>
                <c:pt idx="1059">
                  <c:v>All Others</c:v>
                </c:pt>
                <c:pt idx="1060">
                  <c:v>All Others</c:v>
                </c:pt>
                <c:pt idx="1061">
                  <c:v>All Others</c:v>
                </c:pt>
                <c:pt idx="1062">
                  <c:v>All Others</c:v>
                </c:pt>
                <c:pt idx="1063">
                  <c:v>All Others</c:v>
                </c:pt>
                <c:pt idx="1064">
                  <c:v>All Others</c:v>
                </c:pt>
                <c:pt idx="1065">
                  <c:v>All Others</c:v>
                </c:pt>
                <c:pt idx="1066">
                  <c:v>All Others</c:v>
                </c:pt>
                <c:pt idx="1067">
                  <c:v>All Others</c:v>
                </c:pt>
                <c:pt idx="1068">
                  <c:v>All Others</c:v>
                </c:pt>
                <c:pt idx="1069">
                  <c:v>All Others</c:v>
                </c:pt>
                <c:pt idx="1070">
                  <c:v>All Others</c:v>
                </c:pt>
                <c:pt idx="1071">
                  <c:v>All Others</c:v>
                </c:pt>
                <c:pt idx="1072">
                  <c:v>All Others</c:v>
                </c:pt>
                <c:pt idx="1073">
                  <c:v>All Others</c:v>
                </c:pt>
                <c:pt idx="1074">
                  <c:v>All Others</c:v>
                </c:pt>
                <c:pt idx="1075">
                  <c:v>All Others</c:v>
                </c:pt>
                <c:pt idx="1076">
                  <c:v>All Others</c:v>
                </c:pt>
                <c:pt idx="1077">
                  <c:v>All Others</c:v>
                </c:pt>
                <c:pt idx="1078">
                  <c:v>All Others</c:v>
                </c:pt>
                <c:pt idx="1079">
                  <c:v>All Others</c:v>
                </c:pt>
                <c:pt idx="1080">
                  <c:v>All Others</c:v>
                </c:pt>
                <c:pt idx="1081">
                  <c:v>All Others</c:v>
                </c:pt>
                <c:pt idx="1082">
                  <c:v>Lou Perac</c:v>
                </c:pt>
                <c:pt idx="1083">
                  <c:v>All Others</c:v>
                </c:pt>
                <c:pt idx="1084">
                  <c:v>All Others</c:v>
                </c:pt>
                <c:pt idx="1085">
                  <c:v>Petit Billy</c:v>
                </c:pt>
                <c:pt idx="1086">
                  <c:v>All Others</c:v>
                </c:pt>
                <c:pt idx="1087">
                  <c:v>Lactalis: A</c:v>
                </c:pt>
                <c:pt idx="1088">
                  <c:v>All Others</c:v>
                </c:pt>
                <c:pt idx="1089">
                  <c:v>All Others</c:v>
                </c:pt>
                <c:pt idx="1090">
                  <c:v>All Others</c:v>
                </c:pt>
                <c:pt idx="1091">
                  <c:v>Eurial Autr</c:v>
                </c:pt>
                <c:pt idx="1092">
                  <c:v>All Others</c:v>
                </c:pt>
                <c:pt idx="1093">
                  <c:v>Private Lab</c:v>
                </c:pt>
                <c:pt idx="1094">
                  <c:v>All Others</c:v>
                </c:pt>
                <c:pt idx="1095">
                  <c:v>All Others</c:v>
                </c:pt>
                <c:pt idx="1096">
                  <c:v>All Others</c:v>
                </c:pt>
                <c:pt idx="1097">
                  <c:v>All Others</c:v>
                </c:pt>
                <c:pt idx="1098">
                  <c:v>All Others</c:v>
                </c:pt>
                <c:pt idx="1099">
                  <c:v>All Others</c:v>
                </c:pt>
                <c:pt idx="1100">
                  <c:v>Soignon</c:v>
                </c:pt>
                <c:pt idx="1101">
                  <c:v>All Others</c:v>
                </c:pt>
                <c:pt idx="1102">
                  <c:v>All Others</c:v>
                </c:pt>
                <c:pt idx="1103">
                  <c:v>All Others</c:v>
                </c:pt>
                <c:pt idx="1104">
                  <c:v>All Others</c:v>
                </c:pt>
                <c:pt idx="1105">
                  <c:v>All Others</c:v>
                </c:pt>
                <c:pt idx="1106">
                  <c:v>Private Lab</c:v>
                </c:pt>
                <c:pt idx="1107">
                  <c:v>All Others</c:v>
                </c:pt>
                <c:pt idx="1108">
                  <c:v>All Others</c:v>
                </c:pt>
                <c:pt idx="1109">
                  <c:v>All Others</c:v>
                </c:pt>
                <c:pt idx="1110">
                  <c:v>All Others</c:v>
                </c:pt>
                <c:pt idx="1111">
                  <c:v>All Others</c:v>
                </c:pt>
                <c:pt idx="1112">
                  <c:v>All Others</c:v>
                </c:pt>
                <c:pt idx="1113">
                  <c:v>All Others</c:v>
                </c:pt>
                <c:pt idx="1114">
                  <c:v>All Others</c:v>
                </c:pt>
                <c:pt idx="1115">
                  <c:v>All Others</c:v>
                </c:pt>
                <c:pt idx="1116">
                  <c:v>All Others</c:v>
                </c:pt>
                <c:pt idx="1117">
                  <c:v>All Others</c:v>
                </c:pt>
                <c:pt idx="1118">
                  <c:v>All Others</c:v>
                </c:pt>
                <c:pt idx="1119">
                  <c:v>All Others</c:v>
                </c:pt>
                <c:pt idx="1120">
                  <c:v>All Others</c:v>
                </c:pt>
                <c:pt idx="1121">
                  <c:v>All Others</c:v>
                </c:pt>
                <c:pt idx="1122">
                  <c:v>All Others</c:v>
                </c:pt>
                <c:pt idx="1123">
                  <c:v>All Others</c:v>
                </c:pt>
                <c:pt idx="1124">
                  <c:v>All Others</c:v>
                </c:pt>
                <c:pt idx="1125">
                  <c:v>All Others</c:v>
                </c:pt>
                <c:pt idx="1126">
                  <c:v>All Others</c:v>
                </c:pt>
                <c:pt idx="1127">
                  <c:v>All Others</c:v>
                </c:pt>
                <c:pt idx="1128">
                  <c:v>Eurial Autr</c:v>
                </c:pt>
                <c:pt idx="1129">
                  <c:v>All Others</c:v>
                </c:pt>
                <c:pt idx="1130">
                  <c:v>All Others</c:v>
                </c:pt>
                <c:pt idx="1131">
                  <c:v>All Others</c:v>
                </c:pt>
                <c:pt idx="1132">
                  <c:v>All Others</c:v>
                </c:pt>
                <c:pt idx="1133">
                  <c:v>All Others</c:v>
                </c:pt>
                <c:pt idx="1134">
                  <c:v>All Others</c:v>
                </c:pt>
                <c:pt idx="1135">
                  <c:v>All Others</c:v>
                </c:pt>
                <c:pt idx="1136">
                  <c:v>All Others</c:v>
                </c:pt>
                <c:pt idx="1137">
                  <c:v>All Others</c:v>
                </c:pt>
                <c:pt idx="1138">
                  <c:v>All Others</c:v>
                </c:pt>
                <c:pt idx="1139">
                  <c:v>Private Lab</c:v>
                </c:pt>
                <c:pt idx="1140">
                  <c:v>All Others</c:v>
                </c:pt>
                <c:pt idx="1141">
                  <c:v>All Others</c:v>
                </c:pt>
                <c:pt idx="1142">
                  <c:v>All Others</c:v>
                </c:pt>
                <c:pt idx="1143">
                  <c:v>All Others</c:v>
                </c:pt>
                <c:pt idx="1144">
                  <c:v>All Others</c:v>
                </c:pt>
                <c:pt idx="1145">
                  <c:v>All Others</c:v>
                </c:pt>
                <c:pt idx="1146">
                  <c:v>All Others</c:v>
                </c:pt>
                <c:pt idx="1147">
                  <c:v>All Others</c:v>
                </c:pt>
                <c:pt idx="1148">
                  <c:v>All Others</c:v>
                </c:pt>
                <c:pt idx="1149">
                  <c:v>All Others</c:v>
                </c:pt>
                <c:pt idx="1150">
                  <c:v>All Others</c:v>
                </c:pt>
                <c:pt idx="1151">
                  <c:v>All Others</c:v>
                </c:pt>
                <c:pt idx="1152">
                  <c:v>All Others</c:v>
                </c:pt>
                <c:pt idx="1153">
                  <c:v>All Others</c:v>
                </c:pt>
                <c:pt idx="1154">
                  <c:v>All Others</c:v>
                </c:pt>
                <c:pt idx="1155">
                  <c:v>All Others</c:v>
                </c:pt>
                <c:pt idx="1156">
                  <c:v>All Others</c:v>
                </c:pt>
                <c:pt idx="1157">
                  <c:v>All Others</c:v>
                </c:pt>
                <c:pt idx="1158">
                  <c:v>All Others</c:v>
                </c:pt>
                <c:pt idx="1159">
                  <c:v>All Others</c:v>
                </c:pt>
                <c:pt idx="1160">
                  <c:v>All Others</c:v>
                </c:pt>
                <c:pt idx="1161">
                  <c:v>All Others</c:v>
                </c:pt>
                <c:pt idx="1162">
                  <c:v>All Others</c:v>
                </c:pt>
                <c:pt idx="1163">
                  <c:v>All Others</c:v>
                </c:pt>
                <c:pt idx="1164">
                  <c:v>All Others</c:v>
                </c:pt>
                <c:pt idx="1165">
                  <c:v>All Others</c:v>
                </c:pt>
                <c:pt idx="1166">
                  <c:v>All Others</c:v>
                </c:pt>
                <c:pt idx="1167">
                  <c:v>All Others</c:v>
                </c:pt>
                <c:pt idx="1168">
                  <c:v>All Others</c:v>
                </c:pt>
                <c:pt idx="1169">
                  <c:v>All Others</c:v>
                </c:pt>
                <c:pt idx="1170">
                  <c:v>All Others</c:v>
                </c:pt>
                <c:pt idx="1171">
                  <c:v>All Others</c:v>
                </c:pt>
                <c:pt idx="1172">
                  <c:v>All Others</c:v>
                </c:pt>
                <c:pt idx="1173">
                  <c:v>Private Lab</c:v>
                </c:pt>
                <c:pt idx="1174">
                  <c:v>All Others</c:v>
                </c:pt>
                <c:pt idx="1175">
                  <c:v>All Others</c:v>
                </c:pt>
                <c:pt idx="1176">
                  <c:v>All Others</c:v>
                </c:pt>
                <c:pt idx="1177">
                  <c:v>All Others</c:v>
                </c:pt>
                <c:pt idx="1178">
                  <c:v>All Others</c:v>
                </c:pt>
                <c:pt idx="1179">
                  <c:v>All Others</c:v>
                </c:pt>
                <c:pt idx="1180">
                  <c:v>All Others</c:v>
                </c:pt>
                <c:pt idx="1181">
                  <c:v>All Others</c:v>
                </c:pt>
                <c:pt idx="1182">
                  <c:v>Private Lab</c:v>
                </c:pt>
                <c:pt idx="1183">
                  <c:v>All Others</c:v>
                </c:pt>
                <c:pt idx="1184">
                  <c:v>All Others</c:v>
                </c:pt>
                <c:pt idx="1185">
                  <c:v>All Others</c:v>
                </c:pt>
                <c:pt idx="1186">
                  <c:v>All Others</c:v>
                </c:pt>
                <c:pt idx="1187">
                  <c:v>All Others</c:v>
                </c:pt>
                <c:pt idx="1188">
                  <c:v>All Others</c:v>
                </c:pt>
                <c:pt idx="1189">
                  <c:v>All Others</c:v>
                </c:pt>
                <c:pt idx="1190">
                  <c:v>All Others</c:v>
                </c:pt>
                <c:pt idx="1191">
                  <c:v>All Others</c:v>
                </c:pt>
                <c:pt idx="1192">
                  <c:v>Lactalis: A</c:v>
                </c:pt>
                <c:pt idx="1193">
                  <c:v>Private Lab</c:v>
                </c:pt>
                <c:pt idx="1194">
                  <c:v>All Others</c:v>
                </c:pt>
                <c:pt idx="1195">
                  <c:v>All Others</c:v>
                </c:pt>
                <c:pt idx="1196">
                  <c:v>All Others</c:v>
                </c:pt>
                <c:pt idx="1197">
                  <c:v>All Others</c:v>
                </c:pt>
                <c:pt idx="1198">
                  <c:v>All Others</c:v>
                </c:pt>
                <c:pt idx="1199">
                  <c:v>Mini Babybe</c:v>
                </c:pt>
                <c:pt idx="1200">
                  <c:v>All Others</c:v>
                </c:pt>
                <c:pt idx="1201">
                  <c:v>All Others</c:v>
                </c:pt>
                <c:pt idx="1202">
                  <c:v>Private Lab</c:v>
                </c:pt>
                <c:pt idx="1203">
                  <c:v>Lactalis: A</c:v>
                </c:pt>
                <c:pt idx="1204">
                  <c:v>All Others</c:v>
                </c:pt>
                <c:pt idx="1205">
                  <c:v>All Others</c:v>
                </c:pt>
                <c:pt idx="1206">
                  <c:v>All Others</c:v>
                </c:pt>
                <c:pt idx="1207">
                  <c:v>All Others</c:v>
                </c:pt>
                <c:pt idx="1208">
                  <c:v>All Others</c:v>
                </c:pt>
                <c:pt idx="1209">
                  <c:v>All Others</c:v>
                </c:pt>
                <c:pt idx="1210">
                  <c:v>All Others</c:v>
                </c:pt>
                <c:pt idx="1211">
                  <c:v>All Others</c:v>
                </c:pt>
                <c:pt idx="1212">
                  <c:v>Soignon</c:v>
                </c:pt>
                <c:pt idx="1213">
                  <c:v>Private Lab</c:v>
                </c:pt>
                <c:pt idx="1214">
                  <c:v>All Others</c:v>
                </c:pt>
                <c:pt idx="1215">
                  <c:v>All Others</c:v>
                </c:pt>
                <c:pt idx="1216">
                  <c:v>All Others</c:v>
                </c:pt>
                <c:pt idx="1217">
                  <c:v>All Others</c:v>
                </c:pt>
                <c:pt idx="1218">
                  <c:v>All Others</c:v>
                </c:pt>
                <c:pt idx="1219">
                  <c:v>All Others</c:v>
                </c:pt>
                <c:pt idx="1220">
                  <c:v>All Others</c:v>
                </c:pt>
                <c:pt idx="1221">
                  <c:v>All Others</c:v>
                </c:pt>
                <c:pt idx="1222">
                  <c:v>All Others</c:v>
                </c:pt>
                <c:pt idx="1223">
                  <c:v>All Others</c:v>
                </c:pt>
                <c:pt idx="1224">
                  <c:v>Eurial Autr</c:v>
                </c:pt>
                <c:pt idx="1225">
                  <c:v>All Others</c:v>
                </c:pt>
                <c:pt idx="1226">
                  <c:v>All Others</c:v>
                </c:pt>
                <c:pt idx="1227">
                  <c:v>All Others</c:v>
                </c:pt>
                <c:pt idx="1228">
                  <c:v>All Others</c:v>
                </c:pt>
                <c:pt idx="1229">
                  <c:v>All Others</c:v>
                </c:pt>
                <c:pt idx="1230">
                  <c:v>All Others</c:v>
                </c:pt>
                <c:pt idx="1231">
                  <c:v>All Others</c:v>
                </c:pt>
                <c:pt idx="1232">
                  <c:v>All Others</c:v>
                </c:pt>
                <c:pt idx="1233">
                  <c:v>All Others</c:v>
                </c:pt>
                <c:pt idx="1234">
                  <c:v>All Others</c:v>
                </c:pt>
                <c:pt idx="1235">
                  <c:v>All Others</c:v>
                </c:pt>
                <c:pt idx="1236">
                  <c:v>All Others</c:v>
                </c:pt>
                <c:pt idx="1237">
                  <c:v>All Others</c:v>
                </c:pt>
                <c:pt idx="1238">
                  <c:v>All Others</c:v>
                </c:pt>
                <c:pt idx="1239">
                  <c:v>All Others</c:v>
                </c:pt>
                <c:pt idx="1240">
                  <c:v>All Others</c:v>
                </c:pt>
                <c:pt idx="1241">
                  <c:v>All Others</c:v>
                </c:pt>
                <c:pt idx="1242">
                  <c:v>All Others</c:v>
                </c:pt>
                <c:pt idx="1243">
                  <c:v>All Others</c:v>
                </c:pt>
                <c:pt idx="1244">
                  <c:v>All Others</c:v>
                </c:pt>
                <c:pt idx="1245">
                  <c:v>All Others</c:v>
                </c:pt>
                <c:pt idx="1246">
                  <c:v>All Others</c:v>
                </c:pt>
                <c:pt idx="1247">
                  <c:v>All Others</c:v>
                </c:pt>
                <c:pt idx="1248">
                  <c:v>Eurial Autr</c:v>
                </c:pt>
                <c:pt idx="1249">
                  <c:v>All Others</c:v>
                </c:pt>
                <c:pt idx="1250">
                  <c:v>All Others</c:v>
                </c:pt>
                <c:pt idx="1251">
                  <c:v>All Others</c:v>
                </c:pt>
                <c:pt idx="1252">
                  <c:v>All Others</c:v>
                </c:pt>
                <c:pt idx="1253">
                  <c:v>All Others</c:v>
                </c:pt>
                <c:pt idx="1254">
                  <c:v>All Others</c:v>
                </c:pt>
                <c:pt idx="1255">
                  <c:v>All Others</c:v>
                </c:pt>
                <c:pt idx="1256">
                  <c:v>All Others</c:v>
                </c:pt>
                <c:pt idx="1257">
                  <c:v>All Others</c:v>
                </c:pt>
                <c:pt idx="1258">
                  <c:v>All Others</c:v>
                </c:pt>
                <c:pt idx="1259">
                  <c:v>All Others</c:v>
                </c:pt>
                <c:pt idx="1260">
                  <c:v>All Others</c:v>
                </c:pt>
                <c:pt idx="1261">
                  <c:v>All Others</c:v>
                </c:pt>
                <c:pt idx="1262">
                  <c:v>All Others</c:v>
                </c:pt>
                <c:pt idx="1263">
                  <c:v>All Others</c:v>
                </c:pt>
                <c:pt idx="1264">
                  <c:v>All Others</c:v>
                </c:pt>
                <c:pt idx="1265">
                  <c:v>All Others</c:v>
                </c:pt>
                <c:pt idx="1266">
                  <c:v>All Others</c:v>
                </c:pt>
                <c:pt idx="1267">
                  <c:v>All Others</c:v>
                </c:pt>
                <c:pt idx="1268">
                  <c:v>Private Lab</c:v>
                </c:pt>
                <c:pt idx="1269">
                  <c:v>All Others</c:v>
                </c:pt>
                <c:pt idx="1270">
                  <c:v>All Others</c:v>
                </c:pt>
                <c:pt idx="1271">
                  <c:v>All Others</c:v>
                </c:pt>
                <c:pt idx="1272">
                  <c:v>All Others</c:v>
                </c:pt>
                <c:pt idx="1273">
                  <c:v>All Others</c:v>
                </c:pt>
                <c:pt idx="1274">
                  <c:v>President</c:v>
                </c:pt>
                <c:pt idx="1275">
                  <c:v>All Others</c:v>
                </c:pt>
                <c:pt idx="1276">
                  <c:v>All Others</c:v>
                </c:pt>
                <c:pt idx="1277">
                  <c:v>All Others</c:v>
                </c:pt>
                <c:pt idx="1278">
                  <c:v>All Others</c:v>
                </c:pt>
                <c:pt idx="1279">
                  <c:v>All Others</c:v>
                </c:pt>
                <c:pt idx="1280">
                  <c:v>Lactalis: A</c:v>
                </c:pt>
                <c:pt idx="1281">
                  <c:v>All Others</c:v>
                </c:pt>
                <c:pt idx="1282">
                  <c:v>All Others</c:v>
                </c:pt>
                <c:pt idx="1283">
                  <c:v>All Others</c:v>
                </c:pt>
                <c:pt idx="1284">
                  <c:v>All Others</c:v>
                </c:pt>
                <c:pt idx="1285">
                  <c:v>All Others</c:v>
                </c:pt>
                <c:pt idx="1286">
                  <c:v>All Others</c:v>
                </c:pt>
                <c:pt idx="1287">
                  <c:v>All Others</c:v>
                </c:pt>
                <c:pt idx="1288">
                  <c:v>All Others</c:v>
                </c:pt>
                <c:pt idx="1289">
                  <c:v>All Others</c:v>
                </c:pt>
                <c:pt idx="1290">
                  <c:v>All Others</c:v>
                </c:pt>
                <c:pt idx="1291">
                  <c:v>All Others</c:v>
                </c:pt>
                <c:pt idx="1292">
                  <c:v>All Others</c:v>
                </c:pt>
                <c:pt idx="1293">
                  <c:v>All Others</c:v>
                </c:pt>
                <c:pt idx="1294">
                  <c:v>All Others</c:v>
                </c:pt>
                <c:pt idx="1295">
                  <c:v>All Others</c:v>
                </c:pt>
                <c:pt idx="1296">
                  <c:v>Private Lab</c:v>
                </c:pt>
                <c:pt idx="1297">
                  <c:v>All Others</c:v>
                </c:pt>
                <c:pt idx="1298">
                  <c:v>All Others</c:v>
                </c:pt>
                <c:pt idx="1299">
                  <c:v>All Others</c:v>
                </c:pt>
                <c:pt idx="1300">
                  <c:v>All Others</c:v>
                </c:pt>
                <c:pt idx="1301">
                  <c:v>All Others</c:v>
                </c:pt>
                <c:pt idx="1302">
                  <c:v>All Others</c:v>
                </c:pt>
                <c:pt idx="1303">
                  <c:v>All Others</c:v>
                </c:pt>
                <c:pt idx="1304">
                  <c:v>All Others</c:v>
                </c:pt>
                <c:pt idx="1305">
                  <c:v>All Others</c:v>
                </c:pt>
                <c:pt idx="1306">
                  <c:v>All Others</c:v>
                </c:pt>
                <c:pt idx="1307">
                  <c:v>All Others</c:v>
                </c:pt>
                <c:pt idx="1308">
                  <c:v>All Others</c:v>
                </c:pt>
                <c:pt idx="1309">
                  <c:v>All Others</c:v>
                </c:pt>
                <c:pt idx="1310">
                  <c:v>All Others</c:v>
                </c:pt>
                <c:pt idx="1311">
                  <c:v>All Others</c:v>
                </c:pt>
                <c:pt idx="1312">
                  <c:v>All Others</c:v>
                </c:pt>
                <c:pt idx="1313">
                  <c:v>All Others</c:v>
                </c:pt>
                <c:pt idx="1314">
                  <c:v>All Others</c:v>
                </c:pt>
                <c:pt idx="1315">
                  <c:v>All Others</c:v>
                </c:pt>
                <c:pt idx="1316">
                  <c:v>All Others</c:v>
                </c:pt>
                <c:pt idx="1317">
                  <c:v>All Others</c:v>
                </c:pt>
                <c:pt idx="1318">
                  <c:v>All Others</c:v>
                </c:pt>
                <c:pt idx="1319">
                  <c:v>All Others</c:v>
                </c:pt>
                <c:pt idx="1320">
                  <c:v>All Others</c:v>
                </c:pt>
                <c:pt idx="1321">
                  <c:v>All Others</c:v>
                </c:pt>
                <c:pt idx="1322">
                  <c:v>All Others</c:v>
                </c:pt>
                <c:pt idx="1323">
                  <c:v>All Others</c:v>
                </c:pt>
                <c:pt idx="1324">
                  <c:v>All Others</c:v>
                </c:pt>
                <c:pt idx="1325">
                  <c:v>All Others</c:v>
                </c:pt>
                <c:pt idx="1326">
                  <c:v>Private Lab</c:v>
                </c:pt>
                <c:pt idx="1327">
                  <c:v>Rondele</c:v>
                </c:pt>
                <c:pt idx="1328">
                  <c:v>All Others</c:v>
                </c:pt>
                <c:pt idx="1329">
                  <c:v>Lactalis: A</c:v>
                </c:pt>
                <c:pt idx="1330">
                  <c:v>All Others</c:v>
                </c:pt>
                <c:pt idx="1331">
                  <c:v>All Others</c:v>
                </c:pt>
                <c:pt idx="1332">
                  <c:v>All Others</c:v>
                </c:pt>
                <c:pt idx="1333">
                  <c:v>All Others</c:v>
                </c:pt>
                <c:pt idx="1334">
                  <c:v>All Others</c:v>
                </c:pt>
                <c:pt idx="1335">
                  <c:v>All Others</c:v>
                </c:pt>
                <c:pt idx="1336">
                  <c:v>All Others</c:v>
                </c:pt>
                <c:pt idx="1337">
                  <c:v>All Others</c:v>
                </c:pt>
                <c:pt idx="1338">
                  <c:v>All Others</c:v>
                </c:pt>
                <c:pt idx="1339">
                  <c:v>All Others</c:v>
                </c:pt>
                <c:pt idx="1340">
                  <c:v>All Others</c:v>
                </c:pt>
                <c:pt idx="1341">
                  <c:v>All Others</c:v>
                </c:pt>
                <c:pt idx="1342">
                  <c:v>All Others</c:v>
                </c:pt>
                <c:pt idx="1343">
                  <c:v>Rondele</c:v>
                </c:pt>
                <c:pt idx="1344">
                  <c:v>All Others</c:v>
                </c:pt>
                <c:pt idx="1345">
                  <c:v>All Others</c:v>
                </c:pt>
                <c:pt idx="1346">
                  <c:v>Private Lab</c:v>
                </c:pt>
                <c:pt idx="1347">
                  <c:v>All Others</c:v>
                </c:pt>
                <c:pt idx="1348">
                  <c:v>All Others</c:v>
                </c:pt>
                <c:pt idx="1349">
                  <c:v>All Others</c:v>
                </c:pt>
                <c:pt idx="1350">
                  <c:v>All Others</c:v>
                </c:pt>
                <c:pt idx="1351">
                  <c:v>All Others</c:v>
                </c:pt>
                <c:pt idx="1352">
                  <c:v>All Others</c:v>
                </c:pt>
                <c:pt idx="1353">
                  <c:v>All Others</c:v>
                </c:pt>
                <c:pt idx="1354">
                  <c:v>All Others</c:v>
                </c:pt>
                <c:pt idx="1355">
                  <c:v>All Others</c:v>
                </c:pt>
                <c:pt idx="1356">
                  <c:v>All Others</c:v>
                </c:pt>
                <c:pt idx="1357">
                  <c:v>All Others</c:v>
                </c:pt>
                <c:pt idx="1358">
                  <c:v>All Others</c:v>
                </c:pt>
                <c:pt idx="1359">
                  <c:v>All Others</c:v>
                </c:pt>
                <c:pt idx="1360">
                  <c:v>All Others</c:v>
                </c:pt>
                <c:pt idx="1361">
                  <c:v>All Others</c:v>
                </c:pt>
                <c:pt idx="1362">
                  <c:v>All Others</c:v>
                </c:pt>
                <c:pt idx="1363">
                  <c:v>All Others</c:v>
                </c:pt>
                <c:pt idx="1364">
                  <c:v>Lactalis: A</c:v>
                </c:pt>
                <c:pt idx="1365">
                  <c:v>All Others</c:v>
                </c:pt>
                <c:pt idx="1366">
                  <c:v>All Others</c:v>
                </c:pt>
                <c:pt idx="1367">
                  <c:v>All Others</c:v>
                </c:pt>
                <c:pt idx="1368">
                  <c:v>All Others</c:v>
                </c:pt>
                <c:pt idx="1369">
                  <c:v>All Others</c:v>
                </c:pt>
                <c:pt idx="1370">
                  <c:v>All Others</c:v>
                </c:pt>
                <c:pt idx="1371">
                  <c:v>All Others</c:v>
                </c:pt>
                <c:pt idx="1372">
                  <c:v>All Others</c:v>
                </c:pt>
                <c:pt idx="1373">
                  <c:v>All Others</c:v>
                </c:pt>
                <c:pt idx="1374">
                  <c:v>Rondele</c:v>
                </c:pt>
                <c:pt idx="1375">
                  <c:v>All Others</c:v>
                </c:pt>
                <c:pt idx="1376">
                  <c:v>All Others</c:v>
                </c:pt>
                <c:pt idx="1377">
                  <c:v>All Others</c:v>
                </c:pt>
                <c:pt idx="1378">
                  <c:v>All Others</c:v>
                </c:pt>
                <c:pt idx="1379">
                  <c:v>All Others</c:v>
                </c:pt>
                <c:pt idx="1380">
                  <c:v>All Others</c:v>
                </c:pt>
                <c:pt idx="1381">
                  <c:v>All Others</c:v>
                </c:pt>
                <c:pt idx="1382">
                  <c:v>All Others</c:v>
                </c:pt>
                <c:pt idx="1383">
                  <c:v>All Others</c:v>
                </c:pt>
                <c:pt idx="1384">
                  <c:v>Lactalis: A</c:v>
                </c:pt>
                <c:pt idx="1385">
                  <c:v>All Others</c:v>
                </c:pt>
                <c:pt idx="1386">
                  <c:v>All Others</c:v>
                </c:pt>
                <c:pt idx="1387">
                  <c:v>All Others</c:v>
                </c:pt>
                <c:pt idx="1388">
                  <c:v>All Others</c:v>
                </c:pt>
                <c:pt idx="1389">
                  <c:v>All Others</c:v>
                </c:pt>
                <c:pt idx="1390">
                  <c:v>Private Lab</c:v>
                </c:pt>
                <c:pt idx="1391">
                  <c:v>Savencia: A</c:v>
                </c:pt>
                <c:pt idx="1392">
                  <c:v>Eurial Autr</c:v>
                </c:pt>
                <c:pt idx="1393">
                  <c:v>Lactalis: A</c:v>
                </c:pt>
                <c:pt idx="1394">
                  <c:v>All Others</c:v>
                </c:pt>
                <c:pt idx="1395">
                  <c:v>All Others</c:v>
                </c:pt>
                <c:pt idx="1396">
                  <c:v>All Others</c:v>
                </c:pt>
                <c:pt idx="1397">
                  <c:v>All Others</c:v>
                </c:pt>
                <c:pt idx="1398">
                  <c:v>All Others</c:v>
                </c:pt>
                <c:pt idx="1399">
                  <c:v>Savencia: A</c:v>
                </c:pt>
                <c:pt idx="1400">
                  <c:v>All Others</c:v>
                </c:pt>
                <c:pt idx="1401">
                  <c:v>All Others</c:v>
                </c:pt>
                <c:pt idx="1402">
                  <c:v>All Others</c:v>
                </c:pt>
                <c:pt idx="1403">
                  <c:v>All Others</c:v>
                </c:pt>
                <c:pt idx="1404">
                  <c:v>All Others</c:v>
                </c:pt>
                <c:pt idx="1405">
                  <c:v>All Others</c:v>
                </c:pt>
                <c:pt idx="1406">
                  <c:v>All Others</c:v>
                </c:pt>
                <c:pt idx="1407">
                  <c:v>All Others</c:v>
                </c:pt>
                <c:pt idx="1408">
                  <c:v>All Others</c:v>
                </c:pt>
                <c:pt idx="1409">
                  <c:v>All Others</c:v>
                </c:pt>
                <c:pt idx="1410">
                  <c:v>All Others</c:v>
                </c:pt>
                <c:pt idx="1411">
                  <c:v>All Others</c:v>
                </c:pt>
                <c:pt idx="1412">
                  <c:v>All Others</c:v>
                </c:pt>
                <c:pt idx="1413">
                  <c:v>All Others</c:v>
                </c:pt>
                <c:pt idx="1414">
                  <c:v>Private Lab</c:v>
                </c:pt>
                <c:pt idx="1415">
                  <c:v>All Others</c:v>
                </c:pt>
                <c:pt idx="1416">
                  <c:v>All Others</c:v>
                </c:pt>
                <c:pt idx="1417">
                  <c:v>All Others</c:v>
                </c:pt>
                <c:pt idx="1418">
                  <c:v>All Others</c:v>
                </c:pt>
                <c:pt idx="1419">
                  <c:v>All Others</c:v>
                </c:pt>
                <c:pt idx="1420">
                  <c:v>Private Lab</c:v>
                </c:pt>
                <c:pt idx="1421">
                  <c:v>All Others</c:v>
                </c:pt>
                <c:pt idx="1422">
                  <c:v>Eurial Autr</c:v>
                </c:pt>
                <c:pt idx="1423">
                  <c:v>All Others</c:v>
                </c:pt>
                <c:pt idx="1424">
                  <c:v>All Others</c:v>
                </c:pt>
                <c:pt idx="1425">
                  <c:v>All Others</c:v>
                </c:pt>
                <c:pt idx="1426">
                  <c:v>All Others</c:v>
                </c:pt>
                <c:pt idx="1427">
                  <c:v>All Others</c:v>
                </c:pt>
                <c:pt idx="1428">
                  <c:v>All Others</c:v>
                </c:pt>
                <c:pt idx="1429">
                  <c:v>All Others</c:v>
                </c:pt>
                <c:pt idx="1430">
                  <c:v>All Others</c:v>
                </c:pt>
                <c:pt idx="1431">
                  <c:v>All Others</c:v>
                </c:pt>
                <c:pt idx="1432">
                  <c:v>All Others</c:v>
                </c:pt>
                <c:pt idx="1433">
                  <c:v>All Others</c:v>
                </c:pt>
                <c:pt idx="1434">
                  <c:v>All Others</c:v>
                </c:pt>
                <c:pt idx="1435">
                  <c:v>All Others</c:v>
                </c:pt>
                <c:pt idx="1436">
                  <c:v>All Others</c:v>
                </c:pt>
                <c:pt idx="1437">
                  <c:v>All Others</c:v>
                </c:pt>
                <c:pt idx="1438">
                  <c:v>All Others</c:v>
                </c:pt>
                <c:pt idx="1439">
                  <c:v>All Others</c:v>
                </c:pt>
                <c:pt idx="1440">
                  <c:v>Galbani</c:v>
                </c:pt>
                <c:pt idx="1441">
                  <c:v>All Others</c:v>
                </c:pt>
                <c:pt idx="1442">
                  <c:v>All Others</c:v>
                </c:pt>
                <c:pt idx="1443">
                  <c:v>All Others</c:v>
                </c:pt>
                <c:pt idx="1444">
                  <c:v>All Others</c:v>
                </c:pt>
                <c:pt idx="1445">
                  <c:v>All Others</c:v>
                </c:pt>
                <c:pt idx="1446">
                  <c:v>All Others</c:v>
                </c:pt>
                <c:pt idx="1447">
                  <c:v>All Others</c:v>
                </c:pt>
                <c:pt idx="1448">
                  <c:v>All Others</c:v>
                </c:pt>
                <c:pt idx="1449">
                  <c:v>All Others</c:v>
                </c:pt>
                <c:pt idx="1450">
                  <c:v>All Others</c:v>
                </c:pt>
                <c:pt idx="1451">
                  <c:v>All Others</c:v>
                </c:pt>
                <c:pt idx="1452">
                  <c:v>All Others</c:v>
                </c:pt>
                <c:pt idx="1453">
                  <c:v>All Others</c:v>
                </c:pt>
                <c:pt idx="1454">
                  <c:v>All Others</c:v>
                </c:pt>
                <c:pt idx="1455">
                  <c:v>All Others</c:v>
                </c:pt>
                <c:pt idx="1456">
                  <c:v>All Others</c:v>
                </c:pt>
                <c:pt idx="1457">
                  <c:v>All Others</c:v>
                </c:pt>
                <c:pt idx="1458">
                  <c:v>All Others</c:v>
                </c:pt>
                <c:pt idx="1459">
                  <c:v>All Others</c:v>
                </c:pt>
                <c:pt idx="1460">
                  <c:v>All Others</c:v>
                </c:pt>
                <c:pt idx="1461">
                  <c:v>Private Lab</c:v>
                </c:pt>
                <c:pt idx="1462">
                  <c:v>All Others</c:v>
                </c:pt>
                <c:pt idx="1463">
                  <c:v>All Others</c:v>
                </c:pt>
                <c:pt idx="1464">
                  <c:v>All Others</c:v>
                </c:pt>
                <c:pt idx="1465">
                  <c:v>Eurial Autr</c:v>
                </c:pt>
                <c:pt idx="1466">
                  <c:v>All Others</c:v>
                </c:pt>
                <c:pt idx="1467">
                  <c:v>All Others</c:v>
                </c:pt>
                <c:pt idx="1468">
                  <c:v>All Others</c:v>
                </c:pt>
                <c:pt idx="1469">
                  <c:v>All Others</c:v>
                </c:pt>
                <c:pt idx="1470">
                  <c:v>All Others</c:v>
                </c:pt>
                <c:pt idx="1471">
                  <c:v>Private Lab</c:v>
                </c:pt>
                <c:pt idx="1472">
                  <c:v>All Others</c:v>
                </c:pt>
                <c:pt idx="1473">
                  <c:v>All Others</c:v>
                </c:pt>
                <c:pt idx="1474">
                  <c:v>All Others</c:v>
                </c:pt>
                <c:pt idx="1475">
                  <c:v>All Others</c:v>
                </c:pt>
                <c:pt idx="1476">
                  <c:v>All Others</c:v>
                </c:pt>
                <c:pt idx="1477">
                  <c:v>All Others</c:v>
                </c:pt>
                <c:pt idx="1478">
                  <c:v>All Others</c:v>
                </c:pt>
                <c:pt idx="1479">
                  <c:v>All Others</c:v>
                </c:pt>
                <c:pt idx="1480">
                  <c:v>All Others</c:v>
                </c:pt>
                <c:pt idx="1481">
                  <c:v>All Others</c:v>
                </c:pt>
                <c:pt idx="1482">
                  <c:v>Private Lab</c:v>
                </c:pt>
                <c:pt idx="1483">
                  <c:v>All Others</c:v>
                </c:pt>
                <c:pt idx="1484">
                  <c:v>All Others</c:v>
                </c:pt>
                <c:pt idx="1485">
                  <c:v>All Others</c:v>
                </c:pt>
                <c:pt idx="1486">
                  <c:v>All Others</c:v>
                </c:pt>
                <c:pt idx="1487">
                  <c:v>All Others</c:v>
                </c:pt>
                <c:pt idx="1488">
                  <c:v>All Others</c:v>
                </c:pt>
                <c:pt idx="1489">
                  <c:v>Savencia: A</c:v>
                </c:pt>
                <c:pt idx="1490">
                  <c:v>All Others</c:v>
                </c:pt>
                <c:pt idx="1491">
                  <c:v>All Others</c:v>
                </c:pt>
                <c:pt idx="1492">
                  <c:v>All Others</c:v>
                </c:pt>
                <c:pt idx="1493">
                  <c:v>All Others</c:v>
                </c:pt>
                <c:pt idx="1494">
                  <c:v>Limiano</c:v>
                </c:pt>
                <c:pt idx="1495">
                  <c:v>All Others</c:v>
                </c:pt>
                <c:pt idx="1496">
                  <c:v>All Others</c:v>
                </c:pt>
                <c:pt idx="1497">
                  <c:v>Private Lab</c:v>
                </c:pt>
                <c:pt idx="1498">
                  <c:v>All Others</c:v>
                </c:pt>
                <c:pt idx="1499">
                  <c:v>Private Lab</c:v>
                </c:pt>
                <c:pt idx="1500">
                  <c:v>All Others</c:v>
                </c:pt>
                <c:pt idx="1501">
                  <c:v>All Others</c:v>
                </c:pt>
                <c:pt idx="1502">
                  <c:v>All Others</c:v>
                </c:pt>
                <c:pt idx="1503">
                  <c:v>All Others</c:v>
                </c:pt>
                <c:pt idx="1504">
                  <c:v>All Others</c:v>
                </c:pt>
                <c:pt idx="1505">
                  <c:v>All Others</c:v>
                </c:pt>
                <c:pt idx="1506">
                  <c:v>All Others</c:v>
                </c:pt>
                <c:pt idx="1507">
                  <c:v>All Others</c:v>
                </c:pt>
                <c:pt idx="1508">
                  <c:v>All Others</c:v>
                </c:pt>
                <c:pt idx="1509">
                  <c:v>All Others</c:v>
                </c:pt>
                <c:pt idx="1510">
                  <c:v>All Others</c:v>
                </c:pt>
                <c:pt idx="1511">
                  <c:v>All Others</c:v>
                </c:pt>
                <c:pt idx="1512">
                  <c:v>Salakis</c:v>
                </c:pt>
                <c:pt idx="1513">
                  <c:v>Societe</c:v>
                </c:pt>
                <c:pt idx="1514">
                  <c:v>All Others</c:v>
                </c:pt>
                <c:pt idx="1515">
                  <c:v>All Others</c:v>
                </c:pt>
                <c:pt idx="1516">
                  <c:v>All Others</c:v>
                </c:pt>
                <c:pt idx="1517">
                  <c:v>All Others</c:v>
                </c:pt>
                <c:pt idx="1518">
                  <c:v>All Others</c:v>
                </c:pt>
                <c:pt idx="1519">
                  <c:v>All Others</c:v>
                </c:pt>
                <c:pt idx="1520">
                  <c:v>All Others</c:v>
                </c:pt>
                <c:pt idx="1521">
                  <c:v>All Others</c:v>
                </c:pt>
                <c:pt idx="1522">
                  <c:v>All Others</c:v>
                </c:pt>
                <c:pt idx="1523">
                  <c:v>All Others</c:v>
                </c:pt>
                <c:pt idx="1524">
                  <c:v>All Others</c:v>
                </c:pt>
                <c:pt idx="1525">
                  <c:v>All Others</c:v>
                </c:pt>
                <c:pt idx="1526">
                  <c:v>All Others</c:v>
                </c:pt>
                <c:pt idx="1527">
                  <c:v>All Others</c:v>
                </c:pt>
                <c:pt idx="1528">
                  <c:v>All Others</c:v>
                </c:pt>
                <c:pt idx="1529">
                  <c:v>All Others</c:v>
                </c:pt>
                <c:pt idx="1530">
                  <c:v>All Others</c:v>
                </c:pt>
                <c:pt idx="1531">
                  <c:v>All Others</c:v>
                </c:pt>
                <c:pt idx="1532">
                  <c:v>All Others</c:v>
                </c:pt>
                <c:pt idx="1533">
                  <c:v>All Others</c:v>
                </c:pt>
                <c:pt idx="1534">
                  <c:v>All Others</c:v>
                </c:pt>
                <c:pt idx="1535">
                  <c:v>Private Lab</c:v>
                </c:pt>
                <c:pt idx="1536">
                  <c:v>All Others</c:v>
                </c:pt>
                <c:pt idx="1537">
                  <c:v>All Others</c:v>
                </c:pt>
                <c:pt idx="1538">
                  <c:v>All Others</c:v>
                </c:pt>
                <c:pt idx="1539">
                  <c:v>All Others</c:v>
                </c:pt>
                <c:pt idx="1540">
                  <c:v>All Others</c:v>
                </c:pt>
                <c:pt idx="1541">
                  <c:v>All Others</c:v>
                </c:pt>
                <c:pt idx="1542">
                  <c:v>Private Lab</c:v>
                </c:pt>
                <c:pt idx="1543">
                  <c:v>All Others</c:v>
                </c:pt>
                <c:pt idx="1544">
                  <c:v>All Others</c:v>
                </c:pt>
                <c:pt idx="1545">
                  <c:v>All Others</c:v>
                </c:pt>
                <c:pt idx="1546">
                  <c:v>All Others</c:v>
                </c:pt>
                <c:pt idx="1547">
                  <c:v>All Others</c:v>
                </c:pt>
                <c:pt idx="1548">
                  <c:v>All Others</c:v>
                </c:pt>
                <c:pt idx="1549">
                  <c:v>All Others</c:v>
                </c:pt>
                <c:pt idx="1550">
                  <c:v>All Others</c:v>
                </c:pt>
                <c:pt idx="1551">
                  <c:v>All Others</c:v>
                </c:pt>
                <c:pt idx="1552">
                  <c:v>All Others</c:v>
                </c:pt>
                <c:pt idx="1553">
                  <c:v>All Others</c:v>
                </c:pt>
                <c:pt idx="1554">
                  <c:v>All Others</c:v>
                </c:pt>
                <c:pt idx="1555">
                  <c:v>All Others</c:v>
                </c:pt>
                <c:pt idx="1556">
                  <c:v>All Others</c:v>
                </c:pt>
                <c:pt idx="1557">
                  <c:v>All Others</c:v>
                </c:pt>
                <c:pt idx="1558">
                  <c:v>All Others</c:v>
                </c:pt>
                <c:pt idx="1559">
                  <c:v>All Others</c:v>
                </c:pt>
                <c:pt idx="1560">
                  <c:v>All Others</c:v>
                </c:pt>
                <c:pt idx="1561">
                  <c:v>All Others</c:v>
                </c:pt>
                <c:pt idx="1562">
                  <c:v>All Others</c:v>
                </c:pt>
                <c:pt idx="1563">
                  <c:v>All Others</c:v>
                </c:pt>
                <c:pt idx="1564">
                  <c:v>All Others</c:v>
                </c:pt>
                <c:pt idx="1565">
                  <c:v>All Others</c:v>
                </c:pt>
                <c:pt idx="1566">
                  <c:v>All Others</c:v>
                </c:pt>
                <c:pt idx="1567">
                  <c:v>All Others</c:v>
                </c:pt>
                <c:pt idx="1568">
                  <c:v>All Others</c:v>
                </c:pt>
                <c:pt idx="1569">
                  <c:v>All Others</c:v>
                </c:pt>
                <c:pt idx="1570">
                  <c:v>All Others</c:v>
                </c:pt>
                <c:pt idx="1571">
                  <c:v>All Others</c:v>
                </c:pt>
                <c:pt idx="1572">
                  <c:v>All Others</c:v>
                </c:pt>
                <c:pt idx="1573">
                  <c:v>All Others</c:v>
                </c:pt>
                <c:pt idx="1574">
                  <c:v>All Others</c:v>
                </c:pt>
                <c:pt idx="1575">
                  <c:v>All Others</c:v>
                </c:pt>
                <c:pt idx="1576">
                  <c:v>All Others</c:v>
                </c:pt>
                <c:pt idx="1577">
                  <c:v>All Others</c:v>
                </c:pt>
                <c:pt idx="1578">
                  <c:v>All Others</c:v>
                </c:pt>
                <c:pt idx="1579">
                  <c:v>All Others</c:v>
                </c:pt>
                <c:pt idx="1580">
                  <c:v>All Others</c:v>
                </c:pt>
                <c:pt idx="1581">
                  <c:v>All Others</c:v>
                </c:pt>
                <c:pt idx="1582">
                  <c:v>All Others</c:v>
                </c:pt>
                <c:pt idx="1583">
                  <c:v>All Others</c:v>
                </c:pt>
                <c:pt idx="1584">
                  <c:v>All Others</c:v>
                </c:pt>
                <c:pt idx="1585">
                  <c:v>All Others</c:v>
                </c:pt>
                <c:pt idx="1586">
                  <c:v>All Others</c:v>
                </c:pt>
                <c:pt idx="1587">
                  <c:v>All Others</c:v>
                </c:pt>
                <c:pt idx="1588">
                  <c:v>All Others</c:v>
                </c:pt>
                <c:pt idx="1589">
                  <c:v>All Others</c:v>
                </c:pt>
                <c:pt idx="1590">
                  <c:v>All Others</c:v>
                </c:pt>
                <c:pt idx="1591">
                  <c:v>All Others</c:v>
                </c:pt>
                <c:pt idx="1592">
                  <c:v>Private Lab</c:v>
                </c:pt>
                <c:pt idx="1593">
                  <c:v>All Others</c:v>
                </c:pt>
                <c:pt idx="1594">
                  <c:v>All Others</c:v>
                </c:pt>
                <c:pt idx="1595">
                  <c:v>All Others</c:v>
                </c:pt>
                <c:pt idx="1596">
                  <c:v>All Others</c:v>
                </c:pt>
                <c:pt idx="1597">
                  <c:v>All Others</c:v>
                </c:pt>
                <c:pt idx="1598">
                  <c:v>All Others</c:v>
                </c:pt>
                <c:pt idx="1599">
                  <c:v>All Others</c:v>
                </c:pt>
                <c:pt idx="1600">
                  <c:v>All Others</c:v>
                </c:pt>
                <c:pt idx="1601">
                  <c:v>All Others</c:v>
                </c:pt>
                <c:pt idx="1602">
                  <c:v>All Others</c:v>
                </c:pt>
                <c:pt idx="1603">
                  <c:v>All Others</c:v>
                </c:pt>
                <c:pt idx="1604">
                  <c:v>Private Lab</c:v>
                </c:pt>
                <c:pt idx="1605">
                  <c:v>All Others</c:v>
                </c:pt>
                <c:pt idx="1606">
                  <c:v>All Others</c:v>
                </c:pt>
                <c:pt idx="1607">
                  <c:v>All Others</c:v>
                </c:pt>
                <c:pt idx="1608">
                  <c:v>Private Lab</c:v>
                </c:pt>
                <c:pt idx="1609">
                  <c:v>All Others</c:v>
                </c:pt>
                <c:pt idx="1610">
                  <c:v>All Others</c:v>
                </c:pt>
                <c:pt idx="1611">
                  <c:v>All Others</c:v>
                </c:pt>
                <c:pt idx="1612">
                  <c:v>All Others</c:v>
                </c:pt>
                <c:pt idx="1613">
                  <c:v>All Others</c:v>
                </c:pt>
                <c:pt idx="1614">
                  <c:v>Milleret: A</c:v>
                </c:pt>
                <c:pt idx="1615">
                  <c:v>All Others</c:v>
                </c:pt>
                <c:pt idx="1616">
                  <c:v>All Others</c:v>
                </c:pt>
                <c:pt idx="1617">
                  <c:v>All Others</c:v>
                </c:pt>
                <c:pt idx="1618">
                  <c:v>All Others</c:v>
                </c:pt>
                <c:pt idx="1619">
                  <c:v>Private Lab</c:v>
                </c:pt>
                <c:pt idx="1620">
                  <c:v>All Others</c:v>
                </c:pt>
                <c:pt idx="1621">
                  <c:v>All Others</c:v>
                </c:pt>
                <c:pt idx="1622">
                  <c:v>All Others</c:v>
                </c:pt>
                <c:pt idx="1623">
                  <c:v>All Others</c:v>
                </c:pt>
                <c:pt idx="1624">
                  <c:v>All Others</c:v>
                </c:pt>
                <c:pt idx="1625">
                  <c:v>All Others</c:v>
                </c:pt>
                <c:pt idx="1626">
                  <c:v>All Others</c:v>
                </c:pt>
                <c:pt idx="1627">
                  <c:v>All Others</c:v>
                </c:pt>
                <c:pt idx="1628">
                  <c:v>All Others</c:v>
                </c:pt>
                <c:pt idx="1629">
                  <c:v>All Others</c:v>
                </c:pt>
                <c:pt idx="1630">
                  <c:v>All Others</c:v>
                </c:pt>
                <c:pt idx="1631">
                  <c:v>All Others</c:v>
                </c:pt>
                <c:pt idx="1632">
                  <c:v>All Others</c:v>
                </c:pt>
                <c:pt idx="1633">
                  <c:v>Private Lab</c:v>
                </c:pt>
                <c:pt idx="1634">
                  <c:v>All Others</c:v>
                </c:pt>
                <c:pt idx="1635">
                  <c:v>All Others</c:v>
                </c:pt>
                <c:pt idx="1636">
                  <c:v>All Others</c:v>
                </c:pt>
                <c:pt idx="1637">
                  <c:v>All Others</c:v>
                </c:pt>
                <c:pt idx="1638">
                  <c:v>All Others</c:v>
                </c:pt>
                <c:pt idx="1639">
                  <c:v>All Others</c:v>
                </c:pt>
                <c:pt idx="1640">
                  <c:v>All Others</c:v>
                </c:pt>
                <c:pt idx="1641">
                  <c:v>Private Lab</c:v>
                </c:pt>
                <c:pt idx="1642">
                  <c:v>All Others</c:v>
                </c:pt>
                <c:pt idx="1643">
                  <c:v>All Others</c:v>
                </c:pt>
                <c:pt idx="1644">
                  <c:v>All Others</c:v>
                </c:pt>
                <c:pt idx="1645">
                  <c:v>Private Lab</c:v>
                </c:pt>
                <c:pt idx="1646">
                  <c:v>All Others</c:v>
                </c:pt>
                <c:pt idx="1647">
                  <c:v>All Others</c:v>
                </c:pt>
                <c:pt idx="1648">
                  <c:v>All Others</c:v>
                </c:pt>
                <c:pt idx="1649">
                  <c:v>All Others</c:v>
                </c:pt>
                <c:pt idx="1650">
                  <c:v>Lactalis: A</c:v>
                </c:pt>
                <c:pt idx="1651">
                  <c:v>Private Lab</c:v>
                </c:pt>
                <c:pt idx="1652">
                  <c:v>All Others</c:v>
                </c:pt>
                <c:pt idx="1653">
                  <c:v>Private Lab</c:v>
                </c:pt>
                <c:pt idx="1654">
                  <c:v>All Others</c:v>
                </c:pt>
                <c:pt idx="1655">
                  <c:v>All Others</c:v>
                </c:pt>
                <c:pt idx="1656">
                  <c:v>All Others</c:v>
                </c:pt>
                <c:pt idx="1657">
                  <c:v>All Others</c:v>
                </c:pt>
                <c:pt idx="1658">
                  <c:v>All Others</c:v>
                </c:pt>
                <c:pt idx="1659">
                  <c:v>All Others</c:v>
                </c:pt>
                <c:pt idx="1660">
                  <c:v>All Others</c:v>
                </c:pt>
                <c:pt idx="1661">
                  <c:v>All Others</c:v>
                </c:pt>
                <c:pt idx="1662">
                  <c:v>All Others</c:v>
                </c:pt>
                <c:pt idx="1663">
                  <c:v>All Others</c:v>
                </c:pt>
                <c:pt idx="1664">
                  <c:v>All Others</c:v>
                </c:pt>
                <c:pt idx="1665">
                  <c:v>All Others</c:v>
                </c:pt>
                <c:pt idx="1666">
                  <c:v>Ficello</c:v>
                </c:pt>
                <c:pt idx="1667">
                  <c:v>Mini Babybe</c:v>
                </c:pt>
                <c:pt idx="1668">
                  <c:v>Private Lab</c:v>
                </c:pt>
                <c:pt idx="1669">
                  <c:v>All Others</c:v>
                </c:pt>
                <c:pt idx="1670">
                  <c:v>All Others</c:v>
                </c:pt>
                <c:pt idx="1671">
                  <c:v>All Others</c:v>
                </c:pt>
                <c:pt idx="1672">
                  <c:v>All Others</c:v>
                </c:pt>
                <c:pt idx="1673">
                  <c:v>All Others</c:v>
                </c:pt>
                <c:pt idx="1674">
                  <c:v>All Others</c:v>
                </c:pt>
                <c:pt idx="1675">
                  <c:v>Savencia: A</c:v>
                </c:pt>
                <c:pt idx="1676">
                  <c:v>All Others</c:v>
                </c:pt>
                <c:pt idx="1677">
                  <c:v>All Others</c:v>
                </c:pt>
                <c:pt idx="1678">
                  <c:v>All Others</c:v>
                </c:pt>
                <c:pt idx="1679">
                  <c:v>All Others</c:v>
                </c:pt>
              </c:strCache>
            </c:strRef>
          </c:cat>
          <c:val>
            <c:numRef>
              <c:f>Sheet1!$B$2:$B$1681</c:f>
              <c:numCache>
                <c:formatCode>General</c:formatCode>
                <c:ptCount val="1680"/>
                <c:pt idx="0">
                  <c:v>0.909</c:v>
                </c:pt>
                <c:pt idx="1">
                  <c:v>0.375</c:v>
                </c:pt>
                <c:pt idx="2">
                  <c:v>0.827</c:v>
                </c:pt>
                <c:pt idx="3">
                  <c:v>0.964</c:v>
                </c:pt>
                <c:pt idx="4">
                  <c:v>0.988</c:v>
                </c:pt>
                <c:pt idx="5">
                  <c:v>0.988</c:v>
                </c:pt>
                <c:pt idx="6">
                  <c:v>0.992</c:v>
                </c:pt>
                <c:pt idx="7">
                  <c:v>1.0</c:v>
                </c:pt>
                <c:pt idx="8">
                  <c:v>0.868</c:v>
                </c:pt>
                <c:pt idx="9">
                  <c:v>0.99</c:v>
                </c:pt>
                <c:pt idx="10">
                  <c:v>0.977</c:v>
                </c:pt>
                <c:pt idx="11">
                  <c:v>0.953</c:v>
                </c:pt>
                <c:pt idx="12">
                  <c:v>0.99</c:v>
                </c:pt>
                <c:pt idx="13">
                  <c:v>0.914</c:v>
                </c:pt>
                <c:pt idx="14">
                  <c:v>0.991</c:v>
                </c:pt>
                <c:pt idx="15">
                  <c:v>0.898</c:v>
                </c:pt>
                <c:pt idx="16">
                  <c:v>0.981</c:v>
                </c:pt>
                <c:pt idx="17">
                  <c:v>0.992</c:v>
                </c:pt>
                <c:pt idx="18">
                  <c:v>0.778</c:v>
                </c:pt>
                <c:pt idx="19">
                  <c:v>0.974</c:v>
                </c:pt>
                <c:pt idx="20">
                  <c:v>0.924</c:v>
                </c:pt>
                <c:pt idx="21">
                  <c:v>0.903</c:v>
                </c:pt>
                <c:pt idx="22">
                  <c:v>0.94</c:v>
                </c:pt>
                <c:pt idx="23">
                  <c:v>0.852</c:v>
                </c:pt>
                <c:pt idx="24">
                  <c:v>0.977</c:v>
                </c:pt>
                <c:pt idx="25">
                  <c:v>0.859</c:v>
                </c:pt>
                <c:pt idx="26">
                  <c:v>0.99</c:v>
                </c:pt>
                <c:pt idx="27">
                  <c:v>0.959</c:v>
                </c:pt>
                <c:pt idx="28">
                  <c:v>0.835</c:v>
                </c:pt>
                <c:pt idx="29">
                  <c:v>0.998</c:v>
                </c:pt>
                <c:pt idx="30">
                  <c:v>0.83</c:v>
                </c:pt>
                <c:pt idx="31">
                  <c:v>0.837</c:v>
                </c:pt>
                <c:pt idx="32">
                  <c:v>0.981</c:v>
                </c:pt>
                <c:pt idx="33">
                  <c:v>0.995</c:v>
                </c:pt>
                <c:pt idx="34">
                  <c:v>0.834</c:v>
                </c:pt>
                <c:pt idx="35">
                  <c:v>0.874</c:v>
                </c:pt>
                <c:pt idx="36">
                  <c:v>0.921</c:v>
                </c:pt>
                <c:pt idx="37">
                  <c:v>0.825</c:v>
                </c:pt>
                <c:pt idx="38">
                  <c:v>0.968</c:v>
                </c:pt>
                <c:pt idx="39">
                  <c:v>0.958</c:v>
                </c:pt>
                <c:pt idx="40">
                  <c:v>0.915</c:v>
                </c:pt>
                <c:pt idx="41">
                  <c:v>0.84</c:v>
                </c:pt>
                <c:pt idx="42">
                  <c:v>0.949</c:v>
                </c:pt>
                <c:pt idx="43">
                  <c:v>0.98</c:v>
                </c:pt>
                <c:pt idx="44">
                  <c:v>0.98</c:v>
                </c:pt>
                <c:pt idx="45">
                  <c:v>0.914</c:v>
                </c:pt>
                <c:pt idx="46">
                  <c:v>0.794</c:v>
                </c:pt>
                <c:pt idx="47">
                  <c:v>0.99</c:v>
                </c:pt>
                <c:pt idx="48">
                  <c:v>0.946</c:v>
                </c:pt>
                <c:pt idx="49">
                  <c:v>0.829</c:v>
                </c:pt>
                <c:pt idx="50">
                  <c:v>0.903</c:v>
                </c:pt>
                <c:pt idx="51">
                  <c:v>0.786</c:v>
                </c:pt>
                <c:pt idx="52">
                  <c:v>0.91</c:v>
                </c:pt>
                <c:pt idx="53">
                  <c:v>0.825</c:v>
                </c:pt>
                <c:pt idx="54">
                  <c:v>0.846</c:v>
                </c:pt>
                <c:pt idx="55">
                  <c:v>0.807</c:v>
                </c:pt>
                <c:pt idx="56">
                  <c:v>0.902</c:v>
                </c:pt>
                <c:pt idx="57">
                  <c:v>0.825</c:v>
                </c:pt>
                <c:pt idx="58">
                  <c:v>0.923</c:v>
                </c:pt>
                <c:pt idx="59">
                  <c:v>0.928</c:v>
                </c:pt>
                <c:pt idx="60">
                  <c:v>0.941</c:v>
                </c:pt>
                <c:pt idx="61">
                  <c:v>0.92</c:v>
                </c:pt>
                <c:pt idx="62">
                  <c:v>0.97</c:v>
                </c:pt>
                <c:pt idx="63">
                  <c:v>0.859</c:v>
                </c:pt>
                <c:pt idx="64">
                  <c:v>0.801</c:v>
                </c:pt>
                <c:pt idx="65">
                  <c:v>0.87</c:v>
                </c:pt>
                <c:pt idx="66">
                  <c:v>0.944</c:v>
                </c:pt>
                <c:pt idx="67">
                  <c:v>0.832</c:v>
                </c:pt>
                <c:pt idx="68">
                  <c:v>0.854</c:v>
                </c:pt>
                <c:pt idx="69">
                  <c:v>0.956</c:v>
                </c:pt>
                <c:pt idx="70">
                  <c:v>0.933</c:v>
                </c:pt>
                <c:pt idx="71">
                  <c:v>0.997</c:v>
                </c:pt>
                <c:pt idx="72">
                  <c:v>0.879</c:v>
                </c:pt>
                <c:pt idx="73">
                  <c:v>0.903</c:v>
                </c:pt>
                <c:pt idx="74">
                  <c:v>0.928</c:v>
                </c:pt>
                <c:pt idx="75">
                  <c:v>0.921</c:v>
                </c:pt>
                <c:pt idx="76">
                  <c:v>0.817</c:v>
                </c:pt>
                <c:pt idx="77">
                  <c:v>0.895</c:v>
                </c:pt>
                <c:pt idx="78">
                  <c:v>0.944</c:v>
                </c:pt>
                <c:pt idx="79">
                  <c:v>0.824</c:v>
                </c:pt>
                <c:pt idx="80">
                  <c:v>0.894</c:v>
                </c:pt>
                <c:pt idx="81">
                  <c:v>0.828</c:v>
                </c:pt>
                <c:pt idx="82">
                  <c:v>0.932</c:v>
                </c:pt>
                <c:pt idx="83">
                  <c:v>0.771</c:v>
                </c:pt>
                <c:pt idx="84">
                  <c:v>0.833</c:v>
                </c:pt>
                <c:pt idx="85">
                  <c:v>0.85</c:v>
                </c:pt>
                <c:pt idx="86">
                  <c:v>0.962</c:v>
                </c:pt>
                <c:pt idx="87">
                  <c:v>0.828</c:v>
                </c:pt>
                <c:pt idx="88">
                  <c:v>0.76</c:v>
                </c:pt>
                <c:pt idx="89">
                  <c:v>0.821</c:v>
                </c:pt>
                <c:pt idx="90">
                  <c:v>0.896</c:v>
                </c:pt>
                <c:pt idx="91">
                  <c:v>0.848</c:v>
                </c:pt>
                <c:pt idx="92">
                  <c:v>0.95</c:v>
                </c:pt>
                <c:pt idx="93">
                  <c:v>0.914</c:v>
                </c:pt>
                <c:pt idx="94">
                  <c:v>0.732</c:v>
                </c:pt>
                <c:pt idx="95">
                  <c:v>0.631</c:v>
                </c:pt>
                <c:pt idx="96">
                  <c:v>0.772</c:v>
                </c:pt>
                <c:pt idx="97">
                  <c:v>0.908</c:v>
                </c:pt>
                <c:pt idx="98">
                  <c:v>0.782</c:v>
                </c:pt>
                <c:pt idx="99">
                  <c:v>0.841</c:v>
                </c:pt>
                <c:pt idx="100">
                  <c:v>0.832</c:v>
                </c:pt>
                <c:pt idx="101">
                  <c:v>0.604</c:v>
                </c:pt>
                <c:pt idx="102">
                  <c:v>0.82</c:v>
                </c:pt>
                <c:pt idx="103">
                  <c:v>0.953</c:v>
                </c:pt>
                <c:pt idx="104">
                  <c:v>0.885</c:v>
                </c:pt>
                <c:pt idx="105">
                  <c:v>0.993</c:v>
                </c:pt>
                <c:pt idx="106">
                  <c:v>0.918</c:v>
                </c:pt>
                <c:pt idx="107">
                  <c:v>0.894</c:v>
                </c:pt>
                <c:pt idx="108">
                  <c:v>0.694</c:v>
                </c:pt>
                <c:pt idx="109">
                  <c:v>0.809</c:v>
                </c:pt>
                <c:pt idx="110">
                  <c:v>0.808</c:v>
                </c:pt>
                <c:pt idx="111">
                  <c:v>0.737</c:v>
                </c:pt>
                <c:pt idx="112">
                  <c:v>0.885</c:v>
                </c:pt>
                <c:pt idx="113">
                  <c:v>0.815</c:v>
                </c:pt>
                <c:pt idx="114">
                  <c:v>0.844</c:v>
                </c:pt>
                <c:pt idx="115">
                  <c:v>0.745</c:v>
                </c:pt>
                <c:pt idx="116">
                  <c:v>0.868</c:v>
                </c:pt>
                <c:pt idx="117">
                  <c:v>0.992</c:v>
                </c:pt>
                <c:pt idx="118">
                  <c:v>0.82</c:v>
                </c:pt>
                <c:pt idx="119">
                  <c:v>0.725</c:v>
                </c:pt>
                <c:pt idx="120">
                  <c:v>0.805</c:v>
                </c:pt>
                <c:pt idx="121">
                  <c:v>0.778</c:v>
                </c:pt>
                <c:pt idx="122">
                  <c:v>0.792</c:v>
                </c:pt>
                <c:pt idx="123">
                  <c:v>0.78</c:v>
                </c:pt>
                <c:pt idx="124">
                  <c:v>0.786</c:v>
                </c:pt>
                <c:pt idx="125">
                  <c:v>0.732</c:v>
                </c:pt>
                <c:pt idx="126">
                  <c:v>0.756</c:v>
                </c:pt>
                <c:pt idx="127">
                  <c:v>0.808</c:v>
                </c:pt>
                <c:pt idx="128">
                  <c:v>0.913</c:v>
                </c:pt>
                <c:pt idx="129">
                  <c:v>0.76</c:v>
                </c:pt>
                <c:pt idx="130">
                  <c:v>0.757</c:v>
                </c:pt>
                <c:pt idx="131">
                  <c:v>0.859</c:v>
                </c:pt>
                <c:pt idx="132">
                  <c:v>0.716</c:v>
                </c:pt>
                <c:pt idx="133">
                  <c:v>0.809</c:v>
                </c:pt>
                <c:pt idx="134">
                  <c:v>0.76</c:v>
                </c:pt>
                <c:pt idx="135">
                  <c:v>0.696</c:v>
                </c:pt>
                <c:pt idx="136">
                  <c:v>0.767</c:v>
                </c:pt>
                <c:pt idx="137">
                  <c:v>0.788</c:v>
                </c:pt>
                <c:pt idx="138">
                  <c:v>0.801</c:v>
                </c:pt>
                <c:pt idx="139">
                  <c:v>0.696</c:v>
                </c:pt>
                <c:pt idx="140">
                  <c:v>0.858</c:v>
                </c:pt>
                <c:pt idx="141">
                  <c:v>0.821</c:v>
                </c:pt>
                <c:pt idx="142">
                  <c:v>0.766</c:v>
                </c:pt>
                <c:pt idx="143">
                  <c:v>0.867</c:v>
                </c:pt>
                <c:pt idx="144">
                  <c:v>0.651</c:v>
                </c:pt>
                <c:pt idx="145">
                  <c:v>0.812</c:v>
                </c:pt>
                <c:pt idx="146">
                  <c:v>0.553</c:v>
                </c:pt>
                <c:pt idx="147">
                  <c:v>0.697</c:v>
                </c:pt>
                <c:pt idx="148">
                  <c:v>0.858</c:v>
                </c:pt>
                <c:pt idx="149">
                  <c:v>0.443</c:v>
                </c:pt>
                <c:pt idx="150">
                  <c:v>0.962</c:v>
                </c:pt>
                <c:pt idx="151">
                  <c:v>0.767</c:v>
                </c:pt>
                <c:pt idx="152">
                  <c:v>0.764</c:v>
                </c:pt>
                <c:pt idx="153">
                  <c:v>0.821</c:v>
                </c:pt>
                <c:pt idx="154">
                  <c:v>0.656</c:v>
                </c:pt>
                <c:pt idx="155">
                  <c:v>0.723</c:v>
                </c:pt>
                <c:pt idx="156">
                  <c:v>0.816</c:v>
                </c:pt>
                <c:pt idx="157">
                  <c:v>0.83</c:v>
                </c:pt>
                <c:pt idx="158">
                  <c:v>0.771</c:v>
                </c:pt>
                <c:pt idx="159">
                  <c:v>0.781</c:v>
                </c:pt>
                <c:pt idx="160">
                  <c:v>0.898</c:v>
                </c:pt>
                <c:pt idx="161">
                  <c:v>0.866</c:v>
                </c:pt>
                <c:pt idx="162">
                  <c:v>0.726</c:v>
                </c:pt>
                <c:pt idx="163">
                  <c:v>0.657</c:v>
                </c:pt>
                <c:pt idx="164">
                  <c:v>0.958</c:v>
                </c:pt>
                <c:pt idx="165">
                  <c:v>0.66</c:v>
                </c:pt>
                <c:pt idx="166">
                  <c:v>0.764</c:v>
                </c:pt>
                <c:pt idx="167">
                  <c:v>0.787</c:v>
                </c:pt>
                <c:pt idx="168">
                  <c:v>0.651</c:v>
                </c:pt>
                <c:pt idx="169">
                  <c:v>0.64</c:v>
                </c:pt>
                <c:pt idx="170">
                  <c:v>0.736</c:v>
                </c:pt>
                <c:pt idx="171">
                  <c:v>0.76</c:v>
                </c:pt>
                <c:pt idx="172">
                  <c:v>0.705</c:v>
                </c:pt>
                <c:pt idx="173">
                  <c:v>0.002</c:v>
                </c:pt>
                <c:pt idx="174">
                  <c:v>0.656</c:v>
                </c:pt>
                <c:pt idx="175">
                  <c:v>0.7</c:v>
                </c:pt>
                <c:pt idx="176">
                  <c:v>0.403</c:v>
                </c:pt>
                <c:pt idx="177">
                  <c:v>0.602</c:v>
                </c:pt>
                <c:pt idx="178">
                  <c:v>0.751</c:v>
                </c:pt>
                <c:pt idx="179">
                  <c:v>0.867</c:v>
                </c:pt>
                <c:pt idx="180">
                  <c:v>0.712</c:v>
                </c:pt>
                <c:pt idx="181">
                  <c:v>0.887</c:v>
                </c:pt>
                <c:pt idx="182">
                  <c:v>0.623</c:v>
                </c:pt>
                <c:pt idx="183">
                  <c:v>0.688</c:v>
                </c:pt>
                <c:pt idx="184">
                  <c:v>0.816</c:v>
                </c:pt>
                <c:pt idx="185">
                  <c:v>0.949</c:v>
                </c:pt>
                <c:pt idx="186">
                  <c:v>0.683</c:v>
                </c:pt>
                <c:pt idx="187">
                  <c:v>0.396</c:v>
                </c:pt>
                <c:pt idx="188">
                  <c:v>0.774</c:v>
                </c:pt>
                <c:pt idx="189">
                  <c:v>0.663</c:v>
                </c:pt>
                <c:pt idx="190">
                  <c:v>0.456</c:v>
                </c:pt>
                <c:pt idx="191">
                  <c:v>0.603</c:v>
                </c:pt>
                <c:pt idx="192">
                  <c:v>0.606</c:v>
                </c:pt>
                <c:pt idx="193">
                  <c:v>0.619</c:v>
                </c:pt>
                <c:pt idx="194">
                  <c:v>0.681</c:v>
                </c:pt>
                <c:pt idx="195">
                  <c:v>0.782</c:v>
                </c:pt>
                <c:pt idx="196">
                  <c:v>0.793</c:v>
                </c:pt>
                <c:pt idx="197">
                  <c:v>0.437</c:v>
                </c:pt>
                <c:pt idx="198">
                  <c:v>0.789</c:v>
                </c:pt>
                <c:pt idx="199">
                  <c:v>0.779</c:v>
                </c:pt>
                <c:pt idx="200">
                  <c:v>0.753</c:v>
                </c:pt>
                <c:pt idx="201">
                  <c:v>0.626</c:v>
                </c:pt>
                <c:pt idx="202">
                  <c:v>0.86</c:v>
                </c:pt>
                <c:pt idx="203">
                  <c:v>0.652</c:v>
                </c:pt>
                <c:pt idx="204">
                  <c:v>0.447</c:v>
                </c:pt>
                <c:pt idx="205">
                  <c:v>0.655</c:v>
                </c:pt>
                <c:pt idx="206">
                  <c:v>0.805</c:v>
                </c:pt>
                <c:pt idx="207">
                  <c:v>0.774</c:v>
                </c:pt>
                <c:pt idx="208">
                  <c:v>0.669</c:v>
                </c:pt>
                <c:pt idx="209">
                  <c:v>0.74</c:v>
                </c:pt>
                <c:pt idx="210">
                  <c:v>0.812</c:v>
                </c:pt>
                <c:pt idx="211">
                  <c:v>0.411</c:v>
                </c:pt>
                <c:pt idx="212">
                  <c:v>0.636</c:v>
                </c:pt>
                <c:pt idx="213">
                  <c:v>0.665</c:v>
                </c:pt>
                <c:pt idx="214">
                  <c:v>0.618</c:v>
                </c:pt>
                <c:pt idx="215">
                  <c:v>0.692</c:v>
                </c:pt>
                <c:pt idx="216">
                  <c:v>0.672</c:v>
                </c:pt>
                <c:pt idx="217">
                  <c:v>0.456</c:v>
                </c:pt>
                <c:pt idx="218">
                  <c:v>0.452</c:v>
                </c:pt>
                <c:pt idx="219">
                  <c:v>0.679</c:v>
                </c:pt>
                <c:pt idx="220">
                  <c:v>0.36</c:v>
                </c:pt>
                <c:pt idx="221">
                  <c:v>0.494</c:v>
                </c:pt>
                <c:pt idx="222">
                  <c:v>0.55</c:v>
                </c:pt>
                <c:pt idx="223">
                  <c:v>0.434</c:v>
                </c:pt>
                <c:pt idx="224">
                  <c:v>0.608</c:v>
                </c:pt>
                <c:pt idx="225">
                  <c:v>0.633</c:v>
                </c:pt>
                <c:pt idx="226">
                  <c:v>0.651</c:v>
                </c:pt>
                <c:pt idx="227">
                  <c:v>0.393</c:v>
                </c:pt>
                <c:pt idx="228">
                  <c:v>0.03</c:v>
                </c:pt>
                <c:pt idx="229">
                  <c:v>0.632</c:v>
                </c:pt>
                <c:pt idx="230">
                  <c:v>0.77</c:v>
                </c:pt>
                <c:pt idx="231">
                  <c:v>0.663</c:v>
                </c:pt>
                <c:pt idx="232">
                  <c:v>0.643</c:v>
                </c:pt>
                <c:pt idx="233">
                  <c:v>0.683</c:v>
                </c:pt>
                <c:pt idx="234">
                  <c:v>0.618</c:v>
                </c:pt>
                <c:pt idx="235">
                  <c:v>0.698</c:v>
                </c:pt>
                <c:pt idx="236">
                  <c:v>0.186</c:v>
                </c:pt>
                <c:pt idx="237">
                  <c:v>0.302</c:v>
                </c:pt>
                <c:pt idx="238">
                  <c:v>0.63</c:v>
                </c:pt>
                <c:pt idx="239">
                  <c:v>0.798</c:v>
                </c:pt>
                <c:pt idx="240">
                  <c:v>0.425</c:v>
                </c:pt>
                <c:pt idx="241">
                  <c:v>0.817</c:v>
                </c:pt>
                <c:pt idx="242">
                  <c:v>0.434</c:v>
                </c:pt>
                <c:pt idx="243">
                  <c:v>0.694</c:v>
                </c:pt>
                <c:pt idx="244">
                  <c:v>0.594</c:v>
                </c:pt>
                <c:pt idx="245">
                  <c:v>0.752</c:v>
                </c:pt>
                <c:pt idx="246">
                  <c:v>0.853</c:v>
                </c:pt>
                <c:pt idx="247">
                  <c:v>0.494</c:v>
                </c:pt>
                <c:pt idx="248">
                  <c:v>0.713</c:v>
                </c:pt>
                <c:pt idx="249">
                  <c:v>0.64</c:v>
                </c:pt>
                <c:pt idx="250">
                  <c:v>0.354</c:v>
                </c:pt>
                <c:pt idx="251">
                  <c:v>0.727</c:v>
                </c:pt>
                <c:pt idx="252">
                  <c:v>0.696</c:v>
                </c:pt>
                <c:pt idx="253">
                  <c:v>0.599</c:v>
                </c:pt>
                <c:pt idx="254">
                  <c:v>0.402</c:v>
                </c:pt>
                <c:pt idx="255">
                  <c:v>0.463</c:v>
                </c:pt>
                <c:pt idx="256">
                  <c:v>0.577</c:v>
                </c:pt>
                <c:pt idx="257">
                  <c:v>0.689</c:v>
                </c:pt>
                <c:pt idx="258">
                  <c:v>0.483</c:v>
                </c:pt>
                <c:pt idx="259">
                  <c:v>0.589</c:v>
                </c:pt>
                <c:pt idx="260">
                  <c:v>0.534</c:v>
                </c:pt>
                <c:pt idx="261">
                  <c:v>0.569</c:v>
                </c:pt>
                <c:pt idx="262">
                  <c:v>0.426</c:v>
                </c:pt>
                <c:pt idx="263">
                  <c:v>0.318</c:v>
                </c:pt>
                <c:pt idx="264">
                  <c:v>0.687</c:v>
                </c:pt>
                <c:pt idx="265">
                  <c:v>0.726</c:v>
                </c:pt>
                <c:pt idx="266">
                  <c:v>0.526</c:v>
                </c:pt>
                <c:pt idx="267">
                  <c:v>0.495</c:v>
                </c:pt>
                <c:pt idx="268">
                  <c:v>0.75</c:v>
                </c:pt>
                <c:pt idx="269">
                  <c:v>0.672</c:v>
                </c:pt>
                <c:pt idx="270">
                  <c:v>0.272</c:v>
                </c:pt>
                <c:pt idx="271">
                  <c:v>0.736</c:v>
                </c:pt>
                <c:pt idx="272">
                  <c:v>0.574</c:v>
                </c:pt>
                <c:pt idx="273">
                  <c:v>0.731</c:v>
                </c:pt>
                <c:pt idx="274">
                  <c:v>0.438</c:v>
                </c:pt>
                <c:pt idx="275">
                  <c:v>0.587</c:v>
                </c:pt>
                <c:pt idx="276">
                  <c:v>0.433</c:v>
                </c:pt>
                <c:pt idx="277">
                  <c:v>0.593</c:v>
                </c:pt>
                <c:pt idx="278">
                  <c:v>0.577</c:v>
                </c:pt>
                <c:pt idx="279">
                  <c:v>0.456</c:v>
                </c:pt>
                <c:pt idx="280">
                  <c:v>0.801</c:v>
                </c:pt>
                <c:pt idx="281">
                  <c:v>0.434</c:v>
                </c:pt>
                <c:pt idx="282">
                  <c:v>0.643</c:v>
                </c:pt>
                <c:pt idx="283">
                  <c:v>0.676</c:v>
                </c:pt>
                <c:pt idx="284">
                  <c:v>0.644</c:v>
                </c:pt>
                <c:pt idx="285">
                  <c:v>0.612</c:v>
                </c:pt>
                <c:pt idx="286">
                  <c:v>0.429</c:v>
                </c:pt>
                <c:pt idx="287">
                  <c:v>0.621</c:v>
                </c:pt>
                <c:pt idx="288">
                  <c:v>0.841</c:v>
                </c:pt>
                <c:pt idx="289">
                  <c:v>0.72</c:v>
                </c:pt>
                <c:pt idx="290">
                  <c:v>0.804</c:v>
                </c:pt>
                <c:pt idx="291">
                  <c:v>0.327</c:v>
                </c:pt>
                <c:pt idx="292">
                  <c:v>0.437</c:v>
                </c:pt>
                <c:pt idx="293">
                  <c:v>0.329</c:v>
                </c:pt>
                <c:pt idx="294">
                  <c:v>0.502</c:v>
                </c:pt>
                <c:pt idx="295">
                  <c:v>0.508</c:v>
                </c:pt>
                <c:pt idx="296">
                  <c:v>0.748</c:v>
                </c:pt>
                <c:pt idx="297">
                  <c:v>0.546</c:v>
                </c:pt>
                <c:pt idx="298">
                  <c:v>0.652</c:v>
                </c:pt>
                <c:pt idx="299">
                  <c:v>0.587</c:v>
                </c:pt>
                <c:pt idx="300">
                  <c:v>0.603</c:v>
                </c:pt>
                <c:pt idx="301">
                  <c:v>0.436</c:v>
                </c:pt>
                <c:pt idx="302">
                  <c:v>0.596</c:v>
                </c:pt>
                <c:pt idx="303">
                  <c:v>0.606</c:v>
                </c:pt>
                <c:pt idx="304">
                  <c:v>0.697</c:v>
                </c:pt>
                <c:pt idx="305">
                  <c:v>0.535</c:v>
                </c:pt>
                <c:pt idx="306">
                  <c:v>0.526</c:v>
                </c:pt>
                <c:pt idx="307">
                  <c:v>0.603</c:v>
                </c:pt>
                <c:pt idx="308">
                  <c:v>0.623</c:v>
                </c:pt>
                <c:pt idx="309">
                  <c:v>0.434</c:v>
                </c:pt>
                <c:pt idx="310">
                  <c:v>0.537</c:v>
                </c:pt>
                <c:pt idx="311">
                  <c:v>0.642</c:v>
                </c:pt>
                <c:pt idx="312">
                  <c:v>0.632</c:v>
                </c:pt>
                <c:pt idx="313">
                  <c:v>0.383</c:v>
                </c:pt>
                <c:pt idx="314">
                  <c:v>0.751</c:v>
                </c:pt>
                <c:pt idx="315">
                  <c:v>0.596</c:v>
                </c:pt>
                <c:pt idx="316">
                  <c:v>0.408</c:v>
                </c:pt>
                <c:pt idx="317">
                  <c:v>0.466</c:v>
                </c:pt>
                <c:pt idx="318">
                  <c:v>0.354</c:v>
                </c:pt>
                <c:pt idx="319">
                  <c:v>0.42</c:v>
                </c:pt>
                <c:pt idx="320">
                  <c:v>0.745</c:v>
                </c:pt>
                <c:pt idx="321">
                  <c:v>0.411</c:v>
                </c:pt>
                <c:pt idx="322">
                  <c:v>0.579</c:v>
                </c:pt>
                <c:pt idx="323">
                  <c:v>0.497</c:v>
                </c:pt>
                <c:pt idx="324">
                  <c:v>0.424</c:v>
                </c:pt>
                <c:pt idx="325">
                  <c:v>0.603</c:v>
                </c:pt>
                <c:pt idx="326">
                  <c:v>0.724</c:v>
                </c:pt>
                <c:pt idx="327">
                  <c:v>0.284</c:v>
                </c:pt>
                <c:pt idx="328">
                  <c:v>0.044</c:v>
                </c:pt>
                <c:pt idx="329">
                  <c:v>0.106</c:v>
                </c:pt>
                <c:pt idx="330">
                  <c:v>0.1</c:v>
                </c:pt>
                <c:pt idx="331">
                  <c:v>0.573</c:v>
                </c:pt>
                <c:pt idx="332">
                  <c:v>0.424</c:v>
                </c:pt>
                <c:pt idx="333">
                  <c:v>0.51</c:v>
                </c:pt>
                <c:pt idx="334">
                  <c:v>0.778</c:v>
                </c:pt>
                <c:pt idx="335">
                  <c:v>0.197</c:v>
                </c:pt>
                <c:pt idx="336">
                  <c:v>0.699</c:v>
                </c:pt>
                <c:pt idx="337">
                  <c:v>0.399</c:v>
                </c:pt>
                <c:pt idx="338">
                  <c:v>0.368</c:v>
                </c:pt>
                <c:pt idx="339">
                  <c:v>0.068</c:v>
                </c:pt>
                <c:pt idx="340">
                  <c:v>0.121</c:v>
                </c:pt>
                <c:pt idx="341">
                  <c:v>0.514</c:v>
                </c:pt>
                <c:pt idx="342">
                  <c:v>0.293</c:v>
                </c:pt>
                <c:pt idx="343">
                  <c:v>0.568</c:v>
                </c:pt>
                <c:pt idx="344">
                  <c:v>0.523</c:v>
                </c:pt>
                <c:pt idx="345">
                  <c:v>0.291</c:v>
                </c:pt>
                <c:pt idx="346">
                  <c:v>0.443</c:v>
                </c:pt>
                <c:pt idx="347">
                  <c:v>0.552</c:v>
                </c:pt>
                <c:pt idx="348">
                  <c:v>0.618</c:v>
                </c:pt>
                <c:pt idx="349">
                  <c:v>0.127</c:v>
                </c:pt>
                <c:pt idx="350">
                  <c:v>0.447</c:v>
                </c:pt>
                <c:pt idx="351">
                  <c:v>0.557</c:v>
                </c:pt>
                <c:pt idx="352">
                  <c:v>0.118</c:v>
                </c:pt>
                <c:pt idx="353">
                  <c:v>0.743</c:v>
                </c:pt>
                <c:pt idx="354">
                  <c:v>0.609</c:v>
                </c:pt>
                <c:pt idx="355">
                  <c:v>0.013</c:v>
                </c:pt>
                <c:pt idx="356">
                  <c:v>0.426</c:v>
                </c:pt>
                <c:pt idx="357">
                  <c:v>0.274</c:v>
                </c:pt>
                <c:pt idx="358">
                  <c:v>0.597</c:v>
                </c:pt>
                <c:pt idx="359">
                  <c:v>0.151</c:v>
                </c:pt>
                <c:pt idx="360">
                  <c:v>0.65</c:v>
                </c:pt>
                <c:pt idx="361">
                  <c:v>0.293</c:v>
                </c:pt>
                <c:pt idx="362">
                  <c:v>0.668</c:v>
                </c:pt>
                <c:pt idx="363">
                  <c:v>0.086</c:v>
                </c:pt>
                <c:pt idx="364">
                  <c:v>0.296</c:v>
                </c:pt>
                <c:pt idx="365">
                  <c:v>0.546</c:v>
                </c:pt>
                <c:pt idx="366">
                  <c:v>0.399</c:v>
                </c:pt>
                <c:pt idx="367">
                  <c:v>0.726</c:v>
                </c:pt>
                <c:pt idx="368">
                  <c:v>0.042</c:v>
                </c:pt>
                <c:pt idx="369">
                  <c:v>0.443</c:v>
                </c:pt>
                <c:pt idx="370">
                  <c:v>0.438</c:v>
                </c:pt>
                <c:pt idx="371">
                  <c:v>0.707</c:v>
                </c:pt>
                <c:pt idx="372">
                  <c:v>0.483</c:v>
                </c:pt>
                <c:pt idx="373">
                  <c:v>0.231</c:v>
                </c:pt>
                <c:pt idx="374">
                  <c:v>0.174</c:v>
                </c:pt>
                <c:pt idx="375">
                  <c:v>0.506</c:v>
                </c:pt>
                <c:pt idx="376">
                  <c:v>0.224</c:v>
                </c:pt>
                <c:pt idx="377">
                  <c:v>0.347</c:v>
                </c:pt>
                <c:pt idx="378">
                  <c:v>0.424</c:v>
                </c:pt>
                <c:pt idx="379">
                  <c:v>0.472</c:v>
                </c:pt>
                <c:pt idx="380">
                  <c:v>0.324</c:v>
                </c:pt>
                <c:pt idx="381">
                  <c:v>0.423</c:v>
                </c:pt>
                <c:pt idx="382">
                  <c:v>0.504</c:v>
                </c:pt>
                <c:pt idx="383">
                  <c:v>0.322</c:v>
                </c:pt>
                <c:pt idx="384">
                  <c:v>0.482</c:v>
                </c:pt>
                <c:pt idx="385">
                  <c:v>0.641</c:v>
                </c:pt>
                <c:pt idx="386">
                  <c:v>0.697</c:v>
                </c:pt>
                <c:pt idx="387">
                  <c:v>0.463</c:v>
                </c:pt>
                <c:pt idx="388">
                  <c:v>0.645</c:v>
                </c:pt>
                <c:pt idx="389">
                  <c:v>0.463</c:v>
                </c:pt>
                <c:pt idx="390">
                  <c:v>0.241</c:v>
                </c:pt>
                <c:pt idx="391">
                  <c:v>0.191</c:v>
                </c:pt>
                <c:pt idx="392">
                  <c:v>0.495</c:v>
                </c:pt>
                <c:pt idx="393">
                  <c:v>0.03</c:v>
                </c:pt>
                <c:pt idx="394">
                  <c:v>0.273</c:v>
                </c:pt>
                <c:pt idx="395">
                  <c:v>0.105</c:v>
                </c:pt>
                <c:pt idx="396">
                  <c:v>0.453</c:v>
                </c:pt>
                <c:pt idx="397">
                  <c:v>0.447</c:v>
                </c:pt>
                <c:pt idx="398">
                  <c:v>0.684</c:v>
                </c:pt>
                <c:pt idx="399">
                  <c:v>0.452</c:v>
                </c:pt>
                <c:pt idx="400">
                  <c:v>0.688</c:v>
                </c:pt>
                <c:pt idx="401">
                  <c:v>0.041</c:v>
                </c:pt>
                <c:pt idx="402">
                  <c:v>0.456</c:v>
                </c:pt>
                <c:pt idx="403">
                  <c:v>0.553</c:v>
                </c:pt>
                <c:pt idx="404">
                  <c:v>0.343</c:v>
                </c:pt>
                <c:pt idx="405">
                  <c:v>0.429</c:v>
                </c:pt>
                <c:pt idx="406">
                  <c:v>0.647</c:v>
                </c:pt>
                <c:pt idx="407">
                  <c:v>0.333</c:v>
                </c:pt>
                <c:pt idx="408">
                  <c:v>0.47</c:v>
                </c:pt>
                <c:pt idx="409">
                  <c:v>0.369</c:v>
                </c:pt>
                <c:pt idx="410">
                  <c:v>0.212</c:v>
                </c:pt>
                <c:pt idx="411">
                  <c:v>0.634</c:v>
                </c:pt>
                <c:pt idx="412">
                  <c:v>0.738</c:v>
                </c:pt>
                <c:pt idx="413">
                  <c:v>0.155</c:v>
                </c:pt>
                <c:pt idx="414">
                  <c:v>0.265</c:v>
                </c:pt>
                <c:pt idx="415">
                  <c:v>0.484</c:v>
                </c:pt>
                <c:pt idx="416">
                  <c:v>0.362</c:v>
                </c:pt>
                <c:pt idx="417">
                  <c:v>0.372</c:v>
                </c:pt>
                <c:pt idx="418">
                  <c:v>0.016</c:v>
                </c:pt>
                <c:pt idx="419">
                  <c:v>0.19</c:v>
                </c:pt>
                <c:pt idx="420">
                  <c:v>0.105</c:v>
                </c:pt>
                <c:pt idx="421">
                  <c:v>0.324</c:v>
                </c:pt>
                <c:pt idx="422">
                  <c:v>0.556</c:v>
                </c:pt>
                <c:pt idx="423">
                  <c:v>0.269</c:v>
                </c:pt>
                <c:pt idx="424">
                  <c:v>0.698</c:v>
                </c:pt>
                <c:pt idx="425">
                  <c:v>0.333</c:v>
                </c:pt>
                <c:pt idx="426">
                  <c:v>0.328</c:v>
                </c:pt>
                <c:pt idx="427">
                  <c:v>0.543</c:v>
                </c:pt>
                <c:pt idx="428">
                  <c:v>0.474</c:v>
                </c:pt>
                <c:pt idx="429">
                  <c:v>0.24</c:v>
                </c:pt>
                <c:pt idx="430">
                  <c:v>0.194</c:v>
                </c:pt>
                <c:pt idx="431">
                  <c:v>0.23</c:v>
                </c:pt>
                <c:pt idx="432">
                  <c:v>0.716</c:v>
                </c:pt>
                <c:pt idx="433">
                  <c:v>0.456</c:v>
                </c:pt>
                <c:pt idx="434">
                  <c:v>0.245</c:v>
                </c:pt>
                <c:pt idx="435">
                  <c:v>0.351</c:v>
                </c:pt>
                <c:pt idx="436">
                  <c:v>0.285</c:v>
                </c:pt>
                <c:pt idx="437">
                  <c:v>0.008</c:v>
                </c:pt>
                <c:pt idx="438">
                  <c:v>0.455</c:v>
                </c:pt>
                <c:pt idx="439">
                  <c:v>0.451</c:v>
                </c:pt>
                <c:pt idx="440">
                  <c:v>0.01</c:v>
                </c:pt>
                <c:pt idx="441">
                  <c:v>0.103</c:v>
                </c:pt>
                <c:pt idx="442">
                  <c:v>0.401</c:v>
                </c:pt>
                <c:pt idx="443">
                  <c:v>0.338</c:v>
                </c:pt>
                <c:pt idx="444">
                  <c:v>0.103</c:v>
                </c:pt>
                <c:pt idx="445">
                  <c:v>0.008</c:v>
                </c:pt>
                <c:pt idx="446">
                  <c:v>0.004</c:v>
                </c:pt>
                <c:pt idx="447">
                  <c:v>0.057</c:v>
                </c:pt>
                <c:pt idx="448">
                  <c:v>0.206</c:v>
                </c:pt>
                <c:pt idx="449">
                  <c:v>0.47</c:v>
                </c:pt>
                <c:pt idx="450">
                  <c:v>0.017</c:v>
                </c:pt>
                <c:pt idx="451">
                  <c:v>0.022</c:v>
                </c:pt>
                <c:pt idx="452">
                  <c:v>0.17</c:v>
                </c:pt>
                <c:pt idx="453">
                  <c:v>0.29</c:v>
                </c:pt>
                <c:pt idx="454">
                  <c:v>0.119</c:v>
                </c:pt>
                <c:pt idx="455">
                  <c:v>0.679</c:v>
                </c:pt>
                <c:pt idx="456">
                  <c:v>0.182</c:v>
                </c:pt>
                <c:pt idx="457">
                  <c:v>0.63</c:v>
                </c:pt>
                <c:pt idx="458">
                  <c:v>0.167</c:v>
                </c:pt>
                <c:pt idx="459">
                  <c:v>0.537</c:v>
                </c:pt>
                <c:pt idx="460">
                  <c:v>0.353</c:v>
                </c:pt>
                <c:pt idx="461">
                  <c:v>0.575</c:v>
                </c:pt>
                <c:pt idx="462">
                  <c:v>0.406</c:v>
                </c:pt>
                <c:pt idx="463">
                  <c:v>0.266</c:v>
                </c:pt>
                <c:pt idx="464">
                  <c:v>0.374</c:v>
                </c:pt>
                <c:pt idx="465">
                  <c:v>0.251</c:v>
                </c:pt>
                <c:pt idx="466">
                  <c:v>0.373</c:v>
                </c:pt>
                <c:pt idx="467">
                  <c:v>0.294</c:v>
                </c:pt>
                <c:pt idx="468">
                  <c:v>0.361</c:v>
                </c:pt>
                <c:pt idx="469">
                  <c:v>0.024</c:v>
                </c:pt>
                <c:pt idx="470">
                  <c:v>0.031</c:v>
                </c:pt>
                <c:pt idx="471">
                  <c:v>0.294</c:v>
                </c:pt>
                <c:pt idx="472">
                  <c:v>0.17</c:v>
                </c:pt>
                <c:pt idx="473">
                  <c:v>0.214</c:v>
                </c:pt>
                <c:pt idx="474">
                  <c:v>0.008</c:v>
                </c:pt>
                <c:pt idx="475">
                  <c:v>0.368</c:v>
                </c:pt>
                <c:pt idx="476">
                  <c:v>0.64</c:v>
                </c:pt>
                <c:pt idx="477">
                  <c:v>0.461</c:v>
                </c:pt>
                <c:pt idx="478">
                  <c:v>0.402</c:v>
                </c:pt>
                <c:pt idx="479">
                  <c:v>0.049</c:v>
                </c:pt>
                <c:pt idx="480">
                  <c:v>0.319</c:v>
                </c:pt>
                <c:pt idx="481">
                  <c:v>0.077</c:v>
                </c:pt>
                <c:pt idx="482">
                  <c:v>0.005</c:v>
                </c:pt>
                <c:pt idx="483">
                  <c:v>0.578</c:v>
                </c:pt>
                <c:pt idx="484">
                  <c:v>0.008</c:v>
                </c:pt>
                <c:pt idx="485">
                  <c:v>0.322</c:v>
                </c:pt>
                <c:pt idx="486">
                  <c:v>0.087</c:v>
                </c:pt>
                <c:pt idx="487">
                  <c:v>0.163</c:v>
                </c:pt>
                <c:pt idx="488">
                  <c:v>0.523</c:v>
                </c:pt>
                <c:pt idx="489">
                  <c:v>0.382</c:v>
                </c:pt>
                <c:pt idx="490">
                  <c:v>0.388</c:v>
                </c:pt>
                <c:pt idx="491">
                  <c:v>0.094</c:v>
                </c:pt>
                <c:pt idx="492">
                  <c:v>0.009</c:v>
                </c:pt>
                <c:pt idx="493">
                  <c:v>0.017</c:v>
                </c:pt>
                <c:pt idx="494">
                  <c:v>0.495</c:v>
                </c:pt>
                <c:pt idx="495">
                  <c:v>0.306</c:v>
                </c:pt>
                <c:pt idx="496">
                  <c:v>0.388</c:v>
                </c:pt>
                <c:pt idx="497">
                  <c:v>0.008</c:v>
                </c:pt>
                <c:pt idx="498">
                  <c:v>0.385</c:v>
                </c:pt>
                <c:pt idx="499">
                  <c:v>0.346</c:v>
                </c:pt>
                <c:pt idx="500">
                  <c:v>0.166</c:v>
                </c:pt>
                <c:pt idx="501">
                  <c:v>0.376</c:v>
                </c:pt>
                <c:pt idx="502">
                  <c:v>0.005</c:v>
                </c:pt>
                <c:pt idx="503">
                  <c:v>0.012</c:v>
                </c:pt>
                <c:pt idx="504">
                  <c:v>0.17</c:v>
                </c:pt>
                <c:pt idx="505">
                  <c:v>0.036</c:v>
                </c:pt>
                <c:pt idx="506">
                  <c:v>0.164</c:v>
                </c:pt>
                <c:pt idx="507">
                  <c:v>0.129</c:v>
                </c:pt>
                <c:pt idx="508">
                  <c:v>0.5</c:v>
                </c:pt>
                <c:pt idx="509">
                  <c:v>0.012</c:v>
                </c:pt>
                <c:pt idx="510">
                  <c:v>0.091</c:v>
                </c:pt>
                <c:pt idx="511">
                  <c:v>0.047</c:v>
                </c:pt>
                <c:pt idx="512">
                  <c:v>0.559</c:v>
                </c:pt>
                <c:pt idx="513">
                  <c:v>0.57</c:v>
                </c:pt>
                <c:pt idx="514">
                  <c:v>0.36</c:v>
                </c:pt>
                <c:pt idx="515">
                  <c:v>0.415</c:v>
                </c:pt>
                <c:pt idx="516">
                  <c:v>0.017</c:v>
                </c:pt>
                <c:pt idx="517">
                  <c:v>0.448</c:v>
                </c:pt>
                <c:pt idx="518">
                  <c:v>0.15</c:v>
                </c:pt>
                <c:pt idx="519">
                  <c:v>0.011</c:v>
                </c:pt>
                <c:pt idx="520">
                  <c:v>0.406</c:v>
                </c:pt>
                <c:pt idx="521">
                  <c:v>0.037</c:v>
                </c:pt>
                <c:pt idx="522">
                  <c:v>0.694</c:v>
                </c:pt>
                <c:pt idx="523">
                  <c:v>0.074</c:v>
                </c:pt>
                <c:pt idx="524">
                  <c:v>0.059</c:v>
                </c:pt>
                <c:pt idx="525">
                  <c:v>0.243</c:v>
                </c:pt>
                <c:pt idx="526">
                  <c:v>0.043</c:v>
                </c:pt>
                <c:pt idx="527">
                  <c:v>0.084</c:v>
                </c:pt>
                <c:pt idx="528">
                  <c:v>0.179</c:v>
                </c:pt>
                <c:pt idx="529">
                  <c:v>0.187</c:v>
                </c:pt>
                <c:pt idx="530">
                  <c:v>0.044</c:v>
                </c:pt>
                <c:pt idx="531">
                  <c:v>0.361</c:v>
                </c:pt>
                <c:pt idx="532">
                  <c:v>0.281</c:v>
                </c:pt>
                <c:pt idx="533">
                  <c:v>0.268</c:v>
                </c:pt>
                <c:pt idx="534">
                  <c:v>0.114</c:v>
                </c:pt>
                <c:pt idx="535">
                  <c:v>0.251</c:v>
                </c:pt>
                <c:pt idx="536">
                  <c:v>0.041</c:v>
                </c:pt>
                <c:pt idx="537">
                  <c:v>0.191</c:v>
                </c:pt>
                <c:pt idx="538">
                  <c:v>0.041</c:v>
                </c:pt>
                <c:pt idx="539">
                  <c:v>0.092</c:v>
                </c:pt>
                <c:pt idx="540">
                  <c:v>0.329</c:v>
                </c:pt>
                <c:pt idx="541">
                  <c:v>0.115</c:v>
                </c:pt>
                <c:pt idx="542">
                  <c:v>0.092</c:v>
                </c:pt>
                <c:pt idx="543">
                  <c:v>0.52</c:v>
                </c:pt>
                <c:pt idx="544">
                  <c:v>0.043</c:v>
                </c:pt>
                <c:pt idx="545">
                  <c:v>0.146</c:v>
                </c:pt>
                <c:pt idx="546">
                  <c:v>0.186</c:v>
                </c:pt>
                <c:pt idx="547">
                  <c:v>0.035</c:v>
                </c:pt>
                <c:pt idx="548">
                  <c:v>0.073</c:v>
                </c:pt>
                <c:pt idx="549">
                  <c:v>0.541</c:v>
                </c:pt>
                <c:pt idx="550">
                  <c:v>0.03</c:v>
                </c:pt>
                <c:pt idx="551">
                  <c:v>0.495</c:v>
                </c:pt>
                <c:pt idx="552">
                  <c:v>0.328</c:v>
                </c:pt>
                <c:pt idx="553">
                  <c:v>0.361</c:v>
                </c:pt>
                <c:pt idx="554">
                  <c:v>0.571</c:v>
                </c:pt>
                <c:pt idx="555">
                  <c:v>0.027</c:v>
                </c:pt>
                <c:pt idx="556">
                  <c:v>0.274</c:v>
                </c:pt>
                <c:pt idx="557">
                  <c:v>0.386</c:v>
                </c:pt>
                <c:pt idx="558">
                  <c:v>0.024</c:v>
                </c:pt>
                <c:pt idx="559">
                  <c:v>0.004</c:v>
                </c:pt>
                <c:pt idx="560">
                  <c:v>0.412</c:v>
                </c:pt>
                <c:pt idx="561">
                  <c:v>0.452</c:v>
                </c:pt>
                <c:pt idx="562">
                  <c:v>0.185</c:v>
                </c:pt>
                <c:pt idx="563">
                  <c:v>0.062</c:v>
                </c:pt>
                <c:pt idx="564">
                  <c:v>0.3</c:v>
                </c:pt>
                <c:pt idx="565">
                  <c:v>0.1</c:v>
                </c:pt>
                <c:pt idx="566">
                  <c:v>0.1</c:v>
                </c:pt>
                <c:pt idx="567">
                  <c:v>0.246</c:v>
                </c:pt>
                <c:pt idx="568">
                  <c:v>0.073</c:v>
                </c:pt>
                <c:pt idx="569">
                  <c:v>0.039</c:v>
                </c:pt>
                <c:pt idx="570">
                  <c:v>0.047</c:v>
                </c:pt>
                <c:pt idx="571">
                  <c:v>0.04</c:v>
                </c:pt>
                <c:pt idx="572">
                  <c:v>0.049</c:v>
                </c:pt>
                <c:pt idx="573">
                  <c:v>0.283</c:v>
                </c:pt>
                <c:pt idx="574">
                  <c:v>0.319</c:v>
                </c:pt>
                <c:pt idx="575">
                  <c:v>0.017</c:v>
                </c:pt>
                <c:pt idx="576">
                  <c:v>0.064</c:v>
                </c:pt>
                <c:pt idx="577">
                  <c:v>0.129</c:v>
                </c:pt>
                <c:pt idx="578">
                  <c:v>0.511</c:v>
                </c:pt>
                <c:pt idx="579">
                  <c:v>0.105</c:v>
                </c:pt>
                <c:pt idx="580">
                  <c:v>0.062</c:v>
                </c:pt>
                <c:pt idx="581">
                  <c:v>0.096</c:v>
                </c:pt>
                <c:pt idx="582">
                  <c:v>0.046</c:v>
                </c:pt>
                <c:pt idx="583">
                  <c:v>0.528</c:v>
                </c:pt>
                <c:pt idx="584">
                  <c:v>0.018</c:v>
                </c:pt>
                <c:pt idx="585">
                  <c:v>0.288</c:v>
                </c:pt>
                <c:pt idx="586">
                  <c:v>0.005</c:v>
                </c:pt>
                <c:pt idx="587">
                  <c:v>0.1</c:v>
                </c:pt>
                <c:pt idx="588">
                  <c:v>0.507</c:v>
                </c:pt>
                <c:pt idx="589">
                  <c:v>0.16</c:v>
                </c:pt>
                <c:pt idx="590">
                  <c:v>0.052</c:v>
                </c:pt>
                <c:pt idx="591">
                  <c:v>0.101</c:v>
                </c:pt>
                <c:pt idx="592">
                  <c:v>0.081</c:v>
                </c:pt>
                <c:pt idx="593">
                  <c:v>0.379</c:v>
                </c:pt>
                <c:pt idx="594">
                  <c:v>0.082</c:v>
                </c:pt>
                <c:pt idx="595">
                  <c:v>0.229</c:v>
                </c:pt>
                <c:pt idx="596">
                  <c:v>0.114</c:v>
                </c:pt>
                <c:pt idx="597">
                  <c:v>0.388</c:v>
                </c:pt>
                <c:pt idx="598">
                  <c:v>0.187</c:v>
                </c:pt>
                <c:pt idx="599">
                  <c:v>0.023</c:v>
                </c:pt>
                <c:pt idx="600">
                  <c:v>0.06</c:v>
                </c:pt>
                <c:pt idx="601">
                  <c:v>0.351</c:v>
                </c:pt>
                <c:pt idx="602">
                  <c:v>0.369</c:v>
                </c:pt>
                <c:pt idx="603">
                  <c:v>0.068</c:v>
                </c:pt>
                <c:pt idx="604">
                  <c:v>0.075</c:v>
                </c:pt>
                <c:pt idx="605">
                  <c:v>0.005</c:v>
                </c:pt>
                <c:pt idx="606">
                  <c:v>0.068</c:v>
                </c:pt>
                <c:pt idx="607">
                  <c:v>0.039</c:v>
                </c:pt>
                <c:pt idx="608">
                  <c:v>0.269</c:v>
                </c:pt>
                <c:pt idx="609">
                  <c:v>0.319</c:v>
                </c:pt>
                <c:pt idx="610">
                  <c:v>0.337</c:v>
                </c:pt>
                <c:pt idx="611">
                  <c:v>0.128</c:v>
                </c:pt>
                <c:pt idx="612">
                  <c:v>0.03</c:v>
                </c:pt>
                <c:pt idx="613">
                  <c:v>0.501</c:v>
                </c:pt>
                <c:pt idx="614">
                  <c:v>0.111</c:v>
                </c:pt>
                <c:pt idx="615">
                  <c:v>0.087</c:v>
                </c:pt>
                <c:pt idx="616">
                  <c:v>0.114</c:v>
                </c:pt>
                <c:pt idx="617">
                  <c:v>0.052</c:v>
                </c:pt>
                <c:pt idx="618">
                  <c:v>0.045</c:v>
                </c:pt>
                <c:pt idx="619">
                  <c:v>0.016</c:v>
                </c:pt>
                <c:pt idx="620">
                  <c:v>0.146</c:v>
                </c:pt>
                <c:pt idx="621">
                  <c:v>0.078</c:v>
                </c:pt>
                <c:pt idx="622">
                  <c:v>0.009</c:v>
                </c:pt>
                <c:pt idx="623">
                  <c:v>0.03</c:v>
                </c:pt>
                <c:pt idx="624">
                  <c:v>0.497</c:v>
                </c:pt>
                <c:pt idx="625">
                  <c:v>0.036</c:v>
                </c:pt>
                <c:pt idx="626">
                  <c:v>0.095</c:v>
                </c:pt>
                <c:pt idx="627">
                  <c:v>0.003</c:v>
                </c:pt>
                <c:pt idx="628">
                  <c:v>0.078</c:v>
                </c:pt>
                <c:pt idx="629">
                  <c:v>0.045</c:v>
                </c:pt>
                <c:pt idx="630">
                  <c:v>0.024</c:v>
                </c:pt>
                <c:pt idx="631">
                  <c:v>0.073</c:v>
                </c:pt>
                <c:pt idx="632">
                  <c:v>0.004</c:v>
                </c:pt>
                <c:pt idx="633">
                  <c:v>0.085</c:v>
                </c:pt>
                <c:pt idx="634">
                  <c:v>0.333</c:v>
                </c:pt>
                <c:pt idx="635">
                  <c:v>0.329</c:v>
                </c:pt>
                <c:pt idx="636">
                  <c:v>0.017</c:v>
                </c:pt>
                <c:pt idx="637">
                  <c:v>0.176</c:v>
                </c:pt>
                <c:pt idx="638">
                  <c:v>0.094</c:v>
                </c:pt>
                <c:pt idx="639">
                  <c:v>0.292</c:v>
                </c:pt>
                <c:pt idx="640">
                  <c:v>0.008</c:v>
                </c:pt>
                <c:pt idx="641">
                  <c:v>0.026</c:v>
                </c:pt>
                <c:pt idx="642">
                  <c:v>0.223</c:v>
                </c:pt>
                <c:pt idx="643">
                  <c:v>0.069</c:v>
                </c:pt>
                <c:pt idx="644">
                  <c:v>0.016</c:v>
                </c:pt>
                <c:pt idx="645">
                  <c:v>0.05</c:v>
                </c:pt>
                <c:pt idx="646">
                  <c:v>0.059</c:v>
                </c:pt>
                <c:pt idx="647">
                  <c:v>0.147</c:v>
                </c:pt>
                <c:pt idx="648">
                  <c:v>0.027</c:v>
                </c:pt>
                <c:pt idx="649">
                  <c:v>0.103</c:v>
                </c:pt>
                <c:pt idx="650">
                  <c:v>0.216</c:v>
                </c:pt>
                <c:pt idx="651">
                  <c:v>0.049</c:v>
                </c:pt>
                <c:pt idx="652">
                  <c:v>0.005</c:v>
                </c:pt>
                <c:pt idx="653">
                  <c:v>0.048</c:v>
                </c:pt>
                <c:pt idx="654">
                  <c:v>0.31</c:v>
                </c:pt>
                <c:pt idx="655">
                  <c:v>0.014</c:v>
                </c:pt>
                <c:pt idx="656">
                  <c:v>0.04</c:v>
                </c:pt>
                <c:pt idx="657">
                  <c:v>0.017</c:v>
                </c:pt>
                <c:pt idx="658">
                  <c:v>0.115</c:v>
                </c:pt>
                <c:pt idx="659">
                  <c:v>0.072</c:v>
                </c:pt>
                <c:pt idx="660">
                  <c:v>0.025</c:v>
                </c:pt>
                <c:pt idx="661">
                  <c:v>0.149</c:v>
                </c:pt>
                <c:pt idx="662">
                  <c:v>0.304</c:v>
                </c:pt>
                <c:pt idx="663">
                  <c:v>0.411</c:v>
                </c:pt>
                <c:pt idx="664">
                  <c:v>0.473</c:v>
                </c:pt>
                <c:pt idx="665">
                  <c:v>0.178</c:v>
                </c:pt>
                <c:pt idx="666">
                  <c:v>0.008</c:v>
                </c:pt>
                <c:pt idx="667">
                  <c:v>0.34</c:v>
                </c:pt>
                <c:pt idx="668">
                  <c:v>0.256</c:v>
                </c:pt>
                <c:pt idx="669">
                  <c:v>0.046</c:v>
                </c:pt>
                <c:pt idx="670">
                  <c:v>0.148</c:v>
                </c:pt>
                <c:pt idx="671">
                  <c:v>0.456</c:v>
                </c:pt>
                <c:pt idx="672">
                  <c:v>0.03</c:v>
                </c:pt>
                <c:pt idx="673">
                  <c:v>0.064</c:v>
                </c:pt>
                <c:pt idx="674">
                  <c:v>0.008</c:v>
                </c:pt>
                <c:pt idx="675">
                  <c:v>0.019</c:v>
                </c:pt>
                <c:pt idx="676">
                  <c:v>0.231</c:v>
                </c:pt>
                <c:pt idx="677">
                  <c:v>0.018</c:v>
                </c:pt>
                <c:pt idx="678">
                  <c:v>0.05</c:v>
                </c:pt>
                <c:pt idx="679">
                  <c:v>0.004</c:v>
                </c:pt>
                <c:pt idx="680">
                  <c:v>0.068</c:v>
                </c:pt>
                <c:pt idx="681">
                  <c:v>0.009</c:v>
                </c:pt>
                <c:pt idx="682">
                  <c:v>0.164</c:v>
                </c:pt>
                <c:pt idx="683">
                  <c:v>0.072</c:v>
                </c:pt>
                <c:pt idx="684">
                  <c:v>0.435</c:v>
                </c:pt>
                <c:pt idx="685">
                  <c:v>0.085</c:v>
                </c:pt>
                <c:pt idx="686">
                  <c:v>0.037</c:v>
                </c:pt>
                <c:pt idx="687">
                  <c:v>0.046</c:v>
                </c:pt>
                <c:pt idx="688">
                  <c:v>0.046</c:v>
                </c:pt>
                <c:pt idx="689">
                  <c:v>0.329</c:v>
                </c:pt>
                <c:pt idx="690">
                  <c:v>0.149</c:v>
                </c:pt>
                <c:pt idx="691">
                  <c:v>0.054</c:v>
                </c:pt>
                <c:pt idx="692">
                  <c:v>0.075</c:v>
                </c:pt>
                <c:pt idx="693">
                  <c:v>0.122</c:v>
                </c:pt>
                <c:pt idx="694">
                  <c:v>0.123</c:v>
                </c:pt>
                <c:pt idx="695">
                  <c:v>0.017</c:v>
                </c:pt>
                <c:pt idx="696">
                  <c:v>0.093</c:v>
                </c:pt>
                <c:pt idx="697">
                  <c:v>0.022</c:v>
                </c:pt>
                <c:pt idx="698">
                  <c:v>0.046</c:v>
                </c:pt>
                <c:pt idx="699">
                  <c:v>0.005</c:v>
                </c:pt>
                <c:pt idx="700">
                  <c:v>0.333</c:v>
                </c:pt>
                <c:pt idx="701">
                  <c:v>0.064</c:v>
                </c:pt>
                <c:pt idx="702">
                  <c:v>0.012</c:v>
                </c:pt>
                <c:pt idx="703">
                  <c:v>0.068</c:v>
                </c:pt>
                <c:pt idx="704">
                  <c:v>0.036</c:v>
                </c:pt>
                <c:pt idx="705">
                  <c:v>0.035</c:v>
                </c:pt>
                <c:pt idx="706">
                  <c:v>0.558</c:v>
                </c:pt>
                <c:pt idx="707">
                  <c:v>0.006</c:v>
                </c:pt>
                <c:pt idx="708">
                  <c:v>0.411</c:v>
                </c:pt>
                <c:pt idx="709">
                  <c:v>0.253</c:v>
                </c:pt>
                <c:pt idx="710">
                  <c:v>0.045</c:v>
                </c:pt>
                <c:pt idx="711">
                  <c:v>0.141</c:v>
                </c:pt>
                <c:pt idx="712">
                  <c:v>0.04</c:v>
                </c:pt>
                <c:pt idx="713">
                  <c:v>0.063</c:v>
                </c:pt>
                <c:pt idx="714">
                  <c:v>0.031</c:v>
                </c:pt>
                <c:pt idx="715">
                  <c:v>0.008</c:v>
                </c:pt>
                <c:pt idx="716">
                  <c:v>0.041</c:v>
                </c:pt>
                <c:pt idx="717">
                  <c:v>0.012</c:v>
                </c:pt>
                <c:pt idx="718">
                  <c:v>0.046</c:v>
                </c:pt>
                <c:pt idx="719">
                  <c:v>0.23</c:v>
                </c:pt>
                <c:pt idx="720">
                  <c:v>0.018</c:v>
                </c:pt>
                <c:pt idx="721">
                  <c:v>0.056</c:v>
                </c:pt>
                <c:pt idx="722">
                  <c:v>0.041</c:v>
                </c:pt>
                <c:pt idx="723">
                  <c:v>0.46</c:v>
                </c:pt>
                <c:pt idx="724">
                  <c:v>0.093</c:v>
                </c:pt>
                <c:pt idx="725">
                  <c:v>0.26</c:v>
                </c:pt>
                <c:pt idx="726">
                  <c:v>0.005</c:v>
                </c:pt>
                <c:pt idx="727">
                  <c:v>0.004</c:v>
                </c:pt>
                <c:pt idx="728">
                  <c:v>0.217</c:v>
                </c:pt>
                <c:pt idx="729">
                  <c:v>0.055</c:v>
                </c:pt>
                <c:pt idx="730">
                  <c:v>0.05</c:v>
                </c:pt>
                <c:pt idx="731">
                  <c:v>0.064</c:v>
                </c:pt>
                <c:pt idx="732">
                  <c:v>0.055</c:v>
                </c:pt>
                <c:pt idx="733">
                  <c:v>0.005</c:v>
                </c:pt>
                <c:pt idx="734">
                  <c:v>0.045</c:v>
                </c:pt>
                <c:pt idx="735">
                  <c:v>0.037</c:v>
                </c:pt>
                <c:pt idx="736">
                  <c:v>0.512</c:v>
                </c:pt>
                <c:pt idx="737">
                  <c:v>0.004</c:v>
                </c:pt>
                <c:pt idx="738">
                  <c:v>0.122</c:v>
                </c:pt>
                <c:pt idx="739">
                  <c:v>0.246</c:v>
                </c:pt>
                <c:pt idx="740">
                  <c:v>0.096</c:v>
                </c:pt>
                <c:pt idx="741">
                  <c:v>0.003</c:v>
                </c:pt>
                <c:pt idx="742">
                  <c:v>0.004</c:v>
                </c:pt>
                <c:pt idx="743">
                  <c:v>0.017</c:v>
                </c:pt>
                <c:pt idx="744">
                  <c:v>0.444</c:v>
                </c:pt>
                <c:pt idx="745">
                  <c:v>0.013</c:v>
                </c:pt>
                <c:pt idx="746">
                  <c:v>0.008</c:v>
                </c:pt>
                <c:pt idx="747">
                  <c:v>0.01</c:v>
                </c:pt>
                <c:pt idx="748">
                  <c:v>0.146</c:v>
                </c:pt>
                <c:pt idx="749">
                  <c:v>0.242</c:v>
                </c:pt>
                <c:pt idx="750">
                  <c:v>0.059</c:v>
                </c:pt>
                <c:pt idx="751">
                  <c:v>0.002</c:v>
                </c:pt>
                <c:pt idx="752">
                  <c:v>0.046</c:v>
                </c:pt>
                <c:pt idx="753">
                  <c:v>0.04</c:v>
                </c:pt>
                <c:pt idx="754">
                  <c:v>0.005</c:v>
                </c:pt>
                <c:pt idx="755">
                  <c:v>0.049</c:v>
                </c:pt>
                <c:pt idx="756">
                  <c:v>0.269</c:v>
                </c:pt>
                <c:pt idx="757">
                  <c:v>0.085</c:v>
                </c:pt>
                <c:pt idx="758">
                  <c:v>0.008</c:v>
                </c:pt>
                <c:pt idx="759">
                  <c:v>0.035</c:v>
                </c:pt>
                <c:pt idx="760">
                  <c:v>0.141</c:v>
                </c:pt>
                <c:pt idx="761">
                  <c:v>0.047</c:v>
                </c:pt>
                <c:pt idx="762">
                  <c:v>0.034</c:v>
                </c:pt>
                <c:pt idx="763">
                  <c:v>0.089</c:v>
                </c:pt>
                <c:pt idx="764">
                  <c:v>0.026</c:v>
                </c:pt>
                <c:pt idx="765">
                  <c:v>0.545</c:v>
                </c:pt>
                <c:pt idx="766">
                  <c:v>0.218</c:v>
                </c:pt>
                <c:pt idx="767">
                  <c:v>0.008</c:v>
                </c:pt>
                <c:pt idx="768">
                  <c:v>0.012</c:v>
                </c:pt>
                <c:pt idx="769">
                  <c:v>0.012</c:v>
                </c:pt>
                <c:pt idx="770">
                  <c:v>0.005</c:v>
                </c:pt>
                <c:pt idx="771">
                  <c:v>0.008</c:v>
                </c:pt>
                <c:pt idx="772">
                  <c:v>0.05</c:v>
                </c:pt>
                <c:pt idx="773">
                  <c:v>0.021</c:v>
                </c:pt>
                <c:pt idx="774">
                  <c:v>0.007</c:v>
                </c:pt>
                <c:pt idx="775">
                  <c:v>0.002</c:v>
                </c:pt>
                <c:pt idx="776">
                  <c:v>0.08</c:v>
                </c:pt>
                <c:pt idx="777">
                  <c:v>0.149</c:v>
                </c:pt>
                <c:pt idx="778">
                  <c:v>0.027</c:v>
                </c:pt>
                <c:pt idx="779">
                  <c:v>0.041</c:v>
                </c:pt>
                <c:pt idx="780">
                  <c:v>0.017</c:v>
                </c:pt>
                <c:pt idx="781">
                  <c:v>0.062</c:v>
                </c:pt>
                <c:pt idx="782">
                  <c:v>0.053</c:v>
                </c:pt>
                <c:pt idx="783">
                  <c:v>0.004</c:v>
                </c:pt>
                <c:pt idx="784">
                  <c:v>0.009</c:v>
                </c:pt>
                <c:pt idx="785">
                  <c:v>0.021</c:v>
                </c:pt>
                <c:pt idx="786">
                  <c:v>0.005</c:v>
                </c:pt>
                <c:pt idx="787">
                  <c:v>0.068</c:v>
                </c:pt>
                <c:pt idx="788">
                  <c:v>0.03</c:v>
                </c:pt>
                <c:pt idx="789">
                  <c:v>0.141</c:v>
                </c:pt>
                <c:pt idx="790">
                  <c:v>0.017</c:v>
                </c:pt>
                <c:pt idx="791">
                  <c:v>0.035</c:v>
                </c:pt>
                <c:pt idx="792">
                  <c:v>0.002</c:v>
                </c:pt>
                <c:pt idx="793">
                  <c:v>0.008</c:v>
                </c:pt>
                <c:pt idx="794">
                  <c:v>0.037</c:v>
                </c:pt>
                <c:pt idx="795">
                  <c:v>0.173</c:v>
                </c:pt>
                <c:pt idx="796">
                  <c:v>0.128</c:v>
                </c:pt>
                <c:pt idx="797">
                  <c:v>0.008</c:v>
                </c:pt>
                <c:pt idx="798">
                  <c:v>0.049</c:v>
                </c:pt>
                <c:pt idx="799">
                  <c:v>0.064</c:v>
                </c:pt>
                <c:pt idx="800">
                  <c:v>0.017</c:v>
                </c:pt>
                <c:pt idx="801">
                  <c:v>0.261</c:v>
                </c:pt>
                <c:pt idx="802">
                  <c:v>0.004</c:v>
                </c:pt>
                <c:pt idx="803">
                  <c:v>0.078</c:v>
                </c:pt>
                <c:pt idx="804">
                  <c:v>0.023</c:v>
                </c:pt>
                <c:pt idx="805">
                  <c:v>0.008</c:v>
                </c:pt>
                <c:pt idx="806">
                  <c:v>0.017</c:v>
                </c:pt>
                <c:pt idx="807">
                  <c:v>0.05</c:v>
                </c:pt>
                <c:pt idx="808">
                  <c:v>0.004</c:v>
                </c:pt>
                <c:pt idx="809">
                  <c:v>0.219</c:v>
                </c:pt>
                <c:pt idx="810">
                  <c:v>0.036</c:v>
                </c:pt>
                <c:pt idx="811">
                  <c:v>0.009</c:v>
                </c:pt>
                <c:pt idx="812">
                  <c:v>0.032</c:v>
                </c:pt>
                <c:pt idx="813">
                  <c:v>0.064</c:v>
                </c:pt>
                <c:pt idx="814">
                  <c:v>0.083</c:v>
                </c:pt>
                <c:pt idx="815">
                  <c:v>0.155</c:v>
                </c:pt>
                <c:pt idx="816">
                  <c:v>0.013</c:v>
                </c:pt>
                <c:pt idx="817">
                  <c:v>0.004</c:v>
                </c:pt>
                <c:pt idx="818">
                  <c:v>0.267</c:v>
                </c:pt>
                <c:pt idx="819">
                  <c:v>0.041</c:v>
                </c:pt>
                <c:pt idx="820">
                  <c:v>0.329</c:v>
                </c:pt>
                <c:pt idx="821">
                  <c:v>0.013</c:v>
                </c:pt>
                <c:pt idx="822">
                  <c:v>0.012</c:v>
                </c:pt>
                <c:pt idx="823">
                  <c:v>0.017</c:v>
                </c:pt>
                <c:pt idx="824">
                  <c:v>0.008</c:v>
                </c:pt>
                <c:pt idx="825">
                  <c:v>0.002</c:v>
                </c:pt>
                <c:pt idx="826">
                  <c:v>0.008</c:v>
                </c:pt>
                <c:pt idx="827">
                  <c:v>0.008</c:v>
                </c:pt>
                <c:pt idx="828">
                  <c:v>0.324</c:v>
                </c:pt>
                <c:pt idx="829">
                  <c:v>0.008</c:v>
                </c:pt>
                <c:pt idx="830">
                  <c:v>0.027</c:v>
                </c:pt>
                <c:pt idx="831">
                  <c:v>0.004</c:v>
                </c:pt>
                <c:pt idx="832">
                  <c:v>0.035</c:v>
                </c:pt>
                <c:pt idx="833">
                  <c:v>0.132</c:v>
                </c:pt>
                <c:pt idx="834">
                  <c:v>0.017</c:v>
                </c:pt>
                <c:pt idx="835">
                  <c:v>0.022</c:v>
                </c:pt>
                <c:pt idx="836">
                  <c:v>0.316</c:v>
                </c:pt>
                <c:pt idx="837">
                  <c:v>0.1</c:v>
                </c:pt>
                <c:pt idx="838">
                  <c:v>0.005</c:v>
                </c:pt>
                <c:pt idx="839">
                  <c:v>0.008</c:v>
                </c:pt>
                <c:pt idx="840">
                  <c:v>0.037</c:v>
                </c:pt>
                <c:pt idx="841">
                  <c:v>0.055</c:v>
                </c:pt>
                <c:pt idx="842">
                  <c:v>0.005</c:v>
                </c:pt>
                <c:pt idx="843">
                  <c:v>0.043</c:v>
                </c:pt>
                <c:pt idx="844">
                  <c:v>0.021</c:v>
                </c:pt>
                <c:pt idx="845">
                  <c:v>0.046</c:v>
                </c:pt>
                <c:pt idx="846">
                  <c:v>0.013</c:v>
                </c:pt>
                <c:pt idx="847">
                  <c:v>0.003</c:v>
                </c:pt>
                <c:pt idx="848">
                  <c:v>0.003</c:v>
                </c:pt>
                <c:pt idx="849">
                  <c:v>0.002</c:v>
                </c:pt>
                <c:pt idx="850">
                  <c:v>0.044</c:v>
                </c:pt>
                <c:pt idx="851">
                  <c:v>0.008</c:v>
                </c:pt>
                <c:pt idx="852">
                  <c:v>0.066</c:v>
                </c:pt>
                <c:pt idx="853">
                  <c:v>0.31</c:v>
                </c:pt>
                <c:pt idx="854">
                  <c:v>0.037</c:v>
                </c:pt>
                <c:pt idx="855">
                  <c:v>0.038</c:v>
                </c:pt>
                <c:pt idx="856">
                  <c:v>0.036</c:v>
                </c:pt>
                <c:pt idx="857">
                  <c:v>0.004</c:v>
                </c:pt>
                <c:pt idx="858">
                  <c:v>0.078</c:v>
                </c:pt>
                <c:pt idx="859">
                  <c:v>0.004</c:v>
                </c:pt>
                <c:pt idx="860">
                  <c:v>0.004</c:v>
                </c:pt>
                <c:pt idx="861">
                  <c:v>0.059</c:v>
                </c:pt>
                <c:pt idx="862">
                  <c:v>0.008</c:v>
                </c:pt>
                <c:pt idx="863">
                  <c:v>0.002</c:v>
                </c:pt>
                <c:pt idx="864">
                  <c:v>0.005</c:v>
                </c:pt>
                <c:pt idx="865">
                  <c:v>0.004</c:v>
                </c:pt>
                <c:pt idx="866">
                  <c:v>0.075</c:v>
                </c:pt>
                <c:pt idx="867">
                  <c:v>0.017</c:v>
                </c:pt>
                <c:pt idx="868">
                  <c:v>0.045</c:v>
                </c:pt>
                <c:pt idx="869">
                  <c:v>0.037</c:v>
                </c:pt>
                <c:pt idx="870">
                  <c:v>0.008</c:v>
                </c:pt>
                <c:pt idx="871">
                  <c:v>0.05</c:v>
                </c:pt>
                <c:pt idx="872">
                  <c:v>0.088</c:v>
                </c:pt>
                <c:pt idx="873">
                  <c:v>0.279</c:v>
                </c:pt>
                <c:pt idx="874">
                  <c:v>0.005</c:v>
                </c:pt>
                <c:pt idx="875">
                  <c:v>0.05</c:v>
                </c:pt>
                <c:pt idx="876">
                  <c:v>0.009</c:v>
                </c:pt>
                <c:pt idx="877">
                  <c:v>0.002</c:v>
                </c:pt>
                <c:pt idx="878">
                  <c:v>0.005</c:v>
                </c:pt>
                <c:pt idx="879">
                  <c:v>0.014</c:v>
                </c:pt>
                <c:pt idx="880">
                  <c:v>0.005</c:v>
                </c:pt>
                <c:pt idx="881">
                  <c:v>0.002</c:v>
                </c:pt>
                <c:pt idx="882">
                  <c:v>0.004</c:v>
                </c:pt>
                <c:pt idx="883">
                  <c:v>0.013</c:v>
                </c:pt>
                <c:pt idx="884">
                  <c:v>0.002</c:v>
                </c:pt>
                <c:pt idx="885">
                  <c:v>0.013</c:v>
                </c:pt>
                <c:pt idx="886">
                  <c:v>0.017</c:v>
                </c:pt>
                <c:pt idx="887">
                  <c:v>0.021</c:v>
                </c:pt>
                <c:pt idx="888">
                  <c:v>0.004</c:v>
                </c:pt>
                <c:pt idx="889">
                  <c:v>0.046</c:v>
                </c:pt>
                <c:pt idx="890">
                  <c:v>0.04</c:v>
                </c:pt>
                <c:pt idx="891">
                  <c:v>0.017</c:v>
                </c:pt>
                <c:pt idx="892">
                  <c:v>0.024</c:v>
                </c:pt>
                <c:pt idx="893">
                  <c:v>0.015</c:v>
                </c:pt>
                <c:pt idx="894">
                  <c:v>0.002</c:v>
                </c:pt>
                <c:pt idx="895">
                  <c:v>0.023</c:v>
                </c:pt>
                <c:pt idx="896">
                  <c:v>0.064</c:v>
                </c:pt>
                <c:pt idx="897">
                  <c:v>0.008</c:v>
                </c:pt>
                <c:pt idx="898">
                  <c:v>0.187</c:v>
                </c:pt>
                <c:pt idx="899">
                  <c:v>0.041</c:v>
                </c:pt>
                <c:pt idx="900">
                  <c:v>0.022</c:v>
                </c:pt>
                <c:pt idx="901">
                  <c:v>0.013</c:v>
                </c:pt>
                <c:pt idx="902">
                  <c:v>0.037</c:v>
                </c:pt>
                <c:pt idx="903">
                  <c:v>0.07</c:v>
                </c:pt>
                <c:pt idx="904">
                  <c:v>0.002</c:v>
                </c:pt>
                <c:pt idx="905">
                  <c:v>0.014</c:v>
                </c:pt>
                <c:pt idx="906">
                  <c:v>0.008</c:v>
                </c:pt>
                <c:pt idx="907">
                  <c:v>0.002</c:v>
                </c:pt>
                <c:pt idx="908">
                  <c:v>0.027</c:v>
                </c:pt>
                <c:pt idx="909">
                  <c:v>0.003</c:v>
                </c:pt>
                <c:pt idx="910">
                  <c:v>0.004</c:v>
                </c:pt>
                <c:pt idx="911">
                  <c:v>0.002</c:v>
                </c:pt>
                <c:pt idx="912">
                  <c:v>0.008</c:v>
                </c:pt>
                <c:pt idx="913">
                  <c:v>0.004</c:v>
                </c:pt>
                <c:pt idx="914">
                  <c:v>0.178</c:v>
                </c:pt>
                <c:pt idx="915">
                  <c:v>0.011</c:v>
                </c:pt>
                <c:pt idx="916">
                  <c:v>0.018</c:v>
                </c:pt>
                <c:pt idx="917">
                  <c:v>0.041</c:v>
                </c:pt>
                <c:pt idx="918">
                  <c:v>0.004</c:v>
                </c:pt>
                <c:pt idx="919">
                  <c:v>0.002</c:v>
                </c:pt>
                <c:pt idx="920">
                  <c:v>0.08</c:v>
                </c:pt>
                <c:pt idx="921">
                  <c:v>0.024</c:v>
                </c:pt>
                <c:pt idx="922">
                  <c:v>0.005</c:v>
                </c:pt>
                <c:pt idx="923">
                  <c:v>0.037</c:v>
                </c:pt>
                <c:pt idx="924">
                  <c:v>0.008</c:v>
                </c:pt>
                <c:pt idx="925">
                  <c:v>0.027</c:v>
                </c:pt>
                <c:pt idx="926">
                  <c:v>0.046</c:v>
                </c:pt>
                <c:pt idx="927">
                  <c:v>0.266</c:v>
                </c:pt>
                <c:pt idx="928">
                  <c:v>0.005</c:v>
                </c:pt>
                <c:pt idx="929">
                  <c:v>0.002</c:v>
                </c:pt>
                <c:pt idx="930">
                  <c:v>0.076</c:v>
                </c:pt>
                <c:pt idx="931">
                  <c:v>0.005</c:v>
                </c:pt>
                <c:pt idx="932">
                  <c:v>0.046</c:v>
                </c:pt>
                <c:pt idx="933">
                  <c:v>0.041</c:v>
                </c:pt>
                <c:pt idx="934">
                  <c:v>0.008</c:v>
                </c:pt>
                <c:pt idx="935">
                  <c:v>0.073</c:v>
                </c:pt>
                <c:pt idx="936">
                  <c:v>0.078</c:v>
                </c:pt>
                <c:pt idx="937">
                  <c:v>0.002</c:v>
                </c:pt>
                <c:pt idx="938">
                  <c:v>0.008</c:v>
                </c:pt>
                <c:pt idx="939">
                  <c:v>0.138</c:v>
                </c:pt>
                <c:pt idx="940">
                  <c:v>0.017</c:v>
                </c:pt>
                <c:pt idx="941">
                  <c:v>0.008</c:v>
                </c:pt>
                <c:pt idx="942">
                  <c:v>0.064</c:v>
                </c:pt>
                <c:pt idx="943">
                  <c:v>0.017</c:v>
                </c:pt>
                <c:pt idx="944">
                  <c:v>0.013</c:v>
                </c:pt>
                <c:pt idx="945">
                  <c:v>0.008</c:v>
                </c:pt>
                <c:pt idx="946">
                  <c:v>0.005</c:v>
                </c:pt>
                <c:pt idx="947">
                  <c:v>0.002</c:v>
                </c:pt>
                <c:pt idx="948">
                  <c:v>0.13</c:v>
                </c:pt>
                <c:pt idx="949">
                  <c:v>0.013</c:v>
                </c:pt>
                <c:pt idx="950">
                  <c:v>0.068</c:v>
                </c:pt>
                <c:pt idx="951">
                  <c:v>0.023</c:v>
                </c:pt>
                <c:pt idx="952">
                  <c:v>0.046</c:v>
                </c:pt>
                <c:pt idx="953">
                  <c:v>0.032</c:v>
                </c:pt>
                <c:pt idx="954">
                  <c:v>0.005</c:v>
                </c:pt>
                <c:pt idx="955">
                  <c:v>0.054</c:v>
                </c:pt>
                <c:pt idx="956">
                  <c:v>0.123</c:v>
                </c:pt>
                <c:pt idx="957">
                  <c:v>0.002</c:v>
                </c:pt>
                <c:pt idx="958">
                  <c:v>0.002</c:v>
                </c:pt>
                <c:pt idx="959">
                  <c:v>0.087</c:v>
                </c:pt>
                <c:pt idx="960">
                  <c:v>0.041</c:v>
                </c:pt>
                <c:pt idx="961">
                  <c:v>0.106</c:v>
                </c:pt>
                <c:pt idx="962">
                  <c:v>0.002</c:v>
                </c:pt>
                <c:pt idx="963">
                  <c:v>0.046</c:v>
                </c:pt>
                <c:pt idx="964">
                  <c:v>0.123</c:v>
                </c:pt>
                <c:pt idx="965">
                  <c:v>0.005</c:v>
                </c:pt>
                <c:pt idx="966">
                  <c:v>0.046</c:v>
                </c:pt>
                <c:pt idx="967">
                  <c:v>0.008</c:v>
                </c:pt>
                <c:pt idx="968">
                  <c:v>0.068</c:v>
                </c:pt>
                <c:pt idx="969">
                  <c:v>0.013</c:v>
                </c:pt>
                <c:pt idx="970">
                  <c:v>0.05</c:v>
                </c:pt>
                <c:pt idx="971">
                  <c:v>0.002</c:v>
                </c:pt>
                <c:pt idx="972">
                  <c:v>0.012</c:v>
                </c:pt>
                <c:pt idx="973">
                  <c:v>0.037</c:v>
                </c:pt>
                <c:pt idx="974">
                  <c:v>0.094</c:v>
                </c:pt>
                <c:pt idx="975">
                  <c:v>0.005</c:v>
                </c:pt>
                <c:pt idx="976">
                  <c:v>0.009</c:v>
                </c:pt>
                <c:pt idx="977">
                  <c:v>0.005</c:v>
                </c:pt>
                <c:pt idx="978">
                  <c:v>0.013</c:v>
                </c:pt>
                <c:pt idx="979">
                  <c:v>0.019</c:v>
                </c:pt>
                <c:pt idx="980">
                  <c:v>0.017</c:v>
                </c:pt>
                <c:pt idx="981">
                  <c:v>0.026</c:v>
                </c:pt>
                <c:pt idx="982">
                  <c:v>0.054</c:v>
                </c:pt>
                <c:pt idx="983">
                  <c:v>0.114</c:v>
                </c:pt>
                <c:pt idx="984">
                  <c:v>0.008</c:v>
                </c:pt>
                <c:pt idx="985">
                  <c:v>0.032</c:v>
                </c:pt>
                <c:pt idx="986">
                  <c:v>0.132</c:v>
                </c:pt>
                <c:pt idx="987">
                  <c:v>0.004</c:v>
                </c:pt>
                <c:pt idx="988">
                  <c:v>0.002</c:v>
                </c:pt>
                <c:pt idx="989">
                  <c:v>0.017</c:v>
                </c:pt>
                <c:pt idx="990">
                  <c:v>0.076</c:v>
                </c:pt>
                <c:pt idx="991">
                  <c:v>0.013</c:v>
                </c:pt>
                <c:pt idx="992">
                  <c:v>0.005</c:v>
                </c:pt>
                <c:pt idx="993">
                  <c:v>0.046</c:v>
                </c:pt>
                <c:pt idx="994">
                  <c:v>0.008</c:v>
                </c:pt>
                <c:pt idx="995">
                  <c:v>0.018</c:v>
                </c:pt>
                <c:pt idx="996">
                  <c:v>0.053</c:v>
                </c:pt>
                <c:pt idx="997">
                  <c:v>0.027</c:v>
                </c:pt>
                <c:pt idx="998">
                  <c:v>0.009</c:v>
                </c:pt>
                <c:pt idx="999">
                  <c:v>0.004</c:v>
                </c:pt>
                <c:pt idx="1000">
                  <c:v>0.008</c:v>
                </c:pt>
                <c:pt idx="1001">
                  <c:v>0.027</c:v>
                </c:pt>
                <c:pt idx="1002">
                  <c:v>0.011</c:v>
                </c:pt>
                <c:pt idx="1003">
                  <c:v>0.059</c:v>
                </c:pt>
                <c:pt idx="1004">
                  <c:v>0.005</c:v>
                </c:pt>
                <c:pt idx="1005">
                  <c:v>0.018</c:v>
                </c:pt>
                <c:pt idx="1006">
                  <c:v>0.083</c:v>
                </c:pt>
                <c:pt idx="1007">
                  <c:v>0.005</c:v>
                </c:pt>
                <c:pt idx="1008">
                  <c:v>0.027</c:v>
                </c:pt>
                <c:pt idx="1009">
                  <c:v>0.008</c:v>
                </c:pt>
                <c:pt idx="1010">
                  <c:v>0.005</c:v>
                </c:pt>
                <c:pt idx="1011">
                  <c:v>0.002</c:v>
                </c:pt>
                <c:pt idx="1012">
                  <c:v>0.011</c:v>
                </c:pt>
                <c:pt idx="1013">
                  <c:v>0.01</c:v>
                </c:pt>
                <c:pt idx="1014">
                  <c:v>0.01</c:v>
                </c:pt>
                <c:pt idx="1015">
                  <c:v>0.008</c:v>
                </c:pt>
                <c:pt idx="1016">
                  <c:v>0.023</c:v>
                </c:pt>
                <c:pt idx="1017">
                  <c:v>0.008</c:v>
                </c:pt>
                <c:pt idx="1018">
                  <c:v>0.005</c:v>
                </c:pt>
                <c:pt idx="1019">
                  <c:v>0.005</c:v>
                </c:pt>
                <c:pt idx="1020">
                  <c:v>0.022</c:v>
                </c:pt>
                <c:pt idx="1021">
                  <c:v>0.012</c:v>
                </c:pt>
                <c:pt idx="1022">
                  <c:v>0.009</c:v>
                </c:pt>
                <c:pt idx="1023">
                  <c:v>0.032</c:v>
                </c:pt>
                <c:pt idx="1024">
                  <c:v>0.023</c:v>
                </c:pt>
                <c:pt idx="1025">
                  <c:v>0.015</c:v>
                </c:pt>
                <c:pt idx="1026">
                  <c:v>0.008</c:v>
                </c:pt>
                <c:pt idx="1027">
                  <c:v>0.008</c:v>
                </c:pt>
                <c:pt idx="1028">
                  <c:v>0.008</c:v>
                </c:pt>
                <c:pt idx="1029">
                  <c:v>0.018</c:v>
                </c:pt>
                <c:pt idx="1030">
                  <c:v>0.059</c:v>
                </c:pt>
                <c:pt idx="1031">
                  <c:v>0.109</c:v>
                </c:pt>
                <c:pt idx="1032">
                  <c:v>0.016</c:v>
                </c:pt>
                <c:pt idx="1033">
                  <c:v>0.017</c:v>
                </c:pt>
                <c:pt idx="1034">
                  <c:v>0.017</c:v>
                </c:pt>
                <c:pt idx="1035">
                  <c:v>0.016</c:v>
                </c:pt>
                <c:pt idx="1036">
                  <c:v>0.044</c:v>
                </c:pt>
                <c:pt idx="1037">
                  <c:v>0.008</c:v>
                </c:pt>
                <c:pt idx="1038">
                  <c:v>0.009</c:v>
                </c:pt>
                <c:pt idx="1039">
                  <c:v>0.05</c:v>
                </c:pt>
                <c:pt idx="1040">
                  <c:v>0.041</c:v>
                </c:pt>
                <c:pt idx="1041">
                  <c:v>0.038</c:v>
                </c:pt>
                <c:pt idx="1042">
                  <c:v>0.008</c:v>
                </c:pt>
                <c:pt idx="1043">
                  <c:v>0.003</c:v>
                </c:pt>
                <c:pt idx="1044">
                  <c:v>0.009</c:v>
                </c:pt>
                <c:pt idx="1045">
                  <c:v>0.008</c:v>
                </c:pt>
                <c:pt idx="1046">
                  <c:v>0.037</c:v>
                </c:pt>
                <c:pt idx="1047">
                  <c:v>0.008</c:v>
                </c:pt>
                <c:pt idx="1048">
                  <c:v>0.027</c:v>
                </c:pt>
                <c:pt idx="1049">
                  <c:v>0.008</c:v>
                </c:pt>
                <c:pt idx="1050">
                  <c:v>0.005</c:v>
                </c:pt>
                <c:pt idx="1051">
                  <c:v>0.018</c:v>
                </c:pt>
                <c:pt idx="1052">
                  <c:v>0.018</c:v>
                </c:pt>
                <c:pt idx="1053">
                  <c:v>0.187</c:v>
                </c:pt>
                <c:pt idx="1054">
                  <c:v>0.055</c:v>
                </c:pt>
                <c:pt idx="1055">
                  <c:v>0.055</c:v>
                </c:pt>
                <c:pt idx="1056">
                  <c:v>0.283</c:v>
                </c:pt>
                <c:pt idx="1057">
                  <c:v>0.269</c:v>
                </c:pt>
                <c:pt idx="1058">
                  <c:v>0.008</c:v>
                </c:pt>
                <c:pt idx="1059">
                  <c:v>0.004</c:v>
                </c:pt>
                <c:pt idx="1060">
                  <c:v>0.002</c:v>
                </c:pt>
                <c:pt idx="1061">
                  <c:v>0.023</c:v>
                </c:pt>
                <c:pt idx="1062">
                  <c:v>0.009</c:v>
                </c:pt>
                <c:pt idx="1063">
                  <c:v>0.004</c:v>
                </c:pt>
                <c:pt idx="1064">
                  <c:v>0.027</c:v>
                </c:pt>
                <c:pt idx="1065">
                  <c:v>0.005</c:v>
                </c:pt>
                <c:pt idx="1066">
                  <c:v>0.008</c:v>
                </c:pt>
                <c:pt idx="1067">
                  <c:v>0.008</c:v>
                </c:pt>
                <c:pt idx="1068">
                  <c:v>0.009</c:v>
                </c:pt>
                <c:pt idx="1069">
                  <c:v>0.008</c:v>
                </c:pt>
                <c:pt idx="1070">
                  <c:v>0.009</c:v>
                </c:pt>
                <c:pt idx="1071">
                  <c:v>0.009</c:v>
                </c:pt>
                <c:pt idx="1072">
                  <c:v>0.013</c:v>
                </c:pt>
                <c:pt idx="1073">
                  <c:v>0.027</c:v>
                </c:pt>
                <c:pt idx="1074">
                  <c:v>0.004</c:v>
                </c:pt>
                <c:pt idx="1075">
                  <c:v>0.013</c:v>
                </c:pt>
                <c:pt idx="1076">
                  <c:v>0.173</c:v>
                </c:pt>
                <c:pt idx="1077">
                  <c:v>0.002</c:v>
                </c:pt>
                <c:pt idx="1078">
                  <c:v>0.04</c:v>
                </c:pt>
                <c:pt idx="1079">
                  <c:v>0.005</c:v>
                </c:pt>
                <c:pt idx="1080">
                  <c:v>0.004</c:v>
                </c:pt>
                <c:pt idx="1081">
                  <c:v>0.012</c:v>
                </c:pt>
                <c:pt idx="1082">
                  <c:v>0.023</c:v>
                </c:pt>
                <c:pt idx="1083">
                  <c:v>0.027</c:v>
                </c:pt>
                <c:pt idx="1084">
                  <c:v>0.009</c:v>
                </c:pt>
                <c:pt idx="1085">
                  <c:v>0.087</c:v>
                </c:pt>
                <c:pt idx="1086">
                  <c:v>0.005</c:v>
                </c:pt>
                <c:pt idx="1087">
                  <c:v>0.021</c:v>
                </c:pt>
                <c:pt idx="1088">
                  <c:v>0.005</c:v>
                </c:pt>
                <c:pt idx="1089">
                  <c:v>0.002</c:v>
                </c:pt>
                <c:pt idx="1090">
                  <c:v>0.05</c:v>
                </c:pt>
                <c:pt idx="1091">
                  <c:v>0.002</c:v>
                </c:pt>
                <c:pt idx="1092">
                  <c:v>0.025</c:v>
                </c:pt>
                <c:pt idx="1093">
                  <c:v>0.004</c:v>
                </c:pt>
                <c:pt idx="1094">
                  <c:v>0.002</c:v>
                </c:pt>
                <c:pt idx="1095">
                  <c:v>0.009</c:v>
                </c:pt>
                <c:pt idx="1096">
                  <c:v>0.002</c:v>
                </c:pt>
                <c:pt idx="1097">
                  <c:v>0.126</c:v>
                </c:pt>
                <c:pt idx="1098">
                  <c:v>0.018</c:v>
                </c:pt>
                <c:pt idx="1099">
                  <c:v>0.008</c:v>
                </c:pt>
                <c:pt idx="1100">
                  <c:v>0.018</c:v>
                </c:pt>
                <c:pt idx="1101">
                  <c:v>0.037</c:v>
                </c:pt>
                <c:pt idx="1102">
                  <c:v>0.004</c:v>
                </c:pt>
                <c:pt idx="1103">
                  <c:v>0.002</c:v>
                </c:pt>
                <c:pt idx="1104">
                  <c:v>0.041</c:v>
                </c:pt>
                <c:pt idx="1105">
                  <c:v>0.005</c:v>
                </c:pt>
                <c:pt idx="1106">
                  <c:v>0.008</c:v>
                </c:pt>
                <c:pt idx="1107">
                  <c:v>0.027</c:v>
                </c:pt>
                <c:pt idx="1108">
                  <c:v>0.004</c:v>
                </c:pt>
                <c:pt idx="1109">
                  <c:v>0.004</c:v>
                </c:pt>
                <c:pt idx="1110">
                  <c:v>0.008</c:v>
                </c:pt>
                <c:pt idx="1111">
                  <c:v>0.013</c:v>
                </c:pt>
                <c:pt idx="1112">
                  <c:v>0.037</c:v>
                </c:pt>
                <c:pt idx="1113">
                  <c:v>0.004</c:v>
                </c:pt>
                <c:pt idx="1114">
                  <c:v>0.041</c:v>
                </c:pt>
                <c:pt idx="1115">
                  <c:v>0.031</c:v>
                </c:pt>
                <c:pt idx="1116">
                  <c:v>0.002</c:v>
                </c:pt>
                <c:pt idx="1117">
                  <c:v>0.008</c:v>
                </c:pt>
                <c:pt idx="1118">
                  <c:v>0.002</c:v>
                </c:pt>
                <c:pt idx="1119">
                  <c:v>0.046</c:v>
                </c:pt>
                <c:pt idx="1120">
                  <c:v>0.017</c:v>
                </c:pt>
                <c:pt idx="1121">
                  <c:v>0.005</c:v>
                </c:pt>
                <c:pt idx="1122">
                  <c:v>0.005</c:v>
                </c:pt>
                <c:pt idx="1123">
                  <c:v>0.005</c:v>
                </c:pt>
                <c:pt idx="1124">
                  <c:v>0.005</c:v>
                </c:pt>
                <c:pt idx="1125">
                  <c:v>0.006</c:v>
                </c:pt>
                <c:pt idx="1126">
                  <c:v>0.005</c:v>
                </c:pt>
                <c:pt idx="1127">
                  <c:v>0.004</c:v>
                </c:pt>
                <c:pt idx="1128">
                  <c:v>0.004</c:v>
                </c:pt>
                <c:pt idx="1129">
                  <c:v>0.014</c:v>
                </c:pt>
                <c:pt idx="1130">
                  <c:v>0.002</c:v>
                </c:pt>
                <c:pt idx="1131">
                  <c:v>0.004</c:v>
                </c:pt>
                <c:pt idx="1132">
                  <c:v>0.008</c:v>
                </c:pt>
                <c:pt idx="1133">
                  <c:v>0.017</c:v>
                </c:pt>
                <c:pt idx="1134">
                  <c:v>0.009</c:v>
                </c:pt>
                <c:pt idx="1135">
                  <c:v>0.005</c:v>
                </c:pt>
                <c:pt idx="1136">
                  <c:v>0.032</c:v>
                </c:pt>
                <c:pt idx="1137">
                  <c:v>0.008</c:v>
                </c:pt>
                <c:pt idx="1138">
                  <c:v>0.027</c:v>
                </c:pt>
                <c:pt idx="1139">
                  <c:v>0.008</c:v>
                </c:pt>
                <c:pt idx="1140">
                  <c:v>0.009</c:v>
                </c:pt>
                <c:pt idx="1141">
                  <c:v>0.027</c:v>
                </c:pt>
                <c:pt idx="1142">
                  <c:v>0.008</c:v>
                </c:pt>
                <c:pt idx="1143">
                  <c:v>0.008</c:v>
                </c:pt>
                <c:pt idx="1144">
                  <c:v>0.009</c:v>
                </c:pt>
                <c:pt idx="1145">
                  <c:v>0.009</c:v>
                </c:pt>
                <c:pt idx="1146">
                  <c:v>0.03</c:v>
                </c:pt>
                <c:pt idx="1147">
                  <c:v>0.018</c:v>
                </c:pt>
                <c:pt idx="1148">
                  <c:v>0.013</c:v>
                </c:pt>
                <c:pt idx="1149">
                  <c:v>0.037</c:v>
                </c:pt>
                <c:pt idx="1150">
                  <c:v>0.018</c:v>
                </c:pt>
                <c:pt idx="1151">
                  <c:v>0.004</c:v>
                </c:pt>
                <c:pt idx="1152">
                  <c:v>0.005</c:v>
                </c:pt>
                <c:pt idx="1153">
                  <c:v>0.014</c:v>
                </c:pt>
                <c:pt idx="1154">
                  <c:v>0.05</c:v>
                </c:pt>
                <c:pt idx="1155">
                  <c:v>0.114</c:v>
                </c:pt>
                <c:pt idx="1156">
                  <c:v>0.046</c:v>
                </c:pt>
                <c:pt idx="1157">
                  <c:v>0.032</c:v>
                </c:pt>
                <c:pt idx="1158">
                  <c:v>0.032</c:v>
                </c:pt>
                <c:pt idx="1159">
                  <c:v>0.008</c:v>
                </c:pt>
                <c:pt idx="1160">
                  <c:v>0.009</c:v>
                </c:pt>
                <c:pt idx="1161">
                  <c:v>0.002</c:v>
                </c:pt>
                <c:pt idx="1162">
                  <c:v>0.013</c:v>
                </c:pt>
                <c:pt idx="1163">
                  <c:v>0.037</c:v>
                </c:pt>
                <c:pt idx="1164">
                  <c:v>0.002</c:v>
                </c:pt>
                <c:pt idx="1165">
                  <c:v>0.002</c:v>
                </c:pt>
                <c:pt idx="1166">
                  <c:v>0.006</c:v>
                </c:pt>
                <c:pt idx="1167">
                  <c:v>0.008</c:v>
                </c:pt>
                <c:pt idx="1168">
                  <c:v>0.005</c:v>
                </c:pt>
                <c:pt idx="1169">
                  <c:v>0.013</c:v>
                </c:pt>
                <c:pt idx="1170">
                  <c:v>0.009</c:v>
                </c:pt>
                <c:pt idx="1171">
                  <c:v>0.009</c:v>
                </c:pt>
                <c:pt idx="1172">
                  <c:v>0.005</c:v>
                </c:pt>
                <c:pt idx="1173">
                  <c:v>0.014</c:v>
                </c:pt>
                <c:pt idx="1174">
                  <c:v>0.01</c:v>
                </c:pt>
                <c:pt idx="1175">
                  <c:v>0.008</c:v>
                </c:pt>
                <c:pt idx="1176">
                  <c:v>0.005</c:v>
                </c:pt>
                <c:pt idx="1177">
                  <c:v>0.004</c:v>
                </c:pt>
                <c:pt idx="1178">
                  <c:v>0.012</c:v>
                </c:pt>
                <c:pt idx="1179">
                  <c:v>0.017</c:v>
                </c:pt>
                <c:pt idx="1180">
                  <c:v>0.002</c:v>
                </c:pt>
                <c:pt idx="1181">
                  <c:v>0.012</c:v>
                </c:pt>
                <c:pt idx="1182">
                  <c:v>0.004</c:v>
                </c:pt>
                <c:pt idx="1183">
                  <c:v>0.013</c:v>
                </c:pt>
                <c:pt idx="1184">
                  <c:v>0.005</c:v>
                </c:pt>
                <c:pt idx="1185">
                  <c:v>0.002</c:v>
                </c:pt>
                <c:pt idx="1186">
                  <c:v>0.005</c:v>
                </c:pt>
                <c:pt idx="1187">
                  <c:v>0.004</c:v>
                </c:pt>
                <c:pt idx="1188">
                  <c:v>0.011</c:v>
                </c:pt>
                <c:pt idx="1189">
                  <c:v>0.004</c:v>
                </c:pt>
                <c:pt idx="1190">
                  <c:v>0.004</c:v>
                </c:pt>
                <c:pt idx="1191">
                  <c:v>0.005</c:v>
                </c:pt>
                <c:pt idx="1192">
                  <c:v>0.008</c:v>
                </c:pt>
                <c:pt idx="1193">
                  <c:v>0.004</c:v>
                </c:pt>
                <c:pt idx="1194">
                  <c:v>0.004</c:v>
                </c:pt>
                <c:pt idx="1195">
                  <c:v>0.013</c:v>
                </c:pt>
                <c:pt idx="1196">
                  <c:v>0.005</c:v>
                </c:pt>
                <c:pt idx="1197">
                  <c:v>0.005</c:v>
                </c:pt>
                <c:pt idx="1198">
                  <c:v>0.015</c:v>
                </c:pt>
                <c:pt idx="1199">
                  <c:v>0.023</c:v>
                </c:pt>
                <c:pt idx="1200">
                  <c:v>0.013</c:v>
                </c:pt>
                <c:pt idx="1201">
                  <c:v>0.005</c:v>
                </c:pt>
                <c:pt idx="1202">
                  <c:v>0.008</c:v>
                </c:pt>
                <c:pt idx="1203">
                  <c:v>0.014</c:v>
                </c:pt>
                <c:pt idx="1204">
                  <c:v>0.004</c:v>
                </c:pt>
                <c:pt idx="1205">
                  <c:v>0.002</c:v>
                </c:pt>
                <c:pt idx="1206">
                  <c:v>0.009</c:v>
                </c:pt>
                <c:pt idx="1207">
                  <c:v>0.004</c:v>
                </c:pt>
                <c:pt idx="1208">
                  <c:v>0.005</c:v>
                </c:pt>
                <c:pt idx="1209">
                  <c:v>0.005</c:v>
                </c:pt>
                <c:pt idx="1210">
                  <c:v>0.026</c:v>
                </c:pt>
                <c:pt idx="1211">
                  <c:v>0.004</c:v>
                </c:pt>
                <c:pt idx="1212">
                  <c:v>0.013</c:v>
                </c:pt>
                <c:pt idx="1213">
                  <c:v>0.059</c:v>
                </c:pt>
                <c:pt idx="1214">
                  <c:v>0.009</c:v>
                </c:pt>
                <c:pt idx="1215">
                  <c:v>0.009</c:v>
                </c:pt>
                <c:pt idx="1216">
                  <c:v>0.018</c:v>
                </c:pt>
                <c:pt idx="1217">
                  <c:v>0.004</c:v>
                </c:pt>
                <c:pt idx="1218">
                  <c:v>0.005</c:v>
                </c:pt>
                <c:pt idx="1219">
                  <c:v>0.005</c:v>
                </c:pt>
                <c:pt idx="1220">
                  <c:v>0.002</c:v>
                </c:pt>
                <c:pt idx="1221">
                  <c:v>0.005</c:v>
                </c:pt>
                <c:pt idx="1222">
                  <c:v>0.032</c:v>
                </c:pt>
                <c:pt idx="1223">
                  <c:v>0.009</c:v>
                </c:pt>
                <c:pt idx="1224">
                  <c:v>0.014</c:v>
                </c:pt>
                <c:pt idx="1225">
                  <c:v>0.004</c:v>
                </c:pt>
                <c:pt idx="1226">
                  <c:v>0.018</c:v>
                </c:pt>
                <c:pt idx="1227">
                  <c:v>0.005</c:v>
                </c:pt>
                <c:pt idx="1228">
                  <c:v>0.005</c:v>
                </c:pt>
                <c:pt idx="1229">
                  <c:v>0.004</c:v>
                </c:pt>
                <c:pt idx="1230">
                  <c:v>0.05</c:v>
                </c:pt>
                <c:pt idx="1231">
                  <c:v>0.002</c:v>
                </c:pt>
                <c:pt idx="1232">
                  <c:v>0.027</c:v>
                </c:pt>
                <c:pt idx="1233">
                  <c:v>0.013</c:v>
                </c:pt>
                <c:pt idx="1234">
                  <c:v>0.009</c:v>
                </c:pt>
                <c:pt idx="1235">
                  <c:v>0.023</c:v>
                </c:pt>
                <c:pt idx="1236">
                  <c:v>0.004</c:v>
                </c:pt>
                <c:pt idx="1237">
                  <c:v>0.017</c:v>
                </c:pt>
                <c:pt idx="1238">
                  <c:v>0.005</c:v>
                </c:pt>
                <c:pt idx="1239">
                  <c:v>0.022</c:v>
                </c:pt>
                <c:pt idx="1240">
                  <c:v>0.008</c:v>
                </c:pt>
                <c:pt idx="1241">
                  <c:v>0.009</c:v>
                </c:pt>
                <c:pt idx="1242">
                  <c:v>0.024</c:v>
                </c:pt>
                <c:pt idx="1243">
                  <c:v>0.008</c:v>
                </c:pt>
                <c:pt idx="1244">
                  <c:v>0.027</c:v>
                </c:pt>
                <c:pt idx="1245">
                  <c:v>0.005</c:v>
                </c:pt>
                <c:pt idx="1246">
                  <c:v>0.005</c:v>
                </c:pt>
                <c:pt idx="1247">
                  <c:v>0.012</c:v>
                </c:pt>
                <c:pt idx="1248">
                  <c:v>0.023</c:v>
                </c:pt>
                <c:pt idx="1249">
                  <c:v>0.005</c:v>
                </c:pt>
                <c:pt idx="1250">
                  <c:v>0.023</c:v>
                </c:pt>
                <c:pt idx="1251">
                  <c:v>0.005</c:v>
                </c:pt>
                <c:pt idx="1252">
                  <c:v>0.004</c:v>
                </c:pt>
                <c:pt idx="1253">
                  <c:v>0.005</c:v>
                </c:pt>
                <c:pt idx="1254">
                  <c:v>0.005</c:v>
                </c:pt>
                <c:pt idx="1255">
                  <c:v>0.037</c:v>
                </c:pt>
                <c:pt idx="1256">
                  <c:v>0.009</c:v>
                </c:pt>
                <c:pt idx="1257">
                  <c:v>0.018</c:v>
                </c:pt>
                <c:pt idx="1258">
                  <c:v>0.004</c:v>
                </c:pt>
                <c:pt idx="1259">
                  <c:v>0.004</c:v>
                </c:pt>
                <c:pt idx="1260">
                  <c:v>0.005</c:v>
                </c:pt>
                <c:pt idx="1261">
                  <c:v>0.013</c:v>
                </c:pt>
                <c:pt idx="1262">
                  <c:v>0.014</c:v>
                </c:pt>
                <c:pt idx="1263">
                  <c:v>0.005</c:v>
                </c:pt>
                <c:pt idx="1264">
                  <c:v>0.032</c:v>
                </c:pt>
                <c:pt idx="1265">
                  <c:v>0.037</c:v>
                </c:pt>
                <c:pt idx="1266">
                  <c:v>0.013</c:v>
                </c:pt>
                <c:pt idx="1267">
                  <c:v>0.013</c:v>
                </c:pt>
                <c:pt idx="1268">
                  <c:v>0.018</c:v>
                </c:pt>
                <c:pt idx="1269">
                  <c:v>0.023</c:v>
                </c:pt>
                <c:pt idx="1270">
                  <c:v>0.004</c:v>
                </c:pt>
                <c:pt idx="1271">
                  <c:v>0.023</c:v>
                </c:pt>
                <c:pt idx="1272">
                  <c:v>0.005</c:v>
                </c:pt>
                <c:pt idx="1273">
                  <c:v>0.031</c:v>
                </c:pt>
                <c:pt idx="1274">
                  <c:v>0.14</c:v>
                </c:pt>
                <c:pt idx="1275">
                  <c:v>0.009</c:v>
                </c:pt>
                <c:pt idx="1276">
                  <c:v>0.009</c:v>
                </c:pt>
                <c:pt idx="1277">
                  <c:v>0.005</c:v>
                </c:pt>
                <c:pt idx="1278">
                  <c:v>0.004</c:v>
                </c:pt>
                <c:pt idx="1279">
                  <c:v>0.002</c:v>
                </c:pt>
                <c:pt idx="1280">
                  <c:v>0.004</c:v>
                </c:pt>
                <c:pt idx="1281">
                  <c:v>0.008</c:v>
                </c:pt>
                <c:pt idx="1282">
                  <c:v>0.008</c:v>
                </c:pt>
                <c:pt idx="1283">
                  <c:v>0.004</c:v>
                </c:pt>
                <c:pt idx="1284">
                  <c:v>0.004</c:v>
                </c:pt>
                <c:pt idx="1285">
                  <c:v>0.004</c:v>
                </c:pt>
                <c:pt idx="1286">
                  <c:v>0.002</c:v>
                </c:pt>
                <c:pt idx="1287">
                  <c:v>0.005</c:v>
                </c:pt>
                <c:pt idx="1288">
                  <c:v>0.005</c:v>
                </c:pt>
                <c:pt idx="1289">
                  <c:v>0.009</c:v>
                </c:pt>
                <c:pt idx="1290">
                  <c:v>0.004</c:v>
                </c:pt>
                <c:pt idx="1291">
                  <c:v>0.004</c:v>
                </c:pt>
                <c:pt idx="1292">
                  <c:v>0.059</c:v>
                </c:pt>
                <c:pt idx="1293">
                  <c:v>0.005</c:v>
                </c:pt>
                <c:pt idx="1294">
                  <c:v>0.016</c:v>
                </c:pt>
                <c:pt idx="1295">
                  <c:v>0.014</c:v>
                </c:pt>
                <c:pt idx="1296">
                  <c:v>0.037</c:v>
                </c:pt>
                <c:pt idx="1297">
                  <c:v>0.028</c:v>
                </c:pt>
                <c:pt idx="1298">
                  <c:v>0.005</c:v>
                </c:pt>
                <c:pt idx="1299">
                  <c:v>0.004</c:v>
                </c:pt>
                <c:pt idx="1300">
                  <c:v>0.004</c:v>
                </c:pt>
                <c:pt idx="1301">
                  <c:v>0.013</c:v>
                </c:pt>
                <c:pt idx="1302">
                  <c:v>0.005</c:v>
                </c:pt>
                <c:pt idx="1303">
                  <c:v>0.013</c:v>
                </c:pt>
                <c:pt idx="1304">
                  <c:v>0.002</c:v>
                </c:pt>
                <c:pt idx="1305">
                  <c:v>0.012</c:v>
                </c:pt>
                <c:pt idx="1306">
                  <c:v>0.004</c:v>
                </c:pt>
                <c:pt idx="1307">
                  <c:v>0.009</c:v>
                </c:pt>
                <c:pt idx="1308">
                  <c:v>0.005</c:v>
                </c:pt>
                <c:pt idx="1309">
                  <c:v>0.004</c:v>
                </c:pt>
                <c:pt idx="1310">
                  <c:v>0.043</c:v>
                </c:pt>
                <c:pt idx="1311">
                  <c:v>0.005</c:v>
                </c:pt>
                <c:pt idx="1312">
                  <c:v>0.005</c:v>
                </c:pt>
                <c:pt idx="1313">
                  <c:v>0.018</c:v>
                </c:pt>
                <c:pt idx="1314">
                  <c:v>0.032</c:v>
                </c:pt>
                <c:pt idx="1315">
                  <c:v>0.066</c:v>
                </c:pt>
                <c:pt idx="1316">
                  <c:v>0.009</c:v>
                </c:pt>
                <c:pt idx="1317">
                  <c:v>0.021</c:v>
                </c:pt>
                <c:pt idx="1318">
                  <c:v>0.009</c:v>
                </c:pt>
                <c:pt idx="1319">
                  <c:v>0.005</c:v>
                </c:pt>
                <c:pt idx="1320">
                  <c:v>0.005</c:v>
                </c:pt>
                <c:pt idx="1321">
                  <c:v>0.005</c:v>
                </c:pt>
                <c:pt idx="1322">
                  <c:v>0.014</c:v>
                </c:pt>
                <c:pt idx="1323">
                  <c:v>0.008</c:v>
                </c:pt>
                <c:pt idx="1324">
                  <c:v>0.005</c:v>
                </c:pt>
                <c:pt idx="1325">
                  <c:v>0.005</c:v>
                </c:pt>
                <c:pt idx="1326">
                  <c:v>0.002</c:v>
                </c:pt>
                <c:pt idx="1327">
                  <c:v>0.059</c:v>
                </c:pt>
                <c:pt idx="1328">
                  <c:v>0.014</c:v>
                </c:pt>
                <c:pt idx="1329">
                  <c:v>0.014</c:v>
                </c:pt>
                <c:pt idx="1330">
                  <c:v>0.014</c:v>
                </c:pt>
                <c:pt idx="1331">
                  <c:v>0.018</c:v>
                </c:pt>
                <c:pt idx="1332">
                  <c:v>0.005</c:v>
                </c:pt>
                <c:pt idx="1333">
                  <c:v>0.059</c:v>
                </c:pt>
                <c:pt idx="1334">
                  <c:v>0.005</c:v>
                </c:pt>
                <c:pt idx="1335">
                  <c:v>0.002</c:v>
                </c:pt>
                <c:pt idx="1336">
                  <c:v>0.023</c:v>
                </c:pt>
                <c:pt idx="1337">
                  <c:v>0.014</c:v>
                </c:pt>
                <c:pt idx="1338">
                  <c:v>0.014</c:v>
                </c:pt>
                <c:pt idx="1339">
                  <c:v>0.004</c:v>
                </c:pt>
                <c:pt idx="1340">
                  <c:v>0.005</c:v>
                </c:pt>
                <c:pt idx="1341">
                  <c:v>0.027</c:v>
                </c:pt>
                <c:pt idx="1342">
                  <c:v>0.009</c:v>
                </c:pt>
                <c:pt idx="1343">
                  <c:v>0.064</c:v>
                </c:pt>
                <c:pt idx="1344">
                  <c:v>0.011</c:v>
                </c:pt>
                <c:pt idx="1345">
                  <c:v>0.041</c:v>
                </c:pt>
                <c:pt idx="1346">
                  <c:v>0.018</c:v>
                </c:pt>
                <c:pt idx="1347">
                  <c:v>0.005</c:v>
                </c:pt>
                <c:pt idx="1348">
                  <c:v>0.005</c:v>
                </c:pt>
                <c:pt idx="1349">
                  <c:v>0.005</c:v>
                </c:pt>
                <c:pt idx="1350">
                  <c:v>0.004</c:v>
                </c:pt>
                <c:pt idx="1351">
                  <c:v>0.005</c:v>
                </c:pt>
                <c:pt idx="1352">
                  <c:v>0.009</c:v>
                </c:pt>
                <c:pt idx="1353">
                  <c:v>0.009</c:v>
                </c:pt>
                <c:pt idx="1354">
                  <c:v>0.004</c:v>
                </c:pt>
                <c:pt idx="1355">
                  <c:v>0.008</c:v>
                </c:pt>
                <c:pt idx="1356">
                  <c:v>0.037</c:v>
                </c:pt>
                <c:pt idx="1357">
                  <c:v>0.009</c:v>
                </c:pt>
                <c:pt idx="1358">
                  <c:v>0.013</c:v>
                </c:pt>
                <c:pt idx="1359">
                  <c:v>0.023</c:v>
                </c:pt>
                <c:pt idx="1360">
                  <c:v>0.005</c:v>
                </c:pt>
                <c:pt idx="1361">
                  <c:v>0.005</c:v>
                </c:pt>
                <c:pt idx="1362">
                  <c:v>0.034</c:v>
                </c:pt>
                <c:pt idx="1363">
                  <c:v>0.009</c:v>
                </c:pt>
                <c:pt idx="1364">
                  <c:v>0.005</c:v>
                </c:pt>
                <c:pt idx="1365">
                  <c:v>0.032</c:v>
                </c:pt>
                <c:pt idx="1366">
                  <c:v>0.005</c:v>
                </c:pt>
                <c:pt idx="1367">
                  <c:v>0.005</c:v>
                </c:pt>
                <c:pt idx="1368">
                  <c:v>0.004</c:v>
                </c:pt>
                <c:pt idx="1369">
                  <c:v>0.059</c:v>
                </c:pt>
                <c:pt idx="1370">
                  <c:v>0.004</c:v>
                </c:pt>
                <c:pt idx="1371">
                  <c:v>0.014</c:v>
                </c:pt>
                <c:pt idx="1372">
                  <c:v>0.004</c:v>
                </c:pt>
                <c:pt idx="1373">
                  <c:v>0.005</c:v>
                </c:pt>
                <c:pt idx="1374">
                  <c:v>0.059</c:v>
                </c:pt>
                <c:pt idx="1375">
                  <c:v>0.033</c:v>
                </c:pt>
                <c:pt idx="1376">
                  <c:v>0.027</c:v>
                </c:pt>
                <c:pt idx="1377">
                  <c:v>0.004</c:v>
                </c:pt>
                <c:pt idx="1378">
                  <c:v>0.005</c:v>
                </c:pt>
                <c:pt idx="1379">
                  <c:v>0.032</c:v>
                </c:pt>
                <c:pt idx="1380">
                  <c:v>0.018</c:v>
                </c:pt>
                <c:pt idx="1381">
                  <c:v>0.005</c:v>
                </c:pt>
                <c:pt idx="1382">
                  <c:v>0.068</c:v>
                </c:pt>
                <c:pt idx="1383">
                  <c:v>0.032</c:v>
                </c:pt>
                <c:pt idx="1384">
                  <c:v>0.005</c:v>
                </c:pt>
                <c:pt idx="1385">
                  <c:v>0.005</c:v>
                </c:pt>
                <c:pt idx="1386">
                  <c:v>0.014</c:v>
                </c:pt>
                <c:pt idx="1387">
                  <c:v>0.005</c:v>
                </c:pt>
                <c:pt idx="1388">
                  <c:v>0.078</c:v>
                </c:pt>
                <c:pt idx="1389">
                  <c:v>0.005</c:v>
                </c:pt>
                <c:pt idx="1390">
                  <c:v>0.004</c:v>
                </c:pt>
                <c:pt idx="1391">
                  <c:v>0.032</c:v>
                </c:pt>
                <c:pt idx="1392">
                  <c:v>0.008</c:v>
                </c:pt>
                <c:pt idx="1393">
                  <c:v>0.008</c:v>
                </c:pt>
                <c:pt idx="1394">
                  <c:v>0.005</c:v>
                </c:pt>
                <c:pt idx="1395">
                  <c:v>0.004</c:v>
                </c:pt>
                <c:pt idx="1396">
                  <c:v>0.014</c:v>
                </c:pt>
                <c:pt idx="1397">
                  <c:v>0.005</c:v>
                </c:pt>
                <c:pt idx="1398">
                  <c:v>0.008</c:v>
                </c:pt>
                <c:pt idx="1399">
                  <c:v>0.032</c:v>
                </c:pt>
                <c:pt idx="1400">
                  <c:v>0.004</c:v>
                </c:pt>
                <c:pt idx="1401">
                  <c:v>0.005</c:v>
                </c:pt>
                <c:pt idx="1402">
                  <c:v>0.008</c:v>
                </c:pt>
                <c:pt idx="1403">
                  <c:v>0.013</c:v>
                </c:pt>
                <c:pt idx="1404">
                  <c:v>0.004</c:v>
                </c:pt>
                <c:pt idx="1405">
                  <c:v>0.008</c:v>
                </c:pt>
                <c:pt idx="1406">
                  <c:v>0.008</c:v>
                </c:pt>
                <c:pt idx="1407">
                  <c:v>0.005</c:v>
                </c:pt>
                <c:pt idx="1408">
                  <c:v>0.009</c:v>
                </c:pt>
                <c:pt idx="1409">
                  <c:v>0.004</c:v>
                </c:pt>
                <c:pt idx="1410">
                  <c:v>0.006</c:v>
                </c:pt>
                <c:pt idx="1411">
                  <c:v>0.018</c:v>
                </c:pt>
                <c:pt idx="1412">
                  <c:v>0.008</c:v>
                </c:pt>
                <c:pt idx="1413">
                  <c:v>0.005</c:v>
                </c:pt>
                <c:pt idx="1414">
                  <c:v>0.014</c:v>
                </c:pt>
                <c:pt idx="1415">
                  <c:v>0.005</c:v>
                </c:pt>
                <c:pt idx="1416">
                  <c:v>0.027</c:v>
                </c:pt>
                <c:pt idx="1417">
                  <c:v>0.008</c:v>
                </c:pt>
                <c:pt idx="1418">
                  <c:v>0.005</c:v>
                </c:pt>
                <c:pt idx="1419">
                  <c:v>0.005</c:v>
                </c:pt>
                <c:pt idx="1420">
                  <c:v>0.005</c:v>
                </c:pt>
                <c:pt idx="1421">
                  <c:v>0.014</c:v>
                </c:pt>
                <c:pt idx="1422">
                  <c:v>0.004</c:v>
                </c:pt>
                <c:pt idx="1423">
                  <c:v>0.005</c:v>
                </c:pt>
                <c:pt idx="1424">
                  <c:v>0.005</c:v>
                </c:pt>
                <c:pt idx="1425">
                  <c:v>0.005</c:v>
                </c:pt>
                <c:pt idx="1426">
                  <c:v>0.04</c:v>
                </c:pt>
                <c:pt idx="1427">
                  <c:v>0.005</c:v>
                </c:pt>
                <c:pt idx="1428">
                  <c:v>0.005</c:v>
                </c:pt>
                <c:pt idx="1429">
                  <c:v>0.004</c:v>
                </c:pt>
                <c:pt idx="1430">
                  <c:v>0.023</c:v>
                </c:pt>
                <c:pt idx="1431">
                  <c:v>0.009</c:v>
                </c:pt>
                <c:pt idx="1432">
                  <c:v>0.037</c:v>
                </c:pt>
                <c:pt idx="1433">
                  <c:v>0.008</c:v>
                </c:pt>
                <c:pt idx="1434">
                  <c:v>0.004</c:v>
                </c:pt>
                <c:pt idx="1435">
                  <c:v>0.005</c:v>
                </c:pt>
                <c:pt idx="1436">
                  <c:v>0.037</c:v>
                </c:pt>
                <c:pt idx="1437">
                  <c:v>0.005</c:v>
                </c:pt>
                <c:pt idx="1438">
                  <c:v>0.059</c:v>
                </c:pt>
                <c:pt idx="1439">
                  <c:v>0.005</c:v>
                </c:pt>
                <c:pt idx="1440">
                  <c:v>0.004</c:v>
                </c:pt>
                <c:pt idx="1441">
                  <c:v>0.021</c:v>
                </c:pt>
                <c:pt idx="1442">
                  <c:v>0.005</c:v>
                </c:pt>
                <c:pt idx="1443">
                  <c:v>0.005</c:v>
                </c:pt>
                <c:pt idx="1444">
                  <c:v>0.014</c:v>
                </c:pt>
                <c:pt idx="1445">
                  <c:v>0.009</c:v>
                </c:pt>
                <c:pt idx="1446">
                  <c:v>0.014</c:v>
                </c:pt>
                <c:pt idx="1447">
                  <c:v>0.014</c:v>
                </c:pt>
                <c:pt idx="1448">
                  <c:v>0.014</c:v>
                </c:pt>
                <c:pt idx="1449">
                  <c:v>0.005</c:v>
                </c:pt>
                <c:pt idx="1450">
                  <c:v>0.005</c:v>
                </c:pt>
                <c:pt idx="1451">
                  <c:v>0.005</c:v>
                </c:pt>
                <c:pt idx="1452">
                  <c:v>0.009</c:v>
                </c:pt>
                <c:pt idx="1453">
                  <c:v>0.037</c:v>
                </c:pt>
                <c:pt idx="1454">
                  <c:v>0.014</c:v>
                </c:pt>
                <c:pt idx="1455">
                  <c:v>0.009</c:v>
                </c:pt>
                <c:pt idx="1456">
                  <c:v>0.005</c:v>
                </c:pt>
                <c:pt idx="1457">
                  <c:v>0.005</c:v>
                </c:pt>
                <c:pt idx="1458">
                  <c:v>0.008</c:v>
                </c:pt>
                <c:pt idx="1459">
                  <c:v>0.008</c:v>
                </c:pt>
                <c:pt idx="1460">
                  <c:v>0.005</c:v>
                </c:pt>
                <c:pt idx="1461">
                  <c:v>0.005</c:v>
                </c:pt>
                <c:pt idx="1462">
                  <c:v>0.018</c:v>
                </c:pt>
                <c:pt idx="1463">
                  <c:v>0.004</c:v>
                </c:pt>
                <c:pt idx="1464">
                  <c:v>0.004</c:v>
                </c:pt>
                <c:pt idx="1465">
                  <c:v>0.008</c:v>
                </c:pt>
                <c:pt idx="1466">
                  <c:v>0.005</c:v>
                </c:pt>
                <c:pt idx="1467">
                  <c:v>0.005</c:v>
                </c:pt>
                <c:pt idx="1468">
                  <c:v>0.022</c:v>
                </c:pt>
                <c:pt idx="1469">
                  <c:v>0.005</c:v>
                </c:pt>
                <c:pt idx="1470">
                  <c:v>0.014</c:v>
                </c:pt>
                <c:pt idx="1471">
                  <c:v>0.004</c:v>
                </c:pt>
                <c:pt idx="1472">
                  <c:v>0.004</c:v>
                </c:pt>
                <c:pt idx="1473">
                  <c:v>0.018</c:v>
                </c:pt>
                <c:pt idx="1474">
                  <c:v>0.005</c:v>
                </c:pt>
                <c:pt idx="1475">
                  <c:v>0.005</c:v>
                </c:pt>
                <c:pt idx="1476">
                  <c:v>0.013</c:v>
                </c:pt>
                <c:pt idx="1477">
                  <c:v>0.005</c:v>
                </c:pt>
                <c:pt idx="1478">
                  <c:v>0.009</c:v>
                </c:pt>
                <c:pt idx="1479">
                  <c:v>0.005</c:v>
                </c:pt>
                <c:pt idx="1480">
                  <c:v>0.004</c:v>
                </c:pt>
                <c:pt idx="1481">
                  <c:v>0.005</c:v>
                </c:pt>
                <c:pt idx="1482">
                  <c:v>0.005</c:v>
                </c:pt>
                <c:pt idx="1483">
                  <c:v>0.022</c:v>
                </c:pt>
                <c:pt idx="1484">
                  <c:v>0.005</c:v>
                </c:pt>
                <c:pt idx="1485">
                  <c:v>0.005</c:v>
                </c:pt>
                <c:pt idx="1486">
                  <c:v>0.008</c:v>
                </c:pt>
                <c:pt idx="1487">
                  <c:v>0.005</c:v>
                </c:pt>
                <c:pt idx="1488">
                  <c:v>0.005</c:v>
                </c:pt>
                <c:pt idx="1489">
                  <c:v>0.005</c:v>
                </c:pt>
                <c:pt idx="1490">
                  <c:v>0.005</c:v>
                </c:pt>
                <c:pt idx="1491">
                  <c:v>0.009</c:v>
                </c:pt>
                <c:pt idx="1492">
                  <c:v>0.008</c:v>
                </c:pt>
                <c:pt idx="1493">
                  <c:v>0.005</c:v>
                </c:pt>
                <c:pt idx="1494">
                  <c:v>0.005</c:v>
                </c:pt>
                <c:pt idx="1495">
                  <c:v>0.005</c:v>
                </c:pt>
                <c:pt idx="1496">
                  <c:v>0.005</c:v>
                </c:pt>
                <c:pt idx="1497">
                  <c:v>0.009</c:v>
                </c:pt>
                <c:pt idx="1498">
                  <c:v>0.009</c:v>
                </c:pt>
                <c:pt idx="1499">
                  <c:v>0.008</c:v>
                </c:pt>
                <c:pt idx="1500">
                  <c:v>0.005</c:v>
                </c:pt>
                <c:pt idx="1501">
                  <c:v>0.005</c:v>
                </c:pt>
                <c:pt idx="1502">
                  <c:v>0.018</c:v>
                </c:pt>
                <c:pt idx="1503">
                  <c:v>0.012</c:v>
                </c:pt>
                <c:pt idx="1504">
                  <c:v>0.008</c:v>
                </c:pt>
                <c:pt idx="1505">
                  <c:v>0.023</c:v>
                </c:pt>
                <c:pt idx="1506">
                  <c:v>0.005</c:v>
                </c:pt>
                <c:pt idx="1507">
                  <c:v>0.004</c:v>
                </c:pt>
                <c:pt idx="1508">
                  <c:v>0.005</c:v>
                </c:pt>
                <c:pt idx="1509">
                  <c:v>0.014</c:v>
                </c:pt>
                <c:pt idx="1510">
                  <c:v>0.005</c:v>
                </c:pt>
                <c:pt idx="1511">
                  <c:v>0.004</c:v>
                </c:pt>
                <c:pt idx="1512">
                  <c:v>0.005</c:v>
                </c:pt>
                <c:pt idx="1513">
                  <c:v>0.005</c:v>
                </c:pt>
                <c:pt idx="1514">
                  <c:v>0.004</c:v>
                </c:pt>
                <c:pt idx="1515">
                  <c:v>0.014</c:v>
                </c:pt>
                <c:pt idx="1516">
                  <c:v>0.014</c:v>
                </c:pt>
                <c:pt idx="1517">
                  <c:v>0.005</c:v>
                </c:pt>
                <c:pt idx="1518">
                  <c:v>0.004</c:v>
                </c:pt>
                <c:pt idx="1519">
                  <c:v>0.005</c:v>
                </c:pt>
                <c:pt idx="1520">
                  <c:v>0.014</c:v>
                </c:pt>
                <c:pt idx="1521">
                  <c:v>0.005</c:v>
                </c:pt>
                <c:pt idx="1522">
                  <c:v>0.014</c:v>
                </c:pt>
                <c:pt idx="1523">
                  <c:v>0.005</c:v>
                </c:pt>
                <c:pt idx="1524">
                  <c:v>0.009</c:v>
                </c:pt>
                <c:pt idx="1525">
                  <c:v>0.002</c:v>
                </c:pt>
                <c:pt idx="1526">
                  <c:v>0.005</c:v>
                </c:pt>
                <c:pt idx="1527">
                  <c:v>0.004</c:v>
                </c:pt>
                <c:pt idx="1528">
                  <c:v>0.008</c:v>
                </c:pt>
                <c:pt idx="1529">
                  <c:v>0.004</c:v>
                </c:pt>
                <c:pt idx="1530">
                  <c:v>0.005</c:v>
                </c:pt>
                <c:pt idx="1531">
                  <c:v>0.005</c:v>
                </c:pt>
                <c:pt idx="1532">
                  <c:v>0.014</c:v>
                </c:pt>
                <c:pt idx="1533">
                  <c:v>0.005</c:v>
                </c:pt>
                <c:pt idx="1534">
                  <c:v>0.005</c:v>
                </c:pt>
                <c:pt idx="1535">
                  <c:v>0.005</c:v>
                </c:pt>
                <c:pt idx="1536">
                  <c:v>0.004</c:v>
                </c:pt>
                <c:pt idx="1537">
                  <c:v>0.005</c:v>
                </c:pt>
                <c:pt idx="1538">
                  <c:v>0.027</c:v>
                </c:pt>
                <c:pt idx="1539">
                  <c:v>0.005</c:v>
                </c:pt>
                <c:pt idx="1540">
                  <c:v>0.004</c:v>
                </c:pt>
                <c:pt idx="1541">
                  <c:v>0.004</c:v>
                </c:pt>
                <c:pt idx="1542">
                  <c:v>0.005</c:v>
                </c:pt>
                <c:pt idx="1543">
                  <c:v>0.004</c:v>
                </c:pt>
                <c:pt idx="1544">
                  <c:v>0.005</c:v>
                </c:pt>
                <c:pt idx="1545">
                  <c:v>0.009</c:v>
                </c:pt>
                <c:pt idx="1546">
                  <c:v>0.004</c:v>
                </c:pt>
                <c:pt idx="1547">
                  <c:v>0.005</c:v>
                </c:pt>
                <c:pt idx="1548">
                  <c:v>0.009</c:v>
                </c:pt>
                <c:pt idx="1549">
                  <c:v>0.005</c:v>
                </c:pt>
                <c:pt idx="1550">
                  <c:v>0.005</c:v>
                </c:pt>
                <c:pt idx="1551">
                  <c:v>0.005</c:v>
                </c:pt>
                <c:pt idx="1552">
                  <c:v>0.005</c:v>
                </c:pt>
                <c:pt idx="1553">
                  <c:v>0.014</c:v>
                </c:pt>
                <c:pt idx="1554">
                  <c:v>0.005</c:v>
                </c:pt>
                <c:pt idx="1555">
                  <c:v>0.014</c:v>
                </c:pt>
                <c:pt idx="1556">
                  <c:v>0.009</c:v>
                </c:pt>
                <c:pt idx="1557">
                  <c:v>0.005</c:v>
                </c:pt>
                <c:pt idx="1558">
                  <c:v>0.014</c:v>
                </c:pt>
                <c:pt idx="1559">
                  <c:v>0.005</c:v>
                </c:pt>
                <c:pt idx="1560">
                  <c:v>0.009</c:v>
                </c:pt>
                <c:pt idx="1561">
                  <c:v>0.005</c:v>
                </c:pt>
                <c:pt idx="1562">
                  <c:v>0.014</c:v>
                </c:pt>
                <c:pt idx="1563">
                  <c:v>0.005</c:v>
                </c:pt>
                <c:pt idx="1564">
                  <c:v>0.005</c:v>
                </c:pt>
                <c:pt idx="1565">
                  <c:v>0.005</c:v>
                </c:pt>
                <c:pt idx="1566">
                  <c:v>0.009</c:v>
                </c:pt>
                <c:pt idx="1567">
                  <c:v>0.005</c:v>
                </c:pt>
                <c:pt idx="1568">
                  <c:v>0.005</c:v>
                </c:pt>
                <c:pt idx="1569">
                  <c:v>0.004</c:v>
                </c:pt>
                <c:pt idx="1570">
                  <c:v>0.005</c:v>
                </c:pt>
                <c:pt idx="1571">
                  <c:v>0.005</c:v>
                </c:pt>
                <c:pt idx="1572">
                  <c:v>0.004</c:v>
                </c:pt>
                <c:pt idx="1573">
                  <c:v>0.005</c:v>
                </c:pt>
                <c:pt idx="1574">
                  <c:v>0.005</c:v>
                </c:pt>
                <c:pt idx="1575">
                  <c:v>0.009</c:v>
                </c:pt>
                <c:pt idx="1576">
                  <c:v>0.005</c:v>
                </c:pt>
                <c:pt idx="1577">
                  <c:v>0.009</c:v>
                </c:pt>
                <c:pt idx="1578">
                  <c:v>0.008</c:v>
                </c:pt>
                <c:pt idx="1579">
                  <c:v>0.014</c:v>
                </c:pt>
                <c:pt idx="1580">
                  <c:v>0.004</c:v>
                </c:pt>
                <c:pt idx="1581">
                  <c:v>0.005</c:v>
                </c:pt>
                <c:pt idx="1582">
                  <c:v>0.009</c:v>
                </c:pt>
                <c:pt idx="1583">
                  <c:v>0.005</c:v>
                </c:pt>
                <c:pt idx="1584">
                  <c:v>0.005</c:v>
                </c:pt>
                <c:pt idx="1585">
                  <c:v>0.005</c:v>
                </c:pt>
                <c:pt idx="1586">
                  <c:v>0.005</c:v>
                </c:pt>
                <c:pt idx="1587">
                  <c:v>0.005</c:v>
                </c:pt>
                <c:pt idx="1588">
                  <c:v>0.005</c:v>
                </c:pt>
                <c:pt idx="1589">
                  <c:v>0.005</c:v>
                </c:pt>
                <c:pt idx="1590">
                  <c:v>0.005</c:v>
                </c:pt>
                <c:pt idx="1591">
                  <c:v>0.009</c:v>
                </c:pt>
                <c:pt idx="1592">
                  <c:v>0.009</c:v>
                </c:pt>
                <c:pt idx="1593">
                  <c:v>0.005</c:v>
                </c:pt>
                <c:pt idx="1594">
                  <c:v>0.005</c:v>
                </c:pt>
                <c:pt idx="1595">
                  <c:v>0.005</c:v>
                </c:pt>
                <c:pt idx="1596">
                  <c:v>0.005</c:v>
                </c:pt>
                <c:pt idx="1597">
                  <c:v>0.005</c:v>
                </c:pt>
                <c:pt idx="1598">
                  <c:v>0.005</c:v>
                </c:pt>
                <c:pt idx="1599">
                  <c:v>0.005</c:v>
                </c:pt>
                <c:pt idx="1600">
                  <c:v>0.005</c:v>
                </c:pt>
                <c:pt idx="1601">
                  <c:v>0.005</c:v>
                </c:pt>
                <c:pt idx="1602">
                  <c:v>0.005</c:v>
                </c:pt>
                <c:pt idx="1603">
                  <c:v>0.023</c:v>
                </c:pt>
                <c:pt idx="1604">
                  <c:v>0.005</c:v>
                </c:pt>
                <c:pt idx="1605">
                  <c:v>0.005</c:v>
                </c:pt>
                <c:pt idx="1606">
                  <c:v>0.009</c:v>
                </c:pt>
                <c:pt idx="1607">
                  <c:v>0.008</c:v>
                </c:pt>
                <c:pt idx="1608">
                  <c:v>0.005</c:v>
                </c:pt>
                <c:pt idx="1609">
                  <c:v>0.014</c:v>
                </c:pt>
                <c:pt idx="1610">
                  <c:v>0.005</c:v>
                </c:pt>
                <c:pt idx="1611">
                  <c:v>0.005</c:v>
                </c:pt>
                <c:pt idx="1612">
                  <c:v>0.005</c:v>
                </c:pt>
                <c:pt idx="1613">
                  <c:v>0.009</c:v>
                </c:pt>
                <c:pt idx="1614">
                  <c:v>0.005</c:v>
                </c:pt>
                <c:pt idx="1615">
                  <c:v>0.005</c:v>
                </c:pt>
                <c:pt idx="1616">
                  <c:v>0.005</c:v>
                </c:pt>
                <c:pt idx="1617">
                  <c:v>0.005</c:v>
                </c:pt>
                <c:pt idx="1618">
                  <c:v>0.005</c:v>
                </c:pt>
                <c:pt idx="1619">
                  <c:v>0.005</c:v>
                </c:pt>
                <c:pt idx="1620">
                  <c:v>0.005</c:v>
                </c:pt>
                <c:pt idx="1621">
                  <c:v>0.005</c:v>
                </c:pt>
                <c:pt idx="1622">
                  <c:v>0.005</c:v>
                </c:pt>
                <c:pt idx="1623">
                  <c:v>0.005</c:v>
                </c:pt>
                <c:pt idx="1624">
                  <c:v>0.005</c:v>
                </c:pt>
                <c:pt idx="1625">
                  <c:v>0.005</c:v>
                </c:pt>
                <c:pt idx="1626">
                  <c:v>0.005</c:v>
                </c:pt>
                <c:pt idx="1627">
                  <c:v>0.005</c:v>
                </c:pt>
                <c:pt idx="1628">
                  <c:v>0.005</c:v>
                </c:pt>
                <c:pt idx="1629">
                  <c:v>0.005</c:v>
                </c:pt>
                <c:pt idx="1630">
                  <c:v>0.005</c:v>
                </c:pt>
                <c:pt idx="1631">
                  <c:v>0.005</c:v>
                </c:pt>
                <c:pt idx="1632">
                  <c:v>0.005</c:v>
                </c:pt>
                <c:pt idx="1633">
                  <c:v>0.005</c:v>
                </c:pt>
                <c:pt idx="1634">
                  <c:v>0.005</c:v>
                </c:pt>
                <c:pt idx="1635">
                  <c:v>0.005</c:v>
                </c:pt>
                <c:pt idx="1636">
                  <c:v>0.005</c:v>
                </c:pt>
                <c:pt idx="1637">
                  <c:v>0.005</c:v>
                </c:pt>
                <c:pt idx="1638">
                  <c:v>0.005</c:v>
                </c:pt>
                <c:pt idx="1639">
                  <c:v>0.005</c:v>
                </c:pt>
                <c:pt idx="1640">
                  <c:v>0.009</c:v>
                </c:pt>
                <c:pt idx="1641">
                  <c:v>0.005</c:v>
                </c:pt>
                <c:pt idx="1642">
                  <c:v>0.005</c:v>
                </c:pt>
                <c:pt idx="1643">
                  <c:v>0.005</c:v>
                </c:pt>
                <c:pt idx="1644">
                  <c:v>0.004</c:v>
                </c:pt>
                <c:pt idx="1645">
                  <c:v>0.014</c:v>
                </c:pt>
                <c:pt idx="1646">
                  <c:v>0.005</c:v>
                </c:pt>
                <c:pt idx="1647">
                  <c:v>0.005</c:v>
                </c:pt>
                <c:pt idx="1648">
                  <c:v>0.005</c:v>
                </c:pt>
                <c:pt idx="1649">
                  <c:v>0.005</c:v>
                </c:pt>
                <c:pt idx="1650">
                  <c:v>0.005</c:v>
                </c:pt>
                <c:pt idx="1651">
                  <c:v>0.005</c:v>
                </c:pt>
                <c:pt idx="1652">
                  <c:v>0.005</c:v>
                </c:pt>
                <c:pt idx="1653">
                  <c:v>0.004</c:v>
                </c:pt>
                <c:pt idx="1654">
                  <c:v>0.005</c:v>
                </c:pt>
                <c:pt idx="1655">
                  <c:v>0.004</c:v>
                </c:pt>
                <c:pt idx="1656">
                  <c:v>0.005</c:v>
                </c:pt>
                <c:pt idx="1657">
                  <c:v>0.005</c:v>
                </c:pt>
                <c:pt idx="1658">
                  <c:v>0.005</c:v>
                </c:pt>
                <c:pt idx="1659">
                  <c:v>0.005</c:v>
                </c:pt>
                <c:pt idx="1660">
                  <c:v>0.005</c:v>
                </c:pt>
                <c:pt idx="1661">
                  <c:v>0.002</c:v>
                </c:pt>
                <c:pt idx="1662">
                  <c:v>0.018</c:v>
                </c:pt>
                <c:pt idx="1663">
                  <c:v>0.005</c:v>
                </c:pt>
                <c:pt idx="1664">
                  <c:v>0.005</c:v>
                </c:pt>
                <c:pt idx="1665">
                  <c:v>0.005</c:v>
                </c:pt>
                <c:pt idx="1666">
                  <c:v>0.005</c:v>
                </c:pt>
                <c:pt idx="1667">
                  <c:v>0.005</c:v>
                </c:pt>
                <c:pt idx="1668">
                  <c:v>0.005</c:v>
                </c:pt>
                <c:pt idx="1669">
                  <c:v>0.005</c:v>
                </c:pt>
                <c:pt idx="1670">
                  <c:v>0.005</c:v>
                </c:pt>
                <c:pt idx="1671">
                  <c:v>0.005</c:v>
                </c:pt>
                <c:pt idx="1672">
                  <c:v>0.005</c:v>
                </c:pt>
                <c:pt idx="1673">
                  <c:v>0.005</c:v>
                </c:pt>
                <c:pt idx="1674">
                  <c:v>0.005</c:v>
                </c:pt>
                <c:pt idx="1675">
                  <c:v>0.004</c:v>
                </c:pt>
                <c:pt idx="1676">
                  <c:v>0.005</c:v>
                </c:pt>
                <c:pt idx="1677">
                  <c:v>0.005</c:v>
                </c:pt>
                <c:pt idx="1678">
                  <c:v>0.005</c:v>
                </c:pt>
                <c:pt idx="1679">
                  <c:v>0.005</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Item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00A097"/>
              </a:solidFill>
            </c:spPr>
            <c:extLst>
              <c:ext xmlns:c16="http://schemas.microsoft.com/office/drawing/2014/chart" uri="{C3380CC4-5D6E-409C-BE32-E72D297353CC}">
                <c16:uniqueId val="{000000EB-2993-41DE-A2CB-63102DE87051}"/>
              </c:ext>
            </c:extLst>
          </c:dPt>
          <c:dPt>
            <c:idx val="117"/>
            <c:invertIfNegative val="1"/>
            <c:bubble3D val="0"/>
            <c:spPr>
              <a:solidFill>
                <a:srgbClr val="00A097"/>
              </a:solidFill>
            </c:spPr>
            <c:extLst>
              <c:ext xmlns:c16="http://schemas.microsoft.com/office/drawing/2014/chart" uri="{C3380CC4-5D6E-409C-BE32-E72D297353CC}">
                <c16:uniqueId val="{000000ED-2993-41DE-A2CB-63102DE87051}"/>
              </c:ext>
            </c:extLst>
          </c:dPt>
          <c:dPt>
            <c:idx val="118"/>
            <c:invertIfNegative val="1"/>
            <c:bubble3D val="0"/>
            <c:spPr>
              <a:solidFill>
                <a:srgbClr val="00A097"/>
              </a:solidFill>
            </c:spPr>
            <c:extLst>
              <c:ext xmlns:c16="http://schemas.microsoft.com/office/drawing/2014/chart" uri="{C3380CC4-5D6E-409C-BE32-E72D297353CC}">
                <c16:uniqueId val="{000000EF-2993-41DE-A2CB-63102DE87051}"/>
              </c:ext>
            </c:extLst>
          </c:dPt>
          <c:dPt>
            <c:idx val="119"/>
            <c:invertIfNegative val="1"/>
            <c:bubble3D val="0"/>
            <c:spPr>
              <a:solidFill>
                <a:srgbClr val="00A097"/>
              </a:solidFill>
            </c:spPr>
            <c:extLst>
              <c:ext xmlns:c16="http://schemas.microsoft.com/office/drawing/2014/chart" uri="{C3380CC4-5D6E-409C-BE32-E72D297353CC}">
                <c16:uniqueId val="{000000F1-2993-41DE-A2CB-63102DE87051}"/>
              </c:ext>
            </c:extLst>
          </c:dPt>
          <c:dPt>
            <c:idx val="120"/>
            <c:invertIfNegative val="1"/>
            <c:bubble3D val="0"/>
            <c:spPr>
              <a:solidFill>
                <a:srgbClr val="00A097"/>
              </a:solidFill>
            </c:spPr>
            <c:extLst>
              <c:ext xmlns:c16="http://schemas.microsoft.com/office/drawing/2014/chart" uri="{C3380CC4-5D6E-409C-BE32-E72D297353CC}">
                <c16:uniqueId val="{000000F3-2993-41DE-A2CB-63102DE87051}"/>
              </c:ext>
            </c:extLst>
          </c:dPt>
          <c:dPt>
            <c:idx val="121"/>
            <c:invertIfNegative val="1"/>
            <c:bubble3D val="0"/>
            <c:spPr>
              <a:solidFill>
                <a:srgbClr val="00A097"/>
              </a:solidFill>
            </c:spPr>
            <c:extLst>
              <c:ext xmlns:c16="http://schemas.microsoft.com/office/drawing/2014/chart" uri="{C3380CC4-5D6E-409C-BE32-E72D297353CC}">
                <c16:uniqueId val="{000000F5-2993-41DE-A2CB-63102DE87051}"/>
              </c:ext>
            </c:extLst>
          </c:dPt>
          <c:dPt>
            <c:idx val="122"/>
            <c:invertIfNegative val="1"/>
            <c:bubble3D val="0"/>
            <c:spPr>
              <a:solidFill>
                <a:srgbClr val="00A097"/>
              </a:solidFill>
            </c:spPr>
            <c:extLst>
              <c:ext xmlns:c16="http://schemas.microsoft.com/office/drawing/2014/chart" uri="{C3380CC4-5D6E-409C-BE32-E72D297353CC}">
                <c16:uniqueId val="{000000F7-2993-41DE-A2CB-63102DE87051}"/>
              </c:ext>
            </c:extLst>
          </c:dPt>
          <c:dPt>
            <c:idx val="123"/>
            <c:invertIfNegative val="1"/>
            <c:bubble3D val="0"/>
            <c:spPr>
              <a:solidFill>
                <a:srgbClr val="00A097"/>
              </a:solidFill>
            </c:spPr>
            <c:extLst>
              <c:ext xmlns:c16="http://schemas.microsoft.com/office/drawing/2014/chart" uri="{C3380CC4-5D6E-409C-BE32-E72D297353CC}">
                <c16:uniqueId val="{000000F9-2993-41DE-A2CB-63102DE87051}"/>
              </c:ext>
            </c:extLst>
          </c:dPt>
          <c:dPt>
            <c:idx val="124"/>
            <c:invertIfNegative val="1"/>
            <c:bubble3D val="0"/>
            <c:spPr>
              <a:solidFill>
                <a:srgbClr val="00A097"/>
              </a:solidFill>
            </c:spPr>
            <c:extLst>
              <c:ext xmlns:c16="http://schemas.microsoft.com/office/drawing/2014/chart" uri="{C3380CC4-5D6E-409C-BE32-E72D297353CC}">
                <c16:uniqueId val="{000000FB-2993-41DE-A2CB-63102DE87051}"/>
              </c:ext>
            </c:extLst>
          </c:dPt>
          <c:dPt>
            <c:idx val="125"/>
            <c:invertIfNegative val="1"/>
            <c:bubble3D val="0"/>
            <c:spPr>
              <a:solidFill>
                <a:srgbClr val="00A097"/>
              </a:solidFill>
            </c:spPr>
            <c:extLst>
              <c:ext xmlns:c16="http://schemas.microsoft.com/office/drawing/2014/chart" uri="{C3380CC4-5D6E-409C-BE32-E72D297353CC}">
                <c16:uniqueId val="{000000FD-2993-41DE-A2CB-63102DE87051}"/>
              </c:ext>
            </c:extLst>
          </c:dPt>
          <c:dPt>
            <c:idx val="126"/>
            <c:invertIfNegative val="1"/>
            <c:bubble3D val="0"/>
            <c:spPr>
              <a:solidFill>
                <a:srgbClr val="00A097"/>
              </a:solidFill>
            </c:spPr>
            <c:extLst>
              <c:ext xmlns:c16="http://schemas.microsoft.com/office/drawing/2014/chart" uri="{C3380CC4-5D6E-409C-BE32-E72D297353CC}">
                <c16:uniqueId val="{000000FF-2993-41DE-A2CB-63102DE87051}"/>
              </c:ext>
            </c:extLst>
          </c:dPt>
          <c:dPt>
            <c:idx val="127"/>
            <c:invertIfNegative val="1"/>
            <c:bubble3D val="0"/>
            <c:spPr>
              <a:solidFill>
                <a:srgbClr val="00A097"/>
              </a:solidFill>
            </c:spPr>
            <c:extLst>
              <c:ext xmlns:c16="http://schemas.microsoft.com/office/drawing/2014/chart" uri="{C3380CC4-5D6E-409C-BE32-E72D297353CC}">
                <c16:uniqueId val="{00000101-2993-41DE-A2CB-63102DE87051}"/>
              </c:ext>
            </c:extLst>
          </c:dPt>
          <c:dPt>
            <c:idx val="128"/>
            <c:invertIfNegative val="1"/>
            <c:bubble3D val="0"/>
            <c:spPr>
              <a:solidFill>
                <a:srgbClr val="00A097"/>
              </a:solidFill>
            </c:spPr>
            <c:extLst>
              <c:ext xmlns:c16="http://schemas.microsoft.com/office/drawing/2014/chart" uri="{C3380CC4-5D6E-409C-BE32-E72D297353CC}">
                <c16:uniqueId val="{00000103-2993-41DE-A2CB-63102DE87051}"/>
              </c:ext>
            </c:extLst>
          </c:dPt>
          <c:dPt>
            <c:idx val="129"/>
            <c:invertIfNegative val="1"/>
            <c:bubble3D val="0"/>
            <c:spPr>
              <a:solidFill>
                <a:srgbClr val="00A097"/>
              </a:solidFill>
            </c:spPr>
            <c:extLst>
              <c:ext xmlns:c16="http://schemas.microsoft.com/office/drawing/2014/chart" uri="{C3380CC4-5D6E-409C-BE32-E72D297353CC}">
                <c16:uniqueId val="{00000105-2993-41DE-A2CB-63102DE87051}"/>
              </c:ext>
            </c:extLst>
          </c:dPt>
          <c:dPt>
            <c:idx val="130"/>
            <c:invertIfNegative val="1"/>
            <c:bubble3D val="0"/>
            <c:spPr>
              <a:solidFill>
                <a:srgbClr val="00A097"/>
              </a:solidFill>
            </c:spPr>
            <c:extLst>
              <c:ext xmlns:c16="http://schemas.microsoft.com/office/drawing/2014/chart" uri="{C3380CC4-5D6E-409C-BE32-E72D297353CC}">
                <c16:uniqueId val="{00000107-2993-41DE-A2CB-63102DE87051}"/>
              </c:ext>
            </c:extLst>
          </c:dPt>
          <c:dPt>
            <c:idx val="131"/>
            <c:invertIfNegative val="1"/>
            <c:bubble3D val="0"/>
            <c:spPr>
              <a:solidFill>
                <a:srgbClr val="00A097"/>
              </a:solidFill>
            </c:spPr>
            <c:extLst>
              <c:ext xmlns:c16="http://schemas.microsoft.com/office/drawing/2014/chart" uri="{C3380CC4-5D6E-409C-BE32-E72D297353CC}">
                <c16:uniqueId val="{00000109-2993-41DE-A2CB-63102DE87051}"/>
              </c:ext>
            </c:extLst>
          </c:dPt>
          <c:dPt>
            <c:idx val="132"/>
            <c:invertIfNegative val="1"/>
            <c:bubble3D val="0"/>
            <c:spPr>
              <a:solidFill>
                <a:srgbClr val="00A097"/>
              </a:solidFill>
            </c:spPr>
            <c:extLst>
              <c:ext xmlns:c16="http://schemas.microsoft.com/office/drawing/2014/chart" uri="{C3380CC4-5D6E-409C-BE32-E72D297353CC}">
                <c16:uniqueId val="{0000010B-2993-41DE-A2CB-63102DE87051}"/>
              </c:ext>
            </c:extLst>
          </c:dPt>
          <c:dPt>
            <c:idx val="133"/>
            <c:invertIfNegative val="1"/>
            <c:bubble3D val="0"/>
            <c:spPr>
              <a:solidFill>
                <a:srgbClr val="00A097"/>
              </a:solidFill>
            </c:spPr>
            <c:extLst>
              <c:ext xmlns:c16="http://schemas.microsoft.com/office/drawing/2014/chart" uri="{C3380CC4-5D6E-409C-BE32-E72D297353CC}">
                <c16:uniqueId val="{0000010D-2993-41DE-A2CB-63102DE87051}"/>
              </c:ext>
            </c:extLst>
          </c:dPt>
          <c:dPt>
            <c:idx val="134"/>
            <c:invertIfNegative val="1"/>
            <c:bubble3D val="0"/>
            <c:spPr>
              <a:solidFill>
                <a:srgbClr val="00A097"/>
              </a:solidFill>
            </c:spPr>
            <c:extLst>
              <c:ext xmlns:c16="http://schemas.microsoft.com/office/drawing/2014/chart" uri="{C3380CC4-5D6E-409C-BE32-E72D297353CC}">
                <c16:uniqueId val="{0000010F-2993-41DE-A2CB-63102DE87051}"/>
              </c:ext>
            </c:extLst>
          </c:dPt>
          <c:dPt>
            <c:idx val="135"/>
            <c:invertIfNegative val="1"/>
            <c:bubble3D val="0"/>
            <c:spPr>
              <a:solidFill>
                <a:srgbClr val="00A097"/>
              </a:solidFill>
            </c:spPr>
            <c:extLst>
              <c:ext xmlns:c16="http://schemas.microsoft.com/office/drawing/2014/chart" uri="{C3380CC4-5D6E-409C-BE32-E72D297353CC}">
                <c16:uniqueId val="{00000111-2993-41DE-A2CB-63102DE87051}"/>
              </c:ext>
            </c:extLst>
          </c:dPt>
          <c:dPt>
            <c:idx val="136"/>
            <c:invertIfNegative val="1"/>
            <c:bubble3D val="0"/>
            <c:spPr>
              <a:solidFill>
                <a:srgbClr val="00A097"/>
              </a:solidFill>
            </c:spPr>
            <c:extLst>
              <c:ext xmlns:c16="http://schemas.microsoft.com/office/drawing/2014/chart" uri="{C3380CC4-5D6E-409C-BE32-E72D297353CC}">
                <c16:uniqueId val="{00000113-2993-41DE-A2CB-63102DE87051}"/>
              </c:ext>
            </c:extLst>
          </c:dPt>
          <c:dPt>
            <c:idx val="137"/>
            <c:invertIfNegative val="1"/>
            <c:bubble3D val="0"/>
            <c:spPr>
              <a:solidFill>
                <a:srgbClr val="00A097"/>
              </a:solidFill>
            </c:spPr>
            <c:extLst>
              <c:ext xmlns:c16="http://schemas.microsoft.com/office/drawing/2014/chart" uri="{C3380CC4-5D6E-409C-BE32-E72D297353CC}">
                <c16:uniqueId val="{00000115-2993-41DE-A2CB-63102DE87051}"/>
              </c:ext>
            </c:extLst>
          </c:dPt>
          <c:dPt>
            <c:idx val="138"/>
            <c:invertIfNegative val="1"/>
            <c:bubble3D val="0"/>
            <c:spPr>
              <a:solidFill>
                <a:srgbClr val="00A097"/>
              </a:solidFill>
            </c:spPr>
            <c:extLst>
              <c:ext xmlns:c16="http://schemas.microsoft.com/office/drawing/2014/chart" uri="{C3380CC4-5D6E-409C-BE32-E72D297353CC}">
                <c16:uniqueId val="{00000117-2993-41DE-A2CB-63102DE87051}"/>
              </c:ext>
            </c:extLst>
          </c:dPt>
          <c:dPt>
            <c:idx val="139"/>
            <c:invertIfNegative val="1"/>
            <c:bubble3D val="0"/>
            <c:spPr>
              <a:solidFill>
                <a:srgbClr val="00A097"/>
              </a:solidFill>
            </c:spPr>
            <c:extLst>
              <c:ext xmlns:c16="http://schemas.microsoft.com/office/drawing/2014/chart" uri="{C3380CC4-5D6E-409C-BE32-E72D297353CC}">
                <c16:uniqueId val="{00000119-2993-41DE-A2CB-63102DE87051}"/>
              </c:ext>
            </c:extLst>
          </c:dPt>
          <c:dPt>
            <c:idx val="140"/>
            <c:invertIfNegative val="1"/>
            <c:bubble3D val="0"/>
            <c:spPr>
              <a:solidFill>
                <a:srgbClr val="00A097"/>
              </a:solidFill>
            </c:spPr>
            <c:extLst>
              <c:ext xmlns:c16="http://schemas.microsoft.com/office/drawing/2014/chart" uri="{C3380CC4-5D6E-409C-BE32-E72D297353CC}">
                <c16:uniqueId val="{0000011B-2993-41DE-A2CB-63102DE87051}"/>
              </c:ext>
            </c:extLst>
          </c:dPt>
          <c:dPt>
            <c:idx val="141"/>
            <c:invertIfNegative val="1"/>
            <c:bubble3D val="0"/>
            <c:spPr>
              <a:solidFill>
                <a:srgbClr val="00A097"/>
              </a:solidFill>
            </c:spPr>
            <c:extLst>
              <c:ext xmlns:c16="http://schemas.microsoft.com/office/drawing/2014/chart" uri="{C3380CC4-5D6E-409C-BE32-E72D297353CC}">
                <c16:uniqueId val="{0000011D-2993-41DE-A2CB-63102DE87051}"/>
              </c:ext>
            </c:extLst>
          </c:dPt>
          <c:dPt>
            <c:idx val="142"/>
            <c:invertIfNegative val="1"/>
            <c:bubble3D val="0"/>
            <c:spPr>
              <a:solidFill>
                <a:srgbClr val="00A097"/>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7ECAC4"/>
              </a:solidFill>
            </c:spPr>
            <c:extLst>
              <c:ext xmlns:c16="http://schemas.microsoft.com/office/drawing/2014/chart" uri="{C3380CC4-5D6E-409C-BE32-E72D297353CC}">
                <c16:uniqueId val="{0000015D-2993-41DE-A2CB-63102DE87051}"/>
              </c:ext>
            </c:extLst>
          </c:dPt>
          <c:dPt>
            <c:idx val="174"/>
            <c:invertIfNegative val="1"/>
            <c:bubble3D val="0"/>
            <c:spPr>
              <a:solidFill>
                <a:srgbClr val="7ECAC4"/>
              </a:solidFill>
            </c:spPr>
            <c:extLst>
              <c:ext xmlns:c16="http://schemas.microsoft.com/office/drawing/2014/chart" uri="{C3380CC4-5D6E-409C-BE32-E72D297353CC}">
                <c16:uniqueId val="{0000015F-2993-41DE-A2CB-63102DE87051}"/>
              </c:ext>
            </c:extLst>
          </c:dPt>
          <c:dPt>
            <c:idx val="175"/>
            <c:invertIfNegative val="1"/>
            <c:bubble3D val="0"/>
            <c:spPr>
              <a:solidFill>
                <a:srgbClr val="7ECAC4"/>
              </a:solidFill>
            </c:spPr>
            <c:extLst>
              <c:ext xmlns:c16="http://schemas.microsoft.com/office/drawing/2014/chart" uri="{C3380CC4-5D6E-409C-BE32-E72D297353CC}">
                <c16:uniqueId val="{00000161-2993-41DE-A2CB-63102DE87051}"/>
              </c:ext>
            </c:extLst>
          </c:dPt>
          <c:dPt>
            <c:idx val="176"/>
            <c:invertIfNegative val="1"/>
            <c:bubble3D val="0"/>
            <c:spPr>
              <a:solidFill>
                <a:srgbClr val="7ECAC4"/>
              </a:solidFill>
            </c:spPr>
            <c:extLst>
              <c:ext xmlns:c16="http://schemas.microsoft.com/office/drawing/2014/chart" uri="{C3380CC4-5D6E-409C-BE32-E72D297353CC}">
                <c16:uniqueId val="{00000163-2993-41DE-A2CB-63102DE87051}"/>
              </c:ext>
            </c:extLst>
          </c:dPt>
          <c:dPt>
            <c:idx val="177"/>
            <c:invertIfNegative val="1"/>
            <c:bubble3D val="0"/>
            <c:spPr>
              <a:solidFill>
                <a:srgbClr val="7ECAC4"/>
              </a:solidFill>
            </c:spPr>
            <c:extLst>
              <c:ext xmlns:c16="http://schemas.microsoft.com/office/drawing/2014/chart" uri="{C3380CC4-5D6E-409C-BE32-E72D297353CC}">
                <c16:uniqueId val="{00000165-2993-41DE-A2CB-63102DE87051}"/>
              </c:ext>
            </c:extLst>
          </c:dPt>
          <c:dPt>
            <c:idx val="178"/>
            <c:invertIfNegative val="1"/>
            <c:bubble3D val="0"/>
            <c:spPr>
              <a:solidFill>
                <a:srgbClr val="7ECAC4"/>
              </a:solidFill>
            </c:spPr>
            <c:extLst>
              <c:ext xmlns:c16="http://schemas.microsoft.com/office/drawing/2014/chart" uri="{C3380CC4-5D6E-409C-BE32-E72D297353CC}">
                <c16:uniqueId val="{00000167-2993-41DE-A2CB-63102DE87051}"/>
              </c:ext>
            </c:extLst>
          </c:dPt>
          <c:dPt>
            <c:idx val="179"/>
            <c:invertIfNegative val="1"/>
            <c:bubble3D val="0"/>
            <c:spPr>
              <a:solidFill>
                <a:srgbClr val="7ECAC4"/>
              </a:solidFill>
            </c:spPr>
            <c:extLst>
              <c:ext xmlns:c16="http://schemas.microsoft.com/office/drawing/2014/chart" uri="{C3380CC4-5D6E-409C-BE32-E72D297353CC}">
                <c16:uniqueId val="{00000169-2993-41DE-A2CB-63102DE87051}"/>
              </c:ext>
            </c:extLst>
          </c:dPt>
          <c:dPt>
            <c:idx val="180"/>
            <c:invertIfNegative val="1"/>
            <c:bubble3D val="0"/>
            <c:spPr>
              <a:solidFill>
                <a:srgbClr val="7ECAC4"/>
              </a:solidFill>
            </c:spPr>
            <c:extLst>
              <c:ext xmlns:c16="http://schemas.microsoft.com/office/drawing/2014/chart" uri="{C3380CC4-5D6E-409C-BE32-E72D297353CC}">
                <c16:uniqueId val="{0000016B-2993-41DE-A2CB-63102DE87051}"/>
              </c:ext>
            </c:extLst>
          </c:dPt>
          <c:dPt>
            <c:idx val="181"/>
            <c:invertIfNegative val="1"/>
            <c:bubble3D val="0"/>
            <c:spPr>
              <a:solidFill>
                <a:srgbClr val="7ECAC4"/>
              </a:solidFill>
            </c:spPr>
            <c:extLst>
              <c:ext xmlns:c16="http://schemas.microsoft.com/office/drawing/2014/chart" uri="{C3380CC4-5D6E-409C-BE32-E72D297353CC}">
                <c16:uniqueId val="{0000016D-2993-41DE-A2CB-63102DE87051}"/>
              </c:ext>
            </c:extLst>
          </c:dPt>
          <c:dPt>
            <c:idx val="182"/>
            <c:invertIfNegative val="1"/>
            <c:bubble3D val="0"/>
            <c:spPr>
              <a:solidFill>
                <a:srgbClr val="7ECAC4"/>
              </a:solidFill>
            </c:spPr>
            <c:extLst>
              <c:ext xmlns:c16="http://schemas.microsoft.com/office/drawing/2014/chart" uri="{C3380CC4-5D6E-409C-BE32-E72D297353CC}">
                <c16:uniqueId val="{0000016F-2993-41DE-A2CB-63102DE87051}"/>
              </c:ext>
            </c:extLst>
          </c:dPt>
          <c:dPt>
            <c:idx val="183"/>
            <c:invertIfNegative val="1"/>
            <c:bubble3D val="0"/>
            <c:spPr>
              <a:solidFill>
                <a:srgbClr val="7ECAC4"/>
              </a:solidFill>
            </c:spPr>
            <c:extLst>
              <c:ext xmlns:c16="http://schemas.microsoft.com/office/drawing/2014/chart" uri="{C3380CC4-5D6E-409C-BE32-E72D297353CC}">
                <c16:uniqueId val="{00000171-2993-41DE-A2CB-63102DE87051}"/>
              </c:ext>
            </c:extLst>
          </c:dPt>
          <c:dPt>
            <c:idx val="184"/>
            <c:invertIfNegative val="1"/>
            <c:bubble3D val="0"/>
            <c:spPr>
              <a:solidFill>
                <a:srgbClr val="7ECAC4"/>
              </a:solidFill>
            </c:spPr>
            <c:extLst>
              <c:ext xmlns:c16="http://schemas.microsoft.com/office/drawing/2014/chart" uri="{C3380CC4-5D6E-409C-BE32-E72D297353CC}">
                <c16:uniqueId val="{00000173-2993-41DE-A2CB-63102DE87051}"/>
              </c:ext>
            </c:extLst>
          </c:dPt>
          <c:dPt>
            <c:idx val="185"/>
            <c:invertIfNegative val="1"/>
            <c:bubble3D val="0"/>
            <c:spPr>
              <a:solidFill>
                <a:srgbClr val="7ECAC4"/>
              </a:solidFill>
            </c:spPr>
            <c:extLst>
              <c:ext xmlns:c16="http://schemas.microsoft.com/office/drawing/2014/chart" uri="{C3380CC4-5D6E-409C-BE32-E72D297353CC}">
                <c16:uniqueId val="{00000175-2993-41DE-A2CB-63102DE87051}"/>
              </c:ext>
            </c:extLst>
          </c:dPt>
          <c:dPt>
            <c:idx val="186"/>
            <c:invertIfNegative val="1"/>
            <c:bubble3D val="0"/>
            <c:spPr>
              <a:solidFill>
                <a:srgbClr val="7ECAC4"/>
              </a:solidFill>
            </c:spPr>
            <c:extLst>
              <c:ext xmlns:c16="http://schemas.microsoft.com/office/drawing/2014/chart" uri="{C3380CC4-5D6E-409C-BE32-E72D297353CC}">
                <c16:uniqueId val="{00000177-2993-41DE-A2CB-63102DE87051}"/>
              </c:ext>
            </c:extLst>
          </c:dPt>
          <c:dPt>
            <c:idx val="187"/>
            <c:invertIfNegative val="1"/>
            <c:bubble3D val="0"/>
            <c:spPr>
              <a:solidFill>
                <a:srgbClr val="7ECAC4"/>
              </a:solidFill>
            </c:spPr>
            <c:extLst>
              <c:ext xmlns:c16="http://schemas.microsoft.com/office/drawing/2014/chart" uri="{C3380CC4-5D6E-409C-BE32-E72D297353CC}">
                <c16:uniqueId val="{00000179-2993-41DE-A2CB-63102DE87051}"/>
              </c:ext>
            </c:extLst>
          </c:dPt>
          <c:dPt>
            <c:idx val="188"/>
            <c:invertIfNegative val="1"/>
            <c:bubble3D val="0"/>
            <c:spPr>
              <a:solidFill>
                <a:srgbClr val="7ECAC4"/>
              </a:solidFill>
            </c:spPr>
            <c:extLst>
              <c:ext xmlns:c16="http://schemas.microsoft.com/office/drawing/2014/chart" uri="{C3380CC4-5D6E-409C-BE32-E72D297353CC}">
                <c16:uniqueId val="{0000017B-2993-41DE-A2CB-63102DE87051}"/>
              </c:ext>
            </c:extLst>
          </c:dPt>
          <c:dPt>
            <c:idx val="189"/>
            <c:invertIfNegative val="1"/>
            <c:bubble3D val="0"/>
            <c:spPr>
              <a:solidFill>
                <a:srgbClr val="7ECAC4"/>
              </a:solidFill>
            </c:spPr>
            <c:extLst>
              <c:ext xmlns:c16="http://schemas.microsoft.com/office/drawing/2014/chart" uri="{C3380CC4-5D6E-409C-BE32-E72D297353CC}">
                <c16:uniqueId val="{0000017D-2993-41DE-A2CB-63102DE87051}"/>
              </c:ext>
            </c:extLst>
          </c:dPt>
          <c:dPt>
            <c:idx val="190"/>
            <c:invertIfNegative val="1"/>
            <c:bubble3D val="0"/>
            <c:spPr>
              <a:solidFill>
                <a:srgbClr val="7ECAC4"/>
              </a:solidFill>
            </c:spPr>
            <c:extLst>
              <c:ext xmlns:c16="http://schemas.microsoft.com/office/drawing/2014/chart" uri="{C3380CC4-5D6E-409C-BE32-E72D297353CC}">
                <c16:uniqueId val="{0000017F-2993-41DE-A2CB-63102DE87051}"/>
              </c:ext>
            </c:extLst>
          </c:dPt>
          <c:dPt>
            <c:idx val="191"/>
            <c:invertIfNegative val="1"/>
            <c:bubble3D val="0"/>
            <c:spPr>
              <a:solidFill>
                <a:srgbClr val="7ECAC4"/>
              </a:solidFill>
            </c:spPr>
            <c:extLst>
              <c:ext xmlns:c16="http://schemas.microsoft.com/office/drawing/2014/chart" uri="{C3380CC4-5D6E-409C-BE32-E72D297353CC}">
                <c16:uniqueId val="{00000181-2993-41DE-A2CB-63102DE87051}"/>
              </c:ext>
            </c:extLst>
          </c:dPt>
          <c:dPt>
            <c:idx val="192"/>
            <c:invertIfNegative val="1"/>
            <c:bubble3D val="0"/>
            <c:spPr>
              <a:solidFill>
                <a:srgbClr val="7ECAC4"/>
              </a:solidFill>
            </c:spPr>
            <c:extLst>
              <c:ext xmlns:c16="http://schemas.microsoft.com/office/drawing/2014/chart" uri="{C3380CC4-5D6E-409C-BE32-E72D297353CC}">
                <c16:uniqueId val="{00000183-2993-41DE-A2CB-63102DE87051}"/>
              </c:ext>
            </c:extLst>
          </c:dPt>
          <c:dPt>
            <c:idx val="193"/>
            <c:invertIfNegative val="1"/>
            <c:bubble3D val="0"/>
            <c:spPr>
              <a:solidFill>
                <a:srgbClr val="7ECAC4"/>
              </a:solidFill>
            </c:spPr>
            <c:extLst>
              <c:ext xmlns:c16="http://schemas.microsoft.com/office/drawing/2014/chart" uri="{C3380CC4-5D6E-409C-BE32-E72D297353CC}">
                <c16:uniqueId val="{00000185-2993-41DE-A2CB-63102DE87051}"/>
              </c:ext>
            </c:extLst>
          </c:dPt>
          <c:dPt>
            <c:idx val="194"/>
            <c:invertIfNegative val="1"/>
            <c:bubble3D val="0"/>
            <c:spPr>
              <a:solidFill>
                <a:srgbClr val="7ECAC4"/>
              </a:solidFill>
            </c:spPr>
            <c:extLst>
              <c:ext xmlns:c16="http://schemas.microsoft.com/office/drawing/2014/chart" uri="{C3380CC4-5D6E-409C-BE32-E72D297353CC}">
                <c16:uniqueId val="{00000187-2993-41DE-A2CB-63102DE87051}"/>
              </c:ext>
            </c:extLst>
          </c:dPt>
          <c:dPt>
            <c:idx val="195"/>
            <c:invertIfNegative val="1"/>
            <c:bubble3D val="0"/>
            <c:spPr>
              <a:solidFill>
                <a:srgbClr val="7ECAC4"/>
              </a:solidFill>
            </c:spPr>
            <c:extLst>
              <c:ext xmlns:c16="http://schemas.microsoft.com/office/drawing/2014/chart" uri="{C3380CC4-5D6E-409C-BE32-E72D297353CC}">
                <c16:uniqueId val="{00000189-2993-41DE-A2CB-63102DE87051}"/>
              </c:ext>
            </c:extLst>
          </c:dPt>
          <c:dPt>
            <c:idx val="196"/>
            <c:invertIfNegative val="1"/>
            <c:bubble3D val="0"/>
            <c:spPr>
              <a:solidFill>
                <a:srgbClr val="7ECAC4"/>
              </a:solidFill>
            </c:spPr>
            <c:extLst>
              <c:ext xmlns:c16="http://schemas.microsoft.com/office/drawing/2014/chart" uri="{C3380CC4-5D6E-409C-BE32-E72D297353CC}">
                <c16:uniqueId val="{0000018B-2993-41DE-A2CB-63102DE87051}"/>
              </c:ext>
            </c:extLst>
          </c:dPt>
          <c:dPt>
            <c:idx val="197"/>
            <c:invertIfNegative val="1"/>
            <c:bubble3D val="0"/>
            <c:spPr>
              <a:solidFill>
                <a:srgbClr val="7ECAC4"/>
              </a:solidFill>
            </c:spPr>
            <c:extLst>
              <c:ext xmlns:c16="http://schemas.microsoft.com/office/drawing/2014/chart" uri="{C3380CC4-5D6E-409C-BE32-E72D297353CC}">
                <c16:uniqueId val="{0000018D-2993-41DE-A2CB-63102DE87051}"/>
              </c:ext>
            </c:extLst>
          </c:dPt>
          <c:dPt>
            <c:idx val="198"/>
            <c:invertIfNegative val="1"/>
            <c:bubble3D val="0"/>
            <c:spPr>
              <a:solidFill>
                <a:srgbClr val="7ECAC4"/>
              </a:solidFill>
            </c:spPr>
            <c:extLst>
              <c:ext xmlns:c16="http://schemas.microsoft.com/office/drawing/2014/chart" uri="{C3380CC4-5D6E-409C-BE32-E72D297353CC}">
                <c16:uniqueId val="{0000018F-2993-41DE-A2CB-63102DE87051}"/>
              </c:ext>
            </c:extLst>
          </c:dPt>
          <c:dPt>
            <c:idx val="199"/>
            <c:invertIfNegative val="1"/>
            <c:bubble3D val="0"/>
            <c:spPr>
              <a:solidFill>
                <a:srgbClr val="7ECAC4"/>
              </a:solidFill>
            </c:spPr>
            <c:extLst>
              <c:ext xmlns:c16="http://schemas.microsoft.com/office/drawing/2014/chart" uri="{C3380CC4-5D6E-409C-BE32-E72D297353CC}">
                <c16:uniqueId val="{00000191-2993-41DE-A2CB-63102DE87051}"/>
              </c:ext>
            </c:extLst>
          </c:dPt>
          <c:dPt>
            <c:idx val="200"/>
            <c:invertIfNegative val="1"/>
            <c:bubble3D val="0"/>
            <c:spPr>
              <a:solidFill>
                <a:srgbClr val="7ECAC4"/>
              </a:solidFill>
            </c:spPr>
            <c:extLst>
              <c:ext xmlns:c16="http://schemas.microsoft.com/office/drawing/2014/chart" uri="{C3380CC4-5D6E-409C-BE32-E72D297353CC}">
                <c16:uniqueId val="{00000193-2993-41DE-A2CB-63102DE87051}"/>
              </c:ext>
            </c:extLst>
          </c:dPt>
          <c:dPt>
            <c:idx val="201"/>
            <c:invertIfNegative val="1"/>
            <c:bubble3D val="0"/>
            <c:spPr>
              <a:solidFill>
                <a:srgbClr val="7ECAC4"/>
              </a:solidFill>
            </c:spPr>
            <c:extLst>
              <c:ext xmlns:c16="http://schemas.microsoft.com/office/drawing/2014/chart" uri="{C3380CC4-5D6E-409C-BE32-E72D297353CC}">
                <c16:uniqueId val="{00000195-2993-41DE-A2CB-63102DE87051}"/>
              </c:ext>
            </c:extLst>
          </c:dPt>
          <c:dPt>
            <c:idx val="202"/>
            <c:invertIfNegative val="1"/>
            <c:bubble3D val="0"/>
            <c:spPr>
              <a:solidFill>
                <a:srgbClr val="7ECAC4"/>
              </a:solidFill>
            </c:spPr>
            <c:extLst>
              <c:ext xmlns:c16="http://schemas.microsoft.com/office/drawing/2014/chart" uri="{C3380CC4-5D6E-409C-BE32-E72D297353CC}">
                <c16:uniqueId val="{00000197-2993-41DE-A2CB-63102DE87051}"/>
              </c:ext>
            </c:extLst>
          </c:dPt>
          <c:dPt>
            <c:idx val="203"/>
            <c:invertIfNegative val="1"/>
            <c:bubble3D val="0"/>
            <c:spPr>
              <a:solidFill>
                <a:srgbClr val="7ECAC4"/>
              </a:solidFill>
            </c:spPr>
            <c:extLst>
              <c:ext xmlns:c16="http://schemas.microsoft.com/office/drawing/2014/chart" uri="{C3380CC4-5D6E-409C-BE32-E72D297353CC}">
                <c16:uniqueId val="{00000199-2993-41DE-A2CB-63102DE87051}"/>
              </c:ext>
            </c:extLst>
          </c:dPt>
          <c:dPt>
            <c:idx val="204"/>
            <c:invertIfNegative val="1"/>
            <c:bubble3D val="0"/>
            <c:spPr>
              <a:solidFill>
                <a:srgbClr val="7ECAC4"/>
              </a:solidFill>
            </c:spPr>
            <c:extLst>
              <c:ext xmlns:c16="http://schemas.microsoft.com/office/drawing/2014/chart" uri="{C3380CC4-5D6E-409C-BE32-E72D297353CC}">
                <c16:uniqueId val="{0000019B-2993-41DE-A2CB-63102DE87051}"/>
              </c:ext>
            </c:extLst>
          </c:dPt>
          <c:dPt>
            <c:idx val="205"/>
            <c:invertIfNegative val="1"/>
            <c:bubble3D val="0"/>
            <c:spPr>
              <a:solidFill>
                <a:srgbClr val="7ECAC4"/>
              </a:solidFill>
            </c:spPr>
            <c:extLst>
              <c:ext xmlns:c16="http://schemas.microsoft.com/office/drawing/2014/chart" uri="{C3380CC4-5D6E-409C-BE32-E72D297353CC}">
                <c16:uniqueId val="{0000019D-2993-41DE-A2CB-63102DE87051}"/>
              </c:ext>
            </c:extLst>
          </c:dPt>
          <c:dPt>
            <c:idx val="206"/>
            <c:invertIfNegative val="1"/>
            <c:bubble3D val="0"/>
            <c:spPr>
              <a:solidFill>
                <a:srgbClr val="7ECAC4"/>
              </a:solidFill>
            </c:spPr>
            <c:extLst>
              <c:ext xmlns:c16="http://schemas.microsoft.com/office/drawing/2014/chart" uri="{C3380CC4-5D6E-409C-BE32-E72D297353CC}">
                <c16:uniqueId val="{0000019F-2993-41DE-A2CB-63102DE87051}"/>
              </c:ext>
            </c:extLst>
          </c:dPt>
          <c:dPt>
            <c:idx val="207"/>
            <c:invertIfNegative val="1"/>
            <c:bubble3D val="0"/>
            <c:spPr>
              <a:solidFill>
                <a:srgbClr val="7ECAC4"/>
              </a:solidFill>
            </c:spPr>
            <c:extLst>
              <c:ext xmlns:c16="http://schemas.microsoft.com/office/drawing/2014/chart" uri="{C3380CC4-5D6E-409C-BE32-E72D297353CC}">
                <c16:uniqueId val="{000001A1-2993-41DE-A2CB-63102DE87051}"/>
              </c:ext>
            </c:extLst>
          </c:dPt>
          <c:dPt>
            <c:idx val="208"/>
            <c:invertIfNegative val="1"/>
            <c:bubble3D val="0"/>
            <c:spPr>
              <a:solidFill>
                <a:srgbClr val="7ECAC4"/>
              </a:solidFill>
            </c:spPr>
            <c:extLst>
              <c:ext xmlns:c16="http://schemas.microsoft.com/office/drawing/2014/chart" uri="{C3380CC4-5D6E-409C-BE32-E72D297353CC}">
                <c16:uniqueId val="{000001A3-2993-41DE-A2CB-63102DE87051}"/>
              </c:ext>
            </c:extLst>
          </c:dPt>
          <c:dPt>
            <c:idx val="209"/>
            <c:invertIfNegative val="1"/>
            <c:bubble3D val="0"/>
            <c:spPr>
              <a:solidFill>
                <a:srgbClr val="7ECAC4"/>
              </a:solidFill>
            </c:spPr>
            <c:extLst>
              <c:ext xmlns:c16="http://schemas.microsoft.com/office/drawing/2014/chart" uri="{C3380CC4-5D6E-409C-BE32-E72D297353CC}">
                <c16:uniqueId val="{000001A5-2993-41DE-A2CB-63102DE87051}"/>
              </c:ext>
            </c:extLst>
          </c:dPt>
          <c:dPt>
            <c:idx val="210"/>
            <c:spPr>
              <a:solidFill>
                <a:srgbClr val="7ECAC4"/>
              </a:solidFill>
            </c:spPr>
          </c:dPt>
          <c:dPt>
            <c:idx val="211"/>
            <c:spPr>
              <a:solidFill>
                <a:srgbClr val="7ECAC4"/>
              </a:solidFill>
            </c:spPr>
          </c:dPt>
          <c:dPt>
            <c:idx val="212"/>
            <c:spPr>
              <a:solidFill>
                <a:srgbClr val="7ECAC4"/>
              </a:solidFill>
            </c:spPr>
          </c:dPt>
          <c:dPt>
            <c:idx val="213"/>
            <c:spPr>
              <a:solidFill>
                <a:srgbClr val="7ECAC4"/>
              </a:solidFill>
            </c:spPr>
          </c:dPt>
          <c:dPt>
            <c:idx val="214"/>
            <c:spPr>
              <a:solidFill>
                <a:srgbClr val="7ECAC4"/>
              </a:solidFill>
            </c:spPr>
          </c:dPt>
          <c:dPt>
            <c:idx val="215"/>
            <c:spPr>
              <a:solidFill>
                <a:srgbClr val="7ECAC4"/>
              </a:solidFill>
            </c:spPr>
          </c:dPt>
          <c:dPt>
            <c:idx val="216"/>
            <c:spPr>
              <a:solidFill>
                <a:srgbClr val="7ECAC4"/>
              </a:solidFill>
            </c:spPr>
          </c:dPt>
          <c:dPt>
            <c:idx val="217"/>
            <c:spPr>
              <a:solidFill>
                <a:srgbClr val="7ECAC4"/>
              </a:solidFill>
            </c:spPr>
          </c:dPt>
          <c:dPt>
            <c:idx val="218"/>
            <c:spPr>
              <a:solidFill>
                <a:srgbClr val="7ECAC4"/>
              </a:solidFill>
            </c:spPr>
          </c:dPt>
          <c:dPt>
            <c:idx val="219"/>
            <c:spPr>
              <a:solidFill>
                <a:srgbClr val="7ECAC4"/>
              </a:solidFill>
            </c:spPr>
          </c:dPt>
          <c:dPt>
            <c:idx val="220"/>
            <c:spPr>
              <a:solidFill>
                <a:srgbClr val="7ECAC4"/>
              </a:solidFill>
            </c:spPr>
          </c:dPt>
          <c:dPt>
            <c:idx val="221"/>
            <c:spPr>
              <a:solidFill>
                <a:srgbClr val="7ECAC4"/>
              </a:solidFill>
            </c:spPr>
          </c:dPt>
          <c:dPt>
            <c:idx val="222"/>
            <c:spPr>
              <a:solidFill>
                <a:srgbClr val="7ECAC4"/>
              </a:solidFill>
            </c:spPr>
          </c:dPt>
          <c:dPt>
            <c:idx val="223"/>
            <c:spPr>
              <a:solidFill>
                <a:srgbClr val="7ECAC4"/>
              </a:solidFill>
            </c:spPr>
          </c:dPt>
          <c:dPt>
            <c:idx val="224"/>
            <c:spPr>
              <a:solidFill>
                <a:srgbClr val="7ECAC4"/>
              </a:solidFill>
            </c:spPr>
          </c:dPt>
          <c:dPt>
            <c:idx val="225"/>
            <c:spPr>
              <a:solidFill>
                <a:srgbClr val="7ECAC4"/>
              </a:solidFill>
            </c:spPr>
          </c:dPt>
          <c:dPt>
            <c:idx val="226"/>
            <c:spPr>
              <a:solidFill>
                <a:srgbClr val="7ECAC4"/>
              </a:solidFill>
            </c:spPr>
          </c:dPt>
          <c:dPt>
            <c:idx val="227"/>
            <c:spPr>
              <a:solidFill>
                <a:srgbClr val="7ECAC4"/>
              </a:solidFill>
            </c:spPr>
          </c:dPt>
          <c:dPt>
            <c:idx val="228"/>
            <c:spPr>
              <a:solidFill>
                <a:srgbClr val="7ECAC4"/>
              </a:solidFill>
            </c:spPr>
          </c:dPt>
          <c:dPt>
            <c:idx val="229"/>
            <c:spPr>
              <a:solidFill>
                <a:srgbClr val="7ECAC4"/>
              </a:solidFill>
            </c:spPr>
          </c:dPt>
          <c:dPt>
            <c:idx val="230"/>
            <c:spPr>
              <a:solidFill>
                <a:srgbClr val="7ECAC4"/>
              </a:solidFill>
            </c:spPr>
          </c:dPt>
          <c:dPt>
            <c:idx val="231"/>
            <c:spPr>
              <a:solidFill>
                <a:srgbClr val="7ECAC4"/>
              </a:solidFill>
            </c:spPr>
          </c:dPt>
          <c:dPt>
            <c:idx val="232"/>
            <c:spPr>
              <a:solidFill>
                <a:srgbClr val="7ECAC4"/>
              </a:solidFill>
            </c:spPr>
          </c:dPt>
          <c:dPt>
            <c:idx val="233"/>
            <c:spPr>
              <a:solidFill>
                <a:srgbClr val="7ECAC4"/>
              </a:solidFill>
            </c:spPr>
          </c:dPt>
          <c:dPt>
            <c:idx val="234"/>
            <c:spPr>
              <a:solidFill>
                <a:srgbClr val="7ECAC4"/>
              </a:solidFill>
            </c:spPr>
          </c:dPt>
          <c:dPt>
            <c:idx val="235"/>
            <c:spPr>
              <a:solidFill>
                <a:srgbClr val="7ECAC4"/>
              </a:solidFill>
            </c:spPr>
          </c:dPt>
          <c:dPt>
            <c:idx val="236"/>
            <c:spPr>
              <a:solidFill>
                <a:srgbClr val="7ECAC4"/>
              </a:solidFill>
            </c:spPr>
          </c:dPt>
          <c:dPt>
            <c:idx val="237"/>
            <c:spPr>
              <a:solidFill>
                <a:srgbClr val="7ECAC4"/>
              </a:solidFill>
            </c:spPr>
          </c:dPt>
          <c:dPt>
            <c:idx val="238"/>
            <c:spPr>
              <a:solidFill>
                <a:srgbClr val="7ECAC4"/>
              </a:solidFill>
            </c:spPr>
          </c:dPt>
          <c:dPt>
            <c:idx val="239"/>
            <c:spPr>
              <a:solidFill>
                <a:srgbClr val="7ECAC4"/>
              </a:solidFill>
            </c:spPr>
          </c:dPt>
          <c:dPt>
            <c:idx val="240"/>
            <c:spPr>
              <a:solidFill>
                <a:srgbClr val="7ECAC4"/>
              </a:solidFill>
            </c:spPr>
          </c:dPt>
          <c:dPt>
            <c:idx val="241"/>
            <c:spPr>
              <a:solidFill>
                <a:srgbClr val="7ECAC4"/>
              </a:solidFill>
            </c:spPr>
          </c:dPt>
          <c:dPt>
            <c:idx val="242"/>
            <c:spPr>
              <a:solidFill>
                <a:srgbClr val="7ECAC4"/>
              </a:solidFill>
            </c:spPr>
          </c:dPt>
          <c:dPt>
            <c:idx val="243"/>
            <c:spPr>
              <a:solidFill>
                <a:srgbClr val="7ECAC4"/>
              </a:solidFill>
            </c:spPr>
          </c:dPt>
          <c:dPt>
            <c:idx val="244"/>
            <c:spPr>
              <a:solidFill>
                <a:srgbClr val="7ECAC4"/>
              </a:solidFill>
            </c:spPr>
          </c:dPt>
          <c:dPt>
            <c:idx val="245"/>
            <c:spPr>
              <a:solidFill>
                <a:srgbClr val="7ECAC4"/>
              </a:solidFill>
            </c:spPr>
          </c:dPt>
          <c:dPt>
            <c:idx val="246"/>
            <c:spPr>
              <a:solidFill>
                <a:srgbClr val="7ECAC4"/>
              </a:solidFill>
            </c:spPr>
          </c:dPt>
          <c:dPt>
            <c:idx val="247"/>
            <c:spPr>
              <a:solidFill>
                <a:srgbClr val="7ECAC4"/>
              </a:solidFill>
            </c:spPr>
          </c:dPt>
          <c:dPt>
            <c:idx val="248"/>
            <c:spPr>
              <a:solidFill>
                <a:srgbClr val="7ECAC4"/>
              </a:solidFill>
            </c:spPr>
          </c:dPt>
          <c:dPt>
            <c:idx val="249"/>
            <c:spPr>
              <a:solidFill>
                <a:srgbClr val="7ECAC4"/>
              </a:solidFill>
            </c:spPr>
          </c:dPt>
          <c:dPt>
            <c:idx val="250"/>
            <c:spPr>
              <a:solidFill>
                <a:srgbClr val="7ECAC4"/>
              </a:solidFill>
            </c:spPr>
          </c:dPt>
          <c:dPt>
            <c:idx val="251"/>
            <c:spPr>
              <a:solidFill>
                <a:srgbClr val="7ECAC4"/>
              </a:solidFill>
            </c:spPr>
          </c:dPt>
          <c:dPt>
            <c:idx val="252"/>
            <c:spPr>
              <a:solidFill>
                <a:srgbClr val="7ECAC4"/>
              </a:solidFill>
            </c:spPr>
          </c:dPt>
          <c:dPt>
            <c:idx val="253"/>
            <c:spPr>
              <a:solidFill>
                <a:srgbClr val="7ECAC4"/>
              </a:solidFill>
            </c:spPr>
          </c:dPt>
          <c:dPt>
            <c:idx val="254"/>
            <c:spPr>
              <a:solidFill>
                <a:srgbClr val="7ECAC4"/>
              </a:solidFill>
            </c:spPr>
          </c:dPt>
          <c:dPt>
            <c:idx val="255"/>
            <c:spPr>
              <a:solidFill>
                <a:srgbClr val="7ECAC4"/>
              </a:solidFill>
            </c:spPr>
          </c:dPt>
          <c:dPt>
            <c:idx val="256"/>
            <c:spPr>
              <a:solidFill>
                <a:srgbClr val="7ECAC4"/>
              </a:solidFill>
            </c:spPr>
          </c:dPt>
          <c:dPt>
            <c:idx val="257"/>
            <c:spPr>
              <a:solidFill>
                <a:srgbClr val="7ECAC4"/>
              </a:solidFill>
            </c:spPr>
          </c:dPt>
          <c:dPt>
            <c:idx val="258"/>
            <c:spPr>
              <a:solidFill>
                <a:srgbClr val="7ECAC4"/>
              </a:solidFill>
            </c:spPr>
          </c:dPt>
          <c:dPt>
            <c:idx val="259"/>
            <c:spPr>
              <a:solidFill>
                <a:srgbClr val="7ECAC4"/>
              </a:solidFill>
            </c:spPr>
          </c:dPt>
          <c:dPt>
            <c:idx val="260"/>
            <c:spPr>
              <a:solidFill>
                <a:srgbClr val="7ECAC4"/>
              </a:solidFill>
            </c:spPr>
          </c:dPt>
          <c:dPt>
            <c:idx val="261"/>
            <c:spPr>
              <a:solidFill>
                <a:srgbClr val="7ECAC4"/>
              </a:solidFill>
            </c:spPr>
          </c:dPt>
          <c:dPt>
            <c:idx val="262"/>
            <c:spPr>
              <a:solidFill>
                <a:srgbClr val="7ECAC4"/>
              </a:solidFill>
            </c:spPr>
          </c:dPt>
          <c:dPt>
            <c:idx val="263"/>
            <c:spPr>
              <a:solidFill>
                <a:srgbClr val="7ECAC4"/>
              </a:solidFill>
            </c:spPr>
          </c:dPt>
          <c:dPt>
            <c:idx val="264"/>
            <c:spPr>
              <a:solidFill>
                <a:srgbClr val="7ECAC4"/>
              </a:solidFill>
            </c:spPr>
          </c:dPt>
          <c:dPt>
            <c:idx val="265"/>
            <c:spPr>
              <a:solidFill>
                <a:srgbClr val="7ECAC4"/>
              </a:solidFill>
            </c:spPr>
          </c:dPt>
          <c:dPt>
            <c:idx val="266"/>
            <c:spPr>
              <a:solidFill>
                <a:srgbClr val="7ECAC4"/>
              </a:solidFill>
            </c:spPr>
          </c:dPt>
          <c:dPt>
            <c:idx val="267"/>
            <c:spPr>
              <a:solidFill>
                <a:srgbClr val="7ECAC4"/>
              </a:solidFill>
            </c:spPr>
          </c:dPt>
          <c:dPt>
            <c:idx val="268"/>
            <c:spPr>
              <a:solidFill>
                <a:srgbClr val="7ECAC4"/>
              </a:solidFill>
            </c:spPr>
          </c:dPt>
          <c:dPt>
            <c:idx val="269"/>
            <c:spPr>
              <a:solidFill>
                <a:srgbClr val="7ECAC4"/>
              </a:solidFill>
            </c:spPr>
          </c:dPt>
          <c:dPt>
            <c:idx val="270"/>
            <c:spPr>
              <a:solidFill>
                <a:srgbClr val="7ECAC4"/>
              </a:solidFill>
            </c:spPr>
          </c:dPt>
          <c:dPt>
            <c:idx val="271"/>
            <c:spPr>
              <a:solidFill>
                <a:srgbClr val="7ECAC4"/>
              </a:solidFill>
            </c:spPr>
          </c:dPt>
          <c:dPt>
            <c:idx val="272"/>
            <c:spPr>
              <a:solidFill>
                <a:srgbClr val="7ECAC4"/>
              </a:solidFill>
            </c:spPr>
          </c:dPt>
          <c:dPt>
            <c:idx val="273"/>
            <c:spPr>
              <a:solidFill>
                <a:srgbClr val="7ECAC4"/>
              </a:solidFill>
            </c:spPr>
          </c:dPt>
          <c:dPt>
            <c:idx val="274"/>
            <c:spPr>
              <a:solidFill>
                <a:srgbClr val="7ECAC4"/>
              </a:solidFill>
            </c:spPr>
          </c:dPt>
          <c:dPt>
            <c:idx val="275"/>
            <c:spPr>
              <a:solidFill>
                <a:srgbClr val="7ECAC4"/>
              </a:solidFill>
            </c:spPr>
          </c:dPt>
          <c:dPt>
            <c:idx val="276"/>
            <c:spPr>
              <a:solidFill>
                <a:srgbClr val="7ECAC4"/>
              </a:solidFill>
            </c:spPr>
          </c:dPt>
          <c:dPt>
            <c:idx val="277"/>
            <c:spPr>
              <a:solidFill>
                <a:srgbClr val="7ECAC4"/>
              </a:solidFill>
            </c:spPr>
          </c:dPt>
          <c:dPt>
            <c:idx val="278"/>
            <c:spPr>
              <a:solidFill>
                <a:srgbClr val="7ECAC4"/>
              </a:solidFill>
            </c:spPr>
          </c:dPt>
          <c:dPt>
            <c:idx val="279"/>
            <c:spPr>
              <a:solidFill>
                <a:srgbClr val="7ECAC4"/>
              </a:solidFill>
            </c:spPr>
          </c:dPt>
          <c:dPt>
            <c:idx val="280"/>
            <c:spPr>
              <a:solidFill>
                <a:srgbClr val="7ECAC4"/>
              </a:solidFill>
            </c:spPr>
          </c:dPt>
          <c:dPt>
            <c:idx val="281"/>
            <c:spPr>
              <a:solidFill>
                <a:srgbClr val="7ECAC4"/>
              </a:solidFill>
            </c:spPr>
          </c:dPt>
          <c:dPt>
            <c:idx val="282"/>
            <c:spPr>
              <a:solidFill>
                <a:srgbClr val="7ECAC4"/>
              </a:solidFill>
            </c:spPr>
          </c:dPt>
          <c:dPt>
            <c:idx val="283"/>
            <c:spPr>
              <a:solidFill>
                <a:srgbClr val="7ECAC4"/>
              </a:solidFill>
            </c:spPr>
          </c:dPt>
          <c:dPt>
            <c:idx val="284"/>
            <c:spPr>
              <a:solidFill>
                <a:srgbClr val="7ECAC4"/>
              </a:solidFill>
            </c:spPr>
          </c:dPt>
          <c:dPt>
            <c:idx val="285"/>
            <c:spPr>
              <a:solidFill>
                <a:srgbClr val="7ECAC4"/>
              </a:solidFill>
            </c:spPr>
          </c:dPt>
          <c:dPt>
            <c:idx val="286"/>
            <c:spPr>
              <a:solidFill>
                <a:srgbClr val="7ECAC4"/>
              </a:solidFill>
            </c:spPr>
          </c:dPt>
          <c:dPt>
            <c:idx val="287"/>
            <c:spPr>
              <a:solidFill>
                <a:srgbClr val="7ECAC4"/>
              </a:solidFill>
            </c:spPr>
          </c:dPt>
          <c:dPt>
            <c:idx val="288"/>
            <c:spPr>
              <a:solidFill>
                <a:srgbClr val="7ECAC4"/>
              </a:solidFill>
            </c:spPr>
          </c:dPt>
          <c:dPt>
            <c:idx val="289"/>
            <c:spPr>
              <a:solidFill>
                <a:srgbClr val="7ECAC4"/>
              </a:solidFill>
            </c:spPr>
          </c:dPt>
          <c:dPt>
            <c:idx val="290"/>
            <c:spPr>
              <a:solidFill>
                <a:srgbClr val="7ECAC4"/>
              </a:solidFill>
            </c:spPr>
          </c:dPt>
          <c:dPt>
            <c:idx val="291"/>
            <c:spPr>
              <a:solidFill>
                <a:srgbClr val="7ECAC4"/>
              </a:solidFill>
            </c:spPr>
          </c:dPt>
          <c:dPt>
            <c:idx val="292"/>
            <c:spPr>
              <a:solidFill>
                <a:srgbClr val="7ECAC4"/>
              </a:solidFill>
            </c:spPr>
          </c:dPt>
          <c:dPt>
            <c:idx val="293"/>
            <c:spPr>
              <a:solidFill>
                <a:srgbClr val="7ECAC4"/>
              </a:solidFill>
            </c:spPr>
          </c:dPt>
          <c:dPt>
            <c:idx val="294"/>
            <c:spPr>
              <a:solidFill>
                <a:srgbClr val="7ECAC4"/>
              </a:solidFill>
            </c:spPr>
          </c:dPt>
          <c:dPt>
            <c:idx val="295"/>
            <c:spPr>
              <a:solidFill>
                <a:srgbClr val="7ECAC4"/>
              </a:solidFill>
            </c:spPr>
          </c:dPt>
          <c:dPt>
            <c:idx val="296"/>
            <c:spPr>
              <a:solidFill>
                <a:srgbClr val="7ECAC4"/>
              </a:solidFill>
            </c:spPr>
          </c:dPt>
          <c:dPt>
            <c:idx val="297"/>
            <c:spPr>
              <a:solidFill>
                <a:srgbClr val="7ECAC4"/>
              </a:solidFill>
            </c:spPr>
          </c:dPt>
          <c:dPt>
            <c:idx val="298"/>
            <c:spPr>
              <a:solidFill>
                <a:srgbClr val="7ECAC4"/>
              </a:solidFill>
            </c:spPr>
          </c:dPt>
          <c:dPt>
            <c:idx val="299"/>
            <c:spPr>
              <a:solidFill>
                <a:srgbClr val="7ECAC4"/>
              </a:solidFill>
            </c:spPr>
          </c:dPt>
          <c:dPt>
            <c:idx val="300"/>
            <c:spPr>
              <a:solidFill>
                <a:srgbClr val="7ECAC4"/>
              </a:solidFill>
            </c:spPr>
          </c:dPt>
          <c:dPt>
            <c:idx val="301"/>
            <c:spPr>
              <a:solidFill>
                <a:srgbClr val="7ECAC4"/>
              </a:solidFill>
            </c:spPr>
          </c:dPt>
          <c:dPt>
            <c:idx val="302"/>
            <c:spPr>
              <a:solidFill>
                <a:srgbClr val="7ECAC4"/>
              </a:solidFill>
            </c:spPr>
          </c:dPt>
          <c:dPt>
            <c:idx val="303"/>
            <c:spPr>
              <a:solidFill>
                <a:srgbClr val="7ECAC4"/>
              </a:solidFill>
            </c:spPr>
          </c:dPt>
          <c:dPt>
            <c:idx val="304"/>
            <c:spPr>
              <a:solidFill>
                <a:srgbClr val="7ECAC4"/>
              </a:solidFill>
            </c:spPr>
          </c:dPt>
          <c:dPt>
            <c:idx val="305"/>
            <c:spPr>
              <a:solidFill>
                <a:srgbClr val="7ECAC4"/>
              </a:solidFill>
            </c:spPr>
          </c:dPt>
          <c:dPt>
            <c:idx val="306"/>
            <c:spPr>
              <a:solidFill>
                <a:srgbClr val="7ECAC4"/>
              </a:solidFill>
            </c:spPr>
          </c:dPt>
          <c:dPt>
            <c:idx val="307"/>
            <c:spPr>
              <a:solidFill>
                <a:srgbClr val="7ECAC4"/>
              </a:solidFill>
            </c:spPr>
          </c:dPt>
          <c:dPt>
            <c:idx val="308"/>
            <c:spPr>
              <a:solidFill>
                <a:srgbClr val="7ECAC4"/>
              </a:solidFill>
            </c:spPr>
          </c:dPt>
          <c:dPt>
            <c:idx val="309"/>
            <c:spPr>
              <a:solidFill>
                <a:srgbClr val="7ECAC4"/>
              </a:solidFill>
            </c:spPr>
          </c:dPt>
          <c:dPt>
            <c:idx val="310"/>
            <c:spPr>
              <a:solidFill>
                <a:srgbClr val="7ECAC4"/>
              </a:solidFill>
            </c:spPr>
          </c:dPt>
          <c:dPt>
            <c:idx val="311"/>
            <c:spPr>
              <a:solidFill>
                <a:srgbClr val="7ECAC4"/>
              </a:solidFill>
            </c:spPr>
          </c:dPt>
          <c:dPt>
            <c:idx val="312"/>
            <c:spPr>
              <a:solidFill>
                <a:srgbClr val="7ECAC4"/>
              </a:solidFill>
            </c:spPr>
          </c:dPt>
          <c:dPt>
            <c:idx val="313"/>
            <c:spPr>
              <a:solidFill>
                <a:srgbClr val="7ECAC4"/>
              </a:solidFill>
            </c:spPr>
          </c:dPt>
          <c:dPt>
            <c:idx val="314"/>
            <c:spPr>
              <a:solidFill>
                <a:srgbClr val="7ECAC4"/>
              </a:solidFill>
            </c:spPr>
          </c:dPt>
          <c:dPt>
            <c:idx val="315"/>
            <c:spPr>
              <a:solidFill>
                <a:srgbClr val="7ECAC4"/>
              </a:solidFill>
            </c:spPr>
          </c:dPt>
          <c:dPt>
            <c:idx val="316"/>
            <c:spPr>
              <a:solidFill>
                <a:srgbClr val="7ECAC4"/>
              </a:solidFill>
            </c:spPr>
          </c:dPt>
          <c:dPt>
            <c:idx val="317"/>
            <c:spPr>
              <a:solidFill>
                <a:srgbClr val="7ECAC4"/>
              </a:solidFill>
            </c:spPr>
          </c:dPt>
          <c:dPt>
            <c:idx val="318"/>
            <c:spPr>
              <a:solidFill>
                <a:srgbClr val="7ECAC4"/>
              </a:solidFill>
            </c:spPr>
          </c:dPt>
          <c:dPt>
            <c:idx val="319"/>
            <c:spPr>
              <a:solidFill>
                <a:srgbClr val="7ECAC4"/>
              </a:solidFill>
            </c:spPr>
          </c:dPt>
          <c:dPt>
            <c:idx val="320"/>
            <c:spPr>
              <a:solidFill>
                <a:srgbClr val="7ECAC4"/>
              </a:solidFill>
            </c:spPr>
          </c:dPt>
          <c:dPt>
            <c:idx val="321"/>
            <c:spPr>
              <a:solidFill>
                <a:srgbClr val="7ECAC4"/>
              </a:solidFill>
            </c:spPr>
          </c:dPt>
          <c:dPt>
            <c:idx val="322"/>
            <c:spPr>
              <a:solidFill>
                <a:srgbClr val="7ECAC4"/>
              </a:solidFill>
            </c:spPr>
          </c:dPt>
          <c:dPt>
            <c:idx val="323"/>
            <c:spPr>
              <a:solidFill>
                <a:srgbClr val="7ECAC4"/>
              </a:solidFill>
            </c:spPr>
          </c:dPt>
          <c:dPt>
            <c:idx val="324"/>
            <c:spPr>
              <a:solidFill>
                <a:srgbClr val="7ECAC4"/>
              </a:solidFill>
            </c:spPr>
          </c:dPt>
          <c:dPt>
            <c:idx val="325"/>
            <c:spPr>
              <a:solidFill>
                <a:srgbClr val="7ECAC4"/>
              </a:solidFill>
            </c:spPr>
          </c:dPt>
          <c:dPt>
            <c:idx val="326"/>
            <c:spPr>
              <a:solidFill>
                <a:srgbClr val="7ECAC4"/>
              </a:solidFill>
            </c:spPr>
          </c:dPt>
          <c:dPt>
            <c:idx val="327"/>
            <c:spPr>
              <a:solidFill>
                <a:srgbClr val="7ECAC4"/>
              </a:solidFill>
            </c:spPr>
          </c:dPt>
          <c:dPt>
            <c:idx val="328"/>
            <c:spPr>
              <a:solidFill>
                <a:srgbClr val="7ECAC4"/>
              </a:solidFill>
            </c:spPr>
          </c:dPt>
          <c:dPt>
            <c:idx val="329"/>
            <c:spPr>
              <a:solidFill>
                <a:srgbClr val="7ECAC4"/>
              </a:solidFill>
            </c:spPr>
          </c:dPt>
          <c:dPt>
            <c:idx val="330"/>
            <c:spPr>
              <a:solidFill>
                <a:srgbClr val="7ECAC4"/>
              </a:solidFill>
            </c:spPr>
          </c:dPt>
          <c:dPt>
            <c:idx val="331"/>
            <c:spPr>
              <a:solidFill>
                <a:srgbClr val="7ECAC4"/>
              </a:solidFill>
            </c:spPr>
          </c:dPt>
          <c:dPt>
            <c:idx val="332"/>
            <c:spPr>
              <a:solidFill>
                <a:srgbClr val="7ECAC4"/>
              </a:solidFill>
            </c:spPr>
          </c:dPt>
          <c:dPt>
            <c:idx val="333"/>
            <c:spPr>
              <a:solidFill>
                <a:srgbClr val="7ECAC4"/>
              </a:solidFill>
            </c:spPr>
          </c:dPt>
          <c:dPt>
            <c:idx val="334"/>
            <c:spPr>
              <a:solidFill>
                <a:srgbClr val="7ECAC4"/>
              </a:solidFill>
            </c:spPr>
          </c:dPt>
          <c:dPt>
            <c:idx val="335"/>
            <c:spPr>
              <a:solidFill>
                <a:srgbClr val="7ECAC4"/>
              </a:solidFill>
            </c:spPr>
          </c:dPt>
          <c:dPt>
            <c:idx val="336"/>
            <c:spPr>
              <a:solidFill>
                <a:srgbClr val="7ECAC4"/>
              </a:solidFill>
            </c:spPr>
          </c:dPt>
          <c:dPt>
            <c:idx val="337"/>
            <c:spPr>
              <a:solidFill>
                <a:srgbClr val="7ECAC4"/>
              </a:solidFill>
            </c:spPr>
          </c:dPt>
          <c:dPt>
            <c:idx val="338"/>
            <c:spPr>
              <a:solidFill>
                <a:srgbClr val="7ECAC4"/>
              </a:solidFill>
            </c:spPr>
          </c:dPt>
          <c:dPt>
            <c:idx val="339"/>
            <c:spPr>
              <a:solidFill>
                <a:srgbClr val="7ECAC4"/>
              </a:solidFill>
            </c:spPr>
          </c:dPt>
          <c:dPt>
            <c:idx val="340"/>
            <c:spPr>
              <a:solidFill>
                <a:srgbClr val="7ECAC4"/>
              </a:solidFill>
            </c:spPr>
          </c:dPt>
          <c:dPt>
            <c:idx val="341"/>
            <c:spPr>
              <a:solidFill>
                <a:srgbClr val="7ECAC4"/>
              </a:solidFill>
            </c:spPr>
          </c:dPt>
          <c:dPt>
            <c:idx val="342"/>
            <c:spPr>
              <a:solidFill>
                <a:srgbClr val="7ECAC4"/>
              </a:solidFill>
            </c:spPr>
          </c:dPt>
          <c:dPt>
            <c:idx val="343"/>
            <c:spPr>
              <a:solidFill>
                <a:srgbClr val="7ECAC4"/>
              </a:solidFill>
            </c:spPr>
          </c:dPt>
          <c:dPt>
            <c:idx val="344"/>
            <c:spPr>
              <a:solidFill>
                <a:srgbClr val="7ECAC4"/>
              </a:solidFill>
            </c:spPr>
          </c:dPt>
          <c:dPt>
            <c:idx val="345"/>
            <c:spPr>
              <a:solidFill>
                <a:srgbClr val="7ECAC4"/>
              </a:solidFill>
            </c:spPr>
          </c:dPt>
          <c:dPt>
            <c:idx val="346"/>
            <c:spPr>
              <a:solidFill>
                <a:srgbClr val="7ECAC4"/>
              </a:solidFill>
            </c:spPr>
          </c:dPt>
          <c:dPt>
            <c:idx val="347"/>
            <c:spPr>
              <a:solidFill>
                <a:srgbClr val="7ECAC4"/>
              </a:solidFill>
            </c:spPr>
          </c:dPt>
          <c:dPt>
            <c:idx val="348"/>
            <c:spPr>
              <a:solidFill>
                <a:srgbClr val="7ECAC4"/>
              </a:solidFill>
            </c:spPr>
          </c:dPt>
          <c:dPt>
            <c:idx val="349"/>
            <c:spPr>
              <a:solidFill>
                <a:srgbClr val="7ECAC4"/>
              </a:solidFill>
            </c:spPr>
          </c:dPt>
          <c:dPt>
            <c:idx val="350"/>
            <c:spPr>
              <a:solidFill>
                <a:srgbClr val="AEABAB"/>
              </a:solidFill>
            </c:spPr>
          </c:dPt>
          <c:dPt>
            <c:idx val="351"/>
            <c:spPr>
              <a:solidFill>
                <a:srgbClr val="AEABAB"/>
              </a:solidFill>
            </c:spPr>
          </c:dPt>
          <c:dPt>
            <c:idx val="352"/>
            <c:spPr>
              <a:solidFill>
                <a:srgbClr val="AEABAB"/>
              </a:solidFill>
            </c:spPr>
          </c:dPt>
          <c:dPt>
            <c:idx val="353"/>
            <c:spPr>
              <a:solidFill>
                <a:srgbClr val="AEABAB"/>
              </a:solidFill>
            </c:spPr>
          </c:dPt>
          <c:dPt>
            <c:idx val="354"/>
            <c:spPr>
              <a:solidFill>
                <a:srgbClr val="AEABAB"/>
              </a:solidFill>
            </c:spPr>
          </c:dPt>
          <c:dPt>
            <c:idx val="355"/>
            <c:spPr>
              <a:solidFill>
                <a:srgbClr val="AEABAB"/>
              </a:solidFill>
            </c:spPr>
          </c:dPt>
          <c:dPt>
            <c:idx val="356"/>
            <c:spPr>
              <a:solidFill>
                <a:srgbClr val="AEABAB"/>
              </a:solidFill>
            </c:spPr>
          </c:dPt>
          <c:dPt>
            <c:idx val="357"/>
            <c:spPr>
              <a:solidFill>
                <a:srgbClr val="AEABAB"/>
              </a:solidFill>
            </c:spPr>
          </c:dPt>
          <c:dPt>
            <c:idx val="358"/>
            <c:spPr>
              <a:solidFill>
                <a:srgbClr val="AEABAB"/>
              </a:solidFill>
            </c:spPr>
          </c:dPt>
          <c:dPt>
            <c:idx val="359"/>
            <c:spPr>
              <a:solidFill>
                <a:srgbClr val="AEABAB"/>
              </a:solidFill>
            </c:spPr>
          </c:dPt>
          <c:dPt>
            <c:idx val="360"/>
            <c:spPr>
              <a:solidFill>
                <a:srgbClr val="AEABAB"/>
              </a:solidFill>
            </c:spPr>
          </c:dPt>
          <c:dPt>
            <c:idx val="361"/>
            <c:spPr>
              <a:solidFill>
                <a:srgbClr val="AEABAB"/>
              </a:solidFill>
            </c:spPr>
          </c:dPt>
          <c:dPt>
            <c:idx val="362"/>
            <c:spPr>
              <a:solidFill>
                <a:srgbClr val="AEABAB"/>
              </a:solidFill>
            </c:spPr>
          </c:dPt>
          <c:dPt>
            <c:idx val="363"/>
            <c:spPr>
              <a:solidFill>
                <a:srgbClr val="AEABAB"/>
              </a:solidFill>
            </c:spPr>
          </c:dPt>
          <c:dPt>
            <c:idx val="364"/>
            <c:spPr>
              <a:solidFill>
                <a:srgbClr val="AEABAB"/>
              </a:solidFill>
            </c:spPr>
          </c:dPt>
          <c:dPt>
            <c:idx val="365"/>
            <c:spPr>
              <a:solidFill>
                <a:srgbClr val="AEABAB"/>
              </a:solidFill>
            </c:spPr>
          </c:dPt>
          <c:dPt>
            <c:idx val="366"/>
            <c:spPr>
              <a:solidFill>
                <a:srgbClr val="AEABAB"/>
              </a:solidFill>
            </c:spPr>
          </c:dPt>
          <c:dPt>
            <c:idx val="367"/>
            <c:spPr>
              <a:solidFill>
                <a:srgbClr val="AEABAB"/>
              </a:solidFill>
            </c:spPr>
          </c:dPt>
          <c:dPt>
            <c:idx val="368"/>
            <c:spPr>
              <a:solidFill>
                <a:srgbClr val="AEABAB"/>
              </a:solidFill>
            </c:spPr>
          </c:dPt>
          <c:dPt>
            <c:idx val="369"/>
            <c:spPr>
              <a:solidFill>
                <a:srgbClr val="AEABAB"/>
              </a:solidFill>
            </c:spPr>
          </c:dPt>
          <c:dPt>
            <c:idx val="370"/>
            <c:spPr>
              <a:solidFill>
                <a:srgbClr val="AEABAB"/>
              </a:solidFill>
            </c:spPr>
          </c:dPt>
          <c:dPt>
            <c:idx val="371"/>
            <c:spPr>
              <a:solidFill>
                <a:srgbClr val="AEABAB"/>
              </a:solidFill>
            </c:spPr>
          </c:dPt>
          <c:dPt>
            <c:idx val="372"/>
            <c:spPr>
              <a:solidFill>
                <a:srgbClr val="AEABAB"/>
              </a:solidFill>
            </c:spPr>
          </c:dPt>
          <c:dPt>
            <c:idx val="373"/>
            <c:spPr>
              <a:solidFill>
                <a:srgbClr val="AEABAB"/>
              </a:solidFill>
            </c:spPr>
          </c:dPt>
          <c:dPt>
            <c:idx val="374"/>
            <c:spPr>
              <a:solidFill>
                <a:srgbClr val="AEABAB"/>
              </a:solidFill>
            </c:spPr>
          </c:dPt>
          <c:dPt>
            <c:idx val="375"/>
            <c:spPr>
              <a:solidFill>
                <a:srgbClr val="AEABAB"/>
              </a:solidFill>
            </c:spPr>
          </c:dPt>
          <c:dPt>
            <c:idx val="376"/>
            <c:spPr>
              <a:solidFill>
                <a:srgbClr val="AEABAB"/>
              </a:solidFill>
            </c:spPr>
          </c:dPt>
          <c:dPt>
            <c:idx val="377"/>
            <c:spPr>
              <a:solidFill>
                <a:srgbClr val="AEABAB"/>
              </a:solidFill>
            </c:spPr>
          </c:dPt>
          <c:dPt>
            <c:idx val="378"/>
            <c:spPr>
              <a:solidFill>
                <a:srgbClr val="AEABAB"/>
              </a:solidFill>
            </c:spPr>
          </c:dPt>
          <c:dPt>
            <c:idx val="379"/>
            <c:spPr>
              <a:solidFill>
                <a:srgbClr val="AEABAB"/>
              </a:solidFill>
            </c:spPr>
          </c:dPt>
          <c:dPt>
            <c:idx val="380"/>
            <c:spPr>
              <a:solidFill>
                <a:srgbClr val="AEABAB"/>
              </a:solidFill>
            </c:spPr>
          </c:dPt>
          <c:dPt>
            <c:idx val="381"/>
            <c:spPr>
              <a:solidFill>
                <a:srgbClr val="AEABAB"/>
              </a:solidFill>
            </c:spPr>
          </c:dPt>
          <c:dPt>
            <c:idx val="382"/>
            <c:spPr>
              <a:solidFill>
                <a:srgbClr val="AEABAB"/>
              </a:solidFill>
            </c:spPr>
          </c:dPt>
          <c:dPt>
            <c:idx val="383"/>
            <c:spPr>
              <a:solidFill>
                <a:srgbClr val="AEABAB"/>
              </a:solidFill>
            </c:spPr>
          </c:dPt>
          <c:dPt>
            <c:idx val="384"/>
            <c:spPr>
              <a:solidFill>
                <a:srgbClr val="AEABAB"/>
              </a:solidFill>
            </c:spPr>
          </c:dPt>
          <c:dPt>
            <c:idx val="385"/>
            <c:spPr>
              <a:solidFill>
                <a:srgbClr val="AEABAB"/>
              </a:solidFill>
            </c:spPr>
          </c:dPt>
          <c:dPt>
            <c:idx val="386"/>
            <c:spPr>
              <a:solidFill>
                <a:srgbClr val="AEABAB"/>
              </a:solidFill>
            </c:spPr>
          </c:dPt>
          <c:dPt>
            <c:idx val="387"/>
            <c:spPr>
              <a:solidFill>
                <a:srgbClr val="AEABAB"/>
              </a:solidFill>
            </c:spPr>
          </c:dPt>
          <c:dPt>
            <c:idx val="388"/>
            <c:spPr>
              <a:solidFill>
                <a:srgbClr val="AEABAB"/>
              </a:solidFill>
            </c:spPr>
          </c:dPt>
          <c:dPt>
            <c:idx val="389"/>
            <c:spPr>
              <a:solidFill>
                <a:srgbClr val="AEABAB"/>
              </a:solidFill>
            </c:spPr>
          </c:dPt>
          <c:dPt>
            <c:idx val="390"/>
            <c:spPr>
              <a:solidFill>
                <a:srgbClr val="AEABAB"/>
              </a:solidFill>
            </c:spPr>
          </c:dPt>
          <c:dPt>
            <c:idx val="391"/>
            <c:spPr>
              <a:solidFill>
                <a:srgbClr val="AEABAB"/>
              </a:solidFill>
            </c:spPr>
          </c:dPt>
          <c:dPt>
            <c:idx val="392"/>
            <c:spPr>
              <a:solidFill>
                <a:srgbClr val="AEABAB"/>
              </a:solidFill>
            </c:spPr>
          </c:dPt>
          <c:dPt>
            <c:idx val="393"/>
            <c:spPr>
              <a:solidFill>
                <a:srgbClr val="AEABAB"/>
              </a:solidFill>
            </c:spPr>
          </c:dPt>
          <c:dPt>
            <c:idx val="394"/>
            <c:spPr>
              <a:solidFill>
                <a:srgbClr val="AEABAB"/>
              </a:solidFill>
            </c:spPr>
          </c:dPt>
          <c:dPt>
            <c:idx val="395"/>
            <c:spPr>
              <a:solidFill>
                <a:srgbClr val="AEABAB"/>
              </a:solidFill>
            </c:spPr>
          </c:dPt>
          <c:dPt>
            <c:idx val="396"/>
            <c:spPr>
              <a:solidFill>
                <a:srgbClr val="AEABAB"/>
              </a:solidFill>
            </c:spPr>
          </c:dPt>
          <c:dPt>
            <c:idx val="397"/>
            <c:spPr>
              <a:solidFill>
                <a:srgbClr val="AEABAB"/>
              </a:solidFill>
            </c:spPr>
          </c:dPt>
          <c:dPt>
            <c:idx val="398"/>
            <c:spPr>
              <a:solidFill>
                <a:srgbClr val="AEABAB"/>
              </a:solidFill>
            </c:spPr>
          </c:dPt>
          <c:dPt>
            <c:idx val="399"/>
            <c:spPr>
              <a:solidFill>
                <a:srgbClr val="AEABAB"/>
              </a:solidFill>
            </c:spPr>
          </c:dPt>
          <c:dPt>
            <c:idx val="400"/>
            <c:spPr>
              <a:solidFill>
                <a:srgbClr val="AEABAB"/>
              </a:solidFill>
            </c:spPr>
          </c:dPt>
          <c:dPt>
            <c:idx val="401"/>
            <c:spPr>
              <a:solidFill>
                <a:srgbClr val="AEABAB"/>
              </a:solidFill>
            </c:spPr>
          </c:dPt>
          <c:dPt>
            <c:idx val="402"/>
            <c:spPr>
              <a:solidFill>
                <a:srgbClr val="AEABAB"/>
              </a:solidFill>
            </c:spPr>
          </c:dPt>
          <c:dPt>
            <c:idx val="403"/>
            <c:spPr>
              <a:solidFill>
                <a:srgbClr val="AEABAB"/>
              </a:solidFill>
            </c:spPr>
          </c:dPt>
          <c:dPt>
            <c:idx val="404"/>
            <c:spPr>
              <a:solidFill>
                <a:srgbClr val="AEABAB"/>
              </a:solidFill>
            </c:spPr>
          </c:dPt>
          <c:dPt>
            <c:idx val="405"/>
            <c:spPr>
              <a:solidFill>
                <a:srgbClr val="AEABAB"/>
              </a:solidFill>
            </c:spPr>
          </c:dPt>
          <c:dPt>
            <c:idx val="406"/>
            <c:spPr>
              <a:solidFill>
                <a:srgbClr val="AEABAB"/>
              </a:solidFill>
            </c:spPr>
          </c:dPt>
          <c:dPt>
            <c:idx val="407"/>
            <c:spPr>
              <a:solidFill>
                <a:srgbClr val="AEABAB"/>
              </a:solidFill>
            </c:spPr>
          </c:dPt>
          <c:dPt>
            <c:idx val="408"/>
            <c:spPr>
              <a:solidFill>
                <a:srgbClr val="AEABAB"/>
              </a:solidFill>
            </c:spPr>
          </c:dPt>
          <c:dPt>
            <c:idx val="409"/>
            <c:spPr>
              <a:solidFill>
                <a:srgbClr val="AEABAB"/>
              </a:solidFill>
            </c:spPr>
          </c:dPt>
          <c:dPt>
            <c:idx val="410"/>
            <c:spPr>
              <a:solidFill>
                <a:srgbClr val="AEABAB"/>
              </a:solidFill>
            </c:spPr>
          </c:dPt>
          <c:dPt>
            <c:idx val="411"/>
            <c:spPr>
              <a:solidFill>
                <a:srgbClr val="AEABAB"/>
              </a:solidFill>
            </c:spPr>
          </c:dPt>
          <c:dPt>
            <c:idx val="412"/>
            <c:spPr>
              <a:solidFill>
                <a:srgbClr val="AEABAB"/>
              </a:solidFill>
            </c:spPr>
          </c:dPt>
          <c:dPt>
            <c:idx val="413"/>
            <c:spPr>
              <a:solidFill>
                <a:srgbClr val="AEABAB"/>
              </a:solidFill>
            </c:spPr>
          </c:dPt>
          <c:dPt>
            <c:idx val="414"/>
            <c:spPr>
              <a:solidFill>
                <a:srgbClr val="AEABAB"/>
              </a:solidFill>
            </c:spPr>
          </c:dPt>
          <c:dPt>
            <c:idx val="415"/>
            <c:spPr>
              <a:solidFill>
                <a:srgbClr val="AEABAB"/>
              </a:solidFill>
            </c:spPr>
          </c:dPt>
          <c:dPt>
            <c:idx val="416"/>
            <c:spPr>
              <a:solidFill>
                <a:srgbClr val="AEABAB"/>
              </a:solidFill>
            </c:spPr>
          </c:dPt>
          <c:dPt>
            <c:idx val="417"/>
            <c:spPr>
              <a:solidFill>
                <a:srgbClr val="AEABAB"/>
              </a:solidFill>
            </c:spPr>
          </c:dPt>
          <c:dPt>
            <c:idx val="418"/>
            <c:spPr>
              <a:solidFill>
                <a:srgbClr val="AEABAB"/>
              </a:solidFill>
            </c:spPr>
          </c:dPt>
          <c:dPt>
            <c:idx val="419"/>
            <c:spPr>
              <a:solidFill>
                <a:srgbClr val="AEABAB"/>
              </a:solidFill>
            </c:spPr>
          </c:dPt>
          <c:dPt>
            <c:idx val="420"/>
            <c:spPr>
              <a:solidFill>
                <a:srgbClr val="AEABAB"/>
              </a:solidFill>
            </c:spPr>
          </c:dPt>
          <c:dPt>
            <c:idx val="421"/>
            <c:spPr>
              <a:solidFill>
                <a:srgbClr val="AEABAB"/>
              </a:solidFill>
            </c:spPr>
          </c:dPt>
          <c:dPt>
            <c:idx val="422"/>
            <c:spPr>
              <a:solidFill>
                <a:srgbClr val="AEABAB"/>
              </a:solidFill>
            </c:spPr>
          </c:dPt>
          <c:dPt>
            <c:idx val="423"/>
            <c:spPr>
              <a:solidFill>
                <a:srgbClr val="AEABAB"/>
              </a:solidFill>
            </c:spPr>
          </c:dPt>
          <c:dPt>
            <c:idx val="424"/>
            <c:spPr>
              <a:solidFill>
                <a:srgbClr val="AEABAB"/>
              </a:solidFill>
            </c:spPr>
          </c:dPt>
          <c:dPt>
            <c:idx val="425"/>
            <c:spPr>
              <a:solidFill>
                <a:srgbClr val="AEABAB"/>
              </a:solidFill>
            </c:spPr>
          </c:dPt>
          <c:dPt>
            <c:idx val="426"/>
            <c:spPr>
              <a:solidFill>
                <a:srgbClr val="AEABAB"/>
              </a:solidFill>
            </c:spPr>
          </c:dPt>
          <c:dPt>
            <c:idx val="427"/>
            <c:spPr>
              <a:solidFill>
                <a:srgbClr val="AEABAB"/>
              </a:solidFill>
            </c:spPr>
          </c:dPt>
          <c:dPt>
            <c:idx val="428"/>
            <c:spPr>
              <a:solidFill>
                <a:srgbClr val="AEABAB"/>
              </a:solidFill>
            </c:spPr>
          </c:dPt>
          <c:dPt>
            <c:idx val="429"/>
            <c:spPr>
              <a:solidFill>
                <a:srgbClr val="AEABAB"/>
              </a:solidFill>
            </c:spPr>
          </c:dPt>
          <c:dPt>
            <c:idx val="430"/>
            <c:spPr>
              <a:solidFill>
                <a:srgbClr val="AEABAB"/>
              </a:solidFill>
            </c:spPr>
          </c:dPt>
          <c:dPt>
            <c:idx val="431"/>
            <c:spPr>
              <a:solidFill>
                <a:srgbClr val="AEABAB"/>
              </a:solidFill>
            </c:spPr>
          </c:dPt>
          <c:dPt>
            <c:idx val="432"/>
            <c:spPr>
              <a:solidFill>
                <a:srgbClr val="AEABAB"/>
              </a:solidFill>
            </c:spPr>
          </c:dPt>
          <c:dPt>
            <c:idx val="433"/>
            <c:spPr>
              <a:solidFill>
                <a:srgbClr val="AEABAB"/>
              </a:solidFill>
            </c:spPr>
          </c:dPt>
          <c:dPt>
            <c:idx val="434"/>
            <c:spPr>
              <a:solidFill>
                <a:srgbClr val="AEABAB"/>
              </a:solidFill>
            </c:spPr>
          </c:dPt>
          <c:dPt>
            <c:idx val="435"/>
            <c:spPr>
              <a:solidFill>
                <a:srgbClr val="AEABAB"/>
              </a:solidFill>
            </c:spPr>
          </c:dPt>
          <c:dPt>
            <c:idx val="436"/>
            <c:spPr>
              <a:solidFill>
                <a:srgbClr val="AEABAB"/>
              </a:solidFill>
            </c:spPr>
          </c:dPt>
          <c:dPt>
            <c:idx val="437"/>
            <c:spPr>
              <a:solidFill>
                <a:srgbClr val="AEABAB"/>
              </a:solidFill>
            </c:spPr>
          </c:dPt>
          <c:dPt>
            <c:idx val="438"/>
            <c:spPr>
              <a:solidFill>
                <a:srgbClr val="AEABAB"/>
              </a:solidFill>
            </c:spPr>
          </c:dPt>
          <c:dPt>
            <c:idx val="439"/>
            <c:spPr>
              <a:solidFill>
                <a:srgbClr val="AEABAB"/>
              </a:solidFill>
            </c:spPr>
          </c:dPt>
          <c:dPt>
            <c:idx val="440"/>
            <c:spPr>
              <a:solidFill>
                <a:srgbClr val="AEABAB"/>
              </a:solidFill>
            </c:spPr>
          </c:dPt>
          <c:dPt>
            <c:idx val="441"/>
            <c:spPr>
              <a:solidFill>
                <a:srgbClr val="AEABAB"/>
              </a:solidFill>
            </c:spPr>
          </c:dPt>
          <c:dPt>
            <c:idx val="442"/>
            <c:spPr>
              <a:solidFill>
                <a:srgbClr val="AEABAB"/>
              </a:solidFill>
            </c:spPr>
          </c:dPt>
          <c:dPt>
            <c:idx val="443"/>
            <c:spPr>
              <a:solidFill>
                <a:srgbClr val="AEABAB"/>
              </a:solidFill>
            </c:spPr>
          </c:dPt>
          <c:dPt>
            <c:idx val="444"/>
            <c:spPr>
              <a:solidFill>
                <a:srgbClr val="AEABAB"/>
              </a:solidFill>
            </c:spPr>
          </c:dPt>
          <c:dPt>
            <c:idx val="445"/>
            <c:spPr>
              <a:solidFill>
                <a:srgbClr val="AEABAB"/>
              </a:solidFill>
            </c:spPr>
          </c:dPt>
          <c:dPt>
            <c:idx val="446"/>
            <c:spPr>
              <a:solidFill>
                <a:srgbClr val="AEABAB"/>
              </a:solidFill>
            </c:spPr>
          </c:dPt>
          <c:dPt>
            <c:idx val="447"/>
            <c:spPr>
              <a:solidFill>
                <a:srgbClr val="AEABAB"/>
              </a:solidFill>
            </c:spPr>
          </c:dPt>
          <c:dPt>
            <c:idx val="448"/>
            <c:spPr>
              <a:solidFill>
                <a:srgbClr val="AEABAB"/>
              </a:solidFill>
            </c:spPr>
          </c:dPt>
          <c:dPt>
            <c:idx val="449"/>
            <c:spPr>
              <a:solidFill>
                <a:srgbClr val="AEABAB"/>
              </a:solidFill>
            </c:spPr>
          </c:dPt>
          <c:dPt>
            <c:idx val="450"/>
            <c:spPr>
              <a:solidFill>
                <a:srgbClr val="AEABAB"/>
              </a:solidFill>
            </c:spPr>
          </c:dPt>
          <c:dPt>
            <c:idx val="451"/>
            <c:spPr>
              <a:solidFill>
                <a:srgbClr val="AEABAB"/>
              </a:solidFill>
            </c:spPr>
          </c:dPt>
          <c:dPt>
            <c:idx val="452"/>
            <c:spPr>
              <a:solidFill>
                <a:srgbClr val="AEABAB"/>
              </a:solidFill>
            </c:spPr>
          </c:dPt>
          <c:dPt>
            <c:idx val="453"/>
            <c:spPr>
              <a:solidFill>
                <a:srgbClr val="AEABAB"/>
              </a:solidFill>
            </c:spPr>
          </c:dPt>
          <c:dPt>
            <c:idx val="454"/>
            <c:spPr>
              <a:solidFill>
                <a:srgbClr val="AEABAB"/>
              </a:solidFill>
            </c:spPr>
          </c:dPt>
          <c:dPt>
            <c:idx val="455"/>
            <c:spPr>
              <a:solidFill>
                <a:srgbClr val="AEABAB"/>
              </a:solidFill>
            </c:spPr>
          </c:dPt>
          <c:dPt>
            <c:idx val="456"/>
            <c:spPr>
              <a:solidFill>
                <a:srgbClr val="AEABAB"/>
              </a:solidFill>
            </c:spPr>
          </c:dPt>
          <c:dPt>
            <c:idx val="457"/>
            <c:spPr>
              <a:solidFill>
                <a:srgbClr val="AEABAB"/>
              </a:solidFill>
            </c:spPr>
          </c:dPt>
          <c:dPt>
            <c:idx val="458"/>
            <c:spPr>
              <a:solidFill>
                <a:srgbClr val="AEABAB"/>
              </a:solidFill>
            </c:spPr>
          </c:dPt>
          <c:dPt>
            <c:idx val="459"/>
            <c:spPr>
              <a:solidFill>
                <a:srgbClr val="AEABAB"/>
              </a:solidFill>
            </c:spPr>
          </c:dPt>
          <c:dPt>
            <c:idx val="460"/>
            <c:spPr>
              <a:solidFill>
                <a:srgbClr val="AEABAB"/>
              </a:solidFill>
            </c:spPr>
          </c:dPt>
          <c:dPt>
            <c:idx val="461"/>
            <c:spPr>
              <a:solidFill>
                <a:srgbClr val="AEABAB"/>
              </a:solidFill>
            </c:spPr>
          </c:dPt>
          <c:dPt>
            <c:idx val="462"/>
            <c:spPr>
              <a:solidFill>
                <a:srgbClr val="AEABAB"/>
              </a:solidFill>
            </c:spPr>
          </c:dPt>
          <c:dPt>
            <c:idx val="463"/>
            <c:spPr>
              <a:solidFill>
                <a:srgbClr val="AEABAB"/>
              </a:solidFill>
            </c:spPr>
          </c:dPt>
          <c:dPt>
            <c:idx val="464"/>
            <c:spPr>
              <a:solidFill>
                <a:srgbClr val="AEABAB"/>
              </a:solidFill>
            </c:spPr>
          </c:dPt>
          <c:dPt>
            <c:idx val="465"/>
            <c:spPr>
              <a:solidFill>
                <a:srgbClr val="AEABAB"/>
              </a:solidFill>
            </c:spPr>
          </c:dPt>
          <c:dPt>
            <c:idx val="466"/>
            <c:spPr>
              <a:solidFill>
                <a:srgbClr val="AEABAB"/>
              </a:solidFill>
            </c:spPr>
          </c:dPt>
          <c:dPt>
            <c:idx val="467"/>
            <c:spPr>
              <a:solidFill>
                <a:srgbClr val="AEABAB"/>
              </a:solidFill>
            </c:spPr>
          </c:dPt>
          <c:dPt>
            <c:idx val="468"/>
            <c:spPr>
              <a:solidFill>
                <a:srgbClr val="AEABAB"/>
              </a:solidFill>
            </c:spPr>
          </c:dPt>
          <c:dPt>
            <c:idx val="469"/>
            <c:spPr>
              <a:solidFill>
                <a:srgbClr val="AEABAB"/>
              </a:solidFill>
            </c:spPr>
          </c:dPt>
          <c:dPt>
            <c:idx val="470"/>
            <c:spPr>
              <a:solidFill>
                <a:srgbClr val="AEABAB"/>
              </a:solidFill>
            </c:spPr>
          </c:dPt>
          <c:dPt>
            <c:idx val="471"/>
            <c:spPr>
              <a:solidFill>
                <a:srgbClr val="AEABAB"/>
              </a:solidFill>
            </c:spPr>
          </c:dPt>
          <c:dPt>
            <c:idx val="472"/>
            <c:spPr>
              <a:solidFill>
                <a:srgbClr val="AEABAB"/>
              </a:solidFill>
            </c:spPr>
          </c:dPt>
          <c:dPt>
            <c:idx val="473"/>
            <c:spPr>
              <a:solidFill>
                <a:srgbClr val="AEABAB"/>
              </a:solidFill>
            </c:spPr>
          </c:dPt>
          <c:dPt>
            <c:idx val="474"/>
            <c:spPr>
              <a:solidFill>
                <a:srgbClr val="AEABAB"/>
              </a:solidFill>
            </c:spPr>
          </c:dPt>
          <c:dPt>
            <c:idx val="475"/>
            <c:spPr>
              <a:solidFill>
                <a:srgbClr val="AEABAB"/>
              </a:solidFill>
            </c:spPr>
          </c:dPt>
          <c:dPt>
            <c:idx val="476"/>
            <c:spPr>
              <a:solidFill>
                <a:srgbClr val="AEABAB"/>
              </a:solidFill>
            </c:spPr>
          </c:dPt>
          <c:dPt>
            <c:idx val="477"/>
            <c:spPr>
              <a:solidFill>
                <a:srgbClr val="AEABAB"/>
              </a:solidFill>
            </c:spPr>
          </c:dPt>
          <c:dPt>
            <c:idx val="478"/>
            <c:spPr>
              <a:solidFill>
                <a:srgbClr val="AEABAB"/>
              </a:solidFill>
            </c:spPr>
          </c:dPt>
          <c:dPt>
            <c:idx val="479"/>
            <c:spPr>
              <a:solidFill>
                <a:srgbClr val="AEABAB"/>
              </a:solidFill>
            </c:spPr>
          </c:dPt>
          <c:dPt>
            <c:idx val="480"/>
            <c:spPr>
              <a:solidFill>
                <a:srgbClr val="AEABAB"/>
              </a:solidFill>
            </c:spPr>
          </c:dPt>
          <c:dPt>
            <c:idx val="481"/>
            <c:spPr>
              <a:solidFill>
                <a:srgbClr val="AEABAB"/>
              </a:solidFill>
            </c:spPr>
          </c:dPt>
          <c:dPt>
            <c:idx val="482"/>
            <c:spPr>
              <a:solidFill>
                <a:srgbClr val="AEABAB"/>
              </a:solidFill>
            </c:spPr>
          </c:dPt>
          <c:dPt>
            <c:idx val="483"/>
            <c:spPr>
              <a:solidFill>
                <a:srgbClr val="AEABAB"/>
              </a:solidFill>
            </c:spPr>
          </c:dPt>
          <c:dPt>
            <c:idx val="484"/>
            <c:spPr>
              <a:solidFill>
                <a:srgbClr val="AEABAB"/>
              </a:solidFill>
            </c:spPr>
          </c:dPt>
          <c:dPt>
            <c:idx val="485"/>
            <c:spPr>
              <a:solidFill>
                <a:srgbClr val="AEABAB"/>
              </a:solidFill>
            </c:spPr>
          </c:dPt>
          <c:dPt>
            <c:idx val="486"/>
            <c:spPr>
              <a:solidFill>
                <a:srgbClr val="AEABAB"/>
              </a:solidFill>
            </c:spPr>
          </c:dPt>
          <c:dPt>
            <c:idx val="487"/>
            <c:spPr>
              <a:solidFill>
                <a:srgbClr val="AEABAB"/>
              </a:solidFill>
            </c:spPr>
          </c:dPt>
          <c:dPt>
            <c:idx val="488"/>
            <c:spPr>
              <a:solidFill>
                <a:srgbClr val="AEABAB"/>
              </a:solidFill>
            </c:spPr>
          </c:dPt>
          <c:dPt>
            <c:idx val="489"/>
            <c:spPr>
              <a:solidFill>
                <a:srgbClr val="AEABAB"/>
              </a:solidFill>
            </c:spPr>
          </c:dPt>
          <c:dPt>
            <c:idx val="490"/>
            <c:spPr>
              <a:solidFill>
                <a:srgbClr val="AEABAB"/>
              </a:solidFill>
            </c:spPr>
          </c:dPt>
          <c:dPt>
            <c:idx val="491"/>
            <c:spPr>
              <a:solidFill>
                <a:srgbClr val="AEABAB"/>
              </a:solidFill>
            </c:spPr>
          </c:dPt>
          <c:dPt>
            <c:idx val="492"/>
            <c:spPr>
              <a:solidFill>
                <a:srgbClr val="AEABAB"/>
              </a:solidFill>
            </c:spPr>
          </c:dPt>
          <c:dPt>
            <c:idx val="493"/>
            <c:spPr>
              <a:solidFill>
                <a:srgbClr val="AEABAB"/>
              </a:solidFill>
            </c:spPr>
          </c:dPt>
          <c:dPt>
            <c:idx val="494"/>
            <c:spPr>
              <a:solidFill>
                <a:srgbClr val="AEABAB"/>
              </a:solidFill>
            </c:spPr>
          </c:dPt>
          <c:dPt>
            <c:idx val="495"/>
            <c:spPr>
              <a:solidFill>
                <a:srgbClr val="AEABAB"/>
              </a:solidFill>
            </c:spPr>
          </c:dPt>
          <c:dPt>
            <c:idx val="496"/>
            <c:spPr>
              <a:solidFill>
                <a:srgbClr val="AEABAB"/>
              </a:solidFill>
            </c:spPr>
          </c:dPt>
          <c:dPt>
            <c:idx val="497"/>
            <c:spPr>
              <a:solidFill>
                <a:srgbClr val="AEABAB"/>
              </a:solidFill>
            </c:spPr>
          </c:dPt>
          <c:dPt>
            <c:idx val="498"/>
            <c:spPr>
              <a:solidFill>
                <a:srgbClr val="AEABAB"/>
              </a:solidFill>
            </c:spPr>
          </c:dPt>
          <c:dPt>
            <c:idx val="499"/>
            <c:spPr>
              <a:solidFill>
                <a:srgbClr val="AEABAB"/>
              </a:solidFill>
            </c:spPr>
          </c:dPt>
          <c:dPt>
            <c:idx val="500"/>
            <c:spPr>
              <a:solidFill>
                <a:srgbClr val="AEABAB"/>
              </a:solidFill>
            </c:spPr>
          </c:dPt>
          <c:dPt>
            <c:idx val="501"/>
            <c:spPr>
              <a:solidFill>
                <a:srgbClr val="AEABAB"/>
              </a:solidFill>
            </c:spPr>
          </c:dPt>
          <c:dPt>
            <c:idx val="502"/>
            <c:spPr>
              <a:solidFill>
                <a:srgbClr val="AEABAB"/>
              </a:solidFill>
            </c:spPr>
          </c:dPt>
          <c:dPt>
            <c:idx val="503"/>
            <c:spPr>
              <a:solidFill>
                <a:srgbClr val="AEABAB"/>
              </a:solidFill>
            </c:spPr>
          </c:dPt>
          <c:dPt>
            <c:idx val="504"/>
            <c:spPr>
              <a:solidFill>
                <a:srgbClr val="AEABAB"/>
              </a:solidFill>
            </c:spPr>
          </c:dPt>
          <c:dPt>
            <c:idx val="505"/>
            <c:spPr>
              <a:solidFill>
                <a:srgbClr val="AEABAB"/>
              </a:solidFill>
            </c:spPr>
          </c:dPt>
          <c:dPt>
            <c:idx val="506"/>
            <c:spPr>
              <a:solidFill>
                <a:srgbClr val="AEABAB"/>
              </a:solidFill>
            </c:spPr>
          </c:dPt>
          <c:dPt>
            <c:idx val="507"/>
            <c:spPr>
              <a:solidFill>
                <a:srgbClr val="AEABAB"/>
              </a:solidFill>
            </c:spPr>
          </c:dPt>
          <c:dPt>
            <c:idx val="508"/>
            <c:spPr>
              <a:solidFill>
                <a:srgbClr val="AEABAB"/>
              </a:solidFill>
            </c:spPr>
          </c:dPt>
          <c:dPt>
            <c:idx val="509"/>
            <c:spPr>
              <a:solidFill>
                <a:srgbClr val="AEABAB"/>
              </a:solidFill>
            </c:spPr>
          </c:dPt>
          <c:dPt>
            <c:idx val="510"/>
            <c:spPr>
              <a:solidFill>
                <a:srgbClr val="AEABAB"/>
              </a:solidFill>
            </c:spPr>
          </c:dPt>
          <c:dPt>
            <c:idx val="511"/>
            <c:spPr>
              <a:solidFill>
                <a:srgbClr val="AEABAB"/>
              </a:solidFill>
            </c:spPr>
          </c:dPt>
          <c:dPt>
            <c:idx val="512"/>
            <c:spPr>
              <a:solidFill>
                <a:srgbClr val="AEABAB"/>
              </a:solidFill>
            </c:spPr>
          </c:dPt>
          <c:dPt>
            <c:idx val="513"/>
            <c:spPr>
              <a:solidFill>
                <a:srgbClr val="AEABAB"/>
              </a:solidFill>
            </c:spPr>
          </c:dPt>
          <c:dPt>
            <c:idx val="514"/>
            <c:spPr>
              <a:solidFill>
                <a:srgbClr val="AEABAB"/>
              </a:solidFill>
            </c:spPr>
          </c:dPt>
          <c:dPt>
            <c:idx val="515"/>
            <c:spPr>
              <a:solidFill>
                <a:srgbClr val="AEABAB"/>
              </a:solidFill>
            </c:spPr>
          </c:dPt>
          <c:dPt>
            <c:idx val="516"/>
            <c:spPr>
              <a:solidFill>
                <a:srgbClr val="AEABAB"/>
              </a:solidFill>
            </c:spPr>
          </c:dPt>
          <c:dPt>
            <c:idx val="517"/>
            <c:spPr>
              <a:solidFill>
                <a:srgbClr val="AEABAB"/>
              </a:solidFill>
            </c:spPr>
          </c:dPt>
          <c:dPt>
            <c:idx val="518"/>
            <c:spPr>
              <a:solidFill>
                <a:srgbClr val="AEABAB"/>
              </a:solidFill>
            </c:spPr>
          </c:dPt>
          <c:dPt>
            <c:idx val="519"/>
            <c:spPr>
              <a:solidFill>
                <a:srgbClr val="AEABAB"/>
              </a:solidFill>
            </c:spPr>
          </c:dPt>
          <c:dPt>
            <c:idx val="520"/>
            <c:spPr>
              <a:solidFill>
                <a:srgbClr val="AEABAB"/>
              </a:solidFill>
            </c:spPr>
          </c:dPt>
          <c:dPt>
            <c:idx val="521"/>
            <c:spPr>
              <a:solidFill>
                <a:srgbClr val="AEABAB"/>
              </a:solidFill>
            </c:spPr>
          </c:dPt>
          <c:dPt>
            <c:idx val="522"/>
            <c:spPr>
              <a:solidFill>
                <a:srgbClr val="AEABAB"/>
              </a:solidFill>
            </c:spPr>
          </c:dPt>
          <c:dPt>
            <c:idx val="523"/>
            <c:spPr>
              <a:solidFill>
                <a:srgbClr val="AEABAB"/>
              </a:solidFill>
            </c:spPr>
          </c:dPt>
          <c:dPt>
            <c:idx val="524"/>
            <c:spPr>
              <a:solidFill>
                <a:srgbClr val="AEABAB"/>
              </a:solidFill>
            </c:spPr>
          </c:dPt>
          <c:dPt>
            <c:idx val="525"/>
            <c:spPr>
              <a:solidFill>
                <a:srgbClr val="AEABAB"/>
              </a:solidFill>
            </c:spPr>
          </c:dPt>
          <c:dPt>
            <c:idx val="526"/>
            <c:spPr>
              <a:solidFill>
                <a:srgbClr val="AEABAB"/>
              </a:solidFill>
            </c:spPr>
          </c:dPt>
          <c:dPt>
            <c:idx val="527"/>
            <c:spPr>
              <a:solidFill>
                <a:srgbClr val="AEABAB"/>
              </a:solidFill>
            </c:spPr>
          </c:dPt>
          <c:dPt>
            <c:idx val="528"/>
            <c:spPr>
              <a:solidFill>
                <a:srgbClr val="AEABAB"/>
              </a:solidFill>
            </c:spPr>
          </c:dPt>
          <c:dPt>
            <c:idx val="529"/>
            <c:spPr>
              <a:solidFill>
                <a:srgbClr val="AEABAB"/>
              </a:solidFill>
            </c:spPr>
          </c:dPt>
          <c:dPt>
            <c:idx val="530"/>
            <c:spPr>
              <a:solidFill>
                <a:srgbClr val="AEABAB"/>
              </a:solidFill>
            </c:spPr>
          </c:dPt>
          <c:dPt>
            <c:idx val="531"/>
            <c:spPr>
              <a:solidFill>
                <a:srgbClr val="AEABAB"/>
              </a:solidFill>
            </c:spPr>
          </c:dPt>
          <c:dPt>
            <c:idx val="532"/>
            <c:spPr>
              <a:solidFill>
                <a:srgbClr val="AEABAB"/>
              </a:solidFill>
            </c:spPr>
          </c:dPt>
          <c:dPt>
            <c:idx val="533"/>
            <c:spPr>
              <a:solidFill>
                <a:srgbClr val="AEABAB"/>
              </a:solidFill>
            </c:spPr>
          </c:dPt>
          <c:dPt>
            <c:idx val="534"/>
            <c:spPr>
              <a:solidFill>
                <a:srgbClr val="AEABAB"/>
              </a:solidFill>
            </c:spPr>
          </c:dPt>
          <c:dPt>
            <c:idx val="535"/>
            <c:spPr>
              <a:solidFill>
                <a:srgbClr val="AEABAB"/>
              </a:solidFill>
            </c:spPr>
          </c:dPt>
          <c:dPt>
            <c:idx val="536"/>
            <c:spPr>
              <a:solidFill>
                <a:srgbClr val="AEABAB"/>
              </a:solidFill>
            </c:spPr>
          </c:dPt>
          <c:dPt>
            <c:idx val="537"/>
            <c:spPr>
              <a:solidFill>
                <a:srgbClr val="AEABAB"/>
              </a:solidFill>
            </c:spPr>
          </c:dPt>
          <c:dPt>
            <c:idx val="538"/>
            <c:spPr>
              <a:solidFill>
                <a:srgbClr val="AEABAB"/>
              </a:solidFill>
            </c:spPr>
          </c:dPt>
          <c:dPt>
            <c:idx val="539"/>
            <c:spPr>
              <a:solidFill>
                <a:srgbClr val="AEABAB"/>
              </a:solidFill>
            </c:spPr>
          </c:dPt>
          <c:dPt>
            <c:idx val="540"/>
            <c:spPr>
              <a:solidFill>
                <a:srgbClr val="AEABAB"/>
              </a:solidFill>
            </c:spPr>
          </c:dPt>
          <c:dPt>
            <c:idx val="541"/>
            <c:spPr>
              <a:solidFill>
                <a:srgbClr val="AEABAB"/>
              </a:solidFill>
            </c:spPr>
          </c:dPt>
          <c:dPt>
            <c:idx val="542"/>
            <c:spPr>
              <a:solidFill>
                <a:srgbClr val="AEABAB"/>
              </a:solidFill>
            </c:spPr>
          </c:dPt>
          <c:dPt>
            <c:idx val="543"/>
            <c:spPr>
              <a:solidFill>
                <a:srgbClr val="AEABAB"/>
              </a:solidFill>
            </c:spPr>
          </c:dPt>
          <c:dPt>
            <c:idx val="544"/>
            <c:spPr>
              <a:solidFill>
                <a:srgbClr val="AEABAB"/>
              </a:solidFill>
            </c:spPr>
          </c:dPt>
          <c:dPt>
            <c:idx val="545"/>
            <c:spPr>
              <a:solidFill>
                <a:srgbClr val="AEABAB"/>
              </a:solidFill>
            </c:spPr>
          </c:dPt>
          <c:dPt>
            <c:idx val="546"/>
            <c:spPr>
              <a:solidFill>
                <a:srgbClr val="AEABAB"/>
              </a:solidFill>
            </c:spPr>
          </c:dPt>
          <c:dPt>
            <c:idx val="547"/>
            <c:spPr>
              <a:solidFill>
                <a:srgbClr val="AEABAB"/>
              </a:solidFill>
            </c:spPr>
          </c:dPt>
          <c:dPt>
            <c:idx val="548"/>
            <c:spPr>
              <a:solidFill>
                <a:srgbClr val="AEABAB"/>
              </a:solidFill>
            </c:spPr>
          </c:dPt>
          <c:dPt>
            <c:idx val="549"/>
            <c:spPr>
              <a:solidFill>
                <a:srgbClr val="AEABAB"/>
              </a:solidFill>
            </c:spPr>
          </c:dPt>
          <c:dPt>
            <c:idx val="550"/>
            <c:spPr>
              <a:solidFill>
                <a:srgbClr val="AEABAB"/>
              </a:solidFill>
            </c:spPr>
          </c:dPt>
          <c:dPt>
            <c:idx val="551"/>
            <c:spPr>
              <a:solidFill>
                <a:srgbClr val="AEABAB"/>
              </a:solidFill>
            </c:spPr>
          </c:dPt>
          <c:dPt>
            <c:idx val="552"/>
            <c:spPr>
              <a:solidFill>
                <a:srgbClr val="AEABAB"/>
              </a:solidFill>
            </c:spPr>
          </c:dPt>
          <c:dPt>
            <c:idx val="553"/>
            <c:spPr>
              <a:solidFill>
                <a:srgbClr val="AEABAB"/>
              </a:solidFill>
            </c:spPr>
          </c:dPt>
          <c:dPt>
            <c:idx val="554"/>
            <c:spPr>
              <a:solidFill>
                <a:srgbClr val="AEABAB"/>
              </a:solidFill>
            </c:spPr>
          </c:dPt>
          <c:dPt>
            <c:idx val="555"/>
            <c:spPr>
              <a:solidFill>
                <a:srgbClr val="AEABAB"/>
              </a:solidFill>
            </c:spPr>
          </c:dPt>
          <c:dPt>
            <c:idx val="556"/>
            <c:spPr>
              <a:solidFill>
                <a:srgbClr val="AEABAB"/>
              </a:solidFill>
            </c:spPr>
          </c:dPt>
          <c:dPt>
            <c:idx val="557"/>
            <c:spPr>
              <a:solidFill>
                <a:srgbClr val="AEABAB"/>
              </a:solidFill>
            </c:spPr>
          </c:dPt>
          <c:dPt>
            <c:idx val="558"/>
            <c:spPr>
              <a:solidFill>
                <a:srgbClr val="AEABAB"/>
              </a:solidFill>
            </c:spPr>
          </c:dPt>
          <c:dPt>
            <c:idx val="559"/>
            <c:spPr>
              <a:solidFill>
                <a:srgbClr val="AEABAB"/>
              </a:solidFill>
            </c:spPr>
          </c:dPt>
          <c:dPt>
            <c:idx val="560"/>
            <c:spPr>
              <a:solidFill>
                <a:srgbClr val="AEABAB"/>
              </a:solidFill>
            </c:spPr>
          </c:dPt>
          <c:dPt>
            <c:idx val="561"/>
            <c:spPr>
              <a:solidFill>
                <a:srgbClr val="AEABAB"/>
              </a:solidFill>
            </c:spPr>
          </c:dPt>
          <c:dPt>
            <c:idx val="562"/>
            <c:spPr>
              <a:solidFill>
                <a:srgbClr val="AEABAB"/>
              </a:solidFill>
            </c:spPr>
          </c:dPt>
          <c:dPt>
            <c:idx val="563"/>
            <c:spPr>
              <a:solidFill>
                <a:srgbClr val="AEABAB"/>
              </a:solidFill>
            </c:spPr>
          </c:dPt>
          <c:dPt>
            <c:idx val="564"/>
            <c:spPr>
              <a:solidFill>
                <a:srgbClr val="AEABAB"/>
              </a:solidFill>
            </c:spPr>
          </c:dPt>
          <c:dPt>
            <c:idx val="565"/>
            <c:spPr>
              <a:solidFill>
                <a:srgbClr val="AEABAB"/>
              </a:solidFill>
            </c:spPr>
          </c:dPt>
          <c:dPt>
            <c:idx val="566"/>
            <c:spPr>
              <a:solidFill>
                <a:srgbClr val="AEABAB"/>
              </a:solidFill>
            </c:spPr>
          </c:dPt>
          <c:dPt>
            <c:idx val="567"/>
            <c:spPr>
              <a:solidFill>
                <a:srgbClr val="AEABAB"/>
              </a:solidFill>
            </c:spPr>
          </c:dPt>
          <c:dPt>
            <c:idx val="568"/>
            <c:spPr>
              <a:solidFill>
                <a:srgbClr val="AEABAB"/>
              </a:solidFill>
            </c:spPr>
          </c:dPt>
          <c:dPt>
            <c:idx val="569"/>
            <c:spPr>
              <a:solidFill>
                <a:srgbClr val="AEABAB"/>
              </a:solidFill>
            </c:spPr>
          </c:dPt>
          <c:dPt>
            <c:idx val="570"/>
            <c:spPr>
              <a:solidFill>
                <a:srgbClr val="AEABAB"/>
              </a:solidFill>
            </c:spPr>
          </c:dPt>
          <c:dPt>
            <c:idx val="571"/>
            <c:spPr>
              <a:solidFill>
                <a:srgbClr val="AEABAB"/>
              </a:solidFill>
            </c:spPr>
          </c:dPt>
          <c:dPt>
            <c:idx val="572"/>
            <c:spPr>
              <a:solidFill>
                <a:srgbClr val="AEABAB"/>
              </a:solidFill>
            </c:spPr>
          </c:dPt>
          <c:dPt>
            <c:idx val="573"/>
            <c:spPr>
              <a:solidFill>
                <a:srgbClr val="AEABAB"/>
              </a:solidFill>
            </c:spPr>
          </c:dPt>
          <c:dPt>
            <c:idx val="574"/>
            <c:spPr>
              <a:solidFill>
                <a:srgbClr val="AEABAB"/>
              </a:solidFill>
            </c:spPr>
          </c:dPt>
          <c:dPt>
            <c:idx val="575"/>
            <c:spPr>
              <a:solidFill>
                <a:srgbClr val="AEABAB"/>
              </a:solidFill>
            </c:spPr>
          </c:dPt>
          <c:dPt>
            <c:idx val="576"/>
            <c:spPr>
              <a:solidFill>
                <a:srgbClr val="AEABAB"/>
              </a:solidFill>
            </c:spPr>
          </c:dPt>
          <c:dPt>
            <c:idx val="577"/>
            <c:spPr>
              <a:solidFill>
                <a:srgbClr val="AEABAB"/>
              </a:solidFill>
            </c:spPr>
          </c:dPt>
          <c:dPt>
            <c:idx val="578"/>
            <c:spPr>
              <a:solidFill>
                <a:srgbClr val="AEABAB"/>
              </a:solidFill>
            </c:spPr>
          </c:dPt>
          <c:dPt>
            <c:idx val="579"/>
            <c:spPr>
              <a:solidFill>
                <a:srgbClr val="AEABAB"/>
              </a:solidFill>
            </c:spPr>
          </c:dPt>
          <c:dPt>
            <c:idx val="580"/>
            <c:spPr>
              <a:solidFill>
                <a:srgbClr val="AEABAB"/>
              </a:solidFill>
            </c:spPr>
          </c:dPt>
          <c:dPt>
            <c:idx val="581"/>
            <c:spPr>
              <a:solidFill>
                <a:srgbClr val="AEABAB"/>
              </a:solidFill>
            </c:spPr>
          </c:dPt>
          <c:dPt>
            <c:idx val="582"/>
            <c:spPr>
              <a:solidFill>
                <a:srgbClr val="AEABAB"/>
              </a:solidFill>
            </c:spPr>
          </c:dPt>
          <c:dPt>
            <c:idx val="583"/>
            <c:spPr>
              <a:solidFill>
                <a:srgbClr val="AEABAB"/>
              </a:solidFill>
            </c:spPr>
          </c:dPt>
          <c:dPt>
            <c:idx val="584"/>
            <c:spPr>
              <a:solidFill>
                <a:srgbClr val="AEABAB"/>
              </a:solidFill>
            </c:spPr>
          </c:dPt>
          <c:dPt>
            <c:idx val="585"/>
            <c:spPr>
              <a:solidFill>
                <a:srgbClr val="AEABAB"/>
              </a:solidFill>
            </c:spPr>
          </c:dPt>
          <c:dPt>
            <c:idx val="586"/>
            <c:spPr>
              <a:solidFill>
                <a:srgbClr val="AEABAB"/>
              </a:solidFill>
            </c:spPr>
          </c:dPt>
          <c:dPt>
            <c:idx val="587"/>
            <c:spPr>
              <a:solidFill>
                <a:srgbClr val="AEABAB"/>
              </a:solidFill>
            </c:spPr>
          </c:dPt>
          <c:dPt>
            <c:idx val="588"/>
            <c:spPr>
              <a:solidFill>
                <a:srgbClr val="AEABAB"/>
              </a:solidFill>
            </c:spPr>
          </c:dPt>
          <c:dPt>
            <c:idx val="589"/>
            <c:spPr>
              <a:solidFill>
                <a:srgbClr val="AEABAB"/>
              </a:solidFill>
            </c:spPr>
          </c:dPt>
          <c:dPt>
            <c:idx val="590"/>
            <c:spPr>
              <a:solidFill>
                <a:srgbClr val="AEABAB"/>
              </a:solidFill>
            </c:spPr>
          </c:dPt>
          <c:dPt>
            <c:idx val="591"/>
            <c:spPr>
              <a:solidFill>
                <a:srgbClr val="AEABAB"/>
              </a:solidFill>
            </c:spPr>
          </c:dPt>
          <c:dPt>
            <c:idx val="592"/>
            <c:spPr>
              <a:solidFill>
                <a:srgbClr val="AEABAB"/>
              </a:solidFill>
            </c:spPr>
          </c:dPt>
          <c:dPt>
            <c:idx val="593"/>
            <c:spPr>
              <a:solidFill>
                <a:srgbClr val="AEABAB"/>
              </a:solidFill>
            </c:spPr>
          </c:dPt>
          <c:dPt>
            <c:idx val="594"/>
            <c:spPr>
              <a:solidFill>
                <a:srgbClr val="AEABAB"/>
              </a:solidFill>
            </c:spPr>
          </c:dPt>
          <c:dPt>
            <c:idx val="595"/>
            <c:spPr>
              <a:solidFill>
                <a:srgbClr val="AEABAB"/>
              </a:solidFill>
            </c:spPr>
          </c:dPt>
          <c:dPt>
            <c:idx val="596"/>
            <c:spPr>
              <a:solidFill>
                <a:srgbClr val="AEABAB"/>
              </a:solidFill>
            </c:spPr>
          </c:dPt>
          <c:dPt>
            <c:idx val="597"/>
            <c:spPr>
              <a:solidFill>
                <a:srgbClr val="AEABAB"/>
              </a:solidFill>
            </c:spPr>
          </c:dPt>
          <c:dPt>
            <c:idx val="598"/>
            <c:spPr>
              <a:solidFill>
                <a:srgbClr val="AEABAB"/>
              </a:solidFill>
            </c:spPr>
          </c:dPt>
          <c:dPt>
            <c:idx val="599"/>
            <c:spPr>
              <a:solidFill>
                <a:srgbClr val="AEABAB"/>
              </a:solidFill>
            </c:spPr>
          </c:dPt>
          <c:dPt>
            <c:idx val="600"/>
            <c:spPr>
              <a:solidFill>
                <a:srgbClr val="AEABAB"/>
              </a:solidFill>
            </c:spPr>
          </c:dPt>
          <c:dPt>
            <c:idx val="601"/>
            <c:spPr>
              <a:solidFill>
                <a:srgbClr val="AEABAB"/>
              </a:solidFill>
            </c:spPr>
          </c:dPt>
          <c:dPt>
            <c:idx val="602"/>
            <c:spPr>
              <a:solidFill>
                <a:srgbClr val="AEABAB"/>
              </a:solidFill>
            </c:spPr>
          </c:dPt>
          <c:dPt>
            <c:idx val="603"/>
            <c:spPr>
              <a:solidFill>
                <a:srgbClr val="AEABAB"/>
              </a:solidFill>
            </c:spPr>
          </c:dPt>
          <c:dPt>
            <c:idx val="604"/>
            <c:spPr>
              <a:solidFill>
                <a:srgbClr val="AEABAB"/>
              </a:solidFill>
            </c:spPr>
          </c:dPt>
          <c:dPt>
            <c:idx val="605"/>
            <c:spPr>
              <a:solidFill>
                <a:srgbClr val="AEABAB"/>
              </a:solidFill>
            </c:spPr>
          </c:dPt>
          <c:dPt>
            <c:idx val="606"/>
            <c:spPr>
              <a:solidFill>
                <a:srgbClr val="AEABAB"/>
              </a:solidFill>
            </c:spPr>
          </c:dPt>
          <c:dPt>
            <c:idx val="607"/>
            <c:spPr>
              <a:solidFill>
                <a:srgbClr val="AEABAB"/>
              </a:solidFill>
            </c:spPr>
          </c:dPt>
          <c:dPt>
            <c:idx val="608"/>
            <c:spPr>
              <a:solidFill>
                <a:srgbClr val="AEABAB"/>
              </a:solidFill>
            </c:spPr>
          </c:dPt>
          <c:dPt>
            <c:idx val="609"/>
            <c:spPr>
              <a:solidFill>
                <a:srgbClr val="AEABAB"/>
              </a:solidFill>
            </c:spPr>
          </c:dPt>
          <c:dPt>
            <c:idx val="610"/>
            <c:spPr>
              <a:solidFill>
                <a:srgbClr val="AEABAB"/>
              </a:solidFill>
            </c:spPr>
          </c:dPt>
          <c:dPt>
            <c:idx val="611"/>
            <c:spPr>
              <a:solidFill>
                <a:srgbClr val="AEABAB"/>
              </a:solidFill>
            </c:spPr>
          </c:dPt>
          <c:dPt>
            <c:idx val="612"/>
            <c:spPr>
              <a:solidFill>
                <a:srgbClr val="AEABAB"/>
              </a:solidFill>
            </c:spPr>
          </c:dPt>
          <c:dPt>
            <c:idx val="613"/>
            <c:spPr>
              <a:solidFill>
                <a:srgbClr val="AEABAB"/>
              </a:solidFill>
            </c:spPr>
          </c:dPt>
          <c:dPt>
            <c:idx val="614"/>
            <c:spPr>
              <a:solidFill>
                <a:srgbClr val="AEABAB"/>
              </a:solidFill>
            </c:spPr>
          </c:dPt>
          <c:dPt>
            <c:idx val="615"/>
            <c:spPr>
              <a:solidFill>
                <a:srgbClr val="AEABAB"/>
              </a:solidFill>
            </c:spPr>
          </c:dPt>
          <c:dPt>
            <c:idx val="616"/>
            <c:spPr>
              <a:solidFill>
                <a:srgbClr val="AEABAB"/>
              </a:solidFill>
            </c:spPr>
          </c:dPt>
          <c:dPt>
            <c:idx val="617"/>
            <c:spPr>
              <a:solidFill>
                <a:srgbClr val="AEABAB"/>
              </a:solidFill>
            </c:spPr>
          </c:dPt>
          <c:dPt>
            <c:idx val="618"/>
            <c:spPr>
              <a:solidFill>
                <a:srgbClr val="AEABAB"/>
              </a:solidFill>
            </c:spPr>
          </c:dPt>
          <c:dPt>
            <c:idx val="619"/>
            <c:spPr>
              <a:solidFill>
                <a:srgbClr val="AEABAB"/>
              </a:solidFill>
            </c:spPr>
          </c:dPt>
          <c:dPt>
            <c:idx val="620"/>
            <c:spPr>
              <a:solidFill>
                <a:srgbClr val="AEABAB"/>
              </a:solidFill>
            </c:spPr>
          </c:dPt>
          <c:dPt>
            <c:idx val="621"/>
            <c:spPr>
              <a:solidFill>
                <a:srgbClr val="AEABAB"/>
              </a:solidFill>
            </c:spPr>
          </c:dPt>
          <c:dPt>
            <c:idx val="622"/>
            <c:spPr>
              <a:solidFill>
                <a:srgbClr val="AEABAB"/>
              </a:solidFill>
            </c:spPr>
          </c:dPt>
          <c:dPt>
            <c:idx val="623"/>
            <c:spPr>
              <a:solidFill>
                <a:srgbClr val="AEABAB"/>
              </a:solidFill>
            </c:spPr>
          </c:dPt>
          <c:dPt>
            <c:idx val="624"/>
            <c:spPr>
              <a:solidFill>
                <a:srgbClr val="AEABAB"/>
              </a:solidFill>
            </c:spPr>
          </c:dPt>
          <c:dPt>
            <c:idx val="625"/>
            <c:spPr>
              <a:solidFill>
                <a:srgbClr val="AEABAB"/>
              </a:solidFill>
            </c:spPr>
          </c:dPt>
          <c:dPt>
            <c:idx val="626"/>
            <c:spPr>
              <a:solidFill>
                <a:srgbClr val="AEABAB"/>
              </a:solidFill>
            </c:spPr>
          </c:dPt>
          <c:dPt>
            <c:idx val="627"/>
            <c:spPr>
              <a:solidFill>
                <a:srgbClr val="AEABAB"/>
              </a:solidFill>
            </c:spPr>
          </c:dPt>
          <c:dPt>
            <c:idx val="628"/>
            <c:spPr>
              <a:solidFill>
                <a:srgbClr val="AEABAB"/>
              </a:solidFill>
            </c:spPr>
          </c:dPt>
          <c:dPt>
            <c:idx val="629"/>
            <c:spPr>
              <a:solidFill>
                <a:srgbClr val="AEABAB"/>
              </a:solidFill>
            </c:spPr>
          </c:dPt>
          <c:dPt>
            <c:idx val="630"/>
            <c:spPr>
              <a:solidFill>
                <a:srgbClr val="AEABAB"/>
              </a:solidFill>
            </c:spPr>
          </c:dPt>
          <c:dPt>
            <c:idx val="631"/>
            <c:spPr>
              <a:solidFill>
                <a:srgbClr val="AEABAB"/>
              </a:solidFill>
            </c:spPr>
          </c:dPt>
          <c:dPt>
            <c:idx val="632"/>
            <c:spPr>
              <a:solidFill>
                <a:srgbClr val="AEABAB"/>
              </a:solidFill>
            </c:spPr>
          </c:dPt>
          <c:dPt>
            <c:idx val="633"/>
            <c:spPr>
              <a:solidFill>
                <a:srgbClr val="AEABAB"/>
              </a:solidFill>
            </c:spPr>
          </c:dPt>
          <c:dPt>
            <c:idx val="634"/>
            <c:spPr>
              <a:solidFill>
                <a:srgbClr val="AEABAB"/>
              </a:solidFill>
            </c:spPr>
          </c:dPt>
          <c:dPt>
            <c:idx val="635"/>
            <c:spPr>
              <a:solidFill>
                <a:srgbClr val="AEABAB"/>
              </a:solidFill>
            </c:spPr>
          </c:dPt>
          <c:dPt>
            <c:idx val="636"/>
            <c:spPr>
              <a:solidFill>
                <a:srgbClr val="AEABAB"/>
              </a:solidFill>
            </c:spPr>
          </c:dPt>
          <c:dPt>
            <c:idx val="637"/>
            <c:spPr>
              <a:solidFill>
                <a:srgbClr val="AEABAB"/>
              </a:solidFill>
            </c:spPr>
          </c:dPt>
          <c:dPt>
            <c:idx val="638"/>
            <c:spPr>
              <a:solidFill>
                <a:srgbClr val="AEABAB"/>
              </a:solidFill>
            </c:spPr>
          </c:dPt>
          <c:dPt>
            <c:idx val="639"/>
            <c:spPr>
              <a:solidFill>
                <a:srgbClr val="AEABAB"/>
              </a:solidFill>
            </c:spPr>
          </c:dPt>
          <c:dPt>
            <c:idx val="640"/>
            <c:spPr>
              <a:solidFill>
                <a:srgbClr val="AEABAB"/>
              </a:solidFill>
            </c:spPr>
          </c:dPt>
          <c:dPt>
            <c:idx val="641"/>
            <c:spPr>
              <a:solidFill>
                <a:srgbClr val="AEABAB"/>
              </a:solidFill>
            </c:spPr>
          </c:dPt>
          <c:dPt>
            <c:idx val="642"/>
            <c:spPr>
              <a:solidFill>
                <a:srgbClr val="AEABAB"/>
              </a:solidFill>
            </c:spPr>
          </c:dPt>
          <c:dPt>
            <c:idx val="643"/>
            <c:spPr>
              <a:solidFill>
                <a:srgbClr val="AEABAB"/>
              </a:solidFill>
            </c:spPr>
          </c:dPt>
          <c:dPt>
            <c:idx val="644"/>
            <c:spPr>
              <a:solidFill>
                <a:srgbClr val="AEABAB"/>
              </a:solidFill>
            </c:spPr>
          </c:dPt>
          <c:dPt>
            <c:idx val="645"/>
            <c:spPr>
              <a:solidFill>
                <a:srgbClr val="AEABAB"/>
              </a:solidFill>
            </c:spPr>
          </c:dPt>
          <c:dPt>
            <c:idx val="646"/>
            <c:spPr>
              <a:solidFill>
                <a:srgbClr val="AEABAB"/>
              </a:solidFill>
            </c:spPr>
          </c:dPt>
          <c:dPt>
            <c:idx val="647"/>
            <c:spPr>
              <a:solidFill>
                <a:srgbClr val="AEABAB"/>
              </a:solidFill>
            </c:spPr>
          </c:dPt>
          <c:dPt>
            <c:idx val="648"/>
            <c:spPr>
              <a:solidFill>
                <a:srgbClr val="AEABAB"/>
              </a:solidFill>
            </c:spPr>
          </c:dPt>
          <c:dPt>
            <c:idx val="649"/>
            <c:spPr>
              <a:solidFill>
                <a:srgbClr val="AEABAB"/>
              </a:solidFill>
            </c:spPr>
          </c:dPt>
          <c:dPt>
            <c:idx val="650"/>
            <c:spPr>
              <a:solidFill>
                <a:srgbClr val="AEABAB"/>
              </a:solidFill>
            </c:spPr>
          </c:dPt>
          <c:dPt>
            <c:idx val="651"/>
            <c:spPr>
              <a:solidFill>
                <a:srgbClr val="AEABAB"/>
              </a:solidFill>
            </c:spPr>
          </c:dPt>
          <c:dPt>
            <c:idx val="652"/>
            <c:spPr>
              <a:solidFill>
                <a:srgbClr val="AEABAB"/>
              </a:solidFill>
            </c:spPr>
          </c:dPt>
          <c:dPt>
            <c:idx val="653"/>
            <c:spPr>
              <a:solidFill>
                <a:srgbClr val="AEABAB"/>
              </a:solidFill>
            </c:spPr>
          </c:dPt>
          <c:dPt>
            <c:idx val="654"/>
            <c:spPr>
              <a:solidFill>
                <a:srgbClr val="AEABAB"/>
              </a:solidFill>
            </c:spPr>
          </c:dPt>
          <c:dPt>
            <c:idx val="655"/>
            <c:spPr>
              <a:solidFill>
                <a:srgbClr val="AEABAB"/>
              </a:solidFill>
            </c:spPr>
          </c:dPt>
          <c:dPt>
            <c:idx val="656"/>
            <c:spPr>
              <a:solidFill>
                <a:srgbClr val="AEABAB"/>
              </a:solidFill>
            </c:spPr>
          </c:dPt>
          <c:dPt>
            <c:idx val="657"/>
            <c:spPr>
              <a:solidFill>
                <a:srgbClr val="AEABAB"/>
              </a:solidFill>
            </c:spPr>
          </c:dPt>
          <c:dPt>
            <c:idx val="658"/>
            <c:spPr>
              <a:solidFill>
                <a:srgbClr val="AEABAB"/>
              </a:solidFill>
            </c:spPr>
          </c:dPt>
          <c:dPt>
            <c:idx val="659"/>
            <c:spPr>
              <a:solidFill>
                <a:srgbClr val="AEABAB"/>
              </a:solidFill>
            </c:spPr>
          </c:dPt>
          <c:dPt>
            <c:idx val="660"/>
            <c:spPr>
              <a:solidFill>
                <a:srgbClr val="AEABAB"/>
              </a:solidFill>
            </c:spPr>
          </c:dPt>
          <c:dPt>
            <c:idx val="661"/>
            <c:spPr>
              <a:solidFill>
                <a:srgbClr val="AEABAB"/>
              </a:solidFill>
            </c:spPr>
          </c:dPt>
          <c:dPt>
            <c:idx val="662"/>
            <c:spPr>
              <a:solidFill>
                <a:srgbClr val="AEABAB"/>
              </a:solidFill>
            </c:spPr>
          </c:dPt>
          <c:dPt>
            <c:idx val="663"/>
            <c:spPr>
              <a:solidFill>
                <a:srgbClr val="AEABAB"/>
              </a:solidFill>
            </c:spPr>
          </c:dPt>
          <c:dPt>
            <c:idx val="664"/>
            <c:spPr>
              <a:solidFill>
                <a:srgbClr val="AEABAB"/>
              </a:solidFill>
            </c:spPr>
          </c:dPt>
          <c:dPt>
            <c:idx val="665"/>
            <c:spPr>
              <a:solidFill>
                <a:srgbClr val="AEABAB"/>
              </a:solidFill>
            </c:spPr>
          </c:dPt>
          <c:dPt>
            <c:idx val="666"/>
            <c:spPr>
              <a:solidFill>
                <a:srgbClr val="AEABAB"/>
              </a:solidFill>
            </c:spPr>
          </c:dPt>
          <c:dPt>
            <c:idx val="667"/>
            <c:spPr>
              <a:solidFill>
                <a:srgbClr val="AEABAB"/>
              </a:solidFill>
            </c:spPr>
          </c:dPt>
          <c:dPt>
            <c:idx val="668"/>
            <c:spPr>
              <a:solidFill>
                <a:srgbClr val="AEABAB"/>
              </a:solidFill>
            </c:spPr>
          </c:dPt>
          <c:dPt>
            <c:idx val="669"/>
            <c:spPr>
              <a:solidFill>
                <a:srgbClr val="AEABAB"/>
              </a:solidFill>
            </c:spPr>
          </c:dPt>
          <c:dPt>
            <c:idx val="670"/>
            <c:spPr>
              <a:solidFill>
                <a:srgbClr val="AEABAB"/>
              </a:solidFill>
            </c:spPr>
          </c:dPt>
          <c:dPt>
            <c:idx val="671"/>
            <c:spPr>
              <a:solidFill>
                <a:srgbClr val="AEABAB"/>
              </a:solidFill>
            </c:spPr>
          </c:dPt>
          <c:dPt>
            <c:idx val="672"/>
            <c:spPr>
              <a:solidFill>
                <a:srgbClr val="AEABAB"/>
              </a:solidFill>
            </c:spPr>
          </c:dPt>
          <c:dPt>
            <c:idx val="673"/>
            <c:spPr>
              <a:solidFill>
                <a:srgbClr val="AEABAB"/>
              </a:solidFill>
            </c:spPr>
          </c:dPt>
          <c:dPt>
            <c:idx val="674"/>
            <c:spPr>
              <a:solidFill>
                <a:srgbClr val="AEABAB"/>
              </a:solidFill>
            </c:spPr>
          </c:dPt>
          <c:dPt>
            <c:idx val="675"/>
            <c:spPr>
              <a:solidFill>
                <a:srgbClr val="AEABAB"/>
              </a:solidFill>
            </c:spPr>
          </c:dPt>
          <c:dPt>
            <c:idx val="676"/>
            <c:spPr>
              <a:solidFill>
                <a:srgbClr val="AEABAB"/>
              </a:solidFill>
            </c:spPr>
          </c:dPt>
          <c:dPt>
            <c:idx val="677"/>
            <c:spPr>
              <a:solidFill>
                <a:srgbClr val="AEABAB"/>
              </a:solidFill>
            </c:spPr>
          </c:dPt>
          <c:dPt>
            <c:idx val="678"/>
            <c:spPr>
              <a:solidFill>
                <a:srgbClr val="AEABAB"/>
              </a:solidFill>
            </c:spPr>
          </c:dPt>
          <c:dPt>
            <c:idx val="679"/>
            <c:spPr>
              <a:solidFill>
                <a:srgbClr val="AEABAB"/>
              </a:solidFill>
            </c:spPr>
          </c:dPt>
          <c:dPt>
            <c:idx val="680"/>
            <c:spPr>
              <a:solidFill>
                <a:srgbClr val="AEABAB"/>
              </a:solidFill>
            </c:spPr>
          </c:dPt>
          <c:dPt>
            <c:idx val="681"/>
            <c:spPr>
              <a:solidFill>
                <a:srgbClr val="AEABAB"/>
              </a:solidFill>
            </c:spPr>
          </c:dPt>
          <c:dPt>
            <c:idx val="682"/>
            <c:spPr>
              <a:solidFill>
                <a:srgbClr val="AEABAB"/>
              </a:solidFill>
            </c:spPr>
          </c:dPt>
          <c:dPt>
            <c:idx val="683"/>
            <c:spPr>
              <a:solidFill>
                <a:srgbClr val="AEABAB"/>
              </a:solidFill>
            </c:spPr>
          </c:dPt>
          <c:dPt>
            <c:idx val="684"/>
            <c:spPr>
              <a:solidFill>
                <a:srgbClr val="AEABAB"/>
              </a:solidFill>
            </c:spPr>
          </c:dPt>
          <c:dPt>
            <c:idx val="685"/>
            <c:spPr>
              <a:solidFill>
                <a:srgbClr val="AEABAB"/>
              </a:solidFill>
            </c:spPr>
          </c:dPt>
          <c:dPt>
            <c:idx val="686"/>
            <c:spPr>
              <a:solidFill>
                <a:srgbClr val="AEABAB"/>
              </a:solidFill>
            </c:spPr>
          </c:dPt>
          <c:dPt>
            <c:idx val="687"/>
            <c:spPr>
              <a:solidFill>
                <a:srgbClr val="AEABAB"/>
              </a:solidFill>
            </c:spPr>
          </c:dPt>
          <c:dPt>
            <c:idx val="688"/>
            <c:spPr>
              <a:solidFill>
                <a:srgbClr val="AEABAB"/>
              </a:solidFill>
            </c:spPr>
          </c:dPt>
          <c:dPt>
            <c:idx val="689"/>
            <c:spPr>
              <a:solidFill>
                <a:srgbClr val="AEABAB"/>
              </a:solidFill>
            </c:spPr>
          </c:dPt>
          <c:dPt>
            <c:idx val="690"/>
            <c:spPr>
              <a:solidFill>
                <a:srgbClr val="AEABAB"/>
              </a:solidFill>
            </c:spPr>
          </c:dPt>
          <c:dPt>
            <c:idx val="691"/>
            <c:spPr>
              <a:solidFill>
                <a:srgbClr val="AEABAB"/>
              </a:solidFill>
            </c:spPr>
          </c:dPt>
          <c:dPt>
            <c:idx val="692"/>
            <c:spPr>
              <a:solidFill>
                <a:srgbClr val="AEABAB"/>
              </a:solidFill>
            </c:spPr>
          </c:dPt>
          <c:dPt>
            <c:idx val="693"/>
            <c:spPr>
              <a:solidFill>
                <a:srgbClr val="AEABAB"/>
              </a:solidFill>
            </c:spPr>
          </c:dPt>
          <c:dPt>
            <c:idx val="694"/>
            <c:spPr>
              <a:solidFill>
                <a:srgbClr val="AEABAB"/>
              </a:solidFill>
            </c:spPr>
          </c:dPt>
          <c:dPt>
            <c:idx val="695"/>
            <c:spPr>
              <a:solidFill>
                <a:srgbClr val="AEABAB"/>
              </a:solidFill>
            </c:spPr>
          </c:dPt>
          <c:dPt>
            <c:idx val="696"/>
            <c:spPr>
              <a:solidFill>
                <a:srgbClr val="AEABAB"/>
              </a:solidFill>
            </c:spPr>
          </c:dPt>
          <c:dPt>
            <c:idx val="697"/>
            <c:spPr>
              <a:solidFill>
                <a:srgbClr val="AEABAB"/>
              </a:solidFill>
            </c:spPr>
          </c:dPt>
          <c:dPt>
            <c:idx val="698"/>
            <c:spPr>
              <a:solidFill>
                <a:srgbClr val="AEABAB"/>
              </a:solidFill>
            </c:spPr>
          </c:dPt>
          <c:dPt>
            <c:idx val="699"/>
            <c:spPr>
              <a:solidFill>
                <a:srgbClr val="AEABAB"/>
              </a:solidFill>
            </c:spPr>
          </c:dPt>
          <c:dPt>
            <c:idx val="700"/>
            <c:spPr>
              <a:solidFill>
                <a:srgbClr val="AEABAB"/>
              </a:solidFill>
            </c:spPr>
          </c:dPt>
          <c:dPt>
            <c:idx val="701"/>
            <c:spPr>
              <a:solidFill>
                <a:srgbClr val="AEABAB"/>
              </a:solidFill>
            </c:spPr>
          </c:dPt>
          <c:dPt>
            <c:idx val="702"/>
            <c:spPr>
              <a:solidFill>
                <a:srgbClr val="AEABAB"/>
              </a:solidFill>
            </c:spPr>
          </c:dPt>
          <c:dPt>
            <c:idx val="703"/>
            <c:spPr>
              <a:solidFill>
                <a:srgbClr val="AEABAB"/>
              </a:solidFill>
            </c:spPr>
          </c:dPt>
          <c:dPt>
            <c:idx val="704"/>
            <c:spPr>
              <a:solidFill>
                <a:srgbClr val="AEABAB"/>
              </a:solidFill>
            </c:spPr>
          </c:dPt>
          <c:dPt>
            <c:idx val="705"/>
            <c:spPr>
              <a:solidFill>
                <a:srgbClr val="AEABAB"/>
              </a:solidFill>
            </c:spPr>
          </c:dPt>
          <c:dPt>
            <c:idx val="706"/>
            <c:spPr>
              <a:solidFill>
                <a:srgbClr val="AEABAB"/>
              </a:solidFill>
            </c:spPr>
          </c:dPt>
          <c:dPt>
            <c:idx val="707"/>
            <c:spPr>
              <a:solidFill>
                <a:srgbClr val="AEABAB"/>
              </a:solidFill>
            </c:spPr>
          </c:dPt>
          <c:dPt>
            <c:idx val="708"/>
            <c:spPr>
              <a:solidFill>
                <a:srgbClr val="AEABAB"/>
              </a:solidFill>
            </c:spPr>
          </c:dPt>
          <c:dPt>
            <c:idx val="709"/>
            <c:spPr>
              <a:solidFill>
                <a:srgbClr val="AEABAB"/>
              </a:solidFill>
            </c:spPr>
          </c:dPt>
          <c:dPt>
            <c:idx val="710"/>
            <c:spPr>
              <a:solidFill>
                <a:srgbClr val="AEABAB"/>
              </a:solidFill>
            </c:spPr>
          </c:dPt>
          <c:dPt>
            <c:idx val="711"/>
            <c:spPr>
              <a:solidFill>
                <a:srgbClr val="AEABAB"/>
              </a:solidFill>
            </c:spPr>
          </c:dPt>
          <c:dPt>
            <c:idx val="712"/>
            <c:spPr>
              <a:solidFill>
                <a:srgbClr val="AEABAB"/>
              </a:solidFill>
            </c:spPr>
          </c:dPt>
          <c:dPt>
            <c:idx val="713"/>
            <c:spPr>
              <a:solidFill>
                <a:srgbClr val="AEABAB"/>
              </a:solidFill>
            </c:spPr>
          </c:dPt>
          <c:dPt>
            <c:idx val="714"/>
            <c:spPr>
              <a:solidFill>
                <a:srgbClr val="AEABAB"/>
              </a:solidFill>
            </c:spPr>
          </c:dPt>
          <c:dPt>
            <c:idx val="715"/>
            <c:spPr>
              <a:solidFill>
                <a:srgbClr val="AEABAB"/>
              </a:solidFill>
            </c:spPr>
          </c:dPt>
          <c:dPt>
            <c:idx val="716"/>
            <c:spPr>
              <a:solidFill>
                <a:srgbClr val="AEABAB"/>
              </a:solidFill>
            </c:spPr>
          </c:dPt>
          <c:dPt>
            <c:idx val="717"/>
            <c:spPr>
              <a:solidFill>
                <a:srgbClr val="AEABAB"/>
              </a:solidFill>
            </c:spPr>
          </c:dPt>
          <c:dPt>
            <c:idx val="718"/>
            <c:spPr>
              <a:solidFill>
                <a:srgbClr val="AEABAB"/>
              </a:solidFill>
            </c:spPr>
          </c:dPt>
          <c:dPt>
            <c:idx val="719"/>
            <c:spPr>
              <a:solidFill>
                <a:srgbClr val="AEABAB"/>
              </a:solidFill>
            </c:spPr>
          </c:dPt>
          <c:dPt>
            <c:idx val="720"/>
            <c:spPr>
              <a:solidFill>
                <a:srgbClr val="AEABAB"/>
              </a:solidFill>
            </c:spPr>
          </c:dPt>
          <c:dPt>
            <c:idx val="721"/>
            <c:spPr>
              <a:solidFill>
                <a:srgbClr val="AEABAB"/>
              </a:solidFill>
            </c:spPr>
          </c:dPt>
          <c:dPt>
            <c:idx val="722"/>
            <c:spPr>
              <a:solidFill>
                <a:srgbClr val="AEABAB"/>
              </a:solidFill>
            </c:spPr>
          </c:dPt>
          <c:dPt>
            <c:idx val="723"/>
            <c:spPr>
              <a:solidFill>
                <a:srgbClr val="AEABAB"/>
              </a:solidFill>
            </c:spPr>
          </c:dPt>
          <c:dPt>
            <c:idx val="724"/>
            <c:spPr>
              <a:solidFill>
                <a:srgbClr val="AEABAB"/>
              </a:solidFill>
            </c:spPr>
          </c:dPt>
          <c:dPt>
            <c:idx val="725"/>
            <c:spPr>
              <a:solidFill>
                <a:srgbClr val="AEABAB"/>
              </a:solidFill>
            </c:spPr>
          </c:dPt>
          <c:dPt>
            <c:idx val="726"/>
            <c:spPr>
              <a:solidFill>
                <a:srgbClr val="AEABAB"/>
              </a:solidFill>
            </c:spPr>
          </c:dPt>
          <c:dPt>
            <c:idx val="727"/>
            <c:spPr>
              <a:solidFill>
                <a:srgbClr val="AEABAB"/>
              </a:solidFill>
            </c:spPr>
          </c:dPt>
          <c:dPt>
            <c:idx val="728"/>
            <c:spPr>
              <a:solidFill>
                <a:srgbClr val="AEABAB"/>
              </a:solidFill>
            </c:spPr>
          </c:dPt>
          <c:dPt>
            <c:idx val="729"/>
            <c:spPr>
              <a:solidFill>
                <a:srgbClr val="AEABAB"/>
              </a:solidFill>
            </c:spPr>
          </c:dPt>
          <c:dPt>
            <c:idx val="730"/>
            <c:spPr>
              <a:solidFill>
                <a:srgbClr val="AEABAB"/>
              </a:solidFill>
            </c:spPr>
          </c:dPt>
          <c:dPt>
            <c:idx val="731"/>
            <c:spPr>
              <a:solidFill>
                <a:srgbClr val="AEABAB"/>
              </a:solidFill>
            </c:spPr>
          </c:dPt>
          <c:dPt>
            <c:idx val="732"/>
            <c:spPr>
              <a:solidFill>
                <a:srgbClr val="AEABAB"/>
              </a:solidFill>
            </c:spPr>
          </c:dPt>
          <c:dPt>
            <c:idx val="733"/>
            <c:spPr>
              <a:solidFill>
                <a:srgbClr val="AEABAB"/>
              </a:solidFill>
            </c:spPr>
          </c:dPt>
          <c:dPt>
            <c:idx val="734"/>
            <c:spPr>
              <a:solidFill>
                <a:srgbClr val="AEABAB"/>
              </a:solidFill>
            </c:spPr>
          </c:dPt>
          <c:dPt>
            <c:idx val="735"/>
            <c:spPr>
              <a:solidFill>
                <a:srgbClr val="AEABAB"/>
              </a:solidFill>
            </c:spPr>
          </c:dPt>
          <c:dPt>
            <c:idx val="736"/>
            <c:spPr>
              <a:solidFill>
                <a:srgbClr val="AEABAB"/>
              </a:solidFill>
            </c:spPr>
          </c:dPt>
          <c:dPt>
            <c:idx val="737"/>
            <c:spPr>
              <a:solidFill>
                <a:srgbClr val="AEABAB"/>
              </a:solidFill>
            </c:spPr>
          </c:dPt>
          <c:dPt>
            <c:idx val="738"/>
            <c:spPr>
              <a:solidFill>
                <a:srgbClr val="AEABAB"/>
              </a:solidFill>
            </c:spPr>
          </c:dPt>
          <c:dPt>
            <c:idx val="739"/>
            <c:spPr>
              <a:solidFill>
                <a:srgbClr val="AEABAB"/>
              </a:solidFill>
            </c:spPr>
          </c:dPt>
          <c:dPt>
            <c:idx val="740"/>
            <c:spPr>
              <a:solidFill>
                <a:srgbClr val="AEABAB"/>
              </a:solidFill>
            </c:spPr>
          </c:dPt>
          <c:dPt>
            <c:idx val="741"/>
            <c:spPr>
              <a:solidFill>
                <a:srgbClr val="AEABAB"/>
              </a:solidFill>
            </c:spPr>
          </c:dPt>
          <c:dPt>
            <c:idx val="742"/>
            <c:spPr>
              <a:solidFill>
                <a:srgbClr val="AEABAB"/>
              </a:solidFill>
            </c:spPr>
          </c:dPt>
          <c:dPt>
            <c:idx val="743"/>
            <c:spPr>
              <a:solidFill>
                <a:srgbClr val="AEABAB"/>
              </a:solidFill>
            </c:spPr>
          </c:dPt>
          <c:dPt>
            <c:idx val="744"/>
            <c:spPr>
              <a:solidFill>
                <a:srgbClr val="AEABAB"/>
              </a:solidFill>
            </c:spPr>
          </c:dPt>
          <c:dPt>
            <c:idx val="745"/>
            <c:spPr>
              <a:solidFill>
                <a:srgbClr val="AEABAB"/>
              </a:solidFill>
            </c:spPr>
          </c:dPt>
          <c:dPt>
            <c:idx val="746"/>
            <c:spPr>
              <a:solidFill>
                <a:srgbClr val="AEABAB"/>
              </a:solidFill>
            </c:spPr>
          </c:dPt>
          <c:dPt>
            <c:idx val="747"/>
            <c:spPr>
              <a:solidFill>
                <a:srgbClr val="AEABAB"/>
              </a:solidFill>
            </c:spPr>
          </c:dPt>
          <c:dPt>
            <c:idx val="748"/>
            <c:spPr>
              <a:solidFill>
                <a:srgbClr val="AEABAB"/>
              </a:solidFill>
            </c:spPr>
          </c:dPt>
          <c:dPt>
            <c:idx val="749"/>
            <c:spPr>
              <a:solidFill>
                <a:srgbClr val="AEABAB"/>
              </a:solidFill>
            </c:spPr>
          </c:dPt>
          <c:dPt>
            <c:idx val="750"/>
            <c:spPr>
              <a:solidFill>
                <a:srgbClr val="AEABAB"/>
              </a:solidFill>
            </c:spPr>
          </c:dPt>
          <c:dPt>
            <c:idx val="751"/>
            <c:spPr>
              <a:solidFill>
                <a:srgbClr val="AEABAB"/>
              </a:solidFill>
            </c:spPr>
          </c:dPt>
          <c:dPt>
            <c:idx val="752"/>
            <c:spPr>
              <a:solidFill>
                <a:srgbClr val="AEABAB"/>
              </a:solidFill>
            </c:spPr>
          </c:dPt>
          <c:dPt>
            <c:idx val="753"/>
            <c:spPr>
              <a:solidFill>
                <a:srgbClr val="AEABAB"/>
              </a:solidFill>
            </c:spPr>
          </c:dPt>
          <c:dPt>
            <c:idx val="754"/>
            <c:spPr>
              <a:solidFill>
                <a:srgbClr val="AEABAB"/>
              </a:solidFill>
            </c:spPr>
          </c:dPt>
          <c:dPt>
            <c:idx val="755"/>
            <c:spPr>
              <a:solidFill>
                <a:srgbClr val="AEABAB"/>
              </a:solidFill>
            </c:spPr>
          </c:dPt>
          <c:dPt>
            <c:idx val="756"/>
            <c:spPr>
              <a:solidFill>
                <a:srgbClr val="AEABAB"/>
              </a:solidFill>
            </c:spPr>
          </c:dPt>
          <c:dPt>
            <c:idx val="757"/>
            <c:spPr>
              <a:solidFill>
                <a:srgbClr val="AEABAB"/>
              </a:solidFill>
            </c:spPr>
          </c:dPt>
          <c:dPt>
            <c:idx val="758"/>
            <c:spPr>
              <a:solidFill>
                <a:srgbClr val="AEABAB"/>
              </a:solidFill>
            </c:spPr>
          </c:dPt>
          <c:dPt>
            <c:idx val="759"/>
            <c:spPr>
              <a:solidFill>
                <a:srgbClr val="AEABAB"/>
              </a:solidFill>
            </c:spPr>
          </c:dPt>
          <c:dPt>
            <c:idx val="760"/>
            <c:spPr>
              <a:solidFill>
                <a:srgbClr val="AEABAB"/>
              </a:solidFill>
            </c:spPr>
          </c:dPt>
          <c:dPt>
            <c:idx val="761"/>
            <c:spPr>
              <a:solidFill>
                <a:srgbClr val="AEABAB"/>
              </a:solidFill>
            </c:spPr>
          </c:dPt>
          <c:dPt>
            <c:idx val="762"/>
            <c:spPr>
              <a:solidFill>
                <a:srgbClr val="AEABAB"/>
              </a:solidFill>
            </c:spPr>
          </c:dPt>
          <c:dPt>
            <c:idx val="763"/>
            <c:spPr>
              <a:solidFill>
                <a:srgbClr val="AEABAB"/>
              </a:solidFill>
            </c:spPr>
          </c:dPt>
          <c:dPt>
            <c:idx val="764"/>
            <c:spPr>
              <a:solidFill>
                <a:srgbClr val="AEABAB"/>
              </a:solidFill>
            </c:spPr>
          </c:dPt>
          <c:dPt>
            <c:idx val="765"/>
            <c:spPr>
              <a:solidFill>
                <a:srgbClr val="AEABAB"/>
              </a:solidFill>
            </c:spPr>
          </c:dPt>
          <c:dPt>
            <c:idx val="766"/>
            <c:spPr>
              <a:solidFill>
                <a:srgbClr val="AEABAB"/>
              </a:solidFill>
            </c:spPr>
          </c:dPt>
          <c:dPt>
            <c:idx val="767"/>
            <c:spPr>
              <a:solidFill>
                <a:srgbClr val="AEABAB"/>
              </a:solidFill>
            </c:spPr>
          </c:dPt>
          <c:dPt>
            <c:idx val="768"/>
            <c:spPr>
              <a:solidFill>
                <a:srgbClr val="AEABAB"/>
              </a:solidFill>
            </c:spPr>
          </c:dPt>
          <c:dPt>
            <c:idx val="769"/>
            <c:spPr>
              <a:solidFill>
                <a:srgbClr val="AEABAB"/>
              </a:solidFill>
            </c:spPr>
          </c:dPt>
          <c:dPt>
            <c:idx val="770"/>
            <c:spPr>
              <a:solidFill>
                <a:srgbClr val="AEABAB"/>
              </a:solidFill>
            </c:spPr>
          </c:dPt>
          <c:dPt>
            <c:idx val="771"/>
            <c:spPr>
              <a:solidFill>
                <a:srgbClr val="AEABAB"/>
              </a:solidFill>
            </c:spPr>
          </c:dPt>
          <c:dPt>
            <c:idx val="772"/>
            <c:spPr>
              <a:solidFill>
                <a:srgbClr val="AEABAB"/>
              </a:solidFill>
            </c:spPr>
          </c:dPt>
          <c:dPt>
            <c:idx val="773"/>
            <c:spPr>
              <a:solidFill>
                <a:srgbClr val="AEABAB"/>
              </a:solidFill>
            </c:spPr>
          </c:dPt>
          <c:dPt>
            <c:idx val="774"/>
            <c:spPr>
              <a:solidFill>
                <a:srgbClr val="AEABAB"/>
              </a:solidFill>
            </c:spPr>
          </c:dPt>
          <c:dPt>
            <c:idx val="775"/>
            <c:spPr>
              <a:solidFill>
                <a:srgbClr val="AEABAB"/>
              </a:solidFill>
            </c:spPr>
          </c:dPt>
          <c:dPt>
            <c:idx val="776"/>
            <c:spPr>
              <a:solidFill>
                <a:srgbClr val="AEABAB"/>
              </a:solidFill>
            </c:spPr>
          </c:dPt>
          <c:dPt>
            <c:idx val="777"/>
            <c:spPr>
              <a:solidFill>
                <a:srgbClr val="AEABAB"/>
              </a:solidFill>
            </c:spPr>
          </c:dPt>
          <c:dPt>
            <c:idx val="778"/>
            <c:spPr>
              <a:solidFill>
                <a:srgbClr val="AEABAB"/>
              </a:solidFill>
            </c:spPr>
          </c:dPt>
          <c:dPt>
            <c:idx val="779"/>
            <c:spPr>
              <a:solidFill>
                <a:srgbClr val="AEABAB"/>
              </a:solidFill>
            </c:spPr>
          </c:dPt>
          <c:dPt>
            <c:idx val="780"/>
            <c:spPr>
              <a:solidFill>
                <a:srgbClr val="AEABAB"/>
              </a:solidFill>
            </c:spPr>
          </c:dPt>
          <c:dPt>
            <c:idx val="781"/>
            <c:spPr>
              <a:solidFill>
                <a:srgbClr val="AEABAB"/>
              </a:solidFill>
            </c:spPr>
          </c:dPt>
          <c:dPt>
            <c:idx val="782"/>
            <c:spPr>
              <a:solidFill>
                <a:srgbClr val="AEABAB"/>
              </a:solidFill>
            </c:spPr>
          </c:dPt>
          <c:dPt>
            <c:idx val="783"/>
            <c:spPr>
              <a:solidFill>
                <a:srgbClr val="AEABAB"/>
              </a:solidFill>
            </c:spPr>
          </c:dPt>
          <c:dPt>
            <c:idx val="784"/>
            <c:spPr>
              <a:solidFill>
                <a:srgbClr val="AEABAB"/>
              </a:solidFill>
            </c:spPr>
          </c:dPt>
          <c:dPt>
            <c:idx val="785"/>
            <c:spPr>
              <a:solidFill>
                <a:srgbClr val="AEABAB"/>
              </a:solidFill>
            </c:spPr>
          </c:dPt>
          <c:dPt>
            <c:idx val="786"/>
            <c:spPr>
              <a:solidFill>
                <a:srgbClr val="AEABAB"/>
              </a:solidFill>
            </c:spPr>
          </c:dPt>
          <c:dPt>
            <c:idx val="787"/>
            <c:spPr>
              <a:solidFill>
                <a:srgbClr val="AEABAB"/>
              </a:solidFill>
            </c:spPr>
          </c:dPt>
          <c:dPt>
            <c:idx val="788"/>
            <c:spPr>
              <a:solidFill>
                <a:srgbClr val="AEABAB"/>
              </a:solidFill>
            </c:spPr>
          </c:dPt>
          <c:dPt>
            <c:idx val="789"/>
            <c:spPr>
              <a:solidFill>
                <a:srgbClr val="AEABAB"/>
              </a:solidFill>
            </c:spPr>
          </c:dPt>
          <c:dPt>
            <c:idx val="790"/>
            <c:spPr>
              <a:solidFill>
                <a:srgbClr val="AEABAB"/>
              </a:solidFill>
            </c:spPr>
          </c:dPt>
          <c:dPt>
            <c:idx val="791"/>
            <c:spPr>
              <a:solidFill>
                <a:srgbClr val="AEABAB"/>
              </a:solidFill>
            </c:spPr>
          </c:dPt>
          <c:dPt>
            <c:idx val="792"/>
            <c:spPr>
              <a:solidFill>
                <a:srgbClr val="AEABAB"/>
              </a:solidFill>
            </c:spPr>
          </c:dPt>
          <c:dPt>
            <c:idx val="793"/>
            <c:spPr>
              <a:solidFill>
                <a:srgbClr val="AEABAB"/>
              </a:solidFill>
            </c:spPr>
          </c:dPt>
          <c:dPt>
            <c:idx val="794"/>
            <c:spPr>
              <a:solidFill>
                <a:srgbClr val="AEABAB"/>
              </a:solidFill>
            </c:spPr>
          </c:dPt>
          <c:dPt>
            <c:idx val="795"/>
            <c:spPr>
              <a:solidFill>
                <a:srgbClr val="AEABAB"/>
              </a:solidFill>
            </c:spPr>
          </c:dPt>
          <c:dPt>
            <c:idx val="796"/>
            <c:spPr>
              <a:solidFill>
                <a:srgbClr val="AEABAB"/>
              </a:solidFill>
            </c:spPr>
          </c:dPt>
          <c:dPt>
            <c:idx val="797"/>
            <c:spPr>
              <a:solidFill>
                <a:srgbClr val="AEABAB"/>
              </a:solidFill>
            </c:spPr>
          </c:dPt>
          <c:dPt>
            <c:idx val="798"/>
            <c:spPr>
              <a:solidFill>
                <a:srgbClr val="AEABAB"/>
              </a:solidFill>
            </c:spPr>
          </c:dPt>
          <c:dPt>
            <c:idx val="799"/>
            <c:spPr>
              <a:solidFill>
                <a:srgbClr val="AEABAB"/>
              </a:solidFill>
            </c:spPr>
          </c:dPt>
          <c:dPt>
            <c:idx val="800"/>
            <c:spPr>
              <a:solidFill>
                <a:srgbClr val="AEABAB"/>
              </a:solidFill>
            </c:spPr>
          </c:dPt>
          <c:dPt>
            <c:idx val="801"/>
            <c:spPr>
              <a:solidFill>
                <a:srgbClr val="AEABAB"/>
              </a:solidFill>
            </c:spPr>
          </c:dPt>
          <c:dPt>
            <c:idx val="802"/>
            <c:spPr>
              <a:solidFill>
                <a:srgbClr val="AEABAB"/>
              </a:solidFill>
            </c:spPr>
          </c:dPt>
          <c:dPt>
            <c:idx val="803"/>
            <c:spPr>
              <a:solidFill>
                <a:srgbClr val="AEABAB"/>
              </a:solidFill>
            </c:spPr>
          </c:dPt>
          <c:dPt>
            <c:idx val="804"/>
            <c:spPr>
              <a:solidFill>
                <a:srgbClr val="AEABAB"/>
              </a:solidFill>
            </c:spPr>
          </c:dPt>
          <c:dPt>
            <c:idx val="805"/>
            <c:spPr>
              <a:solidFill>
                <a:srgbClr val="AEABAB"/>
              </a:solidFill>
            </c:spPr>
          </c:dPt>
          <c:dPt>
            <c:idx val="806"/>
            <c:spPr>
              <a:solidFill>
                <a:srgbClr val="AEABAB"/>
              </a:solidFill>
            </c:spPr>
          </c:dPt>
          <c:dPt>
            <c:idx val="807"/>
            <c:spPr>
              <a:solidFill>
                <a:srgbClr val="AEABAB"/>
              </a:solidFill>
            </c:spPr>
          </c:dPt>
          <c:dPt>
            <c:idx val="808"/>
            <c:spPr>
              <a:solidFill>
                <a:srgbClr val="AEABAB"/>
              </a:solidFill>
            </c:spPr>
          </c:dPt>
          <c:dPt>
            <c:idx val="809"/>
            <c:spPr>
              <a:solidFill>
                <a:srgbClr val="AEABAB"/>
              </a:solidFill>
            </c:spPr>
          </c:dPt>
          <c:dPt>
            <c:idx val="810"/>
            <c:spPr>
              <a:solidFill>
                <a:srgbClr val="AEABAB"/>
              </a:solidFill>
            </c:spPr>
          </c:dPt>
          <c:dPt>
            <c:idx val="811"/>
            <c:spPr>
              <a:solidFill>
                <a:srgbClr val="AEABAB"/>
              </a:solidFill>
            </c:spPr>
          </c:dPt>
          <c:dPt>
            <c:idx val="812"/>
            <c:spPr>
              <a:solidFill>
                <a:srgbClr val="AEABAB"/>
              </a:solidFill>
            </c:spPr>
          </c:dPt>
          <c:dPt>
            <c:idx val="813"/>
            <c:spPr>
              <a:solidFill>
                <a:srgbClr val="AEABAB"/>
              </a:solidFill>
            </c:spPr>
          </c:dPt>
          <c:dPt>
            <c:idx val="814"/>
            <c:spPr>
              <a:solidFill>
                <a:srgbClr val="AEABAB"/>
              </a:solidFill>
            </c:spPr>
          </c:dPt>
          <c:dPt>
            <c:idx val="815"/>
            <c:spPr>
              <a:solidFill>
                <a:srgbClr val="AEABAB"/>
              </a:solidFill>
            </c:spPr>
          </c:dPt>
          <c:dPt>
            <c:idx val="816"/>
            <c:spPr>
              <a:solidFill>
                <a:srgbClr val="AEABAB"/>
              </a:solidFill>
            </c:spPr>
          </c:dPt>
          <c:dPt>
            <c:idx val="817"/>
            <c:spPr>
              <a:solidFill>
                <a:srgbClr val="AEABAB"/>
              </a:solidFill>
            </c:spPr>
          </c:dPt>
          <c:dPt>
            <c:idx val="818"/>
            <c:spPr>
              <a:solidFill>
                <a:srgbClr val="AEABAB"/>
              </a:solidFill>
            </c:spPr>
          </c:dPt>
          <c:dPt>
            <c:idx val="819"/>
            <c:spPr>
              <a:solidFill>
                <a:srgbClr val="AEABAB"/>
              </a:solidFill>
            </c:spPr>
          </c:dPt>
          <c:dPt>
            <c:idx val="820"/>
            <c:spPr>
              <a:solidFill>
                <a:srgbClr val="AEABAB"/>
              </a:solidFill>
            </c:spPr>
          </c:dPt>
          <c:dPt>
            <c:idx val="821"/>
            <c:spPr>
              <a:solidFill>
                <a:srgbClr val="AEABAB"/>
              </a:solidFill>
            </c:spPr>
          </c:dPt>
          <c:dPt>
            <c:idx val="822"/>
            <c:spPr>
              <a:solidFill>
                <a:srgbClr val="AEABAB"/>
              </a:solidFill>
            </c:spPr>
          </c:dPt>
          <c:dPt>
            <c:idx val="823"/>
            <c:spPr>
              <a:solidFill>
                <a:srgbClr val="AEABAB"/>
              </a:solidFill>
            </c:spPr>
          </c:dPt>
          <c:dPt>
            <c:idx val="824"/>
            <c:spPr>
              <a:solidFill>
                <a:srgbClr val="AEABAB"/>
              </a:solidFill>
            </c:spPr>
          </c:dPt>
          <c:dPt>
            <c:idx val="825"/>
            <c:spPr>
              <a:solidFill>
                <a:srgbClr val="AEABAB"/>
              </a:solidFill>
            </c:spPr>
          </c:dPt>
          <c:dPt>
            <c:idx val="826"/>
            <c:spPr>
              <a:solidFill>
                <a:srgbClr val="AEABAB"/>
              </a:solidFill>
            </c:spPr>
          </c:dPt>
          <c:dPt>
            <c:idx val="827"/>
            <c:spPr>
              <a:solidFill>
                <a:srgbClr val="AEABAB"/>
              </a:solidFill>
            </c:spPr>
          </c:dPt>
          <c:dPt>
            <c:idx val="828"/>
            <c:spPr>
              <a:solidFill>
                <a:srgbClr val="AEABAB"/>
              </a:solidFill>
            </c:spPr>
          </c:dPt>
          <c:dPt>
            <c:idx val="829"/>
            <c:spPr>
              <a:solidFill>
                <a:srgbClr val="AEABAB"/>
              </a:solidFill>
            </c:spPr>
          </c:dPt>
          <c:dPt>
            <c:idx val="830"/>
            <c:spPr>
              <a:solidFill>
                <a:srgbClr val="AEABAB"/>
              </a:solidFill>
            </c:spPr>
          </c:dPt>
          <c:dPt>
            <c:idx val="831"/>
            <c:spPr>
              <a:solidFill>
                <a:srgbClr val="AEABAB"/>
              </a:solidFill>
            </c:spPr>
          </c:dPt>
          <c:dPt>
            <c:idx val="832"/>
            <c:spPr>
              <a:solidFill>
                <a:srgbClr val="AEABAB"/>
              </a:solidFill>
            </c:spPr>
          </c:dPt>
          <c:dPt>
            <c:idx val="833"/>
            <c:spPr>
              <a:solidFill>
                <a:srgbClr val="AEABAB"/>
              </a:solidFill>
            </c:spPr>
          </c:dPt>
          <c:dPt>
            <c:idx val="834"/>
            <c:spPr>
              <a:solidFill>
                <a:srgbClr val="AEABAB"/>
              </a:solidFill>
            </c:spPr>
          </c:dPt>
          <c:dPt>
            <c:idx val="835"/>
            <c:spPr>
              <a:solidFill>
                <a:srgbClr val="AEABAB"/>
              </a:solidFill>
            </c:spPr>
          </c:dPt>
          <c:dPt>
            <c:idx val="836"/>
            <c:spPr>
              <a:solidFill>
                <a:srgbClr val="AEABAB"/>
              </a:solidFill>
            </c:spPr>
          </c:dPt>
          <c:dPt>
            <c:idx val="837"/>
            <c:spPr>
              <a:solidFill>
                <a:srgbClr val="AEABAB"/>
              </a:solidFill>
            </c:spPr>
          </c:dPt>
          <c:dPt>
            <c:idx val="838"/>
            <c:spPr>
              <a:solidFill>
                <a:srgbClr val="AEABAB"/>
              </a:solidFill>
            </c:spPr>
          </c:dPt>
          <c:dPt>
            <c:idx val="839"/>
            <c:spPr>
              <a:solidFill>
                <a:srgbClr val="AEABAB"/>
              </a:solidFill>
            </c:spPr>
          </c:dPt>
          <c:dPt>
            <c:idx val="840"/>
            <c:spPr>
              <a:solidFill>
                <a:srgbClr val="AEABAB"/>
              </a:solidFill>
            </c:spPr>
          </c:dPt>
          <c:dPt>
            <c:idx val="841"/>
            <c:spPr>
              <a:solidFill>
                <a:srgbClr val="AEABAB"/>
              </a:solidFill>
            </c:spPr>
          </c:dPt>
          <c:dPt>
            <c:idx val="842"/>
            <c:spPr>
              <a:solidFill>
                <a:srgbClr val="AEABAB"/>
              </a:solidFill>
            </c:spPr>
          </c:dPt>
          <c:dPt>
            <c:idx val="843"/>
            <c:spPr>
              <a:solidFill>
                <a:srgbClr val="AEABAB"/>
              </a:solidFill>
            </c:spPr>
          </c:dPt>
          <c:dPt>
            <c:idx val="844"/>
            <c:spPr>
              <a:solidFill>
                <a:srgbClr val="AEABAB"/>
              </a:solidFill>
            </c:spPr>
          </c:dPt>
          <c:dPt>
            <c:idx val="845"/>
            <c:spPr>
              <a:solidFill>
                <a:srgbClr val="AEABAB"/>
              </a:solidFill>
            </c:spPr>
          </c:dPt>
          <c:dPt>
            <c:idx val="846"/>
            <c:spPr>
              <a:solidFill>
                <a:srgbClr val="AEABAB"/>
              </a:solidFill>
            </c:spPr>
          </c:dPt>
          <c:dPt>
            <c:idx val="847"/>
            <c:spPr>
              <a:solidFill>
                <a:srgbClr val="AEABAB"/>
              </a:solidFill>
            </c:spPr>
          </c:dPt>
          <c:dPt>
            <c:idx val="848"/>
            <c:spPr>
              <a:solidFill>
                <a:srgbClr val="AEABAB"/>
              </a:solidFill>
            </c:spPr>
          </c:dPt>
          <c:dPt>
            <c:idx val="849"/>
            <c:spPr>
              <a:solidFill>
                <a:srgbClr val="AEABAB"/>
              </a:solidFill>
            </c:spPr>
          </c:dPt>
          <c:dPt>
            <c:idx val="850"/>
            <c:spPr>
              <a:solidFill>
                <a:srgbClr val="AEABAB"/>
              </a:solidFill>
            </c:spPr>
          </c:dPt>
          <c:dPt>
            <c:idx val="851"/>
            <c:spPr>
              <a:solidFill>
                <a:srgbClr val="AEABAB"/>
              </a:solidFill>
            </c:spPr>
          </c:dPt>
          <c:dPt>
            <c:idx val="852"/>
            <c:spPr>
              <a:solidFill>
                <a:srgbClr val="AEABAB"/>
              </a:solidFill>
            </c:spPr>
          </c:dPt>
          <c:dPt>
            <c:idx val="853"/>
            <c:spPr>
              <a:solidFill>
                <a:srgbClr val="AEABAB"/>
              </a:solidFill>
            </c:spPr>
          </c:dPt>
          <c:dPt>
            <c:idx val="854"/>
            <c:spPr>
              <a:solidFill>
                <a:srgbClr val="AEABAB"/>
              </a:solidFill>
            </c:spPr>
          </c:dPt>
          <c:dPt>
            <c:idx val="855"/>
            <c:spPr>
              <a:solidFill>
                <a:srgbClr val="AEABAB"/>
              </a:solidFill>
            </c:spPr>
          </c:dPt>
          <c:dPt>
            <c:idx val="856"/>
            <c:spPr>
              <a:solidFill>
                <a:srgbClr val="AEABAB"/>
              </a:solidFill>
            </c:spPr>
          </c:dPt>
          <c:dPt>
            <c:idx val="857"/>
            <c:spPr>
              <a:solidFill>
                <a:srgbClr val="AEABAB"/>
              </a:solidFill>
            </c:spPr>
          </c:dPt>
          <c:dPt>
            <c:idx val="858"/>
            <c:spPr>
              <a:solidFill>
                <a:srgbClr val="AEABAB"/>
              </a:solidFill>
            </c:spPr>
          </c:dPt>
          <c:dPt>
            <c:idx val="859"/>
            <c:spPr>
              <a:solidFill>
                <a:srgbClr val="AEABAB"/>
              </a:solidFill>
            </c:spPr>
          </c:dPt>
          <c:dPt>
            <c:idx val="860"/>
            <c:spPr>
              <a:solidFill>
                <a:srgbClr val="AEABAB"/>
              </a:solidFill>
            </c:spPr>
          </c:dPt>
          <c:dPt>
            <c:idx val="861"/>
            <c:spPr>
              <a:solidFill>
                <a:srgbClr val="AEABAB"/>
              </a:solidFill>
            </c:spPr>
          </c:dPt>
          <c:dPt>
            <c:idx val="862"/>
            <c:spPr>
              <a:solidFill>
                <a:srgbClr val="AEABAB"/>
              </a:solidFill>
            </c:spPr>
          </c:dPt>
          <c:dPt>
            <c:idx val="863"/>
            <c:spPr>
              <a:solidFill>
                <a:srgbClr val="AEABAB"/>
              </a:solidFill>
            </c:spPr>
          </c:dPt>
          <c:dPt>
            <c:idx val="864"/>
            <c:spPr>
              <a:solidFill>
                <a:srgbClr val="AEABAB"/>
              </a:solidFill>
            </c:spPr>
          </c:dPt>
          <c:dPt>
            <c:idx val="865"/>
            <c:spPr>
              <a:solidFill>
                <a:srgbClr val="AEABAB"/>
              </a:solidFill>
            </c:spPr>
          </c:dPt>
          <c:dPt>
            <c:idx val="866"/>
            <c:spPr>
              <a:solidFill>
                <a:srgbClr val="AEABAB"/>
              </a:solidFill>
            </c:spPr>
          </c:dPt>
          <c:dPt>
            <c:idx val="867"/>
            <c:spPr>
              <a:solidFill>
                <a:srgbClr val="AEABAB"/>
              </a:solidFill>
            </c:spPr>
          </c:dPt>
          <c:dPt>
            <c:idx val="868"/>
            <c:spPr>
              <a:solidFill>
                <a:srgbClr val="AEABAB"/>
              </a:solidFill>
            </c:spPr>
          </c:dPt>
          <c:dPt>
            <c:idx val="869"/>
            <c:spPr>
              <a:solidFill>
                <a:srgbClr val="AEABAB"/>
              </a:solidFill>
            </c:spPr>
          </c:dPt>
          <c:dPt>
            <c:idx val="870"/>
            <c:spPr>
              <a:solidFill>
                <a:srgbClr val="AEABAB"/>
              </a:solidFill>
            </c:spPr>
          </c:dPt>
          <c:dPt>
            <c:idx val="871"/>
            <c:spPr>
              <a:solidFill>
                <a:srgbClr val="AEABAB"/>
              </a:solidFill>
            </c:spPr>
          </c:dPt>
          <c:dPt>
            <c:idx val="872"/>
            <c:spPr>
              <a:solidFill>
                <a:srgbClr val="AEABAB"/>
              </a:solidFill>
            </c:spPr>
          </c:dPt>
          <c:dPt>
            <c:idx val="873"/>
            <c:spPr>
              <a:solidFill>
                <a:srgbClr val="AEABAB"/>
              </a:solidFill>
            </c:spPr>
          </c:dPt>
          <c:dPt>
            <c:idx val="874"/>
            <c:spPr>
              <a:solidFill>
                <a:srgbClr val="AEABAB"/>
              </a:solidFill>
            </c:spPr>
          </c:dPt>
          <c:dPt>
            <c:idx val="875"/>
            <c:spPr>
              <a:solidFill>
                <a:srgbClr val="AEABAB"/>
              </a:solidFill>
            </c:spPr>
          </c:dPt>
          <c:dPt>
            <c:idx val="876"/>
            <c:spPr>
              <a:solidFill>
                <a:srgbClr val="AEABAB"/>
              </a:solidFill>
            </c:spPr>
          </c:dPt>
          <c:dPt>
            <c:idx val="877"/>
            <c:spPr>
              <a:solidFill>
                <a:srgbClr val="AEABAB"/>
              </a:solidFill>
            </c:spPr>
          </c:dPt>
          <c:dPt>
            <c:idx val="878"/>
            <c:spPr>
              <a:solidFill>
                <a:srgbClr val="AEABAB"/>
              </a:solidFill>
            </c:spPr>
          </c:dPt>
          <c:dPt>
            <c:idx val="879"/>
            <c:spPr>
              <a:solidFill>
                <a:srgbClr val="AEABAB"/>
              </a:solidFill>
            </c:spPr>
          </c:dPt>
          <c:dPt>
            <c:idx val="880"/>
            <c:spPr>
              <a:solidFill>
                <a:srgbClr val="AEABAB"/>
              </a:solidFill>
            </c:spPr>
          </c:dPt>
          <c:dPt>
            <c:idx val="881"/>
            <c:spPr>
              <a:solidFill>
                <a:srgbClr val="AEABAB"/>
              </a:solidFill>
            </c:spPr>
          </c:dPt>
          <c:dPt>
            <c:idx val="882"/>
            <c:spPr>
              <a:solidFill>
                <a:srgbClr val="AEABAB"/>
              </a:solidFill>
            </c:spPr>
          </c:dPt>
          <c:dPt>
            <c:idx val="883"/>
            <c:spPr>
              <a:solidFill>
                <a:srgbClr val="AEABAB"/>
              </a:solidFill>
            </c:spPr>
          </c:dPt>
          <c:dPt>
            <c:idx val="884"/>
            <c:spPr>
              <a:solidFill>
                <a:srgbClr val="AEABAB"/>
              </a:solidFill>
            </c:spPr>
          </c:dPt>
          <c:dPt>
            <c:idx val="885"/>
            <c:spPr>
              <a:solidFill>
                <a:srgbClr val="AEABAB"/>
              </a:solidFill>
            </c:spPr>
          </c:dPt>
          <c:dPt>
            <c:idx val="886"/>
            <c:spPr>
              <a:solidFill>
                <a:srgbClr val="AEABAB"/>
              </a:solidFill>
            </c:spPr>
          </c:dPt>
          <c:dPt>
            <c:idx val="887"/>
            <c:spPr>
              <a:solidFill>
                <a:srgbClr val="AEABAB"/>
              </a:solidFill>
            </c:spPr>
          </c:dPt>
          <c:dPt>
            <c:idx val="888"/>
            <c:spPr>
              <a:solidFill>
                <a:srgbClr val="AEABAB"/>
              </a:solidFill>
            </c:spPr>
          </c:dPt>
          <c:dPt>
            <c:idx val="889"/>
            <c:spPr>
              <a:solidFill>
                <a:srgbClr val="AEABAB"/>
              </a:solidFill>
            </c:spPr>
          </c:dPt>
          <c:dPt>
            <c:idx val="890"/>
            <c:spPr>
              <a:solidFill>
                <a:srgbClr val="AEABAB"/>
              </a:solidFill>
            </c:spPr>
          </c:dPt>
          <c:dPt>
            <c:idx val="891"/>
            <c:spPr>
              <a:solidFill>
                <a:srgbClr val="AEABAB"/>
              </a:solidFill>
            </c:spPr>
          </c:dPt>
          <c:dPt>
            <c:idx val="892"/>
            <c:spPr>
              <a:solidFill>
                <a:srgbClr val="AEABAB"/>
              </a:solidFill>
            </c:spPr>
          </c:dPt>
          <c:dPt>
            <c:idx val="893"/>
            <c:spPr>
              <a:solidFill>
                <a:srgbClr val="AEABAB"/>
              </a:solidFill>
            </c:spPr>
          </c:dPt>
          <c:dPt>
            <c:idx val="894"/>
            <c:spPr>
              <a:solidFill>
                <a:srgbClr val="AEABAB"/>
              </a:solidFill>
            </c:spPr>
          </c:dPt>
          <c:dPt>
            <c:idx val="895"/>
            <c:spPr>
              <a:solidFill>
                <a:srgbClr val="AEABAB"/>
              </a:solidFill>
            </c:spPr>
          </c:dPt>
          <c:dPt>
            <c:idx val="896"/>
            <c:spPr>
              <a:solidFill>
                <a:srgbClr val="AEABAB"/>
              </a:solidFill>
            </c:spPr>
          </c:dPt>
          <c:dPt>
            <c:idx val="897"/>
            <c:spPr>
              <a:solidFill>
                <a:srgbClr val="AEABAB"/>
              </a:solidFill>
            </c:spPr>
          </c:dPt>
          <c:dPt>
            <c:idx val="898"/>
            <c:spPr>
              <a:solidFill>
                <a:srgbClr val="AEABAB"/>
              </a:solidFill>
            </c:spPr>
          </c:dPt>
          <c:dPt>
            <c:idx val="899"/>
            <c:spPr>
              <a:solidFill>
                <a:srgbClr val="AEABAB"/>
              </a:solidFill>
            </c:spPr>
          </c:dPt>
          <c:dPt>
            <c:idx val="900"/>
            <c:spPr>
              <a:solidFill>
                <a:srgbClr val="AEABAB"/>
              </a:solidFill>
            </c:spPr>
          </c:dPt>
          <c:dPt>
            <c:idx val="901"/>
            <c:spPr>
              <a:solidFill>
                <a:srgbClr val="AEABAB"/>
              </a:solidFill>
            </c:spPr>
          </c:dPt>
          <c:dPt>
            <c:idx val="902"/>
            <c:spPr>
              <a:solidFill>
                <a:srgbClr val="AEABAB"/>
              </a:solidFill>
            </c:spPr>
          </c:dPt>
          <c:dPt>
            <c:idx val="903"/>
            <c:spPr>
              <a:solidFill>
                <a:srgbClr val="AEABAB"/>
              </a:solidFill>
            </c:spPr>
          </c:dPt>
          <c:dPt>
            <c:idx val="904"/>
            <c:spPr>
              <a:solidFill>
                <a:srgbClr val="AEABAB"/>
              </a:solidFill>
            </c:spPr>
          </c:dPt>
          <c:dPt>
            <c:idx val="905"/>
            <c:spPr>
              <a:solidFill>
                <a:srgbClr val="AEABAB"/>
              </a:solidFill>
            </c:spPr>
          </c:dPt>
          <c:dPt>
            <c:idx val="906"/>
            <c:spPr>
              <a:solidFill>
                <a:srgbClr val="AEABAB"/>
              </a:solidFill>
            </c:spPr>
          </c:dPt>
          <c:dPt>
            <c:idx val="907"/>
            <c:spPr>
              <a:solidFill>
                <a:srgbClr val="AEABAB"/>
              </a:solidFill>
            </c:spPr>
          </c:dPt>
          <c:dPt>
            <c:idx val="908"/>
            <c:spPr>
              <a:solidFill>
                <a:srgbClr val="AEABAB"/>
              </a:solidFill>
            </c:spPr>
          </c:dPt>
          <c:dPt>
            <c:idx val="909"/>
            <c:spPr>
              <a:solidFill>
                <a:srgbClr val="AEABAB"/>
              </a:solidFill>
            </c:spPr>
          </c:dPt>
          <c:dPt>
            <c:idx val="910"/>
            <c:spPr>
              <a:solidFill>
                <a:srgbClr val="AEABAB"/>
              </a:solidFill>
            </c:spPr>
          </c:dPt>
          <c:dPt>
            <c:idx val="911"/>
            <c:spPr>
              <a:solidFill>
                <a:srgbClr val="AEABAB"/>
              </a:solidFill>
            </c:spPr>
          </c:dPt>
          <c:dPt>
            <c:idx val="912"/>
            <c:spPr>
              <a:solidFill>
                <a:srgbClr val="AEABAB"/>
              </a:solidFill>
            </c:spPr>
          </c:dPt>
          <c:dPt>
            <c:idx val="913"/>
            <c:spPr>
              <a:solidFill>
                <a:srgbClr val="AEABAB"/>
              </a:solidFill>
            </c:spPr>
          </c:dPt>
          <c:dPt>
            <c:idx val="914"/>
            <c:spPr>
              <a:solidFill>
                <a:srgbClr val="AEABAB"/>
              </a:solidFill>
            </c:spPr>
          </c:dPt>
          <c:dPt>
            <c:idx val="915"/>
            <c:spPr>
              <a:solidFill>
                <a:srgbClr val="AEABAB"/>
              </a:solidFill>
            </c:spPr>
          </c:dPt>
          <c:dPt>
            <c:idx val="916"/>
            <c:spPr>
              <a:solidFill>
                <a:srgbClr val="AEABAB"/>
              </a:solidFill>
            </c:spPr>
          </c:dPt>
          <c:dPt>
            <c:idx val="917"/>
            <c:spPr>
              <a:solidFill>
                <a:srgbClr val="AEABAB"/>
              </a:solidFill>
            </c:spPr>
          </c:dPt>
          <c:dPt>
            <c:idx val="918"/>
            <c:spPr>
              <a:solidFill>
                <a:srgbClr val="AEABAB"/>
              </a:solidFill>
            </c:spPr>
          </c:dPt>
          <c:dPt>
            <c:idx val="919"/>
            <c:spPr>
              <a:solidFill>
                <a:srgbClr val="AEABAB"/>
              </a:solidFill>
            </c:spPr>
          </c:dPt>
          <c:dPt>
            <c:idx val="920"/>
            <c:spPr>
              <a:solidFill>
                <a:srgbClr val="AEABAB"/>
              </a:solidFill>
            </c:spPr>
          </c:dPt>
          <c:dPt>
            <c:idx val="921"/>
            <c:spPr>
              <a:solidFill>
                <a:srgbClr val="AEABAB"/>
              </a:solidFill>
            </c:spPr>
          </c:dPt>
          <c:dPt>
            <c:idx val="922"/>
            <c:spPr>
              <a:solidFill>
                <a:srgbClr val="AEABAB"/>
              </a:solidFill>
            </c:spPr>
          </c:dPt>
          <c:dPt>
            <c:idx val="923"/>
            <c:spPr>
              <a:solidFill>
                <a:srgbClr val="AEABAB"/>
              </a:solidFill>
            </c:spPr>
          </c:dPt>
          <c:dPt>
            <c:idx val="924"/>
            <c:spPr>
              <a:solidFill>
                <a:srgbClr val="AEABAB"/>
              </a:solidFill>
            </c:spPr>
          </c:dPt>
          <c:dPt>
            <c:idx val="925"/>
            <c:spPr>
              <a:solidFill>
                <a:srgbClr val="AEABAB"/>
              </a:solidFill>
            </c:spPr>
          </c:dPt>
          <c:dPt>
            <c:idx val="926"/>
            <c:spPr>
              <a:solidFill>
                <a:srgbClr val="AEABAB"/>
              </a:solidFill>
            </c:spPr>
          </c:dPt>
          <c:dPt>
            <c:idx val="927"/>
            <c:spPr>
              <a:solidFill>
                <a:srgbClr val="AEABAB"/>
              </a:solidFill>
            </c:spPr>
          </c:dPt>
          <c:dPt>
            <c:idx val="928"/>
            <c:spPr>
              <a:solidFill>
                <a:srgbClr val="AEABAB"/>
              </a:solidFill>
            </c:spPr>
          </c:dPt>
          <c:dPt>
            <c:idx val="929"/>
            <c:spPr>
              <a:solidFill>
                <a:srgbClr val="AEABAB"/>
              </a:solidFill>
            </c:spPr>
          </c:dPt>
          <c:dPt>
            <c:idx val="930"/>
            <c:spPr>
              <a:solidFill>
                <a:srgbClr val="AEABAB"/>
              </a:solidFill>
            </c:spPr>
          </c:dPt>
          <c:dPt>
            <c:idx val="931"/>
            <c:spPr>
              <a:solidFill>
                <a:srgbClr val="AEABAB"/>
              </a:solidFill>
            </c:spPr>
          </c:dPt>
          <c:dPt>
            <c:idx val="932"/>
            <c:spPr>
              <a:solidFill>
                <a:srgbClr val="AEABAB"/>
              </a:solidFill>
            </c:spPr>
          </c:dPt>
          <c:dPt>
            <c:idx val="933"/>
            <c:spPr>
              <a:solidFill>
                <a:srgbClr val="AEABAB"/>
              </a:solidFill>
            </c:spPr>
          </c:dPt>
          <c:dPt>
            <c:idx val="934"/>
            <c:spPr>
              <a:solidFill>
                <a:srgbClr val="AEABAB"/>
              </a:solidFill>
            </c:spPr>
          </c:dPt>
          <c:dPt>
            <c:idx val="935"/>
            <c:spPr>
              <a:solidFill>
                <a:srgbClr val="AEABAB"/>
              </a:solidFill>
            </c:spPr>
          </c:dPt>
          <c:dPt>
            <c:idx val="936"/>
            <c:spPr>
              <a:solidFill>
                <a:srgbClr val="AEABAB"/>
              </a:solidFill>
            </c:spPr>
          </c:dPt>
          <c:dPt>
            <c:idx val="937"/>
            <c:spPr>
              <a:solidFill>
                <a:srgbClr val="AEABAB"/>
              </a:solidFill>
            </c:spPr>
          </c:dPt>
          <c:dPt>
            <c:idx val="938"/>
            <c:spPr>
              <a:solidFill>
                <a:srgbClr val="AEABAB"/>
              </a:solidFill>
            </c:spPr>
          </c:dPt>
          <c:dPt>
            <c:idx val="939"/>
            <c:spPr>
              <a:solidFill>
                <a:srgbClr val="AEABAB"/>
              </a:solidFill>
            </c:spPr>
          </c:dPt>
          <c:dPt>
            <c:idx val="940"/>
            <c:spPr>
              <a:solidFill>
                <a:srgbClr val="AEABAB"/>
              </a:solidFill>
            </c:spPr>
          </c:dPt>
          <c:dPt>
            <c:idx val="941"/>
            <c:spPr>
              <a:solidFill>
                <a:srgbClr val="AEABAB"/>
              </a:solidFill>
            </c:spPr>
          </c:dPt>
          <c:dPt>
            <c:idx val="942"/>
            <c:spPr>
              <a:solidFill>
                <a:srgbClr val="AEABAB"/>
              </a:solidFill>
            </c:spPr>
          </c:dPt>
          <c:dPt>
            <c:idx val="943"/>
            <c:spPr>
              <a:solidFill>
                <a:srgbClr val="AEABAB"/>
              </a:solidFill>
            </c:spPr>
          </c:dPt>
          <c:dPt>
            <c:idx val="944"/>
            <c:spPr>
              <a:solidFill>
                <a:srgbClr val="AEABAB"/>
              </a:solidFill>
            </c:spPr>
          </c:dPt>
          <c:dPt>
            <c:idx val="945"/>
            <c:spPr>
              <a:solidFill>
                <a:srgbClr val="AEABAB"/>
              </a:solidFill>
            </c:spPr>
          </c:dPt>
          <c:dPt>
            <c:idx val="946"/>
            <c:spPr>
              <a:solidFill>
                <a:srgbClr val="AEABAB"/>
              </a:solidFill>
            </c:spPr>
          </c:dPt>
          <c:dPt>
            <c:idx val="947"/>
            <c:spPr>
              <a:solidFill>
                <a:srgbClr val="AEABAB"/>
              </a:solidFill>
            </c:spPr>
          </c:dPt>
          <c:dPt>
            <c:idx val="948"/>
            <c:spPr>
              <a:solidFill>
                <a:srgbClr val="AEABAB"/>
              </a:solidFill>
            </c:spPr>
          </c:dPt>
          <c:dPt>
            <c:idx val="949"/>
            <c:spPr>
              <a:solidFill>
                <a:srgbClr val="AEABAB"/>
              </a:solidFill>
            </c:spPr>
          </c:dPt>
          <c:dPt>
            <c:idx val="950"/>
            <c:spPr>
              <a:solidFill>
                <a:srgbClr val="AEABAB"/>
              </a:solidFill>
            </c:spPr>
          </c:dPt>
          <c:dPt>
            <c:idx val="951"/>
            <c:spPr>
              <a:solidFill>
                <a:srgbClr val="AEABAB"/>
              </a:solidFill>
            </c:spPr>
          </c:dPt>
          <c:dPt>
            <c:idx val="952"/>
            <c:spPr>
              <a:solidFill>
                <a:srgbClr val="AEABAB"/>
              </a:solidFill>
            </c:spPr>
          </c:dPt>
          <c:dPt>
            <c:idx val="953"/>
            <c:spPr>
              <a:solidFill>
                <a:srgbClr val="AEABAB"/>
              </a:solidFill>
            </c:spPr>
          </c:dPt>
          <c:dPt>
            <c:idx val="954"/>
            <c:spPr>
              <a:solidFill>
                <a:srgbClr val="AEABAB"/>
              </a:solidFill>
            </c:spPr>
          </c:dPt>
          <c:dPt>
            <c:idx val="955"/>
            <c:spPr>
              <a:solidFill>
                <a:srgbClr val="AEABAB"/>
              </a:solidFill>
            </c:spPr>
          </c:dPt>
          <c:dPt>
            <c:idx val="956"/>
            <c:spPr>
              <a:solidFill>
                <a:srgbClr val="AEABAB"/>
              </a:solidFill>
            </c:spPr>
          </c:dPt>
          <c:dPt>
            <c:idx val="957"/>
            <c:spPr>
              <a:solidFill>
                <a:srgbClr val="AEABAB"/>
              </a:solidFill>
            </c:spPr>
          </c:dPt>
          <c:dPt>
            <c:idx val="958"/>
            <c:spPr>
              <a:solidFill>
                <a:srgbClr val="AEABAB"/>
              </a:solidFill>
            </c:spPr>
          </c:dPt>
          <c:dPt>
            <c:idx val="959"/>
            <c:spPr>
              <a:solidFill>
                <a:srgbClr val="AEABAB"/>
              </a:solidFill>
            </c:spPr>
          </c:dPt>
          <c:dPt>
            <c:idx val="960"/>
            <c:spPr>
              <a:solidFill>
                <a:srgbClr val="AEABAB"/>
              </a:solidFill>
            </c:spPr>
          </c:dPt>
          <c:dPt>
            <c:idx val="961"/>
            <c:spPr>
              <a:solidFill>
                <a:srgbClr val="AEABAB"/>
              </a:solidFill>
            </c:spPr>
          </c:dPt>
          <c:dPt>
            <c:idx val="962"/>
            <c:spPr>
              <a:solidFill>
                <a:srgbClr val="AEABAB"/>
              </a:solidFill>
            </c:spPr>
          </c:dPt>
          <c:dPt>
            <c:idx val="963"/>
            <c:spPr>
              <a:solidFill>
                <a:srgbClr val="AEABAB"/>
              </a:solidFill>
            </c:spPr>
          </c:dPt>
          <c:dPt>
            <c:idx val="964"/>
            <c:spPr>
              <a:solidFill>
                <a:srgbClr val="AEABAB"/>
              </a:solidFill>
            </c:spPr>
          </c:dPt>
          <c:dPt>
            <c:idx val="965"/>
            <c:spPr>
              <a:solidFill>
                <a:srgbClr val="AEABAB"/>
              </a:solidFill>
            </c:spPr>
          </c:dPt>
          <c:dPt>
            <c:idx val="966"/>
            <c:spPr>
              <a:solidFill>
                <a:srgbClr val="AEABAB"/>
              </a:solidFill>
            </c:spPr>
          </c:dPt>
          <c:dPt>
            <c:idx val="967"/>
            <c:spPr>
              <a:solidFill>
                <a:srgbClr val="AEABAB"/>
              </a:solidFill>
            </c:spPr>
          </c:dPt>
          <c:dPt>
            <c:idx val="968"/>
            <c:spPr>
              <a:solidFill>
                <a:srgbClr val="AEABAB"/>
              </a:solidFill>
            </c:spPr>
          </c:dPt>
          <c:dPt>
            <c:idx val="969"/>
            <c:spPr>
              <a:solidFill>
                <a:srgbClr val="AEABAB"/>
              </a:solidFill>
            </c:spPr>
          </c:dPt>
          <c:dPt>
            <c:idx val="970"/>
            <c:spPr>
              <a:solidFill>
                <a:srgbClr val="AEABAB"/>
              </a:solidFill>
            </c:spPr>
          </c:dPt>
          <c:dPt>
            <c:idx val="971"/>
            <c:spPr>
              <a:solidFill>
                <a:srgbClr val="AEABAB"/>
              </a:solidFill>
            </c:spPr>
          </c:dPt>
          <c:dPt>
            <c:idx val="972"/>
            <c:spPr>
              <a:solidFill>
                <a:srgbClr val="AEABAB"/>
              </a:solidFill>
            </c:spPr>
          </c:dPt>
          <c:dPt>
            <c:idx val="973"/>
            <c:spPr>
              <a:solidFill>
                <a:srgbClr val="AEABAB"/>
              </a:solidFill>
            </c:spPr>
          </c:dPt>
          <c:dPt>
            <c:idx val="974"/>
            <c:spPr>
              <a:solidFill>
                <a:srgbClr val="AEABAB"/>
              </a:solidFill>
            </c:spPr>
          </c:dPt>
          <c:dPt>
            <c:idx val="975"/>
            <c:spPr>
              <a:solidFill>
                <a:srgbClr val="AEABAB"/>
              </a:solidFill>
            </c:spPr>
          </c:dPt>
          <c:dPt>
            <c:idx val="976"/>
            <c:spPr>
              <a:solidFill>
                <a:srgbClr val="AEABAB"/>
              </a:solidFill>
            </c:spPr>
          </c:dPt>
          <c:dPt>
            <c:idx val="977"/>
            <c:spPr>
              <a:solidFill>
                <a:srgbClr val="AEABAB"/>
              </a:solidFill>
            </c:spPr>
          </c:dPt>
          <c:dPt>
            <c:idx val="978"/>
            <c:spPr>
              <a:solidFill>
                <a:srgbClr val="AEABAB"/>
              </a:solidFill>
            </c:spPr>
          </c:dPt>
          <c:dPt>
            <c:idx val="979"/>
            <c:spPr>
              <a:solidFill>
                <a:srgbClr val="AEABAB"/>
              </a:solidFill>
            </c:spPr>
          </c:dPt>
          <c:dPt>
            <c:idx val="980"/>
            <c:spPr>
              <a:solidFill>
                <a:srgbClr val="AEABAB"/>
              </a:solidFill>
            </c:spPr>
          </c:dPt>
          <c:dPt>
            <c:idx val="981"/>
            <c:spPr>
              <a:solidFill>
                <a:srgbClr val="AEABAB"/>
              </a:solidFill>
            </c:spPr>
          </c:dPt>
          <c:dPt>
            <c:idx val="982"/>
            <c:spPr>
              <a:solidFill>
                <a:srgbClr val="AEABAB"/>
              </a:solidFill>
            </c:spPr>
          </c:dPt>
          <c:dPt>
            <c:idx val="983"/>
            <c:spPr>
              <a:solidFill>
                <a:srgbClr val="AEABAB"/>
              </a:solidFill>
            </c:spPr>
          </c:dPt>
          <c:dPt>
            <c:idx val="984"/>
            <c:spPr>
              <a:solidFill>
                <a:srgbClr val="AEABAB"/>
              </a:solidFill>
            </c:spPr>
          </c:dPt>
          <c:dPt>
            <c:idx val="985"/>
            <c:spPr>
              <a:solidFill>
                <a:srgbClr val="AEABAB"/>
              </a:solidFill>
            </c:spPr>
          </c:dPt>
          <c:dPt>
            <c:idx val="986"/>
            <c:spPr>
              <a:solidFill>
                <a:srgbClr val="AEABAB"/>
              </a:solidFill>
            </c:spPr>
          </c:dPt>
          <c:dPt>
            <c:idx val="987"/>
            <c:spPr>
              <a:solidFill>
                <a:srgbClr val="AEABAB"/>
              </a:solidFill>
            </c:spPr>
          </c:dPt>
          <c:dPt>
            <c:idx val="988"/>
            <c:spPr>
              <a:solidFill>
                <a:srgbClr val="AEABAB"/>
              </a:solidFill>
            </c:spPr>
          </c:dPt>
          <c:dPt>
            <c:idx val="989"/>
            <c:spPr>
              <a:solidFill>
                <a:srgbClr val="AEABAB"/>
              </a:solidFill>
            </c:spPr>
          </c:dPt>
          <c:dPt>
            <c:idx val="990"/>
            <c:spPr>
              <a:solidFill>
                <a:srgbClr val="AEABAB"/>
              </a:solidFill>
            </c:spPr>
          </c:dPt>
          <c:dPt>
            <c:idx val="991"/>
            <c:spPr>
              <a:solidFill>
                <a:srgbClr val="AEABAB"/>
              </a:solidFill>
            </c:spPr>
          </c:dPt>
          <c:dPt>
            <c:idx val="992"/>
            <c:spPr>
              <a:solidFill>
                <a:srgbClr val="AEABAB"/>
              </a:solidFill>
            </c:spPr>
          </c:dPt>
          <c:dPt>
            <c:idx val="993"/>
            <c:spPr>
              <a:solidFill>
                <a:srgbClr val="AEABAB"/>
              </a:solidFill>
            </c:spPr>
          </c:dPt>
          <c:dPt>
            <c:idx val="994"/>
            <c:spPr>
              <a:solidFill>
                <a:srgbClr val="AEABAB"/>
              </a:solidFill>
            </c:spPr>
          </c:dPt>
          <c:dPt>
            <c:idx val="995"/>
            <c:spPr>
              <a:solidFill>
                <a:srgbClr val="AEABAB"/>
              </a:solidFill>
            </c:spPr>
          </c:dPt>
          <c:dPt>
            <c:idx val="996"/>
            <c:spPr>
              <a:solidFill>
                <a:srgbClr val="AEABAB"/>
              </a:solidFill>
            </c:spPr>
          </c:dPt>
          <c:dPt>
            <c:idx val="997"/>
            <c:spPr>
              <a:solidFill>
                <a:srgbClr val="AEABAB"/>
              </a:solidFill>
            </c:spPr>
          </c:dPt>
          <c:dPt>
            <c:idx val="998"/>
            <c:spPr>
              <a:solidFill>
                <a:srgbClr val="AEABAB"/>
              </a:solidFill>
            </c:spPr>
          </c:dPt>
          <c:dPt>
            <c:idx val="999"/>
            <c:spPr>
              <a:solidFill>
                <a:srgbClr val="AEABAB"/>
              </a:solidFill>
            </c:spPr>
          </c:dPt>
          <c:dPt>
            <c:idx val="1000"/>
            <c:spPr>
              <a:solidFill>
                <a:srgbClr val="AEABAB"/>
              </a:solidFill>
            </c:spPr>
          </c:dPt>
          <c:dPt>
            <c:idx val="1001"/>
            <c:spPr>
              <a:solidFill>
                <a:srgbClr val="AEABAB"/>
              </a:solidFill>
            </c:spPr>
          </c:dPt>
          <c:dPt>
            <c:idx val="1002"/>
            <c:spPr>
              <a:solidFill>
                <a:srgbClr val="AEABAB"/>
              </a:solidFill>
            </c:spPr>
          </c:dPt>
          <c:dPt>
            <c:idx val="1003"/>
            <c:spPr>
              <a:solidFill>
                <a:srgbClr val="AEABAB"/>
              </a:solidFill>
            </c:spPr>
          </c:dPt>
          <c:dPt>
            <c:idx val="1004"/>
            <c:spPr>
              <a:solidFill>
                <a:srgbClr val="AEABAB"/>
              </a:solidFill>
            </c:spPr>
          </c:dPt>
          <c:dPt>
            <c:idx val="1005"/>
            <c:spPr>
              <a:solidFill>
                <a:srgbClr val="AEABAB"/>
              </a:solidFill>
            </c:spPr>
          </c:dPt>
          <c:dPt>
            <c:idx val="1006"/>
            <c:spPr>
              <a:solidFill>
                <a:srgbClr val="AEABAB"/>
              </a:solidFill>
            </c:spPr>
          </c:dPt>
          <c:dPt>
            <c:idx val="1007"/>
            <c:spPr>
              <a:solidFill>
                <a:srgbClr val="AEABAB"/>
              </a:solidFill>
            </c:spPr>
          </c:dPt>
          <c:dPt>
            <c:idx val="1008"/>
            <c:spPr>
              <a:solidFill>
                <a:srgbClr val="AEABAB"/>
              </a:solidFill>
            </c:spPr>
          </c:dPt>
          <c:dPt>
            <c:idx val="1009"/>
            <c:spPr>
              <a:solidFill>
                <a:srgbClr val="AEABAB"/>
              </a:solidFill>
            </c:spPr>
          </c:dPt>
          <c:dPt>
            <c:idx val="1010"/>
            <c:spPr>
              <a:solidFill>
                <a:srgbClr val="AEABAB"/>
              </a:solidFill>
            </c:spPr>
          </c:dPt>
          <c:dPt>
            <c:idx val="1011"/>
            <c:spPr>
              <a:solidFill>
                <a:srgbClr val="AEABAB"/>
              </a:solidFill>
            </c:spPr>
          </c:dPt>
          <c:dPt>
            <c:idx val="1012"/>
            <c:spPr>
              <a:solidFill>
                <a:srgbClr val="AEABAB"/>
              </a:solidFill>
            </c:spPr>
          </c:dPt>
          <c:dPt>
            <c:idx val="1013"/>
            <c:spPr>
              <a:solidFill>
                <a:srgbClr val="AEABAB"/>
              </a:solidFill>
            </c:spPr>
          </c:dPt>
          <c:dPt>
            <c:idx val="1014"/>
            <c:spPr>
              <a:solidFill>
                <a:srgbClr val="AEABAB"/>
              </a:solidFill>
            </c:spPr>
          </c:dPt>
          <c:dPt>
            <c:idx val="1015"/>
            <c:spPr>
              <a:solidFill>
                <a:srgbClr val="AEABAB"/>
              </a:solidFill>
            </c:spPr>
          </c:dPt>
          <c:dPt>
            <c:idx val="1016"/>
            <c:spPr>
              <a:solidFill>
                <a:srgbClr val="AEABAB"/>
              </a:solidFill>
            </c:spPr>
          </c:dPt>
          <c:dPt>
            <c:idx val="1017"/>
            <c:spPr>
              <a:solidFill>
                <a:srgbClr val="AEABAB"/>
              </a:solidFill>
            </c:spPr>
          </c:dPt>
          <c:dPt>
            <c:idx val="1018"/>
            <c:spPr>
              <a:solidFill>
                <a:srgbClr val="AEABAB"/>
              </a:solidFill>
            </c:spPr>
          </c:dPt>
          <c:dPt>
            <c:idx val="1019"/>
            <c:spPr>
              <a:solidFill>
                <a:srgbClr val="AEABAB"/>
              </a:solidFill>
            </c:spPr>
          </c:dPt>
          <c:dPt>
            <c:idx val="1020"/>
            <c:spPr>
              <a:solidFill>
                <a:srgbClr val="AEABAB"/>
              </a:solidFill>
            </c:spPr>
          </c:dPt>
          <c:dPt>
            <c:idx val="1021"/>
            <c:spPr>
              <a:solidFill>
                <a:srgbClr val="AEABAB"/>
              </a:solidFill>
            </c:spPr>
          </c:dPt>
          <c:dPt>
            <c:idx val="1022"/>
            <c:spPr>
              <a:solidFill>
                <a:srgbClr val="AEABAB"/>
              </a:solidFill>
            </c:spPr>
          </c:dPt>
          <c:dPt>
            <c:idx val="1023"/>
            <c:spPr>
              <a:solidFill>
                <a:srgbClr val="AEABAB"/>
              </a:solidFill>
            </c:spPr>
          </c:dPt>
          <c:dPt>
            <c:idx val="1024"/>
            <c:spPr>
              <a:solidFill>
                <a:srgbClr val="AEABAB"/>
              </a:solidFill>
            </c:spPr>
          </c:dPt>
          <c:dPt>
            <c:idx val="1025"/>
            <c:spPr>
              <a:solidFill>
                <a:srgbClr val="AEABAB"/>
              </a:solidFill>
            </c:spPr>
          </c:dPt>
          <c:dPt>
            <c:idx val="1026"/>
            <c:spPr>
              <a:solidFill>
                <a:srgbClr val="AEABAB"/>
              </a:solidFill>
            </c:spPr>
          </c:dPt>
          <c:dPt>
            <c:idx val="1027"/>
            <c:spPr>
              <a:solidFill>
                <a:srgbClr val="AEABAB"/>
              </a:solidFill>
            </c:spPr>
          </c:dPt>
          <c:dPt>
            <c:idx val="1028"/>
            <c:spPr>
              <a:solidFill>
                <a:srgbClr val="AEABAB"/>
              </a:solidFill>
            </c:spPr>
          </c:dPt>
          <c:dPt>
            <c:idx val="1029"/>
            <c:spPr>
              <a:solidFill>
                <a:srgbClr val="AEABAB"/>
              </a:solidFill>
            </c:spPr>
          </c:dPt>
          <c:dPt>
            <c:idx val="1030"/>
            <c:spPr>
              <a:solidFill>
                <a:srgbClr val="AEABAB"/>
              </a:solidFill>
            </c:spPr>
          </c:dPt>
          <c:dPt>
            <c:idx val="1031"/>
            <c:spPr>
              <a:solidFill>
                <a:srgbClr val="AEABAB"/>
              </a:solidFill>
            </c:spPr>
          </c:dPt>
          <c:dPt>
            <c:idx val="1032"/>
            <c:spPr>
              <a:solidFill>
                <a:srgbClr val="AEABAB"/>
              </a:solidFill>
            </c:spPr>
          </c:dPt>
          <c:dPt>
            <c:idx val="1033"/>
            <c:spPr>
              <a:solidFill>
                <a:srgbClr val="AEABAB"/>
              </a:solidFill>
            </c:spPr>
          </c:dPt>
          <c:dPt>
            <c:idx val="1034"/>
            <c:spPr>
              <a:solidFill>
                <a:srgbClr val="AEABAB"/>
              </a:solidFill>
            </c:spPr>
          </c:dPt>
          <c:dPt>
            <c:idx val="1035"/>
            <c:spPr>
              <a:solidFill>
                <a:srgbClr val="AEABAB"/>
              </a:solidFill>
            </c:spPr>
          </c:dPt>
          <c:dPt>
            <c:idx val="1036"/>
            <c:spPr>
              <a:solidFill>
                <a:srgbClr val="AEABAB"/>
              </a:solidFill>
            </c:spPr>
          </c:dPt>
          <c:dPt>
            <c:idx val="1037"/>
            <c:spPr>
              <a:solidFill>
                <a:srgbClr val="AEABAB"/>
              </a:solidFill>
            </c:spPr>
          </c:dPt>
          <c:dPt>
            <c:idx val="1038"/>
            <c:spPr>
              <a:solidFill>
                <a:srgbClr val="AEABAB"/>
              </a:solidFill>
            </c:spPr>
          </c:dPt>
          <c:dPt>
            <c:idx val="1039"/>
            <c:spPr>
              <a:solidFill>
                <a:srgbClr val="AEABAB"/>
              </a:solidFill>
            </c:spPr>
          </c:dPt>
          <c:dPt>
            <c:idx val="1040"/>
            <c:spPr>
              <a:solidFill>
                <a:srgbClr val="AEABAB"/>
              </a:solidFill>
            </c:spPr>
          </c:dPt>
          <c:dPt>
            <c:idx val="1041"/>
            <c:spPr>
              <a:solidFill>
                <a:srgbClr val="AEABAB"/>
              </a:solidFill>
            </c:spPr>
          </c:dPt>
          <c:dPt>
            <c:idx val="1042"/>
            <c:spPr>
              <a:solidFill>
                <a:srgbClr val="AEABAB"/>
              </a:solidFill>
            </c:spPr>
          </c:dPt>
          <c:dPt>
            <c:idx val="1043"/>
            <c:spPr>
              <a:solidFill>
                <a:srgbClr val="AEABAB"/>
              </a:solidFill>
            </c:spPr>
          </c:dPt>
          <c:dPt>
            <c:idx val="1044"/>
            <c:spPr>
              <a:solidFill>
                <a:srgbClr val="AEABAB"/>
              </a:solidFill>
            </c:spPr>
          </c:dPt>
          <c:dPt>
            <c:idx val="1045"/>
            <c:spPr>
              <a:solidFill>
                <a:srgbClr val="AEABAB"/>
              </a:solidFill>
            </c:spPr>
          </c:dPt>
          <c:dPt>
            <c:idx val="1046"/>
            <c:spPr>
              <a:solidFill>
                <a:srgbClr val="AEABAB"/>
              </a:solidFill>
            </c:spPr>
          </c:dPt>
          <c:dPt>
            <c:idx val="1047"/>
            <c:spPr>
              <a:solidFill>
                <a:srgbClr val="AEABAB"/>
              </a:solidFill>
            </c:spPr>
          </c:dPt>
          <c:dPt>
            <c:idx val="1048"/>
            <c:spPr>
              <a:solidFill>
                <a:srgbClr val="AEABAB"/>
              </a:solidFill>
            </c:spPr>
          </c:dPt>
          <c:dPt>
            <c:idx val="1049"/>
            <c:spPr>
              <a:solidFill>
                <a:srgbClr val="AEABAB"/>
              </a:solidFill>
            </c:spPr>
          </c:dPt>
          <c:dPt>
            <c:idx val="1050"/>
            <c:spPr>
              <a:solidFill>
                <a:srgbClr val="AEABAB"/>
              </a:solidFill>
            </c:spPr>
          </c:dPt>
          <c:dPt>
            <c:idx val="1051"/>
            <c:spPr>
              <a:solidFill>
                <a:srgbClr val="AEABAB"/>
              </a:solidFill>
            </c:spPr>
          </c:dPt>
          <c:dPt>
            <c:idx val="1052"/>
            <c:spPr>
              <a:solidFill>
                <a:srgbClr val="AEABAB"/>
              </a:solidFill>
            </c:spPr>
          </c:dPt>
          <c:dPt>
            <c:idx val="1053"/>
            <c:spPr>
              <a:solidFill>
                <a:srgbClr val="AEABAB"/>
              </a:solidFill>
            </c:spPr>
          </c:dPt>
          <c:dPt>
            <c:idx val="1054"/>
            <c:spPr>
              <a:solidFill>
                <a:srgbClr val="AEABAB"/>
              </a:solidFill>
            </c:spPr>
          </c:dPt>
          <c:dPt>
            <c:idx val="1055"/>
            <c:spPr>
              <a:solidFill>
                <a:srgbClr val="AEABAB"/>
              </a:solidFill>
            </c:spPr>
          </c:dPt>
          <c:dPt>
            <c:idx val="1056"/>
            <c:spPr>
              <a:solidFill>
                <a:srgbClr val="AEABAB"/>
              </a:solidFill>
            </c:spPr>
          </c:dPt>
          <c:dPt>
            <c:idx val="1057"/>
            <c:spPr>
              <a:solidFill>
                <a:srgbClr val="AEABAB"/>
              </a:solidFill>
            </c:spPr>
          </c:dPt>
          <c:dPt>
            <c:idx val="1058"/>
            <c:spPr>
              <a:solidFill>
                <a:srgbClr val="AEABAB"/>
              </a:solidFill>
            </c:spPr>
          </c:dPt>
          <c:dPt>
            <c:idx val="1059"/>
            <c:spPr>
              <a:solidFill>
                <a:srgbClr val="AEABAB"/>
              </a:solidFill>
            </c:spPr>
          </c:dPt>
          <c:dPt>
            <c:idx val="1060"/>
            <c:spPr>
              <a:solidFill>
                <a:srgbClr val="AEABAB"/>
              </a:solidFill>
            </c:spPr>
          </c:dPt>
          <c:dPt>
            <c:idx val="1061"/>
            <c:spPr>
              <a:solidFill>
                <a:srgbClr val="AEABAB"/>
              </a:solidFill>
            </c:spPr>
          </c:dPt>
          <c:dPt>
            <c:idx val="1062"/>
            <c:spPr>
              <a:solidFill>
                <a:srgbClr val="AEABAB"/>
              </a:solidFill>
            </c:spPr>
          </c:dPt>
          <c:dPt>
            <c:idx val="1063"/>
            <c:spPr>
              <a:solidFill>
                <a:srgbClr val="AEABAB"/>
              </a:solidFill>
            </c:spPr>
          </c:dPt>
          <c:dPt>
            <c:idx val="1064"/>
            <c:spPr>
              <a:solidFill>
                <a:srgbClr val="AEABAB"/>
              </a:solidFill>
            </c:spPr>
          </c:dPt>
          <c:dPt>
            <c:idx val="1065"/>
            <c:spPr>
              <a:solidFill>
                <a:srgbClr val="AEABAB"/>
              </a:solidFill>
            </c:spPr>
          </c:dPt>
          <c:dPt>
            <c:idx val="1066"/>
            <c:spPr>
              <a:solidFill>
                <a:srgbClr val="AEABAB"/>
              </a:solidFill>
            </c:spPr>
          </c:dPt>
          <c:dPt>
            <c:idx val="1067"/>
            <c:spPr>
              <a:solidFill>
                <a:srgbClr val="AEABAB"/>
              </a:solidFill>
            </c:spPr>
          </c:dPt>
          <c:dPt>
            <c:idx val="1068"/>
            <c:spPr>
              <a:solidFill>
                <a:srgbClr val="AEABAB"/>
              </a:solidFill>
            </c:spPr>
          </c:dPt>
          <c:dPt>
            <c:idx val="1069"/>
            <c:spPr>
              <a:solidFill>
                <a:srgbClr val="AEABAB"/>
              </a:solidFill>
            </c:spPr>
          </c:dPt>
          <c:dPt>
            <c:idx val="1070"/>
            <c:spPr>
              <a:solidFill>
                <a:srgbClr val="AEABAB"/>
              </a:solidFill>
            </c:spPr>
          </c:dPt>
          <c:dPt>
            <c:idx val="1071"/>
            <c:spPr>
              <a:solidFill>
                <a:srgbClr val="AEABAB"/>
              </a:solidFill>
            </c:spPr>
          </c:dPt>
          <c:dPt>
            <c:idx val="1072"/>
            <c:spPr>
              <a:solidFill>
                <a:srgbClr val="AEABAB"/>
              </a:solidFill>
            </c:spPr>
          </c:dPt>
          <c:dPt>
            <c:idx val="1073"/>
            <c:spPr>
              <a:solidFill>
                <a:srgbClr val="AEABAB"/>
              </a:solidFill>
            </c:spPr>
          </c:dPt>
          <c:dPt>
            <c:idx val="1074"/>
            <c:spPr>
              <a:solidFill>
                <a:srgbClr val="AEABAB"/>
              </a:solidFill>
            </c:spPr>
          </c:dPt>
          <c:dPt>
            <c:idx val="1075"/>
            <c:spPr>
              <a:solidFill>
                <a:srgbClr val="AEABAB"/>
              </a:solidFill>
            </c:spPr>
          </c:dPt>
          <c:dPt>
            <c:idx val="1076"/>
            <c:spPr>
              <a:solidFill>
                <a:srgbClr val="AEABAB"/>
              </a:solidFill>
            </c:spPr>
          </c:dPt>
          <c:dPt>
            <c:idx val="1077"/>
            <c:spPr>
              <a:solidFill>
                <a:srgbClr val="AEABAB"/>
              </a:solidFill>
            </c:spPr>
          </c:dPt>
          <c:dPt>
            <c:idx val="1078"/>
            <c:spPr>
              <a:solidFill>
                <a:srgbClr val="AEABAB"/>
              </a:solidFill>
            </c:spPr>
          </c:dPt>
          <c:dPt>
            <c:idx val="1079"/>
            <c:spPr>
              <a:solidFill>
                <a:srgbClr val="AEABAB"/>
              </a:solidFill>
            </c:spPr>
          </c:dPt>
          <c:dPt>
            <c:idx val="1080"/>
            <c:spPr>
              <a:solidFill>
                <a:srgbClr val="AEABAB"/>
              </a:solidFill>
            </c:spPr>
          </c:dPt>
          <c:dPt>
            <c:idx val="1081"/>
            <c:spPr>
              <a:solidFill>
                <a:srgbClr val="AEABAB"/>
              </a:solidFill>
            </c:spPr>
          </c:dPt>
          <c:dPt>
            <c:idx val="1082"/>
            <c:spPr>
              <a:solidFill>
                <a:srgbClr val="AEABAB"/>
              </a:solidFill>
            </c:spPr>
          </c:dPt>
          <c:dPt>
            <c:idx val="1083"/>
            <c:spPr>
              <a:solidFill>
                <a:srgbClr val="AEABAB"/>
              </a:solidFill>
            </c:spPr>
          </c:dPt>
          <c:dPt>
            <c:idx val="1084"/>
            <c:spPr>
              <a:solidFill>
                <a:srgbClr val="AEABAB"/>
              </a:solidFill>
            </c:spPr>
          </c:dPt>
          <c:dPt>
            <c:idx val="1085"/>
            <c:spPr>
              <a:solidFill>
                <a:srgbClr val="AEABAB"/>
              </a:solidFill>
            </c:spPr>
          </c:dPt>
          <c:dPt>
            <c:idx val="1086"/>
            <c:spPr>
              <a:solidFill>
                <a:srgbClr val="AEABAB"/>
              </a:solidFill>
            </c:spPr>
          </c:dPt>
          <c:dPt>
            <c:idx val="1087"/>
            <c:spPr>
              <a:solidFill>
                <a:srgbClr val="AEABAB"/>
              </a:solidFill>
            </c:spPr>
          </c:dPt>
          <c:dPt>
            <c:idx val="1088"/>
            <c:spPr>
              <a:solidFill>
                <a:srgbClr val="AEABAB"/>
              </a:solidFill>
            </c:spPr>
          </c:dPt>
          <c:dPt>
            <c:idx val="1089"/>
            <c:spPr>
              <a:solidFill>
                <a:srgbClr val="AEABAB"/>
              </a:solidFill>
            </c:spPr>
          </c:dPt>
          <c:dPt>
            <c:idx val="1090"/>
            <c:spPr>
              <a:solidFill>
                <a:srgbClr val="AEABAB"/>
              </a:solidFill>
            </c:spPr>
          </c:dPt>
          <c:dPt>
            <c:idx val="1091"/>
            <c:spPr>
              <a:solidFill>
                <a:srgbClr val="AEABAB"/>
              </a:solidFill>
            </c:spPr>
          </c:dPt>
          <c:dPt>
            <c:idx val="1092"/>
            <c:spPr>
              <a:solidFill>
                <a:srgbClr val="AEABAB"/>
              </a:solidFill>
            </c:spPr>
          </c:dPt>
          <c:dPt>
            <c:idx val="1093"/>
            <c:spPr>
              <a:solidFill>
                <a:srgbClr val="AEABAB"/>
              </a:solidFill>
            </c:spPr>
          </c:dPt>
          <c:dPt>
            <c:idx val="1094"/>
            <c:spPr>
              <a:solidFill>
                <a:srgbClr val="AEABAB"/>
              </a:solidFill>
            </c:spPr>
          </c:dPt>
          <c:dPt>
            <c:idx val="1095"/>
            <c:spPr>
              <a:solidFill>
                <a:srgbClr val="AEABAB"/>
              </a:solidFill>
            </c:spPr>
          </c:dPt>
          <c:dPt>
            <c:idx val="1096"/>
            <c:spPr>
              <a:solidFill>
                <a:srgbClr val="AEABAB"/>
              </a:solidFill>
            </c:spPr>
          </c:dPt>
          <c:dPt>
            <c:idx val="1097"/>
            <c:spPr>
              <a:solidFill>
                <a:srgbClr val="AEABAB"/>
              </a:solidFill>
            </c:spPr>
          </c:dPt>
          <c:dPt>
            <c:idx val="1098"/>
            <c:spPr>
              <a:solidFill>
                <a:srgbClr val="AEABAB"/>
              </a:solidFill>
            </c:spPr>
          </c:dPt>
          <c:dPt>
            <c:idx val="1099"/>
            <c:spPr>
              <a:solidFill>
                <a:srgbClr val="AEABAB"/>
              </a:solidFill>
            </c:spPr>
          </c:dPt>
          <c:dPt>
            <c:idx val="1100"/>
            <c:spPr>
              <a:solidFill>
                <a:srgbClr val="AEABAB"/>
              </a:solidFill>
            </c:spPr>
          </c:dPt>
          <c:dPt>
            <c:idx val="1101"/>
            <c:spPr>
              <a:solidFill>
                <a:srgbClr val="AEABAB"/>
              </a:solidFill>
            </c:spPr>
          </c:dPt>
          <c:dPt>
            <c:idx val="1102"/>
            <c:spPr>
              <a:solidFill>
                <a:srgbClr val="AEABAB"/>
              </a:solidFill>
            </c:spPr>
          </c:dPt>
          <c:dPt>
            <c:idx val="1103"/>
            <c:spPr>
              <a:solidFill>
                <a:srgbClr val="AEABAB"/>
              </a:solidFill>
            </c:spPr>
          </c:dPt>
          <c:dPt>
            <c:idx val="1104"/>
            <c:spPr>
              <a:solidFill>
                <a:srgbClr val="AEABAB"/>
              </a:solidFill>
            </c:spPr>
          </c:dPt>
          <c:dPt>
            <c:idx val="1105"/>
            <c:spPr>
              <a:solidFill>
                <a:srgbClr val="AEABAB"/>
              </a:solidFill>
            </c:spPr>
          </c:dPt>
          <c:dPt>
            <c:idx val="1106"/>
            <c:spPr>
              <a:solidFill>
                <a:srgbClr val="AEABAB"/>
              </a:solidFill>
            </c:spPr>
          </c:dPt>
          <c:dPt>
            <c:idx val="1107"/>
            <c:spPr>
              <a:solidFill>
                <a:srgbClr val="AEABAB"/>
              </a:solidFill>
            </c:spPr>
          </c:dPt>
          <c:dPt>
            <c:idx val="1108"/>
            <c:spPr>
              <a:solidFill>
                <a:srgbClr val="AEABAB"/>
              </a:solidFill>
            </c:spPr>
          </c:dPt>
          <c:dPt>
            <c:idx val="1109"/>
            <c:spPr>
              <a:solidFill>
                <a:srgbClr val="AEABAB"/>
              </a:solidFill>
            </c:spPr>
          </c:dPt>
          <c:dPt>
            <c:idx val="1110"/>
            <c:spPr>
              <a:solidFill>
                <a:srgbClr val="AEABAB"/>
              </a:solidFill>
            </c:spPr>
          </c:dPt>
          <c:dPt>
            <c:idx val="1111"/>
            <c:spPr>
              <a:solidFill>
                <a:srgbClr val="AEABAB"/>
              </a:solidFill>
            </c:spPr>
          </c:dPt>
          <c:dPt>
            <c:idx val="1112"/>
            <c:spPr>
              <a:solidFill>
                <a:srgbClr val="AEABAB"/>
              </a:solidFill>
            </c:spPr>
          </c:dPt>
          <c:dPt>
            <c:idx val="1113"/>
            <c:spPr>
              <a:solidFill>
                <a:srgbClr val="AEABAB"/>
              </a:solidFill>
            </c:spPr>
          </c:dPt>
          <c:dPt>
            <c:idx val="1114"/>
            <c:spPr>
              <a:solidFill>
                <a:srgbClr val="AEABAB"/>
              </a:solidFill>
            </c:spPr>
          </c:dPt>
          <c:dPt>
            <c:idx val="1115"/>
            <c:spPr>
              <a:solidFill>
                <a:srgbClr val="AEABAB"/>
              </a:solidFill>
            </c:spPr>
          </c:dPt>
          <c:dPt>
            <c:idx val="1116"/>
            <c:spPr>
              <a:solidFill>
                <a:srgbClr val="AEABAB"/>
              </a:solidFill>
            </c:spPr>
          </c:dPt>
          <c:dPt>
            <c:idx val="1117"/>
            <c:spPr>
              <a:solidFill>
                <a:srgbClr val="AEABAB"/>
              </a:solidFill>
            </c:spPr>
          </c:dPt>
          <c:dPt>
            <c:idx val="1118"/>
            <c:spPr>
              <a:solidFill>
                <a:srgbClr val="AEABAB"/>
              </a:solidFill>
            </c:spPr>
          </c:dPt>
          <c:dPt>
            <c:idx val="1119"/>
            <c:spPr>
              <a:solidFill>
                <a:srgbClr val="AEABAB"/>
              </a:solidFill>
            </c:spPr>
          </c:dPt>
          <c:dPt>
            <c:idx val="1120"/>
            <c:spPr>
              <a:solidFill>
                <a:srgbClr val="AEABAB"/>
              </a:solidFill>
            </c:spPr>
          </c:dPt>
          <c:dPt>
            <c:idx val="1121"/>
            <c:spPr>
              <a:solidFill>
                <a:srgbClr val="AEABAB"/>
              </a:solidFill>
            </c:spPr>
          </c:dPt>
          <c:dPt>
            <c:idx val="1122"/>
            <c:spPr>
              <a:solidFill>
                <a:srgbClr val="AEABAB"/>
              </a:solidFill>
            </c:spPr>
          </c:dPt>
          <c:dPt>
            <c:idx val="1123"/>
            <c:spPr>
              <a:solidFill>
                <a:srgbClr val="AEABAB"/>
              </a:solidFill>
            </c:spPr>
          </c:dPt>
          <c:dPt>
            <c:idx val="1124"/>
            <c:spPr>
              <a:solidFill>
                <a:srgbClr val="AEABAB"/>
              </a:solidFill>
            </c:spPr>
          </c:dPt>
          <c:dPt>
            <c:idx val="1125"/>
            <c:spPr>
              <a:solidFill>
                <a:srgbClr val="AEABAB"/>
              </a:solidFill>
            </c:spPr>
          </c:dPt>
          <c:dPt>
            <c:idx val="1126"/>
            <c:spPr>
              <a:solidFill>
                <a:srgbClr val="AEABAB"/>
              </a:solidFill>
            </c:spPr>
          </c:dPt>
          <c:dPt>
            <c:idx val="1127"/>
            <c:spPr>
              <a:solidFill>
                <a:srgbClr val="AEABAB"/>
              </a:solidFill>
            </c:spPr>
          </c:dPt>
          <c:dPt>
            <c:idx val="1128"/>
            <c:spPr>
              <a:solidFill>
                <a:srgbClr val="AEABAB"/>
              </a:solidFill>
            </c:spPr>
          </c:dPt>
          <c:dPt>
            <c:idx val="1129"/>
            <c:spPr>
              <a:solidFill>
                <a:srgbClr val="AEABAB"/>
              </a:solidFill>
            </c:spPr>
          </c:dPt>
          <c:dPt>
            <c:idx val="1130"/>
            <c:spPr>
              <a:solidFill>
                <a:srgbClr val="AEABAB"/>
              </a:solidFill>
            </c:spPr>
          </c:dPt>
          <c:dPt>
            <c:idx val="1131"/>
            <c:spPr>
              <a:solidFill>
                <a:srgbClr val="AEABAB"/>
              </a:solidFill>
            </c:spPr>
          </c:dPt>
          <c:dPt>
            <c:idx val="1132"/>
            <c:spPr>
              <a:solidFill>
                <a:srgbClr val="AEABAB"/>
              </a:solidFill>
            </c:spPr>
          </c:dPt>
          <c:dPt>
            <c:idx val="1133"/>
            <c:spPr>
              <a:solidFill>
                <a:srgbClr val="AEABAB"/>
              </a:solidFill>
            </c:spPr>
          </c:dPt>
          <c:dPt>
            <c:idx val="1134"/>
            <c:spPr>
              <a:solidFill>
                <a:srgbClr val="AEABAB"/>
              </a:solidFill>
            </c:spPr>
          </c:dPt>
          <c:dPt>
            <c:idx val="1135"/>
            <c:spPr>
              <a:solidFill>
                <a:srgbClr val="AEABAB"/>
              </a:solidFill>
            </c:spPr>
          </c:dPt>
          <c:dPt>
            <c:idx val="1136"/>
            <c:spPr>
              <a:solidFill>
                <a:srgbClr val="AEABAB"/>
              </a:solidFill>
            </c:spPr>
          </c:dPt>
          <c:dPt>
            <c:idx val="1137"/>
            <c:spPr>
              <a:solidFill>
                <a:srgbClr val="AEABAB"/>
              </a:solidFill>
            </c:spPr>
          </c:dPt>
          <c:dPt>
            <c:idx val="1138"/>
            <c:spPr>
              <a:solidFill>
                <a:srgbClr val="AEABAB"/>
              </a:solidFill>
            </c:spPr>
          </c:dPt>
          <c:dPt>
            <c:idx val="1139"/>
            <c:spPr>
              <a:solidFill>
                <a:srgbClr val="AEABAB"/>
              </a:solidFill>
            </c:spPr>
          </c:dPt>
          <c:dPt>
            <c:idx val="1140"/>
            <c:spPr>
              <a:solidFill>
                <a:srgbClr val="AEABAB"/>
              </a:solidFill>
            </c:spPr>
          </c:dPt>
          <c:dPt>
            <c:idx val="1141"/>
            <c:spPr>
              <a:solidFill>
                <a:srgbClr val="AEABAB"/>
              </a:solidFill>
            </c:spPr>
          </c:dPt>
          <c:dPt>
            <c:idx val="1142"/>
            <c:spPr>
              <a:solidFill>
                <a:srgbClr val="AEABAB"/>
              </a:solidFill>
            </c:spPr>
          </c:dPt>
          <c:dPt>
            <c:idx val="1143"/>
            <c:spPr>
              <a:solidFill>
                <a:srgbClr val="AEABAB"/>
              </a:solidFill>
            </c:spPr>
          </c:dPt>
          <c:dPt>
            <c:idx val="1144"/>
            <c:spPr>
              <a:solidFill>
                <a:srgbClr val="AEABAB"/>
              </a:solidFill>
            </c:spPr>
          </c:dPt>
          <c:dPt>
            <c:idx val="1145"/>
            <c:spPr>
              <a:solidFill>
                <a:srgbClr val="AEABAB"/>
              </a:solidFill>
            </c:spPr>
          </c:dPt>
          <c:dPt>
            <c:idx val="1146"/>
            <c:spPr>
              <a:solidFill>
                <a:srgbClr val="AEABAB"/>
              </a:solidFill>
            </c:spPr>
          </c:dPt>
          <c:dPt>
            <c:idx val="1147"/>
            <c:spPr>
              <a:solidFill>
                <a:srgbClr val="AEABAB"/>
              </a:solidFill>
            </c:spPr>
          </c:dPt>
          <c:dPt>
            <c:idx val="1148"/>
            <c:spPr>
              <a:solidFill>
                <a:srgbClr val="AEABAB"/>
              </a:solidFill>
            </c:spPr>
          </c:dPt>
          <c:dPt>
            <c:idx val="1149"/>
            <c:spPr>
              <a:solidFill>
                <a:srgbClr val="AEABAB"/>
              </a:solidFill>
            </c:spPr>
          </c:dPt>
          <c:dPt>
            <c:idx val="1150"/>
            <c:spPr>
              <a:solidFill>
                <a:srgbClr val="AEABAB"/>
              </a:solidFill>
            </c:spPr>
          </c:dPt>
          <c:dPt>
            <c:idx val="1151"/>
            <c:spPr>
              <a:solidFill>
                <a:srgbClr val="AEABAB"/>
              </a:solidFill>
            </c:spPr>
          </c:dPt>
          <c:dPt>
            <c:idx val="1152"/>
            <c:spPr>
              <a:solidFill>
                <a:srgbClr val="AEABAB"/>
              </a:solidFill>
            </c:spPr>
          </c:dPt>
          <c:dPt>
            <c:idx val="1153"/>
            <c:spPr>
              <a:solidFill>
                <a:srgbClr val="AEABAB"/>
              </a:solidFill>
            </c:spPr>
          </c:dPt>
          <c:dPt>
            <c:idx val="1154"/>
            <c:spPr>
              <a:solidFill>
                <a:srgbClr val="AEABAB"/>
              </a:solidFill>
            </c:spPr>
          </c:dPt>
          <c:dPt>
            <c:idx val="1155"/>
            <c:spPr>
              <a:solidFill>
                <a:srgbClr val="AEABAB"/>
              </a:solidFill>
            </c:spPr>
          </c:dPt>
          <c:dPt>
            <c:idx val="1156"/>
            <c:spPr>
              <a:solidFill>
                <a:srgbClr val="AEABAB"/>
              </a:solidFill>
            </c:spPr>
          </c:dPt>
          <c:dPt>
            <c:idx val="1157"/>
            <c:spPr>
              <a:solidFill>
                <a:srgbClr val="AEABAB"/>
              </a:solidFill>
            </c:spPr>
          </c:dPt>
          <c:dPt>
            <c:idx val="1158"/>
            <c:spPr>
              <a:solidFill>
                <a:srgbClr val="AEABAB"/>
              </a:solidFill>
            </c:spPr>
          </c:dPt>
          <c:dPt>
            <c:idx val="1159"/>
            <c:spPr>
              <a:solidFill>
                <a:srgbClr val="AEABAB"/>
              </a:solidFill>
            </c:spPr>
          </c:dPt>
          <c:dPt>
            <c:idx val="1160"/>
            <c:spPr>
              <a:solidFill>
                <a:srgbClr val="AEABAB"/>
              </a:solidFill>
            </c:spPr>
          </c:dPt>
          <c:dPt>
            <c:idx val="1161"/>
            <c:spPr>
              <a:solidFill>
                <a:srgbClr val="AEABAB"/>
              </a:solidFill>
            </c:spPr>
          </c:dPt>
          <c:dPt>
            <c:idx val="1162"/>
            <c:spPr>
              <a:solidFill>
                <a:srgbClr val="AEABAB"/>
              </a:solidFill>
            </c:spPr>
          </c:dPt>
          <c:dPt>
            <c:idx val="1163"/>
            <c:spPr>
              <a:solidFill>
                <a:srgbClr val="AEABAB"/>
              </a:solidFill>
            </c:spPr>
          </c:dPt>
          <c:dPt>
            <c:idx val="1164"/>
            <c:spPr>
              <a:solidFill>
                <a:srgbClr val="AEABAB"/>
              </a:solidFill>
            </c:spPr>
          </c:dPt>
          <c:dPt>
            <c:idx val="1165"/>
            <c:spPr>
              <a:solidFill>
                <a:srgbClr val="AEABAB"/>
              </a:solidFill>
            </c:spPr>
          </c:dPt>
          <c:dPt>
            <c:idx val="1166"/>
            <c:spPr>
              <a:solidFill>
                <a:srgbClr val="AEABAB"/>
              </a:solidFill>
            </c:spPr>
          </c:dPt>
          <c:dPt>
            <c:idx val="1167"/>
            <c:spPr>
              <a:solidFill>
                <a:srgbClr val="AEABAB"/>
              </a:solidFill>
            </c:spPr>
          </c:dPt>
          <c:dPt>
            <c:idx val="1168"/>
            <c:spPr>
              <a:solidFill>
                <a:srgbClr val="AEABAB"/>
              </a:solidFill>
            </c:spPr>
          </c:dPt>
          <c:dPt>
            <c:idx val="1169"/>
            <c:spPr>
              <a:solidFill>
                <a:srgbClr val="AEABAB"/>
              </a:solidFill>
            </c:spPr>
          </c:dPt>
          <c:dPt>
            <c:idx val="1170"/>
            <c:spPr>
              <a:solidFill>
                <a:srgbClr val="AEABAB"/>
              </a:solidFill>
            </c:spPr>
          </c:dPt>
          <c:dPt>
            <c:idx val="1171"/>
            <c:spPr>
              <a:solidFill>
                <a:srgbClr val="AEABAB"/>
              </a:solidFill>
            </c:spPr>
          </c:dPt>
          <c:dPt>
            <c:idx val="1172"/>
            <c:spPr>
              <a:solidFill>
                <a:srgbClr val="AEABAB"/>
              </a:solidFill>
            </c:spPr>
          </c:dPt>
          <c:dPt>
            <c:idx val="1173"/>
            <c:spPr>
              <a:solidFill>
                <a:srgbClr val="AEABAB"/>
              </a:solidFill>
            </c:spPr>
          </c:dPt>
          <c:dPt>
            <c:idx val="1174"/>
            <c:spPr>
              <a:solidFill>
                <a:srgbClr val="AEABAB"/>
              </a:solidFill>
            </c:spPr>
          </c:dPt>
          <c:dPt>
            <c:idx val="1175"/>
            <c:spPr>
              <a:solidFill>
                <a:srgbClr val="AEABAB"/>
              </a:solidFill>
            </c:spPr>
          </c:dPt>
          <c:dPt>
            <c:idx val="1176"/>
            <c:spPr>
              <a:solidFill>
                <a:srgbClr val="AEABAB"/>
              </a:solidFill>
            </c:spPr>
          </c:dPt>
          <c:dPt>
            <c:idx val="1177"/>
            <c:spPr>
              <a:solidFill>
                <a:srgbClr val="AEABAB"/>
              </a:solidFill>
            </c:spPr>
          </c:dPt>
          <c:dPt>
            <c:idx val="1178"/>
            <c:spPr>
              <a:solidFill>
                <a:srgbClr val="AEABAB"/>
              </a:solidFill>
            </c:spPr>
          </c:dPt>
          <c:dPt>
            <c:idx val="1179"/>
            <c:spPr>
              <a:solidFill>
                <a:srgbClr val="AEABAB"/>
              </a:solidFill>
            </c:spPr>
          </c:dPt>
          <c:dPt>
            <c:idx val="1180"/>
            <c:spPr>
              <a:solidFill>
                <a:srgbClr val="AEABAB"/>
              </a:solidFill>
            </c:spPr>
          </c:dPt>
          <c:dPt>
            <c:idx val="1181"/>
            <c:spPr>
              <a:solidFill>
                <a:srgbClr val="AEABAB"/>
              </a:solidFill>
            </c:spPr>
          </c:dPt>
          <c:dPt>
            <c:idx val="1182"/>
            <c:spPr>
              <a:solidFill>
                <a:srgbClr val="AEABAB"/>
              </a:solidFill>
            </c:spPr>
          </c:dPt>
          <c:dPt>
            <c:idx val="1183"/>
            <c:spPr>
              <a:solidFill>
                <a:srgbClr val="AEABAB"/>
              </a:solidFill>
            </c:spPr>
          </c:dPt>
          <c:dPt>
            <c:idx val="1184"/>
            <c:spPr>
              <a:solidFill>
                <a:srgbClr val="AEABAB"/>
              </a:solidFill>
            </c:spPr>
          </c:dPt>
          <c:dPt>
            <c:idx val="1185"/>
            <c:spPr>
              <a:solidFill>
                <a:srgbClr val="AEABAB"/>
              </a:solidFill>
            </c:spPr>
          </c:dPt>
          <c:dPt>
            <c:idx val="1186"/>
            <c:spPr>
              <a:solidFill>
                <a:srgbClr val="AEABAB"/>
              </a:solidFill>
            </c:spPr>
          </c:dPt>
          <c:dPt>
            <c:idx val="1187"/>
            <c:spPr>
              <a:solidFill>
                <a:srgbClr val="AEABAB"/>
              </a:solidFill>
            </c:spPr>
          </c:dPt>
          <c:dPt>
            <c:idx val="1188"/>
            <c:spPr>
              <a:solidFill>
                <a:srgbClr val="AEABAB"/>
              </a:solidFill>
            </c:spPr>
          </c:dPt>
          <c:dPt>
            <c:idx val="1189"/>
            <c:spPr>
              <a:solidFill>
                <a:srgbClr val="AEABAB"/>
              </a:solidFill>
            </c:spPr>
          </c:dPt>
          <c:dPt>
            <c:idx val="1190"/>
            <c:spPr>
              <a:solidFill>
                <a:srgbClr val="AEABAB"/>
              </a:solidFill>
            </c:spPr>
          </c:dPt>
          <c:dPt>
            <c:idx val="1191"/>
            <c:spPr>
              <a:solidFill>
                <a:srgbClr val="AEABAB"/>
              </a:solidFill>
            </c:spPr>
          </c:dPt>
          <c:dPt>
            <c:idx val="1192"/>
            <c:spPr>
              <a:solidFill>
                <a:srgbClr val="AEABAB"/>
              </a:solidFill>
            </c:spPr>
          </c:dPt>
          <c:dPt>
            <c:idx val="1193"/>
            <c:spPr>
              <a:solidFill>
                <a:srgbClr val="AEABAB"/>
              </a:solidFill>
            </c:spPr>
          </c:dPt>
          <c:dPt>
            <c:idx val="1194"/>
            <c:spPr>
              <a:solidFill>
                <a:srgbClr val="AEABAB"/>
              </a:solidFill>
            </c:spPr>
          </c:dPt>
          <c:dPt>
            <c:idx val="1195"/>
            <c:spPr>
              <a:solidFill>
                <a:srgbClr val="AEABAB"/>
              </a:solidFill>
            </c:spPr>
          </c:dPt>
          <c:dPt>
            <c:idx val="1196"/>
            <c:spPr>
              <a:solidFill>
                <a:srgbClr val="AEABAB"/>
              </a:solidFill>
            </c:spPr>
          </c:dPt>
          <c:dPt>
            <c:idx val="1197"/>
            <c:spPr>
              <a:solidFill>
                <a:srgbClr val="AEABAB"/>
              </a:solidFill>
            </c:spPr>
          </c:dPt>
          <c:dPt>
            <c:idx val="1198"/>
            <c:spPr>
              <a:solidFill>
                <a:srgbClr val="AEABAB"/>
              </a:solidFill>
            </c:spPr>
          </c:dPt>
          <c:dPt>
            <c:idx val="1199"/>
            <c:spPr>
              <a:solidFill>
                <a:srgbClr val="AEABAB"/>
              </a:solidFill>
            </c:spPr>
          </c:dPt>
          <c:dPt>
            <c:idx val="1200"/>
            <c:spPr>
              <a:solidFill>
                <a:srgbClr val="AEABAB"/>
              </a:solidFill>
            </c:spPr>
          </c:dPt>
          <c:dPt>
            <c:idx val="1201"/>
            <c:spPr>
              <a:solidFill>
                <a:srgbClr val="AEABAB"/>
              </a:solidFill>
            </c:spPr>
          </c:dPt>
          <c:dPt>
            <c:idx val="1202"/>
            <c:spPr>
              <a:solidFill>
                <a:srgbClr val="AEABAB"/>
              </a:solidFill>
            </c:spPr>
          </c:dPt>
          <c:dPt>
            <c:idx val="1203"/>
            <c:spPr>
              <a:solidFill>
                <a:srgbClr val="AEABAB"/>
              </a:solidFill>
            </c:spPr>
          </c:dPt>
          <c:dPt>
            <c:idx val="1204"/>
            <c:spPr>
              <a:solidFill>
                <a:srgbClr val="AEABAB"/>
              </a:solidFill>
            </c:spPr>
          </c:dPt>
          <c:dPt>
            <c:idx val="1205"/>
            <c:spPr>
              <a:solidFill>
                <a:srgbClr val="AEABAB"/>
              </a:solidFill>
            </c:spPr>
          </c:dPt>
          <c:dPt>
            <c:idx val="1206"/>
            <c:spPr>
              <a:solidFill>
                <a:srgbClr val="AEABAB"/>
              </a:solidFill>
            </c:spPr>
          </c:dPt>
          <c:dPt>
            <c:idx val="1207"/>
            <c:spPr>
              <a:solidFill>
                <a:srgbClr val="AEABAB"/>
              </a:solidFill>
            </c:spPr>
          </c:dPt>
          <c:dPt>
            <c:idx val="1208"/>
            <c:spPr>
              <a:solidFill>
                <a:srgbClr val="AEABAB"/>
              </a:solidFill>
            </c:spPr>
          </c:dPt>
          <c:dPt>
            <c:idx val="1209"/>
            <c:spPr>
              <a:solidFill>
                <a:srgbClr val="AEABAB"/>
              </a:solidFill>
            </c:spPr>
          </c:dPt>
          <c:dPt>
            <c:idx val="1210"/>
            <c:spPr>
              <a:solidFill>
                <a:srgbClr val="AEABAB"/>
              </a:solidFill>
            </c:spPr>
          </c:dPt>
          <c:dPt>
            <c:idx val="1211"/>
            <c:spPr>
              <a:solidFill>
                <a:srgbClr val="AEABAB"/>
              </a:solidFill>
            </c:spPr>
          </c:dPt>
          <c:dPt>
            <c:idx val="1212"/>
            <c:spPr>
              <a:solidFill>
                <a:srgbClr val="AEABAB"/>
              </a:solidFill>
            </c:spPr>
          </c:dPt>
          <c:dPt>
            <c:idx val="1213"/>
            <c:spPr>
              <a:solidFill>
                <a:srgbClr val="AEABAB"/>
              </a:solidFill>
            </c:spPr>
          </c:dPt>
          <c:dPt>
            <c:idx val="1214"/>
            <c:spPr>
              <a:solidFill>
                <a:srgbClr val="AEABAB"/>
              </a:solidFill>
            </c:spPr>
          </c:dPt>
          <c:dPt>
            <c:idx val="1215"/>
            <c:spPr>
              <a:solidFill>
                <a:srgbClr val="AEABAB"/>
              </a:solidFill>
            </c:spPr>
          </c:dPt>
          <c:dPt>
            <c:idx val="1216"/>
            <c:spPr>
              <a:solidFill>
                <a:srgbClr val="AEABAB"/>
              </a:solidFill>
            </c:spPr>
          </c:dPt>
          <c:dPt>
            <c:idx val="1217"/>
            <c:spPr>
              <a:solidFill>
                <a:srgbClr val="AEABAB"/>
              </a:solidFill>
            </c:spPr>
          </c:dPt>
          <c:dPt>
            <c:idx val="1218"/>
            <c:spPr>
              <a:solidFill>
                <a:srgbClr val="AEABAB"/>
              </a:solidFill>
            </c:spPr>
          </c:dPt>
          <c:dPt>
            <c:idx val="1219"/>
            <c:spPr>
              <a:solidFill>
                <a:srgbClr val="AEABAB"/>
              </a:solidFill>
            </c:spPr>
          </c:dPt>
          <c:dPt>
            <c:idx val="1220"/>
            <c:spPr>
              <a:solidFill>
                <a:srgbClr val="AEABAB"/>
              </a:solidFill>
            </c:spPr>
          </c:dPt>
          <c:dPt>
            <c:idx val="1221"/>
            <c:spPr>
              <a:solidFill>
                <a:srgbClr val="AEABAB"/>
              </a:solidFill>
            </c:spPr>
          </c:dPt>
          <c:dPt>
            <c:idx val="1222"/>
            <c:spPr>
              <a:solidFill>
                <a:srgbClr val="AEABAB"/>
              </a:solidFill>
            </c:spPr>
          </c:dPt>
          <c:dPt>
            <c:idx val="1223"/>
            <c:spPr>
              <a:solidFill>
                <a:srgbClr val="AEABAB"/>
              </a:solidFill>
            </c:spPr>
          </c:dPt>
          <c:dPt>
            <c:idx val="1224"/>
            <c:spPr>
              <a:solidFill>
                <a:srgbClr val="AEABAB"/>
              </a:solidFill>
            </c:spPr>
          </c:dPt>
          <c:dPt>
            <c:idx val="1225"/>
            <c:spPr>
              <a:solidFill>
                <a:srgbClr val="AEABAB"/>
              </a:solidFill>
            </c:spPr>
          </c:dPt>
          <c:dPt>
            <c:idx val="1226"/>
            <c:spPr>
              <a:solidFill>
                <a:srgbClr val="AEABAB"/>
              </a:solidFill>
            </c:spPr>
          </c:dPt>
          <c:dPt>
            <c:idx val="1227"/>
            <c:spPr>
              <a:solidFill>
                <a:srgbClr val="AEABAB"/>
              </a:solidFill>
            </c:spPr>
          </c:dPt>
          <c:dPt>
            <c:idx val="1228"/>
            <c:spPr>
              <a:solidFill>
                <a:srgbClr val="AEABAB"/>
              </a:solidFill>
            </c:spPr>
          </c:dPt>
          <c:dPt>
            <c:idx val="1229"/>
            <c:spPr>
              <a:solidFill>
                <a:srgbClr val="AEABAB"/>
              </a:solidFill>
            </c:spPr>
          </c:dPt>
          <c:dPt>
            <c:idx val="1230"/>
            <c:spPr>
              <a:solidFill>
                <a:srgbClr val="AEABAB"/>
              </a:solidFill>
            </c:spPr>
          </c:dPt>
          <c:dPt>
            <c:idx val="1231"/>
            <c:spPr>
              <a:solidFill>
                <a:srgbClr val="AEABAB"/>
              </a:solidFill>
            </c:spPr>
          </c:dPt>
          <c:dPt>
            <c:idx val="1232"/>
            <c:spPr>
              <a:solidFill>
                <a:srgbClr val="AEABAB"/>
              </a:solidFill>
            </c:spPr>
          </c:dPt>
          <c:dPt>
            <c:idx val="1233"/>
            <c:spPr>
              <a:solidFill>
                <a:srgbClr val="AEABAB"/>
              </a:solidFill>
            </c:spPr>
          </c:dPt>
          <c:dPt>
            <c:idx val="1234"/>
            <c:spPr>
              <a:solidFill>
                <a:srgbClr val="AEABAB"/>
              </a:solidFill>
            </c:spPr>
          </c:dPt>
          <c:dPt>
            <c:idx val="1235"/>
            <c:spPr>
              <a:solidFill>
                <a:srgbClr val="AEABAB"/>
              </a:solidFill>
            </c:spPr>
          </c:dPt>
          <c:dPt>
            <c:idx val="1236"/>
            <c:spPr>
              <a:solidFill>
                <a:srgbClr val="AEABAB"/>
              </a:solidFill>
            </c:spPr>
          </c:dPt>
          <c:dPt>
            <c:idx val="1237"/>
            <c:spPr>
              <a:solidFill>
                <a:srgbClr val="AEABAB"/>
              </a:solidFill>
            </c:spPr>
          </c:dPt>
          <c:dPt>
            <c:idx val="1238"/>
            <c:spPr>
              <a:solidFill>
                <a:srgbClr val="AEABAB"/>
              </a:solidFill>
            </c:spPr>
          </c:dPt>
          <c:dPt>
            <c:idx val="1239"/>
            <c:spPr>
              <a:solidFill>
                <a:srgbClr val="AEABAB"/>
              </a:solidFill>
            </c:spPr>
          </c:dPt>
          <c:dPt>
            <c:idx val="1240"/>
            <c:spPr>
              <a:solidFill>
                <a:srgbClr val="AEABAB"/>
              </a:solidFill>
            </c:spPr>
          </c:dPt>
          <c:dPt>
            <c:idx val="1241"/>
            <c:spPr>
              <a:solidFill>
                <a:srgbClr val="AEABAB"/>
              </a:solidFill>
            </c:spPr>
          </c:dPt>
          <c:dPt>
            <c:idx val="1242"/>
            <c:spPr>
              <a:solidFill>
                <a:srgbClr val="AEABAB"/>
              </a:solidFill>
            </c:spPr>
          </c:dPt>
          <c:dPt>
            <c:idx val="1243"/>
            <c:spPr>
              <a:solidFill>
                <a:srgbClr val="AEABAB"/>
              </a:solidFill>
            </c:spPr>
          </c:dPt>
          <c:dPt>
            <c:idx val="1244"/>
            <c:spPr>
              <a:solidFill>
                <a:srgbClr val="AEABAB"/>
              </a:solidFill>
            </c:spPr>
          </c:dPt>
          <c:dPt>
            <c:idx val="1245"/>
            <c:spPr>
              <a:solidFill>
                <a:srgbClr val="AEABAB"/>
              </a:solidFill>
            </c:spPr>
          </c:dPt>
          <c:dPt>
            <c:idx val="1246"/>
            <c:spPr>
              <a:solidFill>
                <a:srgbClr val="AEABAB"/>
              </a:solidFill>
            </c:spPr>
          </c:dPt>
          <c:dPt>
            <c:idx val="1247"/>
            <c:spPr>
              <a:solidFill>
                <a:srgbClr val="AEABAB"/>
              </a:solidFill>
            </c:spPr>
          </c:dPt>
          <c:dPt>
            <c:idx val="1248"/>
            <c:spPr>
              <a:solidFill>
                <a:srgbClr val="AEABAB"/>
              </a:solidFill>
            </c:spPr>
          </c:dPt>
          <c:dPt>
            <c:idx val="1249"/>
            <c:spPr>
              <a:solidFill>
                <a:srgbClr val="AEABAB"/>
              </a:solidFill>
            </c:spPr>
          </c:dPt>
          <c:dPt>
            <c:idx val="1250"/>
            <c:spPr>
              <a:solidFill>
                <a:srgbClr val="AEABAB"/>
              </a:solidFill>
            </c:spPr>
          </c:dPt>
          <c:dPt>
            <c:idx val="1251"/>
            <c:spPr>
              <a:solidFill>
                <a:srgbClr val="AEABAB"/>
              </a:solidFill>
            </c:spPr>
          </c:dPt>
          <c:dPt>
            <c:idx val="1252"/>
            <c:spPr>
              <a:solidFill>
                <a:srgbClr val="AEABAB"/>
              </a:solidFill>
            </c:spPr>
          </c:dPt>
          <c:dPt>
            <c:idx val="1253"/>
            <c:spPr>
              <a:solidFill>
                <a:srgbClr val="AEABAB"/>
              </a:solidFill>
            </c:spPr>
          </c:dPt>
          <c:dPt>
            <c:idx val="1254"/>
            <c:spPr>
              <a:solidFill>
                <a:srgbClr val="AEABAB"/>
              </a:solidFill>
            </c:spPr>
          </c:dPt>
          <c:dPt>
            <c:idx val="1255"/>
            <c:spPr>
              <a:solidFill>
                <a:srgbClr val="AEABAB"/>
              </a:solidFill>
            </c:spPr>
          </c:dPt>
          <c:dPt>
            <c:idx val="1256"/>
            <c:spPr>
              <a:solidFill>
                <a:srgbClr val="AEABAB"/>
              </a:solidFill>
            </c:spPr>
          </c:dPt>
          <c:dPt>
            <c:idx val="1257"/>
            <c:spPr>
              <a:solidFill>
                <a:srgbClr val="AEABAB"/>
              </a:solidFill>
            </c:spPr>
          </c:dPt>
          <c:dPt>
            <c:idx val="1258"/>
            <c:spPr>
              <a:solidFill>
                <a:srgbClr val="AEABAB"/>
              </a:solidFill>
            </c:spPr>
          </c:dPt>
          <c:dPt>
            <c:idx val="1259"/>
            <c:spPr>
              <a:solidFill>
                <a:srgbClr val="AEABAB"/>
              </a:solidFill>
            </c:spPr>
          </c:dPt>
          <c:dPt>
            <c:idx val="1260"/>
            <c:spPr>
              <a:solidFill>
                <a:srgbClr val="AEABAB"/>
              </a:solidFill>
            </c:spPr>
          </c:dPt>
          <c:dPt>
            <c:idx val="1261"/>
            <c:spPr>
              <a:solidFill>
                <a:srgbClr val="AEABAB"/>
              </a:solidFill>
            </c:spPr>
          </c:dPt>
          <c:dPt>
            <c:idx val="1262"/>
            <c:spPr>
              <a:solidFill>
                <a:srgbClr val="AEABAB"/>
              </a:solidFill>
            </c:spPr>
          </c:dPt>
          <c:dPt>
            <c:idx val="1263"/>
            <c:spPr>
              <a:solidFill>
                <a:srgbClr val="AEABAB"/>
              </a:solidFill>
            </c:spPr>
          </c:dPt>
          <c:dPt>
            <c:idx val="1264"/>
            <c:spPr>
              <a:solidFill>
                <a:srgbClr val="AEABAB"/>
              </a:solidFill>
            </c:spPr>
          </c:dPt>
          <c:dPt>
            <c:idx val="1265"/>
            <c:spPr>
              <a:solidFill>
                <a:srgbClr val="AEABAB"/>
              </a:solidFill>
            </c:spPr>
          </c:dPt>
          <c:dPt>
            <c:idx val="1266"/>
            <c:spPr>
              <a:solidFill>
                <a:srgbClr val="AEABAB"/>
              </a:solidFill>
            </c:spPr>
          </c:dPt>
          <c:dPt>
            <c:idx val="1267"/>
            <c:spPr>
              <a:solidFill>
                <a:srgbClr val="AEABAB"/>
              </a:solidFill>
            </c:spPr>
          </c:dPt>
          <c:dPt>
            <c:idx val="1268"/>
            <c:spPr>
              <a:solidFill>
                <a:srgbClr val="AEABAB"/>
              </a:solidFill>
            </c:spPr>
          </c:dPt>
          <c:dPt>
            <c:idx val="1269"/>
            <c:spPr>
              <a:solidFill>
                <a:srgbClr val="AEABAB"/>
              </a:solidFill>
            </c:spPr>
          </c:dPt>
          <c:dPt>
            <c:idx val="1270"/>
            <c:spPr>
              <a:solidFill>
                <a:srgbClr val="AEABAB"/>
              </a:solidFill>
            </c:spPr>
          </c:dPt>
          <c:dPt>
            <c:idx val="1271"/>
            <c:spPr>
              <a:solidFill>
                <a:srgbClr val="AEABAB"/>
              </a:solidFill>
            </c:spPr>
          </c:dPt>
          <c:dPt>
            <c:idx val="1272"/>
            <c:spPr>
              <a:solidFill>
                <a:srgbClr val="AEABAB"/>
              </a:solidFill>
            </c:spPr>
          </c:dPt>
          <c:dPt>
            <c:idx val="1273"/>
            <c:spPr>
              <a:solidFill>
                <a:srgbClr val="AEABAB"/>
              </a:solidFill>
            </c:spPr>
          </c:dPt>
          <c:dPt>
            <c:idx val="1274"/>
            <c:spPr>
              <a:solidFill>
                <a:srgbClr val="AEABAB"/>
              </a:solidFill>
            </c:spPr>
          </c:dPt>
          <c:dPt>
            <c:idx val="1275"/>
            <c:spPr>
              <a:solidFill>
                <a:srgbClr val="AEABAB"/>
              </a:solidFill>
            </c:spPr>
          </c:dPt>
          <c:dPt>
            <c:idx val="1276"/>
            <c:spPr>
              <a:solidFill>
                <a:srgbClr val="AEABAB"/>
              </a:solidFill>
            </c:spPr>
          </c:dPt>
          <c:dPt>
            <c:idx val="1277"/>
            <c:spPr>
              <a:solidFill>
                <a:srgbClr val="AEABAB"/>
              </a:solidFill>
            </c:spPr>
          </c:dPt>
          <c:dPt>
            <c:idx val="1278"/>
            <c:spPr>
              <a:solidFill>
                <a:srgbClr val="AEABAB"/>
              </a:solidFill>
            </c:spPr>
          </c:dPt>
          <c:dPt>
            <c:idx val="1279"/>
            <c:spPr>
              <a:solidFill>
                <a:srgbClr val="AEABAB"/>
              </a:solidFill>
            </c:spPr>
          </c:dPt>
          <c:dPt>
            <c:idx val="1280"/>
            <c:spPr>
              <a:solidFill>
                <a:srgbClr val="AEABAB"/>
              </a:solidFill>
            </c:spPr>
          </c:dPt>
          <c:dPt>
            <c:idx val="1281"/>
            <c:spPr>
              <a:solidFill>
                <a:srgbClr val="AEABAB"/>
              </a:solidFill>
            </c:spPr>
          </c:dPt>
          <c:dPt>
            <c:idx val="1282"/>
            <c:spPr>
              <a:solidFill>
                <a:srgbClr val="AEABAB"/>
              </a:solidFill>
            </c:spPr>
          </c:dPt>
          <c:dPt>
            <c:idx val="1283"/>
            <c:spPr>
              <a:solidFill>
                <a:srgbClr val="AEABAB"/>
              </a:solidFill>
            </c:spPr>
          </c:dPt>
          <c:dPt>
            <c:idx val="1284"/>
            <c:spPr>
              <a:solidFill>
                <a:srgbClr val="AEABAB"/>
              </a:solidFill>
            </c:spPr>
          </c:dPt>
          <c:dPt>
            <c:idx val="1285"/>
            <c:spPr>
              <a:solidFill>
                <a:srgbClr val="AEABAB"/>
              </a:solidFill>
            </c:spPr>
          </c:dPt>
          <c:dPt>
            <c:idx val="1286"/>
            <c:spPr>
              <a:solidFill>
                <a:srgbClr val="AEABAB"/>
              </a:solidFill>
            </c:spPr>
          </c:dPt>
          <c:dPt>
            <c:idx val="1287"/>
            <c:spPr>
              <a:solidFill>
                <a:srgbClr val="AEABAB"/>
              </a:solidFill>
            </c:spPr>
          </c:dPt>
          <c:dPt>
            <c:idx val="1288"/>
            <c:spPr>
              <a:solidFill>
                <a:srgbClr val="AEABAB"/>
              </a:solidFill>
            </c:spPr>
          </c:dPt>
          <c:dPt>
            <c:idx val="1289"/>
            <c:spPr>
              <a:solidFill>
                <a:srgbClr val="AEABAB"/>
              </a:solidFill>
            </c:spPr>
          </c:dPt>
          <c:dPt>
            <c:idx val="1290"/>
            <c:spPr>
              <a:solidFill>
                <a:srgbClr val="AEABAB"/>
              </a:solidFill>
            </c:spPr>
          </c:dPt>
          <c:dPt>
            <c:idx val="1291"/>
            <c:spPr>
              <a:solidFill>
                <a:srgbClr val="AEABAB"/>
              </a:solidFill>
            </c:spPr>
          </c:dPt>
          <c:dPt>
            <c:idx val="1292"/>
            <c:spPr>
              <a:solidFill>
                <a:srgbClr val="AEABAB"/>
              </a:solidFill>
            </c:spPr>
          </c:dPt>
          <c:dPt>
            <c:idx val="1293"/>
            <c:spPr>
              <a:solidFill>
                <a:srgbClr val="AEABAB"/>
              </a:solidFill>
            </c:spPr>
          </c:dPt>
          <c:dPt>
            <c:idx val="1294"/>
            <c:spPr>
              <a:solidFill>
                <a:srgbClr val="AEABAB"/>
              </a:solidFill>
            </c:spPr>
          </c:dPt>
          <c:dPt>
            <c:idx val="1295"/>
            <c:spPr>
              <a:solidFill>
                <a:srgbClr val="AEABAB"/>
              </a:solidFill>
            </c:spPr>
          </c:dPt>
          <c:dPt>
            <c:idx val="1296"/>
            <c:spPr>
              <a:solidFill>
                <a:srgbClr val="AEABAB"/>
              </a:solidFill>
            </c:spPr>
          </c:dPt>
          <c:dPt>
            <c:idx val="1297"/>
            <c:spPr>
              <a:solidFill>
                <a:srgbClr val="AEABAB"/>
              </a:solidFill>
            </c:spPr>
          </c:dPt>
          <c:dPt>
            <c:idx val="1298"/>
            <c:spPr>
              <a:solidFill>
                <a:srgbClr val="AEABAB"/>
              </a:solidFill>
            </c:spPr>
          </c:dPt>
          <c:dPt>
            <c:idx val="1299"/>
            <c:spPr>
              <a:solidFill>
                <a:srgbClr val="AEABAB"/>
              </a:solidFill>
            </c:spPr>
          </c:dPt>
          <c:dPt>
            <c:idx val="1300"/>
            <c:spPr>
              <a:solidFill>
                <a:srgbClr val="AEABAB"/>
              </a:solidFill>
            </c:spPr>
          </c:dPt>
          <c:dPt>
            <c:idx val="1301"/>
            <c:spPr>
              <a:solidFill>
                <a:srgbClr val="AEABAB"/>
              </a:solidFill>
            </c:spPr>
          </c:dPt>
          <c:dPt>
            <c:idx val="1302"/>
            <c:spPr>
              <a:solidFill>
                <a:srgbClr val="AEABAB"/>
              </a:solidFill>
            </c:spPr>
          </c:dPt>
          <c:dPt>
            <c:idx val="1303"/>
            <c:spPr>
              <a:solidFill>
                <a:srgbClr val="AEABAB"/>
              </a:solidFill>
            </c:spPr>
          </c:dPt>
          <c:dPt>
            <c:idx val="1304"/>
            <c:spPr>
              <a:solidFill>
                <a:srgbClr val="AEABAB"/>
              </a:solidFill>
            </c:spPr>
          </c:dPt>
          <c:dPt>
            <c:idx val="1305"/>
            <c:spPr>
              <a:solidFill>
                <a:srgbClr val="AEABAB"/>
              </a:solidFill>
            </c:spPr>
          </c:dPt>
          <c:dPt>
            <c:idx val="1306"/>
            <c:spPr>
              <a:solidFill>
                <a:srgbClr val="AEABAB"/>
              </a:solidFill>
            </c:spPr>
          </c:dPt>
          <c:dPt>
            <c:idx val="1307"/>
            <c:spPr>
              <a:solidFill>
                <a:srgbClr val="AEABAB"/>
              </a:solidFill>
            </c:spPr>
          </c:dPt>
          <c:dPt>
            <c:idx val="1308"/>
            <c:spPr>
              <a:solidFill>
                <a:srgbClr val="AEABAB"/>
              </a:solidFill>
            </c:spPr>
          </c:dPt>
          <c:dPt>
            <c:idx val="1309"/>
            <c:spPr>
              <a:solidFill>
                <a:srgbClr val="AEABAB"/>
              </a:solidFill>
            </c:spPr>
          </c:dPt>
          <c:dPt>
            <c:idx val="1310"/>
            <c:spPr>
              <a:solidFill>
                <a:srgbClr val="AEABAB"/>
              </a:solidFill>
            </c:spPr>
          </c:dPt>
          <c:dPt>
            <c:idx val="1311"/>
            <c:spPr>
              <a:solidFill>
                <a:srgbClr val="AEABAB"/>
              </a:solidFill>
            </c:spPr>
          </c:dPt>
          <c:dPt>
            <c:idx val="1312"/>
            <c:spPr>
              <a:solidFill>
                <a:srgbClr val="AEABAB"/>
              </a:solidFill>
            </c:spPr>
          </c:dPt>
          <c:dPt>
            <c:idx val="1313"/>
            <c:spPr>
              <a:solidFill>
                <a:srgbClr val="AEABAB"/>
              </a:solidFill>
            </c:spPr>
          </c:dPt>
          <c:dPt>
            <c:idx val="1314"/>
            <c:spPr>
              <a:solidFill>
                <a:srgbClr val="AEABAB"/>
              </a:solidFill>
            </c:spPr>
          </c:dPt>
          <c:dPt>
            <c:idx val="1315"/>
            <c:spPr>
              <a:solidFill>
                <a:srgbClr val="AEABAB"/>
              </a:solidFill>
            </c:spPr>
          </c:dPt>
          <c:dPt>
            <c:idx val="1316"/>
            <c:spPr>
              <a:solidFill>
                <a:srgbClr val="AEABAB"/>
              </a:solidFill>
            </c:spPr>
          </c:dPt>
          <c:dPt>
            <c:idx val="1317"/>
            <c:spPr>
              <a:solidFill>
                <a:srgbClr val="AEABAB"/>
              </a:solidFill>
            </c:spPr>
          </c:dPt>
          <c:dPt>
            <c:idx val="1318"/>
            <c:spPr>
              <a:solidFill>
                <a:srgbClr val="AEABAB"/>
              </a:solidFill>
            </c:spPr>
          </c:dPt>
          <c:dPt>
            <c:idx val="1319"/>
            <c:spPr>
              <a:solidFill>
                <a:srgbClr val="AEABAB"/>
              </a:solidFill>
            </c:spPr>
          </c:dPt>
          <c:dPt>
            <c:idx val="1320"/>
            <c:spPr>
              <a:solidFill>
                <a:srgbClr val="AEABAB"/>
              </a:solidFill>
            </c:spPr>
          </c:dPt>
          <c:dPt>
            <c:idx val="1321"/>
            <c:spPr>
              <a:solidFill>
                <a:srgbClr val="AEABAB"/>
              </a:solidFill>
            </c:spPr>
          </c:dPt>
          <c:dPt>
            <c:idx val="1322"/>
            <c:spPr>
              <a:solidFill>
                <a:srgbClr val="AEABAB"/>
              </a:solidFill>
            </c:spPr>
          </c:dPt>
          <c:dPt>
            <c:idx val="1323"/>
            <c:spPr>
              <a:solidFill>
                <a:srgbClr val="AEABAB"/>
              </a:solidFill>
            </c:spPr>
          </c:dPt>
          <c:dPt>
            <c:idx val="1324"/>
            <c:spPr>
              <a:solidFill>
                <a:srgbClr val="AEABAB"/>
              </a:solidFill>
            </c:spPr>
          </c:dPt>
          <c:dPt>
            <c:idx val="1325"/>
            <c:spPr>
              <a:solidFill>
                <a:srgbClr val="AEABAB"/>
              </a:solidFill>
            </c:spPr>
          </c:dPt>
          <c:dPt>
            <c:idx val="1326"/>
            <c:spPr>
              <a:solidFill>
                <a:srgbClr val="AEABAB"/>
              </a:solidFill>
            </c:spPr>
          </c:dPt>
          <c:dPt>
            <c:idx val="1327"/>
            <c:spPr>
              <a:solidFill>
                <a:srgbClr val="AEABAB"/>
              </a:solidFill>
            </c:spPr>
          </c:dPt>
          <c:dPt>
            <c:idx val="1328"/>
            <c:spPr>
              <a:solidFill>
                <a:srgbClr val="AEABAB"/>
              </a:solidFill>
            </c:spPr>
          </c:dPt>
          <c:dPt>
            <c:idx val="1329"/>
            <c:spPr>
              <a:solidFill>
                <a:srgbClr val="AEABAB"/>
              </a:solidFill>
            </c:spPr>
          </c:dPt>
          <c:dPt>
            <c:idx val="1330"/>
            <c:spPr>
              <a:solidFill>
                <a:srgbClr val="AEABAB"/>
              </a:solidFill>
            </c:spPr>
          </c:dPt>
          <c:dPt>
            <c:idx val="1331"/>
            <c:spPr>
              <a:solidFill>
                <a:srgbClr val="AEABAB"/>
              </a:solidFill>
            </c:spPr>
          </c:dPt>
          <c:dPt>
            <c:idx val="1332"/>
            <c:spPr>
              <a:solidFill>
                <a:srgbClr val="AEABAB"/>
              </a:solidFill>
            </c:spPr>
          </c:dPt>
          <c:dPt>
            <c:idx val="1333"/>
            <c:spPr>
              <a:solidFill>
                <a:srgbClr val="AEABAB"/>
              </a:solidFill>
            </c:spPr>
          </c:dPt>
          <c:dPt>
            <c:idx val="1334"/>
            <c:spPr>
              <a:solidFill>
                <a:srgbClr val="AEABAB"/>
              </a:solidFill>
            </c:spPr>
          </c:dPt>
          <c:dPt>
            <c:idx val="1335"/>
            <c:spPr>
              <a:solidFill>
                <a:srgbClr val="AEABAB"/>
              </a:solidFill>
            </c:spPr>
          </c:dPt>
          <c:dPt>
            <c:idx val="1336"/>
            <c:spPr>
              <a:solidFill>
                <a:srgbClr val="AEABAB"/>
              </a:solidFill>
            </c:spPr>
          </c:dPt>
          <c:dPt>
            <c:idx val="1337"/>
            <c:spPr>
              <a:solidFill>
                <a:srgbClr val="AEABAB"/>
              </a:solidFill>
            </c:spPr>
          </c:dPt>
          <c:dPt>
            <c:idx val="1338"/>
            <c:spPr>
              <a:solidFill>
                <a:srgbClr val="AEABAB"/>
              </a:solidFill>
            </c:spPr>
          </c:dPt>
          <c:dPt>
            <c:idx val="1339"/>
            <c:spPr>
              <a:solidFill>
                <a:srgbClr val="AEABAB"/>
              </a:solidFill>
            </c:spPr>
          </c:dPt>
          <c:dPt>
            <c:idx val="1340"/>
            <c:spPr>
              <a:solidFill>
                <a:srgbClr val="AEABAB"/>
              </a:solidFill>
            </c:spPr>
          </c:dPt>
          <c:dPt>
            <c:idx val="1341"/>
            <c:spPr>
              <a:solidFill>
                <a:srgbClr val="AEABAB"/>
              </a:solidFill>
            </c:spPr>
          </c:dPt>
          <c:dPt>
            <c:idx val="1342"/>
            <c:spPr>
              <a:solidFill>
                <a:srgbClr val="AEABAB"/>
              </a:solidFill>
            </c:spPr>
          </c:dPt>
          <c:dPt>
            <c:idx val="1343"/>
            <c:spPr>
              <a:solidFill>
                <a:srgbClr val="AEABAB"/>
              </a:solidFill>
            </c:spPr>
          </c:dPt>
          <c:dPt>
            <c:idx val="1344"/>
            <c:spPr>
              <a:solidFill>
                <a:srgbClr val="AEABAB"/>
              </a:solidFill>
            </c:spPr>
          </c:dPt>
          <c:dPt>
            <c:idx val="1345"/>
            <c:spPr>
              <a:solidFill>
                <a:srgbClr val="AEABAB"/>
              </a:solidFill>
            </c:spPr>
          </c:dPt>
          <c:dPt>
            <c:idx val="1346"/>
            <c:spPr>
              <a:solidFill>
                <a:srgbClr val="AEABAB"/>
              </a:solidFill>
            </c:spPr>
          </c:dPt>
          <c:dPt>
            <c:idx val="1347"/>
            <c:spPr>
              <a:solidFill>
                <a:srgbClr val="AEABAB"/>
              </a:solidFill>
            </c:spPr>
          </c:dPt>
          <c:dPt>
            <c:idx val="1348"/>
            <c:spPr>
              <a:solidFill>
                <a:srgbClr val="AEABAB"/>
              </a:solidFill>
            </c:spPr>
          </c:dPt>
          <c:dPt>
            <c:idx val="1349"/>
            <c:spPr>
              <a:solidFill>
                <a:srgbClr val="AEABAB"/>
              </a:solidFill>
            </c:spPr>
          </c:dPt>
          <c:dPt>
            <c:idx val="1350"/>
            <c:spPr>
              <a:solidFill>
                <a:srgbClr val="AEABAB"/>
              </a:solidFill>
            </c:spPr>
          </c:dPt>
          <c:dPt>
            <c:idx val="1351"/>
            <c:spPr>
              <a:solidFill>
                <a:srgbClr val="AEABAB"/>
              </a:solidFill>
            </c:spPr>
          </c:dPt>
          <c:dPt>
            <c:idx val="1352"/>
            <c:spPr>
              <a:solidFill>
                <a:srgbClr val="AEABAB"/>
              </a:solidFill>
            </c:spPr>
          </c:dPt>
          <c:dPt>
            <c:idx val="1353"/>
            <c:spPr>
              <a:solidFill>
                <a:srgbClr val="AEABAB"/>
              </a:solidFill>
            </c:spPr>
          </c:dPt>
          <c:dPt>
            <c:idx val="1354"/>
            <c:spPr>
              <a:solidFill>
                <a:srgbClr val="AEABAB"/>
              </a:solidFill>
            </c:spPr>
          </c:dPt>
          <c:dPt>
            <c:idx val="1355"/>
            <c:spPr>
              <a:solidFill>
                <a:srgbClr val="AEABAB"/>
              </a:solidFill>
            </c:spPr>
          </c:dPt>
          <c:dPt>
            <c:idx val="1356"/>
            <c:spPr>
              <a:solidFill>
                <a:srgbClr val="AEABAB"/>
              </a:solidFill>
            </c:spPr>
          </c:dPt>
          <c:dPt>
            <c:idx val="1357"/>
            <c:spPr>
              <a:solidFill>
                <a:srgbClr val="AEABAB"/>
              </a:solidFill>
            </c:spPr>
          </c:dPt>
          <c:dPt>
            <c:idx val="1358"/>
            <c:spPr>
              <a:solidFill>
                <a:srgbClr val="AEABAB"/>
              </a:solidFill>
            </c:spPr>
          </c:dPt>
          <c:dPt>
            <c:idx val="1359"/>
            <c:spPr>
              <a:solidFill>
                <a:srgbClr val="AEABAB"/>
              </a:solidFill>
            </c:spPr>
          </c:dPt>
          <c:dPt>
            <c:idx val="1360"/>
            <c:spPr>
              <a:solidFill>
                <a:srgbClr val="AEABAB"/>
              </a:solidFill>
            </c:spPr>
          </c:dPt>
          <c:dPt>
            <c:idx val="1361"/>
            <c:spPr>
              <a:solidFill>
                <a:srgbClr val="AEABAB"/>
              </a:solidFill>
            </c:spPr>
          </c:dPt>
          <c:dPt>
            <c:idx val="1362"/>
            <c:spPr>
              <a:solidFill>
                <a:srgbClr val="AEABAB"/>
              </a:solidFill>
            </c:spPr>
          </c:dPt>
          <c:dPt>
            <c:idx val="1363"/>
            <c:spPr>
              <a:solidFill>
                <a:srgbClr val="AEABAB"/>
              </a:solidFill>
            </c:spPr>
          </c:dPt>
          <c:dPt>
            <c:idx val="1364"/>
            <c:spPr>
              <a:solidFill>
                <a:srgbClr val="AEABAB"/>
              </a:solidFill>
            </c:spPr>
          </c:dPt>
          <c:dPt>
            <c:idx val="1365"/>
            <c:spPr>
              <a:solidFill>
                <a:srgbClr val="AEABAB"/>
              </a:solidFill>
            </c:spPr>
          </c:dPt>
          <c:dPt>
            <c:idx val="1366"/>
            <c:spPr>
              <a:solidFill>
                <a:srgbClr val="AEABAB"/>
              </a:solidFill>
            </c:spPr>
          </c:dPt>
          <c:dPt>
            <c:idx val="1367"/>
            <c:spPr>
              <a:solidFill>
                <a:srgbClr val="AEABAB"/>
              </a:solidFill>
            </c:spPr>
          </c:dPt>
          <c:dPt>
            <c:idx val="1368"/>
            <c:spPr>
              <a:solidFill>
                <a:srgbClr val="AEABAB"/>
              </a:solidFill>
            </c:spPr>
          </c:dPt>
          <c:dPt>
            <c:idx val="1369"/>
            <c:spPr>
              <a:solidFill>
                <a:srgbClr val="AEABAB"/>
              </a:solidFill>
            </c:spPr>
          </c:dPt>
          <c:dPt>
            <c:idx val="1370"/>
            <c:spPr>
              <a:solidFill>
                <a:srgbClr val="AEABAB"/>
              </a:solidFill>
            </c:spPr>
          </c:dPt>
          <c:dPt>
            <c:idx val="1371"/>
            <c:spPr>
              <a:solidFill>
                <a:srgbClr val="AEABAB"/>
              </a:solidFill>
            </c:spPr>
          </c:dPt>
          <c:dPt>
            <c:idx val="1372"/>
            <c:spPr>
              <a:solidFill>
                <a:srgbClr val="AEABAB"/>
              </a:solidFill>
            </c:spPr>
          </c:dPt>
          <c:dPt>
            <c:idx val="1373"/>
            <c:spPr>
              <a:solidFill>
                <a:srgbClr val="AEABAB"/>
              </a:solidFill>
            </c:spPr>
          </c:dPt>
          <c:dPt>
            <c:idx val="1374"/>
            <c:spPr>
              <a:solidFill>
                <a:srgbClr val="AEABAB"/>
              </a:solidFill>
            </c:spPr>
          </c:dPt>
          <c:dPt>
            <c:idx val="1375"/>
            <c:spPr>
              <a:solidFill>
                <a:srgbClr val="AEABAB"/>
              </a:solidFill>
            </c:spPr>
          </c:dPt>
          <c:dPt>
            <c:idx val="1376"/>
            <c:spPr>
              <a:solidFill>
                <a:srgbClr val="AEABAB"/>
              </a:solidFill>
            </c:spPr>
          </c:dPt>
          <c:dPt>
            <c:idx val="1377"/>
            <c:spPr>
              <a:solidFill>
                <a:srgbClr val="AEABAB"/>
              </a:solidFill>
            </c:spPr>
          </c:dPt>
          <c:dPt>
            <c:idx val="1378"/>
            <c:spPr>
              <a:solidFill>
                <a:srgbClr val="AEABAB"/>
              </a:solidFill>
            </c:spPr>
          </c:dPt>
          <c:dPt>
            <c:idx val="1379"/>
            <c:spPr>
              <a:solidFill>
                <a:srgbClr val="AEABAB"/>
              </a:solidFill>
            </c:spPr>
          </c:dPt>
          <c:dPt>
            <c:idx val="1380"/>
            <c:spPr>
              <a:solidFill>
                <a:srgbClr val="AEABAB"/>
              </a:solidFill>
            </c:spPr>
          </c:dPt>
          <c:dPt>
            <c:idx val="1381"/>
            <c:spPr>
              <a:solidFill>
                <a:srgbClr val="AEABAB"/>
              </a:solidFill>
            </c:spPr>
          </c:dPt>
          <c:dPt>
            <c:idx val="1382"/>
            <c:spPr>
              <a:solidFill>
                <a:srgbClr val="AEABAB"/>
              </a:solidFill>
            </c:spPr>
          </c:dPt>
          <c:dPt>
            <c:idx val="1383"/>
            <c:spPr>
              <a:solidFill>
                <a:srgbClr val="AEABAB"/>
              </a:solidFill>
            </c:spPr>
          </c:dPt>
          <c:dPt>
            <c:idx val="1384"/>
            <c:spPr>
              <a:solidFill>
                <a:srgbClr val="AEABAB"/>
              </a:solidFill>
            </c:spPr>
          </c:dPt>
          <c:dPt>
            <c:idx val="1385"/>
            <c:spPr>
              <a:solidFill>
                <a:srgbClr val="AEABAB"/>
              </a:solidFill>
            </c:spPr>
          </c:dPt>
          <c:dPt>
            <c:idx val="1386"/>
            <c:spPr>
              <a:solidFill>
                <a:srgbClr val="AEABAB"/>
              </a:solidFill>
            </c:spPr>
          </c:dPt>
          <c:dPt>
            <c:idx val="1387"/>
            <c:spPr>
              <a:solidFill>
                <a:srgbClr val="AEABAB"/>
              </a:solidFill>
            </c:spPr>
          </c:dPt>
          <c:dPt>
            <c:idx val="1388"/>
            <c:spPr>
              <a:solidFill>
                <a:srgbClr val="AEABAB"/>
              </a:solidFill>
            </c:spPr>
          </c:dPt>
          <c:dPt>
            <c:idx val="1389"/>
            <c:spPr>
              <a:solidFill>
                <a:srgbClr val="AEABAB"/>
              </a:solidFill>
            </c:spPr>
          </c:dPt>
          <c:dPt>
            <c:idx val="1390"/>
            <c:spPr>
              <a:solidFill>
                <a:srgbClr val="AEABAB"/>
              </a:solidFill>
            </c:spPr>
          </c:dPt>
          <c:dPt>
            <c:idx val="1391"/>
            <c:spPr>
              <a:solidFill>
                <a:srgbClr val="AEABAB"/>
              </a:solidFill>
            </c:spPr>
          </c:dPt>
          <c:dPt>
            <c:idx val="1392"/>
            <c:spPr>
              <a:solidFill>
                <a:srgbClr val="AEABAB"/>
              </a:solidFill>
            </c:spPr>
          </c:dPt>
          <c:dPt>
            <c:idx val="1393"/>
            <c:spPr>
              <a:solidFill>
                <a:srgbClr val="AEABAB"/>
              </a:solidFill>
            </c:spPr>
          </c:dPt>
          <c:dPt>
            <c:idx val="1394"/>
            <c:spPr>
              <a:solidFill>
                <a:srgbClr val="AEABAB"/>
              </a:solidFill>
            </c:spPr>
          </c:dPt>
          <c:dPt>
            <c:idx val="1395"/>
            <c:spPr>
              <a:solidFill>
                <a:srgbClr val="AEABAB"/>
              </a:solidFill>
            </c:spPr>
          </c:dPt>
          <c:dPt>
            <c:idx val="1396"/>
            <c:spPr>
              <a:solidFill>
                <a:srgbClr val="AEABAB"/>
              </a:solidFill>
            </c:spPr>
          </c:dPt>
          <c:dPt>
            <c:idx val="1397"/>
            <c:spPr>
              <a:solidFill>
                <a:srgbClr val="AEABAB"/>
              </a:solidFill>
            </c:spPr>
          </c:dPt>
          <c:dPt>
            <c:idx val="1398"/>
            <c:spPr>
              <a:solidFill>
                <a:srgbClr val="AEABAB"/>
              </a:solidFill>
            </c:spPr>
          </c:dPt>
          <c:dPt>
            <c:idx val="1399"/>
            <c:spPr>
              <a:solidFill>
                <a:srgbClr val="AEABAB"/>
              </a:solidFill>
            </c:spPr>
          </c:dPt>
          <c:dPt>
            <c:idx val="1400"/>
            <c:spPr>
              <a:solidFill>
                <a:srgbClr val="AEABAB"/>
              </a:solidFill>
            </c:spPr>
          </c:dPt>
          <c:dPt>
            <c:idx val="1401"/>
            <c:spPr>
              <a:solidFill>
                <a:srgbClr val="AEABAB"/>
              </a:solidFill>
            </c:spPr>
          </c:dPt>
          <c:dPt>
            <c:idx val="1402"/>
            <c:spPr>
              <a:solidFill>
                <a:srgbClr val="AEABAB"/>
              </a:solidFill>
            </c:spPr>
          </c:dPt>
          <c:dPt>
            <c:idx val="1403"/>
            <c:spPr>
              <a:solidFill>
                <a:srgbClr val="AEABAB"/>
              </a:solidFill>
            </c:spPr>
          </c:dPt>
          <c:dPt>
            <c:idx val="1404"/>
            <c:spPr>
              <a:solidFill>
                <a:srgbClr val="AEABAB"/>
              </a:solidFill>
            </c:spPr>
          </c:dPt>
          <c:dPt>
            <c:idx val="1405"/>
            <c:spPr>
              <a:solidFill>
                <a:srgbClr val="AEABAB"/>
              </a:solidFill>
            </c:spPr>
          </c:dPt>
          <c:dPt>
            <c:idx val="1406"/>
            <c:spPr>
              <a:solidFill>
                <a:srgbClr val="AEABAB"/>
              </a:solidFill>
            </c:spPr>
          </c:dPt>
          <c:dPt>
            <c:idx val="1407"/>
            <c:spPr>
              <a:solidFill>
                <a:srgbClr val="AEABAB"/>
              </a:solidFill>
            </c:spPr>
          </c:dPt>
          <c:dPt>
            <c:idx val="1408"/>
            <c:spPr>
              <a:solidFill>
                <a:srgbClr val="AEABAB"/>
              </a:solidFill>
            </c:spPr>
          </c:dPt>
          <c:dPt>
            <c:idx val="1409"/>
            <c:spPr>
              <a:solidFill>
                <a:srgbClr val="AEABAB"/>
              </a:solidFill>
            </c:spPr>
          </c:dPt>
          <c:dPt>
            <c:idx val="1410"/>
            <c:spPr>
              <a:solidFill>
                <a:srgbClr val="AEABAB"/>
              </a:solidFill>
            </c:spPr>
          </c:dPt>
          <c:dPt>
            <c:idx val="1411"/>
            <c:spPr>
              <a:solidFill>
                <a:srgbClr val="AEABAB"/>
              </a:solidFill>
            </c:spPr>
          </c:dPt>
          <c:dPt>
            <c:idx val="1412"/>
            <c:spPr>
              <a:solidFill>
                <a:srgbClr val="AEABAB"/>
              </a:solidFill>
            </c:spPr>
          </c:dPt>
          <c:dPt>
            <c:idx val="1413"/>
            <c:spPr>
              <a:solidFill>
                <a:srgbClr val="AEABAB"/>
              </a:solidFill>
            </c:spPr>
          </c:dPt>
          <c:dPt>
            <c:idx val="1414"/>
            <c:spPr>
              <a:solidFill>
                <a:srgbClr val="AEABAB"/>
              </a:solidFill>
            </c:spPr>
          </c:dPt>
          <c:dPt>
            <c:idx val="1415"/>
            <c:spPr>
              <a:solidFill>
                <a:srgbClr val="AEABAB"/>
              </a:solidFill>
            </c:spPr>
          </c:dPt>
          <c:dPt>
            <c:idx val="1416"/>
            <c:spPr>
              <a:solidFill>
                <a:srgbClr val="AEABAB"/>
              </a:solidFill>
            </c:spPr>
          </c:dPt>
          <c:dPt>
            <c:idx val="1417"/>
            <c:spPr>
              <a:solidFill>
                <a:srgbClr val="AEABAB"/>
              </a:solidFill>
            </c:spPr>
          </c:dPt>
          <c:dPt>
            <c:idx val="1418"/>
            <c:spPr>
              <a:solidFill>
                <a:srgbClr val="AEABAB"/>
              </a:solidFill>
            </c:spPr>
          </c:dPt>
          <c:dPt>
            <c:idx val="1419"/>
            <c:spPr>
              <a:solidFill>
                <a:srgbClr val="AEABAB"/>
              </a:solidFill>
            </c:spPr>
          </c:dPt>
          <c:dPt>
            <c:idx val="1420"/>
            <c:spPr>
              <a:solidFill>
                <a:srgbClr val="AEABAB"/>
              </a:solidFill>
            </c:spPr>
          </c:dPt>
          <c:dPt>
            <c:idx val="1421"/>
            <c:spPr>
              <a:solidFill>
                <a:srgbClr val="AEABAB"/>
              </a:solidFill>
            </c:spPr>
          </c:dPt>
          <c:dPt>
            <c:idx val="1422"/>
            <c:spPr>
              <a:solidFill>
                <a:srgbClr val="AEABAB"/>
              </a:solidFill>
            </c:spPr>
          </c:dPt>
          <c:dPt>
            <c:idx val="1423"/>
            <c:spPr>
              <a:solidFill>
                <a:srgbClr val="AEABAB"/>
              </a:solidFill>
            </c:spPr>
          </c:dPt>
          <c:dPt>
            <c:idx val="1424"/>
            <c:spPr>
              <a:solidFill>
                <a:srgbClr val="AEABAB"/>
              </a:solidFill>
            </c:spPr>
          </c:dPt>
          <c:dPt>
            <c:idx val="1425"/>
            <c:spPr>
              <a:solidFill>
                <a:srgbClr val="AEABAB"/>
              </a:solidFill>
            </c:spPr>
          </c:dPt>
          <c:dPt>
            <c:idx val="1426"/>
            <c:spPr>
              <a:solidFill>
                <a:srgbClr val="AEABAB"/>
              </a:solidFill>
            </c:spPr>
          </c:dPt>
          <c:dPt>
            <c:idx val="1427"/>
            <c:spPr>
              <a:solidFill>
                <a:srgbClr val="AEABAB"/>
              </a:solidFill>
            </c:spPr>
          </c:dPt>
          <c:dPt>
            <c:idx val="1428"/>
            <c:spPr>
              <a:solidFill>
                <a:srgbClr val="AEABAB"/>
              </a:solidFill>
            </c:spPr>
          </c:dPt>
          <c:dPt>
            <c:idx val="1429"/>
            <c:spPr>
              <a:solidFill>
                <a:srgbClr val="AEABAB"/>
              </a:solidFill>
            </c:spPr>
          </c:dPt>
          <c:dPt>
            <c:idx val="1430"/>
            <c:spPr>
              <a:solidFill>
                <a:srgbClr val="AEABAB"/>
              </a:solidFill>
            </c:spPr>
          </c:dPt>
          <c:dPt>
            <c:idx val="1431"/>
            <c:spPr>
              <a:solidFill>
                <a:srgbClr val="AEABAB"/>
              </a:solidFill>
            </c:spPr>
          </c:dPt>
          <c:dPt>
            <c:idx val="1432"/>
            <c:spPr>
              <a:solidFill>
                <a:srgbClr val="AEABAB"/>
              </a:solidFill>
            </c:spPr>
          </c:dPt>
          <c:dPt>
            <c:idx val="1433"/>
            <c:spPr>
              <a:solidFill>
                <a:srgbClr val="AEABAB"/>
              </a:solidFill>
            </c:spPr>
          </c:dPt>
          <c:dPt>
            <c:idx val="1434"/>
            <c:spPr>
              <a:solidFill>
                <a:srgbClr val="AEABAB"/>
              </a:solidFill>
            </c:spPr>
          </c:dPt>
          <c:dPt>
            <c:idx val="1435"/>
            <c:spPr>
              <a:solidFill>
                <a:srgbClr val="AEABAB"/>
              </a:solidFill>
            </c:spPr>
          </c:dPt>
          <c:dPt>
            <c:idx val="1436"/>
            <c:spPr>
              <a:solidFill>
                <a:srgbClr val="AEABAB"/>
              </a:solidFill>
            </c:spPr>
          </c:dPt>
          <c:dPt>
            <c:idx val="1437"/>
            <c:spPr>
              <a:solidFill>
                <a:srgbClr val="AEABAB"/>
              </a:solidFill>
            </c:spPr>
          </c:dPt>
          <c:dPt>
            <c:idx val="1438"/>
            <c:spPr>
              <a:solidFill>
                <a:srgbClr val="AEABAB"/>
              </a:solidFill>
            </c:spPr>
          </c:dPt>
          <c:dPt>
            <c:idx val="1439"/>
            <c:spPr>
              <a:solidFill>
                <a:srgbClr val="AEABAB"/>
              </a:solidFill>
            </c:spPr>
          </c:dPt>
          <c:dPt>
            <c:idx val="1440"/>
            <c:spPr>
              <a:solidFill>
                <a:srgbClr val="AEABAB"/>
              </a:solidFill>
            </c:spPr>
          </c:dPt>
          <c:dPt>
            <c:idx val="1441"/>
            <c:spPr>
              <a:solidFill>
                <a:srgbClr val="AEABAB"/>
              </a:solidFill>
            </c:spPr>
          </c:dPt>
          <c:dPt>
            <c:idx val="1442"/>
            <c:spPr>
              <a:solidFill>
                <a:srgbClr val="AEABAB"/>
              </a:solidFill>
            </c:spPr>
          </c:dPt>
          <c:dPt>
            <c:idx val="1443"/>
            <c:spPr>
              <a:solidFill>
                <a:srgbClr val="AEABAB"/>
              </a:solidFill>
            </c:spPr>
          </c:dPt>
          <c:dPt>
            <c:idx val="1444"/>
            <c:spPr>
              <a:solidFill>
                <a:srgbClr val="AEABAB"/>
              </a:solidFill>
            </c:spPr>
          </c:dPt>
          <c:dPt>
            <c:idx val="1445"/>
            <c:spPr>
              <a:solidFill>
                <a:srgbClr val="AEABAB"/>
              </a:solidFill>
            </c:spPr>
          </c:dPt>
          <c:dPt>
            <c:idx val="1446"/>
            <c:spPr>
              <a:solidFill>
                <a:srgbClr val="AEABAB"/>
              </a:solidFill>
            </c:spPr>
          </c:dPt>
          <c:dPt>
            <c:idx val="1447"/>
            <c:spPr>
              <a:solidFill>
                <a:srgbClr val="AEABAB"/>
              </a:solidFill>
            </c:spPr>
          </c:dPt>
          <c:dPt>
            <c:idx val="1448"/>
            <c:spPr>
              <a:solidFill>
                <a:srgbClr val="AEABAB"/>
              </a:solidFill>
            </c:spPr>
          </c:dPt>
          <c:dPt>
            <c:idx val="1449"/>
            <c:spPr>
              <a:solidFill>
                <a:srgbClr val="AEABAB"/>
              </a:solidFill>
            </c:spPr>
          </c:dPt>
          <c:dPt>
            <c:idx val="1450"/>
            <c:spPr>
              <a:solidFill>
                <a:srgbClr val="AEABAB"/>
              </a:solidFill>
            </c:spPr>
          </c:dPt>
          <c:dPt>
            <c:idx val="1451"/>
            <c:spPr>
              <a:solidFill>
                <a:srgbClr val="AEABAB"/>
              </a:solidFill>
            </c:spPr>
          </c:dPt>
          <c:dPt>
            <c:idx val="1452"/>
            <c:spPr>
              <a:solidFill>
                <a:srgbClr val="AEABAB"/>
              </a:solidFill>
            </c:spPr>
          </c:dPt>
          <c:dPt>
            <c:idx val="1453"/>
            <c:spPr>
              <a:solidFill>
                <a:srgbClr val="AEABAB"/>
              </a:solidFill>
            </c:spPr>
          </c:dPt>
          <c:dPt>
            <c:idx val="1454"/>
            <c:spPr>
              <a:solidFill>
                <a:srgbClr val="AEABAB"/>
              </a:solidFill>
            </c:spPr>
          </c:dPt>
          <c:dPt>
            <c:idx val="1455"/>
            <c:spPr>
              <a:solidFill>
                <a:srgbClr val="AEABAB"/>
              </a:solidFill>
            </c:spPr>
          </c:dPt>
          <c:dPt>
            <c:idx val="1456"/>
            <c:spPr>
              <a:solidFill>
                <a:srgbClr val="AEABAB"/>
              </a:solidFill>
            </c:spPr>
          </c:dPt>
          <c:dPt>
            <c:idx val="1457"/>
            <c:spPr>
              <a:solidFill>
                <a:srgbClr val="AEABAB"/>
              </a:solidFill>
            </c:spPr>
          </c:dPt>
          <c:dPt>
            <c:idx val="1458"/>
            <c:spPr>
              <a:solidFill>
                <a:srgbClr val="AEABAB"/>
              </a:solidFill>
            </c:spPr>
          </c:dPt>
          <c:dPt>
            <c:idx val="1459"/>
            <c:spPr>
              <a:solidFill>
                <a:srgbClr val="AEABAB"/>
              </a:solidFill>
            </c:spPr>
          </c:dPt>
          <c:dPt>
            <c:idx val="1460"/>
            <c:spPr>
              <a:solidFill>
                <a:srgbClr val="AEABAB"/>
              </a:solidFill>
            </c:spPr>
          </c:dPt>
          <c:dPt>
            <c:idx val="1461"/>
            <c:spPr>
              <a:solidFill>
                <a:srgbClr val="AEABAB"/>
              </a:solidFill>
            </c:spPr>
          </c:dPt>
          <c:dPt>
            <c:idx val="1462"/>
            <c:spPr>
              <a:solidFill>
                <a:srgbClr val="AEABAB"/>
              </a:solidFill>
            </c:spPr>
          </c:dPt>
          <c:dPt>
            <c:idx val="1463"/>
            <c:spPr>
              <a:solidFill>
                <a:srgbClr val="AEABAB"/>
              </a:solidFill>
            </c:spPr>
          </c:dPt>
          <c:dPt>
            <c:idx val="1464"/>
            <c:spPr>
              <a:solidFill>
                <a:srgbClr val="AEABAB"/>
              </a:solidFill>
            </c:spPr>
          </c:dPt>
          <c:dPt>
            <c:idx val="1465"/>
            <c:spPr>
              <a:solidFill>
                <a:srgbClr val="AEABAB"/>
              </a:solidFill>
            </c:spPr>
          </c:dPt>
          <c:dPt>
            <c:idx val="1466"/>
            <c:spPr>
              <a:solidFill>
                <a:srgbClr val="AEABAB"/>
              </a:solidFill>
            </c:spPr>
          </c:dPt>
          <c:dPt>
            <c:idx val="1467"/>
            <c:spPr>
              <a:solidFill>
                <a:srgbClr val="AEABAB"/>
              </a:solidFill>
            </c:spPr>
          </c:dPt>
          <c:dPt>
            <c:idx val="1468"/>
            <c:spPr>
              <a:solidFill>
                <a:srgbClr val="AEABAB"/>
              </a:solidFill>
            </c:spPr>
          </c:dPt>
          <c:dPt>
            <c:idx val="1469"/>
            <c:spPr>
              <a:solidFill>
                <a:srgbClr val="AEABAB"/>
              </a:solidFill>
            </c:spPr>
          </c:dPt>
          <c:dPt>
            <c:idx val="1470"/>
            <c:spPr>
              <a:solidFill>
                <a:srgbClr val="AEABAB"/>
              </a:solidFill>
            </c:spPr>
          </c:dPt>
          <c:dPt>
            <c:idx val="1471"/>
            <c:spPr>
              <a:solidFill>
                <a:srgbClr val="AEABAB"/>
              </a:solidFill>
            </c:spPr>
          </c:dPt>
          <c:dPt>
            <c:idx val="1472"/>
            <c:spPr>
              <a:solidFill>
                <a:srgbClr val="AEABAB"/>
              </a:solidFill>
            </c:spPr>
          </c:dPt>
          <c:dPt>
            <c:idx val="1473"/>
            <c:spPr>
              <a:solidFill>
                <a:srgbClr val="AEABAB"/>
              </a:solidFill>
            </c:spPr>
          </c:dPt>
          <c:dPt>
            <c:idx val="1474"/>
            <c:spPr>
              <a:solidFill>
                <a:srgbClr val="AEABAB"/>
              </a:solidFill>
            </c:spPr>
          </c:dPt>
          <c:dPt>
            <c:idx val="1475"/>
            <c:spPr>
              <a:solidFill>
                <a:srgbClr val="AEABAB"/>
              </a:solidFill>
            </c:spPr>
          </c:dPt>
          <c:dPt>
            <c:idx val="1476"/>
            <c:spPr>
              <a:solidFill>
                <a:srgbClr val="AEABAB"/>
              </a:solidFill>
            </c:spPr>
          </c:dPt>
          <c:dPt>
            <c:idx val="1477"/>
            <c:spPr>
              <a:solidFill>
                <a:srgbClr val="AEABAB"/>
              </a:solidFill>
            </c:spPr>
          </c:dPt>
          <c:dPt>
            <c:idx val="1478"/>
            <c:spPr>
              <a:solidFill>
                <a:srgbClr val="AEABAB"/>
              </a:solidFill>
            </c:spPr>
          </c:dPt>
          <c:dPt>
            <c:idx val="1479"/>
            <c:spPr>
              <a:solidFill>
                <a:srgbClr val="AEABAB"/>
              </a:solidFill>
            </c:spPr>
          </c:dPt>
          <c:dPt>
            <c:idx val="1480"/>
            <c:spPr>
              <a:solidFill>
                <a:srgbClr val="AEABAB"/>
              </a:solidFill>
            </c:spPr>
          </c:dPt>
          <c:dPt>
            <c:idx val="1481"/>
            <c:spPr>
              <a:solidFill>
                <a:srgbClr val="AEABAB"/>
              </a:solidFill>
            </c:spPr>
          </c:dPt>
          <c:dPt>
            <c:idx val="1482"/>
            <c:spPr>
              <a:solidFill>
                <a:srgbClr val="AEABAB"/>
              </a:solidFill>
            </c:spPr>
          </c:dPt>
          <c:dPt>
            <c:idx val="1483"/>
            <c:spPr>
              <a:solidFill>
                <a:srgbClr val="AEABAB"/>
              </a:solidFill>
            </c:spPr>
          </c:dPt>
          <c:dPt>
            <c:idx val="1484"/>
            <c:spPr>
              <a:solidFill>
                <a:srgbClr val="AEABAB"/>
              </a:solidFill>
            </c:spPr>
          </c:dPt>
          <c:dPt>
            <c:idx val="1485"/>
            <c:spPr>
              <a:solidFill>
                <a:srgbClr val="AEABAB"/>
              </a:solidFill>
            </c:spPr>
          </c:dPt>
          <c:dPt>
            <c:idx val="1486"/>
            <c:spPr>
              <a:solidFill>
                <a:srgbClr val="AEABAB"/>
              </a:solidFill>
            </c:spPr>
          </c:dPt>
          <c:dPt>
            <c:idx val="1487"/>
            <c:spPr>
              <a:solidFill>
                <a:srgbClr val="AEABAB"/>
              </a:solidFill>
            </c:spPr>
          </c:dPt>
          <c:dPt>
            <c:idx val="1488"/>
            <c:spPr>
              <a:solidFill>
                <a:srgbClr val="AEABAB"/>
              </a:solidFill>
            </c:spPr>
          </c:dPt>
          <c:dPt>
            <c:idx val="1489"/>
            <c:spPr>
              <a:solidFill>
                <a:srgbClr val="AEABAB"/>
              </a:solidFill>
            </c:spPr>
          </c:dPt>
          <c:dPt>
            <c:idx val="1490"/>
            <c:spPr>
              <a:solidFill>
                <a:srgbClr val="AEABAB"/>
              </a:solidFill>
            </c:spPr>
          </c:dPt>
          <c:dPt>
            <c:idx val="1491"/>
            <c:spPr>
              <a:solidFill>
                <a:srgbClr val="AEABAB"/>
              </a:solidFill>
            </c:spPr>
          </c:dPt>
          <c:dPt>
            <c:idx val="1492"/>
            <c:spPr>
              <a:solidFill>
                <a:srgbClr val="AEABAB"/>
              </a:solidFill>
            </c:spPr>
          </c:dPt>
          <c:dPt>
            <c:idx val="1493"/>
            <c:spPr>
              <a:solidFill>
                <a:srgbClr val="AEABAB"/>
              </a:solidFill>
            </c:spPr>
          </c:dPt>
          <c:dPt>
            <c:idx val="1494"/>
            <c:spPr>
              <a:solidFill>
                <a:srgbClr val="AEABAB"/>
              </a:solidFill>
            </c:spPr>
          </c:dPt>
          <c:dPt>
            <c:idx val="1495"/>
            <c:spPr>
              <a:solidFill>
                <a:srgbClr val="AEABAB"/>
              </a:solidFill>
            </c:spPr>
          </c:dPt>
          <c:dPt>
            <c:idx val="1496"/>
            <c:spPr>
              <a:solidFill>
                <a:srgbClr val="AEABAB"/>
              </a:solidFill>
            </c:spPr>
          </c:dPt>
          <c:dPt>
            <c:idx val="1497"/>
            <c:spPr>
              <a:solidFill>
                <a:srgbClr val="AEABAB"/>
              </a:solidFill>
            </c:spPr>
          </c:dPt>
          <c:dPt>
            <c:idx val="1498"/>
            <c:spPr>
              <a:solidFill>
                <a:srgbClr val="AEABAB"/>
              </a:solidFill>
            </c:spPr>
          </c:dPt>
          <c:dPt>
            <c:idx val="1499"/>
            <c:spPr>
              <a:solidFill>
                <a:srgbClr val="AEABAB"/>
              </a:solidFill>
            </c:spPr>
          </c:dPt>
          <c:dPt>
            <c:idx val="1500"/>
            <c:spPr>
              <a:solidFill>
                <a:srgbClr val="AEABAB"/>
              </a:solidFill>
            </c:spPr>
          </c:dPt>
          <c:dPt>
            <c:idx val="1501"/>
            <c:spPr>
              <a:solidFill>
                <a:srgbClr val="AEABAB"/>
              </a:solidFill>
            </c:spPr>
          </c:dPt>
          <c:dPt>
            <c:idx val="1502"/>
            <c:spPr>
              <a:solidFill>
                <a:srgbClr val="AEABAB"/>
              </a:solidFill>
            </c:spPr>
          </c:dPt>
          <c:dPt>
            <c:idx val="1503"/>
            <c:spPr>
              <a:solidFill>
                <a:srgbClr val="AEABAB"/>
              </a:solidFill>
            </c:spPr>
          </c:dPt>
          <c:dPt>
            <c:idx val="1504"/>
            <c:spPr>
              <a:solidFill>
                <a:srgbClr val="AEABAB"/>
              </a:solidFill>
            </c:spPr>
          </c:dPt>
          <c:dPt>
            <c:idx val="1505"/>
            <c:spPr>
              <a:solidFill>
                <a:srgbClr val="AEABAB"/>
              </a:solidFill>
            </c:spPr>
          </c:dPt>
          <c:dPt>
            <c:idx val="1506"/>
            <c:spPr>
              <a:solidFill>
                <a:srgbClr val="AEABAB"/>
              </a:solidFill>
            </c:spPr>
          </c:dPt>
          <c:dPt>
            <c:idx val="1507"/>
            <c:spPr>
              <a:solidFill>
                <a:srgbClr val="AEABAB"/>
              </a:solidFill>
            </c:spPr>
          </c:dPt>
          <c:dPt>
            <c:idx val="1508"/>
            <c:spPr>
              <a:solidFill>
                <a:srgbClr val="AEABAB"/>
              </a:solidFill>
            </c:spPr>
          </c:dPt>
          <c:dPt>
            <c:idx val="1509"/>
            <c:spPr>
              <a:solidFill>
                <a:srgbClr val="AEABAB"/>
              </a:solidFill>
            </c:spPr>
          </c:dPt>
          <c:dPt>
            <c:idx val="1510"/>
            <c:spPr>
              <a:solidFill>
                <a:srgbClr val="AEABAB"/>
              </a:solidFill>
            </c:spPr>
          </c:dPt>
          <c:dPt>
            <c:idx val="1511"/>
            <c:spPr>
              <a:solidFill>
                <a:srgbClr val="AEABAB"/>
              </a:solidFill>
            </c:spPr>
          </c:dPt>
          <c:dPt>
            <c:idx val="1512"/>
            <c:spPr>
              <a:solidFill>
                <a:srgbClr val="AEABAB"/>
              </a:solidFill>
            </c:spPr>
          </c:dPt>
          <c:dPt>
            <c:idx val="1513"/>
            <c:spPr>
              <a:solidFill>
                <a:srgbClr val="AEABAB"/>
              </a:solidFill>
            </c:spPr>
          </c:dPt>
          <c:dPt>
            <c:idx val="1514"/>
            <c:spPr>
              <a:solidFill>
                <a:srgbClr val="AEABAB"/>
              </a:solidFill>
            </c:spPr>
          </c:dPt>
          <c:dPt>
            <c:idx val="1515"/>
            <c:spPr>
              <a:solidFill>
                <a:srgbClr val="AEABAB"/>
              </a:solidFill>
            </c:spPr>
          </c:dPt>
          <c:dPt>
            <c:idx val="1516"/>
            <c:spPr>
              <a:solidFill>
                <a:srgbClr val="AEABAB"/>
              </a:solidFill>
            </c:spPr>
          </c:dPt>
          <c:dPt>
            <c:idx val="1517"/>
            <c:spPr>
              <a:solidFill>
                <a:srgbClr val="AEABAB"/>
              </a:solidFill>
            </c:spPr>
          </c:dPt>
          <c:dPt>
            <c:idx val="1518"/>
            <c:spPr>
              <a:solidFill>
                <a:srgbClr val="AEABAB"/>
              </a:solidFill>
            </c:spPr>
          </c:dPt>
          <c:dPt>
            <c:idx val="1519"/>
            <c:spPr>
              <a:solidFill>
                <a:srgbClr val="AEABAB"/>
              </a:solidFill>
            </c:spPr>
          </c:dPt>
          <c:dPt>
            <c:idx val="1520"/>
            <c:spPr>
              <a:solidFill>
                <a:srgbClr val="AEABAB"/>
              </a:solidFill>
            </c:spPr>
          </c:dPt>
          <c:dPt>
            <c:idx val="1521"/>
            <c:spPr>
              <a:solidFill>
                <a:srgbClr val="AEABAB"/>
              </a:solidFill>
            </c:spPr>
          </c:dPt>
          <c:dPt>
            <c:idx val="1522"/>
            <c:spPr>
              <a:solidFill>
                <a:srgbClr val="AEABAB"/>
              </a:solidFill>
            </c:spPr>
          </c:dPt>
          <c:dPt>
            <c:idx val="1523"/>
            <c:spPr>
              <a:solidFill>
                <a:srgbClr val="AEABAB"/>
              </a:solidFill>
            </c:spPr>
          </c:dPt>
          <c:dPt>
            <c:idx val="1524"/>
            <c:spPr>
              <a:solidFill>
                <a:srgbClr val="AEABAB"/>
              </a:solidFill>
            </c:spPr>
          </c:dPt>
          <c:dPt>
            <c:idx val="1525"/>
            <c:spPr>
              <a:solidFill>
                <a:srgbClr val="AEABAB"/>
              </a:solidFill>
            </c:spPr>
          </c:dPt>
          <c:dPt>
            <c:idx val="1526"/>
            <c:spPr>
              <a:solidFill>
                <a:srgbClr val="AEABAB"/>
              </a:solidFill>
            </c:spPr>
          </c:dPt>
          <c:dPt>
            <c:idx val="1527"/>
            <c:spPr>
              <a:solidFill>
                <a:srgbClr val="AEABAB"/>
              </a:solidFill>
            </c:spPr>
          </c:dPt>
          <c:dPt>
            <c:idx val="1528"/>
            <c:spPr>
              <a:solidFill>
                <a:srgbClr val="AEABAB"/>
              </a:solidFill>
            </c:spPr>
          </c:dPt>
          <c:dPt>
            <c:idx val="1529"/>
            <c:spPr>
              <a:solidFill>
                <a:srgbClr val="AEABAB"/>
              </a:solidFill>
            </c:spPr>
          </c:dPt>
          <c:dPt>
            <c:idx val="1530"/>
            <c:spPr>
              <a:solidFill>
                <a:srgbClr val="AEABAB"/>
              </a:solidFill>
            </c:spPr>
          </c:dPt>
          <c:dPt>
            <c:idx val="1531"/>
            <c:spPr>
              <a:solidFill>
                <a:srgbClr val="AEABAB"/>
              </a:solidFill>
            </c:spPr>
          </c:dPt>
          <c:dPt>
            <c:idx val="1532"/>
            <c:spPr>
              <a:solidFill>
                <a:srgbClr val="AEABAB"/>
              </a:solidFill>
            </c:spPr>
          </c:dPt>
          <c:dPt>
            <c:idx val="1533"/>
            <c:spPr>
              <a:solidFill>
                <a:srgbClr val="AEABAB"/>
              </a:solidFill>
            </c:spPr>
          </c:dPt>
          <c:dPt>
            <c:idx val="1534"/>
            <c:spPr>
              <a:solidFill>
                <a:srgbClr val="AEABAB"/>
              </a:solidFill>
            </c:spPr>
          </c:dPt>
          <c:dPt>
            <c:idx val="1535"/>
            <c:spPr>
              <a:solidFill>
                <a:srgbClr val="AEABAB"/>
              </a:solidFill>
            </c:spPr>
          </c:dPt>
          <c:dPt>
            <c:idx val="1536"/>
            <c:spPr>
              <a:solidFill>
                <a:srgbClr val="AEABAB"/>
              </a:solidFill>
            </c:spPr>
          </c:dPt>
          <c:dPt>
            <c:idx val="1537"/>
            <c:spPr>
              <a:solidFill>
                <a:srgbClr val="AEABAB"/>
              </a:solidFill>
            </c:spPr>
          </c:dPt>
          <c:dPt>
            <c:idx val="1538"/>
            <c:spPr>
              <a:solidFill>
                <a:srgbClr val="AEABAB"/>
              </a:solidFill>
            </c:spPr>
          </c:dPt>
          <c:dPt>
            <c:idx val="1539"/>
            <c:spPr>
              <a:solidFill>
                <a:srgbClr val="AEABAB"/>
              </a:solidFill>
            </c:spPr>
          </c:dPt>
          <c:dPt>
            <c:idx val="1540"/>
            <c:spPr>
              <a:solidFill>
                <a:srgbClr val="AEABAB"/>
              </a:solidFill>
            </c:spPr>
          </c:dPt>
          <c:dPt>
            <c:idx val="1541"/>
            <c:spPr>
              <a:solidFill>
                <a:srgbClr val="AEABAB"/>
              </a:solidFill>
            </c:spPr>
          </c:dPt>
          <c:dPt>
            <c:idx val="1542"/>
            <c:spPr>
              <a:solidFill>
                <a:srgbClr val="AEABAB"/>
              </a:solidFill>
            </c:spPr>
          </c:dPt>
          <c:dPt>
            <c:idx val="1543"/>
            <c:spPr>
              <a:solidFill>
                <a:srgbClr val="AEABAB"/>
              </a:solidFill>
            </c:spPr>
          </c:dPt>
          <c:dPt>
            <c:idx val="1544"/>
            <c:spPr>
              <a:solidFill>
                <a:srgbClr val="AEABAB"/>
              </a:solidFill>
            </c:spPr>
          </c:dPt>
          <c:dPt>
            <c:idx val="1545"/>
            <c:spPr>
              <a:solidFill>
                <a:srgbClr val="AEABAB"/>
              </a:solidFill>
            </c:spPr>
          </c:dPt>
          <c:dPt>
            <c:idx val="1546"/>
            <c:spPr>
              <a:solidFill>
                <a:srgbClr val="AEABAB"/>
              </a:solidFill>
            </c:spPr>
          </c:dPt>
          <c:dPt>
            <c:idx val="1547"/>
            <c:spPr>
              <a:solidFill>
                <a:srgbClr val="AEABAB"/>
              </a:solidFill>
            </c:spPr>
          </c:dPt>
          <c:dPt>
            <c:idx val="1548"/>
            <c:spPr>
              <a:solidFill>
                <a:srgbClr val="AEABAB"/>
              </a:solidFill>
            </c:spPr>
          </c:dPt>
          <c:dPt>
            <c:idx val="1549"/>
            <c:spPr>
              <a:solidFill>
                <a:srgbClr val="AEABAB"/>
              </a:solidFill>
            </c:spPr>
          </c:dPt>
          <c:dPt>
            <c:idx val="1550"/>
            <c:spPr>
              <a:solidFill>
                <a:srgbClr val="AEABAB"/>
              </a:solidFill>
            </c:spPr>
          </c:dPt>
          <c:dPt>
            <c:idx val="1551"/>
            <c:spPr>
              <a:solidFill>
                <a:srgbClr val="AEABAB"/>
              </a:solidFill>
            </c:spPr>
          </c:dPt>
          <c:dPt>
            <c:idx val="1552"/>
            <c:spPr>
              <a:solidFill>
                <a:srgbClr val="AEABAB"/>
              </a:solidFill>
            </c:spPr>
          </c:dPt>
          <c:dPt>
            <c:idx val="1553"/>
            <c:spPr>
              <a:solidFill>
                <a:srgbClr val="AEABAB"/>
              </a:solidFill>
            </c:spPr>
          </c:dPt>
          <c:dPt>
            <c:idx val="1554"/>
            <c:spPr>
              <a:solidFill>
                <a:srgbClr val="AEABAB"/>
              </a:solidFill>
            </c:spPr>
          </c:dPt>
          <c:dPt>
            <c:idx val="1555"/>
            <c:spPr>
              <a:solidFill>
                <a:srgbClr val="AEABAB"/>
              </a:solidFill>
            </c:spPr>
          </c:dPt>
          <c:dPt>
            <c:idx val="1556"/>
            <c:spPr>
              <a:solidFill>
                <a:srgbClr val="AEABAB"/>
              </a:solidFill>
            </c:spPr>
          </c:dPt>
          <c:dPt>
            <c:idx val="1557"/>
            <c:spPr>
              <a:solidFill>
                <a:srgbClr val="AEABAB"/>
              </a:solidFill>
            </c:spPr>
          </c:dPt>
          <c:dPt>
            <c:idx val="1558"/>
            <c:spPr>
              <a:solidFill>
                <a:srgbClr val="AEABAB"/>
              </a:solidFill>
            </c:spPr>
          </c:dPt>
          <c:dPt>
            <c:idx val="1559"/>
            <c:spPr>
              <a:solidFill>
                <a:srgbClr val="AEABAB"/>
              </a:solidFill>
            </c:spPr>
          </c:dPt>
          <c:dPt>
            <c:idx val="1560"/>
            <c:spPr>
              <a:solidFill>
                <a:srgbClr val="AEABAB"/>
              </a:solidFill>
            </c:spPr>
          </c:dPt>
          <c:dPt>
            <c:idx val="1561"/>
            <c:spPr>
              <a:solidFill>
                <a:srgbClr val="AEABAB"/>
              </a:solidFill>
            </c:spPr>
          </c:dPt>
          <c:dPt>
            <c:idx val="1562"/>
            <c:spPr>
              <a:solidFill>
                <a:srgbClr val="AEABAB"/>
              </a:solidFill>
            </c:spPr>
          </c:dPt>
          <c:dPt>
            <c:idx val="1563"/>
            <c:spPr>
              <a:solidFill>
                <a:srgbClr val="AEABAB"/>
              </a:solidFill>
            </c:spPr>
          </c:dPt>
          <c:dPt>
            <c:idx val="1564"/>
            <c:spPr>
              <a:solidFill>
                <a:srgbClr val="AEABAB"/>
              </a:solidFill>
            </c:spPr>
          </c:dPt>
          <c:dPt>
            <c:idx val="1565"/>
            <c:spPr>
              <a:solidFill>
                <a:srgbClr val="AEABAB"/>
              </a:solidFill>
            </c:spPr>
          </c:dPt>
          <c:dPt>
            <c:idx val="1566"/>
            <c:spPr>
              <a:solidFill>
                <a:srgbClr val="AEABAB"/>
              </a:solidFill>
            </c:spPr>
          </c:dPt>
          <c:dPt>
            <c:idx val="1567"/>
            <c:spPr>
              <a:solidFill>
                <a:srgbClr val="AEABAB"/>
              </a:solidFill>
            </c:spPr>
          </c:dPt>
          <c:dPt>
            <c:idx val="1568"/>
            <c:spPr>
              <a:solidFill>
                <a:srgbClr val="AEABAB"/>
              </a:solidFill>
            </c:spPr>
          </c:dPt>
          <c:dPt>
            <c:idx val="1569"/>
            <c:spPr>
              <a:solidFill>
                <a:srgbClr val="AEABAB"/>
              </a:solidFill>
            </c:spPr>
          </c:dPt>
          <c:dPt>
            <c:idx val="1570"/>
            <c:spPr>
              <a:solidFill>
                <a:srgbClr val="AEABAB"/>
              </a:solidFill>
            </c:spPr>
          </c:dPt>
          <c:dPt>
            <c:idx val="1571"/>
            <c:spPr>
              <a:solidFill>
                <a:srgbClr val="AEABAB"/>
              </a:solidFill>
            </c:spPr>
          </c:dPt>
          <c:dPt>
            <c:idx val="1572"/>
            <c:spPr>
              <a:solidFill>
                <a:srgbClr val="AEABAB"/>
              </a:solidFill>
            </c:spPr>
          </c:dPt>
          <c:dPt>
            <c:idx val="1573"/>
            <c:spPr>
              <a:solidFill>
                <a:srgbClr val="AEABAB"/>
              </a:solidFill>
            </c:spPr>
          </c:dPt>
          <c:dPt>
            <c:idx val="1574"/>
            <c:spPr>
              <a:solidFill>
                <a:srgbClr val="AEABAB"/>
              </a:solidFill>
            </c:spPr>
          </c:dPt>
          <c:dPt>
            <c:idx val="1575"/>
            <c:spPr>
              <a:solidFill>
                <a:srgbClr val="AEABAB"/>
              </a:solidFill>
            </c:spPr>
          </c:dPt>
          <c:dPt>
            <c:idx val="1576"/>
            <c:spPr>
              <a:solidFill>
                <a:srgbClr val="AEABAB"/>
              </a:solidFill>
            </c:spPr>
          </c:dPt>
          <c:dPt>
            <c:idx val="1577"/>
            <c:spPr>
              <a:solidFill>
                <a:srgbClr val="AEABAB"/>
              </a:solidFill>
            </c:spPr>
          </c:dPt>
          <c:dPt>
            <c:idx val="1578"/>
            <c:spPr>
              <a:solidFill>
                <a:srgbClr val="AEABAB"/>
              </a:solidFill>
            </c:spPr>
          </c:dPt>
          <c:dPt>
            <c:idx val="1579"/>
            <c:spPr>
              <a:solidFill>
                <a:srgbClr val="AEABAB"/>
              </a:solidFill>
            </c:spPr>
          </c:dPt>
          <c:dPt>
            <c:idx val="1580"/>
            <c:spPr>
              <a:solidFill>
                <a:srgbClr val="AEABAB"/>
              </a:solidFill>
            </c:spPr>
          </c:dPt>
          <c:dPt>
            <c:idx val="1581"/>
            <c:spPr>
              <a:solidFill>
                <a:srgbClr val="AEABAB"/>
              </a:solidFill>
            </c:spPr>
          </c:dPt>
          <c:dPt>
            <c:idx val="1582"/>
            <c:spPr>
              <a:solidFill>
                <a:srgbClr val="AEABAB"/>
              </a:solidFill>
            </c:spPr>
          </c:dPt>
          <c:dPt>
            <c:idx val="1583"/>
            <c:spPr>
              <a:solidFill>
                <a:srgbClr val="AEABAB"/>
              </a:solidFill>
            </c:spPr>
          </c:dPt>
          <c:dPt>
            <c:idx val="1584"/>
            <c:spPr>
              <a:solidFill>
                <a:srgbClr val="AEABAB"/>
              </a:solidFill>
            </c:spPr>
          </c:dPt>
          <c:dPt>
            <c:idx val="1585"/>
            <c:spPr>
              <a:solidFill>
                <a:srgbClr val="AEABAB"/>
              </a:solidFill>
            </c:spPr>
          </c:dPt>
          <c:dPt>
            <c:idx val="1586"/>
            <c:spPr>
              <a:solidFill>
                <a:srgbClr val="AEABAB"/>
              </a:solidFill>
            </c:spPr>
          </c:dPt>
          <c:dPt>
            <c:idx val="1587"/>
            <c:spPr>
              <a:solidFill>
                <a:srgbClr val="AEABAB"/>
              </a:solidFill>
            </c:spPr>
          </c:dPt>
          <c:dPt>
            <c:idx val="1588"/>
            <c:spPr>
              <a:solidFill>
                <a:srgbClr val="AEABAB"/>
              </a:solidFill>
            </c:spPr>
          </c:dPt>
          <c:dPt>
            <c:idx val="1589"/>
            <c:spPr>
              <a:solidFill>
                <a:srgbClr val="AEABAB"/>
              </a:solidFill>
            </c:spPr>
          </c:dPt>
          <c:dPt>
            <c:idx val="1590"/>
            <c:spPr>
              <a:solidFill>
                <a:srgbClr val="AEABAB"/>
              </a:solidFill>
            </c:spPr>
          </c:dPt>
          <c:dPt>
            <c:idx val="1591"/>
            <c:spPr>
              <a:solidFill>
                <a:srgbClr val="AEABAB"/>
              </a:solidFill>
            </c:spPr>
          </c:dPt>
          <c:dPt>
            <c:idx val="1592"/>
            <c:spPr>
              <a:solidFill>
                <a:srgbClr val="AEABAB"/>
              </a:solidFill>
            </c:spPr>
          </c:dPt>
          <c:dPt>
            <c:idx val="1593"/>
            <c:spPr>
              <a:solidFill>
                <a:srgbClr val="AEABAB"/>
              </a:solidFill>
            </c:spPr>
          </c:dPt>
          <c:dPt>
            <c:idx val="1594"/>
            <c:spPr>
              <a:solidFill>
                <a:srgbClr val="AEABAB"/>
              </a:solidFill>
            </c:spPr>
          </c:dPt>
          <c:dPt>
            <c:idx val="1595"/>
            <c:spPr>
              <a:solidFill>
                <a:srgbClr val="AEABAB"/>
              </a:solidFill>
            </c:spPr>
          </c:dPt>
          <c:dPt>
            <c:idx val="1596"/>
            <c:spPr>
              <a:solidFill>
                <a:srgbClr val="AEABAB"/>
              </a:solidFill>
            </c:spPr>
          </c:dPt>
          <c:dPt>
            <c:idx val="1597"/>
            <c:spPr>
              <a:solidFill>
                <a:srgbClr val="AEABAB"/>
              </a:solidFill>
            </c:spPr>
          </c:dPt>
          <c:dPt>
            <c:idx val="1598"/>
            <c:spPr>
              <a:solidFill>
                <a:srgbClr val="AEABAB"/>
              </a:solidFill>
            </c:spPr>
          </c:dPt>
          <c:dPt>
            <c:idx val="1599"/>
            <c:spPr>
              <a:solidFill>
                <a:srgbClr val="AEABAB"/>
              </a:solidFill>
            </c:spPr>
          </c:dPt>
          <c:dPt>
            <c:idx val="1600"/>
            <c:spPr>
              <a:solidFill>
                <a:srgbClr val="AEABAB"/>
              </a:solidFill>
            </c:spPr>
          </c:dPt>
          <c:dPt>
            <c:idx val="1601"/>
            <c:spPr>
              <a:solidFill>
                <a:srgbClr val="AEABAB"/>
              </a:solidFill>
            </c:spPr>
          </c:dPt>
          <c:dPt>
            <c:idx val="1602"/>
            <c:spPr>
              <a:solidFill>
                <a:srgbClr val="AEABAB"/>
              </a:solidFill>
            </c:spPr>
          </c:dPt>
          <c:dPt>
            <c:idx val="1603"/>
            <c:spPr>
              <a:solidFill>
                <a:srgbClr val="AEABAB"/>
              </a:solidFill>
            </c:spPr>
          </c:dPt>
          <c:dPt>
            <c:idx val="1604"/>
            <c:spPr>
              <a:solidFill>
                <a:srgbClr val="AEABAB"/>
              </a:solidFill>
            </c:spPr>
          </c:dPt>
          <c:dPt>
            <c:idx val="1605"/>
            <c:spPr>
              <a:solidFill>
                <a:srgbClr val="AEABAB"/>
              </a:solidFill>
            </c:spPr>
          </c:dPt>
          <c:dPt>
            <c:idx val="1606"/>
            <c:spPr>
              <a:solidFill>
                <a:srgbClr val="AEABAB"/>
              </a:solidFill>
            </c:spPr>
          </c:dPt>
          <c:dPt>
            <c:idx val="1607"/>
            <c:spPr>
              <a:solidFill>
                <a:srgbClr val="AEABAB"/>
              </a:solidFill>
            </c:spPr>
          </c:dPt>
          <c:dPt>
            <c:idx val="1608"/>
            <c:spPr>
              <a:solidFill>
                <a:srgbClr val="AEABAB"/>
              </a:solidFill>
            </c:spPr>
          </c:dPt>
          <c:dPt>
            <c:idx val="1609"/>
            <c:spPr>
              <a:solidFill>
                <a:srgbClr val="AEABAB"/>
              </a:solidFill>
            </c:spPr>
          </c:dPt>
          <c:dPt>
            <c:idx val="1610"/>
            <c:spPr>
              <a:solidFill>
                <a:srgbClr val="AEABAB"/>
              </a:solidFill>
            </c:spPr>
          </c:dPt>
          <c:dPt>
            <c:idx val="1611"/>
            <c:spPr>
              <a:solidFill>
                <a:srgbClr val="AEABAB"/>
              </a:solidFill>
            </c:spPr>
          </c:dPt>
          <c:dPt>
            <c:idx val="1612"/>
            <c:spPr>
              <a:solidFill>
                <a:srgbClr val="AEABAB"/>
              </a:solidFill>
            </c:spPr>
          </c:dPt>
          <c:dPt>
            <c:idx val="1613"/>
            <c:spPr>
              <a:solidFill>
                <a:srgbClr val="AEABAB"/>
              </a:solidFill>
            </c:spPr>
          </c:dPt>
          <c:dPt>
            <c:idx val="1614"/>
            <c:spPr>
              <a:solidFill>
                <a:srgbClr val="AEABAB"/>
              </a:solidFill>
            </c:spPr>
          </c:dPt>
          <c:dPt>
            <c:idx val="1615"/>
            <c:spPr>
              <a:solidFill>
                <a:srgbClr val="AEABAB"/>
              </a:solidFill>
            </c:spPr>
          </c:dPt>
          <c:dPt>
            <c:idx val="1616"/>
            <c:spPr>
              <a:solidFill>
                <a:srgbClr val="AEABAB"/>
              </a:solidFill>
            </c:spPr>
          </c:dPt>
          <c:dPt>
            <c:idx val="1617"/>
            <c:spPr>
              <a:solidFill>
                <a:srgbClr val="AEABAB"/>
              </a:solidFill>
            </c:spPr>
          </c:dPt>
          <c:dPt>
            <c:idx val="1618"/>
            <c:spPr>
              <a:solidFill>
                <a:srgbClr val="AEABAB"/>
              </a:solidFill>
            </c:spPr>
          </c:dPt>
          <c:dPt>
            <c:idx val="1619"/>
            <c:spPr>
              <a:solidFill>
                <a:srgbClr val="AEABAB"/>
              </a:solidFill>
            </c:spPr>
          </c:dPt>
          <c:dPt>
            <c:idx val="1620"/>
            <c:spPr>
              <a:solidFill>
                <a:srgbClr val="AEABAB"/>
              </a:solidFill>
            </c:spPr>
          </c:dPt>
          <c:dPt>
            <c:idx val="1621"/>
            <c:spPr>
              <a:solidFill>
                <a:srgbClr val="AEABAB"/>
              </a:solidFill>
            </c:spPr>
          </c:dPt>
          <c:dPt>
            <c:idx val="1622"/>
            <c:spPr>
              <a:solidFill>
                <a:srgbClr val="AEABAB"/>
              </a:solidFill>
            </c:spPr>
          </c:dPt>
          <c:dPt>
            <c:idx val="1623"/>
            <c:spPr>
              <a:solidFill>
                <a:srgbClr val="AEABAB"/>
              </a:solidFill>
            </c:spPr>
          </c:dPt>
          <c:dPt>
            <c:idx val="1624"/>
            <c:spPr>
              <a:solidFill>
                <a:srgbClr val="AEABAB"/>
              </a:solidFill>
            </c:spPr>
          </c:dPt>
          <c:dPt>
            <c:idx val="1625"/>
            <c:spPr>
              <a:solidFill>
                <a:srgbClr val="AEABAB"/>
              </a:solidFill>
            </c:spPr>
          </c:dPt>
          <c:dPt>
            <c:idx val="1626"/>
            <c:spPr>
              <a:solidFill>
                <a:srgbClr val="AEABAB"/>
              </a:solidFill>
            </c:spPr>
          </c:dPt>
          <c:dPt>
            <c:idx val="1627"/>
            <c:spPr>
              <a:solidFill>
                <a:srgbClr val="AEABAB"/>
              </a:solidFill>
            </c:spPr>
          </c:dPt>
          <c:dPt>
            <c:idx val="1628"/>
            <c:spPr>
              <a:solidFill>
                <a:srgbClr val="AEABAB"/>
              </a:solidFill>
            </c:spPr>
          </c:dPt>
          <c:dPt>
            <c:idx val="1629"/>
            <c:spPr>
              <a:solidFill>
                <a:srgbClr val="AEABAB"/>
              </a:solidFill>
            </c:spPr>
          </c:dPt>
          <c:dPt>
            <c:idx val="1630"/>
            <c:spPr>
              <a:solidFill>
                <a:srgbClr val="AEABAB"/>
              </a:solidFill>
            </c:spPr>
          </c:dPt>
          <c:dPt>
            <c:idx val="1631"/>
            <c:spPr>
              <a:solidFill>
                <a:srgbClr val="AEABAB"/>
              </a:solidFill>
            </c:spPr>
          </c:dPt>
          <c:dPt>
            <c:idx val="1632"/>
            <c:spPr>
              <a:solidFill>
                <a:srgbClr val="AEABAB"/>
              </a:solidFill>
            </c:spPr>
          </c:dPt>
          <c:dPt>
            <c:idx val="1633"/>
            <c:spPr>
              <a:solidFill>
                <a:srgbClr val="AEABAB"/>
              </a:solidFill>
            </c:spPr>
          </c:dPt>
          <c:dPt>
            <c:idx val="1634"/>
            <c:spPr>
              <a:solidFill>
                <a:srgbClr val="AEABAB"/>
              </a:solidFill>
            </c:spPr>
          </c:dPt>
          <c:dPt>
            <c:idx val="1635"/>
            <c:spPr>
              <a:solidFill>
                <a:srgbClr val="AEABAB"/>
              </a:solidFill>
            </c:spPr>
          </c:dPt>
          <c:dPt>
            <c:idx val="1636"/>
            <c:spPr>
              <a:solidFill>
                <a:srgbClr val="AEABAB"/>
              </a:solidFill>
            </c:spPr>
          </c:dPt>
          <c:dPt>
            <c:idx val="1637"/>
            <c:spPr>
              <a:solidFill>
                <a:srgbClr val="AEABAB"/>
              </a:solidFill>
            </c:spPr>
          </c:dPt>
          <c:dPt>
            <c:idx val="1638"/>
            <c:spPr>
              <a:solidFill>
                <a:srgbClr val="AEABAB"/>
              </a:solidFill>
            </c:spPr>
          </c:dPt>
          <c:dPt>
            <c:idx val="1639"/>
            <c:spPr>
              <a:solidFill>
                <a:srgbClr val="AEABAB"/>
              </a:solidFill>
            </c:spPr>
          </c:dPt>
          <c:dPt>
            <c:idx val="1640"/>
            <c:spPr>
              <a:solidFill>
                <a:srgbClr val="AEABAB"/>
              </a:solidFill>
            </c:spPr>
          </c:dPt>
          <c:dPt>
            <c:idx val="1641"/>
            <c:spPr>
              <a:solidFill>
                <a:srgbClr val="AEABAB"/>
              </a:solidFill>
            </c:spPr>
          </c:dPt>
          <c:dPt>
            <c:idx val="1642"/>
            <c:spPr>
              <a:solidFill>
                <a:srgbClr val="AEABAB"/>
              </a:solidFill>
            </c:spPr>
          </c:dPt>
          <c:dPt>
            <c:idx val="1643"/>
            <c:spPr>
              <a:solidFill>
                <a:srgbClr val="AEABAB"/>
              </a:solidFill>
            </c:spPr>
          </c:dPt>
          <c:dPt>
            <c:idx val="1644"/>
            <c:spPr>
              <a:solidFill>
                <a:srgbClr val="AEABAB"/>
              </a:solidFill>
            </c:spPr>
          </c:dPt>
          <c:dPt>
            <c:idx val="1645"/>
            <c:spPr>
              <a:solidFill>
                <a:srgbClr val="AEABAB"/>
              </a:solidFill>
            </c:spPr>
          </c:dPt>
          <c:dPt>
            <c:idx val="1646"/>
            <c:spPr>
              <a:solidFill>
                <a:srgbClr val="AEABAB"/>
              </a:solidFill>
            </c:spPr>
          </c:dPt>
          <c:dPt>
            <c:idx val="1647"/>
            <c:spPr>
              <a:solidFill>
                <a:srgbClr val="AEABAB"/>
              </a:solidFill>
            </c:spPr>
          </c:dPt>
          <c:dPt>
            <c:idx val="1648"/>
            <c:spPr>
              <a:solidFill>
                <a:srgbClr val="AEABAB"/>
              </a:solidFill>
            </c:spPr>
          </c:dPt>
          <c:dPt>
            <c:idx val="1649"/>
            <c:spPr>
              <a:solidFill>
                <a:srgbClr val="AEABAB"/>
              </a:solidFill>
            </c:spPr>
          </c:dPt>
          <c:dPt>
            <c:idx val="1650"/>
            <c:spPr>
              <a:solidFill>
                <a:srgbClr val="AEABAB"/>
              </a:solidFill>
            </c:spPr>
          </c:dPt>
          <c:dPt>
            <c:idx val="1651"/>
            <c:spPr>
              <a:solidFill>
                <a:srgbClr val="AEABAB"/>
              </a:solidFill>
            </c:spPr>
          </c:dPt>
          <c:dPt>
            <c:idx val="1652"/>
            <c:spPr>
              <a:solidFill>
                <a:srgbClr val="AEABAB"/>
              </a:solidFill>
            </c:spPr>
          </c:dPt>
          <c:dPt>
            <c:idx val="1653"/>
            <c:spPr>
              <a:solidFill>
                <a:srgbClr val="AEABAB"/>
              </a:solidFill>
            </c:spPr>
          </c:dPt>
          <c:dPt>
            <c:idx val="1654"/>
            <c:spPr>
              <a:solidFill>
                <a:srgbClr val="AEABAB"/>
              </a:solidFill>
            </c:spPr>
          </c:dPt>
          <c:dPt>
            <c:idx val="1655"/>
            <c:spPr>
              <a:solidFill>
                <a:srgbClr val="AEABAB"/>
              </a:solidFill>
            </c:spPr>
          </c:dPt>
          <c:dPt>
            <c:idx val="1656"/>
            <c:spPr>
              <a:solidFill>
                <a:srgbClr val="AEABAB"/>
              </a:solidFill>
            </c:spPr>
          </c:dPt>
          <c:dPt>
            <c:idx val="1657"/>
            <c:spPr>
              <a:solidFill>
                <a:srgbClr val="AEABAB"/>
              </a:solidFill>
            </c:spPr>
          </c:dPt>
          <c:dPt>
            <c:idx val="1658"/>
            <c:spPr>
              <a:solidFill>
                <a:srgbClr val="AEABAB"/>
              </a:solidFill>
            </c:spPr>
          </c:dPt>
          <c:dPt>
            <c:idx val="1659"/>
            <c:spPr>
              <a:solidFill>
                <a:srgbClr val="AEABAB"/>
              </a:solidFill>
            </c:spPr>
          </c:dPt>
          <c:dPt>
            <c:idx val="1660"/>
            <c:spPr>
              <a:solidFill>
                <a:srgbClr val="AEABAB"/>
              </a:solidFill>
            </c:spPr>
          </c:dPt>
          <c:dPt>
            <c:idx val="1661"/>
            <c:spPr>
              <a:solidFill>
                <a:srgbClr val="AEABAB"/>
              </a:solidFill>
            </c:spPr>
          </c:dPt>
          <c:dPt>
            <c:idx val="1662"/>
            <c:spPr>
              <a:solidFill>
                <a:srgbClr val="AEABAB"/>
              </a:solidFill>
            </c:spPr>
          </c:dPt>
          <c:dPt>
            <c:idx val="1663"/>
            <c:spPr>
              <a:solidFill>
                <a:srgbClr val="AEABAB"/>
              </a:solidFill>
            </c:spPr>
          </c:dPt>
          <c:dPt>
            <c:idx val="1664"/>
            <c:spPr>
              <a:solidFill>
                <a:srgbClr val="AEABAB"/>
              </a:solidFill>
            </c:spPr>
          </c:dPt>
          <c:dPt>
            <c:idx val="1665"/>
            <c:spPr>
              <a:solidFill>
                <a:srgbClr val="AEABAB"/>
              </a:solidFill>
            </c:spPr>
          </c:dPt>
          <c:dPt>
            <c:idx val="1666"/>
            <c:spPr>
              <a:solidFill>
                <a:srgbClr val="AEABAB"/>
              </a:solidFill>
            </c:spPr>
          </c:dPt>
          <c:dPt>
            <c:idx val="1667"/>
            <c:spPr>
              <a:solidFill>
                <a:srgbClr val="AEABAB"/>
              </a:solidFill>
            </c:spPr>
          </c:dPt>
          <c:dPt>
            <c:idx val="1668"/>
            <c:spPr>
              <a:solidFill>
                <a:srgbClr val="AEABAB"/>
              </a:solidFill>
            </c:spPr>
          </c:dPt>
          <c:dPt>
            <c:idx val="1669"/>
            <c:spPr>
              <a:solidFill>
                <a:srgbClr val="AEABAB"/>
              </a:solidFill>
            </c:spPr>
          </c:dPt>
          <c:dPt>
            <c:idx val="1670"/>
            <c:spPr>
              <a:solidFill>
                <a:srgbClr val="AEABAB"/>
              </a:solidFill>
            </c:spPr>
          </c:dPt>
          <c:dPt>
            <c:idx val="1671"/>
            <c:spPr>
              <a:solidFill>
                <a:srgbClr val="AEABAB"/>
              </a:solidFill>
            </c:spPr>
          </c:dPt>
          <c:dPt>
            <c:idx val="1672"/>
            <c:spPr>
              <a:solidFill>
                <a:srgbClr val="AEABAB"/>
              </a:solidFill>
            </c:spPr>
          </c:dPt>
          <c:dPt>
            <c:idx val="1673"/>
            <c:spPr>
              <a:solidFill>
                <a:srgbClr val="AEABAB"/>
              </a:solidFill>
            </c:spPr>
          </c:dPt>
          <c:dPt>
            <c:idx val="1674"/>
            <c:spPr>
              <a:solidFill>
                <a:srgbClr val="AEABAB"/>
              </a:solidFill>
            </c:spPr>
          </c:dPt>
          <c:dPt>
            <c:idx val="1675"/>
            <c:spPr>
              <a:solidFill>
                <a:srgbClr val="AEABAB"/>
              </a:solidFill>
            </c:spPr>
          </c:dPt>
          <c:dPt>
            <c:idx val="1676"/>
            <c:spPr>
              <a:solidFill>
                <a:srgbClr val="AEABAB"/>
              </a:solidFill>
            </c:spPr>
          </c:dPt>
          <c:dPt>
            <c:idx val="1677"/>
            <c:spPr>
              <a:solidFill>
                <a:srgbClr val="AEABAB"/>
              </a:solidFill>
            </c:spPr>
          </c:dPt>
          <c:dPt>
            <c:idx val="1678"/>
            <c:spPr>
              <a:solidFill>
                <a:srgbClr val="AEABAB"/>
              </a:solidFill>
            </c:spPr>
          </c:dPt>
          <c:dPt>
            <c:idx val="1679"/>
            <c:spPr>
              <a:solidFill>
                <a:srgbClr val="AEABAB"/>
              </a:solidFill>
            </c:spPr>
          </c:dPt>
          <c:cat>
            <c:strRef>
              <c:f>Sheet1!$A$2:$A$1681</c:f>
              <c:strCache>
                <c:ptCount val="1680"/>
                <c:pt idx="0">
                  <c:v>Caprice Des</c:v>
                </c:pt>
                <c:pt idx="1">
                  <c:v>Private Lab</c:v>
                </c:pt>
                <c:pt idx="2">
                  <c:v>La Vache Qu</c:v>
                </c:pt>
                <c:pt idx="3">
                  <c:v>Coeur De Li</c:v>
                </c:pt>
                <c:pt idx="4">
                  <c:v>Caprice Des</c:v>
                </c:pt>
                <c:pt idx="5">
                  <c:v>Soignon</c:v>
                </c:pt>
                <c:pt idx="6">
                  <c:v>President</c:v>
                </c:pt>
                <c:pt idx="7">
                  <c:v>Private Lab</c:v>
                </c:pt>
                <c:pt idx="8">
                  <c:v>Mini Babybe</c:v>
                </c:pt>
                <c:pt idx="9">
                  <c:v>Le Rustique</c:v>
                </c:pt>
                <c:pt idx="10">
                  <c:v>Coeur De Li</c:v>
                </c:pt>
                <c:pt idx="11">
                  <c:v>Galbani</c:v>
                </c:pt>
                <c:pt idx="12">
                  <c:v>Mini Babybe</c:v>
                </c:pt>
                <c:pt idx="13">
                  <c:v>Soignon</c:v>
                </c:pt>
                <c:pt idx="14">
                  <c:v>St Moret</c:v>
                </c:pt>
                <c:pt idx="15">
                  <c:v>La Vache Qu</c:v>
                </c:pt>
                <c:pt idx="16">
                  <c:v>La Vache Qu</c:v>
                </c:pt>
                <c:pt idx="17">
                  <c:v>Private Lab</c:v>
                </c:pt>
                <c:pt idx="18">
                  <c:v>Kiri</c:v>
                </c:pt>
                <c:pt idx="19">
                  <c:v>Private Lab</c:v>
                </c:pt>
                <c:pt idx="20">
                  <c:v>President</c:v>
                </c:pt>
                <c:pt idx="21">
                  <c:v>Tartare</c:v>
                </c:pt>
                <c:pt idx="22">
                  <c:v>Salakis</c:v>
                </c:pt>
                <c:pt idx="23">
                  <c:v>St Moret</c:v>
                </c:pt>
                <c:pt idx="24">
                  <c:v>Paysan Bret</c:v>
                </c:pt>
                <c:pt idx="25">
                  <c:v>President</c:v>
                </c:pt>
                <c:pt idx="26">
                  <c:v>Kiri</c:v>
                </c:pt>
                <c:pt idx="27">
                  <c:v>St Moret</c:v>
                </c:pt>
                <c:pt idx="28">
                  <c:v>All Others</c:v>
                </c:pt>
                <c:pt idx="29">
                  <c:v>Private Lab</c:v>
                </c:pt>
                <c:pt idx="30">
                  <c:v>Soignon</c:v>
                </c:pt>
                <c:pt idx="31">
                  <c:v>Ficello</c:v>
                </c:pt>
                <c:pt idx="32">
                  <c:v>Philadelphi</c:v>
                </c:pt>
                <c:pt idx="33">
                  <c:v>Private Lab</c:v>
                </c:pt>
                <c:pt idx="34">
                  <c:v>Kiri</c:v>
                </c:pt>
                <c:pt idx="35">
                  <c:v>Carre Frais</c:v>
                </c:pt>
                <c:pt idx="36">
                  <c:v>Carre Frais</c:v>
                </c:pt>
                <c:pt idx="37">
                  <c:v>Paysan Bret</c:v>
                </c:pt>
                <c:pt idx="38">
                  <c:v>Boursin</c:v>
                </c:pt>
                <c:pt idx="39">
                  <c:v>Petit Billy</c:v>
                </c:pt>
                <c:pt idx="40">
                  <c:v>Boursin</c:v>
                </c:pt>
                <c:pt idx="41">
                  <c:v>Islos</c:v>
                </c:pt>
                <c:pt idx="42">
                  <c:v>Kiri</c:v>
                </c:pt>
                <c:pt idx="43">
                  <c:v>Private Lab</c:v>
                </c:pt>
                <c:pt idx="44">
                  <c:v>Private Lab</c:v>
                </c:pt>
                <c:pt idx="45">
                  <c:v>Lepetit</c:v>
                </c:pt>
                <c:pt idx="46">
                  <c:v>President</c:v>
                </c:pt>
                <c:pt idx="47">
                  <c:v>Private Lab</c:v>
                </c:pt>
                <c:pt idx="48">
                  <c:v>Ficello</c:v>
                </c:pt>
                <c:pt idx="49">
                  <c:v>Philadelphi</c:v>
                </c:pt>
                <c:pt idx="50">
                  <c:v>Istara</c:v>
                </c:pt>
                <c:pt idx="51">
                  <c:v>St Moret</c:v>
                </c:pt>
                <c:pt idx="52">
                  <c:v>Caprice Des</c:v>
                </c:pt>
                <c:pt idx="53">
                  <c:v>Coeur De Li</c:v>
                </c:pt>
                <c:pt idx="54">
                  <c:v>Private Lab</c:v>
                </c:pt>
                <c:pt idx="55">
                  <c:v>All Others</c:v>
                </c:pt>
                <c:pt idx="56">
                  <c:v>St Moret</c:v>
                </c:pt>
                <c:pt idx="57">
                  <c:v>Galbani</c:v>
                </c:pt>
                <c:pt idx="58">
                  <c:v>Lou Perac</c:v>
                </c:pt>
                <c:pt idx="59">
                  <c:v>Salakis</c:v>
                </c:pt>
                <c:pt idx="60">
                  <c:v>Soignon</c:v>
                </c:pt>
                <c:pt idx="61">
                  <c:v>All Others</c:v>
                </c:pt>
                <c:pt idx="62">
                  <c:v>Private Lab</c:v>
                </c:pt>
                <c:pt idx="63">
                  <c:v>Galbani</c:v>
                </c:pt>
                <c:pt idx="64">
                  <c:v>President</c:v>
                </c:pt>
                <c:pt idx="65">
                  <c:v>Casa Azzurr</c:v>
                </c:pt>
                <c:pt idx="66">
                  <c:v>Private Lab</c:v>
                </c:pt>
                <c:pt idx="67">
                  <c:v>Tartare</c:v>
                </c:pt>
                <c:pt idx="68">
                  <c:v>Private Lab</c:v>
                </c:pt>
                <c:pt idx="69">
                  <c:v>Private Lab</c:v>
                </c:pt>
                <c:pt idx="70">
                  <c:v>Soignon</c:v>
                </c:pt>
                <c:pt idx="71">
                  <c:v>Private Lab</c:v>
                </c:pt>
                <c:pt idx="72">
                  <c:v>Tartare</c:v>
                </c:pt>
                <c:pt idx="73">
                  <c:v>President</c:v>
                </c:pt>
                <c:pt idx="74">
                  <c:v>Le Brebiou</c:v>
                </c:pt>
                <c:pt idx="75">
                  <c:v>Private Lab</c:v>
                </c:pt>
                <c:pt idx="76">
                  <c:v>Boursin</c:v>
                </c:pt>
                <c:pt idx="77">
                  <c:v>Private Lab</c:v>
                </c:pt>
                <c:pt idx="78">
                  <c:v>Private Lab</c:v>
                </c:pt>
                <c:pt idx="79">
                  <c:v>Coeur De Li</c:v>
                </c:pt>
                <c:pt idx="80">
                  <c:v>Etorki</c:v>
                </c:pt>
                <c:pt idx="81">
                  <c:v>Casa Azzurr</c:v>
                </c:pt>
                <c:pt idx="82">
                  <c:v>President</c:v>
                </c:pt>
                <c:pt idx="83">
                  <c:v>St Moret</c:v>
                </c:pt>
                <c:pt idx="84">
                  <c:v>St Moret</c:v>
                </c:pt>
                <c:pt idx="85">
                  <c:v>Galbani</c:v>
                </c:pt>
                <c:pt idx="86">
                  <c:v>Boursin</c:v>
                </c:pt>
                <c:pt idx="87">
                  <c:v>President</c:v>
                </c:pt>
                <c:pt idx="88">
                  <c:v>All Others</c:v>
                </c:pt>
                <c:pt idx="89">
                  <c:v>President</c:v>
                </c:pt>
                <c:pt idx="90">
                  <c:v>Paysan Bret</c:v>
                </c:pt>
                <c:pt idx="91">
                  <c:v>St Moret</c:v>
                </c:pt>
                <c:pt idx="92">
                  <c:v>Chavroux</c:v>
                </c:pt>
                <c:pt idx="93">
                  <c:v>Private Lab</c:v>
                </c:pt>
                <c:pt idx="94">
                  <c:v>Kiri</c:v>
                </c:pt>
                <c:pt idx="95">
                  <c:v>Paysan Bret</c:v>
                </c:pt>
                <c:pt idx="96">
                  <c:v>All Others</c:v>
                </c:pt>
                <c:pt idx="97">
                  <c:v>La Vache Qu</c:v>
                </c:pt>
                <c:pt idx="98">
                  <c:v>Casa Azzurr</c:v>
                </c:pt>
                <c:pt idx="99">
                  <c:v>All Others</c:v>
                </c:pt>
                <c:pt idx="100">
                  <c:v>Private Lab</c:v>
                </c:pt>
                <c:pt idx="101">
                  <c:v>St Moret</c:v>
                </c:pt>
                <c:pt idx="102">
                  <c:v>Mini Babybe</c:v>
                </c:pt>
                <c:pt idx="103">
                  <c:v>Private Lab</c:v>
                </c:pt>
                <c:pt idx="104">
                  <c:v>Soignon</c:v>
                </c:pt>
                <c:pt idx="105">
                  <c:v>Private Lab</c:v>
                </c:pt>
                <c:pt idx="106">
                  <c:v>President</c:v>
                </c:pt>
                <c:pt idx="107">
                  <c:v>Private Lab</c:v>
                </c:pt>
                <c:pt idx="108">
                  <c:v>La Vache Qu</c:v>
                </c:pt>
                <c:pt idx="109">
                  <c:v>Le Rustique</c:v>
                </c:pt>
                <c:pt idx="110">
                  <c:v>Mini Babybe</c:v>
                </c:pt>
                <c:pt idx="111">
                  <c:v>Istara</c:v>
                </c:pt>
                <c:pt idx="112">
                  <c:v>Private Lab</c:v>
                </c:pt>
                <c:pt idx="113">
                  <c:v>Salakis</c:v>
                </c:pt>
                <c:pt idx="114">
                  <c:v>Private Lab</c:v>
                </c:pt>
                <c:pt idx="115">
                  <c:v>Casa Azzurr</c:v>
                </c:pt>
                <c:pt idx="116">
                  <c:v>Private Lab</c:v>
                </c:pt>
                <c:pt idx="117">
                  <c:v>Private Lab</c:v>
                </c:pt>
                <c:pt idx="118">
                  <c:v>Private Lab</c:v>
                </c:pt>
                <c:pt idx="119">
                  <c:v>La Vache Qu</c:v>
                </c:pt>
                <c:pt idx="120">
                  <c:v>Coeur De Li</c:v>
                </c:pt>
                <c:pt idx="121">
                  <c:v>Casa Azzurr</c:v>
                </c:pt>
                <c:pt idx="122">
                  <c:v>Lactalis: A</c:v>
                </c:pt>
                <c:pt idx="123">
                  <c:v>Lactalis: A</c:v>
                </c:pt>
                <c:pt idx="124">
                  <c:v>All Others</c:v>
                </c:pt>
                <c:pt idx="125">
                  <c:v>Caprice Des</c:v>
                </c:pt>
                <c:pt idx="126">
                  <c:v>Casa Azzurr</c:v>
                </c:pt>
                <c:pt idx="127">
                  <c:v>Lactalis: A</c:v>
                </c:pt>
                <c:pt idx="128">
                  <c:v>Private Lab</c:v>
                </c:pt>
                <c:pt idx="129">
                  <c:v>Soignon</c:v>
                </c:pt>
                <c:pt idx="130">
                  <c:v>President</c:v>
                </c:pt>
                <c:pt idx="131">
                  <c:v>Private Lab</c:v>
                </c:pt>
                <c:pt idx="132">
                  <c:v>Kiri</c:v>
                </c:pt>
                <c:pt idx="133">
                  <c:v>Le Rustique</c:v>
                </c:pt>
                <c:pt idx="134">
                  <c:v>Salakis</c:v>
                </c:pt>
                <c:pt idx="135">
                  <c:v>Lou Perac</c:v>
                </c:pt>
                <c:pt idx="136">
                  <c:v>Casa Azzurr</c:v>
                </c:pt>
                <c:pt idx="137">
                  <c:v>All Others</c:v>
                </c:pt>
                <c:pt idx="138">
                  <c:v>Tartare</c:v>
                </c:pt>
                <c:pt idx="139">
                  <c:v>Le Rustique</c:v>
                </c:pt>
                <c:pt idx="140">
                  <c:v>Private Lab</c:v>
                </c:pt>
                <c:pt idx="141">
                  <c:v>President</c:v>
                </c:pt>
                <c:pt idx="142">
                  <c:v>Paysan Bret</c:v>
                </c:pt>
                <c:pt idx="143">
                  <c:v>P'Tit Louis</c:v>
                </c:pt>
                <c:pt idx="144">
                  <c:v>All Others</c:v>
                </c:pt>
                <c:pt idx="145">
                  <c:v>Galbani</c:v>
                </c:pt>
                <c:pt idx="146">
                  <c:v>Carre Frais</c:v>
                </c:pt>
                <c:pt idx="147">
                  <c:v>Philadelphi</c:v>
                </c:pt>
                <c:pt idx="148">
                  <c:v>Private Lab</c:v>
                </c:pt>
                <c:pt idx="149">
                  <c:v>Mini Babybe</c:v>
                </c:pt>
                <c:pt idx="150">
                  <c:v>Private Lab</c:v>
                </c:pt>
                <c:pt idx="151">
                  <c:v>Chavroux</c:v>
                </c:pt>
                <c:pt idx="152">
                  <c:v>Paysan Bret</c:v>
                </c:pt>
                <c:pt idx="153">
                  <c:v>Boursin</c:v>
                </c:pt>
                <c:pt idx="154">
                  <c:v>All Others</c:v>
                </c:pt>
                <c:pt idx="155">
                  <c:v>Soignon</c:v>
                </c:pt>
                <c:pt idx="156">
                  <c:v>Rondele</c:v>
                </c:pt>
                <c:pt idx="157">
                  <c:v>Private Lab</c:v>
                </c:pt>
                <c:pt idx="158">
                  <c:v>Private Lab</c:v>
                </c:pt>
                <c:pt idx="159">
                  <c:v>All Others</c:v>
                </c:pt>
                <c:pt idx="160">
                  <c:v>Private Lab</c:v>
                </c:pt>
                <c:pt idx="161">
                  <c:v>Private Lab</c:v>
                </c:pt>
                <c:pt idx="162">
                  <c:v>All Others</c:v>
                </c:pt>
                <c:pt idx="163">
                  <c:v>Salakis</c:v>
                </c:pt>
                <c:pt idx="164">
                  <c:v>Private Lab</c:v>
                </c:pt>
                <c:pt idx="165">
                  <c:v>All Others</c:v>
                </c:pt>
                <c:pt idx="166">
                  <c:v>Savencia: A</c:v>
                </c:pt>
                <c:pt idx="167">
                  <c:v>Soignon</c:v>
                </c:pt>
                <c:pt idx="168">
                  <c:v>Lactalis: A</c:v>
                </c:pt>
                <c:pt idx="169">
                  <c:v>All Others</c:v>
                </c:pt>
                <c:pt idx="170">
                  <c:v>Mini Babybe</c:v>
                </c:pt>
                <c:pt idx="171">
                  <c:v>Soignon</c:v>
                </c:pt>
                <c:pt idx="172">
                  <c:v>All Others</c:v>
                </c:pt>
                <c:pt idx="173">
                  <c:v>All Others</c:v>
                </c:pt>
                <c:pt idx="174">
                  <c:v>Salakis</c:v>
                </c:pt>
                <c:pt idx="175">
                  <c:v>All Others</c:v>
                </c:pt>
                <c:pt idx="176">
                  <c:v>All Others</c:v>
                </c:pt>
                <c:pt idx="177">
                  <c:v>All Others</c:v>
                </c:pt>
                <c:pt idx="178">
                  <c:v>Galbani</c:v>
                </c:pt>
                <c:pt idx="179">
                  <c:v>Paysan Bret</c:v>
                </c:pt>
                <c:pt idx="180">
                  <c:v>All Others</c:v>
                </c:pt>
                <c:pt idx="181">
                  <c:v>Private Lab</c:v>
                </c:pt>
                <c:pt idx="182">
                  <c:v>All Others</c:v>
                </c:pt>
                <c:pt idx="183">
                  <c:v>Galbani</c:v>
                </c:pt>
                <c:pt idx="184">
                  <c:v>Caprice Des</c:v>
                </c:pt>
                <c:pt idx="185">
                  <c:v>Private Lab</c:v>
                </c:pt>
                <c:pt idx="186">
                  <c:v>All Others</c:v>
                </c:pt>
                <c:pt idx="187">
                  <c:v>Laita: All </c:v>
                </c:pt>
                <c:pt idx="188">
                  <c:v>Kiri</c:v>
                </c:pt>
                <c:pt idx="189">
                  <c:v>Casa Azzurr</c:v>
                </c:pt>
                <c:pt idx="190">
                  <c:v>All Others</c:v>
                </c:pt>
                <c:pt idx="191">
                  <c:v>All Others</c:v>
                </c:pt>
                <c:pt idx="192">
                  <c:v>President</c:v>
                </c:pt>
                <c:pt idx="193">
                  <c:v>Chavroux</c:v>
                </c:pt>
                <c:pt idx="194">
                  <c:v>Galbani</c:v>
                </c:pt>
                <c:pt idx="195">
                  <c:v>Soignon</c:v>
                </c:pt>
                <c:pt idx="196">
                  <c:v>Boursin</c:v>
                </c:pt>
                <c:pt idx="197">
                  <c:v>All Others</c:v>
                </c:pt>
                <c:pt idx="198">
                  <c:v>Private Lab</c:v>
                </c:pt>
                <c:pt idx="199">
                  <c:v>Private Lab</c:v>
                </c:pt>
                <c:pt idx="200">
                  <c:v>All Others</c:v>
                </c:pt>
                <c:pt idx="201">
                  <c:v>All Others</c:v>
                </c:pt>
                <c:pt idx="202">
                  <c:v>Private Lab</c:v>
                </c:pt>
                <c:pt idx="203">
                  <c:v>Casa Azzurr</c:v>
                </c:pt>
                <c:pt idx="204">
                  <c:v>All Others</c:v>
                </c:pt>
                <c:pt idx="205">
                  <c:v>Soignon</c:v>
                </c:pt>
                <c:pt idx="206">
                  <c:v>Private Lab</c:v>
                </c:pt>
                <c:pt idx="207">
                  <c:v>Boursin</c:v>
                </c:pt>
                <c:pt idx="208">
                  <c:v>Soignon</c:v>
                </c:pt>
                <c:pt idx="209">
                  <c:v>Casa Azzurr</c:v>
                </c:pt>
                <c:pt idx="210">
                  <c:v>Private Lab</c:v>
                </c:pt>
                <c:pt idx="211">
                  <c:v>Caprice Des</c:v>
                </c:pt>
                <c:pt idx="212">
                  <c:v>Ficello</c:v>
                </c:pt>
                <c:pt idx="213">
                  <c:v>Pave D'Affi</c:v>
                </c:pt>
                <c:pt idx="214">
                  <c:v>Casa Azzurr</c:v>
                </c:pt>
                <c:pt idx="215">
                  <c:v>Mini Babybe</c:v>
                </c:pt>
                <c:pt idx="216">
                  <c:v>Lou Perac</c:v>
                </c:pt>
                <c:pt idx="217">
                  <c:v>Private Lab</c:v>
                </c:pt>
                <c:pt idx="218">
                  <c:v>Coeur De Li</c:v>
                </c:pt>
                <c:pt idx="219">
                  <c:v>Lou Perac</c:v>
                </c:pt>
                <c:pt idx="220">
                  <c:v>All Others</c:v>
                </c:pt>
                <c:pt idx="221">
                  <c:v>All Others</c:v>
                </c:pt>
                <c:pt idx="222">
                  <c:v>All Others</c:v>
                </c:pt>
                <c:pt idx="223">
                  <c:v>Paysan Bret</c:v>
                </c:pt>
                <c:pt idx="224">
                  <c:v>P'Tit Louis</c:v>
                </c:pt>
                <c:pt idx="225">
                  <c:v>Galbani</c:v>
                </c:pt>
                <c:pt idx="226">
                  <c:v>All Others</c:v>
                </c:pt>
                <c:pt idx="227">
                  <c:v>All Others</c:v>
                </c:pt>
                <c:pt idx="228">
                  <c:v>Private Lab</c:v>
                </c:pt>
                <c:pt idx="229">
                  <c:v>All Others</c:v>
                </c:pt>
                <c:pt idx="230">
                  <c:v>Private Lab</c:v>
                </c:pt>
                <c:pt idx="231">
                  <c:v>All Others</c:v>
                </c:pt>
                <c:pt idx="232">
                  <c:v>Kiri</c:v>
                </c:pt>
                <c:pt idx="233">
                  <c:v>All Others</c:v>
                </c:pt>
                <c:pt idx="234">
                  <c:v>Mini Babybe</c:v>
                </c:pt>
                <c:pt idx="235">
                  <c:v>Tartare</c:v>
                </c:pt>
                <c:pt idx="236">
                  <c:v>All Others</c:v>
                </c:pt>
                <c:pt idx="237">
                  <c:v>All Others</c:v>
                </c:pt>
                <c:pt idx="238">
                  <c:v>All Others</c:v>
                </c:pt>
                <c:pt idx="239">
                  <c:v>Private Lab</c:v>
                </c:pt>
                <c:pt idx="240">
                  <c:v>Paysan Bret</c:v>
                </c:pt>
                <c:pt idx="241">
                  <c:v>Boursin</c:v>
                </c:pt>
                <c:pt idx="242">
                  <c:v>La Vache Qu</c:v>
                </c:pt>
                <c:pt idx="243">
                  <c:v>Boursin</c:v>
                </c:pt>
                <c:pt idx="244">
                  <c:v>St Moret</c:v>
                </c:pt>
                <c:pt idx="245">
                  <c:v>P'Tit Louis</c:v>
                </c:pt>
                <c:pt idx="246">
                  <c:v>Private Lab</c:v>
                </c:pt>
                <c:pt idx="247">
                  <c:v>All Others</c:v>
                </c:pt>
                <c:pt idx="248">
                  <c:v>All Others</c:v>
                </c:pt>
                <c:pt idx="249">
                  <c:v>Savencia: A</c:v>
                </c:pt>
                <c:pt idx="250">
                  <c:v>Triballat N</c:v>
                </c:pt>
                <c:pt idx="251">
                  <c:v>All Others</c:v>
                </c:pt>
                <c:pt idx="252">
                  <c:v>All Others</c:v>
                </c:pt>
                <c:pt idx="253">
                  <c:v>Galbani</c:v>
                </c:pt>
                <c:pt idx="254">
                  <c:v>Etorki</c:v>
                </c:pt>
                <c:pt idx="255">
                  <c:v>All Others</c:v>
                </c:pt>
                <c:pt idx="256">
                  <c:v>Galbani</c:v>
                </c:pt>
                <c:pt idx="257">
                  <c:v>Kiri</c:v>
                </c:pt>
                <c:pt idx="258">
                  <c:v>All Others</c:v>
                </c:pt>
                <c:pt idx="259">
                  <c:v>Tartare</c:v>
                </c:pt>
                <c:pt idx="260">
                  <c:v>Caprice Des</c:v>
                </c:pt>
                <c:pt idx="261">
                  <c:v>All Others</c:v>
                </c:pt>
                <c:pt idx="262">
                  <c:v>Savencia: A</c:v>
                </c:pt>
                <c:pt idx="263">
                  <c:v>All Others</c:v>
                </c:pt>
                <c:pt idx="264">
                  <c:v>All Others</c:v>
                </c:pt>
                <c:pt idx="265">
                  <c:v>Private Lab</c:v>
                </c:pt>
                <c:pt idx="266">
                  <c:v>All Others</c:v>
                </c:pt>
                <c:pt idx="267">
                  <c:v>La Vache Qu</c:v>
                </c:pt>
                <c:pt idx="268">
                  <c:v>Private Lab</c:v>
                </c:pt>
                <c:pt idx="269">
                  <c:v>Caprice Des</c:v>
                </c:pt>
                <c:pt idx="270">
                  <c:v>Etoile Du Q</c:v>
                </c:pt>
                <c:pt idx="271">
                  <c:v>Private Lab</c:v>
                </c:pt>
                <c:pt idx="272">
                  <c:v>Salakis</c:v>
                </c:pt>
                <c:pt idx="273">
                  <c:v>Casa Azzurr</c:v>
                </c:pt>
                <c:pt idx="274">
                  <c:v>All Others</c:v>
                </c:pt>
                <c:pt idx="275">
                  <c:v>All Others</c:v>
                </c:pt>
                <c:pt idx="276">
                  <c:v>All Others</c:v>
                </c:pt>
                <c:pt idx="277">
                  <c:v>All Others</c:v>
                </c:pt>
                <c:pt idx="278">
                  <c:v>All Others</c:v>
                </c:pt>
                <c:pt idx="279">
                  <c:v>Lactalis: A</c:v>
                </c:pt>
                <c:pt idx="280">
                  <c:v>Boursin</c:v>
                </c:pt>
                <c:pt idx="281">
                  <c:v>All Others</c:v>
                </c:pt>
                <c:pt idx="282">
                  <c:v>All Others</c:v>
                </c:pt>
                <c:pt idx="283">
                  <c:v>All Others</c:v>
                </c:pt>
                <c:pt idx="284">
                  <c:v>Ficello</c:v>
                </c:pt>
                <c:pt idx="285">
                  <c:v>Philadelphi</c:v>
                </c:pt>
                <c:pt idx="286">
                  <c:v>All Others</c:v>
                </c:pt>
                <c:pt idx="287">
                  <c:v>All Others</c:v>
                </c:pt>
                <c:pt idx="288">
                  <c:v>Private Lab</c:v>
                </c:pt>
                <c:pt idx="289">
                  <c:v>All Others</c:v>
                </c:pt>
                <c:pt idx="290">
                  <c:v>Galbani</c:v>
                </c:pt>
                <c:pt idx="291">
                  <c:v>All Others</c:v>
                </c:pt>
                <c:pt idx="292">
                  <c:v>Corsica</c:v>
                </c:pt>
                <c:pt idx="293">
                  <c:v>All Others</c:v>
                </c:pt>
                <c:pt idx="294">
                  <c:v>Kiri</c:v>
                </c:pt>
                <c:pt idx="295">
                  <c:v>Tartare</c:v>
                </c:pt>
                <c:pt idx="296">
                  <c:v>Rondele</c:v>
                </c:pt>
                <c:pt idx="297">
                  <c:v>All Others</c:v>
                </c:pt>
                <c:pt idx="298">
                  <c:v>President</c:v>
                </c:pt>
                <c:pt idx="299">
                  <c:v>Casa Azzurr</c:v>
                </c:pt>
                <c:pt idx="300">
                  <c:v>All Others</c:v>
                </c:pt>
                <c:pt idx="301">
                  <c:v>Corsica</c:v>
                </c:pt>
                <c:pt idx="302">
                  <c:v>Private Lab</c:v>
                </c:pt>
                <c:pt idx="303">
                  <c:v>All Others</c:v>
                </c:pt>
                <c:pt idx="304">
                  <c:v>Mini Babybe</c:v>
                </c:pt>
                <c:pt idx="305">
                  <c:v>All Others</c:v>
                </c:pt>
                <c:pt idx="306">
                  <c:v>Istara</c:v>
                </c:pt>
                <c:pt idx="307">
                  <c:v>Etoile Du V</c:v>
                </c:pt>
                <c:pt idx="308">
                  <c:v>All Others</c:v>
                </c:pt>
                <c:pt idx="309">
                  <c:v>All Others</c:v>
                </c:pt>
                <c:pt idx="310">
                  <c:v>All Others</c:v>
                </c:pt>
                <c:pt idx="311">
                  <c:v>Private Lab</c:v>
                </c:pt>
                <c:pt idx="312">
                  <c:v>Private Lab</c:v>
                </c:pt>
                <c:pt idx="313">
                  <c:v>Lactalis: A</c:v>
                </c:pt>
                <c:pt idx="314">
                  <c:v>Rondele</c:v>
                </c:pt>
                <c:pt idx="315">
                  <c:v>All Others</c:v>
                </c:pt>
                <c:pt idx="316">
                  <c:v>Saint Agur</c:v>
                </c:pt>
                <c:pt idx="317">
                  <c:v>Lou Perac</c:v>
                </c:pt>
                <c:pt idx="318">
                  <c:v>All Others</c:v>
                </c:pt>
                <c:pt idx="319">
                  <c:v>Lactalis: A</c:v>
                </c:pt>
                <c:pt idx="320">
                  <c:v>President</c:v>
                </c:pt>
                <c:pt idx="321">
                  <c:v>Casa Azzurr</c:v>
                </c:pt>
                <c:pt idx="322">
                  <c:v>All Others</c:v>
                </c:pt>
                <c:pt idx="323">
                  <c:v>All Others</c:v>
                </c:pt>
                <c:pt idx="324">
                  <c:v>Private Lab</c:v>
                </c:pt>
                <c:pt idx="325">
                  <c:v>Casa Azzurr</c:v>
                </c:pt>
                <c:pt idx="326">
                  <c:v>All Others</c:v>
                </c:pt>
                <c:pt idx="327">
                  <c:v>Eurial Autr</c:v>
                </c:pt>
                <c:pt idx="328">
                  <c:v>All Others</c:v>
                </c:pt>
                <c:pt idx="329">
                  <c:v>All Others</c:v>
                </c:pt>
                <c:pt idx="330">
                  <c:v>All Others</c:v>
                </c:pt>
                <c:pt idx="331">
                  <c:v>Galbani</c:v>
                </c:pt>
                <c:pt idx="332">
                  <c:v>President</c:v>
                </c:pt>
                <c:pt idx="333">
                  <c:v>Triballat R</c:v>
                </c:pt>
                <c:pt idx="334">
                  <c:v>Islos</c:v>
                </c:pt>
                <c:pt idx="335">
                  <c:v>All Others</c:v>
                </c:pt>
                <c:pt idx="336">
                  <c:v>Private Lab</c:v>
                </c:pt>
                <c:pt idx="337">
                  <c:v>All Others</c:v>
                </c:pt>
                <c:pt idx="338">
                  <c:v>Savencia: A</c:v>
                </c:pt>
                <c:pt idx="339">
                  <c:v>All Others</c:v>
                </c:pt>
                <c:pt idx="340">
                  <c:v>All Others</c:v>
                </c:pt>
                <c:pt idx="341">
                  <c:v>All Others</c:v>
                </c:pt>
                <c:pt idx="342">
                  <c:v>All Others</c:v>
                </c:pt>
                <c:pt idx="343">
                  <c:v>All Others</c:v>
                </c:pt>
                <c:pt idx="344">
                  <c:v>All Others</c:v>
                </c:pt>
                <c:pt idx="345">
                  <c:v>All Others</c:v>
                </c:pt>
                <c:pt idx="346">
                  <c:v>Private Lab</c:v>
                </c:pt>
                <c:pt idx="347">
                  <c:v>All Others</c:v>
                </c:pt>
                <c:pt idx="348">
                  <c:v>Private Lab</c:v>
                </c:pt>
                <c:pt idx="349">
                  <c:v>All Others</c:v>
                </c:pt>
                <c:pt idx="350">
                  <c:v>All Others</c:v>
                </c:pt>
                <c:pt idx="351">
                  <c:v>Soignon</c:v>
                </c:pt>
                <c:pt idx="352">
                  <c:v>Milleret: A</c:v>
                </c:pt>
                <c:pt idx="353">
                  <c:v>Private Lab</c:v>
                </c:pt>
                <c:pt idx="354">
                  <c:v>All Others</c:v>
                </c:pt>
                <c:pt idx="355">
                  <c:v>All Others</c:v>
                </c:pt>
                <c:pt idx="356">
                  <c:v>All Others</c:v>
                </c:pt>
                <c:pt idx="357">
                  <c:v>All Others</c:v>
                </c:pt>
                <c:pt idx="358">
                  <c:v>All Others</c:v>
                </c:pt>
                <c:pt idx="359">
                  <c:v>All Others</c:v>
                </c:pt>
                <c:pt idx="360">
                  <c:v>Private Lab</c:v>
                </c:pt>
                <c:pt idx="361">
                  <c:v>All Others</c:v>
                </c:pt>
                <c:pt idx="362">
                  <c:v>Le Brebiou</c:v>
                </c:pt>
                <c:pt idx="363">
                  <c:v>All Others</c:v>
                </c:pt>
                <c:pt idx="364">
                  <c:v>Triballat N</c:v>
                </c:pt>
                <c:pt idx="365">
                  <c:v>Islos</c:v>
                </c:pt>
                <c:pt idx="366">
                  <c:v>Private Lab</c:v>
                </c:pt>
                <c:pt idx="367">
                  <c:v>Salakis</c:v>
                </c:pt>
                <c:pt idx="368">
                  <c:v>All Others</c:v>
                </c:pt>
                <c:pt idx="369">
                  <c:v>Private Lab</c:v>
                </c:pt>
                <c:pt idx="370">
                  <c:v>Private Lab</c:v>
                </c:pt>
                <c:pt idx="371">
                  <c:v>Boursin</c:v>
                </c:pt>
                <c:pt idx="372">
                  <c:v>All Others</c:v>
                </c:pt>
                <c:pt idx="373">
                  <c:v>Lactalis: A</c:v>
                </c:pt>
                <c:pt idx="374">
                  <c:v>All Others</c:v>
                </c:pt>
                <c:pt idx="375">
                  <c:v>Private Lab</c:v>
                </c:pt>
                <c:pt idx="376">
                  <c:v>All Others</c:v>
                </c:pt>
                <c:pt idx="377">
                  <c:v>All Others</c:v>
                </c:pt>
                <c:pt idx="378">
                  <c:v>Private Lab</c:v>
                </c:pt>
                <c:pt idx="379">
                  <c:v>Private Lab</c:v>
                </c:pt>
                <c:pt idx="380">
                  <c:v>All Others</c:v>
                </c:pt>
                <c:pt idx="381">
                  <c:v>Mini Babybe</c:v>
                </c:pt>
                <c:pt idx="382">
                  <c:v>All Others</c:v>
                </c:pt>
                <c:pt idx="383">
                  <c:v>All Others</c:v>
                </c:pt>
                <c:pt idx="384">
                  <c:v>La Vache Qu</c:v>
                </c:pt>
                <c:pt idx="385">
                  <c:v>All Others</c:v>
                </c:pt>
                <c:pt idx="386">
                  <c:v>Private Lab</c:v>
                </c:pt>
                <c:pt idx="387">
                  <c:v>Private Lab</c:v>
                </c:pt>
                <c:pt idx="388">
                  <c:v>Mini Babybe</c:v>
                </c:pt>
                <c:pt idx="389">
                  <c:v>Private Lab</c:v>
                </c:pt>
                <c:pt idx="390">
                  <c:v>All Others</c:v>
                </c:pt>
                <c:pt idx="391">
                  <c:v>All Others</c:v>
                </c:pt>
                <c:pt idx="392">
                  <c:v>Private Lab</c:v>
                </c:pt>
                <c:pt idx="393">
                  <c:v>All Others</c:v>
                </c:pt>
                <c:pt idx="394">
                  <c:v>All Others</c:v>
                </c:pt>
                <c:pt idx="395">
                  <c:v>All Others</c:v>
                </c:pt>
                <c:pt idx="396">
                  <c:v>Private Lab</c:v>
                </c:pt>
                <c:pt idx="397">
                  <c:v>Boursin</c:v>
                </c:pt>
                <c:pt idx="398">
                  <c:v>All Others</c:v>
                </c:pt>
                <c:pt idx="399">
                  <c:v>Ficello</c:v>
                </c:pt>
                <c:pt idx="400">
                  <c:v>Lactalis: A</c:v>
                </c:pt>
                <c:pt idx="401">
                  <c:v>Paysan Bret</c:v>
                </c:pt>
                <c:pt idx="402">
                  <c:v>Private Lab</c:v>
                </c:pt>
                <c:pt idx="403">
                  <c:v>All Others</c:v>
                </c:pt>
                <c:pt idx="404">
                  <c:v>All Others</c:v>
                </c:pt>
                <c:pt idx="405">
                  <c:v>All Others</c:v>
                </c:pt>
                <c:pt idx="406">
                  <c:v>St Moret</c:v>
                </c:pt>
                <c:pt idx="407">
                  <c:v>President</c:v>
                </c:pt>
                <c:pt idx="408">
                  <c:v>All Others</c:v>
                </c:pt>
                <c:pt idx="409">
                  <c:v>All Others</c:v>
                </c:pt>
                <c:pt idx="410">
                  <c:v>Etoile Du Q</c:v>
                </c:pt>
                <c:pt idx="411">
                  <c:v>St Moret</c:v>
                </c:pt>
                <c:pt idx="412">
                  <c:v>Boursin</c:v>
                </c:pt>
                <c:pt idx="413">
                  <c:v>Etoile Du Q</c:v>
                </c:pt>
                <c:pt idx="414">
                  <c:v>Boursin</c:v>
                </c:pt>
                <c:pt idx="415">
                  <c:v>Saint Agur</c:v>
                </c:pt>
                <c:pt idx="416">
                  <c:v>All Others</c:v>
                </c:pt>
                <c:pt idx="417">
                  <c:v>Savencia: A</c:v>
                </c:pt>
                <c:pt idx="418">
                  <c:v>All Others</c:v>
                </c:pt>
                <c:pt idx="419">
                  <c:v>Savencia: A</c:v>
                </c:pt>
                <c:pt idx="420">
                  <c:v>All Others</c:v>
                </c:pt>
                <c:pt idx="421">
                  <c:v>All Others</c:v>
                </c:pt>
                <c:pt idx="422">
                  <c:v>All Others</c:v>
                </c:pt>
                <c:pt idx="423">
                  <c:v>All Others</c:v>
                </c:pt>
                <c:pt idx="424">
                  <c:v>Boursin</c:v>
                </c:pt>
                <c:pt idx="425">
                  <c:v>Salakis</c:v>
                </c:pt>
                <c:pt idx="426">
                  <c:v>All Others</c:v>
                </c:pt>
                <c:pt idx="427">
                  <c:v>All Others</c:v>
                </c:pt>
                <c:pt idx="428">
                  <c:v>All Others</c:v>
                </c:pt>
                <c:pt idx="429">
                  <c:v>All Others</c:v>
                </c:pt>
                <c:pt idx="430">
                  <c:v>All Others</c:v>
                </c:pt>
                <c:pt idx="431">
                  <c:v>Triballat R</c:v>
                </c:pt>
                <c:pt idx="432">
                  <c:v>Paysan Bret</c:v>
                </c:pt>
                <c:pt idx="433">
                  <c:v>Private Lab</c:v>
                </c:pt>
                <c:pt idx="434">
                  <c:v>All Others</c:v>
                </c:pt>
                <c:pt idx="435">
                  <c:v>All Others</c:v>
                </c:pt>
                <c:pt idx="436">
                  <c:v>All Others</c:v>
                </c:pt>
                <c:pt idx="437">
                  <c:v>All Others</c:v>
                </c:pt>
                <c:pt idx="438">
                  <c:v>All Others</c:v>
                </c:pt>
                <c:pt idx="439">
                  <c:v>All Others</c:v>
                </c:pt>
                <c:pt idx="440">
                  <c:v>All Others</c:v>
                </c:pt>
                <c:pt idx="441">
                  <c:v>Milleret: A</c:v>
                </c:pt>
                <c:pt idx="442">
                  <c:v>Tartare</c:v>
                </c:pt>
                <c:pt idx="443">
                  <c:v>Private Lab</c:v>
                </c:pt>
                <c:pt idx="444">
                  <c:v>Triballat R</c:v>
                </c:pt>
                <c:pt idx="445">
                  <c:v>All Others</c:v>
                </c:pt>
                <c:pt idx="446">
                  <c:v>All Others</c:v>
                </c:pt>
                <c:pt idx="447">
                  <c:v>All Others</c:v>
                </c:pt>
                <c:pt idx="448">
                  <c:v>All Others</c:v>
                </c:pt>
                <c:pt idx="449">
                  <c:v>Etorki</c:v>
                </c:pt>
                <c:pt idx="450">
                  <c:v>All Others</c:v>
                </c:pt>
                <c:pt idx="451">
                  <c:v>Paysan Bret</c:v>
                </c:pt>
                <c:pt idx="452">
                  <c:v>Triballat R</c:v>
                </c:pt>
                <c:pt idx="453">
                  <c:v>All Others</c:v>
                </c:pt>
                <c:pt idx="454">
                  <c:v>All Others</c:v>
                </c:pt>
                <c:pt idx="455">
                  <c:v>All Others</c:v>
                </c:pt>
                <c:pt idx="456">
                  <c:v>All Others</c:v>
                </c:pt>
                <c:pt idx="457">
                  <c:v>Private Lab</c:v>
                </c:pt>
                <c:pt idx="458">
                  <c:v>All Others</c:v>
                </c:pt>
                <c:pt idx="459">
                  <c:v>Boursin</c:v>
                </c:pt>
                <c:pt idx="460">
                  <c:v>All Others</c:v>
                </c:pt>
                <c:pt idx="461">
                  <c:v>Lactalis: A</c:v>
                </c:pt>
                <c:pt idx="462">
                  <c:v>Private Lab</c:v>
                </c:pt>
                <c:pt idx="463">
                  <c:v>All Others</c:v>
                </c:pt>
                <c:pt idx="464">
                  <c:v>All Others</c:v>
                </c:pt>
                <c:pt idx="465">
                  <c:v>All Others</c:v>
                </c:pt>
                <c:pt idx="466">
                  <c:v>All Others</c:v>
                </c:pt>
                <c:pt idx="467">
                  <c:v>All Others</c:v>
                </c:pt>
                <c:pt idx="468">
                  <c:v>Private Lab</c:v>
                </c:pt>
                <c:pt idx="469">
                  <c:v>All Others</c:v>
                </c:pt>
                <c:pt idx="470">
                  <c:v>All Others</c:v>
                </c:pt>
                <c:pt idx="471">
                  <c:v>All Others</c:v>
                </c:pt>
                <c:pt idx="472">
                  <c:v>Lactalis: A</c:v>
                </c:pt>
                <c:pt idx="473">
                  <c:v>All Others</c:v>
                </c:pt>
                <c:pt idx="474">
                  <c:v>All Others</c:v>
                </c:pt>
                <c:pt idx="475">
                  <c:v>All Others</c:v>
                </c:pt>
                <c:pt idx="476">
                  <c:v>Petit Billy</c:v>
                </c:pt>
                <c:pt idx="477">
                  <c:v>Private Lab</c:v>
                </c:pt>
                <c:pt idx="478">
                  <c:v>Boursin</c:v>
                </c:pt>
                <c:pt idx="479">
                  <c:v>All Others</c:v>
                </c:pt>
                <c:pt idx="480">
                  <c:v>Mini Babybe</c:v>
                </c:pt>
                <c:pt idx="481">
                  <c:v>All Others</c:v>
                </c:pt>
                <c:pt idx="482">
                  <c:v>All Others</c:v>
                </c:pt>
                <c:pt idx="483">
                  <c:v>Chavroux</c:v>
                </c:pt>
                <c:pt idx="484">
                  <c:v>All Others</c:v>
                </c:pt>
                <c:pt idx="485">
                  <c:v>All Others</c:v>
                </c:pt>
                <c:pt idx="486">
                  <c:v>Etoile Du V</c:v>
                </c:pt>
                <c:pt idx="487">
                  <c:v>All Others</c:v>
                </c:pt>
                <c:pt idx="488">
                  <c:v>Private Lab</c:v>
                </c:pt>
                <c:pt idx="489">
                  <c:v>Private Lab</c:v>
                </c:pt>
                <c:pt idx="490">
                  <c:v>All Others</c:v>
                </c:pt>
                <c:pt idx="491">
                  <c:v>All Others</c:v>
                </c:pt>
                <c:pt idx="492">
                  <c:v>Eurial Autr</c:v>
                </c:pt>
                <c:pt idx="493">
                  <c:v>All Others</c:v>
                </c:pt>
                <c:pt idx="494">
                  <c:v>All Others</c:v>
                </c:pt>
                <c:pt idx="495">
                  <c:v>All Others</c:v>
                </c:pt>
                <c:pt idx="496">
                  <c:v>All Others</c:v>
                </c:pt>
                <c:pt idx="497">
                  <c:v>All Others</c:v>
                </c:pt>
                <c:pt idx="498">
                  <c:v>All Others</c:v>
                </c:pt>
                <c:pt idx="499">
                  <c:v>All Others</c:v>
                </c:pt>
                <c:pt idx="500">
                  <c:v>Savencia: A</c:v>
                </c:pt>
                <c:pt idx="501">
                  <c:v>All Others</c:v>
                </c:pt>
                <c:pt idx="502">
                  <c:v>All Others</c:v>
                </c:pt>
                <c:pt idx="503">
                  <c:v>All Others</c:v>
                </c:pt>
                <c:pt idx="504">
                  <c:v>All Others</c:v>
                </c:pt>
                <c:pt idx="505">
                  <c:v>All Others</c:v>
                </c:pt>
                <c:pt idx="506">
                  <c:v>Etoile Du V</c:v>
                </c:pt>
                <c:pt idx="507">
                  <c:v>Private Lab</c:v>
                </c:pt>
                <c:pt idx="508">
                  <c:v>All Others</c:v>
                </c:pt>
                <c:pt idx="509">
                  <c:v>All Others</c:v>
                </c:pt>
                <c:pt idx="510">
                  <c:v>All Others</c:v>
                </c:pt>
                <c:pt idx="511">
                  <c:v>All Others</c:v>
                </c:pt>
                <c:pt idx="512">
                  <c:v>All Others</c:v>
                </c:pt>
                <c:pt idx="513">
                  <c:v>Lactalis: A</c:v>
                </c:pt>
                <c:pt idx="514">
                  <c:v>Private Lab</c:v>
                </c:pt>
                <c:pt idx="515">
                  <c:v>President</c:v>
                </c:pt>
                <c:pt idx="516">
                  <c:v>All Others</c:v>
                </c:pt>
                <c:pt idx="517">
                  <c:v>Tartare</c:v>
                </c:pt>
                <c:pt idx="518">
                  <c:v>All Others</c:v>
                </c:pt>
                <c:pt idx="519">
                  <c:v>All Others</c:v>
                </c:pt>
                <c:pt idx="520">
                  <c:v>All Others</c:v>
                </c:pt>
                <c:pt idx="521">
                  <c:v>All Others</c:v>
                </c:pt>
                <c:pt idx="522">
                  <c:v>Private Lab</c:v>
                </c:pt>
                <c:pt idx="523">
                  <c:v>All Others</c:v>
                </c:pt>
                <c:pt idx="524">
                  <c:v>Carre Frais</c:v>
                </c:pt>
                <c:pt idx="525">
                  <c:v>All Others</c:v>
                </c:pt>
                <c:pt idx="526">
                  <c:v>All Others</c:v>
                </c:pt>
                <c:pt idx="527">
                  <c:v>All Others</c:v>
                </c:pt>
                <c:pt idx="528">
                  <c:v>All Others</c:v>
                </c:pt>
                <c:pt idx="529">
                  <c:v>Eurial Autr</c:v>
                </c:pt>
                <c:pt idx="530">
                  <c:v>All Others</c:v>
                </c:pt>
                <c:pt idx="531">
                  <c:v>Private Lab</c:v>
                </c:pt>
                <c:pt idx="532">
                  <c:v>Boursin</c:v>
                </c:pt>
                <c:pt idx="533">
                  <c:v>All Others</c:v>
                </c:pt>
                <c:pt idx="534">
                  <c:v>All Others</c:v>
                </c:pt>
                <c:pt idx="535">
                  <c:v>Triballat N</c:v>
                </c:pt>
                <c:pt idx="536">
                  <c:v>All Others</c:v>
                </c:pt>
                <c:pt idx="537">
                  <c:v>All Others</c:v>
                </c:pt>
                <c:pt idx="538">
                  <c:v>All Others</c:v>
                </c:pt>
                <c:pt idx="539">
                  <c:v>All Others</c:v>
                </c:pt>
                <c:pt idx="540">
                  <c:v>Casa Azzurr</c:v>
                </c:pt>
                <c:pt idx="541">
                  <c:v>All Others</c:v>
                </c:pt>
                <c:pt idx="542">
                  <c:v>All Others</c:v>
                </c:pt>
                <c:pt idx="543">
                  <c:v>All Others</c:v>
                </c:pt>
                <c:pt idx="544">
                  <c:v>All Others</c:v>
                </c:pt>
                <c:pt idx="545">
                  <c:v>All Others</c:v>
                </c:pt>
                <c:pt idx="546">
                  <c:v>All Others</c:v>
                </c:pt>
                <c:pt idx="547">
                  <c:v>All Others</c:v>
                </c:pt>
                <c:pt idx="548">
                  <c:v>All Others</c:v>
                </c:pt>
                <c:pt idx="549">
                  <c:v>All Others</c:v>
                </c:pt>
                <c:pt idx="550">
                  <c:v>All Others</c:v>
                </c:pt>
                <c:pt idx="551">
                  <c:v>All Others</c:v>
                </c:pt>
                <c:pt idx="552">
                  <c:v>Soignon</c:v>
                </c:pt>
                <c:pt idx="553">
                  <c:v>Soignon</c:v>
                </c:pt>
                <c:pt idx="554">
                  <c:v>P'Tit Louis</c:v>
                </c:pt>
                <c:pt idx="555">
                  <c:v>Istara</c:v>
                </c:pt>
                <c:pt idx="556">
                  <c:v>All Others</c:v>
                </c:pt>
                <c:pt idx="557">
                  <c:v>Private Lab</c:v>
                </c:pt>
                <c:pt idx="558">
                  <c:v>All Others</c:v>
                </c:pt>
                <c:pt idx="559">
                  <c:v>Savencia: A</c:v>
                </c:pt>
                <c:pt idx="560">
                  <c:v>All Others</c:v>
                </c:pt>
                <c:pt idx="561">
                  <c:v>Salakis</c:v>
                </c:pt>
                <c:pt idx="562">
                  <c:v>All Others</c:v>
                </c:pt>
                <c:pt idx="563">
                  <c:v>All Others</c:v>
                </c:pt>
                <c:pt idx="564">
                  <c:v>Private Lab</c:v>
                </c:pt>
                <c:pt idx="565">
                  <c:v>All Others</c:v>
                </c:pt>
                <c:pt idx="566">
                  <c:v>All Others</c:v>
                </c:pt>
                <c:pt idx="567">
                  <c:v>Lactalis: A</c:v>
                </c:pt>
                <c:pt idx="568">
                  <c:v>Private Lab</c:v>
                </c:pt>
                <c:pt idx="569">
                  <c:v>All Others</c:v>
                </c:pt>
                <c:pt idx="570">
                  <c:v>All Others</c:v>
                </c:pt>
                <c:pt idx="571">
                  <c:v>All Others</c:v>
                </c:pt>
                <c:pt idx="572">
                  <c:v>All Others</c:v>
                </c:pt>
                <c:pt idx="573">
                  <c:v>Coeur De Li</c:v>
                </c:pt>
                <c:pt idx="574">
                  <c:v>Salakis</c:v>
                </c:pt>
                <c:pt idx="575">
                  <c:v>All Others</c:v>
                </c:pt>
                <c:pt idx="576">
                  <c:v>All Others</c:v>
                </c:pt>
                <c:pt idx="577">
                  <c:v>All Others</c:v>
                </c:pt>
                <c:pt idx="578">
                  <c:v>Boursin</c:v>
                </c:pt>
                <c:pt idx="579">
                  <c:v>Etoile Du V</c:v>
                </c:pt>
                <c:pt idx="580">
                  <c:v>All Others</c:v>
                </c:pt>
                <c:pt idx="581">
                  <c:v>All Others</c:v>
                </c:pt>
                <c:pt idx="582">
                  <c:v>All Others</c:v>
                </c:pt>
                <c:pt idx="583">
                  <c:v>Boursin</c:v>
                </c:pt>
                <c:pt idx="584">
                  <c:v>All Others</c:v>
                </c:pt>
                <c:pt idx="585">
                  <c:v>Private Lab</c:v>
                </c:pt>
                <c:pt idx="586">
                  <c:v>All Others</c:v>
                </c:pt>
                <c:pt idx="587">
                  <c:v>Etoile Du V</c:v>
                </c:pt>
                <c:pt idx="588">
                  <c:v>Private Lab</c:v>
                </c:pt>
                <c:pt idx="589">
                  <c:v>All Others</c:v>
                </c:pt>
                <c:pt idx="590">
                  <c:v>All Others</c:v>
                </c:pt>
                <c:pt idx="591">
                  <c:v>All Others</c:v>
                </c:pt>
                <c:pt idx="592">
                  <c:v>All Others</c:v>
                </c:pt>
                <c:pt idx="593">
                  <c:v>Boursin</c:v>
                </c:pt>
                <c:pt idx="594">
                  <c:v>Casa Azzurr</c:v>
                </c:pt>
                <c:pt idx="595">
                  <c:v>Private Lab</c:v>
                </c:pt>
                <c:pt idx="596">
                  <c:v>All Others</c:v>
                </c:pt>
                <c:pt idx="597">
                  <c:v>All Others</c:v>
                </c:pt>
                <c:pt idx="598">
                  <c:v>All Others</c:v>
                </c:pt>
                <c:pt idx="599">
                  <c:v>All Others</c:v>
                </c:pt>
                <c:pt idx="600">
                  <c:v>All Others</c:v>
                </c:pt>
                <c:pt idx="601">
                  <c:v>All Others</c:v>
                </c:pt>
                <c:pt idx="602">
                  <c:v>Tartare</c:v>
                </c:pt>
                <c:pt idx="603">
                  <c:v>Carre Frais</c:v>
                </c:pt>
                <c:pt idx="604">
                  <c:v>All Others</c:v>
                </c:pt>
                <c:pt idx="605">
                  <c:v>Eurial Autr</c:v>
                </c:pt>
                <c:pt idx="606">
                  <c:v>All Others</c:v>
                </c:pt>
                <c:pt idx="607">
                  <c:v>All Others</c:v>
                </c:pt>
                <c:pt idx="608">
                  <c:v>Casa Azzurr</c:v>
                </c:pt>
                <c:pt idx="609">
                  <c:v>Private Lab</c:v>
                </c:pt>
                <c:pt idx="610">
                  <c:v>Philadelphi</c:v>
                </c:pt>
                <c:pt idx="611">
                  <c:v>Mini Babybe</c:v>
                </c:pt>
                <c:pt idx="612">
                  <c:v>All Others</c:v>
                </c:pt>
                <c:pt idx="613">
                  <c:v>Private Lab</c:v>
                </c:pt>
                <c:pt idx="614">
                  <c:v>All Others</c:v>
                </c:pt>
                <c:pt idx="615">
                  <c:v>Etoile Du V</c:v>
                </c:pt>
                <c:pt idx="616">
                  <c:v>Etoile Du Q</c:v>
                </c:pt>
                <c:pt idx="617">
                  <c:v>All Others</c:v>
                </c:pt>
                <c:pt idx="618">
                  <c:v>All Others</c:v>
                </c:pt>
                <c:pt idx="619">
                  <c:v>All Others</c:v>
                </c:pt>
                <c:pt idx="620">
                  <c:v>All Others</c:v>
                </c:pt>
                <c:pt idx="621">
                  <c:v>All Others</c:v>
                </c:pt>
                <c:pt idx="622">
                  <c:v>All Others</c:v>
                </c:pt>
                <c:pt idx="623">
                  <c:v>All Others</c:v>
                </c:pt>
                <c:pt idx="624">
                  <c:v>Private Lab</c:v>
                </c:pt>
                <c:pt idx="625">
                  <c:v>Lactalis: A</c:v>
                </c:pt>
                <c:pt idx="626">
                  <c:v>Lactalis: A</c:v>
                </c:pt>
                <c:pt idx="627">
                  <c:v>All Others</c:v>
                </c:pt>
                <c:pt idx="628">
                  <c:v>All Others</c:v>
                </c:pt>
                <c:pt idx="629">
                  <c:v>All Others</c:v>
                </c:pt>
                <c:pt idx="630">
                  <c:v>All Others</c:v>
                </c:pt>
                <c:pt idx="631">
                  <c:v>Private Lab</c:v>
                </c:pt>
                <c:pt idx="632">
                  <c:v>All Others</c:v>
                </c:pt>
                <c:pt idx="633">
                  <c:v>All Others</c:v>
                </c:pt>
                <c:pt idx="634">
                  <c:v>Milleret: A</c:v>
                </c:pt>
                <c:pt idx="635">
                  <c:v>All Others</c:v>
                </c:pt>
                <c:pt idx="636">
                  <c:v>All Others</c:v>
                </c:pt>
                <c:pt idx="637">
                  <c:v>All Others</c:v>
                </c:pt>
                <c:pt idx="638">
                  <c:v>All Others</c:v>
                </c:pt>
                <c:pt idx="639">
                  <c:v>Corsica</c:v>
                </c:pt>
                <c:pt idx="640">
                  <c:v>All Others</c:v>
                </c:pt>
                <c:pt idx="641">
                  <c:v>All Others</c:v>
                </c:pt>
                <c:pt idx="642">
                  <c:v>All Others</c:v>
                </c:pt>
                <c:pt idx="643">
                  <c:v>All Others</c:v>
                </c:pt>
                <c:pt idx="644">
                  <c:v>All Others</c:v>
                </c:pt>
                <c:pt idx="645">
                  <c:v>All Others</c:v>
                </c:pt>
                <c:pt idx="646">
                  <c:v>All Others</c:v>
                </c:pt>
                <c:pt idx="647">
                  <c:v>All Others</c:v>
                </c:pt>
                <c:pt idx="648">
                  <c:v>All Others</c:v>
                </c:pt>
                <c:pt idx="649">
                  <c:v>All Others</c:v>
                </c:pt>
                <c:pt idx="650">
                  <c:v>All Others</c:v>
                </c:pt>
                <c:pt idx="651">
                  <c:v>All Others</c:v>
                </c:pt>
                <c:pt idx="652">
                  <c:v>Private Lab</c:v>
                </c:pt>
                <c:pt idx="653">
                  <c:v>All Others</c:v>
                </c:pt>
                <c:pt idx="654">
                  <c:v>Mini Babybe</c:v>
                </c:pt>
                <c:pt idx="655">
                  <c:v>All Others</c:v>
                </c:pt>
                <c:pt idx="656">
                  <c:v>All Others</c:v>
                </c:pt>
                <c:pt idx="657">
                  <c:v>All Others</c:v>
                </c:pt>
                <c:pt idx="658">
                  <c:v>All Others</c:v>
                </c:pt>
                <c:pt idx="659">
                  <c:v>All Others</c:v>
                </c:pt>
                <c:pt idx="660">
                  <c:v>All Others</c:v>
                </c:pt>
                <c:pt idx="661">
                  <c:v>All Others</c:v>
                </c:pt>
                <c:pt idx="662">
                  <c:v>All Others</c:v>
                </c:pt>
                <c:pt idx="663">
                  <c:v>All Others</c:v>
                </c:pt>
                <c:pt idx="664">
                  <c:v>All Others</c:v>
                </c:pt>
                <c:pt idx="665">
                  <c:v>All Others</c:v>
                </c:pt>
                <c:pt idx="666">
                  <c:v>All Others</c:v>
                </c:pt>
                <c:pt idx="667">
                  <c:v>All Others</c:v>
                </c:pt>
                <c:pt idx="668">
                  <c:v>All Others</c:v>
                </c:pt>
                <c:pt idx="669">
                  <c:v>All Others</c:v>
                </c:pt>
                <c:pt idx="670">
                  <c:v>All Others</c:v>
                </c:pt>
                <c:pt idx="671">
                  <c:v>Lactalis: A</c:v>
                </c:pt>
                <c:pt idx="672">
                  <c:v>All Others</c:v>
                </c:pt>
                <c:pt idx="673">
                  <c:v>All Others</c:v>
                </c:pt>
                <c:pt idx="674">
                  <c:v>All Others</c:v>
                </c:pt>
                <c:pt idx="675">
                  <c:v>All Others</c:v>
                </c:pt>
                <c:pt idx="676">
                  <c:v>All Others</c:v>
                </c:pt>
                <c:pt idx="677">
                  <c:v>All Others</c:v>
                </c:pt>
                <c:pt idx="678">
                  <c:v>All Others</c:v>
                </c:pt>
                <c:pt idx="679">
                  <c:v>All Others</c:v>
                </c:pt>
                <c:pt idx="680">
                  <c:v>All Others</c:v>
                </c:pt>
                <c:pt idx="681">
                  <c:v>All Others</c:v>
                </c:pt>
                <c:pt idx="682">
                  <c:v>Triballat N</c:v>
                </c:pt>
                <c:pt idx="683">
                  <c:v>All Others</c:v>
                </c:pt>
                <c:pt idx="684">
                  <c:v>All Others</c:v>
                </c:pt>
                <c:pt idx="685">
                  <c:v>All Others</c:v>
                </c:pt>
                <c:pt idx="686">
                  <c:v>La Vache Qu</c:v>
                </c:pt>
                <c:pt idx="687">
                  <c:v>All Others</c:v>
                </c:pt>
                <c:pt idx="688">
                  <c:v>All Others</c:v>
                </c:pt>
                <c:pt idx="689">
                  <c:v>Galbani</c:v>
                </c:pt>
                <c:pt idx="690">
                  <c:v>All Others</c:v>
                </c:pt>
                <c:pt idx="691">
                  <c:v>All Others</c:v>
                </c:pt>
                <c:pt idx="692">
                  <c:v>All Others</c:v>
                </c:pt>
                <c:pt idx="693">
                  <c:v>All Others</c:v>
                </c:pt>
                <c:pt idx="694">
                  <c:v>Lactalis: A</c:v>
                </c:pt>
                <c:pt idx="695">
                  <c:v>All Others</c:v>
                </c:pt>
                <c:pt idx="696">
                  <c:v>All Others</c:v>
                </c:pt>
                <c:pt idx="697">
                  <c:v>All Others</c:v>
                </c:pt>
                <c:pt idx="698">
                  <c:v>All Others</c:v>
                </c:pt>
                <c:pt idx="699">
                  <c:v>All Others</c:v>
                </c:pt>
                <c:pt idx="700">
                  <c:v>St Moret</c:v>
                </c:pt>
                <c:pt idx="701">
                  <c:v>All Others</c:v>
                </c:pt>
                <c:pt idx="702">
                  <c:v>All Others</c:v>
                </c:pt>
                <c:pt idx="703">
                  <c:v>Savencia: A</c:v>
                </c:pt>
                <c:pt idx="704">
                  <c:v>All Others</c:v>
                </c:pt>
                <c:pt idx="705">
                  <c:v>All Others</c:v>
                </c:pt>
                <c:pt idx="706">
                  <c:v>Private Lab</c:v>
                </c:pt>
                <c:pt idx="707">
                  <c:v>All Others</c:v>
                </c:pt>
                <c:pt idx="708">
                  <c:v>All Others</c:v>
                </c:pt>
                <c:pt idx="709">
                  <c:v>All Others</c:v>
                </c:pt>
                <c:pt idx="710">
                  <c:v>All Others</c:v>
                </c:pt>
                <c:pt idx="711">
                  <c:v>Triballat N</c:v>
                </c:pt>
                <c:pt idx="712">
                  <c:v>Triballat R</c:v>
                </c:pt>
                <c:pt idx="713">
                  <c:v>All Others</c:v>
                </c:pt>
                <c:pt idx="714">
                  <c:v>All Others</c:v>
                </c:pt>
                <c:pt idx="715">
                  <c:v>All Others</c:v>
                </c:pt>
                <c:pt idx="716">
                  <c:v>All Others</c:v>
                </c:pt>
                <c:pt idx="717">
                  <c:v>All Others</c:v>
                </c:pt>
                <c:pt idx="718">
                  <c:v>All Others</c:v>
                </c:pt>
                <c:pt idx="719">
                  <c:v>Private Lab</c:v>
                </c:pt>
                <c:pt idx="720">
                  <c:v>All Others</c:v>
                </c:pt>
                <c:pt idx="721">
                  <c:v>Lactalis: A</c:v>
                </c:pt>
                <c:pt idx="722">
                  <c:v>All Others</c:v>
                </c:pt>
                <c:pt idx="723">
                  <c:v>All Others</c:v>
                </c:pt>
                <c:pt idx="724">
                  <c:v>All Others</c:v>
                </c:pt>
                <c:pt idx="725">
                  <c:v>Savencia: A</c:v>
                </c:pt>
                <c:pt idx="726">
                  <c:v>All Others</c:v>
                </c:pt>
                <c:pt idx="727">
                  <c:v>Savencia: A</c:v>
                </c:pt>
                <c:pt idx="728">
                  <c:v>Private Lab</c:v>
                </c:pt>
                <c:pt idx="729">
                  <c:v>All Others</c:v>
                </c:pt>
                <c:pt idx="730">
                  <c:v>All Others</c:v>
                </c:pt>
                <c:pt idx="731">
                  <c:v>All Others</c:v>
                </c:pt>
                <c:pt idx="732">
                  <c:v>All Others</c:v>
                </c:pt>
                <c:pt idx="733">
                  <c:v>All Others</c:v>
                </c:pt>
                <c:pt idx="734">
                  <c:v>All Others</c:v>
                </c:pt>
                <c:pt idx="735">
                  <c:v>All Others</c:v>
                </c:pt>
                <c:pt idx="736">
                  <c:v>All Others</c:v>
                </c:pt>
                <c:pt idx="737">
                  <c:v>All Others</c:v>
                </c:pt>
                <c:pt idx="738">
                  <c:v>All Others</c:v>
                </c:pt>
                <c:pt idx="739">
                  <c:v>Salakis</c:v>
                </c:pt>
                <c:pt idx="740">
                  <c:v>Triballat N</c:v>
                </c:pt>
                <c:pt idx="741">
                  <c:v>All Others</c:v>
                </c:pt>
                <c:pt idx="742">
                  <c:v>All Others</c:v>
                </c:pt>
                <c:pt idx="743">
                  <c:v>All Others</c:v>
                </c:pt>
                <c:pt idx="744">
                  <c:v>Private Lab</c:v>
                </c:pt>
                <c:pt idx="745">
                  <c:v>All Others</c:v>
                </c:pt>
                <c:pt idx="746">
                  <c:v>La Vache Qu</c:v>
                </c:pt>
                <c:pt idx="747">
                  <c:v>All Others</c:v>
                </c:pt>
                <c:pt idx="748">
                  <c:v>Private Lab</c:v>
                </c:pt>
                <c:pt idx="749">
                  <c:v>Savencia: A</c:v>
                </c:pt>
                <c:pt idx="750">
                  <c:v>All Others</c:v>
                </c:pt>
                <c:pt idx="751">
                  <c:v>All Others</c:v>
                </c:pt>
                <c:pt idx="752">
                  <c:v>All Others</c:v>
                </c:pt>
                <c:pt idx="753">
                  <c:v>All Others</c:v>
                </c:pt>
                <c:pt idx="754">
                  <c:v>All Others</c:v>
                </c:pt>
                <c:pt idx="755">
                  <c:v>All Others</c:v>
                </c:pt>
                <c:pt idx="756">
                  <c:v>Petit Billy</c:v>
                </c:pt>
                <c:pt idx="757">
                  <c:v>All Others</c:v>
                </c:pt>
                <c:pt idx="758">
                  <c:v>All Others</c:v>
                </c:pt>
                <c:pt idx="759">
                  <c:v>All Others</c:v>
                </c:pt>
                <c:pt idx="760">
                  <c:v>All Others</c:v>
                </c:pt>
                <c:pt idx="761">
                  <c:v>All Others</c:v>
                </c:pt>
                <c:pt idx="762">
                  <c:v>All Others</c:v>
                </c:pt>
                <c:pt idx="763">
                  <c:v>All Others</c:v>
                </c:pt>
                <c:pt idx="764">
                  <c:v>All Others</c:v>
                </c:pt>
                <c:pt idx="765">
                  <c:v>Private Lab</c:v>
                </c:pt>
                <c:pt idx="766">
                  <c:v>Islos</c:v>
                </c:pt>
                <c:pt idx="767">
                  <c:v>All Others</c:v>
                </c:pt>
                <c:pt idx="768">
                  <c:v>All Others</c:v>
                </c:pt>
                <c:pt idx="769">
                  <c:v>All Others</c:v>
                </c:pt>
                <c:pt idx="770">
                  <c:v>All Others</c:v>
                </c:pt>
                <c:pt idx="771">
                  <c:v>All Others</c:v>
                </c:pt>
                <c:pt idx="772">
                  <c:v>All Others</c:v>
                </c:pt>
                <c:pt idx="773">
                  <c:v>All Others</c:v>
                </c:pt>
                <c:pt idx="774">
                  <c:v>All Others</c:v>
                </c:pt>
                <c:pt idx="775">
                  <c:v>All Others</c:v>
                </c:pt>
                <c:pt idx="776">
                  <c:v>Lactalis: A</c:v>
                </c:pt>
                <c:pt idx="777">
                  <c:v>All Others</c:v>
                </c:pt>
                <c:pt idx="778">
                  <c:v>All Others</c:v>
                </c:pt>
                <c:pt idx="779">
                  <c:v>All Others</c:v>
                </c:pt>
                <c:pt idx="780">
                  <c:v>All Others</c:v>
                </c:pt>
                <c:pt idx="781">
                  <c:v>All Others</c:v>
                </c:pt>
                <c:pt idx="782">
                  <c:v>All Others</c:v>
                </c:pt>
                <c:pt idx="783">
                  <c:v>All Others</c:v>
                </c:pt>
                <c:pt idx="784">
                  <c:v>All Others</c:v>
                </c:pt>
                <c:pt idx="785">
                  <c:v>All Others</c:v>
                </c:pt>
                <c:pt idx="786">
                  <c:v>All Others</c:v>
                </c:pt>
                <c:pt idx="787">
                  <c:v>All Others</c:v>
                </c:pt>
                <c:pt idx="788">
                  <c:v>All Others</c:v>
                </c:pt>
                <c:pt idx="789">
                  <c:v>Private Lab</c:v>
                </c:pt>
                <c:pt idx="790">
                  <c:v>All Others</c:v>
                </c:pt>
                <c:pt idx="791">
                  <c:v>All Others</c:v>
                </c:pt>
                <c:pt idx="792">
                  <c:v>All Others</c:v>
                </c:pt>
                <c:pt idx="793">
                  <c:v>All Others</c:v>
                </c:pt>
                <c:pt idx="794">
                  <c:v>All Others</c:v>
                </c:pt>
                <c:pt idx="795">
                  <c:v>Private Lab</c:v>
                </c:pt>
                <c:pt idx="796">
                  <c:v>Private Lab</c:v>
                </c:pt>
                <c:pt idx="797">
                  <c:v>All Others</c:v>
                </c:pt>
                <c:pt idx="798">
                  <c:v>All Others</c:v>
                </c:pt>
                <c:pt idx="799">
                  <c:v>All Others</c:v>
                </c:pt>
                <c:pt idx="800">
                  <c:v>All Others</c:v>
                </c:pt>
                <c:pt idx="801">
                  <c:v>All Others</c:v>
                </c:pt>
                <c:pt idx="802">
                  <c:v>All Others</c:v>
                </c:pt>
                <c:pt idx="803">
                  <c:v>Private Lab</c:v>
                </c:pt>
                <c:pt idx="804">
                  <c:v>All Others</c:v>
                </c:pt>
                <c:pt idx="805">
                  <c:v>All Others</c:v>
                </c:pt>
                <c:pt idx="806">
                  <c:v>All Others</c:v>
                </c:pt>
                <c:pt idx="807">
                  <c:v>All Others</c:v>
                </c:pt>
                <c:pt idx="808">
                  <c:v>All Others</c:v>
                </c:pt>
                <c:pt idx="809">
                  <c:v>All Others</c:v>
                </c:pt>
                <c:pt idx="810">
                  <c:v>All Others</c:v>
                </c:pt>
                <c:pt idx="811">
                  <c:v>All Others</c:v>
                </c:pt>
                <c:pt idx="812">
                  <c:v>All Others</c:v>
                </c:pt>
                <c:pt idx="813">
                  <c:v>All Others</c:v>
                </c:pt>
                <c:pt idx="814">
                  <c:v>All Others</c:v>
                </c:pt>
                <c:pt idx="815">
                  <c:v>All Others</c:v>
                </c:pt>
                <c:pt idx="816">
                  <c:v>All Others</c:v>
                </c:pt>
                <c:pt idx="817">
                  <c:v>All Others</c:v>
                </c:pt>
                <c:pt idx="818">
                  <c:v>Kiri</c:v>
                </c:pt>
                <c:pt idx="819">
                  <c:v>All Others</c:v>
                </c:pt>
                <c:pt idx="820">
                  <c:v>All Others</c:v>
                </c:pt>
                <c:pt idx="821">
                  <c:v>All Others</c:v>
                </c:pt>
                <c:pt idx="822">
                  <c:v>All Others</c:v>
                </c:pt>
                <c:pt idx="823">
                  <c:v>All Others</c:v>
                </c:pt>
                <c:pt idx="824">
                  <c:v>All Others</c:v>
                </c:pt>
                <c:pt idx="825">
                  <c:v>All Others</c:v>
                </c:pt>
                <c:pt idx="826">
                  <c:v>All Others</c:v>
                </c:pt>
                <c:pt idx="827">
                  <c:v>All Others</c:v>
                </c:pt>
                <c:pt idx="828">
                  <c:v>Boursin</c:v>
                </c:pt>
                <c:pt idx="829">
                  <c:v>All Others</c:v>
                </c:pt>
                <c:pt idx="830">
                  <c:v>All Others</c:v>
                </c:pt>
                <c:pt idx="831">
                  <c:v>All Others</c:v>
                </c:pt>
                <c:pt idx="832">
                  <c:v>All Others</c:v>
                </c:pt>
                <c:pt idx="833">
                  <c:v>All Others</c:v>
                </c:pt>
                <c:pt idx="834">
                  <c:v>All Others</c:v>
                </c:pt>
                <c:pt idx="835">
                  <c:v>Soignon</c:v>
                </c:pt>
                <c:pt idx="836">
                  <c:v>Mini Babybe</c:v>
                </c:pt>
                <c:pt idx="837">
                  <c:v>All Others</c:v>
                </c:pt>
                <c:pt idx="838">
                  <c:v>All Others</c:v>
                </c:pt>
                <c:pt idx="839">
                  <c:v>All Others</c:v>
                </c:pt>
                <c:pt idx="840">
                  <c:v>All Others</c:v>
                </c:pt>
                <c:pt idx="841">
                  <c:v>Eurial Autr</c:v>
                </c:pt>
                <c:pt idx="842">
                  <c:v>All Others</c:v>
                </c:pt>
                <c:pt idx="843">
                  <c:v>All Others</c:v>
                </c:pt>
                <c:pt idx="844">
                  <c:v>All Others</c:v>
                </c:pt>
                <c:pt idx="845">
                  <c:v>Triballat R</c:v>
                </c:pt>
                <c:pt idx="846">
                  <c:v>All Others</c:v>
                </c:pt>
                <c:pt idx="847">
                  <c:v>All Others</c:v>
                </c:pt>
                <c:pt idx="848">
                  <c:v>All Others</c:v>
                </c:pt>
                <c:pt idx="849">
                  <c:v>All Others</c:v>
                </c:pt>
                <c:pt idx="850">
                  <c:v>All Others</c:v>
                </c:pt>
                <c:pt idx="851">
                  <c:v>All Others</c:v>
                </c:pt>
                <c:pt idx="852">
                  <c:v>All Others</c:v>
                </c:pt>
                <c:pt idx="853">
                  <c:v>All Others</c:v>
                </c:pt>
                <c:pt idx="854">
                  <c:v>All Others</c:v>
                </c:pt>
                <c:pt idx="855">
                  <c:v>All Others</c:v>
                </c:pt>
                <c:pt idx="856">
                  <c:v>All Others</c:v>
                </c:pt>
                <c:pt idx="857">
                  <c:v>All Others</c:v>
                </c:pt>
                <c:pt idx="858">
                  <c:v>All Others</c:v>
                </c:pt>
                <c:pt idx="859">
                  <c:v>All Others</c:v>
                </c:pt>
                <c:pt idx="860">
                  <c:v>All Others</c:v>
                </c:pt>
                <c:pt idx="861">
                  <c:v>All Others</c:v>
                </c:pt>
                <c:pt idx="862">
                  <c:v>All Others</c:v>
                </c:pt>
                <c:pt idx="863">
                  <c:v>All Others</c:v>
                </c:pt>
                <c:pt idx="864">
                  <c:v>All Others</c:v>
                </c:pt>
                <c:pt idx="865">
                  <c:v>All Others</c:v>
                </c:pt>
                <c:pt idx="866">
                  <c:v>Boursin</c:v>
                </c:pt>
                <c:pt idx="867">
                  <c:v>All Others</c:v>
                </c:pt>
                <c:pt idx="868">
                  <c:v>All Others</c:v>
                </c:pt>
                <c:pt idx="869">
                  <c:v>All Others</c:v>
                </c:pt>
                <c:pt idx="870">
                  <c:v>All Others</c:v>
                </c:pt>
                <c:pt idx="871">
                  <c:v>All Others</c:v>
                </c:pt>
                <c:pt idx="872">
                  <c:v>Etoile Du Q</c:v>
                </c:pt>
                <c:pt idx="873">
                  <c:v>All Others</c:v>
                </c:pt>
                <c:pt idx="874">
                  <c:v>All Others</c:v>
                </c:pt>
                <c:pt idx="875">
                  <c:v>All Others</c:v>
                </c:pt>
                <c:pt idx="876">
                  <c:v>All Others</c:v>
                </c:pt>
                <c:pt idx="877">
                  <c:v>All Others</c:v>
                </c:pt>
                <c:pt idx="878">
                  <c:v>All Others</c:v>
                </c:pt>
                <c:pt idx="879">
                  <c:v>All Others</c:v>
                </c:pt>
                <c:pt idx="880">
                  <c:v>All Others</c:v>
                </c:pt>
                <c:pt idx="881">
                  <c:v>All Others</c:v>
                </c:pt>
                <c:pt idx="882">
                  <c:v>All Others</c:v>
                </c:pt>
                <c:pt idx="883">
                  <c:v>All Others</c:v>
                </c:pt>
                <c:pt idx="884">
                  <c:v>All Others</c:v>
                </c:pt>
                <c:pt idx="885">
                  <c:v>All Others</c:v>
                </c:pt>
                <c:pt idx="886">
                  <c:v>All Others</c:v>
                </c:pt>
                <c:pt idx="887">
                  <c:v>All Others</c:v>
                </c:pt>
                <c:pt idx="888">
                  <c:v>All Others</c:v>
                </c:pt>
                <c:pt idx="889">
                  <c:v>President</c:v>
                </c:pt>
                <c:pt idx="890">
                  <c:v>All Others</c:v>
                </c:pt>
                <c:pt idx="891">
                  <c:v>All Others</c:v>
                </c:pt>
                <c:pt idx="892">
                  <c:v>All Others</c:v>
                </c:pt>
                <c:pt idx="893">
                  <c:v>Private Lab</c:v>
                </c:pt>
                <c:pt idx="894">
                  <c:v>All Others</c:v>
                </c:pt>
                <c:pt idx="895">
                  <c:v>All Others</c:v>
                </c:pt>
                <c:pt idx="896">
                  <c:v>All Others</c:v>
                </c:pt>
                <c:pt idx="897">
                  <c:v>All Others</c:v>
                </c:pt>
                <c:pt idx="898">
                  <c:v>Tartare</c:v>
                </c:pt>
                <c:pt idx="899">
                  <c:v>All Others</c:v>
                </c:pt>
                <c:pt idx="900">
                  <c:v>All Others</c:v>
                </c:pt>
                <c:pt idx="901">
                  <c:v>All Others</c:v>
                </c:pt>
                <c:pt idx="902">
                  <c:v>All Others</c:v>
                </c:pt>
                <c:pt idx="903">
                  <c:v>All Others</c:v>
                </c:pt>
                <c:pt idx="904">
                  <c:v>Triballat R</c:v>
                </c:pt>
                <c:pt idx="905">
                  <c:v>All Others</c:v>
                </c:pt>
                <c:pt idx="906">
                  <c:v>All Others</c:v>
                </c:pt>
                <c:pt idx="907">
                  <c:v>All Others</c:v>
                </c:pt>
                <c:pt idx="908">
                  <c:v>All Others</c:v>
                </c:pt>
                <c:pt idx="909">
                  <c:v>All Others</c:v>
                </c:pt>
                <c:pt idx="910">
                  <c:v>All Others</c:v>
                </c:pt>
                <c:pt idx="911">
                  <c:v>Triballat R</c:v>
                </c:pt>
                <c:pt idx="912">
                  <c:v>All Others</c:v>
                </c:pt>
                <c:pt idx="913">
                  <c:v>All Others</c:v>
                </c:pt>
                <c:pt idx="914">
                  <c:v>Private Lab</c:v>
                </c:pt>
                <c:pt idx="915">
                  <c:v>All Others</c:v>
                </c:pt>
                <c:pt idx="916">
                  <c:v>All Others</c:v>
                </c:pt>
                <c:pt idx="917">
                  <c:v>All Others</c:v>
                </c:pt>
                <c:pt idx="918">
                  <c:v>All Others</c:v>
                </c:pt>
                <c:pt idx="919">
                  <c:v>Savencia: A</c:v>
                </c:pt>
                <c:pt idx="920">
                  <c:v>Lactalis: A</c:v>
                </c:pt>
                <c:pt idx="921">
                  <c:v>All Others</c:v>
                </c:pt>
                <c:pt idx="922">
                  <c:v>All Others</c:v>
                </c:pt>
                <c:pt idx="923">
                  <c:v>Savencia: A</c:v>
                </c:pt>
                <c:pt idx="924">
                  <c:v>All Others</c:v>
                </c:pt>
                <c:pt idx="925">
                  <c:v>All Others</c:v>
                </c:pt>
                <c:pt idx="926">
                  <c:v>President</c:v>
                </c:pt>
                <c:pt idx="927">
                  <c:v>All Others</c:v>
                </c:pt>
                <c:pt idx="928">
                  <c:v>All Others</c:v>
                </c:pt>
                <c:pt idx="929">
                  <c:v>All Others</c:v>
                </c:pt>
                <c:pt idx="930">
                  <c:v>All Others</c:v>
                </c:pt>
                <c:pt idx="931">
                  <c:v>All Others</c:v>
                </c:pt>
                <c:pt idx="932">
                  <c:v>All Others</c:v>
                </c:pt>
                <c:pt idx="933">
                  <c:v>All Others</c:v>
                </c:pt>
                <c:pt idx="934">
                  <c:v>All Others</c:v>
                </c:pt>
                <c:pt idx="935">
                  <c:v>Private Lab</c:v>
                </c:pt>
                <c:pt idx="936">
                  <c:v>All Others</c:v>
                </c:pt>
                <c:pt idx="937">
                  <c:v>All Others</c:v>
                </c:pt>
                <c:pt idx="938">
                  <c:v>Eurial Autr</c:v>
                </c:pt>
                <c:pt idx="939">
                  <c:v>Triballat R</c:v>
                </c:pt>
                <c:pt idx="940">
                  <c:v>All Others</c:v>
                </c:pt>
                <c:pt idx="941">
                  <c:v>All Others</c:v>
                </c:pt>
                <c:pt idx="942">
                  <c:v>All Others</c:v>
                </c:pt>
                <c:pt idx="943">
                  <c:v>All Others</c:v>
                </c:pt>
                <c:pt idx="944">
                  <c:v>All Others</c:v>
                </c:pt>
                <c:pt idx="945">
                  <c:v>All Others</c:v>
                </c:pt>
                <c:pt idx="946">
                  <c:v>All Others</c:v>
                </c:pt>
                <c:pt idx="947">
                  <c:v>All Others</c:v>
                </c:pt>
                <c:pt idx="948">
                  <c:v>All Others</c:v>
                </c:pt>
                <c:pt idx="949">
                  <c:v>All Others</c:v>
                </c:pt>
                <c:pt idx="950">
                  <c:v>Eurial Autr</c:v>
                </c:pt>
                <c:pt idx="951">
                  <c:v>All Others</c:v>
                </c:pt>
                <c:pt idx="952">
                  <c:v>All Others</c:v>
                </c:pt>
                <c:pt idx="953">
                  <c:v>All Others</c:v>
                </c:pt>
                <c:pt idx="954">
                  <c:v>All Others</c:v>
                </c:pt>
                <c:pt idx="955">
                  <c:v>All Others</c:v>
                </c:pt>
                <c:pt idx="956">
                  <c:v>St Moret</c:v>
                </c:pt>
                <c:pt idx="957">
                  <c:v>All Others</c:v>
                </c:pt>
                <c:pt idx="958">
                  <c:v>Savencia: A</c:v>
                </c:pt>
                <c:pt idx="959">
                  <c:v>Private Lab</c:v>
                </c:pt>
                <c:pt idx="960">
                  <c:v>All Others</c:v>
                </c:pt>
                <c:pt idx="961">
                  <c:v>All Others</c:v>
                </c:pt>
                <c:pt idx="962">
                  <c:v>All Others</c:v>
                </c:pt>
                <c:pt idx="963">
                  <c:v>Private Lab</c:v>
                </c:pt>
                <c:pt idx="964">
                  <c:v>All Others</c:v>
                </c:pt>
                <c:pt idx="965">
                  <c:v>All Others</c:v>
                </c:pt>
                <c:pt idx="966">
                  <c:v>All Others</c:v>
                </c:pt>
                <c:pt idx="967">
                  <c:v>All Others</c:v>
                </c:pt>
                <c:pt idx="968">
                  <c:v>All Others</c:v>
                </c:pt>
                <c:pt idx="969">
                  <c:v>All Others</c:v>
                </c:pt>
                <c:pt idx="970">
                  <c:v>All Others</c:v>
                </c:pt>
                <c:pt idx="971">
                  <c:v>All Others</c:v>
                </c:pt>
                <c:pt idx="972">
                  <c:v>All Others</c:v>
                </c:pt>
                <c:pt idx="973">
                  <c:v>All Others</c:v>
                </c:pt>
                <c:pt idx="974">
                  <c:v>All Others</c:v>
                </c:pt>
                <c:pt idx="975">
                  <c:v>All Others</c:v>
                </c:pt>
                <c:pt idx="976">
                  <c:v>All Others</c:v>
                </c:pt>
                <c:pt idx="977">
                  <c:v>All Others</c:v>
                </c:pt>
                <c:pt idx="978">
                  <c:v>All Others</c:v>
                </c:pt>
                <c:pt idx="979">
                  <c:v>All Others</c:v>
                </c:pt>
                <c:pt idx="980">
                  <c:v>All Others</c:v>
                </c:pt>
                <c:pt idx="981">
                  <c:v>All Others</c:v>
                </c:pt>
                <c:pt idx="982">
                  <c:v>All Others</c:v>
                </c:pt>
                <c:pt idx="983">
                  <c:v>All Others</c:v>
                </c:pt>
                <c:pt idx="984">
                  <c:v>All Others</c:v>
                </c:pt>
                <c:pt idx="985">
                  <c:v>All Others</c:v>
                </c:pt>
                <c:pt idx="986">
                  <c:v>All Others</c:v>
                </c:pt>
                <c:pt idx="987">
                  <c:v>All Others</c:v>
                </c:pt>
                <c:pt idx="988">
                  <c:v>All Others</c:v>
                </c:pt>
                <c:pt idx="989">
                  <c:v>All Others</c:v>
                </c:pt>
                <c:pt idx="990">
                  <c:v>All Others</c:v>
                </c:pt>
                <c:pt idx="991">
                  <c:v>All Others</c:v>
                </c:pt>
                <c:pt idx="992">
                  <c:v>All Others</c:v>
                </c:pt>
                <c:pt idx="993">
                  <c:v>All Others</c:v>
                </c:pt>
                <c:pt idx="994">
                  <c:v>Eurial Autr</c:v>
                </c:pt>
                <c:pt idx="995">
                  <c:v>Eurial Autr</c:v>
                </c:pt>
                <c:pt idx="996">
                  <c:v>All Others</c:v>
                </c:pt>
                <c:pt idx="997">
                  <c:v>All Others</c:v>
                </c:pt>
                <c:pt idx="998">
                  <c:v>All Others</c:v>
                </c:pt>
                <c:pt idx="999">
                  <c:v>All Others</c:v>
                </c:pt>
                <c:pt idx="1000">
                  <c:v>All Others</c:v>
                </c:pt>
                <c:pt idx="1001">
                  <c:v>All Others</c:v>
                </c:pt>
                <c:pt idx="1002">
                  <c:v>Private Lab</c:v>
                </c:pt>
                <c:pt idx="1003">
                  <c:v>All Others</c:v>
                </c:pt>
                <c:pt idx="1004">
                  <c:v>All Others</c:v>
                </c:pt>
                <c:pt idx="1005">
                  <c:v>Eurial Autr</c:v>
                </c:pt>
                <c:pt idx="1006">
                  <c:v>All Others</c:v>
                </c:pt>
                <c:pt idx="1007">
                  <c:v>All Others</c:v>
                </c:pt>
                <c:pt idx="1008">
                  <c:v>Lou Perac</c:v>
                </c:pt>
                <c:pt idx="1009">
                  <c:v>All Others</c:v>
                </c:pt>
                <c:pt idx="1010">
                  <c:v>All Others</c:v>
                </c:pt>
                <c:pt idx="1011">
                  <c:v>Triballat N</c:v>
                </c:pt>
                <c:pt idx="1012">
                  <c:v>All Others</c:v>
                </c:pt>
                <c:pt idx="1013">
                  <c:v>All Others</c:v>
                </c:pt>
                <c:pt idx="1014">
                  <c:v>All Others</c:v>
                </c:pt>
                <c:pt idx="1015">
                  <c:v>All Others</c:v>
                </c:pt>
                <c:pt idx="1016">
                  <c:v>All Others</c:v>
                </c:pt>
                <c:pt idx="1017">
                  <c:v>All Others</c:v>
                </c:pt>
                <c:pt idx="1018">
                  <c:v>All Others</c:v>
                </c:pt>
                <c:pt idx="1019">
                  <c:v>All Others</c:v>
                </c:pt>
                <c:pt idx="1020">
                  <c:v>All Others</c:v>
                </c:pt>
                <c:pt idx="1021">
                  <c:v>All Others</c:v>
                </c:pt>
                <c:pt idx="1022">
                  <c:v>All Others</c:v>
                </c:pt>
                <c:pt idx="1023">
                  <c:v>All Others</c:v>
                </c:pt>
                <c:pt idx="1024">
                  <c:v>All Others</c:v>
                </c:pt>
                <c:pt idx="1025">
                  <c:v>All Others</c:v>
                </c:pt>
                <c:pt idx="1026">
                  <c:v>All Others</c:v>
                </c:pt>
                <c:pt idx="1027">
                  <c:v>All Others</c:v>
                </c:pt>
                <c:pt idx="1028">
                  <c:v>All Others</c:v>
                </c:pt>
                <c:pt idx="1029">
                  <c:v>All Others</c:v>
                </c:pt>
                <c:pt idx="1030">
                  <c:v>All Others</c:v>
                </c:pt>
                <c:pt idx="1031">
                  <c:v>All Others</c:v>
                </c:pt>
                <c:pt idx="1032">
                  <c:v>All Others</c:v>
                </c:pt>
                <c:pt idx="1033">
                  <c:v>All Others</c:v>
                </c:pt>
                <c:pt idx="1034">
                  <c:v>All Others</c:v>
                </c:pt>
                <c:pt idx="1035">
                  <c:v>All Others</c:v>
                </c:pt>
                <c:pt idx="1036">
                  <c:v>Triballat R</c:v>
                </c:pt>
                <c:pt idx="1037">
                  <c:v>All Others</c:v>
                </c:pt>
                <c:pt idx="1038">
                  <c:v>All Others</c:v>
                </c:pt>
                <c:pt idx="1039">
                  <c:v>All Others</c:v>
                </c:pt>
                <c:pt idx="1040">
                  <c:v>All Others</c:v>
                </c:pt>
                <c:pt idx="1041">
                  <c:v>All Others</c:v>
                </c:pt>
                <c:pt idx="1042">
                  <c:v>All Others</c:v>
                </c:pt>
                <c:pt idx="1043">
                  <c:v>All Others</c:v>
                </c:pt>
                <c:pt idx="1044">
                  <c:v>All Others</c:v>
                </c:pt>
                <c:pt idx="1045">
                  <c:v>All Others</c:v>
                </c:pt>
                <c:pt idx="1046">
                  <c:v>All Others</c:v>
                </c:pt>
                <c:pt idx="1047">
                  <c:v>All Others</c:v>
                </c:pt>
                <c:pt idx="1048">
                  <c:v>All Others</c:v>
                </c:pt>
                <c:pt idx="1049">
                  <c:v>All Others</c:v>
                </c:pt>
                <c:pt idx="1050">
                  <c:v>All Others</c:v>
                </c:pt>
                <c:pt idx="1051">
                  <c:v>All Others</c:v>
                </c:pt>
                <c:pt idx="1052">
                  <c:v>All Others</c:v>
                </c:pt>
                <c:pt idx="1053">
                  <c:v>Caprice Des</c:v>
                </c:pt>
                <c:pt idx="1054">
                  <c:v>All Others</c:v>
                </c:pt>
                <c:pt idx="1055">
                  <c:v>All Others</c:v>
                </c:pt>
                <c:pt idx="1056">
                  <c:v>Savencia: A</c:v>
                </c:pt>
                <c:pt idx="1057">
                  <c:v>Savencia: A</c:v>
                </c:pt>
                <c:pt idx="1058">
                  <c:v>All Others</c:v>
                </c:pt>
                <c:pt idx="1059">
                  <c:v>All Others</c:v>
                </c:pt>
                <c:pt idx="1060">
                  <c:v>All Others</c:v>
                </c:pt>
                <c:pt idx="1061">
                  <c:v>All Others</c:v>
                </c:pt>
                <c:pt idx="1062">
                  <c:v>All Others</c:v>
                </c:pt>
                <c:pt idx="1063">
                  <c:v>All Others</c:v>
                </c:pt>
                <c:pt idx="1064">
                  <c:v>All Others</c:v>
                </c:pt>
                <c:pt idx="1065">
                  <c:v>All Others</c:v>
                </c:pt>
                <c:pt idx="1066">
                  <c:v>All Others</c:v>
                </c:pt>
                <c:pt idx="1067">
                  <c:v>All Others</c:v>
                </c:pt>
                <c:pt idx="1068">
                  <c:v>All Others</c:v>
                </c:pt>
                <c:pt idx="1069">
                  <c:v>All Others</c:v>
                </c:pt>
                <c:pt idx="1070">
                  <c:v>All Others</c:v>
                </c:pt>
                <c:pt idx="1071">
                  <c:v>All Others</c:v>
                </c:pt>
                <c:pt idx="1072">
                  <c:v>All Others</c:v>
                </c:pt>
                <c:pt idx="1073">
                  <c:v>All Others</c:v>
                </c:pt>
                <c:pt idx="1074">
                  <c:v>All Others</c:v>
                </c:pt>
                <c:pt idx="1075">
                  <c:v>All Others</c:v>
                </c:pt>
                <c:pt idx="1076">
                  <c:v>All Others</c:v>
                </c:pt>
                <c:pt idx="1077">
                  <c:v>All Others</c:v>
                </c:pt>
                <c:pt idx="1078">
                  <c:v>All Others</c:v>
                </c:pt>
                <c:pt idx="1079">
                  <c:v>All Others</c:v>
                </c:pt>
                <c:pt idx="1080">
                  <c:v>All Others</c:v>
                </c:pt>
                <c:pt idx="1081">
                  <c:v>All Others</c:v>
                </c:pt>
                <c:pt idx="1082">
                  <c:v>Lou Perac</c:v>
                </c:pt>
                <c:pt idx="1083">
                  <c:v>All Others</c:v>
                </c:pt>
                <c:pt idx="1084">
                  <c:v>All Others</c:v>
                </c:pt>
                <c:pt idx="1085">
                  <c:v>Petit Billy</c:v>
                </c:pt>
                <c:pt idx="1086">
                  <c:v>All Others</c:v>
                </c:pt>
                <c:pt idx="1087">
                  <c:v>Lactalis: A</c:v>
                </c:pt>
                <c:pt idx="1088">
                  <c:v>All Others</c:v>
                </c:pt>
                <c:pt idx="1089">
                  <c:v>All Others</c:v>
                </c:pt>
                <c:pt idx="1090">
                  <c:v>All Others</c:v>
                </c:pt>
                <c:pt idx="1091">
                  <c:v>Eurial Autr</c:v>
                </c:pt>
                <c:pt idx="1092">
                  <c:v>All Others</c:v>
                </c:pt>
                <c:pt idx="1093">
                  <c:v>Private Lab</c:v>
                </c:pt>
                <c:pt idx="1094">
                  <c:v>All Others</c:v>
                </c:pt>
                <c:pt idx="1095">
                  <c:v>All Others</c:v>
                </c:pt>
                <c:pt idx="1096">
                  <c:v>All Others</c:v>
                </c:pt>
                <c:pt idx="1097">
                  <c:v>All Others</c:v>
                </c:pt>
                <c:pt idx="1098">
                  <c:v>All Others</c:v>
                </c:pt>
                <c:pt idx="1099">
                  <c:v>All Others</c:v>
                </c:pt>
                <c:pt idx="1100">
                  <c:v>Soignon</c:v>
                </c:pt>
                <c:pt idx="1101">
                  <c:v>All Others</c:v>
                </c:pt>
                <c:pt idx="1102">
                  <c:v>All Others</c:v>
                </c:pt>
                <c:pt idx="1103">
                  <c:v>All Others</c:v>
                </c:pt>
                <c:pt idx="1104">
                  <c:v>All Others</c:v>
                </c:pt>
                <c:pt idx="1105">
                  <c:v>All Others</c:v>
                </c:pt>
                <c:pt idx="1106">
                  <c:v>Private Lab</c:v>
                </c:pt>
                <c:pt idx="1107">
                  <c:v>All Others</c:v>
                </c:pt>
                <c:pt idx="1108">
                  <c:v>All Others</c:v>
                </c:pt>
                <c:pt idx="1109">
                  <c:v>All Others</c:v>
                </c:pt>
                <c:pt idx="1110">
                  <c:v>All Others</c:v>
                </c:pt>
                <c:pt idx="1111">
                  <c:v>All Others</c:v>
                </c:pt>
                <c:pt idx="1112">
                  <c:v>All Others</c:v>
                </c:pt>
                <c:pt idx="1113">
                  <c:v>All Others</c:v>
                </c:pt>
                <c:pt idx="1114">
                  <c:v>All Others</c:v>
                </c:pt>
                <c:pt idx="1115">
                  <c:v>All Others</c:v>
                </c:pt>
                <c:pt idx="1116">
                  <c:v>All Others</c:v>
                </c:pt>
                <c:pt idx="1117">
                  <c:v>All Others</c:v>
                </c:pt>
                <c:pt idx="1118">
                  <c:v>All Others</c:v>
                </c:pt>
                <c:pt idx="1119">
                  <c:v>All Others</c:v>
                </c:pt>
                <c:pt idx="1120">
                  <c:v>All Others</c:v>
                </c:pt>
                <c:pt idx="1121">
                  <c:v>All Others</c:v>
                </c:pt>
                <c:pt idx="1122">
                  <c:v>All Others</c:v>
                </c:pt>
                <c:pt idx="1123">
                  <c:v>All Others</c:v>
                </c:pt>
                <c:pt idx="1124">
                  <c:v>All Others</c:v>
                </c:pt>
                <c:pt idx="1125">
                  <c:v>All Others</c:v>
                </c:pt>
                <c:pt idx="1126">
                  <c:v>All Others</c:v>
                </c:pt>
                <c:pt idx="1127">
                  <c:v>All Others</c:v>
                </c:pt>
                <c:pt idx="1128">
                  <c:v>Eurial Autr</c:v>
                </c:pt>
                <c:pt idx="1129">
                  <c:v>All Others</c:v>
                </c:pt>
                <c:pt idx="1130">
                  <c:v>All Others</c:v>
                </c:pt>
                <c:pt idx="1131">
                  <c:v>All Others</c:v>
                </c:pt>
                <c:pt idx="1132">
                  <c:v>All Others</c:v>
                </c:pt>
                <c:pt idx="1133">
                  <c:v>All Others</c:v>
                </c:pt>
                <c:pt idx="1134">
                  <c:v>All Others</c:v>
                </c:pt>
                <c:pt idx="1135">
                  <c:v>All Others</c:v>
                </c:pt>
                <c:pt idx="1136">
                  <c:v>All Others</c:v>
                </c:pt>
                <c:pt idx="1137">
                  <c:v>All Others</c:v>
                </c:pt>
                <c:pt idx="1138">
                  <c:v>All Others</c:v>
                </c:pt>
                <c:pt idx="1139">
                  <c:v>Private Lab</c:v>
                </c:pt>
                <c:pt idx="1140">
                  <c:v>All Others</c:v>
                </c:pt>
                <c:pt idx="1141">
                  <c:v>All Others</c:v>
                </c:pt>
                <c:pt idx="1142">
                  <c:v>All Others</c:v>
                </c:pt>
                <c:pt idx="1143">
                  <c:v>All Others</c:v>
                </c:pt>
                <c:pt idx="1144">
                  <c:v>All Others</c:v>
                </c:pt>
                <c:pt idx="1145">
                  <c:v>All Others</c:v>
                </c:pt>
                <c:pt idx="1146">
                  <c:v>All Others</c:v>
                </c:pt>
                <c:pt idx="1147">
                  <c:v>All Others</c:v>
                </c:pt>
                <c:pt idx="1148">
                  <c:v>All Others</c:v>
                </c:pt>
                <c:pt idx="1149">
                  <c:v>All Others</c:v>
                </c:pt>
                <c:pt idx="1150">
                  <c:v>All Others</c:v>
                </c:pt>
                <c:pt idx="1151">
                  <c:v>All Others</c:v>
                </c:pt>
                <c:pt idx="1152">
                  <c:v>All Others</c:v>
                </c:pt>
                <c:pt idx="1153">
                  <c:v>All Others</c:v>
                </c:pt>
                <c:pt idx="1154">
                  <c:v>All Others</c:v>
                </c:pt>
                <c:pt idx="1155">
                  <c:v>All Others</c:v>
                </c:pt>
                <c:pt idx="1156">
                  <c:v>All Others</c:v>
                </c:pt>
                <c:pt idx="1157">
                  <c:v>All Others</c:v>
                </c:pt>
                <c:pt idx="1158">
                  <c:v>All Others</c:v>
                </c:pt>
                <c:pt idx="1159">
                  <c:v>All Others</c:v>
                </c:pt>
                <c:pt idx="1160">
                  <c:v>All Others</c:v>
                </c:pt>
                <c:pt idx="1161">
                  <c:v>All Others</c:v>
                </c:pt>
                <c:pt idx="1162">
                  <c:v>All Others</c:v>
                </c:pt>
                <c:pt idx="1163">
                  <c:v>All Others</c:v>
                </c:pt>
                <c:pt idx="1164">
                  <c:v>All Others</c:v>
                </c:pt>
                <c:pt idx="1165">
                  <c:v>All Others</c:v>
                </c:pt>
                <c:pt idx="1166">
                  <c:v>All Others</c:v>
                </c:pt>
                <c:pt idx="1167">
                  <c:v>All Others</c:v>
                </c:pt>
                <c:pt idx="1168">
                  <c:v>All Others</c:v>
                </c:pt>
                <c:pt idx="1169">
                  <c:v>All Others</c:v>
                </c:pt>
                <c:pt idx="1170">
                  <c:v>All Others</c:v>
                </c:pt>
                <c:pt idx="1171">
                  <c:v>All Others</c:v>
                </c:pt>
                <c:pt idx="1172">
                  <c:v>All Others</c:v>
                </c:pt>
                <c:pt idx="1173">
                  <c:v>Private Lab</c:v>
                </c:pt>
                <c:pt idx="1174">
                  <c:v>All Others</c:v>
                </c:pt>
                <c:pt idx="1175">
                  <c:v>All Others</c:v>
                </c:pt>
                <c:pt idx="1176">
                  <c:v>All Others</c:v>
                </c:pt>
                <c:pt idx="1177">
                  <c:v>All Others</c:v>
                </c:pt>
                <c:pt idx="1178">
                  <c:v>All Others</c:v>
                </c:pt>
                <c:pt idx="1179">
                  <c:v>All Others</c:v>
                </c:pt>
                <c:pt idx="1180">
                  <c:v>All Others</c:v>
                </c:pt>
                <c:pt idx="1181">
                  <c:v>All Others</c:v>
                </c:pt>
                <c:pt idx="1182">
                  <c:v>Private Lab</c:v>
                </c:pt>
                <c:pt idx="1183">
                  <c:v>All Others</c:v>
                </c:pt>
                <c:pt idx="1184">
                  <c:v>All Others</c:v>
                </c:pt>
                <c:pt idx="1185">
                  <c:v>All Others</c:v>
                </c:pt>
                <c:pt idx="1186">
                  <c:v>All Others</c:v>
                </c:pt>
                <c:pt idx="1187">
                  <c:v>All Others</c:v>
                </c:pt>
                <c:pt idx="1188">
                  <c:v>All Others</c:v>
                </c:pt>
                <c:pt idx="1189">
                  <c:v>All Others</c:v>
                </c:pt>
                <c:pt idx="1190">
                  <c:v>All Others</c:v>
                </c:pt>
                <c:pt idx="1191">
                  <c:v>All Others</c:v>
                </c:pt>
                <c:pt idx="1192">
                  <c:v>Lactalis: A</c:v>
                </c:pt>
                <c:pt idx="1193">
                  <c:v>Private Lab</c:v>
                </c:pt>
                <c:pt idx="1194">
                  <c:v>All Others</c:v>
                </c:pt>
                <c:pt idx="1195">
                  <c:v>All Others</c:v>
                </c:pt>
                <c:pt idx="1196">
                  <c:v>All Others</c:v>
                </c:pt>
                <c:pt idx="1197">
                  <c:v>All Others</c:v>
                </c:pt>
                <c:pt idx="1198">
                  <c:v>All Others</c:v>
                </c:pt>
                <c:pt idx="1199">
                  <c:v>Mini Babybe</c:v>
                </c:pt>
                <c:pt idx="1200">
                  <c:v>All Others</c:v>
                </c:pt>
                <c:pt idx="1201">
                  <c:v>All Others</c:v>
                </c:pt>
                <c:pt idx="1202">
                  <c:v>Private Lab</c:v>
                </c:pt>
                <c:pt idx="1203">
                  <c:v>Lactalis: A</c:v>
                </c:pt>
                <c:pt idx="1204">
                  <c:v>All Others</c:v>
                </c:pt>
                <c:pt idx="1205">
                  <c:v>All Others</c:v>
                </c:pt>
                <c:pt idx="1206">
                  <c:v>All Others</c:v>
                </c:pt>
                <c:pt idx="1207">
                  <c:v>All Others</c:v>
                </c:pt>
                <c:pt idx="1208">
                  <c:v>All Others</c:v>
                </c:pt>
                <c:pt idx="1209">
                  <c:v>All Others</c:v>
                </c:pt>
                <c:pt idx="1210">
                  <c:v>All Others</c:v>
                </c:pt>
                <c:pt idx="1211">
                  <c:v>All Others</c:v>
                </c:pt>
                <c:pt idx="1212">
                  <c:v>Soignon</c:v>
                </c:pt>
                <c:pt idx="1213">
                  <c:v>Private Lab</c:v>
                </c:pt>
                <c:pt idx="1214">
                  <c:v>All Others</c:v>
                </c:pt>
                <c:pt idx="1215">
                  <c:v>All Others</c:v>
                </c:pt>
                <c:pt idx="1216">
                  <c:v>All Others</c:v>
                </c:pt>
                <c:pt idx="1217">
                  <c:v>All Others</c:v>
                </c:pt>
                <c:pt idx="1218">
                  <c:v>All Others</c:v>
                </c:pt>
                <c:pt idx="1219">
                  <c:v>All Others</c:v>
                </c:pt>
                <c:pt idx="1220">
                  <c:v>All Others</c:v>
                </c:pt>
                <c:pt idx="1221">
                  <c:v>All Others</c:v>
                </c:pt>
                <c:pt idx="1222">
                  <c:v>All Others</c:v>
                </c:pt>
                <c:pt idx="1223">
                  <c:v>All Others</c:v>
                </c:pt>
                <c:pt idx="1224">
                  <c:v>Eurial Autr</c:v>
                </c:pt>
                <c:pt idx="1225">
                  <c:v>All Others</c:v>
                </c:pt>
                <c:pt idx="1226">
                  <c:v>All Others</c:v>
                </c:pt>
                <c:pt idx="1227">
                  <c:v>All Others</c:v>
                </c:pt>
                <c:pt idx="1228">
                  <c:v>All Others</c:v>
                </c:pt>
                <c:pt idx="1229">
                  <c:v>All Others</c:v>
                </c:pt>
                <c:pt idx="1230">
                  <c:v>All Others</c:v>
                </c:pt>
                <c:pt idx="1231">
                  <c:v>All Others</c:v>
                </c:pt>
                <c:pt idx="1232">
                  <c:v>All Others</c:v>
                </c:pt>
                <c:pt idx="1233">
                  <c:v>All Others</c:v>
                </c:pt>
                <c:pt idx="1234">
                  <c:v>All Others</c:v>
                </c:pt>
                <c:pt idx="1235">
                  <c:v>All Others</c:v>
                </c:pt>
                <c:pt idx="1236">
                  <c:v>All Others</c:v>
                </c:pt>
                <c:pt idx="1237">
                  <c:v>All Others</c:v>
                </c:pt>
                <c:pt idx="1238">
                  <c:v>All Others</c:v>
                </c:pt>
                <c:pt idx="1239">
                  <c:v>All Others</c:v>
                </c:pt>
                <c:pt idx="1240">
                  <c:v>All Others</c:v>
                </c:pt>
                <c:pt idx="1241">
                  <c:v>All Others</c:v>
                </c:pt>
                <c:pt idx="1242">
                  <c:v>All Others</c:v>
                </c:pt>
                <c:pt idx="1243">
                  <c:v>All Others</c:v>
                </c:pt>
                <c:pt idx="1244">
                  <c:v>All Others</c:v>
                </c:pt>
                <c:pt idx="1245">
                  <c:v>All Others</c:v>
                </c:pt>
                <c:pt idx="1246">
                  <c:v>All Others</c:v>
                </c:pt>
                <c:pt idx="1247">
                  <c:v>All Others</c:v>
                </c:pt>
                <c:pt idx="1248">
                  <c:v>Eurial Autr</c:v>
                </c:pt>
                <c:pt idx="1249">
                  <c:v>All Others</c:v>
                </c:pt>
                <c:pt idx="1250">
                  <c:v>All Others</c:v>
                </c:pt>
                <c:pt idx="1251">
                  <c:v>All Others</c:v>
                </c:pt>
                <c:pt idx="1252">
                  <c:v>All Others</c:v>
                </c:pt>
                <c:pt idx="1253">
                  <c:v>All Others</c:v>
                </c:pt>
                <c:pt idx="1254">
                  <c:v>All Others</c:v>
                </c:pt>
                <c:pt idx="1255">
                  <c:v>All Others</c:v>
                </c:pt>
                <c:pt idx="1256">
                  <c:v>All Others</c:v>
                </c:pt>
                <c:pt idx="1257">
                  <c:v>All Others</c:v>
                </c:pt>
                <c:pt idx="1258">
                  <c:v>All Others</c:v>
                </c:pt>
                <c:pt idx="1259">
                  <c:v>All Others</c:v>
                </c:pt>
                <c:pt idx="1260">
                  <c:v>All Others</c:v>
                </c:pt>
                <c:pt idx="1261">
                  <c:v>All Others</c:v>
                </c:pt>
                <c:pt idx="1262">
                  <c:v>All Others</c:v>
                </c:pt>
                <c:pt idx="1263">
                  <c:v>All Others</c:v>
                </c:pt>
                <c:pt idx="1264">
                  <c:v>All Others</c:v>
                </c:pt>
                <c:pt idx="1265">
                  <c:v>All Others</c:v>
                </c:pt>
                <c:pt idx="1266">
                  <c:v>All Others</c:v>
                </c:pt>
                <c:pt idx="1267">
                  <c:v>All Others</c:v>
                </c:pt>
                <c:pt idx="1268">
                  <c:v>Private Lab</c:v>
                </c:pt>
                <c:pt idx="1269">
                  <c:v>All Others</c:v>
                </c:pt>
                <c:pt idx="1270">
                  <c:v>All Others</c:v>
                </c:pt>
                <c:pt idx="1271">
                  <c:v>All Others</c:v>
                </c:pt>
                <c:pt idx="1272">
                  <c:v>All Others</c:v>
                </c:pt>
                <c:pt idx="1273">
                  <c:v>All Others</c:v>
                </c:pt>
                <c:pt idx="1274">
                  <c:v>President</c:v>
                </c:pt>
                <c:pt idx="1275">
                  <c:v>All Others</c:v>
                </c:pt>
                <c:pt idx="1276">
                  <c:v>All Others</c:v>
                </c:pt>
                <c:pt idx="1277">
                  <c:v>All Others</c:v>
                </c:pt>
                <c:pt idx="1278">
                  <c:v>All Others</c:v>
                </c:pt>
                <c:pt idx="1279">
                  <c:v>All Others</c:v>
                </c:pt>
                <c:pt idx="1280">
                  <c:v>Lactalis: A</c:v>
                </c:pt>
                <c:pt idx="1281">
                  <c:v>All Others</c:v>
                </c:pt>
                <c:pt idx="1282">
                  <c:v>All Others</c:v>
                </c:pt>
                <c:pt idx="1283">
                  <c:v>All Others</c:v>
                </c:pt>
                <c:pt idx="1284">
                  <c:v>All Others</c:v>
                </c:pt>
                <c:pt idx="1285">
                  <c:v>All Others</c:v>
                </c:pt>
                <c:pt idx="1286">
                  <c:v>All Others</c:v>
                </c:pt>
                <c:pt idx="1287">
                  <c:v>All Others</c:v>
                </c:pt>
                <c:pt idx="1288">
                  <c:v>All Others</c:v>
                </c:pt>
                <c:pt idx="1289">
                  <c:v>All Others</c:v>
                </c:pt>
                <c:pt idx="1290">
                  <c:v>All Others</c:v>
                </c:pt>
                <c:pt idx="1291">
                  <c:v>All Others</c:v>
                </c:pt>
                <c:pt idx="1292">
                  <c:v>All Others</c:v>
                </c:pt>
                <c:pt idx="1293">
                  <c:v>All Others</c:v>
                </c:pt>
                <c:pt idx="1294">
                  <c:v>All Others</c:v>
                </c:pt>
                <c:pt idx="1295">
                  <c:v>All Others</c:v>
                </c:pt>
                <c:pt idx="1296">
                  <c:v>Private Lab</c:v>
                </c:pt>
                <c:pt idx="1297">
                  <c:v>All Others</c:v>
                </c:pt>
                <c:pt idx="1298">
                  <c:v>All Others</c:v>
                </c:pt>
                <c:pt idx="1299">
                  <c:v>All Others</c:v>
                </c:pt>
                <c:pt idx="1300">
                  <c:v>All Others</c:v>
                </c:pt>
                <c:pt idx="1301">
                  <c:v>All Others</c:v>
                </c:pt>
                <c:pt idx="1302">
                  <c:v>All Others</c:v>
                </c:pt>
                <c:pt idx="1303">
                  <c:v>All Others</c:v>
                </c:pt>
                <c:pt idx="1304">
                  <c:v>All Others</c:v>
                </c:pt>
                <c:pt idx="1305">
                  <c:v>All Others</c:v>
                </c:pt>
                <c:pt idx="1306">
                  <c:v>All Others</c:v>
                </c:pt>
                <c:pt idx="1307">
                  <c:v>All Others</c:v>
                </c:pt>
                <c:pt idx="1308">
                  <c:v>All Others</c:v>
                </c:pt>
                <c:pt idx="1309">
                  <c:v>All Others</c:v>
                </c:pt>
                <c:pt idx="1310">
                  <c:v>All Others</c:v>
                </c:pt>
                <c:pt idx="1311">
                  <c:v>All Others</c:v>
                </c:pt>
                <c:pt idx="1312">
                  <c:v>All Others</c:v>
                </c:pt>
                <c:pt idx="1313">
                  <c:v>All Others</c:v>
                </c:pt>
                <c:pt idx="1314">
                  <c:v>All Others</c:v>
                </c:pt>
                <c:pt idx="1315">
                  <c:v>All Others</c:v>
                </c:pt>
                <c:pt idx="1316">
                  <c:v>All Others</c:v>
                </c:pt>
                <c:pt idx="1317">
                  <c:v>All Others</c:v>
                </c:pt>
                <c:pt idx="1318">
                  <c:v>All Others</c:v>
                </c:pt>
                <c:pt idx="1319">
                  <c:v>All Others</c:v>
                </c:pt>
                <c:pt idx="1320">
                  <c:v>All Others</c:v>
                </c:pt>
                <c:pt idx="1321">
                  <c:v>All Others</c:v>
                </c:pt>
                <c:pt idx="1322">
                  <c:v>All Others</c:v>
                </c:pt>
                <c:pt idx="1323">
                  <c:v>All Others</c:v>
                </c:pt>
                <c:pt idx="1324">
                  <c:v>All Others</c:v>
                </c:pt>
                <c:pt idx="1325">
                  <c:v>All Others</c:v>
                </c:pt>
                <c:pt idx="1326">
                  <c:v>Private Lab</c:v>
                </c:pt>
                <c:pt idx="1327">
                  <c:v>Rondele</c:v>
                </c:pt>
                <c:pt idx="1328">
                  <c:v>All Others</c:v>
                </c:pt>
                <c:pt idx="1329">
                  <c:v>Lactalis: A</c:v>
                </c:pt>
                <c:pt idx="1330">
                  <c:v>All Others</c:v>
                </c:pt>
                <c:pt idx="1331">
                  <c:v>All Others</c:v>
                </c:pt>
                <c:pt idx="1332">
                  <c:v>All Others</c:v>
                </c:pt>
                <c:pt idx="1333">
                  <c:v>All Others</c:v>
                </c:pt>
                <c:pt idx="1334">
                  <c:v>All Others</c:v>
                </c:pt>
                <c:pt idx="1335">
                  <c:v>All Others</c:v>
                </c:pt>
                <c:pt idx="1336">
                  <c:v>All Others</c:v>
                </c:pt>
                <c:pt idx="1337">
                  <c:v>All Others</c:v>
                </c:pt>
                <c:pt idx="1338">
                  <c:v>All Others</c:v>
                </c:pt>
                <c:pt idx="1339">
                  <c:v>All Others</c:v>
                </c:pt>
                <c:pt idx="1340">
                  <c:v>All Others</c:v>
                </c:pt>
                <c:pt idx="1341">
                  <c:v>All Others</c:v>
                </c:pt>
                <c:pt idx="1342">
                  <c:v>All Others</c:v>
                </c:pt>
                <c:pt idx="1343">
                  <c:v>Rondele</c:v>
                </c:pt>
                <c:pt idx="1344">
                  <c:v>All Others</c:v>
                </c:pt>
                <c:pt idx="1345">
                  <c:v>All Others</c:v>
                </c:pt>
                <c:pt idx="1346">
                  <c:v>Private Lab</c:v>
                </c:pt>
                <c:pt idx="1347">
                  <c:v>All Others</c:v>
                </c:pt>
                <c:pt idx="1348">
                  <c:v>All Others</c:v>
                </c:pt>
                <c:pt idx="1349">
                  <c:v>All Others</c:v>
                </c:pt>
                <c:pt idx="1350">
                  <c:v>All Others</c:v>
                </c:pt>
                <c:pt idx="1351">
                  <c:v>All Others</c:v>
                </c:pt>
                <c:pt idx="1352">
                  <c:v>All Others</c:v>
                </c:pt>
                <c:pt idx="1353">
                  <c:v>All Others</c:v>
                </c:pt>
                <c:pt idx="1354">
                  <c:v>All Others</c:v>
                </c:pt>
                <c:pt idx="1355">
                  <c:v>All Others</c:v>
                </c:pt>
                <c:pt idx="1356">
                  <c:v>All Others</c:v>
                </c:pt>
                <c:pt idx="1357">
                  <c:v>All Others</c:v>
                </c:pt>
                <c:pt idx="1358">
                  <c:v>All Others</c:v>
                </c:pt>
                <c:pt idx="1359">
                  <c:v>All Others</c:v>
                </c:pt>
                <c:pt idx="1360">
                  <c:v>All Others</c:v>
                </c:pt>
                <c:pt idx="1361">
                  <c:v>All Others</c:v>
                </c:pt>
                <c:pt idx="1362">
                  <c:v>All Others</c:v>
                </c:pt>
                <c:pt idx="1363">
                  <c:v>All Others</c:v>
                </c:pt>
                <c:pt idx="1364">
                  <c:v>Lactalis: A</c:v>
                </c:pt>
                <c:pt idx="1365">
                  <c:v>All Others</c:v>
                </c:pt>
                <c:pt idx="1366">
                  <c:v>All Others</c:v>
                </c:pt>
                <c:pt idx="1367">
                  <c:v>All Others</c:v>
                </c:pt>
                <c:pt idx="1368">
                  <c:v>All Others</c:v>
                </c:pt>
                <c:pt idx="1369">
                  <c:v>All Others</c:v>
                </c:pt>
                <c:pt idx="1370">
                  <c:v>All Others</c:v>
                </c:pt>
                <c:pt idx="1371">
                  <c:v>All Others</c:v>
                </c:pt>
                <c:pt idx="1372">
                  <c:v>All Others</c:v>
                </c:pt>
                <c:pt idx="1373">
                  <c:v>All Others</c:v>
                </c:pt>
                <c:pt idx="1374">
                  <c:v>Rondele</c:v>
                </c:pt>
                <c:pt idx="1375">
                  <c:v>All Others</c:v>
                </c:pt>
                <c:pt idx="1376">
                  <c:v>All Others</c:v>
                </c:pt>
                <c:pt idx="1377">
                  <c:v>All Others</c:v>
                </c:pt>
                <c:pt idx="1378">
                  <c:v>All Others</c:v>
                </c:pt>
                <c:pt idx="1379">
                  <c:v>All Others</c:v>
                </c:pt>
                <c:pt idx="1380">
                  <c:v>All Others</c:v>
                </c:pt>
                <c:pt idx="1381">
                  <c:v>All Others</c:v>
                </c:pt>
                <c:pt idx="1382">
                  <c:v>All Others</c:v>
                </c:pt>
                <c:pt idx="1383">
                  <c:v>All Others</c:v>
                </c:pt>
                <c:pt idx="1384">
                  <c:v>Lactalis: A</c:v>
                </c:pt>
                <c:pt idx="1385">
                  <c:v>All Others</c:v>
                </c:pt>
                <c:pt idx="1386">
                  <c:v>All Others</c:v>
                </c:pt>
                <c:pt idx="1387">
                  <c:v>All Others</c:v>
                </c:pt>
                <c:pt idx="1388">
                  <c:v>All Others</c:v>
                </c:pt>
                <c:pt idx="1389">
                  <c:v>All Others</c:v>
                </c:pt>
                <c:pt idx="1390">
                  <c:v>Private Lab</c:v>
                </c:pt>
                <c:pt idx="1391">
                  <c:v>Savencia: A</c:v>
                </c:pt>
                <c:pt idx="1392">
                  <c:v>Eurial Autr</c:v>
                </c:pt>
                <c:pt idx="1393">
                  <c:v>Lactalis: A</c:v>
                </c:pt>
                <c:pt idx="1394">
                  <c:v>All Others</c:v>
                </c:pt>
                <c:pt idx="1395">
                  <c:v>All Others</c:v>
                </c:pt>
                <c:pt idx="1396">
                  <c:v>All Others</c:v>
                </c:pt>
                <c:pt idx="1397">
                  <c:v>All Others</c:v>
                </c:pt>
                <c:pt idx="1398">
                  <c:v>All Others</c:v>
                </c:pt>
                <c:pt idx="1399">
                  <c:v>Savencia: A</c:v>
                </c:pt>
                <c:pt idx="1400">
                  <c:v>All Others</c:v>
                </c:pt>
                <c:pt idx="1401">
                  <c:v>All Others</c:v>
                </c:pt>
                <c:pt idx="1402">
                  <c:v>All Others</c:v>
                </c:pt>
                <c:pt idx="1403">
                  <c:v>All Others</c:v>
                </c:pt>
                <c:pt idx="1404">
                  <c:v>All Others</c:v>
                </c:pt>
                <c:pt idx="1405">
                  <c:v>All Others</c:v>
                </c:pt>
                <c:pt idx="1406">
                  <c:v>All Others</c:v>
                </c:pt>
                <c:pt idx="1407">
                  <c:v>All Others</c:v>
                </c:pt>
                <c:pt idx="1408">
                  <c:v>All Others</c:v>
                </c:pt>
                <c:pt idx="1409">
                  <c:v>All Others</c:v>
                </c:pt>
                <c:pt idx="1410">
                  <c:v>All Others</c:v>
                </c:pt>
                <c:pt idx="1411">
                  <c:v>All Others</c:v>
                </c:pt>
                <c:pt idx="1412">
                  <c:v>All Others</c:v>
                </c:pt>
                <c:pt idx="1413">
                  <c:v>All Others</c:v>
                </c:pt>
                <c:pt idx="1414">
                  <c:v>Private Lab</c:v>
                </c:pt>
                <c:pt idx="1415">
                  <c:v>All Others</c:v>
                </c:pt>
                <c:pt idx="1416">
                  <c:v>All Others</c:v>
                </c:pt>
                <c:pt idx="1417">
                  <c:v>All Others</c:v>
                </c:pt>
                <c:pt idx="1418">
                  <c:v>All Others</c:v>
                </c:pt>
                <c:pt idx="1419">
                  <c:v>All Others</c:v>
                </c:pt>
                <c:pt idx="1420">
                  <c:v>Private Lab</c:v>
                </c:pt>
                <c:pt idx="1421">
                  <c:v>All Others</c:v>
                </c:pt>
                <c:pt idx="1422">
                  <c:v>Eurial Autr</c:v>
                </c:pt>
                <c:pt idx="1423">
                  <c:v>All Others</c:v>
                </c:pt>
                <c:pt idx="1424">
                  <c:v>All Others</c:v>
                </c:pt>
                <c:pt idx="1425">
                  <c:v>All Others</c:v>
                </c:pt>
                <c:pt idx="1426">
                  <c:v>All Others</c:v>
                </c:pt>
                <c:pt idx="1427">
                  <c:v>All Others</c:v>
                </c:pt>
                <c:pt idx="1428">
                  <c:v>All Others</c:v>
                </c:pt>
                <c:pt idx="1429">
                  <c:v>All Others</c:v>
                </c:pt>
                <c:pt idx="1430">
                  <c:v>All Others</c:v>
                </c:pt>
                <c:pt idx="1431">
                  <c:v>All Others</c:v>
                </c:pt>
                <c:pt idx="1432">
                  <c:v>All Others</c:v>
                </c:pt>
                <c:pt idx="1433">
                  <c:v>All Others</c:v>
                </c:pt>
                <c:pt idx="1434">
                  <c:v>All Others</c:v>
                </c:pt>
                <c:pt idx="1435">
                  <c:v>All Others</c:v>
                </c:pt>
                <c:pt idx="1436">
                  <c:v>All Others</c:v>
                </c:pt>
                <c:pt idx="1437">
                  <c:v>All Others</c:v>
                </c:pt>
                <c:pt idx="1438">
                  <c:v>All Others</c:v>
                </c:pt>
                <c:pt idx="1439">
                  <c:v>All Others</c:v>
                </c:pt>
                <c:pt idx="1440">
                  <c:v>Galbani</c:v>
                </c:pt>
                <c:pt idx="1441">
                  <c:v>All Others</c:v>
                </c:pt>
                <c:pt idx="1442">
                  <c:v>All Others</c:v>
                </c:pt>
                <c:pt idx="1443">
                  <c:v>All Others</c:v>
                </c:pt>
                <c:pt idx="1444">
                  <c:v>All Others</c:v>
                </c:pt>
                <c:pt idx="1445">
                  <c:v>All Others</c:v>
                </c:pt>
                <c:pt idx="1446">
                  <c:v>All Others</c:v>
                </c:pt>
                <c:pt idx="1447">
                  <c:v>All Others</c:v>
                </c:pt>
                <c:pt idx="1448">
                  <c:v>All Others</c:v>
                </c:pt>
                <c:pt idx="1449">
                  <c:v>All Others</c:v>
                </c:pt>
                <c:pt idx="1450">
                  <c:v>All Others</c:v>
                </c:pt>
                <c:pt idx="1451">
                  <c:v>All Others</c:v>
                </c:pt>
                <c:pt idx="1452">
                  <c:v>All Others</c:v>
                </c:pt>
                <c:pt idx="1453">
                  <c:v>All Others</c:v>
                </c:pt>
                <c:pt idx="1454">
                  <c:v>All Others</c:v>
                </c:pt>
                <c:pt idx="1455">
                  <c:v>All Others</c:v>
                </c:pt>
                <c:pt idx="1456">
                  <c:v>All Others</c:v>
                </c:pt>
                <c:pt idx="1457">
                  <c:v>All Others</c:v>
                </c:pt>
                <c:pt idx="1458">
                  <c:v>All Others</c:v>
                </c:pt>
                <c:pt idx="1459">
                  <c:v>All Others</c:v>
                </c:pt>
                <c:pt idx="1460">
                  <c:v>All Others</c:v>
                </c:pt>
                <c:pt idx="1461">
                  <c:v>Private Lab</c:v>
                </c:pt>
                <c:pt idx="1462">
                  <c:v>All Others</c:v>
                </c:pt>
                <c:pt idx="1463">
                  <c:v>All Others</c:v>
                </c:pt>
                <c:pt idx="1464">
                  <c:v>All Others</c:v>
                </c:pt>
                <c:pt idx="1465">
                  <c:v>Eurial Autr</c:v>
                </c:pt>
                <c:pt idx="1466">
                  <c:v>All Others</c:v>
                </c:pt>
                <c:pt idx="1467">
                  <c:v>All Others</c:v>
                </c:pt>
                <c:pt idx="1468">
                  <c:v>All Others</c:v>
                </c:pt>
                <c:pt idx="1469">
                  <c:v>All Others</c:v>
                </c:pt>
                <c:pt idx="1470">
                  <c:v>All Others</c:v>
                </c:pt>
                <c:pt idx="1471">
                  <c:v>Private Lab</c:v>
                </c:pt>
                <c:pt idx="1472">
                  <c:v>All Others</c:v>
                </c:pt>
                <c:pt idx="1473">
                  <c:v>All Others</c:v>
                </c:pt>
                <c:pt idx="1474">
                  <c:v>All Others</c:v>
                </c:pt>
                <c:pt idx="1475">
                  <c:v>All Others</c:v>
                </c:pt>
                <c:pt idx="1476">
                  <c:v>All Others</c:v>
                </c:pt>
                <c:pt idx="1477">
                  <c:v>All Others</c:v>
                </c:pt>
                <c:pt idx="1478">
                  <c:v>All Others</c:v>
                </c:pt>
                <c:pt idx="1479">
                  <c:v>All Others</c:v>
                </c:pt>
                <c:pt idx="1480">
                  <c:v>All Others</c:v>
                </c:pt>
                <c:pt idx="1481">
                  <c:v>All Others</c:v>
                </c:pt>
                <c:pt idx="1482">
                  <c:v>Private Lab</c:v>
                </c:pt>
                <c:pt idx="1483">
                  <c:v>All Others</c:v>
                </c:pt>
                <c:pt idx="1484">
                  <c:v>All Others</c:v>
                </c:pt>
                <c:pt idx="1485">
                  <c:v>All Others</c:v>
                </c:pt>
                <c:pt idx="1486">
                  <c:v>All Others</c:v>
                </c:pt>
                <c:pt idx="1487">
                  <c:v>All Others</c:v>
                </c:pt>
                <c:pt idx="1488">
                  <c:v>All Others</c:v>
                </c:pt>
                <c:pt idx="1489">
                  <c:v>Savencia: A</c:v>
                </c:pt>
                <c:pt idx="1490">
                  <c:v>All Others</c:v>
                </c:pt>
                <c:pt idx="1491">
                  <c:v>All Others</c:v>
                </c:pt>
                <c:pt idx="1492">
                  <c:v>All Others</c:v>
                </c:pt>
                <c:pt idx="1493">
                  <c:v>All Others</c:v>
                </c:pt>
                <c:pt idx="1494">
                  <c:v>Limiano</c:v>
                </c:pt>
                <c:pt idx="1495">
                  <c:v>All Others</c:v>
                </c:pt>
                <c:pt idx="1496">
                  <c:v>All Others</c:v>
                </c:pt>
                <c:pt idx="1497">
                  <c:v>Private Lab</c:v>
                </c:pt>
                <c:pt idx="1498">
                  <c:v>All Others</c:v>
                </c:pt>
                <c:pt idx="1499">
                  <c:v>Private Lab</c:v>
                </c:pt>
                <c:pt idx="1500">
                  <c:v>All Others</c:v>
                </c:pt>
                <c:pt idx="1501">
                  <c:v>All Others</c:v>
                </c:pt>
                <c:pt idx="1502">
                  <c:v>All Others</c:v>
                </c:pt>
                <c:pt idx="1503">
                  <c:v>All Others</c:v>
                </c:pt>
                <c:pt idx="1504">
                  <c:v>All Others</c:v>
                </c:pt>
                <c:pt idx="1505">
                  <c:v>All Others</c:v>
                </c:pt>
                <c:pt idx="1506">
                  <c:v>All Others</c:v>
                </c:pt>
                <c:pt idx="1507">
                  <c:v>All Others</c:v>
                </c:pt>
                <c:pt idx="1508">
                  <c:v>All Others</c:v>
                </c:pt>
                <c:pt idx="1509">
                  <c:v>All Others</c:v>
                </c:pt>
                <c:pt idx="1510">
                  <c:v>All Others</c:v>
                </c:pt>
                <c:pt idx="1511">
                  <c:v>All Others</c:v>
                </c:pt>
                <c:pt idx="1512">
                  <c:v>Salakis</c:v>
                </c:pt>
                <c:pt idx="1513">
                  <c:v>Societe</c:v>
                </c:pt>
                <c:pt idx="1514">
                  <c:v>All Others</c:v>
                </c:pt>
                <c:pt idx="1515">
                  <c:v>All Others</c:v>
                </c:pt>
                <c:pt idx="1516">
                  <c:v>All Others</c:v>
                </c:pt>
                <c:pt idx="1517">
                  <c:v>All Others</c:v>
                </c:pt>
                <c:pt idx="1518">
                  <c:v>All Others</c:v>
                </c:pt>
                <c:pt idx="1519">
                  <c:v>All Others</c:v>
                </c:pt>
                <c:pt idx="1520">
                  <c:v>All Others</c:v>
                </c:pt>
                <c:pt idx="1521">
                  <c:v>All Others</c:v>
                </c:pt>
                <c:pt idx="1522">
                  <c:v>All Others</c:v>
                </c:pt>
                <c:pt idx="1523">
                  <c:v>All Others</c:v>
                </c:pt>
                <c:pt idx="1524">
                  <c:v>All Others</c:v>
                </c:pt>
                <c:pt idx="1525">
                  <c:v>All Others</c:v>
                </c:pt>
                <c:pt idx="1526">
                  <c:v>All Others</c:v>
                </c:pt>
                <c:pt idx="1527">
                  <c:v>All Others</c:v>
                </c:pt>
                <c:pt idx="1528">
                  <c:v>All Others</c:v>
                </c:pt>
                <c:pt idx="1529">
                  <c:v>All Others</c:v>
                </c:pt>
                <c:pt idx="1530">
                  <c:v>All Others</c:v>
                </c:pt>
                <c:pt idx="1531">
                  <c:v>All Others</c:v>
                </c:pt>
                <c:pt idx="1532">
                  <c:v>All Others</c:v>
                </c:pt>
                <c:pt idx="1533">
                  <c:v>All Others</c:v>
                </c:pt>
                <c:pt idx="1534">
                  <c:v>All Others</c:v>
                </c:pt>
                <c:pt idx="1535">
                  <c:v>Private Lab</c:v>
                </c:pt>
                <c:pt idx="1536">
                  <c:v>All Others</c:v>
                </c:pt>
                <c:pt idx="1537">
                  <c:v>All Others</c:v>
                </c:pt>
                <c:pt idx="1538">
                  <c:v>All Others</c:v>
                </c:pt>
                <c:pt idx="1539">
                  <c:v>All Others</c:v>
                </c:pt>
                <c:pt idx="1540">
                  <c:v>All Others</c:v>
                </c:pt>
                <c:pt idx="1541">
                  <c:v>All Others</c:v>
                </c:pt>
                <c:pt idx="1542">
                  <c:v>Private Lab</c:v>
                </c:pt>
                <c:pt idx="1543">
                  <c:v>All Others</c:v>
                </c:pt>
                <c:pt idx="1544">
                  <c:v>All Others</c:v>
                </c:pt>
                <c:pt idx="1545">
                  <c:v>All Others</c:v>
                </c:pt>
                <c:pt idx="1546">
                  <c:v>All Others</c:v>
                </c:pt>
                <c:pt idx="1547">
                  <c:v>All Others</c:v>
                </c:pt>
                <c:pt idx="1548">
                  <c:v>All Others</c:v>
                </c:pt>
                <c:pt idx="1549">
                  <c:v>All Others</c:v>
                </c:pt>
                <c:pt idx="1550">
                  <c:v>All Others</c:v>
                </c:pt>
                <c:pt idx="1551">
                  <c:v>All Others</c:v>
                </c:pt>
                <c:pt idx="1552">
                  <c:v>All Others</c:v>
                </c:pt>
                <c:pt idx="1553">
                  <c:v>All Others</c:v>
                </c:pt>
                <c:pt idx="1554">
                  <c:v>All Others</c:v>
                </c:pt>
                <c:pt idx="1555">
                  <c:v>All Others</c:v>
                </c:pt>
                <c:pt idx="1556">
                  <c:v>All Others</c:v>
                </c:pt>
                <c:pt idx="1557">
                  <c:v>All Others</c:v>
                </c:pt>
                <c:pt idx="1558">
                  <c:v>All Others</c:v>
                </c:pt>
                <c:pt idx="1559">
                  <c:v>All Others</c:v>
                </c:pt>
                <c:pt idx="1560">
                  <c:v>All Others</c:v>
                </c:pt>
                <c:pt idx="1561">
                  <c:v>All Others</c:v>
                </c:pt>
                <c:pt idx="1562">
                  <c:v>All Others</c:v>
                </c:pt>
                <c:pt idx="1563">
                  <c:v>All Others</c:v>
                </c:pt>
                <c:pt idx="1564">
                  <c:v>All Others</c:v>
                </c:pt>
                <c:pt idx="1565">
                  <c:v>All Others</c:v>
                </c:pt>
                <c:pt idx="1566">
                  <c:v>All Others</c:v>
                </c:pt>
                <c:pt idx="1567">
                  <c:v>All Others</c:v>
                </c:pt>
                <c:pt idx="1568">
                  <c:v>All Others</c:v>
                </c:pt>
                <c:pt idx="1569">
                  <c:v>All Others</c:v>
                </c:pt>
                <c:pt idx="1570">
                  <c:v>All Others</c:v>
                </c:pt>
                <c:pt idx="1571">
                  <c:v>All Others</c:v>
                </c:pt>
                <c:pt idx="1572">
                  <c:v>All Others</c:v>
                </c:pt>
                <c:pt idx="1573">
                  <c:v>All Others</c:v>
                </c:pt>
                <c:pt idx="1574">
                  <c:v>All Others</c:v>
                </c:pt>
                <c:pt idx="1575">
                  <c:v>All Others</c:v>
                </c:pt>
                <c:pt idx="1576">
                  <c:v>All Others</c:v>
                </c:pt>
                <c:pt idx="1577">
                  <c:v>All Others</c:v>
                </c:pt>
                <c:pt idx="1578">
                  <c:v>All Others</c:v>
                </c:pt>
                <c:pt idx="1579">
                  <c:v>All Others</c:v>
                </c:pt>
                <c:pt idx="1580">
                  <c:v>All Others</c:v>
                </c:pt>
                <c:pt idx="1581">
                  <c:v>All Others</c:v>
                </c:pt>
                <c:pt idx="1582">
                  <c:v>All Others</c:v>
                </c:pt>
                <c:pt idx="1583">
                  <c:v>All Others</c:v>
                </c:pt>
                <c:pt idx="1584">
                  <c:v>All Others</c:v>
                </c:pt>
                <c:pt idx="1585">
                  <c:v>All Others</c:v>
                </c:pt>
                <c:pt idx="1586">
                  <c:v>All Others</c:v>
                </c:pt>
                <c:pt idx="1587">
                  <c:v>All Others</c:v>
                </c:pt>
                <c:pt idx="1588">
                  <c:v>All Others</c:v>
                </c:pt>
                <c:pt idx="1589">
                  <c:v>All Others</c:v>
                </c:pt>
                <c:pt idx="1590">
                  <c:v>All Others</c:v>
                </c:pt>
                <c:pt idx="1591">
                  <c:v>All Others</c:v>
                </c:pt>
                <c:pt idx="1592">
                  <c:v>Private Lab</c:v>
                </c:pt>
                <c:pt idx="1593">
                  <c:v>All Others</c:v>
                </c:pt>
                <c:pt idx="1594">
                  <c:v>All Others</c:v>
                </c:pt>
                <c:pt idx="1595">
                  <c:v>All Others</c:v>
                </c:pt>
                <c:pt idx="1596">
                  <c:v>All Others</c:v>
                </c:pt>
                <c:pt idx="1597">
                  <c:v>All Others</c:v>
                </c:pt>
                <c:pt idx="1598">
                  <c:v>All Others</c:v>
                </c:pt>
                <c:pt idx="1599">
                  <c:v>All Others</c:v>
                </c:pt>
                <c:pt idx="1600">
                  <c:v>All Others</c:v>
                </c:pt>
                <c:pt idx="1601">
                  <c:v>All Others</c:v>
                </c:pt>
                <c:pt idx="1602">
                  <c:v>All Others</c:v>
                </c:pt>
                <c:pt idx="1603">
                  <c:v>All Others</c:v>
                </c:pt>
                <c:pt idx="1604">
                  <c:v>Private Lab</c:v>
                </c:pt>
                <c:pt idx="1605">
                  <c:v>All Others</c:v>
                </c:pt>
                <c:pt idx="1606">
                  <c:v>All Others</c:v>
                </c:pt>
                <c:pt idx="1607">
                  <c:v>All Others</c:v>
                </c:pt>
                <c:pt idx="1608">
                  <c:v>Private Lab</c:v>
                </c:pt>
                <c:pt idx="1609">
                  <c:v>All Others</c:v>
                </c:pt>
                <c:pt idx="1610">
                  <c:v>All Others</c:v>
                </c:pt>
                <c:pt idx="1611">
                  <c:v>All Others</c:v>
                </c:pt>
                <c:pt idx="1612">
                  <c:v>All Others</c:v>
                </c:pt>
                <c:pt idx="1613">
                  <c:v>All Others</c:v>
                </c:pt>
                <c:pt idx="1614">
                  <c:v>Milleret: A</c:v>
                </c:pt>
                <c:pt idx="1615">
                  <c:v>All Others</c:v>
                </c:pt>
                <c:pt idx="1616">
                  <c:v>All Others</c:v>
                </c:pt>
                <c:pt idx="1617">
                  <c:v>All Others</c:v>
                </c:pt>
                <c:pt idx="1618">
                  <c:v>All Others</c:v>
                </c:pt>
                <c:pt idx="1619">
                  <c:v>Private Lab</c:v>
                </c:pt>
                <c:pt idx="1620">
                  <c:v>All Others</c:v>
                </c:pt>
                <c:pt idx="1621">
                  <c:v>All Others</c:v>
                </c:pt>
                <c:pt idx="1622">
                  <c:v>All Others</c:v>
                </c:pt>
                <c:pt idx="1623">
                  <c:v>All Others</c:v>
                </c:pt>
                <c:pt idx="1624">
                  <c:v>All Others</c:v>
                </c:pt>
                <c:pt idx="1625">
                  <c:v>All Others</c:v>
                </c:pt>
                <c:pt idx="1626">
                  <c:v>All Others</c:v>
                </c:pt>
                <c:pt idx="1627">
                  <c:v>All Others</c:v>
                </c:pt>
                <c:pt idx="1628">
                  <c:v>All Others</c:v>
                </c:pt>
                <c:pt idx="1629">
                  <c:v>All Others</c:v>
                </c:pt>
                <c:pt idx="1630">
                  <c:v>All Others</c:v>
                </c:pt>
                <c:pt idx="1631">
                  <c:v>All Others</c:v>
                </c:pt>
                <c:pt idx="1632">
                  <c:v>All Others</c:v>
                </c:pt>
                <c:pt idx="1633">
                  <c:v>Private Lab</c:v>
                </c:pt>
                <c:pt idx="1634">
                  <c:v>All Others</c:v>
                </c:pt>
                <c:pt idx="1635">
                  <c:v>All Others</c:v>
                </c:pt>
                <c:pt idx="1636">
                  <c:v>All Others</c:v>
                </c:pt>
                <c:pt idx="1637">
                  <c:v>All Others</c:v>
                </c:pt>
                <c:pt idx="1638">
                  <c:v>All Others</c:v>
                </c:pt>
                <c:pt idx="1639">
                  <c:v>All Others</c:v>
                </c:pt>
                <c:pt idx="1640">
                  <c:v>All Others</c:v>
                </c:pt>
                <c:pt idx="1641">
                  <c:v>Private Lab</c:v>
                </c:pt>
                <c:pt idx="1642">
                  <c:v>All Others</c:v>
                </c:pt>
                <c:pt idx="1643">
                  <c:v>All Others</c:v>
                </c:pt>
                <c:pt idx="1644">
                  <c:v>All Others</c:v>
                </c:pt>
                <c:pt idx="1645">
                  <c:v>Private Lab</c:v>
                </c:pt>
                <c:pt idx="1646">
                  <c:v>All Others</c:v>
                </c:pt>
                <c:pt idx="1647">
                  <c:v>All Others</c:v>
                </c:pt>
                <c:pt idx="1648">
                  <c:v>All Others</c:v>
                </c:pt>
                <c:pt idx="1649">
                  <c:v>All Others</c:v>
                </c:pt>
                <c:pt idx="1650">
                  <c:v>Lactalis: A</c:v>
                </c:pt>
                <c:pt idx="1651">
                  <c:v>Private Lab</c:v>
                </c:pt>
                <c:pt idx="1652">
                  <c:v>All Others</c:v>
                </c:pt>
                <c:pt idx="1653">
                  <c:v>Private Lab</c:v>
                </c:pt>
                <c:pt idx="1654">
                  <c:v>All Others</c:v>
                </c:pt>
                <c:pt idx="1655">
                  <c:v>All Others</c:v>
                </c:pt>
                <c:pt idx="1656">
                  <c:v>All Others</c:v>
                </c:pt>
                <c:pt idx="1657">
                  <c:v>All Others</c:v>
                </c:pt>
                <c:pt idx="1658">
                  <c:v>All Others</c:v>
                </c:pt>
                <c:pt idx="1659">
                  <c:v>All Others</c:v>
                </c:pt>
                <c:pt idx="1660">
                  <c:v>All Others</c:v>
                </c:pt>
                <c:pt idx="1661">
                  <c:v>All Others</c:v>
                </c:pt>
                <c:pt idx="1662">
                  <c:v>All Others</c:v>
                </c:pt>
                <c:pt idx="1663">
                  <c:v>All Others</c:v>
                </c:pt>
                <c:pt idx="1664">
                  <c:v>All Others</c:v>
                </c:pt>
                <c:pt idx="1665">
                  <c:v>All Others</c:v>
                </c:pt>
                <c:pt idx="1666">
                  <c:v>Ficello</c:v>
                </c:pt>
                <c:pt idx="1667">
                  <c:v>Mini Babybe</c:v>
                </c:pt>
                <c:pt idx="1668">
                  <c:v>Private Lab</c:v>
                </c:pt>
                <c:pt idx="1669">
                  <c:v>All Others</c:v>
                </c:pt>
                <c:pt idx="1670">
                  <c:v>All Others</c:v>
                </c:pt>
                <c:pt idx="1671">
                  <c:v>All Others</c:v>
                </c:pt>
                <c:pt idx="1672">
                  <c:v>All Others</c:v>
                </c:pt>
                <c:pt idx="1673">
                  <c:v>All Others</c:v>
                </c:pt>
                <c:pt idx="1674">
                  <c:v>All Others</c:v>
                </c:pt>
                <c:pt idx="1675">
                  <c:v>Savencia: A</c:v>
                </c:pt>
                <c:pt idx="1676">
                  <c:v>All Others</c:v>
                </c:pt>
                <c:pt idx="1677">
                  <c:v>All Others</c:v>
                </c:pt>
                <c:pt idx="1678">
                  <c:v>All Others</c:v>
                </c:pt>
                <c:pt idx="1679">
                  <c:v>All Others</c:v>
                </c:pt>
              </c:strCache>
            </c:strRef>
          </c:cat>
          <c:val>
            <c:numRef>
              <c:f>Sheet1!$C$2:$C$1681</c:f>
              <c:numCache>
                <c:formatCode>General</c:formatCode>
                <c:ptCount val="1680"/>
                <c:pt idx="0">
                  <c:v>0.07258646536759555</c:v>
                </c:pt>
                <c:pt idx="1">
                  <c:v>0.09023757330194984</c:v>
                </c:pt>
                <c:pt idx="2">
                  <c:v>0.10592058710409341</c:v>
                </c:pt>
                <c:pt idx="3">
                  <c:v>0.12093901546491896</c:v>
                </c:pt>
                <c:pt idx="4">
                  <c:v>0.1351764914023906</c:v>
                </c:pt>
                <c:pt idx="5">
                  <c:v>0.14870127340494046</c:v>
                </c:pt>
                <c:pt idx="6">
                  <c:v>0.16182720953431978</c:v>
                </c:pt>
                <c:pt idx="7">
                  <c:v>0.1744802640957144</c:v>
                </c:pt>
                <c:pt idx="8">
                  <c:v>0.19806049773919096</c:v>
                </c:pt>
                <c:pt idx="9">
                  <c:v>0.21888285338661292</c:v>
                </c:pt>
                <c:pt idx="10">
                  <c:v>0.22852064083211274</c:v>
                </c:pt>
                <c:pt idx="11">
                  <c:v>0.23813414678519265</c:v>
                </c:pt>
                <c:pt idx="12">
                  <c:v>0.24759218890956047</c:v>
                </c:pt>
                <c:pt idx="13">
                  <c:v>0.256958168070117</c:v>
                </c:pt>
                <c:pt idx="14">
                  <c:v>0.26618814967236476</c:v>
                </c:pt>
                <c:pt idx="15">
                  <c:v>0.2748533324980234</c:v>
                </c:pt>
                <c:pt idx="16">
                  <c:v>0.2832733113391375</c:v>
                </c:pt>
                <c:pt idx="17">
                  <c:v>0.29167897834398276</c:v>
                </c:pt>
                <c:pt idx="18">
                  <c:v>0.30006985649551843</c:v>
                </c:pt>
                <c:pt idx="19">
                  <c:v>0.30777411366854956</c:v>
                </c:pt>
                <c:pt idx="20">
                  <c:v>0.32235113431074647</c:v>
                </c:pt>
                <c:pt idx="21">
                  <c:v>0.32955196624966626</c:v>
                </c:pt>
                <c:pt idx="22">
                  <c:v>0.33638589523152823</c:v>
                </c:pt>
                <c:pt idx="23">
                  <c:v>0.3567099668284999</c:v>
                </c:pt>
                <c:pt idx="24">
                  <c:v>0.36323232020479074</c:v>
                </c:pt>
                <c:pt idx="25">
                  <c:v>0.3760120174903067</c:v>
                </c:pt>
                <c:pt idx="26">
                  <c:v>0.38227046383891483</c:v>
                </c:pt>
                <c:pt idx="27">
                  <c:v>0.38846019323271286</c:v>
                </c:pt>
                <c:pt idx="28">
                  <c:v>0.4006833269108288</c:v>
                </c:pt>
                <c:pt idx="29">
                  <c:v>0.40673238530436634</c:v>
                </c:pt>
                <c:pt idx="30">
                  <c:v>0.4184794215246147</c:v>
                </c:pt>
                <c:pt idx="31">
                  <c:v>0.4297744403722205</c:v>
                </c:pt>
                <c:pt idx="32">
                  <c:v>0.44502547151743166</c:v>
                </c:pt>
                <c:pt idx="33">
                  <c:v>0.44991330612799135</c:v>
                </c:pt>
                <c:pt idx="34">
                  <c:v>0.4594898260348002</c:v>
                </c:pt>
                <c:pt idx="35">
                  <c:v>0.46421029524148194</c:v>
                </c:pt>
                <c:pt idx="36">
                  <c:v>0.46877740479462005</c:v>
                </c:pt>
                <c:pt idx="37">
                  <c:v>0.47332661560835254</c:v>
                </c:pt>
                <c:pt idx="38">
                  <c:v>0.4778301202393002</c:v>
                </c:pt>
                <c:pt idx="39">
                  <c:v>0.48223267746405324</c:v>
                </c:pt>
                <c:pt idx="40">
                  <c:v>0.4866228905478303</c:v>
                </c:pt>
                <c:pt idx="41">
                  <c:v>0.4909714123422486</c:v>
                </c:pt>
                <c:pt idx="42">
                  <c:v>0.495305385116925</c:v>
                </c:pt>
                <c:pt idx="43">
                  <c:v>0.4995534855489408</c:v>
                </c:pt>
                <c:pt idx="44">
                  <c:v>0.503765546018483</c:v>
                </c:pt>
                <c:pt idx="45">
                  <c:v>0.5079523815619026</c:v>
                </c:pt>
                <c:pt idx="46">
                  <c:v>0.512135194261612</c:v>
                </c:pt>
                <c:pt idx="47">
                  <c:v>0.5204396395754641</c:v>
                </c:pt>
                <c:pt idx="48">
                  <c:v>0.5245671434743496</c:v>
                </c:pt>
                <c:pt idx="49">
                  <c:v>0.5285962135818356</c:v>
                </c:pt>
                <c:pt idx="50">
                  <c:v>0.5325978234083443</c:v>
                </c:pt>
                <c:pt idx="51">
                  <c:v>0.5365818339561451</c:v>
                </c:pt>
                <c:pt idx="52">
                  <c:v>0.5405297038378748</c:v>
                </c:pt>
                <c:pt idx="53">
                  <c:v>0.5444393620045483</c:v>
                </c:pt>
                <c:pt idx="54">
                  <c:v>0.5483137990880015</c:v>
                </c:pt>
                <c:pt idx="55">
                  <c:v>0.5634661937095709</c:v>
                </c:pt>
                <c:pt idx="56">
                  <c:v>0.5671349463452556</c:v>
                </c:pt>
                <c:pt idx="57">
                  <c:v>0.5707050690825353</c:v>
                </c:pt>
                <c:pt idx="58">
                  <c:v>0.5742494806013202</c:v>
                </c:pt>
                <c:pt idx="59">
                  <c:v>0.5777845624618171</c:v>
                </c:pt>
                <c:pt idx="60">
                  <c:v>0.5812862995061204</c:v>
                </c:pt>
                <c:pt idx="61">
                  <c:v>0.5847715794625189</c:v>
                </c:pt>
                <c:pt idx="62">
                  <c:v>0.5916369186914648</c:v>
                </c:pt>
                <c:pt idx="63">
                  <c:v>0.594965256066325</c:v>
                </c:pt>
                <c:pt idx="64">
                  <c:v>0.5982695570825224</c:v>
                </c:pt>
                <c:pt idx="65">
                  <c:v>0.6015720918106218</c:v>
                </c:pt>
                <c:pt idx="66">
                  <c:v>0.6079465116022071</c:v>
                </c:pt>
                <c:pt idx="67">
                  <c:v>0.6111235934986923</c:v>
                </c:pt>
                <c:pt idx="68">
                  <c:v>0.6142678420472553</c:v>
                </c:pt>
                <c:pt idx="69">
                  <c:v>0.6205102592982479</c:v>
                </c:pt>
                <c:pt idx="70">
                  <c:v>0.6235973731307589</c:v>
                </c:pt>
                <c:pt idx="71">
                  <c:v>0.6266050238745703</c:v>
                </c:pt>
                <c:pt idx="72">
                  <c:v>0.6295678509171222</c:v>
                </c:pt>
                <c:pt idx="73">
                  <c:v>0.6325275084464479</c:v>
                </c:pt>
                <c:pt idx="74">
                  <c:v>0.6382899856023007</c:v>
                </c:pt>
                <c:pt idx="75">
                  <c:v>0.6411194174795103</c:v>
                </c:pt>
                <c:pt idx="76">
                  <c:v>0.6439157735251355</c:v>
                </c:pt>
                <c:pt idx="77">
                  <c:v>0.6466830898333596</c:v>
                </c:pt>
                <c:pt idx="78">
                  <c:v>0.6494473545575705</c:v>
                </c:pt>
                <c:pt idx="79">
                  <c:v>0.6522108189531909</c:v>
                </c:pt>
                <c:pt idx="80">
                  <c:v>0.6549726747413461</c:v>
                </c:pt>
                <c:pt idx="81">
                  <c:v>0.6576700616764483</c:v>
                </c:pt>
                <c:pt idx="82">
                  <c:v>0.6603670484472551</c:v>
                </c:pt>
                <c:pt idx="83">
                  <c:v>0.6630474443003764</c:v>
                </c:pt>
                <c:pt idx="84">
                  <c:v>0.665719389001593</c:v>
                </c:pt>
                <c:pt idx="85">
                  <c:v>0.6710266819216716</c:v>
                </c:pt>
                <c:pt idx="86">
                  <c:v>0.6736686447768316</c:v>
                </c:pt>
                <c:pt idx="87">
                  <c:v>0.6762803515011369</c:v>
                </c:pt>
                <c:pt idx="88">
                  <c:v>0.6788671831118159</c:v>
                </c:pt>
                <c:pt idx="89">
                  <c:v>0.6814501164332344</c:v>
                </c:pt>
                <c:pt idx="90">
                  <c:v>0.6840018634405686</c:v>
                </c:pt>
                <c:pt idx="91">
                  <c:v>0.6865472011939417</c:v>
                </c:pt>
                <c:pt idx="92">
                  <c:v>0.6890060411823121</c:v>
                </c:pt>
                <c:pt idx="93">
                  <c:v>0.6914629929782296</c:v>
                </c:pt>
                <c:pt idx="94">
                  <c:v>0.6939045172480218</c:v>
                </c:pt>
                <c:pt idx="95">
                  <c:v>0.6963416238099981</c:v>
                </c:pt>
                <c:pt idx="96">
                  <c:v>0.6987377665336026</c:v>
                </c:pt>
                <c:pt idx="97">
                  <c:v>0.7010939816058518</c:v>
                </c:pt>
                <c:pt idx="98">
                  <c:v>0.7034241674482458</c:v>
                </c:pt>
                <c:pt idx="99">
                  <c:v>0.7057514103605079</c:v>
                </c:pt>
                <c:pt idx="100">
                  <c:v>0.708074385295303</c:v>
                </c:pt>
                <c:pt idx="101">
                  <c:v>0.7103674340360296</c:v>
                </c:pt>
                <c:pt idx="102">
                  <c:v>0.7126573304891456</c:v>
                </c:pt>
                <c:pt idx="103">
                  <c:v>0.7148693525853169</c:v>
                </c:pt>
                <c:pt idx="104">
                  <c:v>0.7192443713512998</c:v>
                </c:pt>
                <c:pt idx="105">
                  <c:v>0.7235883310077426</c:v>
                </c:pt>
                <c:pt idx="106">
                  <c:v>0.725745482893758</c:v>
                </c:pt>
                <c:pt idx="107">
                  <c:v>0.7278953602699024</c:v>
                </c:pt>
                <c:pt idx="108">
                  <c:v>0.7299255249194893</c:v>
                </c:pt>
                <c:pt idx="109">
                  <c:v>0.7319486588679148</c:v>
                </c:pt>
                <c:pt idx="110">
                  <c:v>0.7359398776732198</c:v>
                </c:pt>
                <c:pt idx="111">
                  <c:v>0.7379060544619362</c:v>
                </c:pt>
                <c:pt idx="112">
                  <c:v>0.7398685158179245</c:v>
                </c:pt>
                <c:pt idx="113">
                  <c:v>0.7418053202823588</c:v>
                </c:pt>
                <c:pt idx="114">
                  <c:v>0.7476116286790168</c:v>
                </c:pt>
                <c:pt idx="115">
                  <c:v>0.7495282102710192</c:v>
                </c:pt>
                <c:pt idx="116">
                  <c:v>0.7514044150206196</c:v>
                </c:pt>
                <c:pt idx="117">
                  <c:v>0.7532753619823934</c:v>
                </c:pt>
                <c:pt idx="118">
                  <c:v>0.7551442882469809</c:v>
                </c:pt>
                <c:pt idx="119">
                  <c:v>0.7570045659276106</c:v>
                </c:pt>
                <c:pt idx="120">
                  <c:v>0.7588611758772161</c:v>
                </c:pt>
                <c:pt idx="121">
                  <c:v>0.7606702762546135</c:v>
                </c:pt>
                <c:pt idx="122">
                  <c:v>0.7642703887882336</c:v>
                </c:pt>
                <c:pt idx="123">
                  <c:v>0.7678033638234674</c:v>
                </c:pt>
                <c:pt idx="124">
                  <c:v>0.7695391625822743</c:v>
                </c:pt>
                <c:pt idx="125">
                  <c:v>0.7712481622587243</c:v>
                </c:pt>
                <c:pt idx="126">
                  <c:v>0.7728668043072835</c:v>
                </c:pt>
                <c:pt idx="127">
                  <c:v>0.774476552638128</c:v>
                </c:pt>
                <c:pt idx="128">
                  <c:v>0.776085303208329</c:v>
                </c:pt>
                <c:pt idx="129">
                  <c:v>0.7776473339345337</c:v>
                </c:pt>
                <c:pt idx="130">
                  <c:v>0.7792093037085609</c:v>
                </c:pt>
                <c:pt idx="131">
                  <c:v>0.7807689148983312</c:v>
                </c:pt>
                <c:pt idx="132">
                  <c:v>0.7823229131875891</c:v>
                </c:pt>
                <c:pt idx="133">
                  <c:v>0.7838710468173408</c:v>
                </c:pt>
                <c:pt idx="134">
                  <c:v>0.7869387182303005</c:v>
                </c:pt>
                <c:pt idx="135">
                  <c:v>0.7884454984577639</c:v>
                </c:pt>
                <c:pt idx="136">
                  <c:v>0.7899499360015385</c:v>
                </c:pt>
                <c:pt idx="137">
                  <c:v>0.791449409917995</c:v>
                </c:pt>
                <c:pt idx="138">
                  <c:v>0.7929236072314827</c:v>
                </c:pt>
                <c:pt idx="139">
                  <c:v>0.7957675536772035</c:v>
                </c:pt>
                <c:pt idx="140">
                  <c:v>0.7971782070206782</c:v>
                </c:pt>
                <c:pt idx="141">
                  <c:v>0.7999314751770532</c:v>
                </c:pt>
                <c:pt idx="142">
                  <c:v>0.8012825265663375</c:v>
                </c:pt>
                <c:pt idx="143">
                  <c:v>0.8026332599442613</c:v>
                </c:pt>
                <c:pt idx="144">
                  <c:v>0.8039811073690888</c:v>
                </c:pt>
                <c:pt idx="145">
                  <c:v>0.805327211031623</c:v>
                </c:pt>
                <c:pt idx="146">
                  <c:v>0.806658393336114</c:v>
                </c:pt>
                <c:pt idx="147">
                  <c:v>0.8079882850445005</c:v>
                </c:pt>
                <c:pt idx="148">
                  <c:v>0.8106411980908398</c:v>
                </c:pt>
                <c:pt idx="149">
                  <c:v>0.8119639106927634</c:v>
                </c:pt>
                <c:pt idx="150">
                  <c:v>0.8132842898863295</c:v>
                </c:pt>
                <c:pt idx="151">
                  <c:v>0.8145941323034851</c:v>
                </c:pt>
                <c:pt idx="152">
                  <c:v>0.815888655848397</c:v>
                </c:pt>
                <c:pt idx="153">
                  <c:v>0.817179505037048</c:v>
                </c:pt>
                <c:pt idx="154">
                  <c:v>0.8184670257067926</c:v>
                </c:pt>
                <c:pt idx="155">
                  <c:v>0.8197513569876012</c:v>
                </c:pt>
                <c:pt idx="156">
                  <c:v>0.8210330474490704</c:v>
                </c:pt>
                <c:pt idx="157">
                  <c:v>0.8235635168462939</c:v>
                </c:pt>
                <c:pt idx="158">
                  <c:v>0.8248055645415847</c:v>
                </c:pt>
                <c:pt idx="159">
                  <c:v>0.8260348825071251</c:v>
                </c:pt>
                <c:pt idx="160">
                  <c:v>0.8272601498029614</c:v>
                </c:pt>
                <c:pt idx="161">
                  <c:v>0.8284764465283374</c:v>
                </c:pt>
                <c:pt idx="162">
                  <c:v>0.8308399864622562</c:v>
                </c:pt>
                <c:pt idx="163">
                  <c:v>0.8331973980522492</c:v>
                </c:pt>
                <c:pt idx="164">
                  <c:v>0.8343721903199408</c:v>
                </c:pt>
                <c:pt idx="165">
                  <c:v>0.836706952875831</c:v>
                </c:pt>
                <c:pt idx="166">
                  <c:v>0.8378656100421202</c:v>
                </c:pt>
                <c:pt idx="167">
                  <c:v>0.8390226824517965</c:v>
                </c:pt>
                <c:pt idx="168">
                  <c:v>0.8401557715047032</c:v>
                </c:pt>
                <c:pt idx="169">
                  <c:v>0.8412863124915841</c:v>
                </c:pt>
                <c:pt idx="170">
                  <c:v>0.8424128134091396</c:v>
                </c:pt>
                <c:pt idx="171">
                  <c:v>0.8435379919294546</c:v>
                </c:pt>
                <c:pt idx="172">
                  <c:v>0.8446613021330266</c:v>
                </c:pt>
                <c:pt idx="173">
                  <c:v>0.8457704012039272</c:v>
                </c:pt>
                <c:pt idx="174">
                  <c:v>0.8468606104000155</c:v>
                </c:pt>
                <c:pt idx="175">
                  <c:v>0.8479439744015694</c:v>
                </c:pt>
                <c:pt idx="176">
                  <c:v>0.8490255813903567</c:v>
                </c:pt>
                <c:pt idx="177">
                  <c:v>0.850106809415606</c:v>
                </c:pt>
                <c:pt idx="178">
                  <c:v>0.8511715790279033</c:v>
                </c:pt>
                <c:pt idx="179">
                  <c:v>0.8522334666622462</c:v>
                </c:pt>
                <c:pt idx="180">
                  <c:v>0.8532760801580495</c:v>
                </c:pt>
                <c:pt idx="181">
                  <c:v>0.8543163655456845</c:v>
                </c:pt>
                <c:pt idx="182">
                  <c:v>0.8553550542512804</c:v>
                </c:pt>
                <c:pt idx="183">
                  <c:v>0.8563841880405414</c:v>
                </c:pt>
                <c:pt idx="184">
                  <c:v>0.8574124459735136</c:v>
                </c:pt>
                <c:pt idx="185">
                  <c:v>0.8584265948024593</c:v>
                </c:pt>
                <c:pt idx="186">
                  <c:v>0.8594220975653023</c:v>
                </c:pt>
                <c:pt idx="187">
                  <c:v>0.8604085025531408</c:v>
                </c:pt>
                <c:pt idx="188">
                  <c:v>0.8613613533673069</c:v>
                </c:pt>
                <c:pt idx="189">
                  <c:v>0.8623124922203157</c:v>
                </c:pt>
                <c:pt idx="190">
                  <c:v>0.8632534401342685</c:v>
                </c:pt>
                <c:pt idx="191">
                  <c:v>0.864180691033916</c:v>
                </c:pt>
                <c:pt idx="192">
                  <c:v>0.8651046783419767</c:v>
                </c:pt>
                <c:pt idx="193">
                  <c:v>0.8660276453635891</c:v>
                </c:pt>
                <c:pt idx="194">
                  <c:v>0.8669474547974014</c:v>
                </c:pt>
                <c:pt idx="195">
                  <c:v>0.8678662055183928</c:v>
                </c:pt>
                <c:pt idx="196">
                  <c:v>0.8687794718684633</c:v>
                </c:pt>
                <c:pt idx="197">
                  <c:v>0.8696876712375234</c:v>
                </c:pt>
                <c:pt idx="198">
                  <c:v>0.8705914012219216</c:v>
                </c:pt>
                <c:pt idx="199">
                  <c:v>0.8723927368219339</c:v>
                </c:pt>
                <c:pt idx="200">
                  <c:v>0.8732793445446648</c:v>
                </c:pt>
                <c:pt idx="201">
                  <c:v>0.8741562383453805</c:v>
                </c:pt>
                <c:pt idx="202">
                  <c:v>0.8758872470580703</c:v>
                </c:pt>
                <c:pt idx="203">
                  <c:v>0.8767468516411546</c:v>
                </c:pt>
                <c:pt idx="204">
                  <c:v>0.87758192562292</c:v>
                </c:pt>
                <c:pt idx="205">
                  <c:v>0.87839964280964</c:v>
                </c:pt>
                <c:pt idx="206">
                  <c:v>0.8792059433885188</c:v>
                </c:pt>
                <c:pt idx="207">
                  <c:v>0.8799920952976165</c:v>
                </c:pt>
                <c:pt idx="208">
                  <c:v>0.8807773117232954</c:v>
                </c:pt>
                <c:pt idx="209">
                  <c:v>0.8815561414208182</c:v>
                </c:pt>
                <c:pt idx="210">
                  <c:v>0.8823310344027077</c:v>
                </c:pt>
                <c:pt idx="211">
                  <c:v>0.8831024332347739</c:v>
                </c:pt>
                <c:pt idx="212">
                  <c:v>0.8838507046906492</c:v>
                </c:pt>
                <c:pt idx="213">
                  <c:v>0.884589280775172</c:v>
                </c:pt>
                <c:pt idx="214">
                  <c:v>0.8853267212941284</c:v>
                </c:pt>
                <c:pt idx="215">
                  <c:v>0.886061705175325</c:v>
                </c:pt>
                <c:pt idx="216">
                  <c:v>0.8867846284756755</c:v>
                </c:pt>
                <c:pt idx="217">
                  <c:v>0.8875054794019935</c:v>
                </c:pt>
                <c:pt idx="218">
                  <c:v>0.8882260706190339</c:v>
                </c:pt>
                <c:pt idx="219">
                  <c:v>0.8889384624431632</c:v>
                </c:pt>
                <c:pt idx="220">
                  <c:v>0.8903456256119567</c:v>
                </c:pt>
                <c:pt idx="221">
                  <c:v>0.8910413761666017</c:v>
                </c:pt>
                <c:pt idx="222">
                  <c:v>0.8917289657547084</c:v>
                </c:pt>
                <c:pt idx="223">
                  <c:v>0.8924050658573704</c:v>
                </c:pt>
                <c:pt idx="224">
                  <c:v>0.8930770119366362</c:v>
                </c:pt>
                <c:pt idx="225">
                  <c:v>0.8937441812202581</c:v>
                </c:pt>
                <c:pt idx="226">
                  <c:v>0.8944092556040428</c:v>
                </c:pt>
                <c:pt idx="227">
                  <c:v>0.8950643537064399</c:v>
                </c:pt>
                <c:pt idx="228">
                  <c:v>0.8957156926495466</c:v>
                </c:pt>
                <c:pt idx="229">
                  <c:v>0.896359189962523</c:v>
                </c:pt>
                <c:pt idx="230">
                  <c:v>0.897001651088483</c:v>
                </c:pt>
                <c:pt idx="231">
                  <c:v>0.8976393460191778</c:v>
                </c:pt>
                <c:pt idx="232">
                  <c:v>0.8982716639077859</c:v>
                </c:pt>
                <c:pt idx="233">
                  <c:v>0.8989010322410256</c:v>
                </c:pt>
                <c:pt idx="234">
                  <c:v>0.8995232757947431</c:v>
                </c:pt>
                <c:pt idx="235">
                  <c:v>0.900128236756066</c:v>
                </c:pt>
                <c:pt idx="236">
                  <c:v>0.900731455280143</c:v>
                </c:pt>
                <c:pt idx="237">
                  <c:v>0.9013293471139319</c:v>
                </c:pt>
                <c:pt idx="238">
                  <c:v>0.9019263405656275</c:v>
                </c:pt>
                <c:pt idx="239">
                  <c:v>0.902523322091897</c:v>
                </c:pt>
                <c:pt idx="240">
                  <c:v>0.9031119690704273</c:v>
                </c:pt>
                <c:pt idx="241">
                  <c:v>0.9036999826763314</c:v>
                </c:pt>
                <c:pt idx="242">
                  <c:v>0.9042868832424739</c:v>
                </c:pt>
                <c:pt idx="243">
                  <c:v>0.9048735492752379</c:v>
                </c:pt>
                <c:pt idx="244">
                  <c:v>0.905455370934944</c:v>
                </c:pt>
                <c:pt idx="245">
                  <c:v>0.9060343755440151</c:v>
                </c:pt>
                <c:pt idx="246">
                  <c:v>0.9066100344085646</c:v>
                </c:pt>
                <c:pt idx="247">
                  <c:v>0.9071606088020089</c:v>
                </c:pt>
                <c:pt idx="248">
                  <c:v>0.907709218150255</c:v>
                </c:pt>
                <c:pt idx="249">
                  <c:v>0.9082561128872491</c:v>
                </c:pt>
                <c:pt idx="250">
                  <c:v>0.9087956310857275</c:v>
                </c:pt>
                <c:pt idx="251">
                  <c:v>0.9093349942536676</c:v>
                </c:pt>
                <c:pt idx="252">
                  <c:v>0.909864807805462</c:v>
                </c:pt>
                <c:pt idx="253">
                  <c:v>0.9103899041887427</c:v>
                </c:pt>
                <c:pt idx="254">
                  <c:v>0.910910549738024</c:v>
                </c:pt>
                <c:pt idx="255">
                  <c:v>0.9114291507392669</c:v>
                </c:pt>
                <c:pt idx="256">
                  <c:v>0.9119461113319086</c:v>
                </c:pt>
                <c:pt idx="257">
                  <c:v>0.912458633015977</c:v>
                </c:pt>
                <c:pt idx="258">
                  <c:v>0.9134698972168737</c:v>
                </c:pt>
                <c:pt idx="259">
                  <c:v>0.9139711718991598</c:v>
                </c:pt>
                <c:pt idx="260">
                  <c:v>0.9144693870471486</c:v>
                </c:pt>
                <c:pt idx="261">
                  <c:v>0.9149655801729037</c:v>
                </c:pt>
                <c:pt idx="262">
                  <c:v>0.9154593855633606</c:v>
                </c:pt>
                <c:pt idx="263">
                  <c:v>0.9159530200227112</c:v>
                </c:pt>
                <c:pt idx="264">
                  <c:v>0.9164457547749211</c:v>
                </c:pt>
                <c:pt idx="265">
                  <c:v>0.9169349755015977</c:v>
                </c:pt>
                <c:pt idx="266">
                  <c:v>0.9174236900601923</c:v>
                </c:pt>
                <c:pt idx="267">
                  <c:v>0.9179073469131079</c:v>
                </c:pt>
                <c:pt idx="268">
                  <c:v>0.9183887326348907</c:v>
                </c:pt>
                <c:pt idx="269">
                  <c:v>0.9188666878091224</c:v>
                </c:pt>
                <c:pt idx="270">
                  <c:v>0.9193446270827861</c:v>
                </c:pt>
                <c:pt idx="271">
                  <c:v>0.9198213168368126</c:v>
                </c:pt>
                <c:pt idx="272">
                  <c:v>0.9202965569890541</c:v>
                </c:pt>
                <c:pt idx="273">
                  <c:v>0.9207680154562007</c:v>
                </c:pt>
                <c:pt idx="274">
                  <c:v>0.921239358644229</c:v>
                </c:pt>
                <c:pt idx="275">
                  <c:v>0.9221762731140931</c:v>
                </c:pt>
                <c:pt idx="276">
                  <c:v>0.9226428580571403</c:v>
                </c:pt>
                <c:pt idx="277">
                  <c:v>0.9231044210707866</c:v>
                </c:pt>
                <c:pt idx="278">
                  <c:v>0.9235616538297411</c:v>
                </c:pt>
                <c:pt idx="279">
                  <c:v>0.9240126230899415</c:v>
                </c:pt>
                <c:pt idx="280">
                  <c:v>0.9244607010968562</c:v>
                </c:pt>
                <c:pt idx="281">
                  <c:v>0.9249082623353101</c:v>
                </c:pt>
                <c:pt idx="282">
                  <c:v>0.9253524142269702</c:v>
                </c:pt>
                <c:pt idx="283">
                  <c:v>0.925782173454474</c:v>
                </c:pt>
                <c:pt idx="284">
                  <c:v>0.9262086783657222</c:v>
                </c:pt>
                <c:pt idx="285">
                  <c:v>0.926624066129827</c:v>
                </c:pt>
                <c:pt idx="286">
                  <c:v>0.9270362353539542</c:v>
                </c:pt>
                <c:pt idx="287">
                  <c:v>0.9274471987850064</c:v>
                </c:pt>
                <c:pt idx="288">
                  <c:v>0.9278578004781359</c:v>
                </c:pt>
                <c:pt idx="289">
                  <c:v>0.9282649066963949</c:v>
                </c:pt>
                <c:pt idx="290">
                  <c:v>0.9286708998748923</c:v>
                </c:pt>
                <c:pt idx="291">
                  <c:v>0.9290759840709175</c:v>
                </c:pt>
                <c:pt idx="292">
                  <c:v>0.9294793218545548</c:v>
                </c:pt>
                <c:pt idx="293">
                  <c:v>0.9298823244012163</c:v>
                </c:pt>
                <c:pt idx="294">
                  <c:v>0.93027927413165</c:v>
                </c:pt>
                <c:pt idx="295">
                  <c:v>0.9306700888929211</c:v>
                </c:pt>
                <c:pt idx="296">
                  <c:v>0.9310523107222226</c:v>
                </c:pt>
                <c:pt idx="297">
                  <c:v>0.9314294708707032</c:v>
                </c:pt>
                <c:pt idx="298">
                  <c:v>0.9318027141792605</c:v>
                </c:pt>
                <c:pt idx="299">
                  <c:v>0.9321742084253353</c:v>
                </c:pt>
                <c:pt idx="300">
                  <c:v>0.9325431625556682</c:v>
                </c:pt>
                <c:pt idx="301">
                  <c:v>0.9329097210004188</c:v>
                </c:pt>
                <c:pt idx="302">
                  <c:v>0.9332754168393541</c:v>
                </c:pt>
                <c:pt idx="303">
                  <c:v>0.9336367612228402</c:v>
                </c:pt>
                <c:pt idx="304">
                  <c:v>0.9343449142205438</c:v>
                </c:pt>
                <c:pt idx="305">
                  <c:v>0.9346964545787958</c:v>
                </c:pt>
                <c:pt idx="306">
                  <c:v>0.9350479644609591</c:v>
                </c:pt>
                <c:pt idx="307">
                  <c:v>0.9353970177053627</c:v>
                </c:pt>
                <c:pt idx="308">
                  <c:v>0.9357400724604792</c:v>
                </c:pt>
                <c:pt idx="309">
                  <c:v>0.9360828383552766</c:v>
                </c:pt>
                <c:pt idx="310">
                  <c:v>0.9364209970604891</c:v>
                </c:pt>
                <c:pt idx="311">
                  <c:v>0.9367574954813904</c:v>
                </c:pt>
                <c:pt idx="312">
                  <c:v>0.9377565453959501</c:v>
                </c:pt>
                <c:pt idx="313">
                  <c:v>0.9380884127764144</c:v>
                </c:pt>
                <c:pt idx="314">
                  <c:v>0.938419739537566</c:v>
                </c:pt>
                <c:pt idx="315">
                  <c:v>0.9387506144575761</c:v>
                </c:pt>
                <c:pt idx="316">
                  <c:v>0.9390794633802106</c:v>
                </c:pt>
                <c:pt idx="317">
                  <c:v>0.9394049877590808</c:v>
                </c:pt>
                <c:pt idx="318">
                  <c:v>0.9397302431533419</c:v>
                </c:pt>
                <c:pt idx="319">
                  <c:v>0.9403734211299103</c:v>
                </c:pt>
                <c:pt idx="320">
                  <c:v>0.9406907818921475</c:v>
                </c:pt>
                <c:pt idx="321">
                  <c:v>0.941007962447947</c:v>
                </c:pt>
                <c:pt idx="322">
                  <c:v>0.9413232322854891</c:v>
                </c:pt>
                <c:pt idx="323">
                  <c:v>0.9416315071981479</c:v>
                </c:pt>
                <c:pt idx="324">
                  <c:v>0.9419384901896548</c:v>
                </c:pt>
                <c:pt idx="325">
                  <c:v>0.942244794756926</c:v>
                </c:pt>
                <c:pt idx="326">
                  <c:v>0.9425506845843813</c:v>
                </c:pt>
                <c:pt idx="327">
                  <c:v>0.9431618533924702</c:v>
                </c:pt>
                <c:pt idx="328">
                  <c:v>0.9434657728745378</c:v>
                </c:pt>
                <c:pt idx="329">
                  <c:v>0.9437690709094052</c:v>
                </c:pt>
                <c:pt idx="330">
                  <c:v>0.9440695903200104</c:v>
                </c:pt>
                <c:pt idx="331">
                  <c:v>0.9443687078305347</c:v>
                </c:pt>
                <c:pt idx="332">
                  <c:v>0.9446655396344057</c:v>
                </c:pt>
                <c:pt idx="333">
                  <c:v>0.9449617552912657</c:v>
                </c:pt>
                <c:pt idx="334">
                  <c:v>0.9452528218141806</c:v>
                </c:pt>
                <c:pt idx="335">
                  <c:v>0.9455427726472392</c:v>
                </c:pt>
                <c:pt idx="336">
                  <c:v>0.9458309028652591</c:v>
                </c:pt>
                <c:pt idx="337">
                  <c:v>0.9461182340797357</c:v>
                </c:pt>
                <c:pt idx="338">
                  <c:v>0.9464045741588055</c:v>
                </c:pt>
                <c:pt idx="339">
                  <c:v>0.9469745936218958</c:v>
                </c:pt>
                <c:pt idx="340">
                  <c:v>0.9472576555338581</c:v>
                </c:pt>
                <c:pt idx="341">
                  <c:v>0.9475405769908027</c:v>
                </c:pt>
                <c:pt idx="342">
                  <c:v>0.9478232175377124</c:v>
                </c:pt>
                <c:pt idx="343">
                  <c:v>0.9481053651670132</c:v>
                </c:pt>
                <c:pt idx="344">
                  <c:v>0.9483852867167907</c:v>
                </c:pt>
                <c:pt idx="345">
                  <c:v>0.9486650227599412</c:v>
                </c:pt>
                <c:pt idx="346">
                  <c:v>0.9489443904399326</c:v>
                </c:pt>
                <c:pt idx="347">
                  <c:v>0.9492234295081847</c:v>
                </c:pt>
                <c:pt idx="348">
                  <c:v>0.9494936132850949</c:v>
                </c:pt>
                <c:pt idx="349">
                  <c:v>0.9497632802935442</c:v>
                </c:pt>
                <c:pt idx="350">
                  <c:v>0.9500269501377538</c:v>
                </c:pt>
                <c:pt idx="351">
                  <c:v>0.9502900820127453</c:v>
                </c:pt>
                <c:pt idx="352">
                  <c:v>0.9505526109911993</c:v>
                </c:pt>
                <c:pt idx="353">
                  <c:v>0.9508151094935645</c:v>
                </c:pt>
                <c:pt idx="354">
                  <c:v>0.9510664033956622</c:v>
                </c:pt>
                <c:pt idx="355">
                  <c:v>0.9513166717111223</c:v>
                </c:pt>
                <c:pt idx="356">
                  <c:v>0.9515657103826554</c:v>
                </c:pt>
                <c:pt idx="357">
                  <c:v>0.9518142548115323</c:v>
                </c:pt>
                <c:pt idx="358">
                  <c:v>0.9520575692785767</c:v>
                </c:pt>
                <c:pt idx="359">
                  <c:v>0.9523001602697759</c:v>
                </c:pt>
                <c:pt idx="360">
                  <c:v>0.9525408683687117</c:v>
                </c:pt>
                <c:pt idx="361">
                  <c:v>0.9527807589134415</c:v>
                </c:pt>
                <c:pt idx="362">
                  <c:v>0.9530188632943634</c:v>
                </c:pt>
                <c:pt idx="363">
                  <c:v>0.9532568563713091</c:v>
                </c:pt>
                <c:pt idx="364">
                  <c:v>0.9534937668845818</c:v>
                </c:pt>
                <c:pt idx="365">
                  <c:v>0.9539642196408008</c:v>
                </c:pt>
                <c:pt idx="366">
                  <c:v>0.9541984760842609</c:v>
                </c:pt>
                <c:pt idx="367">
                  <c:v>0.9544291310490636</c:v>
                </c:pt>
                <c:pt idx="368">
                  <c:v>0.9546596985607421</c:v>
                </c:pt>
                <c:pt idx="369">
                  <c:v>0.9548901362177817</c:v>
                </c:pt>
                <c:pt idx="370">
                  <c:v>0.9551196542919707</c:v>
                </c:pt>
                <c:pt idx="371">
                  <c:v>0.9553467422293466</c:v>
                </c:pt>
                <c:pt idx="372">
                  <c:v>0.9555721420564173</c:v>
                </c:pt>
                <c:pt idx="373">
                  <c:v>0.956018106612832</c:v>
                </c:pt>
                <c:pt idx="374">
                  <c:v>0.9562405900107177</c:v>
                </c:pt>
                <c:pt idx="375">
                  <c:v>0.9564595567329754</c:v>
                </c:pt>
                <c:pt idx="376">
                  <c:v>0.9566773971649981</c:v>
                </c:pt>
                <c:pt idx="377">
                  <c:v>0.9568940384291823</c:v>
                </c:pt>
                <c:pt idx="378">
                  <c:v>0.9571092009405403</c:v>
                </c:pt>
                <c:pt idx="379">
                  <c:v>0.9573235299971243</c:v>
                </c:pt>
                <c:pt idx="380">
                  <c:v>0.957536023863149</c:v>
                </c:pt>
                <c:pt idx="381">
                  <c:v>0.9577464970319872</c:v>
                </c:pt>
                <c:pt idx="382">
                  <c:v>0.9579566415890863</c:v>
                </c:pt>
                <c:pt idx="383">
                  <c:v>0.9581667781959015</c:v>
                </c:pt>
                <c:pt idx="384">
                  <c:v>0.9583763172063683</c:v>
                </c:pt>
                <c:pt idx="385">
                  <c:v>0.9585852215191615</c:v>
                </c:pt>
                <c:pt idx="386">
                  <c:v>0.9587902103170788</c:v>
                </c:pt>
                <c:pt idx="387">
                  <c:v>0.9589933400735846</c:v>
                </c:pt>
                <c:pt idx="388">
                  <c:v>0.9591949857770748</c:v>
                </c:pt>
                <c:pt idx="389">
                  <c:v>0.9593956496204896</c:v>
                </c:pt>
                <c:pt idx="390">
                  <c:v>0.9595959265500825</c:v>
                </c:pt>
                <c:pt idx="391">
                  <c:v>0.9597953421989075</c:v>
                </c:pt>
                <c:pt idx="392">
                  <c:v>0.9599934818271485</c:v>
                </c:pt>
                <c:pt idx="393">
                  <c:v>0.9601903374845215</c:v>
                </c:pt>
                <c:pt idx="394">
                  <c:v>0.9603866710732445</c:v>
                </c:pt>
                <c:pt idx="395">
                  <c:v>0.9605824547673233</c:v>
                </c:pt>
                <c:pt idx="396">
                  <c:v>0.9607729157462561</c:v>
                </c:pt>
                <c:pt idx="397">
                  <c:v>0.9613366717105923</c:v>
                </c:pt>
                <c:pt idx="398">
                  <c:v>0.9615230833448684</c:v>
                </c:pt>
                <c:pt idx="399">
                  <c:v>0.9617094830537184</c:v>
                </c:pt>
                <c:pt idx="400">
                  <c:v>0.9618944159351682</c:v>
                </c:pt>
                <c:pt idx="401">
                  <c:v>0.9620777905609517</c:v>
                </c:pt>
                <c:pt idx="402">
                  <c:v>0.9622604973628781</c:v>
                </c:pt>
                <c:pt idx="403">
                  <c:v>0.9624429762566629</c:v>
                </c:pt>
                <c:pt idx="404">
                  <c:v>0.9626250642614838</c:v>
                </c:pt>
                <c:pt idx="405">
                  <c:v>0.9628071429909733</c:v>
                </c:pt>
                <c:pt idx="406">
                  <c:v>0.9629887990303628</c:v>
                </c:pt>
                <c:pt idx="407">
                  <c:v>0.9631701489838179</c:v>
                </c:pt>
                <c:pt idx="408">
                  <c:v>0.9633511318991611</c:v>
                </c:pt>
                <c:pt idx="409">
                  <c:v>0.963526645019104</c:v>
                </c:pt>
                <c:pt idx="410">
                  <c:v>0.9637018494030178</c:v>
                </c:pt>
                <c:pt idx="411">
                  <c:v>0.9638763369363232</c:v>
                </c:pt>
                <c:pt idx="412">
                  <c:v>0.9642213660119695</c:v>
                </c:pt>
                <c:pt idx="413">
                  <c:v>0.9643921023362686</c:v>
                </c:pt>
                <c:pt idx="414">
                  <c:v>0.9647268106182199</c:v>
                </c:pt>
                <c:pt idx="415">
                  <c:v>0.9648928390493365</c:v>
                </c:pt>
                <c:pt idx="416">
                  <c:v>0.9650584765914892</c:v>
                </c:pt>
                <c:pt idx="417">
                  <c:v>0.9652237696213348</c:v>
                </c:pt>
                <c:pt idx="418">
                  <c:v>0.9653890586760384</c:v>
                </c:pt>
                <c:pt idx="419">
                  <c:v>0.965554311954464</c:v>
                </c:pt>
                <c:pt idx="420">
                  <c:v>0.9657194817549073</c:v>
                </c:pt>
                <c:pt idx="421">
                  <c:v>0.9658828441907853</c:v>
                </c:pt>
                <c:pt idx="422">
                  <c:v>0.966043372350413</c:v>
                </c:pt>
                <c:pt idx="423">
                  <c:v>0.9662030975313556</c:v>
                </c:pt>
                <c:pt idx="424">
                  <c:v>0.9663625431273103</c:v>
                </c:pt>
                <c:pt idx="425">
                  <c:v>0.9665217979164488</c:v>
                </c:pt>
                <c:pt idx="426">
                  <c:v>0.9666805955642566</c:v>
                </c:pt>
                <c:pt idx="427">
                  <c:v>0.9668374798437122</c:v>
                </c:pt>
                <c:pt idx="428">
                  <c:v>0.9669919300112128</c:v>
                </c:pt>
                <c:pt idx="429">
                  <c:v>0.9671457772821758</c:v>
                </c:pt>
                <c:pt idx="430">
                  <c:v>0.9672974448502721</c:v>
                </c:pt>
                <c:pt idx="431">
                  <c:v>0.9674484088182335</c:v>
                </c:pt>
                <c:pt idx="432">
                  <c:v>0.9675985207807581</c:v>
                </c:pt>
                <c:pt idx="433">
                  <c:v>0.9677474309253496</c:v>
                </c:pt>
                <c:pt idx="434">
                  <c:v>0.9678945893573639</c:v>
                </c:pt>
                <c:pt idx="435">
                  <c:v>0.9680416113095026</c:v>
                </c:pt>
                <c:pt idx="436">
                  <c:v>0.9681882423726774</c:v>
                </c:pt>
                <c:pt idx="437">
                  <c:v>0.9683335430883275</c:v>
                </c:pt>
                <c:pt idx="438">
                  <c:v>0.9684784873662444</c:v>
                </c:pt>
                <c:pt idx="439">
                  <c:v>0.9686231003823275</c:v>
                </c:pt>
                <c:pt idx="440">
                  <c:v>0.9687668176664118</c:v>
                </c:pt>
                <c:pt idx="441">
                  <c:v>0.9689101268359169</c:v>
                </c:pt>
                <c:pt idx="442">
                  <c:v>0.9690529470629553</c:v>
                </c:pt>
                <c:pt idx="443">
                  <c:v>0.9691938684971622</c:v>
                </c:pt>
                <c:pt idx="444">
                  <c:v>0.9693322392152485</c:v>
                </c:pt>
                <c:pt idx="445">
                  <c:v>0.9693322392152485</c:v>
                </c:pt>
                <c:pt idx="446">
                  <c:v>0.9694700984650634</c:v>
                </c:pt>
                <c:pt idx="447">
                  <c:v>0.9696078411107127</c:v>
                </c:pt>
                <c:pt idx="448">
                  <c:v>0.9697443223112989</c:v>
                </c:pt>
                <c:pt idx="449">
                  <c:v>0.969879681196792</c:v>
                </c:pt>
                <c:pt idx="450">
                  <c:v>0.9700149658796344</c:v>
                </c:pt>
                <c:pt idx="451">
                  <c:v>0.9701499458015896</c:v>
                </c:pt>
                <c:pt idx="452">
                  <c:v>0.9702834946724227</c:v>
                </c:pt>
                <c:pt idx="453">
                  <c:v>0.9704157688477192</c:v>
                </c:pt>
                <c:pt idx="454">
                  <c:v>0.9705475673310223</c:v>
                </c:pt>
                <c:pt idx="455">
                  <c:v>0.9706788172447286</c:v>
                </c:pt>
                <c:pt idx="456">
                  <c:v>0.9708093728336312</c:v>
                </c:pt>
                <c:pt idx="457">
                  <c:v>0.9709388909104703</c:v>
                </c:pt>
                <c:pt idx="458">
                  <c:v>0.9710676325095707</c:v>
                </c:pt>
                <c:pt idx="459">
                  <c:v>0.9711944501399403</c:v>
                </c:pt>
                <c:pt idx="460">
                  <c:v>0.9713209100075294</c:v>
                </c:pt>
                <c:pt idx="461">
                  <c:v>0.9714458844970556</c:v>
                </c:pt>
                <c:pt idx="462">
                  <c:v>0.9715708139349724</c:v>
                </c:pt>
                <c:pt idx="463">
                  <c:v>0.97169549426399</c:v>
                </c:pt>
                <c:pt idx="464">
                  <c:v>0.9718199970366649</c:v>
                </c:pt>
                <c:pt idx="465">
                  <c:v>0.9719426566684962</c:v>
                </c:pt>
                <c:pt idx="466">
                  <c:v>0.9720652950995702</c:v>
                </c:pt>
                <c:pt idx="467">
                  <c:v>0.9721870961007283</c:v>
                </c:pt>
                <c:pt idx="468">
                  <c:v>0.9723087937481942</c:v>
                </c:pt>
                <c:pt idx="469">
                  <c:v>0.9724304251432934</c:v>
                </c:pt>
                <c:pt idx="470">
                  <c:v>0.972551062752891</c:v>
                </c:pt>
                <c:pt idx="471">
                  <c:v>0.9726716606110687</c:v>
                </c:pt>
                <c:pt idx="472">
                  <c:v>0.9727914064638097</c:v>
                </c:pt>
                <c:pt idx="473">
                  <c:v>0.9729103983646169</c:v>
                </c:pt>
                <c:pt idx="474">
                  <c:v>0.973027833334805</c:v>
                </c:pt>
                <c:pt idx="475">
                  <c:v>0.9731449781196267</c:v>
                </c:pt>
                <c:pt idx="476">
                  <c:v>0.9732611635701777</c:v>
                </c:pt>
                <c:pt idx="477">
                  <c:v>0.9733767819004691</c:v>
                </c:pt>
                <c:pt idx="478">
                  <c:v>0.9734921338962461</c:v>
                </c:pt>
                <c:pt idx="479">
                  <c:v>0.9736057076784991</c:v>
                </c:pt>
                <c:pt idx="480">
                  <c:v>0.9737185831608064</c:v>
                </c:pt>
                <c:pt idx="481">
                  <c:v>0.9738309233239902</c:v>
                </c:pt>
                <c:pt idx="482">
                  <c:v>0.9739431018313991</c:v>
                </c:pt>
                <c:pt idx="483">
                  <c:v>0.9740547370694005</c:v>
                </c:pt>
                <c:pt idx="484">
                  <c:v>0.9741659257664499</c:v>
                </c:pt>
                <c:pt idx="485">
                  <c:v>0.974276931606967</c:v>
                </c:pt>
                <c:pt idx="486">
                  <c:v>0.974387604860603</c:v>
                </c:pt>
                <c:pt idx="487">
                  <c:v>0.9744982290874876</c:v>
                </c:pt>
                <c:pt idx="488">
                  <c:v>0.9746085856548105</c:v>
                </c:pt>
                <c:pt idx="489">
                  <c:v>0.9747185672337374</c:v>
                </c:pt>
                <c:pt idx="490">
                  <c:v>0.9748284096826941</c:v>
                </c:pt>
                <c:pt idx="491">
                  <c:v>0.9749382388811775</c:v>
                </c:pt>
                <c:pt idx="492">
                  <c:v>0.9750466860552901</c:v>
                </c:pt>
                <c:pt idx="493">
                  <c:v>0.9750466860552901</c:v>
                </c:pt>
                <c:pt idx="494">
                  <c:v>0.9751525242111995</c:v>
                </c:pt>
                <c:pt idx="495">
                  <c:v>0.975258276239032</c:v>
                </c:pt>
                <c:pt idx="496">
                  <c:v>0.975363666528942</c:v>
                </c:pt>
                <c:pt idx="497">
                  <c:v>0.9754686036526634</c:v>
                </c:pt>
                <c:pt idx="498">
                  <c:v>0.9755734321225032</c:v>
                </c:pt>
                <c:pt idx="499">
                  <c:v>0.9756778869289945</c:v>
                </c:pt>
                <c:pt idx="500">
                  <c:v>0.9757823218597758</c:v>
                </c:pt>
                <c:pt idx="501">
                  <c:v>0.9758867342647523</c:v>
                </c:pt>
                <c:pt idx="502">
                  <c:v>0.9759896652668079</c:v>
                </c:pt>
                <c:pt idx="503">
                  <c:v>0.9760922557316983</c:v>
                </c:pt>
                <c:pt idx="504">
                  <c:v>0.9761944937339976</c:v>
                </c:pt>
                <c:pt idx="505">
                  <c:v>0.9762954186143875</c:v>
                </c:pt>
                <c:pt idx="506">
                  <c:v>0.9763957511986185</c:v>
                </c:pt>
                <c:pt idx="507">
                  <c:v>0.9764949773683246</c:v>
                </c:pt>
                <c:pt idx="508">
                  <c:v>0.9765939782799836</c:v>
                </c:pt>
                <c:pt idx="509">
                  <c:v>0.9766922278898036</c:v>
                </c:pt>
                <c:pt idx="510">
                  <c:v>0.9767900932358963</c:v>
                </c:pt>
                <c:pt idx="511">
                  <c:v>0.976886872043174</c:v>
                </c:pt>
                <c:pt idx="512">
                  <c:v>0.9769835792978957</c:v>
                </c:pt>
                <c:pt idx="513">
                  <c:v>0.9770793709449086</c:v>
                </c:pt>
                <c:pt idx="514">
                  <c:v>0.9771736997396633</c:v>
                </c:pt>
                <c:pt idx="515">
                  <c:v>0.9772678443528384</c:v>
                </c:pt>
                <c:pt idx="516">
                  <c:v>0.97736054863956</c:v>
                </c:pt>
                <c:pt idx="517">
                  <c:v>0.9774530634445127</c:v>
                </c:pt>
                <c:pt idx="518">
                  <c:v>0.977544221400994</c:v>
                </c:pt>
                <c:pt idx="519">
                  <c:v>0.9776351660248542</c:v>
                </c:pt>
                <c:pt idx="520">
                  <c:v>0.9777260642720578</c:v>
                </c:pt>
                <c:pt idx="521">
                  <c:v>0.9778162257929429</c:v>
                </c:pt>
                <c:pt idx="522">
                  <c:v>0.9779927525740973</c:v>
                </c:pt>
                <c:pt idx="523">
                  <c:v>0.9780803792794299</c:v>
                </c:pt>
                <c:pt idx="524">
                  <c:v>0.9781679808088631</c:v>
                </c:pt>
                <c:pt idx="525">
                  <c:v>0.9782555200610716</c:v>
                </c:pt>
                <c:pt idx="526">
                  <c:v>0.9783424418412219</c:v>
                </c:pt>
                <c:pt idx="527">
                  <c:v>0.9784293225449047</c:v>
                </c:pt>
                <c:pt idx="528">
                  <c:v>0.9785160111167238</c:v>
                </c:pt>
                <c:pt idx="529">
                  <c:v>0.9786019099603311</c:v>
                </c:pt>
                <c:pt idx="530">
                  <c:v>0.9786876378728322</c:v>
                </c:pt>
                <c:pt idx="531">
                  <c:v>0.9787724859539026</c:v>
                </c:pt>
                <c:pt idx="532">
                  <c:v>0.9788565747828499</c:v>
                </c:pt>
                <c:pt idx="533">
                  <c:v>0.9789397387287572</c:v>
                </c:pt>
                <c:pt idx="534">
                  <c:v>0.979022225575476</c:v>
                </c:pt>
                <c:pt idx="535">
                  <c:v>0.9791046594203014</c:v>
                </c:pt>
                <c:pt idx="536">
                  <c:v>0.9791863790646131</c:v>
                </c:pt>
                <c:pt idx="537">
                  <c:v>0.9792680430569368</c:v>
                </c:pt>
                <c:pt idx="538">
                  <c:v>0.9793488841948652</c:v>
                </c:pt>
                <c:pt idx="539">
                  <c:v>0.9794296060785335</c:v>
                </c:pt>
                <c:pt idx="540">
                  <c:v>0.9795099887500839</c:v>
                </c:pt>
                <c:pt idx="541">
                  <c:v>0.9795891696037011</c:v>
                </c:pt>
                <c:pt idx="542">
                  <c:v>0.9796678601898042</c:v>
                </c:pt>
                <c:pt idx="543">
                  <c:v>0.9797463771947065</c:v>
                </c:pt>
                <c:pt idx="544">
                  <c:v>0.9798244238078047</c:v>
                </c:pt>
                <c:pt idx="545">
                  <c:v>0.9799019960539568</c:v>
                </c:pt>
                <c:pt idx="546">
                  <c:v>0.9799795470993515</c:v>
                </c:pt>
                <c:pt idx="547">
                  <c:v>0.9800566648542677</c:v>
                </c:pt>
                <c:pt idx="548">
                  <c:v>0.9801333625691785</c:v>
                </c:pt>
                <c:pt idx="549">
                  <c:v>0.980209865502131</c:v>
                </c:pt>
                <c:pt idx="550">
                  <c:v>0.9802863353089001</c:v>
                </c:pt>
                <c:pt idx="551">
                  <c:v>0.9803627547638705</c:v>
                </c:pt>
                <c:pt idx="552">
                  <c:v>0.9804385845727767</c:v>
                </c:pt>
                <c:pt idx="553">
                  <c:v>0.9805143415040793</c:v>
                </c:pt>
                <c:pt idx="554">
                  <c:v>0.9805900401332993</c:v>
                </c:pt>
                <c:pt idx="555">
                  <c:v>0.980664417690326</c:v>
                </c:pt>
                <c:pt idx="556">
                  <c:v>0.9808123512750313</c:v>
                </c:pt>
                <c:pt idx="557">
                  <c:v>0.98088592717842</c:v>
                </c:pt>
                <c:pt idx="558">
                  <c:v>0.9809592817989038</c:v>
                </c:pt>
                <c:pt idx="559">
                  <c:v>0.9810326032932042</c:v>
                </c:pt>
                <c:pt idx="560">
                  <c:v>0.9811056120763334</c:v>
                </c:pt>
                <c:pt idx="561">
                  <c:v>0.9811782895976289</c:v>
                </c:pt>
                <c:pt idx="562">
                  <c:v>0.9813216822451161</c:v>
                </c:pt>
                <c:pt idx="563">
                  <c:v>0.9813925351762307</c:v>
                </c:pt>
                <c:pt idx="564">
                  <c:v>0.9814633483559253</c:v>
                </c:pt>
                <c:pt idx="565">
                  <c:v>0.9815334380597749</c:v>
                </c:pt>
                <c:pt idx="566">
                  <c:v>0.9816033753831809</c:v>
                </c:pt>
                <c:pt idx="567">
                  <c:v>0.9816731775517586</c:v>
                </c:pt>
                <c:pt idx="568">
                  <c:v>0.9817427027854433</c:v>
                </c:pt>
                <c:pt idx="569">
                  <c:v>0.9818120650383058</c:v>
                </c:pt>
                <c:pt idx="570">
                  <c:v>0.9818805713105896</c:v>
                </c:pt>
                <c:pt idx="571">
                  <c:v>0.9820171691153413</c:v>
                </c:pt>
                <c:pt idx="572">
                  <c:v>0.9820846537761296</c:v>
                </c:pt>
                <c:pt idx="573">
                  <c:v>0.9821507564125471</c:v>
                </c:pt>
                <c:pt idx="574">
                  <c:v>0.9822167954466926</c:v>
                </c:pt>
                <c:pt idx="575">
                  <c:v>0.982282545620519</c:v>
                </c:pt>
                <c:pt idx="576">
                  <c:v>0.9823479128556654</c:v>
                </c:pt>
                <c:pt idx="577">
                  <c:v>0.9824778721732671</c:v>
                </c:pt>
                <c:pt idx="578">
                  <c:v>0.98254266433787</c:v>
                </c:pt>
                <c:pt idx="579">
                  <c:v>0.9826073412233547</c:v>
                </c:pt>
                <c:pt idx="580">
                  <c:v>0.9826719995581767</c:v>
                </c:pt>
                <c:pt idx="581">
                  <c:v>0.982735876115071</c:v>
                </c:pt>
                <c:pt idx="582">
                  <c:v>0.9827997248459711</c:v>
                </c:pt>
                <c:pt idx="583">
                  <c:v>0.9828635616514453</c:v>
                </c:pt>
                <c:pt idx="584">
                  <c:v>0.9829266378797489</c:v>
                </c:pt>
                <c:pt idx="585">
                  <c:v>0.9829896491807331</c:v>
                </c:pt>
                <c:pt idx="586">
                  <c:v>0.983052252367138</c:v>
                </c:pt>
                <c:pt idx="587">
                  <c:v>0.9831148078518389</c:v>
                </c:pt>
                <c:pt idx="588">
                  <c:v>0.9831771221779247</c:v>
                </c:pt>
                <c:pt idx="589">
                  <c:v>0.9832389899630586</c:v>
                </c:pt>
                <c:pt idx="590">
                  <c:v>0.9833006815168968</c:v>
                </c:pt>
                <c:pt idx="591">
                  <c:v>0.9833615714170971</c:v>
                </c:pt>
                <c:pt idx="592">
                  <c:v>0.9834220850038542</c:v>
                </c:pt>
                <c:pt idx="593">
                  <c:v>0.9834825720896646</c:v>
                </c:pt>
                <c:pt idx="594">
                  <c:v>0.9835430366496704</c:v>
                </c:pt>
                <c:pt idx="595">
                  <c:v>0.9836033435290431</c:v>
                </c:pt>
                <c:pt idx="596">
                  <c:v>0.9836629931849376</c:v>
                </c:pt>
                <c:pt idx="597">
                  <c:v>0.9837224851601991</c:v>
                </c:pt>
                <c:pt idx="598">
                  <c:v>0.9837817823535024</c:v>
                </c:pt>
                <c:pt idx="599">
                  <c:v>0.983840795986676</c:v>
                </c:pt>
                <c:pt idx="600">
                  <c:v>0.9838997380672934</c:v>
                </c:pt>
                <c:pt idx="601">
                  <c:v>0.9839586748477215</c:v>
                </c:pt>
                <c:pt idx="602">
                  <c:v>0.9840173585441085</c:v>
                </c:pt>
                <c:pt idx="603">
                  <c:v>0.9840759879135548</c:v>
                </c:pt>
                <c:pt idx="604">
                  <c:v>0.9841339733099961</c:v>
                </c:pt>
                <c:pt idx="605">
                  <c:v>0.9841913717104679</c:v>
                </c:pt>
                <c:pt idx="606">
                  <c:v>0.9842484136732065</c:v>
                </c:pt>
                <c:pt idx="607">
                  <c:v>0.9843049666934783</c:v>
                </c:pt>
                <c:pt idx="608">
                  <c:v>0.9843611394251649</c:v>
                </c:pt>
                <c:pt idx="609">
                  <c:v>0.984416950418929</c:v>
                </c:pt>
                <c:pt idx="610">
                  <c:v>0.9844723466728771</c:v>
                </c:pt>
                <c:pt idx="611">
                  <c:v>0.9845273666133819</c:v>
                </c:pt>
                <c:pt idx="612">
                  <c:v>0.9845814735962727</c:v>
                </c:pt>
                <c:pt idx="613">
                  <c:v>0.9846354016977732</c:v>
                </c:pt>
                <c:pt idx="614">
                  <c:v>0.9846892529465283</c:v>
                </c:pt>
                <c:pt idx="615">
                  <c:v>0.9847430379429166</c:v>
                </c:pt>
                <c:pt idx="616">
                  <c:v>0.9847967898131216</c:v>
                </c:pt>
                <c:pt idx="617">
                  <c:v>0.9848505244577112</c:v>
                </c:pt>
                <c:pt idx="618">
                  <c:v>0.9849040868461472</c:v>
                </c:pt>
                <c:pt idx="619">
                  <c:v>0.9849575670816484</c:v>
                </c:pt>
                <c:pt idx="620">
                  <c:v>0.9850109823898302</c:v>
                </c:pt>
                <c:pt idx="621">
                  <c:v>0.9850642585680418</c:v>
                </c:pt>
                <c:pt idx="622">
                  <c:v>0.9851170974806327</c:v>
                </c:pt>
                <c:pt idx="623">
                  <c:v>0.9851697005347979</c:v>
                </c:pt>
                <c:pt idx="624">
                  <c:v>0.985222014728644</c:v>
                </c:pt>
                <c:pt idx="625">
                  <c:v>0.9852740016357983</c:v>
                </c:pt>
                <c:pt idx="626">
                  <c:v>0.9853255897037047</c:v>
                </c:pt>
                <c:pt idx="627">
                  <c:v>0.9853768478348245</c:v>
                </c:pt>
                <c:pt idx="628">
                  <c:v>0.9854279098589387</c:v>
                </c:pt>
                <c:pt idx="629">
                  <c:v>0.985478770475858</c:v>
                </c:pt>
                <c:pt idx="630">
                  <c:v>0.9855292892305647</c:v>
                </c:pt>
                <c:pt idx="631">
                  <c:v>0.985629840447606</c:v>
                </c:pt>
                <c:pt idx="632">
                  <c:v>0.985680055766473</c:v>
                </c:pt>
                <c:pt idx="633">
                  <c:v>0.9857300206513936</c:v>
                </c:pt>
                <c:pt idx="634">
                  <c:v>0.9857797258270364</c:v>
                </c:pt>
                <c:pt idx="635">
                  <c:v>0.9858292070696796</c:v>
                </c:pt>
                <c:pt idx="636">
                  <c:v>0.985878633985382</c:v>
                </c:pt>
                <c:pt idx="637">
                  <c:v>0.9859277362644873</c:v>
                </c:pt>
                <c:pt idx="638">
                  <c:v>0.9859767232644744</c:v>
                </c:pt>
                <c:pt idx="639">
                  <c:v>0.9860256797883727</c:v>
                </c:pt>
                <c:pt idx="640">
                  <c:v>0.9860745276583897</c:v>
                </c:pt>
                <c:pt idx="641">
                  <c:v>0.9861228865859398</c:v>
                </c:pt>
                <c:pt idx="642">
                  <c:v>0.9861709964045909</c:v>
                </c:pt>
                <c:pt idx="643">
                  <c:v>0.986217786476096</c:v>
                </c:pt>
                <c:pt idx="644">
                  <c:v>0.9862642333603413</c:v>
                </c:pt>
                <c:pt idx="645">
                  <c:v>0.9863106285677405</c:v>
                </c:pt>
                <c:pt idx="646">
                  <c:v>0.986356787916714</c:v>
                </c:pt>
                <c:pt idx="647">
                  <c:v>0.9864029393154035</c:v>
                </c:pt>
                <c:pt idx="648">
                  <c:v>0.9864486627238036</c:v>
                </c:pt>
                <c:pt idx="649">
                  <c:v>0.9864941979754822</c:v>
                </c:pt>
                <c:pt idx="650">
                  <c:v>0.9865395265197765</c:v>
                </c:pt>
                <c:pt idx="651">
                  <c:v>0.9865847119589586</c:v>
                </c:pt>
                <c:pt idx="652">
                  <c:v>0.9866295860120168</c:v>
                </c:pt>
                <c:pt idx="653">
                  <c:v>0.9866744348891756</c:v>
                </c:pt>
                <c:pt idx="654">
                  <c:v>0.9867192612405298</c:v>
                </c:pt>
                <c:pt idx="655">
                  <c:v>0.9867639113605884</c:v>
                </c:pt>
                <c:pt idx="656">
                  <c:v>0.9868085111288482</c:v>
                </c:pt>
                <c:pt idx="657">
                  <c:v>0.9869417446384154</c:v>
                </c:pt>
                <c:pt idx="658">
                  <c:v>0.9869859005158179</c:v>
                </c:pt>
                <c:pt idx="659">
                  <c:v>0.9870299848406643</c:v>
                </c:pt>
                <c:pt idx="660">
                  <c:v>0.9870740280890433</c:v>
                </c:pt>
                <c:pt idx="661">
                  <c:v>0.9871179613584935</c:v>
                </c:pt>
                <c:pt idx="662">
                  <c:v>0.9871618681269969</c:v>
                </c:pt>
                <c:pt idx="663">
                  <c:v>0.987205773570453</c:v>
                </c:pt>
                <c:pt idx="664">
                  <c:v>0.9872491821211584</c:v>
                </c:pt>
                <c:pt idx="665">
                  <c:v>0.987292524419497</c:v>
                </c:pt>
                <c:pt idx="666">
                  <c:v>0.9873357925151848</c:v>
                </c:pt>
                <c:pt idx="667">
                  <c:v>0.9873787054981867</c:v>
                </c:pt>
                <c:pt idx="668">
                  <c:v>0.987421599930526</c:v>
                </c:pt>
                <c:pt idx="669">
                  <c:v>0.9874644201602145</c:v>
                </c:pt>
                <c:pt idx="670">
                  <c:v>0.9875071675122995</c:v>
                </c:pt>
                <c:pt idx="671">
                  <c:v>0.9875498737879171</c:v>
                </c:pt>
                <c:pt idx="672">
                  <c:v>0.9875920778705947</c:v>
                </c:pt>
                <c:pt idx="673">
                  <c:v>0.9876342567773728</c:v>
                </c:pt>
                <c:pt idx="674">
                  <c:v>0.9876763548562636</c:v>
                </c:pt>
                <c:pt idx="675">
                  <c:v>0.9877183707822196</c:v>
                </c:pt>
                <c:pt idx="676">
                  <c:v>0.987760262153726</c:v>
                </c:pt>
                <c:pt idx="677">
                  <c:v>0.9878015784546889</c:v>
                </c:pt>
                <c:pt idx="678">
                  <c:v>0.9878425608437232</c:v>
                </c:pt>
                <c:pt idx="679">
                  <c:v>0.9878834451792547</c:v>
                </c:pt>
                <c:pt idx="680">
                  <c:v>0.9879240035531418</c:v>
                </c:pt>
                <c:pt idx="681">
                  <c:v>0.9879645486765555</c:v>
                </c:pt>
                <c:pt idx="682">
                  <c:v>0.9880049692455197</c:v>
                </c:pt>
                <c:pt idx="683">
                  <c:v>0.9880853996187741</c:v>
                </c:pt>
                <c:pt idx="684">
                  <c:v>0.9881254253236323</c:v>
                </c:pt>
                <c:pt idx="685">
                  <c:v>0.9881653967015499</c:v>
                </c:pt>
                <c:pt idx="686">
                  <c:v>0.9882052090737872</c:v>
                </c:pt>
                <c:pt idx="687">
                  <c:v>0.9882448836411015</c:v>
                </c:pt>
                <c:pt idx="688">
                  <c:v>0.9882845423078479</c:v>
                </c:pt>
                <c:pt idx="689">
                  <c:v>0.9883241227968015</c:v>
                </c:pt>
                <c:pt idx="690">
                  <c:v>0.9883635270544595</c:v>
                </c:pt>
                <c:pt idx="691">
                  <c:v>0.9884028889106028</c:v>
                </c:pt>
                <c:pt idx="692">
                  <c:v>0.9884421593384799</c:v>
                </c:pt>
                <c:pt idx="693">
                  <c:v>0.9884813873648423</c:v>
                </c:pt>
                <c:pt idx="694">
                  <c:v>0.9885205001120865</c:v>
                </c:pt>
                <c:pt idx="695">
                  <c:v>0.9885595678077213</c:v>
                </c:pt>
                <c:pt idx="696">
                  <c:v>0.9885985135990012</c:v>
                </c:pt>
                <c:pt idx="697">
                  <c:v>0.9886369598474357</c:v>
                </c:pt>
                <c:pt idx="698">
                  <c:v>0.9886752364898114</c:v>
                </c:pt>
                <c:pt idx="699">
                  <c:v>0.9887134959065716</c:v>
                </c:pt>
                <c:pt idx="700">
                  <c:v>0.9887515684916577</c:v>
                </c:pt>
                <c:pt idx="701">
                  <c:v>0.9887894303942174</c:v>
                </c:pt>
                <c:pt idx="702">
                  <c:v>0.9888645698534618</c:v>
                </c:pt>
                <c:pt idx="703">
                  <c:v>0.9889016791291351</c:v>
                </c:pt>
                <c:pt idx="704">
                  <c:v>0.9889383140378623</c:v>
                </c:pt>
                <c:pt idx="705">
                  <c:v>0.9889743009984424</c:v>
                </c:pt>
                <c:pt idx="706">
                  <c:v>0.9890100600508809</c:v>
                </c:pt>
                <c:pt idx="707">
                  <c:v>0.9890456879236332</c:v>
                </c:pt>
                <c:pt idx="708">
                  <c:v>0.9890811541406106</c:v>
                </c:pt>
                <c:pt idx="709">
                  <c:v>0.9891166190325407</c:v>
                </c:pt>
                <c:pt idx="710">
                  <c:v>0.989151812289767</c:v>
                </c:pt>
                <c:pt idx="711">
                  <c:v>0.9891869949466147</c:v>
                </c:pt>
                <c:pt idx="712">
                  <c:v>0.9892220967755748</c:v>
                </c:pt>
                <c:pt idx="713">
                  <c:v>0.9892570979009375</c:v>
                </c:pt>
                <c:pt idx="714">
                  <c:v>0.9892919956726081</c:v>
                </c:pt>
                <c:pt idx="715">
                  <c:v>0.9893266642110896</c:v>
                </c:pt>
                <c:pt idx="716">
                  <c:v>0.9893611406177075</c:v>
                </c:pt>
                <c:pt idx="717">
                  <c:v>0.9893954407930299</c:v>
                </c:pt>
                <c:pt idx="718">
                  <c:v>0.989429649540086</c:v>
                </c:pt>
                <c:pt idx="719">
                  <c:v>0.9894638344362902</c:v>
                </c:pt>
                <c:pt idx="720">
                  <c:v>0.9894980153573523</c:v>
                </c:pt>
                <c:pt idx="721">
                  <c:v>0.989532143276521</c:v>
                </c:pt>
                <c:pt idx="722">
                  <c:v>0.9895661625418082</c:v>
                </c:pt>
                <c:pt idx="723">
                  <c:v>0.9896340831431697</c:v>
                </c:pt>
                <c:pt idx="724">
                  <c:v>0.9896676267164636</c:v>
                </c:pt>
                <c:pt idx="725">
                  <c:v>0.9897011305383373</c:v>
                </c:pt>
                <c:pt idx="726">
                  <c:v>0.9897677128418902</c:v>
                </c:pt>
                <c:pt idx="727">
                  <c:v>0.9898008708264096</c:v>
                </c:pt>
                <c:pt idx="728">
                  <c:v>0.9898340009849348</c:v>
                </c:pt>
                <c:pt idx="729">
                  <c:v>0.9899000148431809</c:v>
                </c:pt>
                <c:pt idx="730">
                  <c:v>0.9899328945677598</c:v>
                </c:pt>
                <c:pt idx="731">
                  <c:v>0.9899657504414866</c:v>
                </c:pt>
                <c:pt idx="732">
                  <c:v>0.990031054074361</c:v>
                </c:pt>
                <c:pt idx="733">
                  <c:v>0.9900636727646147</c:v>
                </c:pt>
                <c:pt idx="734">
                  <c:v>0.9900960767972001</c:v>
                </c:pt>
                <c:pt idx="735">
                  <c:v>0.9901281800440405</c:v>
                </c:pt>
                <c:pt idx="736">
                  <c:v>0.9901602713654548</c:v>
                </c:pt>
                <c:pt idx="737">
                  <c:v>0.9902243758304907</c:v>
                </c:pt>
                <c:pt idx="738">
                  <c:v>0.9902562776701361</c:v>
                </c:pt>
                <c:pt idx="739">
                  <c:v>0.9902881238577934</c:v>
                </c:pt>
                <c:pt idx="740">
                  <c:v>0.9903199581200247</c:v>
                </c:pt>
                <c:pt idx="741">
                  <c:v>0.9903517579310253</c:v>
                </c:pt>
                <c:pt idx="742">
                  <c:v>0.990383439812813</c:v>
                </c:pt>
                <c:pt idx="743">
                  <c:v>0.9904149746143465</c:v>
                </c:pt>
                <c:pt idx="744">
                  <c:v>0.9904463861864777</c:v>
                </c:pt>
                <c:pt idx="745">
                  <c:v>0.9904777368064316</c:v>
                </c:pt>
                <c:pt idx="746">
                  <c:v>0.9905088899943325</c:v>
                </c:pt>
                <c:pt idx="747">
                  <c:v>0.9905397940733344</c:v>
                </c:pt>
                <c:pt idx="748">
                  <c:v>0.9905706902020522</c:v>
                </c:pt>
                <c:pt idx="749">
                  <c:v>0.9906014538260366</c:v>
                </c:pt>
                <c:pt idx="750">
                  <c:v>0.9906320120676839</c:v>
                </c:pt>
                <c:pt idx="751">
                  <c:v>0.9906625504336213</c:v>
                </c:pt>
                <c:pt idx="752">
                  <c:v>0.9906929973712925</c:v>
                </c:pt>
                <c:pt idx="753">
                  <c:v>0.9907234058825909</c:v>
                </c:pt>
                <c:pt idx="754">
                  <c:v>0.990753793193132</c:v>
                </c:pt>
                <c:pt idx="755">
                  <c:v>0.9907840413737028</c:v>
                </c:pt>
                <c:pt idx="756">
                  <c:v>0.9908141809003922</c:v>
                </c:pt>
                <c:pt idx="757">
                  <c:v>0.9908442979012769</c:v>
                </c:pt>
                <c:pt idx="758">
                  <c:v>0.9908743910513096</c:v>
                </c:pt>
                <c:pt idx="759">
                  <c:v>0.9909341082846181</c:v>
                </c:pt>
                <c:pt idx="760">
                  <c:v>0.9909635786624031</c:v>
                </c:pt>
                <c:pt idx="761">
                  <c:v>0.9909929761625847</c:v>
                </c:pt>
                <c:pt idx="762">
                  <c:v>0.9910222941599263</c:v>
                </c:pt>
                <c:pt idx="763">
                  <c:v>0.9910514717022502</c:v>
                </c:pt>
                <c:pt idx="764">
                  <c:v>0.9910805882923966</c:v>
                </c:pt>
                <c:pt idx="765">
                  <c:v>0.9911092782173012</c:v>
                </c:pt>
                <c:pt idx="766">
                  <c:v>0.991137684582076</c:v>
                </c:pt>
                <c:pt idx="767">
                  <c:v>0.991193788411301</c:v>
                </c:pt>
                <c:pt idx="768">
                  <c:v>0.9912217124588457</c:v>
                </c:pt>
                <c:pt idx="769">
                  <c:v>0.9912495729041183</c:v>
                </c:pt>
                <c:pt idx="770">
                  <c:v>0.9912771193131724</c:v>
                </c:pt>
                <c:pt idx="771">
                  <c:v>0.9913046564468952</c:v>
                </c:pt>
                <c:pt idx="772">
                  <c:v>0.9913321829802394</c:v>
                </c:pt>
                <c:pt idx="773">
                  <c:v>0.9913597055384415</c:v>
                </c:pt>
                <c:pt idx="774">
                  <c:v>0.9913872241215016</c:v>
                </c:pt>
                <c:pt idx="775">
                  <c:v>0.9914145889990708</c:v>
                </c:pt>
                <c:pt idx="776">
                  <c:v>0.9914419512265453</c:v>
                </c:pt>
                <c:pt idx="777">
                  <c:v>0.9914693028536412</c:v>
                </c:pt>
                <c:pt idx="778">
                  <c:v>0.9914965524520922</c:v>
                </c:pt>
                <c:pt idx="779">
                  <c:v>0.9915237569989338</c:v>
                </c:pt>
                <c:pt idx="780">
                  <c:v>0.9915507919397165</c:v>
                </c:pt>
                <c:pt idx="781">
                  <c:v>0.9915777010010024</c:v>
                </c:pt>
                <c:pt idx="782">
                  <c:v>0.9916045636856315</c:v>
                </c:pt>
                <c:pt idx="783">
                  <c:v>0.9916311136590895</c:v>
                </c:pt>
                <c:pt idx="784">
                  <c:v>0.9916575536536186</c:v>
                </c:pt>
                <c:pt idx="785">
                  <c:v>0.9916837246635387</c:v>
                </c:pt>
                <c:pt idx="786">
                  <c:v>0.9917096677653171</c:v>
                </c:pt>
                <c:pt idx="787">
                  <c:v>0.9917355697906282</c:v>
                </c:pt>
                <c:pt idx="788">
                  <c:v>0.9917612425827501</c:v>
                </c:pt>
                <c:pt idx="789">
                  <c:v>0.9917867470938605</c:v>
                </c:pt>
                <c:pt idx="790">
                  <c:v>0.9918121734271781</c:v>
                </c:pt>
                <c:pt idx="791">
                  <c:v>0.9918627385585416</c:v>
                </c:pt>
                <c:pt idx="792">
                  <c:v>0.9918879144579128</c:v>
                </c:pt>
                <c:pt idx="793">
                  <c:v>0.9919130877071893</c:v>
                </c:pt>
                <c:pt idx="794">
                  <c:v>0.9919382185549511</c:v>
                </c:pt>
                <c:pt idx="795">
                  <c:v>0.9919632884505355</c:v>
                </c:pt>
                <c:pt idx="796">
                  <c:v>0.9919880297343807</c:v>
                </c:pt>
                <c:pt idx="797">
                  <c:v>0.9920127153662379</c:v>
                </c:pt>
                <c:pt idx="798">
                  <c:v>0.9920373784722903</c:v>
                </c:pt>
                <c:pt idx="799">
                  <c:v>0.9921107503183895</c:v>
                </c:pt>
                <c:pt idx="800">
                  <c:v>0.9921350490364247</c:v>
                </c:pt>
                <c:pt idx="801">
                  <c:v>0.9921592775269512</c:v>
                </c:pt>
                <c:pt idx="802">
                  <c:v>0.9921833470117974</c:v>
                </c:pt>
                <c:pt idx="803">
                  <c:v>0.9922309983640706</c:v>
                </c:pt>
                <c:pt idx="804">
                  <c:v>0.992254736587083</c:v>
                </c:pt>
                <c:pt idx="805">
                  <c:v>0.9922784708349534</c:v>
                </c:pt>
                <c:pt idx="806">
                  <c:v>0.9923021414805516</c:v>
                </c:pt>
                <c:pt idx="807">
                  <c:v>0.9923254715889848</c:v>
                </c:pt>
                <c:pt idx="808">
                  <c:v>0.9923487738714238</c:v>
                </c:pt>
                <c:pt idx="809">
                  <c:v>0.9923720589282475</c:v>
                </c:pt>
                <c:pt idx="810">
                  <c:v>0.9924183110305346</c:v>
                </c:pt>
                <c:pt idx="811">
                  <c:v>0.9924412104985837</c:v>
                </c:pt>
                <c:pt idx="812">
                  <c:v>0.9924640052878934</c:v>
                </c:pt>
                <c:pt idx="813">
                  <c:v>0.9924867696011143</c:v>
                </c:pt>
                <c:pt idx="814">
                  <c:v>0.9925094981380571</c:v>
                </c:pt>
                <c:pt idx="815">
                  <c:v>0.9925322213748107</c:v>
                </c:pt>
                <c:pt idx="816">
                  <c:v>0.9925549287109962</c:v>
                </c:pt>
                <c:pt idx="817">
                  <c:v>0.9926002983317578</c:v>
                </c:pt>
                <c:pt idx="818">
                  <c:v>0.9926228678630205</c:v>
                </c:pt>
                <c:pt idx="819">
                  <c:v>0.9926452399622301</c:v>
                </c:pt>
                <c:pt idx="820">
                  <c:v>0.9926674808817536</c:v>
                </c:pt>
                <c:pt idx="821">
                  <c:v>0.992689626397869</c:v>
                </c:pt>
                <c:pt idx="822">
                  <c:v>0.9927116963862862</c:v>
                </c:pt>
                <c:pt idx="823">
                  <c:v>0.9927337398737567</c:v>
                </c:pt>
                <c:pt idx="824">
                  <c:v>0.9927557767359906</c:v>
                </c:pt>
                <c:pt idx="825">
                  <c:v>0.9927775962904615</c:v>
                </c:pt>
                <c:pt idx="826">
                  <c:v>0.9927993230916189</c:v>
                </c:pt>
                <c:pt idx="827">
                  <c:v>0.9928209505142261</c:v>
                </c:pt>
                <c:pt idx="828">
                  <c:v>0.9928425275850347</c:v>
                </c:pt>
                <c:pt idx="829">
                  <c:v>0.992864025153003</c:v>
                </c:pt>
                <c:pt idx="830">
                  <c:v>0.99288551344564</c:v>
                </c:pt>
                <c:pt idx="831">
                  <c:v>0.9929281799698376</c:v>
                </c:pt>
                <c:pt idx="832">
                  <c:v>0.9929493237501674</c:v>
                </c:pt>
                <c:pt idx="833">
                  <c:v>0.9929704675304972</c:v>
                </c:pt>
                <c:pt idx="834">
                  <c:v>0.9930543191759713</c:v>
                </c:pt>
                <c:pt idx="835">
                  <c:v>0.9930749713637398</c:v>
                </c:pt>
                <c:pt idx="836">
                  <c:v>0.9930956050008455</c:v>
                </c:pt>
                <c:pt idx="837">
                  <c:v>0.9931365489635071</c:v>
                </c:pt>
                <c:pt idx="838">
                  <c:v>0.9931568738645837</c:v>
                </c:pt>
                <c:pt idx="839">
                  <c:v>0.9931770675859741</c:v>
                </c:pt>
                <c:pt idx="840">
                  <c:v>0.9932173066234534</c:v>
                </c:pt>
                <c:pt idx="841">
                  <c:v>0.9932372154596667</c:v>
                </c:pt>
                <c:pt idx="842">
                  <c:v>0.9932570924947439</c:v>
                </c:pt>
                <c:pt idx="843">
                  <c:v>0.9932769244782118</c:v>
                </c:pt>
                <c:pt idx="844">
                  <c:v>0.9932966690085555</c:v>
                </c:pt>
                <c:pt idx="845">
                  <c:v>0.9933162876594024</c:v>
                </c:pt>
                <c:pt idx="846">
                  <c:v>0.9933553288540905</c:v>
                </c:pt>
                <c:pt idx="847">
                  <c:v>0.9933747156216537</c:v>
                </c:pt>
                <c:pt idx="848">
                  <c:v>0.9933938943567853</c:v>
                </c:pt>
                <c:pt idx="849">
                  <c:v>0.9934130280403074</c:v>
                </c:pt>
                <c:pt idx="850">
                  <c:v>0.9934321193223148</c:v>
                </c:pt>
                <c:pt idx="851">
                  <c:v>0.9934511350766241</c:v>
                </c:pt>
                <c:pt idx="852">
                  <c:v>0.9934700991540873</c:v>
                </c:pt>
                <c:pt idx="853">
                  <c:v>0.9934890195049885</c:v>
                </c:pt>
                <c:pt idx="854">
                  <c:v>0.9935079146799902</c:v>
                </c:pt>
                <c:pt idx="855">
                  <c:v>0.993526762153288</c:v>
                </c:pt>
                <c:pt idx="856">
                  <c:v>0.9935455393990769</c:v>
                </c:pt>
                <c:pt idx="857">
                  <c:v>0.9935643153198185</c:v>
                </c:pt>
                <c:pt idx="858">
                  <c:v>0.9935830130627673</c:v>
                </c:pt>
                <c:pt idx="859">
                  <c:v>0.9936017041804794</c:v>
                </c:pt>
                <c:pt idx="860">
                  <c:v>0.9936203171203988</c:v>
                </c:pt>
                <c:pt idx="861">
                  <c:v>0.9936574754228235</c:v>
                </c:pt>
                <c:pt idx="862">
                  <c:v>0.9936760048847607</c:v>
                </c:pt>
                <c:pt idx="863">
                  <c:v>0.9936944800197572</c:v>
                </c:pt>
                <c:pt idx="864">
                  <c:v>0.9937127895238368</c:v>
                </c:pt>
                <c:pt idx="865">
                  <c:v>0.9937310871024904</c:v>
                </c:pt>
                <c:pt idx="866">
                  <c:v>0.9937493807060019</c:v>
                </c:pt>
                <c:pt idx="867">
                  <c:v>0.9937676716594188</c:v>
                </c:pt>
                <c:pt idx="868">
                  <c:v>0.9937859506874097</c:v>
                </c:pt>
                <c:pt idx="869">
                  <c:v>0.9938042058645485</c:v>
                </c:pt>
                <c:pt idx="870">
                  <c:v>0.993822443816072</c:v>
                </c:pt>
                <c:pt idx="871">
                  <c:v>0.9938405545630512</c:v>
                </c:pt>
                <c:pt idx="872">
                  <c:v>0.9938586149582317</c:v>
                </c:pt>
                <c:pt idx="873">
                  <c:v>0.9938765945255248</c:v>
                </c:pt>
                <c:pt idx="874">
                  <c:v>0.993894444238179</c:v>
                </c:pt>
                <c:pt idx="875">
                  <c:v>0.9939122873255964</c:v>
                </c:pt>
                <c:pt idx="876">
                  <c:v>0.9939300575354105</c:v>
                </c:pt>
                <c:pt idx="877">
                  <c:v>0.9939478105196092</c:v>
                </c:pt>
                <c:pt idx="878">
                  <c:v>0.9939652852438675</c:v>
                </c:pt>
                <c:pt idx="879">
                  <c:v>0.9939827188916585</c:v>
                </c:pt>
                <c:pt idx="880">
                  <c:v>0.9940001445891654</c:v>
                </c:pt>
                <c:pt idx="881">
                  <c:v>0.9940175172847789</c:v>
                </c:pt>
                <c:pt idx="882">
                  <c:v>0.9940348303532623</c:v>
                </c:pt>
                <c:pt idx="883">
                  <c:v>0.9940520983701363</c:v>
                </c:pt>
                <c:pt idx="884">
                  <c:v>0.9940693266355902</c:v>
                </c:pt>
                <c:pt idx="885">
                  <c:v>0.9940864528723994</c:v>
                </c:pt>
                <c:pt idx="886">
                  <c:v>0.9941370511299462</c:v>
                </c:pt>
                <c:pt idx="887">
                  <c:v>0.9941538315294008</c:v>
                </c:pt>
                <c:pt idx="888">
                  <c:v>0.99418731282547</c:v>
                </c:pt>
                <c:pt idx="889">
                  <c:v>0.9942040190222738</c:v>
                </c:pt>
                <c:pt idx="890">
                  <c:v>0.9942206894427996</c:v>
                </c:pt>
                <c:pt idx="891">
                  <c:v>0.9942372830105799</c:v>
                </c:pt>
                <c:pt idx="892">
                  <c:v>0.9942538434521768</c:v>
                </c:pt>
                <c:pt idx="893">
                  <c:v>0.994286906033288</c:v>
                </c:pt>
                <c:pt idx="894">
                  <c:v>0.9943034002225182</c:v>
                </c:pt>
                <c:pt idx="895">
                  <c:v>0.9943198162339556</c:v>
                </c:pt>
                <c:pt idx="896">
                  <c:v>0.9943524203486888</c:v>
                </c:pt>
                <c:pt idx="897">
                  <c:v>0.9943686124271265</c:v>
                </c:pt>
                <c:pt idx="898">
                  <c:v>0.9943847674042388</c:v>
                </c:pt>
                <c:pt idx="899">
                  <c:v>0.9944008720295523</c:v>
                </c:pt>
                <c:pt idx="900">
                  <c:v>0.9944169634043926</c:v>
                </c:pt>
                <c:pt idx="901">
                  <c:v>0.9944329633509666</c:v>
                </c:pt>
                <c:pt idx="902">
                  <c:v>0.9944488506685172</c:v>
                </c:pt>
                <c:pt idx="903">
                  <c:v>0.994464675708843</c:v>
                </c:pt>
                <c:pt idx="904">
                  <c:v>0.9944804702730802</c:v>
                </c:pt>
                <c:pt idx="905">
                  <c:v>0.9944962409864653</c:v>
                </c:pt>
                <c:pt idx="906">
                  <c:v>0.9945119480975783</c:v>
                </c:pt>
                <c:pt idx="907">
                  <c:v>0.9945275929314665</c:v>
                </c:pt>
                <c:pt idx="908">
                  <c:v>0.9945430787596745</c:v>
                </c:pt>
                <c:pt idx="909">
                  <c:v>0.9945585553125511</c:v>
                </c:pt>
                <c:pt idx="910">
                  <c:v>0.9945740119897177</c:v>
                </c:pt>
                <c:pt idx="911">
                  <c:v>0.9945893520627188</c:v>
                </c:pt>
                <c:pt idx="912">
                  <c:v>0.9946045649311758</c:v>
                </c:pt>
                <c:pt idx="913">
                  <c:v>0.9946197724994433</c:v>
                </c:pt>
                <c:pt idx="914">
                  <c:v>0.9946349694673322</c:v>
                </c:pt>
                <c:pt idx="915">
                  <c:v>0.9946501611350318</c:v>
                </c:pt>
                <c:pt idx="916">
                  <c:v>0.994665331601974</c:v>
                </c:pt>
                <c:pt idx="917">
                  <c:v>0.9946804914685375</c:v>
                </c:pt>
                <c:pt idx="918">
                  <c:v>0.9946955970081602</c:v>
                </c:pt>
                <c:pt idx="919">
                  <c:v>0.9947256702824828</c:v>
                </c:pt>
                <c:pt idx="920">
                  <c:v>0.9947406459674667</c:v>
                </c:pt>
                <c:pt idx="921">
                  <c:v>0.9947555116735217</c:v>
                </c:pt>
                <c:pt idx="922">
                  <c:v>0.9947703561788194</c:v>
                </c:pt>
                <c:pt idx="923">
                  <c:v>0.9947851794833596</c:v>
                </c:pt>
                <c:pt idx="924">
                  <c:v>0.9948000014628526</c:v>
                </c:pt>
                <c:pt idx="925">
                  <c:v>0.9948289696476975</c:v>
                </c:pt>
                <c:pt idx="926">
                  <c:v>0.9948434365145046</c:v>
                </c:pt>
                <c:pt idx="927">
                  <c:v>0.9948578079779036</c:v>
                </c:pt>
                <c:pt idx="928">
                  <c:v>0.9948720787377051</c:v>
                </c:pt>
                <c:pt idx="929">
                  <c:v>0.9948862103675364</c:v>
                </c:pt>
                <c:pt idx="930">
                  <c:v>0.9949143583480808</c:v>
                </c:pt>
                <c:pt idx="931">
                  <c:v>0.9949284250505926</c:v>
                </c:pt>
                <c:pt idx="932">
                  <c:v>0.9949703535234244</c:v>
                </c:pt>
                <c:pt idx="933">
                  <c:v>0.9949842068933153</c:v>
                </c:pt>
                <c:pt idx="934">
                  <c:v>0.9950118672564403</c:v>
                </c:pt>
                <c:pt idx="935">
                  <c:v>0.9950256517238697</c:v>
                </c:pt>
                <c:pt idx="936">
                  <c:v>0.9950394348662518</c:v>
                </c:pt>
                <c:pt idx="937">
                  <c:v>0.9950532047581605</c:v>
                </c:pt>
                <c:pt idx="938">
                  <c:v>0.9950669600745485</c:v>
                </c:pt>
                <c:pt idx="939">
                  <c:v>0.9950944084300999</c:v>
                </c:pt>
                <c:pt idx="940">
                  <c:v>0.9951080974941212</c:v>
                </c:pt>
                <c:pt idx="941">
                  <c:v>0.9951217547570065</c:v>
                </c:pt>
                <c:pt idx="942">
                  <c:v>0.995135369618377</c:v>
                </c:pt>
                <c:pt idx="943">
                  <c:v>0.9951489089520494</c:v>
                </c:pt>
                <c:pt idx="944">
                  <c:v>0.9951759452178796</c:v>
                </c:pt>
                <c:pt idx="945">
                  <c:v>0.9951894501003212</c:v>
                </c:pt>
                <c:pt idx="946">
                  <c:v>0.9952029059560115</c:v>
                </c:pt>
                <c:pt idx="947">
                  <c:v>0.9952297421396938</c:v>
                </c:pt>
                <c:pt idx="948">
                  <c:v>0.9952431476435853</c:v>
                </c:pt>
                <c:pt idx="949">
                  <c:v>0.9952565213463408</c:v>
                </c:pt>
                <c:pt idx="950">
                  <c:v>0.9952698486724395</c:v>
                </c:pt>
                <c:pt idx="951">
                  <c:v>0.9952831587729228</c:v>
                </c:pt>
                <c:pt idx="952">
                  <c:v>0.9952964423724595</c:v>
                </c:pt>
                <c:pt idx="953">
                  <c:v>0.9953096795953394</c:v>
                </c:pt>
                <c:pt idx="954">
                  <c:v>0.9953360930889219</c:v>
                </c:pt>
                <c:pt idx="955">
                  <c:v>0.9953492971856185</c:v>
                </c:pt>
                <c:pt idx="956">
                  <c:v>0.9953623979286229</c:v>
                </c:pt>
                <c:pt idx="957">
                  <c:v>0.9953754416945919</c:v>
                </c:pt>
                <c:pt idx="958">
                  <c:v>0.995401355645329</c:v>
                </c:pt>
                <c:pt idx="959">
                  <c:v>0.9954142748568484</c:v>
                </c:pt>
                <c:pt idx="960">
                  <c:v>0.9954271861180839</c:v>
                </c:pt>
                <c:pt idx="961">
                  <c:v>0.99544009207913</c:v>
                </c:pt>
                <c:pt idx="962">
                  <c:v>0.9954529861147501</c:v>
                </c:pt>
                <c:pt idx="963">
                  <c:v>0.9954657741465833</c:v>
                </c:pt>
                <c:pt idx="964">
                  <c:v>0.9954784614748191</c:v>
                </c:pt>
                <c:pt idx="965">
                  <c:v>0.9955036837508471</c:v>
                </c:pt>
                <c:pt idx="966">
                  <c:v>0.9955287205202481</c:v>
                </c:pt>
                <c:pt idx="967">
                  <c:v>0.9955411494642534</c:v>
                </c:pt>
                <c:pt idx="968">
                  <c:v>0.9955535492572174</c:v>
                </c:pt>
                <c:pt idx="969">
                  <c:v>0.9955783276423881</c:v>
                </c:pt>
                <c:pt idx="970">
                  <c:v>0.995590695634216</c:v>
                </c:pt>
                <c:pt idx="971">
                  <c:v>0.9956030225495766</c:v>
                </c:pt>
                <c:pt idx="972">
                  <c:v>0.9956153428397004</c:v>
                </c:pt>
                <c:pt idx="973">
                  <c:v>0.9956519499224336</c:v>
                </c:pt>
                <c:pt idx="974">
                  <c:v>0.9956640131533744</c:v>
                </c:pt>
                <c:pt idx="975">
                  <c:v>0.9956760591586998</c:v>
                </c:pt>
                <c:pt idx="976">
                  <c:v>0.9957001193682147</c:v>
                </c:pt>
                <c:pt idx="977">
                  <c:v>0.9957121269471674</c:v>
                </c:pt>
                <c:pt idx="978">
                  <c:v>0.9957240483980433</c:v>
                </c:pt>
                <c:pt idx="979">
                  <c:v>0.9957359499732092</c:v>
                </c:pt>
                <c:pt idx="980">
                  <c:v>0.9957478449231385</c:v>
                </c:pt>
                <c:pt idx="981">
                  <c:v>0.9957597213224051</c:v>
                </c:pt>
                <c:pt idx="982">
                  <c:v>0.9957715698956776</c:v>
                </c:pt>
                <c:pt idx="983">
                  <c:v>0.9957833879928614</c:v>
                </c:pt>
                <c:pt idx="984">
                  <c:v>0.9957951862143352</c:v>
                </c:pt>
                <c:pt idx="985">
                  <c:v>0.9958069592599096</c:v>
                </c:pt>
                <c:pt idx="986">
                  <c:v>0.9958187031544427</c:v>
                </c:pt>
                <c:pt idx="987">
                  <c:v>0.9958304271732656</c:v>
                </c:pt>
                <c:pt idx="988">
                  <c:v>0.9958421207159999</c:v>
                </c:pt>
                <c:pt idx="989">
                  <c:v>0.9958538076334975</c:v>
                </c:pt>
                <c:pt idx="990">
                  <c:v>0.995865407097871</c:v>
                </c:pt>
                <c:pt idx="991">
                  <c:v>0.995876961510635</c:v>
                </c:pt>
                <c:pt idx="992">
                  <c:v>0.995888503997973</c:v>
                </c:pt>
                <c:pt idx="993">
                  <c:v>0.9959114670682943</c:v>
                </c:pt>
                <c:pt idx="994">
                  <c:v>0.9959229221025082</c:v>
                </c:pt>
                <c:pt idx="995">
                  <c:v>0.9959343744866275</c:v>
                </c:pt>
                <c:pt idx="996">
                  <c:v>0.995945824220652</c:v>
                </c:pt>
                <c:pt idx="997">
                  <c:v>0.9959572567290612</c:v>
                </c:pt>
                <c:pt idx="998">
                  <c:v>0.9959685845587309</c:v>
                </c:pt>
                <c:pt idx="999">
                  <c:v>0.9960023374895038</c:v>
                </c:pt>
                <c:pt idx="1000">
                  <c:v>0.9960134758374046</c:v>
                </c:pt>
                <c:pt idx="1001">
                  <c:v>0.9960356001527626</c:v>
                </c:pt>
                <c:pt idx="1002">
                  <c:v>0.9960466271966872</c:v>
                </c:pt>
                <c:pt idx="1003">
                  <c:v>0.9960575919633871</c:v>
                </c:pt>
                <c:pt idx="1004">
                  <c:v>0.9960684851775308</c:v>
                </c:pt>
                <c:pt idx="1005">
                  <c:v>0.9960793492406331</c:v>
                </c:pt>
                <c:pt idx="1006">
                  <c:v>0.9960901828276467</c:v>
                </c:pt>
                <c:pt idx="1007">
                  <c:v>0.9961009899137137</c:v>
                </c:pt>
                <c:pt idx="1008">
                  <c:v>0.9961117625485498</c:v>
                </c:pt>
                <c:pt idx="1009">
                  <c:v>0.9961331633880628</c:v>
                </c:pt>
                <c:pt idx="1010">
                  <c:v>0.9961437955678815</c:v>
                </c:pt>
                <c:pt idx="1011">
                  <c:v>0.9961543760708541</c:v>
                </c:pt>
                <c:pt idx="1012">
                  <c:v>0.9961649154973593</c:v>
                </c:pt>
                <c:pt idx="1013">
                  <c:v>0.9962067591671617</c:v>
                </c:pt>
                <c:pt idx="1014">
                  <c:v>0.99621711308704</c:v>
                </c:pt>
                <c:pt idx="1015">
                  <c:v>0.9962274524313975</c:v>
                </c:pt>
                <c:pt idx="1016">
                  <c:v>0.9962376990224416</c:v>
                </c:pt>
                <c:pt idx="1017">
                  <c:v>0.996247895261687</c:v>
                </c:pt>
                <c:pt idx="1018">
                  <c:v>0.9962580610248436</c:v>
                </c:pt>
                <c:pt idx="1019">
                  <c:v>0.9962681592105861</c:v>
                </c:pt>
                <c:pt idx="1020">
                  <c:v>0.996278254746234</c:v>
                </c:pt>
                <c:pt idx="1021">
                  <c:v>0.9962883118555091</c:v>
                </c:pt>
                <c:pt idx="1022">
                  <c:v>0.9962983636645949</c:v>
                </c:pt>
                <c:pt idx="1023">
                  <c:v>0.9963183652541218</c:v>
                </c:pt>
                <c:pt idx="1024">
                  <c:v>0.996328264682764</c:v>
                </c:pt>
                <c:pt idx="1025">
                  <c:v>0.9963576250816202</c:v>
                </c:pt>
                <c:pt idx="1026">
                  <c:v>0.9963673973057182</c:v>
                </c:pt>
                <c:pt idx="1027">
                  <c:v>0.9963771536292483</c:v>
                </c:pt>
                <c:pt idx="1028">
                  <c:v>0.9963869073026836</c:v>
                </c:pt>
                <c:pt idx="1029">
                  <c:v>0.9963966424254563</c:v>
                </c:pt>
                <c:pt idx="1030">
                  <c:v>0.996406337796809</c:v>
                </c:pt>
                <c:pt idx="1031">
                  <c:v>0.9964256914381888</c:v>
                </c:pt>
                <c:pt idx="1032">
                  <c:v>0.996435345733074</c:v>
                </c:pt>
                <c:pt idx="1033">
                  <c:v>0.9964639826560852</c:v>
                </c:pt>
                <c:pt idx="1034">
                  <c:v>0.9964829957602999</c:v>
                </c:pt>
                <c:pt idx="1035">
                  <c:v>0.9965019134611064</c:v>
                </c:pt>
                <c:pt idx="1036">
                  <c:v>0.9965113120218558</c:v>
                </c:pt>
                <c:pt idx="1037">
                  <c:v>0.9965300919177394</c:v>
                </c:pt>
                <c:pt idx="1038">
                  <c:v>0.9965394639775422</c:v>
                </c:pt>
                <c:pt idx="1039">
                  <c:v>0.9965487154580375</c:v>
                </c:pt>
                <c:pt idx="1040">
                  <c:v>0.996557952363012</c:v>
                </c:pt>
                <c:pt idx="1041">
                  <c:v>0.9965763744961151</c:v>
                </c:pt>
                <c:pt idx="1042">
                  <c:v>0.9965855716496697</c:v>
                </c:pt>
                <c:pt idx="1043">
                  <c:v>0.9965946985757154</c:v>
                </c:pt>
                <c:pt idx="1044">
                  <c:v>0.9966038149013824</c:v>
                </c:pt>
                <c:pt idx="1045">
                  <c:v>0.9966129153264814</c:v>
                </c:pt>
                <c:pt idx="1046">
                  <c:v>0.99663099162223</c:v>
                </c:pt>
                <c:pt idx="1047">
                  <c:v>0.9966399833934475</c:v>
                </c:pt>
                <c:pt idx="1048">
                  <c:v>0.996648967214381</c:v>
                </c:pt>
                <c:pt idx="1049">
                  <c:v>0.996666926905964</c:v>
                </c:pt>
                <c:pt idx="1050">
                  <c:v>0.9966758073732054</c:v>
                </c:pt>
                <c:pt idx="1051">
                  <c:v>0.9967023215703854</c:v>
                </c:pt>
                <c:pt idx="1052">
                  <c:v>0.9967461475110013</c:v>
                </c:pt>
                <c:pt idx="1053">
                  <c:v>0.9967548530719944</c:v>
                </c:pt>
                <c:pt idx="1054">
                  <c:v>0.9967635175565202</c:v>
                </c:pt>
                <c:pt idx="1055">
                  <c:v>0.9967721409645784</c:v>
                </c:pt>
                <c:pt idx="1056">
                  <c:v>0.9967892950273817</c:v>
                </c:pt>
                <c:pt idx="1057">
                  <c:v>0.9967978429077419</c:v>
                </c:pt>
                <c:pt idx="1058">
                  <c:v>0.9968149108424682</c:v>
                </c:pt>
                <c:pt idx="1059">
                  <c:v>0.996823433546929</c:v>
                </c:pt>
                <c:pt idx="1060">
                  <c:v>0.9968319416758692</c:v>
                </c:pt>
                <c:pt idx="1061">
                  <c:v>0.9968404458296674</c:v>
                </c:pt>
                <c:pt idx="1062">
                  <c:v>0.9968489354079448</c:v>
                </c:pt>
                <c:pt idx="1063">
                  <c:v>0.9968574236611749</c:v>
                </c:pt>
                <c:pt idx="1064">
                  <c:v>0.996865896013837</c:v>
                </c:pt>
                <c:pt idx="1065">
                  <c:v>0.9968743180147004</c:v>
                </c:pt>
                <c:pt idx="1066">
                  <c:v>0.9968827227899484</c:v>
                </c:pt>
                <c:pt idx="1067">
                  <c:v>0.9968911262401491</c:v>
                </c:pt>
                <c:pt idx="1068">
                  <c:v>0.9968994038108528</c:v>
                </c:pt>
                <c:pt idx="1069">
                  <c:v>0.9969159523270238</c:v>
                </c:pt>
                <c:pt idx="1070">
                  <c:v>0.9969241967715442</c:v>
                </c:pt>
                <c:pt idx="1071">
                  <c:v>0.9969323988145499</c:v>
                </c:pt>
                <c:pt idx="1072">
                  <c:v>0.9969405955573662</c:v>
                </c:pt>
                <c:pt idx="1073">
                  <c:v>0.9969487710994253</c:v>
                </c:pt>
                <c:pt idx="1074">
                  <c:v>0.9969569201405375</c:v>
                </c:pt>
                <c:pt idx="1075">
                  <c:v>0.9969650413556557</c:v>
                </c:pt>
                <c:pt idx="1076">
                  <c:v>0.9969731572705846</c:v>
                </c:pt>
                <c:pt idx="1077">
                  <c:v>0.9969893334484543</c:v>
                </c:pt>
                <c:pt idx="1078">
                  <c:v>0.9969974096119631</c:v>
                </c:pt>
                <c:pt idx="1079">
                  <c:v>0.9970134903864247</c:v>
                </c:pt>
                <c:pt idx="1080">
                  <c:v>0.9970294770825254</c:v>
                </c:pt>
                <c:pt idx="1081">
                  <c:v>0.9970530576249048</c:v>
                </c:pt>
                <c:pt idx="1082">
                  <c:v>0.9970842028625216</c:v>
                </c:pt>
                <c:pt idx="1083">
                  <c:v>0.9970919702900013</c:v>
                </c:pt>
                <c:pt idx="1084">
                  <c:v>0.9971151731938902</c:v>
                </c:pt>
                <c:pt idx="1085">
                  <c:v>0.9971306232458201</c:v>
                </c:pt>
                <c:pt idx="1086">
                  <c:v>0.9971383376714065</c:v>
                </c:pt>
                <c:pt idx="1087">
                  <c:v>0.9971460163207146</c:v>
                </c:pt>
                <c:pt idx="1088">
                  <c:v>0.9971536830445968</c:v>
                </c:pt>
                <c:pt idx="1089">
                  <c:v>0.9971841485329307</c:v>
                </c:pt>
                <c:pt idx="1090">
                  <c:v>0.9971917450293041</c:v>
                </c:pt>
                <c:pt idx="1091">
                  <c:v>0.9971993362254882</c:v>
                </c:pt>
                <c:pt idx="1092">
                  <c:v>0.9972068505689268</c:v>
                </c:pt>
                <c:pt idx="1093">
                  <c:v>0.9972290848632136</c:v>
                </c:pt>
                <c:pt idx="1094">
                  <c:v>0.9972363871990786</c:v>
                </c:pt>
                <c:pt idx="1095">
                  <c:v>0.9972436709842809</c:v>
                </c:pt>
                <c:pt idx="1096">
                  <c:v>0.9972582067535495</c:v>
                </c:pt>
                <c:pt idx="1097">
                  <c:v>0.997272714696824</c:v>
                </c:pt>
                <c:pt idx="1098">
                  <c:v>0.9972799110289021</c:v>
                </c:pt>
                <c:pt idx="1099">
                  <c:v>0.9972870994106963</c:v>
                </c:pt>
                <c:pt idx="1100">
                  <c:v>0.9972942864674431</c:v>
                </c:pt>
                <c:pt idx="1101">
                  <c:v>0.9973014509983852</c:v>
                </c:pt>
                <c:pt idx="1102">
                  <c:v>0.9973086115541853</c:v>
                </c:pt>
                <c:pt idx="1103">
                  <c:v>0.9973157403088493</c:v>
                </c:pt>
                <c:pt idx="1104">
                  <c:v>0.997329968667136</c:v>
                </c:pt>
                <c:pt idx="1105">
                  <c:v>0.9973370550202854</c:v>
                </c:pt>
                <c:pt idx="1106">
                  <c:v>0.9973441373982926</c:v>
                </c:pt>
                <c:pt idx="1107">
                  <c:v>0.9973723821072924</c:v>
                </c:pt>
                <c:pt idx="1108">
                  <c:v>0.9973794114834064</c:v>
                </c:pt>
                <c:pt idx="1109">
                  <c:v>0.9974004187838608</c:v>
                </c:pt>
                <c:pt idx="1110">
                  <c:v>0.9974074110586493</c:v>
                </c:pt>
                <c:pt idx="1111">
                  <c:v>0.9974212949046288</c:v>
                </c:pt>
                <c:pt idx="1112">
                  <c:v>0.9974282037014353</c:v>
                </c:pt>
                <c:pt idx="1113">
                  <c:v>0.9974350886473896</c:v>
                </c:pt>
                <c:pt idx="1114">
                  <c:v>0.99744196564306</c:v>
                </c:pt>
                <c:pt idx="1115">
                  <c:v>0.9974488307133044</c:v>
                </c:pt>
                <c:pt idx="1116">
                  <c:v>0.9974556931334541</c:v>
                </c:pt>
                <c:pt idx="1117">
                  <c:v>0.9974625409780831</c:v>
                </c:pt>
                <c:pt idx="1118">
                  <c:v>0.9974693742471914</c:v>
                </c:pt>
                <c:pt idx="1119">
                  <c:v>0.997476204866205</c:v>
                </c:pt>
                <c:pt idx="1120">
                  <c:v>0.9974830222347453</c:v>
                </c:pt>
                <c:pt idx="1121">
                  <c:v>0.9974898290029068</c:v>
                </c:pt>
                <c:pt idx="1122">
                  <c:v>0.9974966092701217</c:v>
                </c:pt>
                <c:pt idx="1123">
                  <c:v>0.997516795041228</c:v>
                </c:pt>
                <c:pt idx="1124">
                  <c:v>0.9975234573792301</c:v>
                </c:pt>
                <c:pt idx="1125">
                  <c:v>0.9975367476040035</c:v>
                </c:pt>
                <c:pt idx="1126">
                  <c:v>0.9975565398360512</c:v>
                </c:pt>
                <c:pt idx="1127">
                  <c:v>0.9975696604547656</c:v>
                </c:pt>
                <c:pt idx="1128">
                  <c:v>0.9975761995633654</c:v>
                </c:pt>
                <c:pt idx="1129">
                  <c:v>0.9975827346968232</c:v>
                </c:pt>
                <c:pt idx="1130">
                  <c:v>0.9976021227894338</c:v>
                </c:pt>
                <c:pt idx="1131">
                  <c:v>0.9976085413187261</c:v>
                </c:pt>
                <c:pt idx="1132">
                  <c:v>0.9976213518763641</c:v>
                </c:pt>
                <c:pt idx="1133">
                  <c:v>0.99763411870744</c:v>
                </c:pt>
                <c:pt idx="1134">
                  <c:v>0.9976404815847443</c:v>
                </c:pt>
                <c:pt idx="1135">
                  <c:v>0.9976467848349184</c:v>
                </c:pt>
                <c:pt idx="1136">
                  <c:v>0.9976530748346192</c:v>
                </c:pt>
                <c:pt idx="1137">
                  <c:v>0.9976593582090834</c:v>
                </c:pt>
                <c:pt idx="1138">
                  <c:v>0.9976656349583108</c:v>
                </c:pt>
                <c:pt idx="1139">
                  <c:v>0.9976718852065916</c:v>
                </c:pt>
                <c:pt idx="1140">
                  <c:v>0.9976904570700436</c:v>
                </c:pt>
                <c:pt idx="1141">
                  <c:v>0.9977027561594101</c:v>
                </c:pt>
                <c:pt idx="1142">
                  <c:v>0.9977088977538093</c:v>
                </c:pt>
                <c:pt idx="1143">
                  <c:v>0.9977150194724985</c:v>
                </c:pt>
                <c:pt idx="1144">
                  <c:v>0.997721126615667</c:v>
                </c:pt>
                <c:pt idx="1145">
                  <c:v>0.9977272244835043</c:v>
                </c:pt>
                <c:pt idx="1146">
                  <c:v>0.9977333064507734</c:v>
                </c:pt>
                <c:pt idx="1147">
                  <c:v>0.9977393711924272</c:v>
                </c:pt>
                <c:pt idx="1148">
                  <c:v>0.9977514675495515</c:v>
                </c:pt>
                <c:pt idx="1149">
                  <c:v>0.9977635387307763</c:v>
                </c:pt>
                <c:pt idx="1150">
                  <c:v>0.9977755622102971</c:v>
                </c:pt>
                <c:pt idx="1151">
                  <c:v>0.9977815646747261</c:v>
                </c:pt>
                <c:pt idx="1152">
                  <c:v>0.9977935046762647</c:v>
                </c:pt>
                <c:pt idx="1153">
                  <c:v>0.997799424987759</c:v>
                </c:pt>
                <c:pt idx="1154">
                  <c:v>0.9978053333738272</c:v>
                </c:pt>
                <c:pt idx="1155">
                  <c:v>0.9978171289452064</c:v>
                </c:pt>
                <c:pt idx="1156">
                  <c:v>0.9978405889082783</c:v>
                </c:pt>
                <c:pt idx="1157">
                  <c:v>0.9978464389922638</c:v>
                </c:pt>
                <c:pt idx="1158">
                  <c:v>0.9978695769688334</c:v>
                </c:pt>
                <c:pt idx="1159">
                  <c:v>0.9978809617755385</c:v>
                </c:pt>
                <c:pt idx="1160">
                  <c:v>0.9978866276779444</c:v>
                </c:pt>
                <c:pt idx="1161">
                  <c:v>0.9978922896052083</c:v>
                </c:pt>
                <c:pt idx="1162">
                  <c:v>0.9979036094845939</c:v>
                </c:pt>
                <c:pt idx="1163">
                  <c:v>0.9979092594864317</c:v>
                </c:pt>
                <c:pt idx="1164">
                  <c:v>0.9979148882875122</c:v>
                </c:pt>
                <c:pt idx="1165">
                  <c:v>0.9979205170885926</c:v>
                </c:pt>
                <c:pt idx="1166">
                  <c:v>0.9979317084383869</c:v>
                </c:pt>
                <c:pt idx="1167">
                  <c:v>0.997942840161051</c:v>
                </c:pt>
                <c:pt idx="1168">
                  <c:v>0.997948392109386</c:v>
                </c:pt>
                <c:pt idx="1169">
                  <c:v>0.9979539109315376</c:v>
                </c:pt>
                <c:pt idx="1170">
                  <c:v>0.9979594297536892</c:v>
                </c:pt>
                <c:pt idx="1171">
                  <c:v>0.9979649366504149</c:v>
                </c:pt>
                <c:pt idx="1172">
                  <c:v>0.9979868383578204</c:v>
                </c:pt>
                <c:pt idx="1173">
                  <c:v>0.9979923041780786</c:v>
                </c:pt>
                <c:pt idx="1174">
                  <c:v>0.9980032318434531</c:v>
                </c:pt>
                <c:pt idx="1175">
                  <c:v>0.9980086671876226</c:v>
                </c:pt>
                <c:pt idx="1176">
                  <c:v>0.9980249294935691</c:v>
                </c:pt>
                <c:pt idx="1177">
                  <c:v>0.998035708753642</c:v>
                </c:pt>
                <c:pt idx="1178">
                  <c:v>0.9980572314975097</c:v>
                </c:pt>
                <c:pt idx="1179">
                  <c:v>0.9980626032394071</c:v>
                </c:pt>
                <c:pt idx="1180">
                  <c:v>0.9980732990214979</c:v>
                </c:pt>
                <c:pt idx="1181">
                  <c:v>0.9980785912605552</c:v>
                </c:pt>
                <c:pt idx="1182">
                  <c:v>0.9980838609738079</c:v>
                </c:pt>
                <c:pt idx="1183">
                  <c:v>0.9980891094863031</c:v>
                </c:pt>
                <c:pt idx="1184">
                  <c:v>0.9980943540236563</c:v>
                </c:pt>
                <c:pt idx="1185">
                  <c:v>0.9981047397446706</c:v>
                </c:pt>
                <c:pt idx="1186">
                  <c:v>0.9981099167046098</c:v>
                </c:pt>
                <c:pt idx="1187">
                  <c:v>0.9981202321981153</c:v>
                </c:pt>
                <c:pt idx="1188">
                  <c:v>0.998125376031871</c:v>
                </c:pt>
                <c:pt idx="1189">
                  <c:v>0.9981304761390647</c:v>
                </c:pt>
                <c:pt idx="1190">
                  <c:v>0.9981355696210217</c:v>
                </c:pt>
                <c:pt idx="1191">
                  <c:v>0.9981457287589417</c:v>
                </c:pt>
                <c:pt idx="1192">
                  <c:v>0.9981507944149046</c:v>
                </c:pt>
                <c:pt idx="1193">
                  <c:v>0.9981558521205836</c:v>
                </c:pt>
                <c:pt idx="1194">
                  <c:v>0.9981709907863897</c:v>
                </c:pt>
                <c:pt idx="1195">
                  <c:v>0.998186039348977</c:v>
                </c:pt>
                <c:pt idx="1196">
                  <c:v>0.9981910334523838</c:v>
                </c:pt>
                <c:pt idx="1197">
                  <c:v>0.9981960222556013</c:v>
                </c:pt>
                <c:pt idx="1198">
                  <c:v>0.9982010097337715</c:v>
                </c:pt>
                <c:pt idx="1199">
                  <c:v>0.9982109780648751</c:v>
                </c:pt>
                <c:pt idx="1200">
                  <c:v>0.9982159575927613</c:v>
                </c:pt>
                <c:pt idx="1201">
                  <c:v>0.9982307742720649</c:v>
                </c:pt>
                <c:pt idx="1202">
                  <c:v>0.9982356385208329</c:v>
                </c:pt>
                <c:pt idx="1203">
                  <c:v>0.9982501385138234</c:v>
                </c:pt>
                <c:pt idx="1204">
                  <c:v>0.9982597371567206</c:v>
                </c:pt>
                <c:pt idx="1205">
                  <c:v>0.9982645298529325</c:v>
                </c:pt>
                <c:pt idx="1206">
                  <c:v>0.998269305323529</c:v>
                </c:pt>
                <c:pt idx="1207">
                  <c:v>0.9982835482573365</c:v>
                </c:pt>
                <c:pt idx="1208">
                  <c:v>0.9982977381892505</c:v>
                </c:pt>
                <c:pt idx="1209">
                  <c:v>0.9983024434323382</c:v>
                </c:pt>
                <c:pt idx="1210">
                  <c:v>0.9983071394000946</c:v>
                </c:pt>
                <c:pt idx="1211">
                  <c:v>0.9983118327177564</c:v>
                </c:pt>
                <c:pt idx="1212">
                  <c:v>0.9983165220602761</c:v>
                </c:pt>
                <c:pt idx="1213">
                  <c:v>0.9983211981523225</c:v>
                </c:pt>
                <c:pt idx="1214">
                  <c:v>0.9983258676191321</c:v>
                </c:pt>
                <c:pt idx="1215">
                  <c:v>0.9983305317857525</c:v>
                </c:pt>
                <c:pt idx="1216">
                  <c:v>0.9983351933022782</c:v>
                </c:pt>
                <c:pt idx="1217">
                  <c:v>0.9983398521687091</c:v>
                </c:pt>
                <c:pt idx="1218">
                  <c:v>0.9983444818840987</c:v>
                </c:pt>
                <c:pt idx="1219">
                  <c:v>0.9983537042135526</c:v>
                </c:pt>
                <c:pt idx="1220">
                  <c:v>0.9983583021278062</c:v>
                </c:pt>
                <c:pt idx="1221">
                  <c:v>0.9983628947418705</c:v>
                </c:pt>
                <c:pt idx="1222">
                  <c:v>0.9983719713161174</c:v>
                </c:pt>
                <c:pt idx="1223">
                  <c:v>0.9983899787094045</c:v>
                </c:pt>
                <c:pt idx="1224">
                  <c:v>0.9983989426546279</c:v>
                </c:pt>
                <c:pt idx="1225">
                  <c:v>0.9984034067391007</c:v>
                </c:pt>
                <c:pt idx="1226">
                  <c:v>0.9984078641983367</c:v>
                </c:pt>
                <c:pt idx="1227">
                  <c:v>0.9984122898564367</c:v>
                </c:pt>
                <c:pt idx="1228">
                  <c:v>0.9984255191290325</c:v>
                </c:pt>
                <c:pt idx="1229">
                  <c:v>0.9984299156360912</c:v>
                </c:pt>
                <c:pt idx="1230">
                  <c:v>0.9984343108181024</c:v>
                </c:pt>
                <c:pt idx="1231">
                  <c:v>0.9984386967247824</c:v>
                </c:pt>
                <c:pt idx="1232">
                  <c:v>0.9984430720310836</c:v>
                </c:pt>
                <c:pt idx="1233">
                  <c:v>0.9984517802421714</c:v>
                </c:pt>
                <c:pt idx="1234">
                  <c:v>0.998460393049851</c:v>
                </c:pt>
                <c:pt idx="1235">
                  <c:v>0.9984646822280755</c:v>
                </c:pt>
                <c:pt idx="1236">
                  <c:v>0.998473223483199</c:v>
                </c:pt>
                <c:pt idx="1237">
                  <c:v>0.9984817223368078</c:v>
                </c:pt>
                <c:pt idx="1238">
                  <c:v>0.9984859571880915</c:v>
                </c:pt>
                <c:pt idx="1239">
                  <c:v>0.9984901854141386</c:v>
                </c:pt>
                <c:pt idx="1240">
                  <c:v>0.9984944003897123</c:v>
                </c:pt>
                <c:pt idx="1241">
                  <c:v>0.998502823715623</c:v>
                </c:pt>
                <c:pt idx="1242">
                  <c:v>0.9985069856893033</c:v>
                </c:pt>
                <c:pt idx="1243">
                  <c:v>0.998519411983214</c:v>
                </c:pt>
                <c:pt idx="1244">
                  <c:v>0.9985235169798589</c:v>
                </c:pt>
                <c:pt idx="1245">
                  <c:v>0.998527619326409</c:v>
                </c:pt>
                <c:pt idx="1246">
                  <c:v>0.9985398985400655</c:v>
                </c:pt>
                <c:pt idx="1247">
                  <c:v>0.9985480754071718</c:v>
                </c:pt>
                <c:pt idx="1248">
                  <c:v>0.99855215390287</c:v>
                </c:pt>
                <c:pt idx="1249">
                  <c:v>0.9985562217981895</c:v>
                </c:pt>
                <c:pt idx="1250">
                  <c:v>0.9985602870434143</c:v>
                </c:pt>
                <c:pt idx="1251">
                  <c:v>0.9985643469884498</c:v>
                </c:pt>
                <c:pt idx="1252">
                  <c:v>0.9985684056084378</c:v>
                </c:pt>
                <c:pt idx="1253">
                  <c:v>0.9985724629033786</c:v>
                </c:pt>
                <c:pt idx="1254">
                  <c:v>0.9986005817328816</c:v>
                </c:pt>
                <c:pt idx="1255">
                  <c:v>0.9986045383242249</c:v>
                </c:pt>
                <c:pt idx="1256">
                  <c:v>0.9986124382564381</c:v>
                </c:pt>
                <c:pt idx="1257">
                  <c:v>0.998624248403338</c:v>
                </c:pt>
                <c:pt idx="1258">
                  <c:v>0.9986320807581371</c:v>
                </c:pt>
                <c:pt idx="1259">
                  <c:v>0.9986398972123682</c:v>
                </c:pt>
                <c:pt idx="1260">
                  <c:v>0.9986477057163153</c:v>
                </c:pt>
                <c:pt idx="1261">
                  <c:v>0.9986516013554813</c:v>
                </c:pt>
                <c:pt idx="1262">
                  <c:v>0.9986593608326769</c:v>
                </c:pt>
                <c:pt idx="1263">
                  <c:v>0.9986632193705174</c:v>
                </c:pt>
                <c:pt idx="1264">
                  <c:v>0.9986670633328372</c:v>
                </c:pt>
                <c:pt idx="1265">
                  <c:v>0.9986709019949677</c:v>
                </c:pt>
                <c:pt idx="1266">
                  <c:v>0.9986823437787081</c:v>
                </c:pt>
                <c:pt idx="1267">
                  <c:v>0.9986973923412954</c:v>
                </c:pt>
                <c:pt idx="1268">
                  <c:v>0.9987011263246863</c:v>
                </c:pt>
                <c:pt idx="1269">
                  <c:v>0.9987048483826513</c:v>
                </c:pt>
                <c:pt idx="1270">
                  <c:v>0.9987085691155689</c:v>
                </c:pt>
                <c:pt idx="1271">
                  <c:v>0.9987122752729658</c:v>
                </c:pt>
                <c:pt idx="1272">
                  <c:v>0.9987159787802681</c:v>
                </c:pt>
                <c:pt idx="1273">
                  <c:v>0.9987233831447778</c:v>
                </c:pt>
                <c:pt idx="1274">
                  <c:v>0.9987270853270327</c:v>
                </c:pt>
                <c:pt idx="1275">
                  <c:v>0.9987307875092876</c:v>
                </c:pt>
                <c:pt idx="1276">
                  <c:v>0.9987344790911638</c:v>
                </c:pt>
                <c:pt idx="1277">
                  <c:v>0.9987381534474247</c:v>
                </c:pt>
                <c:pt idx="1278">
                  <c:v>0.9987418172033069</c:v>
                </c:pt>
                <c:pt idx="1279">
                  <c:v>0.9987491261644086</c:v>
                </c:pt>
                <c:pt idx="1280">
                  <c:v>0.9987527700445807</c:v>
                </c:pt>
                <c:pt idx="1281">
                  <c:v>0.9987600114282683</c:v>
                </c:pt>
                <c:pt idx="1282">
                  <c:v>0.9987636221822571</c:v>
                </c:pt>
                <c:pt idx="1283">
                  <c:v>0.9987672329362459</c:v>
                </c:pt>
                <c:pt idx="1284">
                  <c:v>0.998770833089856</c:v>
                </c:pt>
                <c:pt idx="1285">
                  <c:v>0.9987744292683242</c:v>
                </c:pt>
                <c:pt idx="1286">
                  <c:v>0.9987815964493609</c:v>
                </c:pt>
                <c:pt idx="1287">
                  <c:v>0.998785164801835</c:v>
                </c:pt>
                <c:pt idx="1288">
                  <c:v>0.9987922842811677</c:v>
                </c:pt>
                <c:pt idx="1289">
                  <c:v>0.9987958314328844</c:v>
                </c:pt>
                <c:pt idx="1290">
                  <c:v>0.9988029005604183</c:v>
                </c:pt>
                <c:pt idx="1291">
                  <c:v>0.998806407960715</c:v>
                </c:pt>
                <c:pt idx="1292">
                  <c:v>0.9988099007854909</c:v>
                </c:pt>
                <c:pt idx="1293">
                  <c:v>0.9988133710844621</c:v>
                </c:pt>
                <c:pt idx="1294">
                  <c:v>0.9988168387333387</c:v>
                </c:pt>
                <c:pt idx="1295">
                  <c:v>0.9988202825313632</c:v>
                </c:pt>
                <c:pt idx="1296">
                  <c:v>0.9988340232722306</c:v>
                </c:pt>
                <c:pt idx="1297">
                  <c:v>0.9988374379192138</c:v>
                </c:pt>
                <c:pt idx="1298">
                  <c:v>0.9988408472660075</c:v>
                </c:pt>
                <c:pt idx="1299">
                  <c:v>0.9988476619844532</c:v>
                </c:pt>
                <c:pt idx="1300">
                  <c:v>0.998854398525106</c:v>
                </c:pt>
                <c:pt idx="1301">
                  <c:v>0.9988644543093338</c:v>
                </c:pt>
                <c:pt idx="1302">
                  <c:v>0.9988677960787135</c:v>
                </c:pt>
                <c:pt idx="1303">
                  <c:v>0.9988778015111425</c:v>
                </c:pt>
                <c:pt idx="1304">
                  <c:v>0.9988844625240971</c:v>
                </c:pt>
                <c:pt idx="1305">
                  <c:v>0.9988944427806269</c:v>
                </c:pt>
                <c:pt idx="1306">
                  <c:v>0.9989010534417828</c:v>
                </c:pt>
                <c:pt idx="1307">
                  <c:v>0.9989076521775127</c:v>
                </c:pt>
                <c:pt idx="1308">
                  <c:v>0.9989174350019894</c:v>
                </c:pt>
                <c:pt idx="1309">
                  <c:v>0.998920681367961</c:v>
                </c:pt>
                <c:pt idx="1310">
                  <c:v>0.9989271542241941</c:v>
                </c:pt>
                <c:pt idx="1311">
                  <c:v>0.9989368456204046</c:v>
                </c:pt>
                <c:pt idx="1312">
                  <c:v>0.9989464720892959</c:v>
                </c:pt>
                <c:pt idx="1313">
                  <c:v>0.9989528601424995</c:v>
                </c:pt>
                <c:pt idx="1314">
                  <c:v>0.9989622547281071</c:v>
                </c:pt>
                <c:pt idx="1315">
                  <c:v>0.9989653672642977</c:v>
                </c:pt>
                <c:pt idx="1316">
                  <c:v>0.9989684718502044</c:v>
                </c:pt>
                <c:pt idx="1317">
                  <c:v>0.9989746730717338</c:v>
                </c:pt>
                <c:pt idx="1318">
                  <c:v>0.9989777683823091</c:v>
                </c:pt>
                <c:pt idx="1319">
                  <c:v>0.998983944427939</c:v>
                </c:pt>
                <c:pt idx="1320">
                  <c:v>0.9989900780720543</c:v>
                </c:pt>
                <c:pt idx="1321">
                  <c:v>0.998993138931399</c:v>
                </c:pt>
                <c:pt idx="1322">
                  <c:v>0.9990022936834387</c:v>
                </c:pt>
                <c:pt idx="1323">
                  <c:v>0.9990083531249032</c:v>
                </c:pt>
                <c:pt idx="1324">
                  <c:v>0.9990113729077804</c:v>
                </c:pt>
                <c:pt idx="1325">
                  <c:v>0.9990234109628219</c:v>
                </c:pt>
                <c:pt idx="1326">
                  <c:v>0.9990263936443737</c:v>
                </c:pt>
                <c:pt idx="1327">
                  <c:v>0.9990323113057733</c:v>
                </c:pt>
                <c:pt idx="1328">
                  <c:v>0.9990352674863784</c:v>
                </c:pt>
                <c:pt idx="1329">
                  <c:v>0.9990382223419362</c:v>
                </c:pt>
                <c:pt idx="1330">
                  <c:v>0.9990529157918375</c:v>
                </c:pt>
                <c:pt idx="1331">
                  <c:v>0.9990558308959753</c:v>
                </c:pt>
                <c:pt idx="1332">
                  <c:v>0.9990645536825836</c:v>
                </c:pt>
                <c:pt idx="1333">
                  <c:v>0.9990732221422514</c:v>
                </c:pt>
                <c:pt idx="1334">
                  <c:v>0.9990761001450637</c:v>
                </c:pt>
                <c:pt idx="1335">
                  <c:v>0.9990789768228286</c:v>
                </c:pt>
                <c:pt idx="1336">
                  <c:v>0.9990818535005936</c:v>
                </c:pt>
                <c:pt idx="1337">
                  <c:v>0.999084715602838</c:v>
                </c:pt>
                <c:pt idx="1338">
                  <c:v>0.9990875777050823</c:v>
                </c:pt>
                <c:pt idx="1339">
                  <c:v>0.999101770287091</c:v>
                </c:pt>
                <c:pt idx="1340">
                  <c:v>0.9991045833625839</c:v>
                </c:pt>
                <c:pt idx="1341">
                  <c:v>0.9991129815125952</c:v>
                </c:pt>
                <c:pt idx="1342">
                  <c:v>0.9991157720622834</c:v>
                </c:pt>
                <c:pt idx="1343">
                  <c:v>0.9991185506865456</c:v>
                </c:pt>
                <c:pt idx="1344">
                  <c:v>0.9991240907094546</c:v>
                </c:pt>
                <c:pt idx="1345">
                  <c:v>0.9991295817056123</c:v>
                </c:pt>
                <c:pt idx="1346">
                  <c:v>0.9991350568012018</c:v>
                </c:pt>
                <c:pt idx="1347">
                  <c:v>0.9991404735947086</c:v>
                </c:pt>
                <c:pt idx="1348">
                  <c:v>0.9991431806664146</c:v>
                </c:pt>
                <c:pt idx="1349">
                  <c:v>0.999145885088026</c:v>
                </c:pt>
                <c:pt idx="1350">
                  <c:v>0.9991485855344955</c:v>
                </c:pt>
                <c:pt idx="1351">
                  <c:v>0.9991512846559175</c:v>
                </c:pt>
                <c:pt idx="1352">
                  <c:v>0.9991566815737143</c:v>
                </c:pt>
                <c:pt idx="1353">
                  <c:v>0.9991647497869391</c:v>
                </c:pt>
                <c:pt idx="1354">
                  <c:v>0.9991674224074145</c:v>
                </c:pt>
                <c:pt idx="1355">
                  <c:v>0.9991700937028425</c:v>
                </c:pt>
                <c:pt idx="1356">
                  <c:v>0.9991727464476078</c:v>
                </c:pt>
                <c:pt idx="1357">
                  <c:v>0.9991753991923731</c:v>
                </c:pt>
                <c:pt idx="1358">
                  <c:v>0.9991806755308623</c:v>
                </c:pt>
                <c:pt idx="1359">
                  <c:v>0.9991833083999176</c:v>
                </c:pt>
                <c:pt idx="1360">
                  <c:v>0.9991859333186889</c:v>
                </c:pt>
                <c:pt idx="1361">
                  <c:v>0.9991937842241506</c:v>
                </c:pt>
                <c:pt idx="1362">
                  <c:v>0.9991963813169279</c:v>
                </c:pt>
                <c:pt idx="1363">
                  <c:v>0.9992092727024533</c:v>
                </c:pt>
                <c:pt idx="1364">
                  <c:v>0.9992118326939051</c:v>
                </c:pt>
                <c:pt idx="1365">
                  <c:v>0.999214392685357</c:v>
                </c:pt>
                <c:pt idx="1366">
                  <c:v>0.999224595549839</c:v>
                </c:pt>
                <c:pt idx="1367">
                  <c:v>0.9992346831352029</c:v>
                </c:pt>
                <c:pt idx="1368">
                  <c:v>0.9992371715740986</c:v>
                </c:pt>
                <c:pt idx="1369">
                  <c:v>0.9992544223653573</c:v>
                </c:pt>
                <c:pt idx="1370">
                  <c:v>0.9992616743494235</c:v>
                </c:pt>
                <c:pt idx="1371">
                  <c:v>0.9992640673849111</c:v>
                </c:pt>
                <c:pt idx="1372">
                  <c:v>0.9992688309300817</c:v>
                </c:pt>
                <c:pt idx="1373">
                  <c:v>0.9992782440663518</c:v>
                </c:pt>
                <c:pt idx="1374">
                  <c:v>0.9992805814498513</c:v>
                </c:pt>
                <c:pt idx="1375">
                  <c:v>0.9992875326481725</c:v>
                </c:pt>
                <c:pt idx="1376">
                  <c:v>0.9993012190620991</c:v>
                </c:pt>
                <c:pt idx="1377">
                  <c:v>0.9993034676674272</c:v>
                </c:pt>
                <c:pt idx="1378">
                  <c:v>0.9993057136226605</c:v>
                </c:pt>
                <c:pt idx="1379">
                  <c:v>0.9993101286803818</c:v>
                </c:pt>
                <c:pt idx="1380">
                  <c:v>0.9993145238623932</c:v>
                </c:pt>
                <c:pt idx="1381">
                  <c:v>0.9993210828467032</c:v>
                </c:pt>
                <c:pt idx="1382">
                  <c:v>0.9993254276769157</c:v>
                </c:pt>
                <c:pt idx="1383">
                  <c:v>0.9993297513063708</c:v>
                </c:pt>
                <c:pt idx="1384">
                  <c:v>0.9993362095870832</c:v>
                </c:pt>
                <c:pt idx="1385">
                  <c:v>0.9993383574888138</c:v>
                </c:pt>
                <c:pt idx="1386">
                  <c:v>0.999340504065497</c:v>
                </c:pt>
                <c:pt idx="1387">
                  <c:v>0.9993426373917069</c:v>
                </c:pt>
                <c:pt idx="1388">
                  <c:v>0.9993468669428013</c:v>
                </c:pt>
                <c:pt idx="1389">
                  <c:v>0.9993489658177804</c:v>
                </c:pt>
                <c:pt idx="1390">
                  <c:v>0.9993634962868596</c:v>
                </c:pt>
                <c:pt idx="1391">
                  <c:v>0.9993655540853714</c:v>
                </c:pt>
                <c:pt idx="1392">
                  <c:v>0.9993737733539925</c:v>
                </c:pt>
                <c:pt idx="1393">
                  <c:v>0.9993758232022202</c:v>
                </c:pt>
                <c:pt idx="1394">
                  <c:v>0.999381903844442</c:v>
                </c:pt>
                <c:pt idx="1395">
                  <c:v>0.9993839152662971</c:v>
                </c:pt>
                <c:pt idx="1396">
                  <c:v>0.9993879288346759</c:v>
                </c:pt>
                <c:pt idx="1397">
                  <c:v>0.9993919039766819</c:v>
                </c:pt>
                <c:pt idx="1398">
                  <c:v>0.9993938729970222</c:v>
                </c:pt>
                <c:pt idx="1399">
                  <c:v>0.9993977871868508</c:v>
                </c:pt>
                <c:pt idx="1400">
                  <c:v>0.999401672225638</c:v>
                </c:pt>
                <c:pt idx="1401">
                  <c:v>0.9994054724613958</c:v>
                </c:pt>
                <c:pt idx="1402">
                  <c:v>0.9994092488463014</c:v>
                </c:pt>
                <c:pt idx="1403">
                  <c:v>0.999412997405213</c:v>
                </c:pt>
                <c:pt idx="1404">
                  <c:v>0.9994204070699123</c:v>
                </c:pt>
                <c:pt idx="1405">
                  <c:v>0.9994222435855191</c:v>
                </c:pt>
                <c:pt idx="1406">
                  <c:v>0.9994277319315821</c:v>
                </c:pt>
                <c:pt idx="1407">
                  <c:v>0.9994295459213841</c:v>
                </c:pt>
                <c:pt idx="1408">
                  <c:v>0.9994331553503255</c:v>
                </c:pt>
                <c:pt idx="1409">
                  <c:v>0.9994367409284148</c:v>
                </c:pt>
                <c:pt idx="1410">
                  <c:v>0.9994509308603288</c:v>
                </c:pt>
                <c:pt idx="1411">
                  <c:v>0.9994544276602467</c:v>
                </c:pt>
                <c:pt idx="1412">
                  <c:v>0.9994596430465587</c:v>
                </c:pt>
                <c:pt idx="1413">
                  <c:v>0.9994630947948672</c:v>
                </c:pt>
                <c:pt idx="1414">
                  <c:v>0.9994648186814504</c:v>
                </c:pt>
                <c:pt idx="1415">
                  <c:v>0.9994765824516935</c:v>
                </c:pt>
                <c:pt idx="1416">
                  <c:v>0.9994798937449845</c:v>
                </c:pt>
                <c:pt idx="1417">
                  <c:v>0.9994848401466871</c:v>
                </c:pt>
                <c:pt idx="1418">
                  <c:v>0.9994897534222065</c:v>
                </c:pt>
                <c:pt idx="1419">
                  <c:v>0.999492987862752</c:v>
                </c:pt>
                <c:pt idx="1420">
                  <c:v>0.9994945964702171</c:v>
                </c:pt>
                <c:pt idx="1421">
                  <c:v>0.9994962050776822</c:v>
                </c:pt>
                <c:pt idx="1422">
                  <c:v>0.9994994050669971</c:v>
                </c:pt>
                <c:pt idx="1423">
                  <c:v>0.9995010017490361</c:v>
                </c:pt>
                <c:pt idx="1424">
                  <c:v>0.999505782519822</c:v>
                </c:pt>
                <c:pt idx="1425">
                  <c:v>0.9995105487150873</c:v>
                </c:pt>
                <c:pt idx="1426">
                  <c:v>0.9995152950346424</c:v>
                </c:pt>
                <c:pt idx="1427">
                  <c:v>0.9995168705159241</c:v>
                </c:pt>
                <c:pt idx="1428">
                  <c:v>0.9995262730518154</c:v>
                </c:pt>
                <c:pt idx="1429">
                  <c:v>0.9995293908881954</c:v>
                </c:pt>
                <c:pt idx="1430">
                  <c:v>0.9995309398685304</c:v>
                </c:pt>
                <c:pt idx="1431">
                  <c:v>0.9995324861987707</c:v>
                </c:pt>
                <c:pt idx="1432">
                  <c:v>0.9995386317683119</c:v>
                </c:pt>
                <c:pt idx="1433">
                  <c:v>0.9995447336112911</c:v>
                </c:pt>
                <c:pt idx="1434">
                  <c:v>0.9995507904026609</c:v>
                </c:pt>
                <c:pt idx="1435">
                  <c:v>0.9995522983065286</c:v>
                </c:pt>
                <c:pt idx="1436">
                  <c:v>0.9995538048853488</c:v>
                </c:pt>
                <c:pt idx="1437">
                  <c:v>0.9995553088140744</c:v>
                </c:pt>
                <c:pt idx="1438">
                  <c:v>0.9995613006781248</c:v>
                </c:pt>
                <c:pt idx="1439">
                  <c:v>0.9995642740843452</c:v>
                </c:pt>
                <c:pt idx="1440">
                  <c:v>0.9995657581373608</c:v>
                </c:pt>
                <c:pt idx="1441">
                  <c:v>0.9995687076927293</c:v>
                </c:pt>
                <c:pt idx="1442">
                  <c:v>0.99958022897931</c:v>
                </c:pt>
                <c:pt idx="1443">
                  <c:v>0.9995816494300535</c:v>
                </c:pt>
                <c:pt idx="1444">
                  <c:v>0.9995873087072228</c:v>
                </c:pt>
                <c:pt idx="1445">
                  <c:v>0.999590115157479</c:v>
                </c:pt>
                <c:pt idx="1446">
                  <c:v>0.9995957055321867</c:v>
                </c:pt>
                <c:pt idx="1447">
                  <c:v>0.9995984523553127</c:v>
                </c:pt>
                <c:pt idx="1448">
                  <c:v>0.999603918175571</c:v>
                </c:pt>
                <c:pt idx="1449">
                  <c:v>0.9996092912425159</c:v>
                </c:pt>
                <c:pt idx="1450">
                  <c:v>0.9996106149648039</c:v>
                </c:pt>
                <c:pt idx="1451">
                  <c:v>0.9996145728811944</c:v>
                </c:pt>
                <c:pt idx="1452">
                  <c:v>0.999617199125013</c:v>
                </c:pt>
                <c:pt idx="1453">
                  <c:v>0.9996198041680743</c:v>
                </c:pt>
                <c:pt idx="1454">
                  <c:v>0.9996211040395102</c:v>
                </c:pt>
                <c:pt idx="1455">
                  <c:v>0.9996223946356149</c:v>
                </c:pt>
                <c:pt idx="1456">
                  <c:v>0.9996249692025875</c:v>
                </c:pt>
                <c:pt idx="1457">
                  <c:v>0.9996363182330147</c:v>
                </c:pt>
                <c:pt idx="1458">
                  <c:v>0.9996448515378542</c:v>
                </c:pt>
                <c:pt idx="1459">
                  <c:v>0.9996472604739098</c:v>
                </c:pt>
                <c:pt idx="1460">
                  <c:v>0.9996532139115875</c:v>
                </c:pt>
                <c:pt idx="1461">
                  <c:v>0.9996602101615178</c:v>
                </c:pt>
                <c:pt idx="1462">
                  <c:v>0.9996613629526996</c:v>
                </c:pt>
                <c:pt idx="1463">
                  <c:v>0.999662514418834</c:v>
                </c:pt>
                <c:pt idx="1464">
                  <c:v>0.9996648067507241</c:v>
                </c:pt>
                <c:pt idx="1465">
                  <c:v>0.9996715870179391</c:v>
                </c:pt>
                <c:pt idx="1466">
                  <c:v>0.9996760736282165</c:v>
                </c:pt>
                <c:pt idx="1467">
                  <c:v>0.9996783103081186</c:v>
                </c:pt>
                <c:pt idx="1468">
                  <c:v>0.9996794140725489</c:v>
                </c:pt>
                <c:pt idx="1469">
                  <c:v>0.9996827068151771</c:v>
                </c:pt>
                <c:pt idx="1470">
                  <c:v>0.9996837999792287</c:v>
                </c:pt>
                <c:pt idx="1471">
                  <c:v>0.9996859677566693</c:v>
                </c:pt>
                <c:pt idx="1472">
                  <c:v>0.9996913262480933</c:v>
                </c:pt>
                <c:pt idx="1473">
                  <c:v>0.9996923929111983</c:v>
                </c:pt>
                <c:pt idx="1474">
                  <c:v>0.999695576999945</c:v>
                </c:pt>
                <c:pt idx="1475">
                  <c:v>0.9997007314340796</c:v>
                </c:pt>
                <c:pt idx="1476">
                  <c:v>0.9997017437702438</c:v>
                </c:pt>
                <c:pt idx="1477">
                  <c:v>0.9997057825145219</c:v>
                </c:pt>
                <c:pt idx="1478">
                  <c:v>0.9997137354486285</c:v>
                </c:pt>
                <c:pt idx="1479">
                  <c:v>0.999714717308704</c:v>
                </c:pt>
                <c:pt idx="1480">
                  <c:v>0.9997205289663167</c:v>
                </c:pt>
                <c:pt idx="1481">
                  <c:v>0.9997214803503035</c:v>
                </c:pt>
                <c:pt idx="1482">
                  <c:v>0.999728966867748</c:v>
                </c:pt>
                <c:pt idx="1483">
                  <c:v>0.9997317150159215</c:v>
                </c:pt>
                <c:pt idx="1484">
                  <c:v>0.9997344446134322</c:v>
                </c:pt>
                <c:pt idx="1485">
                  <c:v>0.9997415548174334</c:v>
                </c:pt>
                <c:pt idx="1486">
                  <c:v>0.9997424293486747</c:v>
                </c:pt>
                <c:pt idx="1487">
                  <c:v>0.9997450410169727</c:v>
                </c:pt>
                <c:pt idx="1488">
                  <c:v>0.9997467728538401</c:v>
                </c:pt>
                <c:pt idx="1489">
                  <c:v>0.9997501954511071</c:v>
                </c:pt>
                <c:pt idx="1490">
                  <c:v>0.9997535849221909</c:v>
                </c:pt>
                <c:pt idx="1491">
                  <c:v>0.9997544289773435</c:v>
                </c:pt>
                <c:pt idx="1492">
                  <c:v>0.9997577694216759</c:v>
                </c:pt>
                <c:pt idx="1493">
                  <c:v>0.999760243285051</c:v>
                </c:pt>
                <c:pt idx="1494">
                  <c:v>0.9997610634893516</c:v>
                </c:pt>
                <c:pt idx="1495">
                  <c:v>0.9997626879973847</c:v>
                </c:pt>
                <c:pt idx="1496">
                  <c:v>0.9997634936261646</c:v>
                </c:pt>
                <c:pt idx="1497">
                  <c:v>0.9997698644537528</c:v>
                </c:pt>
                <c:pt idx="1498">
                  <c:v>0.9997706422565387</c:v>
                </c:pt>
                <c:pt idx="1499">
                  <c:v>0.9997714187342772</c:v>
                </c:pt>
                <c:pt idx="1500">
                  <c:v>0.9997745034444739</c:v>
                </c:pt>
                <c:pt idx="1501">
                  <c:v>0.9997752640216444</c:v>
                </c:pt>
                <c:pt idx="1502">
                  <c:v>0.9997767851759853</c:v>
                </c:pt>
                <c:pt idx="1503">
                  <c:v>0.9997790417315975</c:v>
                </c:pt>
                <c:pt idx="1504">
                  <c:v>0.9997797917083893</c:v>
                </c:pt>
                <c:pt idx="1505">
                  <c:v>0.9997834991908335</c:v>
                </c:pt>
                <c:pt idx="1506">
                  <c:v>0.9997842319420099</c:v>
                </c:pt>
                <c:pt idx="1507">
                  <c:v>0.999787152346337</c:v>
                </c:pt>
                <c:pt idx="1508">
                  <c:v>0.9997886045982165</c:v>
                </c:pt>
                <c:pt idx="1509">
                  <c:v>0.9997907697255625</c:v>
                </c:pt>
                <c:pt idx="1510">
                  <c:v>0.9997914892262656</c:v>
                </c:pt>
                <c:pt idx="1511">
                  <c:v>0.9997922074019213</c:v>
                </c:pt>
                <c:pt idx="1512">
                  <c:v>0.999792925577577</c:v>
                </c:pt>
                <c:pt idx="1513">
                  <c:v>0.9997936424281855</c:v>
                </c:pt>
                <c:pt idx="1514">
                  <c:v>0.9997979117306998</c:v>
                </c:pt>
                <c:pt idx="1515">
                  <c:v>0.9998000384316731</c:v>
                </c:pt>
                <c:pt idx="1516">
                  <c:v>0.9998028594574501</c:v>
                </c:pt>
                <c:pt idx="1517">
                  <c:v>0.9998035564323484</c:v>
                </c:pt>
                <c:pt idx="1518">
                  <c:v>0.9998042520821995</c:v>
                </c:pt>
                <c:pt idx="1519">
                  <c:v>0.9998077104557448</c:v>
                </c:pt>
                <c:pt idx="1520">
                  <c:v>0.9998083981553119</c:v>
                </c:pt>
                <c:pt idx="1521">
                  <c:v>0.9998097616290199</c:v>
                </c:pt>
                <c:pt idx="1522">
                  <c:v>0.9998124634005366</c:v>
                </c:pt>
                <c:pt idx="1523">
                  <c:v>0.9998131351995356</c:v>
                </c:pt>
                <c:pt idx="1524">
                  <c:v>0.9998138056734873</c:v>
                </c:pt>
                <c:pt idx="1525">
                  <c:v>0.9998164385425425</c:v>
                </c:pt>
                <c:pt idx="1526">
                  <c:v>0.9998215717759197</c:v>
                </c:pt>
                <c:pt idx="1527">
                  <c:v>0.9998222064735933</c:v>
                </c:pt>
                <c:pt idx="1528">
                  <c:v>0.9998228358710776</c:v>
                </c:pt>
                <c:pt idx="1529">
                  <c:v>0.999824679011921</c:v>
                </c:pt>
                <c:pt idx="1530">
                  <c:v>0.9998258954053747</c:v>
                </c:pt>
                <c:pt idx="1531">
                  <c:v>0.9998282963911463</c:v>
                </c:pt>
                <c:pt idx="1532">
                  <c:v>0.9998288939874945</c:v>
                </c:pt>
                <c:pt idx="1533">
                  <c:v>0.9998306828013972</c:v>
                </c:pt>
                <c:pt idx="1534">
                  <c:v>0.9998324636650158</c:v>
                </c:pt>
                <c:pt idx="1535">
                  <c:v>0.9998342259779718</c:v>
                </c:pt>
                <c:pt idx="1536">
                  <c:v>0.9998353933446742</c:v>
                </c:pt>
                <c:pt idx="1537">
                  <c:v>0.9998405186277672</c:v>
                </c:pt>
                <c:pt idx="1538">
                  <c:v>0.9998438444965788</c:v>
                </c:pt>
                <c:pt idx="1539">
                  <c:v>0.9998492639401803</c:v>
                </c:pt>
                <c:pt idx="1540">
                  <c:v>0.9998560097561644</c:v>
                </c:pt>
                <c:pt idx="1541">
                  <c:v>0.9998575309105054</c:v>
                </c:pt>
                <c:pt idx="1542">
                  <c:v>0.9998580357535402</c:v>
                </c:pt>
                <c:pt idx="1543">
                  <c:v>0.9998615352035527</c:v>
                </c:pt>
                <c:pt idx="1544">
                  <c:v>0.9998625210387702</c:v>
                </c:pt>
                <c:pt idx="1545">
                  <c:v>0.9998635028988456</c:v>
                </c:pt>
                <c:pt idx="1546">
                  <c:v>0.9998639918413124</c:v>
                </c:pt>
                <c:pt idx="1547">
                  <c:v>0.9998673919127748</c:v>
                </c:pt>
                <c:pt idx="1548">
                  <c:v>0.9998683499219982</c:v>
                </c:pt>
                <c:pt idx="1549">
                  <c:v>0.9998688256139916</c:v>
                </c:pt>
                <c:pt idx="1550">
                  <c:v>0.9998692999809377</c:v>
                </c:pt>
                <c:pt idx="1551">
                  <c:v>0.9998716625403367</c:v>
                </c:pt>
                <c:pt idx="1552">
                  <c:v>0.9998726019988974</c:v>
                </c:pt>
                <c:pt idx="1553">
                  <c:v>0.9998753686977334</c:v>
                </c:pt>
                <c:pt idx="1554">
                  <c:v>0.9998758258390641</c:v>
                </c:pt>
                <c:pt idx="1555">
                  <c:v>0.9998767361465835</c:v>
                </c:pt>
                <c:pt idx="1556">
                  <c:v>0.9998771866626774</c:v>
                </c:pt>
                <c:pt idx="1557">
                  <c:v>0.999878082394676</c:v>
                </c:pt>
                <c:pt idx="1558">
                  <c:v>0.9998798672334367</c:v>
                </c:pt>
                <c:pt idx="1559">
                  <c:v>0.999881192280772</c:v>
                </c:pt>
                <c:pt idx="1560">
                  <c:v>0.999882065486966</c:v>
                </c:pt>
                <c:pt idx="1561">
                  <c:v>0.9998833719836386</c:v>
                </c:pt>
                <c:pt idx="1562">
                  <c:v>0.9998838065991646</c:v>
                </c:pt>
                <c:pt idx="1563">
                  <c:v>0.9998851051455532</c:v>
                </c:pt>
                <c:pt idx="1564">
                  <c:v>0.9998855357859372</c:v>
                </c:pt>
                <c:pt idx="1565">
                  <c:v>0.9998868237319471</c:v>
                </c:pt>
                <c:pt idx="1566">
                  <c:v>0.999888095777389</c:v>
                </c:pt>
                <c:pt idx="1567">
                  <c:v>0.9998947501651071</c:v>
                </c:pt>
                <c:pt idx="1568">
                  <c:v>0.9999015781340259</c:v>
                </c:pt>
                <c:pt idx="1569">
                  <c:v>0.9999019729981319</c:v>
                </c:pt>
                <c:pt idx="1570">
                  <c:v>0.9999035365539874</c:v>
                </c:pt>
                <c:pt idx="1571">
                  <c:v>0.999905463172813</c:v>
                </c:pt>
                <c:pt idx="1572">
                  <c:v>0.9999081225428149</c:v>
                </c:pt>
                <c:pt idx="1573">
                  <c:v>0.9999129072887428</c:v>
                </c:pt>
                <c:pt idx="1574">
                  <c:v>0.9999143356897704</c:v>
                </c:pt>
                <c:pt idx="1575">
                  <c:v>0.9999146921275036</c:v>
                </c:pt>
                <c:pt idx="1576">
                  <c:v>0.9999171553905</c:v>
                </c:pt>
                <c:pt idx="1577">
                  <c:v>0.9999182008528477</c:v>
                </c:pt>
                <c:pt idx="1578">
                  <c:v>0.9999185466902022</c:v>
                </c:pt>
                <c:pt idx="1579">
                  <c:v>0.9999195775770292</c:v>
                </c:pt>
                <c:pt idx="1580">
                  <c:v>0.9999209423757845</c:v>
                </c:pt>
                <c:pt idx="1581">
                  <c:v>0.9999212829129497</c:v>
                </c:pt>
                <c:pt idx="1582">
                  <c:v>0.9999222925990192</c:v>
                </c:pt>
                <c:pt idx="1583">
                  <c:v>0.9999229604228762</c:v>
                </c:pt>
                <c:pt idx="1584">
                  <c:v>0.9999252620300976</c:v>
                </c:pt>
                <c:pt idx="1585">
                  <c:v>0.9999259086531973</c:v>
                </c:pt>
                <c:pt idx="1586">
                  <c:v>0.9999268706375628</c:v>
                </c:pt>
                <c:pt idx="1587">
                  <c:v>0.9999293935276892</c:v>
                </c:pt>
                <c:pt idx="1588">
                  <c:v>0.9999315361292306</c:v>
                </c:pt>
                <c:pt idx="1589">
                  <c:v>0.9999335979028844</c:v>
                </c:pt>
                <c:pt idx="1590">
                  <c:v>0.9999338867632035</c:v>
                </c:pt>
                <c:pt idx="1591">
                  <c:v>0.9999353098640418</c:v>
                </c:pt>
                <c:pt idx="1592">
                  <c:v>0.9999366865882231</c:v>
                </c:pt>
                <c:pt idx="1593">
                  <c:v>0.9999369568978795</c:v>
                </c:pt>
                <c:pt idx="1594">
                  <c:v>0.9999374975171924</c:v>
                </c:pt>
                <c:pt idx="1595">
                  <c:v>0.9999385734556286</c:v>
                </c:pt>
                <c:pt idx="1596">
                  <c:v>0.9999388411151904</c:v>
                </c:pt>
                <c:pt idx="1597">
                  <c:v>0.9999399024781059</c:v>
                </c:pt>
                <c:pt idx="1598">
                  <c:v>0.9999409479404536</c:v>
                </c:pt>
                <c:pt idx="1599">
                  <c:v>0.9999429686376402</c:v>
                </c:pt>
                <c:pt idx="1600">
                  <c:v>0.999943710664148</c:v>
                </c:pt>
                <c:pt idx="1601">
                  <c:v>0.9999441982815673</c:v>
                </c:pt>
                <c:pt idx="1602">
                  <c:v>0.999944442090277</c:v>
                </c:pt>
                <c:pt idx="1603">
                  <c:v>0.9999468338007172</c:v>
                </c:pt>
                <c:pt idx="1604">
                  <c:v>0.9999473041925213</c:v>
                </c:pt>
                <c:pt idx="1605">
                  <c:v>0.9999502974744519</c:v>
                </c:pt>
                <c:pt idx="1606">
                  <c:v>0.9999543150179726</c:v>
                </c:pt>
                <c:pt idx="1607">
                  <c:v>0.9999549629661197</c:v>
                </c:pt>
                <c:pt idx="1608">
                  <c:v>0.9999564523193246</c:v>
                </c:pt>
                <c:pt idx="1609">
                  <c:v>0.9999568750094245</c:v>
                </c:pt>
                <c:pt idx="1610">
                  <c:v>0.9999585220432625</c:v>
                </c:pt>
                <c:pt idx="1611">
                  <c:v>0.9999587208003629</c:v>
                </c:pt>
                <c:pt idx="1612">
                  <c:v>0.9999595158287642</c:v>
                </c:pt>
                <c:pt idx="1613">
                  <c:v>0.9999599080427755</c:v>
                </c:pt>
                <c:pt idx="1614">
                  <c:v>0.9999618412868376</c:v>
                </c:pt>
                <c:pt idx="1615">
                  <c:v>0.9999620307686066</c:v>
                </c:pt>
                <c:pt idx="1616">
                  <c:v>0.9999653314615188</c:v>
                </c:pt>
                <c:pt idx="1617">
                  <c:v>0.9999667280614103</c:v>
                </c:pt>
                <c:pt idx="1618">
                  <c:v>0.9999670699236228</c:v>
                </c:pt>
                <c:pt idx="1619">
                  <c:v>0.9999680756345504</c:v>
                </c:pt>
                <c:pt idx="1620">
                  <c:v>0.9999692151752587</c:v>
                </c:pt>
                <c:pt idx="1621">
                  <c:v>0.9999722561588934</c:v>
                </c:pt>
                <c:pt idx="1622">
                  <c:v>0.9999737123859148</c:v>
                </c:pt>
                <c:pt idx="1623">
                  <c:v>0.9999747061714163</c:v>
                </c:pt>
                <c:pt idx="1624">
                  <c:v>0.9999752600412025</c:v>
                </c:pt>
                <c:pt idx="1625">
                  <c:v>0.9999755356510484</c:v>
                </c:pt>
                <c:pt idx="1626">
                  <c:v>0.9999770210291109</c:v>
                </c:pt>
                <c:pt idx="1627">
                  <c:v>0.9999775483979504</c:v>
                </c:pt>
                <c:pt idx="1628">
                  <c:v>0.9999797148503436</c:v>
                </c:pt>
                <c:pt idx="1629">
                  <c:v>0.9999810571232944</c:v>
                </c:pt>
                <c:pt idx="1630">
                  <c:v>0.9999812969568621</c:v>
                </c:pt>
                <c:pt idx="1631">
                  <c:v>0.9999822430406594</c:v>
                </c:pt>
                <c:pt idx="1632">
                  <c:v>0.9999824762489905</c:v>
                </c:pt>
                <c:pt idx="1633">
                  <c:v>0.9999828247364397</c:v>
                </c:pt>
                <c:pt idx="1634">
                  <c:v>0.9999835031606754</c:v>
                </c:pt>
                <c:pt idx="1635">
                  <c:v>0.9999838238221306</c:v>
                </c:pt>
                <c:pt idx="1636">
                  <c:v>0.9999840358297043</c:v>
                </c:pt>
                <c:pt idx="1637">
                  <c:v>0.9999841418334912</c:v>
                </c:pt>
                <c:pt idx="1638">
                  <c:v>0.9999850640664365</c:v>
                </c:pt>
                <c:pt idx="1639">
                  <c:v>0.9999851621199393</c:v>
                </c:pt>
                <c:pt idx="1640">
                  <c:v>0.9999857358654354</c:v>
                </c:pt>
                <c:pt idx="1641">
                  <c:v>0.9999862976855054</c:v>
                </c:pt>
                <c:pt idx="1642">
                  <c:v>0.9999870158611612</c:v>
                </c:pt>
                <c:pt idx="1643">
                  <c:v>0.9999878903924029</c:v>
                </c:pt>
                <c:pt idx="1644">
                  <c:v>0.9999879751954324</c:v>
                </c:pt>
                <c:pt idx="1645">
                  <c:v>0.9999887264972714</c:v>
                </c:pt>
                <c:pt idx="1646">
                  <c:v>0.9999892061644068</c:v>
                </c:pt>
                <c:pt idx="1647">
                  <c:v>0.9999897573840982</c:v>
                </c:pt>
                <c:pt idx="1648">
                  <c:v>0.9999899110895892</c:v>
                </c:pt>
                <c:pt idx="1649">
                  <c:v>0.9999903695559674</c:v>
                </c:pt>
                <c:pt idx="1650">
                  <c:v>0.9999904450836655</c:v>
                </c:pt>
                <c:pt idx="1651">
                  <c:v>0.9999908929496649</c:v>
                </c:pt>
                <c:pt idx="1652">
                  <c:v>0.9999927625914553</c:v>
                </c:pt>
                <c:pt idx="1653">
                  <c:v>0.9999928911210468</c:v>
                </c:pt>
                <c:pt idx="1654">
                  <c:v>0.9999932091324074</c:v>
                </c:pt>
                <c:pt idx="1655">
                  <c:v>0.9999933336868568</c:v>
                </c:pt>
                <c:pt idx="1656">
                  <c:v>0.9999934582413063</c:v>
                </c:pt>
                <c:pt idx="1657">
                  <c:v>0.9999936410978385</c:v>
                </c:pt>
                <c:pt idx="1658">
                  <c:v>0.999993761677146</c:v>
                </c:pt>
                <c:pt idx="1659">
                  <c:v>0.999995262955777</c:v>
                </c:pt>
                <c:pt idx="1660">
                  <c:v>0.9999954643629719</c:v>
                </c:pt>
                <c:pt idx="1661">
                  <c:v>0.9999955147147707</c:v>
                </c:pt>
                <c:pt idx="1662">
                  <c:v>0.999995661795025</c:v>
                </c:pt>
                <c:pt idx="1663">
                  <c:v>0.9999967629093605</c:v>
                </c:pt>
                <c:pt idx="1664">
                  <c:v>0.9999968053108752</c:v>
                </c:pt>
                <c:pt idx="1665">
                  <c:v>0.9999970597199637</c:v>
                </c:pt>
                <c:pt idx="1666">
                  <c:v>0.9999974969855845</c:v>
                </c:pt>
                <c:pt idx="1667">
                  <c:v>0.9999976838172586</c:v>
                </c:pt>
                <c:pt idx="1668">
                  <c:v>0.9999977951212347</c:v>
                </c:pt>
                <c:pt idx="1669">
                  <c:v>0.99999783222256</c:v>
                </c:pt>
                <c:pt idx="1670">
                  <c:v>0.9999979037751161</c:v>
                </c:pt>
                <c:pt idx="1671">
                  <c:v>0.9999979753276722</c:v>
                </c:pt>
                <c:pt idx="1672">
                  <c:v>0.9999981104825004</c:v>
                </c:pt>
                <c:pt idx="1673">
                  <c:v>0.9999981767348671</c:v>
                </c:pt>
                <c:pt idx="1674">
                  <c:v>0.9999983079145532</c:v>
                </c:pt>
                <c:pt idx="1675">
                  <c:v>0.9999985941247778</c:v>
                </c:pt>
                <c:pt idx="1676">
                  <c:v>0.999998685553044</c:v>
                </c:pt>
                <c:pt idx="1677">
                  <c:v>0.9999988326332983</c:v>
                </c:pt>
                <c:pt idx="1678">
                  <c:v>0.9999988896103337</c:v>
                </c:pt>
                <c:pt idx="1679">
                  <c:v>0.9999989174363277</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615</c:f>
              <c:strCache>
                <c:ptCount val="614"/>
                <c:pt idx="0">
                  <c:v>Caprice Des</c:v>
                </c:pt>
                <c:pt idx="1">
                  <c:v>Private Lab</c:v>
                </c:pt>
                <c:pt idx="2">
                  <c:v>Private Lab</c:v>
                </c:pt>
                <c:pt idx="3">
                  <c:v>Private Lab</c:v>
                </c:pt>
                <c:pt idx="4">
                  <c:v>Coeur De Li</c:v>
                </c:pt>
                <c:pt idx="5">
                  <c:v>President</c:v>
                </c:pt>
                <c:pt idx="6">
                  <c:v>Private Lab</c:v>
                </c:pt>
                <c:pt idx="7">
                  <c:v>Mini Babybe</c:v>
                </c:pt>
                <c:pt idx="8">
                  <c:v>Soignon</c:v>
                </c:pt>
                <c:pt idx="9">
                  <c:v>Private Lab</c:v>
                </c:pt>
                <c:pt idx="10">
                  <c:v>Private Lab</c:v>
                </c:pt>
                <c:pt idx="11">
                  <c:v>Caprice Des</c:v>
                </c:pt>
                <c:pt idx="12">
                  <c:v>President</c:v>
                </c:pt>
                <c:pt idx="13">
                  <c:v>La Vache Qu</c:v>
                </c:pt>
                <c:pt idx="14">
                  <c:v>Soignon</c:v>
                </c:pt>
                <c:pt idx="15">
                  <c:v>Le Rustique</c:v>
                </c:pt>
                <c:pt idx="16">
                  <c:v>Private Lab</c:v>
                </c:pt>
                <c:pt idx="17">
                  <c:v>St Moret</c:v>
                </c:pt>
                <c:pt idx="18">
                  <c:v>St Moret</c:v>
                </c:pt>
                <c:pt idx="19">
                  <c:v>La Vache Qu</c:v>
                </c:pt>
                <c:pt idx="20">
                  <c:v>Private Lab</c:v>
                </c:pt>
                <c:pt idx="21">
                  <c:v>President</c:v>
                </c:pt>
                <c:pt idx="22">
                  <c:v>Private Lab</c:v>
                </c:pt>
                <c:pt idx="23">
                  <c:v>St Moret</c:v>
                </c:pt>
                <c:pt idx="24">
                  <c:v>Private Lab</c:v>
                </c:pt>
                <c:pt idx="25">
                  <c:v>Galbani</c:v>
                </c:pt>
                <c:pt idx="26">
                  <c:v>Mini Babybe</c:v>
                </c:pt>
                <c:pt idx="27">
                  <c:v>Tartare</c:v>
                </c:pt>
                <c:pt idx="28">
                  <c:v>Private Lab</c:v>
                </c:pt>
                <c:pt idx="29">
                  <c:v>Private Lab</c:v>
                </c:pt>
                <c:pt idx="30">
                  <c:v>La Vache Qu</c:v>
                </c:pt>
                <c:pt idx="31">
                  <c:v>Coeur De Li</c:v>
                </c:pt>
                <c:pt idx="32">
                  <c:v>St Moret</c:v>
                </c:pt>
                <c:pt idx="33">
                  <c:v>Salakis</c:v>
                </c:pt>
                <c:pt idx="34">
                  <c:v>Kiri</c:v>
                </c:pt>
                <c:pt idx="35">
                  <c:v>Soignon</c:v>
                </c:pt>
                <c:pt idx="36">
                  <c:v>All Others</c:v>
                </c:pt>
                <c:pt idx="37">
                  <c:v>Private Lab</c:v>
                </c:pt>
                <c:pt idx="38">
                  <c:v>Private Lab</c:v>
                </c:pt>
                <c:pt idx="39">
                  <c:v>Private Lab</c:v>
                </c:pt>
                <c:pt idx="40">
                  <c:v>Private Lab</c:v>
                </c:pt>
                <c:pt idx="41">
                  <c:v>Private Lab</c:v>
                </c:pt>
                <c:pt idx="42">
                  <c:v>Galbani</c:v>
                </c:pt>
                <c:pt idx="43">
                  <c:v>Private Lab</c:v>
                </c:pt>
                <c:pt idx="44">
                  <c:v>Kiri</c:v>
                </c:pt>
                <c:pt idx="45">
                  <c:v>Private Lab</c:v>
                </c:pt>
                <c:pt idx="46">
                  <c:v>Private Lab</c:v>
                </c:pt>
                <c:pt idx="47">
                  <c:v>Galbani</c:v>
                </c:pt>
                <c:pt idx="48">
                  <c:v>Private Lab</c:v>
                </c:pt>
                <c:pt idx="49">
                  <c:v>Istara</c:v>
                </c:pt>
                <c:pt idx="50">
                  <c:v>Private Lab</c:v>
                </c:pt>
                <c:pt idx="51">
                  <c:v>Paysan Bret</c:v>
                </c:pt>
                <c:pt idx="52">
                  <c:v>Paysan Bret</c:v>
                </c:pt>
                <c:pt idx="53">
                  <c:v>Private Lab</c:v>
                </c:pt>
                <c:pt idx="54">
                  <c:v>Private Lab</c:v>
                </c:pt>
                <c:pt idx="55">
                  <c:v>Ficello</c:v>
                </c:pt>
                <c:pt idx="56">
                  <c:v>Tartare</c:v>
                </c:pt>
                <c:pt idx="57">
                  <c:v>Boursin</c:v>
                </c:pt>
                <c:pt idx="58">
                  <c:v>Boursin</c:v>
                </c:pt>
                <c:pt idx="59">
                  <c:v>Lou Perac</c:v>
                </c:pt>
                <c:pt idx="60">
                  <c:v>Private Lab</c:v>
                </c:pt>
                <c:pt idx="61">
                  <c:v>Kiri</c:v>
                </c:pt>
                <c:pt idx="62">
                  <c:v>Galbani</c:v>
                </c:pt>
                <c:pt idx="63">
                  <c:v>Galbani</c:v>
                </c:pt>
                <c:pt idx="64">
                  <c:v>Private Lab</c:v>
                </c:pt>
                <c:pt idx="65">
                  <c:v>Kiri</c:v>
                </c:pt>
                <c:pt idx="66">
                  <c:v>Private Lab</c:v>
                </c:pt>
                <c:pt idx="67">
                  <c:v>St Moret</c:v>
                </c:pt>
                <c:pt idx="68">
                  <c:v>Carre Frais</c:v>
                </c:pt>
                <c:pt idx="69">
                  <c:v>Private Lab</c:v>
                </c:pt>
                <c:pt idx="70">
                  <c:v>Lepetit</c:v>
                </c:pt>
                <c:pt idx="71">
                  <c:v>President</c:v>
                </c:pt>
                <c:pt idx="72">
                  <c:v>Boursin</c:v>
                </c:pt>
                <c:pt idx="73">
                  <c:v>Islos</c:v>
                </c:pt>
                <c:pt idx="74">
                  <c:v>Caprice Des</c:v>
                </c:pt>
                <c:pt idx="75">
                  <c:v>President</c:v>
                </c:pt>
                <c:pt idx="76">
                  <c:v>All Others</c:v>
                </c:pt>
                <c:pt idx="77">
                  <c:v>Salakis</c:v>
                </c:pt>
                <c:pt idx="78">
                  <c:v>Carre Frais</c:v>
                </c:pt>
                <c:pt idx="79">
                  <c:v>Coeur De Li</c:v>
                </c:pt>
                <c:pt idx="80">
                  <c:v>Philadelphi</c:v>
                </c:pt>
                <c:pt idx="81">
                  <c:v>Private Lab</c:v>
                </c:pt>
                <c:pt idx="82">
                  <c:v>Private Lab</c:v>
                </c:pt>
                <c:pt idx="83">
                  <c:v>Coeur De Li</c:v>
                </c:pt>
                <c:pt idx="84">
                  <c:v>Galbani</c:v>
                </c:pt>
                <c:pt idx="85">
                  <c:v>Kiri</c:v>
                </c:pt>
                <c:pt idx="86">
                  <c:v>St Moret</c:v>
                </c:pt>
                <c:pt idx="87">
                  <c:v>Soignon</c:v>
                </c:pt>
                <c:pt idx="88">
                  <c:v>President</c:v>
                </c:pt>
                <c:pt idx="89">
                  <c:v>Private Lab</c:v>
                </c:pt>
                <c:pt idx="90">
                  <c:v>Coeur De Li</c:v>
                </c:pt>
                <c:pt idx="91">
                  <c:v>Mini Babybe</c:v>
                </c:pt>
                <c:pt idx="92">
                  <c:v>President</c:v>
                </c:pt>
                <c:pt idx="93">
                  <c:v>All Others</c:v>
                </c:pt>
                <c:pt idx="94">
                  <c:v>Le Rustique</c:v>
                </c:pt>
                <c:pt idx="95">
                  <c:v>Petit Billy</c:v>
                </c:pt>
                <c:pt idx="96">
                  <c:v>Istara</c:v>
                </c:pt>
                <c:pt idx="97">
                  <c:v>Private Lab</c:v>
                </c:pt>
                <c:pt idx="98">
                  <c:v>Private Lab</c:v>
                </c:pt>
                <c:pt idx="99">
                  <c:v>President</c:v>
                </c:pt>
                <c:pt idx="100">
                  <c:v>Private Lab</c:v>
                </c:pt>
                <c:pt idx="101">
                  <c:v>President</c:v>
                </c:pt>
                <c:pt idx="102">
                  <c:v>Philadelphi</c:v>
                </c:pt>
                <c:pt idx="103">
                  <c:v>Ficello</c:v>
                </c:pt>
                <c:pt idx="104">
                  <c:v>Private Lab</c:v>
                </c:pt>
                <c:pt idx="105">
                  <c:v>Private Lab</c:v>
                </c:pt>
                <c:pt idx="106">
                  <c:v>All Others</c:v>
                </c:pt>
                <c:pt idx="107">
                  <c:v>Soignon</c:v>
                </c:pt>
                <c:pt idx="108">
                  <c:v>Etorki</c:v>
                </c:pt>
                <c:pt idx="109">
                  <c:v>Private Lab</c:v>
                </c:pt>
                <c:pt idx="110">
                  <c:v>Private Lab</c:v>
                </c:pt>
                <c:pt idx="111">
                  <c:v>St Moret</c:v>
                </c:pt>
                <c:pt idx="112">
                  <c:v>Private Lab</c:v>
                </c:pt>
                <c:pt idx="113">
                  <c:v>Soignon</c:v>
                </c:pt>
                <c:pt idx="114">
                  <c:v>All Others</c:v>
                </c:pt>
                <c:pt idx="115">
                  <c:v>Lactalis: A</c:v>
                </c:pt>
                <c:pt idx="116">
                  <c:v>Casa Azzurr</c:v>
                </c:pt>
                <c:pt idx="117">
                  <c:v>Tartare</c:v>
                </c:pt>
                <c:pt idx="118">
                  <c:v>La Vache Qu</c:v>
                </c:pt>
                <c:pt idx="119">
                  <c:v>All Others</c:v>
                </c:pt>
                <c:pt idx="120">
                  <c:v>Caprice Des</c:v>
                </c:pt>
                <c:pt idx="121">
                  <c:v>Soignon</c:v>
                </c:pt>
                <c:pt idx="122">
                  <c:v>Ficello</c:v>
                </c:pt>
                <c:pt idx="123">
                  <c:v>P'Tit Louis</c:v>
                </c:pt>
                <c:pt idx="124">
                  <c:v>Coeur De Li</c:v>
                </c:pt>
                <c:pt idx="125">
                  <c:v>Casa Azzurr</c:v>
                </c:pt>
                <c:pt idx="126">
                  <c:v>La Vache Qu</c:v>
                </c:pt>
                <c:pt idx="127">
                  <c:v>Soignon</c:v>
                </c:pt>
                <c:pt idx="128">
                  <c:v>All Others</c:v>
                </c:pt>
                <c:pt idx="129">
                  <c:v>All Others</c:v>
                </c:pt>
                <c:pt idx="130">
                  <c:v>Private Lab</c:v>
                </c:pt>
                <c:pt idx="131">
                  <c:v>Chavroux</c:v>
                </c:pt>
                <c:pt idx="132">
                  <c:v>Boursin</c:v>
                </c:pt>
                <c:pt idx="133">
                  <c:v>Private Lab</c:v>
                </c:pt>
                <c:pt idx="134">
                  <c:v>Lactalis: A</c:v>
                </c:pt>
                <c:pt idx="135">
                  <c:v>President</c:v>
                </c:pt>
                <c:pt idx="136">
                  <c:v>Paysan Bret</c:v>
                </c:pt>
                <c:pt idx="137">
                  <c:v>Salakis</c:v>
                </c:pt>
                <c:pt idx="138">
                  <c:v>Le Brebiou</c:v>
                </c:pt>
                <c:pt idx="139">
                  <c:v>Private Lab</c:v>
                </c:pt>
                <c:pt idx="140">
                  <c:v>President</c:v>
                </c:pt>
                <c:pt idx="141">
                  <c:v>Boursin</c:v>
                </c:pt>
                <c:pt idx="142">
                  <c:v>Private Lab</c:v>
                </c:pt>
                <c:pt idx="143">
                  <c:v>Boursin</c:v>
                </c:pt>
                <c:pt idx="144">
                  <c:v>Galbani</c:v>
                </c:pt>
                <c:pt idx="145">
                  <c:v>Private Lab</c:v>
                </c:pt>
                <c:pt idx="146">
                  <c:v>Soignon</c:v>
                </c:pt>
                <c:pt idx="147">
                  <c:v>Boursin</c:v>
                </c:pt>
                <c:pt idx="148">
                  <c:v>President</c:v>
                </c:pt>
                <c:pt idx="149">
                  <c:v>Private Lab</c:v>
                </c:pt>
                <c:pt idx="150">
                  <c:v>Casa Azzurr</c:v>
                </c:pt>
                <c:pt idx="151">
                  <c:v>All Others</c:v>
                </c:pt>
                <c:pt idx="152">
                  <c:v>Casa Azzurr</c:v>
                </c:pt>
                <c:pt idx="153">
                  <c:v>Paysan Bret</c:v>
                </c:pt>
                <c:pt idx="154">
                  <c:v>Private Lab</c:v>
                </c:pt>
                <c:pt idx="155">
                  <c:v>Le Rustique</c:v>
                </c:pt>
                <c:pt idx="156">
                  <c:v>Private Lab</c:v>
                </c:pt>
                <c:pt idx="157">
                  <c:v>All Others</c:v>
                </c:pt>
                <c:pt idx="158">
                  <c:v>Paysan Bret</c:v>
                </c:pt>
                <c:pt idx="159">
                  <c:v>Private Lab</c:v>
                </c:pt>
                <c:pt idx="160">
                  <c:v>Salakis</c:v>
                </c:pt>
                <c:pt idx="161">
                  <c:v>Soignon</c:v>
                </c:pt>
                <c:pt idx="162">
                  <c:v>La Vache Qu</c:v>
                </c:pt>
                <c:pt idx="163">
                  <c:v>Casa Azzurr</c:v>
                </c:pt>
                <c:pt idx="164">
                  <c:v>Lou Perac</c:v>
                </c:pt>
                <c:pt idx="165">
                  <c:v>Carre Frais</c:v>
                </c:pt>
                <c:pt idx="166">
                  <c:v>Paysan Bret</c:v>
                </c:pt>
                <c:pt idx="167">
                  <c:v>Boursin</c:v>
                </c:pt>
                <c:pt idx="168">
                  <c:v>All Others</c:v>
                </c:pt>
                <c:pt idx="169">
                  <c:v>Tartare</c:v>
                </c:pt>
                <c:pt idx="170">
                  <c:v>Chavroux</c:v>
                </c:pt>
                <c:pt idx="171">
                  <c:v>Lactalis: A</c:v>
                </c:pt>
                <c:pt idx="172">
                  <c:v>Soignon</c:v>
                </c:pt>
                <c:pt idx="173">
                  <c:v>Galbani</c:v>
                </c:pt>
                <c:pt idx="174">
                  <c:v>Private Lab</c:v>
                </c:pt>
                <c:pt idx="175">
                  <c:v>Pave D'Affi</c:v>
                </c:pt>
                <c:pt idx="176">
                  <c:v>Private Lab</c:v>
                </c:pt>
                <c:pt idx="177">
                  <c:v>Private Lab</c:v>
                </c:pt>
                <c:pt idx="178">
                  <c:v>All Others</c:v>
                </c:pt>
                <c:pt idx="179">
                  <c:v>Boursin</c:v>
                </c:pt>
                <c:pt idx="180">
                  <c:v>Paysan Bret</c:v>
                </c:pt>
                <c:pt idx="181">
                  <c:v>Private Lab</c:v>
                </c:pt>
                <c:pt idx="182">
                  <c:v>All Others</c:v>
                </c:pt>
                <c:pt idx="183">
                  <c:v>Caprice Des</c:v>
                </c:pt>
                <c:pt idx="184">
                  <c:v>All Others</c:v>
                </c:pt>
                <c:pt idx="185">
                  <c:v>Casa Azzurr</c:v>
                </c:pt>
                <c:pt idx="186">
                  <c:v>Boursin</c:v>
                </c:pt>
                <c:pt idx="187">
                  <c:v>Mini Babybe</c:v>
                </c:pt>
                <c:pt idx="188">
                  <c:v>Private Lab</c:v>
                </c:pt>
                <c:pt idx="189">
                  <c:v>Salakis</c:v>
                </c:pt>
                <c:pt idx="190">
                  <c:v>Private Lab</c:v>
                </c:pt>
                <c:pt idx="191">
                  <c:v>Tartare</c:v>
                </c:pt>
                <c:pt idx="192">
                  <c:v>Mini Babybe</c:v>
                </c:pt>
                <c:pt idx="193">
                  <c:v>Private Lab</c:v>
                </c:pt>
                <c:pt idx="194">
                  <c:v>Etorki</c:v>
                </c:pt>
                <c:pt idx="195">
                  <c:v>Galbani</c:v>
                </c:pt>
                <c:pt idx="196">
                  <c:v>Lou Perac</c:v>
                </c:pt>
                <c:pt idx="197">
                  <c:v>Private Lab</c:v>
                </c:pt>
                <c:pt idx="198">
                  <c:v>Savencia: A</c:v>
                </c:pt>
                <c:pt idx="199">
                  <c:v>St Moret</c:v>
                </c:pt>
                <c:pt idx="200">
                  <c:v>Private Lab</c:v>
                </c:pt>
                <c:pt idx="201">
                  <c:v>Saint Agur</c:v>
                </c:pt>
                <c:pt idx="202">
                  <c:v>Caprice Des</c:v>
                </c:pt>
                <c:pt idx="203">
                  <c:v>Kiri</c:v>
                </c:pt>
                <c:pt idx="204">
                  <c:v>Salakis</c:v>
                </c:pt>
                <c:pt idx="205">
                  <c:v>Caprice Des</c:v>
                </c:pt>
                <c:pt idx="206">
                  <c:v>Tartare</c:v>
                </c:pt>
                <c:pt idx="207">
                  <c:v>Casa Azzurr</c:v>
                </c:pt>
                <c:pt idx="208">
                  <c:v>Private Lab</c:v>
                </c:pt>
                <c:pt idx="209">
                  <c:v>Private Lab</c:v>
                </c:pt>
                <c:pt idx="210">
                  <c:v>St Moret</c:v>
                </c:pt>
                <c:pt idx="211">
                  <c:v>Boursin</c:v>
                </c:pt>
                <c:pt idx="212">
                  <c:v>Tartare</c:v>
                </c:pt>
                <c:pt idx="213">
                  <c:v>La Vache Qu</c:v>
                </c:pt>
                <c:pt idx="214">
                  <c:v>Paysan Bret</c:v>
                </c:pt>
                <c:pt idx="215">
                  <c:v>Le Rustique</c:v>
                </c:pt>
                <c:pt idx="216">
                  <c:v>Soignon</c:v>
                </c:pt>
                <c:pt idx="217">
                  <c:v>Kiri</c:v>
                </c:pt>
                <c:pt idx="218">
                  <c:v>Private Lab</c:v>
                </c:pt>
                <c:pt idx="219">
                  <c:v>All Others</c:v>
                </c:pt>
                <c:pt idx="220">
                  <c:v>Istara</c:v>
                </c:pt>
                <c:pt idx="221">
                  <c:v>All Others</c:v>
                </c:pt>
                <c:pt idx="222">
                  <c:v>Galbani</c:v>
                </c:pt>
                <c:pt idx="223">
                  <c:v>Soignon</c:v>
                </c:pt>
                <c:pt idx="224">
                  <c:v>Soignon</c:v>
                </c:pt>
                <c:pt idx="225">
                  <c:v>All Others</c:v>
                </c:pt>
                <c:pt idx="226">
                  <c:v>Kiri</c:v>
                </c:pt>
                <c:pt idx="227">
                  <c:v>All Others</c:v>
                </c:pt>
                <c:pt idx="228">
                  <c:v>All Others</c:v>
                </c:pt>
                <c:pt idx="229">
                  <c:v>Mini Babybe</c:v>
                </c:pt>
                <c:pt idx="230">
                  <c:v>Private Lab</c:v>
                </c:pt>
                <c:pt idx="231">
                  <c:v>All Others</c:v>
                </c:pt>
                <c:pt idx="232">
                  <c:v>Paysan Bret</c:v>
                </c:pt>
                <c:pt idx="233">
                  <c:v>All Others</c:v>
                </c:pt>
                <c:pt idx="234">
                  <c:v>Casa Azzurr</c:v>
                </c:pt>
                <c:pt idx="235">
                  <c:v>Private Lab</c:v>
                </c:pt>
                <c:pt idx="236">
                  <c:v>Corsica</c:v>
                </c:pt>
                <c:pt idx="237">
                  <c:v>Casa Azzurr</c:v>
                </c:pt>
                <c:pt idx="238">
                  <c:v>All Others</c:v>
                </c:pt>
                <c:pt idx="239">
                  <c:v>Islos</c:v>
                </c:pt>
                <c:pt idx="240">
                  <c:v>Soignon</c:v>
                </c:pt>
                <c:pt idx="241">
                  <c:v>Mini Babybe</c:v>
                </c:pt>
                <c:pt idx="242">
                  <c:v>Milleret: A</c:v>
                </c:pt>
                <c:pt idx="243">
                  <c:v>All Others</c:v>
                </c:pt>
                <c:pt idx="244">
                  <c:v>Boursin</c:v>
                </c:pt>
                <c:pt idx="245">
                  <c:v>Kiri</c:v>
                </c:pt>
                <c:pt idx="246">
                  <c:v>Soignon</c:v>
                </c:pt>
                <c:pt idx="247">
                  <c:v>Kiri</c:v>
                </c:pt>
                <c:pt idx="248">
                  <c:v>Paysan Bret</c:v>
                </c:pt>
                <c:pt idx="249">
                  <c:v>P'Tit Louis</c:v>
                </c:pt>
                <c:pt idx="250">
                  <c:v>All Others</c:v>
                </c:pt>
                <c:pt idx="251">
                  <c:v>All Others</c:v>
                </c:pt>
                <c:pt idx="252">
                  <c:v>Etoile Du Q</c:v>
                </c:pt>
                <c:pt idx="253">
                  <c:v>Galbani</c:v>
                </c:pt>
                <c:pt idx="254">
                  <c:v>All Others</c:v>
                </c:pt>
                <c:pt idx="255">
                  <c:v>Caprice Des</c:v>
                </c:pt>
                <c:pt idx="256">
                  <c:v>Triballat N</c:v>
                </c:pt>
                <c:pt idx="257">
                  <c:v>Lactalis: A</c:v>
                </c:pt>
                <c:pt idx="258">
                  <c:v>Salakis</c:v>
                </c:pt>
                <c:pt idx="259">
                  <c:v>All Others</c:v>
                </c:pt>
                <c:pt idx="260">
                  <c:v>Galbani</c:v>
                </c:pt>
                <c:pt idx="261">
                  <c:v>Mini Babybe</c:v>
                </c:pt>
                <c:pt idx="262">
                  <c:v>All Others</c:v>
                </c:pt>
                <c:pt idx="263">
                  <c:v>All Others</c:v>
                </c:pt>
                <c:pt idx="264">
                  <c:v>Le Brebiou</c:v>
                </c:pt>
                <c:pt idx="265">
                  <c:v>Galbani</c:v>
                </c:pt>
                <c:pt idx="266">
                  <c:v>Boursin</c:v>
                </c:pt>
                <c:pt idx="267">
                  <c:v>Paysan Bret</c:v>
                </c:pt>
                <c:pt idx="268">
                  <c:v>All Others</c:v>
                </c:pt>
                <c:pt idx="269">
                  <c:v>Etorki</c:v>
                </c:pt>
                <c:pt idx="270">
                  <c:v>Saint Agur</c:v>
                </c:pt>
                <c:pt idx="271">
                  <c:v>Islos</c:v>
                </c:pt>
                <c:pt idx="272">
                  <c:v>Carre Frais</c:v>
                </c:pt>
                <c:pt idx="273">
                  <c:v>All Others</c:v>
                </c:pt>
                <c:pt idx="274">
                  <c:v>Milleret: A</c:v>
                </c:pt>
                <c:pt idx="275">
                  <c:v>Triballat N</c:v>
                </c:pt>
                <c:pt idx="276">
                  <c:v>Galbani</c:v>
                </c:pt>
                <c:pt idx="277">
                  <c:v>Private Lab</c:v>
                </c:pt>
                <c:pt idx="278">
                  <c:v>Lactalis: A</c:v>
                </c:pt>
                <c:pt idx="279">
                  <c:v>Istara</c:v>
                </c:pt>
                <c:pt idx="280">
                  <c:v>Triballat N</c:v>
                </c:pt>
                <c:pt idx="281">
                  <c:v>All Others</c:v>
                </c:pt>
                <c:pt idx="282">
                  <c:v>All Others</c:v>
                </c:pt>
                <c:pt idx="283">
                  <c:v>All Others</c:v>
                </c:pt>
                <c:pt idx="284">
                  <c:v>Boursin</c:v>
                </c:pt>
                <c:pt idx="285">
                  <c:v>Chavroux</c:v>
                </c:pt>
                <c:pt idx="286">
                  <c:v>All Others</c:v>
                </c:pt>
                <c:pt idx="287">
                  <c:v>All Others</c:v>
                </c:pt>
                <c:pt idx="288">
                  <c:v>All Others</c:v>
                </c:pt>
                <c:pt idx="289">
                  <c:v>Lactalis: A</c:v>
                </c:pt>
                <c:pt idx="290">
                  <c:v>All Others</c:v>
                </c:pt>
                <c:pt idx="291">
                  <c:v>All Others</c:v>
                </c:pt>
                <c:pt idx="292">
                  <c:v>All Others</c:v>
                </c:pt>
                <c:pt idx="293">
                  <c:v>All Others</c:v>
                </c:pt>
                <c:pt idx="294">
                  <c:v>All Others</c:v>
                </c:pt>
                <c:pt idx="295">
                  <c:v>Boursin</c:v>
                </c:pt>
                <c:pt idx="296">
                  <c:v>Boursin</c:v>
                </c:pt>
                <c:pt idx="297">
                  <c:v>All Others</c:v>
                </c:pt>
                <c:pt idx="298">
                  <c:v>All Others</c:v>
                </c:pt>
                <c:pt idx="299">
                  <c:v>Triballat N</c:v>
                </c:pt>
                <c:pt idx="300">
                  <c:v>Tartare</c:v>
                </c:pt>
                <c:pt idx="301">
                  <c:v>Mini Babybe</c:v>
                </c:pt>
                <c:pt idx="302">
                  <c:v>All Others</c:v>
                </c:pt>
                <c:pt idx="303">
                  <c:v>All Others</c:v>
                </c:pt>
                <c:pt idx="304">
                  <c:v>All Others</c:v>
                </c:pt>
                <c:pt idx="305">
                  <c:v>All Others</c:v>
                </c:pt>
                <c:pt idx="306">
                  <c:v>Chavroux</c:v>
                </c:pt>
                <c:pt idx="307">
                  <c:v>All Others</c:v>
                </c:pt>
                <c:pt idx="308">
                  <c:v>All Others</c:v>
                </c:pt>
                <c:pt idx="309">
                  <c:v>All Others</c:v>
                </c:pt>
                <c:pt idx="310">
                  <c:v>All Others</c:v>
                </c:pt>
                <c:pt idx="311">
                  <c:v>All Others</c:v>
                </c:pt>
                <c:pt idx="312">
                  <c:v>Soignon</c:v>
                </c:pt>
                <c:pt idx="313">
                  <c:v>All Others</c:v>
                </c:pt>
                <c:pt idx="314">
                  <c:v>All Others</c:v>
                </c:pt>
                <c:pt idx="315">
                  <c:v>All Others</c:v>
                </c:pt>
                <c:pt idx="316">
                  <c:v>All Others</c:v>
                </c:pt>
                <c:pt idx="317">
                  <c:v>All Others</c:v>
                </c:pt>
                <c:pt idx="318">
                  <c:v>All Others</c:v>
                </c:pt>
                <c:pt idx="319">
                  <c:v>All Others</c:v>
                </c:pt>
                <c:pt idx="320">
                  <c:v>All Others</c:v>
                </c:pt>
                <c:pt idx="321">
                  <c:v>All Others</c:v>
                </c:pt>
                <c:pt idx="322">
                  <c:v>All Others</c:v>
                </c:pt>
                <c:pt idx="323">
                  <c:v>All Others</c:v>
                </c:pt>
                <c:pt idx="324">
                  <c:v>Chavroux</c:v>
                </c:pt>
                <c:pt idx="325">
                  <c:v>Boursin</c:v>
                </c:pt>
                <c:pt idx="326">
                  <c:v>All Others</c:v>
                </c:pt>
                <c:pt idx="327">
                  <c:v>All Others</c:v>
                </c:pt>
                <c:pt idx="328">
                  <c:v>All Others</c:v>
                </c:pt>
                <c:pt idx="329">
                  <c:v>All Others</c:v>
                </c:pt>
                <c:pt idx="330">
                  <c:v>Boursin</c:v>
                </c:pt>
                <c:pt idx="331">
                  <c:v>All Others</c:v>
                </c:pt>
                <c:pt idx="332">
                  <c:v>Salakis</c:v>
                </c:pt>
                <c:pt idx="333">
                  <c:v>All Others</c:v>
                </c:pt>
                <c:pt idx="334">
                  <c:v>All Others</c:v>
                </c:pt>
                <c:pt idx="335">
                  <c:v>All Others</c:v>
                </c:pt>
                <c:pt idx="336">
                  <c:v>All Others</c:v>
                </c:pt>
                <c:pt idx="337">
                  <c:v>All Others</c:v>
                </c:pt>
                <c:pt idx="338">
                  <c:v>All Others</c:v>
                </c:pt>
                <c:pt idx="339">
                  <c:v>All Others</c:v>
                </c:pt>
                <c:pt idx="340">
                  <c:v>President</c:v>
                </c:pt>
                <c:pt idx="341">
                  <c:v>All Others</c:v>
                </c:pt>
                <c:pt idx="342">
                  <c:v>Private Lab</c:v>
                </c:pt>
                <c:pt idx="343">
                  <c:v>All Others</c:v>
                </c:pt>
                <c:pt idx="344">
                  <c:v>All Others</c:v>
                </c:pt>
                <c:pt idx="345">
                  <c:v>All Others</c:v>
                </c:pt>
                <c:pt idx="346">
                  <c:v>All Others</c:v>
                </c:pt>
                <c:pt idx="347">
                  <c:v>All Others</c:v>
                </c:pt>
                <c:pt idx="348">
                  <c:v>Petit Billy</c:v>
                </c:pt>
                <c:pt idx="349">
                  <c:v>All Others</c:v>
                </c:pt>
                <c:pt idx="350">
                  <c:v>All Others</c:v>
                </c:pt>
                <c:pt idx="351">
                  <c:v>All Others</c:v>
                </c:pt>
                <c:pt idx="352">
                  <c:v>Salakis</c:v>
                </c:pt>
                <c:pt idx="353">
                  <c:v>Etoile Du V</c:v>
                </c:pt>
                <c:pt idx="354">
                  <c:v>All Others</c:v>
                </c:pt>
                <c:pt idx="355">
                  <c:v>All Others</c:v>
                </c:pt>
                <c:pt idx="356">
                  <c:v>All Others</c:v>
                </c:pt>
                <c:pt idx="357">
                  <c:v>All Others</c:v>
                </c:pt>
                <c:pt idx="358">
                  <c:v>Chavroux</c:v>
                </c:pt>
                <c:pt idx="359">
                  <c:v>All Others</c:v>
                </c:pt>
                <c:pt idx="360">
                  <c:v>Entremont</c:v>
                </c:pt>
                <c:pt idx="361">
                  <c:v>All Others</c:v>
                </c:pt>
                <c:pt idx="362">
                  <c:v>All Others</c:v>
                </c:pt>
                <c:pt idx="363">
                  <c:v>La Vache Qu</c:v>
                </c:pt>
                <c:pt idx="364">
                  <c:v>Lactalis: A</c:v>
                </c:pt>
                <c:pt idx="365">
                  <c:v>All Others</c:v>
                </c:pt>
                <c:pt idx="366">
                  <c:v>All Others</c:v>
                </c:pt>
                <c:pt idx="367">
                  <c:v>All Others</c:v>
                </c:pt>
                <c:pt idx="368">
                  <c:v>Entremont</c:v>
                </c:pt>
                <c:pt idx="369">
                  <c:v>Private Lab</c:v>
                </c:pt>
                <c:pt idx="370">
                  <c:v>All Others</c:v>
                </c:pt>
                <c:pt idx="371">
                  <c:v>All Others</c:v>
                </c:pt>
                <c:pt idx="372">
                  <c:v>Chavroux</c:v>
                </c:pt>
                <c:pt idx="373">
                  <c:v>Mini Babybe</c:v>
                </c:pt>
                <c:pt idx="374">
                  <c:v>All Others</c:v>
                </c:pt>
                <c:pt idx="375">
                  <c:v>All Others</c:v>
                </c:pt>
                <c:pt idx="376">
                  <c:v>All Others</c:v>
                </c:pt>
                <c:pt idx="377">
                  <c:v>All Others</c:v>
                </c:pt>
                <c:pt idx="378">
                  <c:v>All Others</c:v>
                </c:pt>
                <c:pt idx="379">
                  <c:v>All Others</c:v>
                </c:pt>
                <c:pt idx="380">
                  <c:v>Mini Babybe</c:v>
                </c:pt>
                <c:pt idx="381">
                  <c:v>All Others</c:v>
                </c:pt>
                <c:pt idx="382">
                  <c:v>All Others</c:v>
                </c:pt>
                <c:pt idx="383">
                  <c:v>All Others</c:v>
                </c:pt>
                <c:pt idx="384">
                  <c:v>All Others</c:v>
                </c:pt>
                <c:pt idx="385">
                  <c:v>All Others</c:v>
                </c:pt>
                <c:pt idx="386">
                  <c:v>All Others</c:v>
                </c:pt>
                <c:pt idx="387">
                  <c:v>All Others</c:v>
                </c:pt>
                <c:pt idx="388">
                  <c:v>All Others</c:v>
                </c:pt>
                <c:pt idx="389">
                  <c:v>All Others</c:v>
                </c:pt>
                <c:pt idx="390">
                  <c:v>Casa Azzurr</c:v>
                </c:pt>
                <c:pt idx="391">
                  <c:v>All Others</c:v>
                </c:pt>
                <c:pt idx="392">
                  <c:v>Corsica</c:v>
                </c:pt>
                <c:pt idx="393">
                  <c:v>All Others</c:v>
                </c:pt>
                <c:pt idx="394">
                  <c:v>All Others</c:v>
                </c:pt>
                <c:pt idx="395">
                  <c:v>All Others</c:v>
                </c:pt>
                <c:pt idx="396">
                  <c:v>All Others</c:v>
                </c:pt>
                <c:pt idx="397">
                  <c:v>Savencia: A</c:v>
                </c:pt>
                <c:pt idx="398">
                  <c:v>Savencia: A</c:v>
                </c:pt>
                <c:pt idx="399">
                  <c:v>All Others</c:v>
                </c:pt>
                <c:pt idx="400">
                  <c:v>All Others</c:v>
                </c:pt>
                <c:pt idx="401">
                  <c:v>All Others</c:v>
                </c:pt>
                <c:pt idx="402">
                  <c:v>All Others</c:v>
                </c:pt>
                <c:pt idx="403">
                  <c:v>All Others</c:v>
                </c:pt>
                <c:pt idx="404">
                  <c:v>All Others</c:v>
                </c:pt>
                <c:pt idx="405">
                  <c:v>All Others</c:v>
                </c:pt>
                <c:pt idx="406">
                  <c:v>All Others</c:v>
                </c:pt>
                <c:pt idx="407">
                  <c:v>All Others</c:v>
                </c:pt>
                <c:pt idx="408">
                  <c:v>All Others</c:v>
                </c:pt>
                <c:pt idx="409">
                  <c:v>All Others</c:v>
                </c:pt>
                <c:pt idx="410">
                  <c:v>All Others</c:v>
                </c:pt>
                <c:pt idx="411">
                  <c:v>All Others</c:v>
                </c:pt>
                <c:pt idx="412">
                  <c:v>All Others</c:v>
                </c:pt>
                <c:pt idx="413">
                  <c:v>Entremont</c:v>
                </c:pt>
                <c:pt idx="414">
                  <c:v>All Others</c:v>
                </c:pt>
                <c:pt idx="415">
                  <c:v>All Others</c:v>
                </c:pt>
                <c:pt idx="416">
                  <c:v>All Others</c:v>
                </c:pt>
                <c:pt idx="417">
                  <c:v>All Others</c:v>
                </c:pt>
                <c:pt idx="418">
                  <c:v>Kiri</c:v>
                </c:pt>
                <c:pt idx="419">
                  <c:v>All Others</c:v>
                </c:pt>
                <c:pt idx="420">
                  <c:v>All Others</c:v>
                </c:pt>
                <c:pt idx="421">
                  <c:v>All Others</c:v>
                </c:pt>
                <c:pt idx="422">
                  <c:v>All Others</c:v>
                </c:pt>
                <c:pt idx="423">
                  <c:v>All Others</c:v>
                </c:pt>
                <c:pt idx="424">
                  <c:v>All Others</c:v>
                </c:pt>
                <c:pt idx="425">
                  <c:v>All Others</c:v>
                </c:pt>
                <c:pt idx="426">
                  <c:v>All Others</c:v>
                </c:pt>
                <c:pt idx="427">
                  <c:v>All Others</c:v>
                </c:pt>
                <c:pt idx="428">
                  <c:v>All Others</c:v>
                </c:pt>
                <c:pt idx="429">
                  <c:v>All Others</c:v>
                </c:pt>
                <c:pt idx="430">
                  <c:v>All Others</c:v>
                </c:pt>
                <c:pt idx="431">
                  <c:v>All Others</c:v>
                </c:pt>
                <c:pt idx="432">
                  <c:v>All Others</c:v>
                </c:pt>
                <c:pt idx="433">
                  <c:v>All Others</c:v>
                </c:pt>
                <c:pt idx="434">
                  <c:v>All Others</c:v>
                </c:pt>
                <c:pt idx="435">
                  <c:v>All Others</c:v>
                </c:pt>
                <c:pt idx="436">
                  <c:v>All Others</c:v>
                </c:pt>
                <c:pt idx="437">
                  <c:v>All Others</c:v>
                </c:pt>
                <c:pt idx="438">
                  <c:v>All Others</c:v>
                </c:pt>
                <c:pt idx="439">
                  <c:v>All Others</c:v>
                </c:pt>
                <c:pt idx="440">
                  <c:v>All Others</c:v>
                </c:pt>
                <c:pt idx="441">
                  <c:v>All Others</c:v>
                </c:pt>
                <c:pt idx="442">
                  <c:v>All Others</c:v>
                </c:pt>
                <c:pt idx="443">
                  <c:v>All Others</c:v>
                </c:pt>
                <c:pt idx="444">
                  <c:v>All Others</c:v>
                </c:pt>
                <c:pt idx="445">
                  <c:v>All Others</c:v>
                </c:pt>
                <c:pt idx="446">
                  <c:v>All Others</c:v>
                </c:pt>
                <c:pt idx="447">
                  <c:v>All Others</c:v>
                </c:pt>
                <c:pt idx="448">
                  <c:v>All Others</c:v>
                </c:pt>
                <c:pt idx="449">
                  <c:v>All Others</c:v>
                </c:pt>
                <c:pt idx="450">
                  <c:v>All Others</c:v>
                </c:pt>
                <c:pt idx="451">
                  <c:v>All Others</c:v>
                </c:pt>
                <c:pt idx="452">
                  <c:v>All Others</c:v>
                </c:pt>
                <c:pt idx="453">
                  <c:v>All Others</c:v>
                </c:pt>
                <c:pt idx="454">
                  <c:v>All Others</c:v>
                </c:pt>
                <c:pt idx="455">
                  <c:v>All Others</c:v>
                </c:pt>
                <c:pt idx="456">
                  <c:v>Paysan Bret</c:v>
                </c:pt>
                <c:pt idx="457">
                  <c:v>All Others</c:v>
                </c:pt>
                <c:pt idx="458">
                  <c:v>All Others</c:v>
                </c:pt>
                <c:pt idx="459">
                  <c:v>All Others</c:v>
                </c:pt>
                <c:pt idx="460">
                  <c:v>All Others</c:v>
                </c:pt>
                <c:pt idx="461">
                  <c:v>All Others</c:v>
                </c:pt>
                <c:pt idx="462">
                  <c:v>All Others</c:v>
                </c:pt>
                <c:pt idx="463">
                  <c:v>All Others</c:v>
                </c:pt>
                <c:pt idx="464">
                  <c:v>All Others</c:v>
                </c:pt>
                <c:pt idx="465">
                  <c:v>All Others</c:v>
                </c:pt>
                <c:pt idx="466">
                  <c:v>All Others</c:v>
                </c:pt>
                <c:pt idx="467">
                  <c:v>All Others</c:v>
                </c:pt>
                <c:pt idx="468">
                  <c:v>All Others</c:v>
                </c:pt>
                <c:pt idx="469">
                  <c:v>Etoile Du V</c:v>
                </c:pt>
                <c:pt idx="470">
                  <c:v>All Others</c:v>
                </c:pt>
                <c:pt idx="471">
                  <c:v>All Others</c:v>
                </c:pt>
                <c:pt idx="472">
                  <c:v>All Others</c:v>
                </c:pt>
                <c:pt idx="473">
                  <c:v>Lactalis: A</c:v>
                </c:pt>
                <c:pt idx="474">
                  <c:v>All Others</c:v>
                </c:pt>
                <c:pt idx="475">
                  <c:v>All Others</c:v>
                </c:pt>
                <c:pt idx="476">
                  <c:v>All Others</c:v>
                </c:pt>
                <c:pt idx="477">
                  <c:v>All Others</c:v>
                </c:pt>
                <c:pt idx="478">
                  <c:v>All Others</c:v>
                </c:pt>
                <c:pt idx="479">
                  <c:v>All Others</c:v>
                </c:pt>
                <c:pt idx="480">
                  <c:v>All Others</c:v>
                </c:pt>
                <c:pt idx="481">
                  <c:v>All Others</c:v>
                </c:pt>
                <c:pt idx="482">
                  <c:v>All Others</c:v>
                </c:pt>
                <c:pt idx="483">
                  <c:v>All Others</c:v>
                </c:pt>
                <c:pt idx="484">
                  <c:v>All Others</c:v>
                </c:pt>
                <c:pt idx="485">
                  <c:v>All Others</c:v>
                </c:pt>
                <c:pt idx="486">
                  <c:v>All Others</c:v>
                </c:pt>
                <c:pt idx="487">
                  <c:v>All Others</c:v>
                </c:pt>
                <c:pt idx="488">
                  <c:v>All Others</c:v>
                </c:pt>
                <c:pt idx="489">
                  <c:v>Etoile Du V</c:v>
                </c:pt>
                <c:pt idx="490">
                  <c:v>All Others</c:v>
                </c:pt>
                <c:pt idx="491">
                  <c:v>All Others</c:v>
                </c:pt>
                <c:pt idx="492">
                  <c:v>All Others</c:v>
                </c:pt>
                <c:pt idx="493">
                  <c:v>All Others</c:v>
                </c:pt>
                <c:pt idx="494">
                  <c:v>All Others</c:v>
                </c:pt>
                <c:pt idx="495">
                  <c:v>All Others</c:v>
                </c:pt>
                <c:pt idx="496">
                  <c:v>All Others</c:v>
                </c:pt>
                <c:pt idx="497">
                  <c:v>All Others</c:v>
                </c:pt>
                <c:pt idx="498">
                  <c:v>All Others</c:v>
                </c:pt>
                <c:pt idx="499">
                  <c:v>All Others</c:v>
                </c:pt>
                <c:pt idx="500">
                  <c:v>All Others</c:v>
                </c:pt>
                <c:pt idx="501">
                  <c:v>All Others</c:v>
                </c:pt>
                <c:pt idx="502">
                  <c:v>Savencia: A</c:v>
                </c:pt>
                <c:pt idx="503">
                  <c:v>All Others</c:v>
                </c:pt>
                <c:pt idx="504">
                  <c:v>All Others</c:v>
                </c:pt>
                <c:pt idx="505">
                  <c:v>All Others</c:v>
                </c:pt>
                <c:pt idx="506">
                  <c:v>All Others</c:v>
                </c:pt>
                <c:pt idx="507">
                  <c:v>All Others</c:v>
                </c:pt>
                <c:pt idx="508">
                  <c:v>All Others</c:v>
                </c:pt>
                <c:pt idx="509">
                  <c:v>All Others</c:v>
                </c:pt>
                <c:pt idx="510">
                  <c:v>All Others</c:v>
                </c:pt>
                <c:pt idx="511">
                  <c:v>All Others</c:v>
                </c:pt>
                <c:pt idx="512">
                  <c:v>All Others</c:v>
                </c:pt>
                <c:pt idx="513">
                  <c:v>All Others</c:v>
                </c:pt>
                <c:pt idx="514">
                  <c:v>All Others</c:v>
                </c:pt>
                <c:pt idx="515">
                  <c:v>All Others</c:v>
                </c:pt>
                <c:pt idx="516">
                  <c:v>All Others</c:v>
                </c:pt>
                <c:pt idx="517">
                  <c:v>All Others</c:v>
                </c:pt>
                <c:pt idx="518">
                  <c:v>All Others</c:v>
                </c:pt>
                <c:pt idx="519">
                  <c:v>All Others</c:v>
                </c:pt>
                <c:pt idx="520">
                  <c:v>All Others</c:v>
                </c:pt>
                <c:pt idx="521">
                  <c:v>All Others</c:v>
                </c:pt>
                <c:pt idx="522">
                  <c:v>All Others</c:v>
                </c:pt>
                <c:pt idx="523">
                  <c:v>All Others</c:v>
                </c:pt>
                <c:pt idx="524">
                  <c:v>All Others</c:v>
                </c:pt>
                <c:pt idx="525">
                  <c:v>All Others</c:v>
                </c:pt>
                <c:pt idx="526">
                  <c:v>All Others</c:v>
                </c:pt>
                <c:pt idx="527">
                  <c:v>All Others</c:v>
                </c:pt>
                <c:pt idx="528">
                  <c:v>All Others</c:v>
                </c:pt>
                <c:pt idx="529">
                  <c:v>All Others</c:v>
                </c:pt>
                <c:pt idx="530">
                  <c:v>All Others</c:v>
                </c:pt>
                <c:pt idx="531">
                  <c:v>All Others</c:v>
                </c:pt>
                <c:pt idx="532">
                  <c:v>All Others</c:v>
                </c:pt>
                <c:pt idx="533">
                  <c:v>All Others</c:v>
                </c:pt>
                <c:pt idx="534">
                  <c:v>All Others</c:v>
                </c:pt>
                <c:pt idx="535">
                  <c:v>All Others</c:v>
                </c:pt>
                <c:pt idx="536">
                  <c:v>All Others</c:v>
                </c:pt>
                <c:pt idx="537">
                  <c:v>All Others</c:v>
                </c:pt>
                <c:pt idx="538">
                  <c:v>All Others</c:v>
                </c:pt>
                <c:pt idx="539">
                  <c:v>All Others</c:v>
                </c:pt>
                <c:pt idx="540">
                  <c:v>All Others</c:v>
                </c:pt>
                <c:pt idx="541">
                  <c:v>Savencia: A</c:v>
                </c:pt>
                <c:pt idx="542">
                  <c:v>Lactalis: A</c:v>
                </c:pt>
                <c:pt idx="543">
                  <c:v>All Others</c:v>
                </c:pt>
                <c:pt idx="544">
                  <c:v>All Others</c:v>
                </c:pt>
                <c:pt idx="545">
                  <c:v>All Others</c:v>
                </c:pt>
                <c:pt idx="546">
                  <c:v>All Others</c:v>
                </c:pt>
                <c:pt idx="547">
                  <c:v>All Others</c:v>
                </c:pt>
                <c:pt idx="548">
                  <c:v>All Others</c:v>
                </c:pt>
                <c:pt idx="549">
                  <c:v>All Others</c:v>
                </c:pt>
                <c:pt idx="550">
                  <c:v>All Others</c:v>
                </c:pt>
                <c:pt idx="551">
                  <c:v>All Others</c:v>
                </c:pt>
                <c:pt idx="552">
                  <c:v>Caprice Des</c:v>
                </c:pt>
                <c:pt idx="553">
                  <c:v>All Others</c:v>
                </c:pt>
                <c:pt idx="554">
                  <c:v>All Others</c:v>
                </c:pt>
                <c:pt idx="555">
                  <c:v>All Others</c:v>
                </c:pt>
                <c:pt idx="556">
                  <c:v>All Others</c:v>
                </c:pt>
                <c:pt idx="557">
                  <c:v>All Others</c:v>
                </c:pt>
                <c:pt idx="558">
                  <c:v>All Others</c:v>
                </c:pt>
                <c:pt idx="559">
                  <c:v>All Others</c:v>
                </c:pt>
                <c:pt idx="560">
                  <c:v>All Others</c:v>
                </c:pt>
                <c:pt idx="561">
                  <c:v>All Others</c:v>
                </c:pt>
                <c:pt idx="562">
                  <c:v>All Others</c:v>
                </c:pt>
                <c:pt idx="563">
                  <c:v>All Others</c:v>
                </c:pt>
                <c:pt idx="564">
                  <c:v>All Others</c:v>
                </c:pt>
                <c:pt idx="565">
                  <c:v>Lactalis: A</c:v>
                </c:pt>
                <c:pt idx="566">
                  <c:v>All Others</c:v>
                </c:pt>
                <c:pt idx="567">
                  <c:v>All Others</c:v>
                </c:pt>
                <c:pt idx="568">
                  <c:v>La Vache Qu</c:v>
                </c:pt>
                <c:pt idx="569">
                  <c:v>All Others</c:v>
                </c:pt>
                <c:pt idx="570">
                  <c:v>All Others</c:v>
                </c:pt>
                <c:pt idx="571">
                  <c:v>All Others</c:v>
                </c:pt>
                <c:pt idx="572">
                  <c:v>All Others</c:v>
                </c:pt>
                <c:pt idx="573">
                  <c:v>Gillot</c:v>
                </c:pt>
                <c:pt idx="574">
                  <c:v>All Others</c:v>
                </c:pt>
                <c:pt idx="575">
                  <c:v>All Others</c:v>
                </c:pt>
                <c:pt idx="576">
                  <c:v>All Others</c:v>
                </c:pt>
                <c:pt idx="577">
                  <c:v>All Others</c:v>
                </c:pt>
                <c:pt idx="578">
                  <c:v>Lactalis: A</c:v>
                </c:pt>
                <c:pt idx="579">
                  <c:v>Private Lab</c:v>
                </c:pt>
                <c:pt idx="580">
                  <c:v>All Others</c:v>
                </c:pt>
                <c:pt idx="581">
                  <c:v>All Others</c:v>
                </c:pt>
                <c:pt idx="582">
                  <c:v>All Others</c:v>
                </c:pt>
                <c:pt idx="583">
                  <c:v>All Others</c:v>
                </c:pt>
                <c:pt idx="584">
                  <c:v>All Others</c:v>
                </c:pt>
                <c:pt idx="585">
                  <c:v>All Others</c:v>
                </c:pt>
                <c:pt idx="586">
                  <c:v>All Others</c:v>
                </c:pt>
                <c:pt idx="587">
                  <c:v>All Others</c:v>
                </c:pt>
                <c:pt idx="588">
                  <c:v>All Others</c:v>
                </c:pt>
                <c:pt idx="589">
                  <c:v>All Others</c:v>
                </c:pt>
                <c:pt idx="590">
                  <c:v>Private Lab</c:v>
                </c:pt>
                <c:pt idx="591">
                  <c:v>All Others</c:v>
                </c:pt>
                <c:pt idx="592">
                  <c:v>All Others</c:v>
                </c:pt>
                <c:pt idx="593">
                  <c:v>All Others</c:v>
                </c:pt>
                <c:pt idx="594">
                  <c:v>All Others</c:v>
                </c:pt>
                <c:pt idx="595">
                  <c:v>All Others</c:v>
                </c:pt>
                <c:pt idx="596">
                  <c:v>All Others</c:v>
                </c:pt>
                <c:pt idx="597">
                  <c:v>All Others</c:v>
                </c:pt>
                <c:pt idx="598">
                  <c:v>All Others</c:v>
                </c:pt>
                <c:pt idx="599">
                  <c:v>All Others</c:v>
                </c:pt>
                <c:pt idx="600">
                  <c:v>Private Lab</c:v>
                </c:pt>
                <c:pt idx="601">
                  <c:v>All Others</c:v>
                </c:pt>
                <c:pt idx="602">
                  <c:v>Private Lab</c:v>
                </c:pt>
                <c:pt idx="603">
                  <c:v>All Others</c:v>
                </c:pt>
                <c:pt idx="604">
                  <c:v>All Others</c:v>
                </c:pt>
                <c:pt idx="605">
                  <c:v>All Others</c:v>
                </c:pt>
                <c:pt idx="606">
                  <c:v>Private Lab</c:v>
                </c:pt>
                <c:pt idx="607">
                  <c:v>Private Lab</c:v>
                </c:pt>
                <c:pt idx="608">
                  <c:v>All Others</c:v>
                </c:pt>
                <c:pt idx="609">
                  <c:v>All Others</c:v>
                </c:pt>
                <c:pt idx="610">
                  <c:v>Lactalis: A</c:v>
                </c:pt>
                <c:pt idx="611">
                  <c:v>All Others</c:v>
                </c:pt>
                <c:pt idx="612">
                  <c:v>President</c:v>
                </c:pt>
                <c:pt idx="613">
                  <c:v>All Others</c:v>
                </c:pt>
              </c:strCache>
            </c:strRef>
          </c:cat>
          <c:val>
            <c:numRef>
              <c:f>Sheet1!$B$2:$B$615</c:f>
              <c:numCache>
                <c:formatCode>General</c:formatCode>
                <c:ptCount val="614"/>
                <c:pt idx="0">
                  <c:v>0.992</c:v>
                </c:pt>
                <c:pt idx="1">
                  <c:v>0.999</c:v>
                </c:pt>
                <c:pt idx="2">
                  <c:v>1.0</c:v>
                </c:pt>
                <c:pt idx="3">
                  <c:v>0.998</c:v>
                </c:pt>
                <c:pt idx="4">
                  <c:v>0.998</c:v>
                </c:pt>
                <c:pt idx="5">
                  <c:v>0.999</c:v>
                </c:pt>
                <c:pt idx="6">
                  <c:v>0.99</c:v>
                </c:pt>
                <c:pt idx="7">
                  <c:v>0.986</c:v>
                </c:pt>
                <c:pt idx="8">
                  <c:v>0.999</c:v>
                </c:pt>
                <c:pt idx="9">
                  <c:v>1.0</c:v>
                </c:pt>
                <c:pt idx="10">
                  <c:v>0.977</c:v>
                </c:pt>
                <c:pt idx="11">
                  <c:v>0.982</c:v>
                </c:pt>
                <c:pt idx="12">
                  <c:v>0.998</c:v>
                </c:pt>
                <c:pt idx="13">
                  <c:v>0.947</c:v>
                </c:pt>
                <c:pt idx="14">
                  <c:v>0.987</c:v>
                </c:pt>
                <c:pt idx="15">
                  <c:v>0.997</c:v>
                </c:pt>
                <c:pt idx="16">
                  <c:v>0.998</c:v>
                </c:pt>
                <c:pt idx="17">
                  <c:v>0.957</c:v>
                </c:pt>
                <c:pt idx="18">
                  <c:v>0.979</c:v>
                </c:pt>
                <c:pt idx="19">
                  <c:v>0.998</c:v>
                </c:pt>
                <c:pt idx="20">
                  <c:v>0.984</c:v>
                </c:pt>
                <c:pt idx="21">
                  <c:v>0.993</c:v>
                </c:pt>
                <c:pt idx="22">
                  <c:v>0.999</c:v>
                </c:pt>
                <c:pt idx="23">
                  <c:v>0.999</c:v>
                </c:pt>
                <c:pt idx="24">
                  <c:v>0.989</c:v>
                </c:pt>
                <c:pt idx="25">
                  <c:v>0.995</c:v>
                </c:pt>
                <c:pt idx="26">
                  <c:v>0.998</c:v>
                </c:pt>
                <c:pt idx="27">
                  <c:v>0.992</c:v>
                </c:pt>
                <c:pt idx="28">
                  <c:v>0.932</c:v>
                </c:pt>
                <c:pt idx="29">
                  <c:v>0.936</c:v>
                </c:pt>
                <c:pt idx="30">
                  <c:v>0.941</c:v>
                </c:pt>
                <c:pt idx="31">
                  <c:v>0.989</c:v>
                </c:pt>
                <c:pt idx="32">
                  <c:v>0.997</c:v>
                </c:pt>
                <c:pt idx="33">
                  <c:v>0.984</c:v>
                </c:pt>
                <c:pt idx="34">
                  <c:v>0.975</c:v>
                </c:pt>
                <c:pt idx="35">
                  <c:v>0.909</c:v>
                </c:pt>
                <c:pt idx="36">
                  <c:v>0.98</c:v>
                </c:pt>
                <c:pt idx="37">
                  <c:v>0.987</c:v>
                </c:pt>
                <c:pt idx="38">
                  <c:v>0.992</c:v>
                </c:pt>
                <c:pt idx="39">
                  <c:v>0.99</c:v>
                </c:pt>
                <c:pt idx="40">
                  <c:v>0.999</c:v>
                </c:pt>
                <c:pt idx="41">
                  <c:v>0.984</c:v>
                </c:pt>
                <c:pt idx="42">
                  <c:v>0.953</c:v>
                </c:pt>
                <c:pt idx="43">
                  <c:v>0.986</c:v>
                </c:pt>
                <c:pt idx="44">
                  <c:v>0.861</c:v>
                </c:pt>
                <c:pt idx="45">
                  <c:v>0.997</c:v>
                </c:pt>
                <c:pt idx="46">
                  <c:v>0.981</c:v>
                </c:pt>
                <c:pt idx="47">
                  <c:v>0.932</c:v>
                </c:pt>
                <c:pt idx="48">
                  <c:v>0.985</c:v>
                </c:pt>
                <c:pt idx="49">
                  <c:v>0.963</c:v>
                </c:pt>
                <c:pt idx="50">
                  <c:v>0.987</c:v>
                </c:pt>
                <c:pt idx="51">
                  <c:v>0.984</c:v>
                </c:pt>
                <c:pt idx="52">
                  <c:v>0.924</c:v>
                </c:pt>
                <c:pt idx="53">
                  <c:v>0.988</c:v>
                </c:pt>
                <c:pt idx="54">
                  <c:v>0.992</c:v>
                </c:pt>
                <c:pt idx="55">
                  <c:v>0.708</c:v>
                </c:pt>
                <c:pt idx="56">
                  <c:v>0.966</c:v>
                </c:pt>
                <c:pt idx="57">
                  <c:v>0.98</c:v>
                </c:pt>
                <c:pt idx="58">
                  <c:v>0.981</c:v>
                </c:pt>
                <c:pt idx="59">
                  <c:v>0.973</c:v>
                </c:pt>
                <c:pt idx="60">
                  <c:v>0.998</c:v>
                </c:pt>
                <c:pt idx="61">
                  <c:v>0.932</c:v>
                </c:pt>
                <c:pt idx="62">
                  <c:v>0.966</c:v>
                </c:pt>
                <c:pt idx="63">
                  <c:v>0.927</c:v>
                </c:pt>
                <c:pt idx="64">
                  <c:v>0.883</c:v>
                </c:pt>
                <c:pt idx="65">
                  <c:v>0.983</c:v>
                </c:pt>
                <c:pt idx="66">
                  <c:v>0.998</c:v>
                </c:pt>
                <c:pt idx="67">
                  <c:v>0.859</c:v>
                </c:pt>
                <c:pt idx="68">
                  <c:v>0.982</c:v>
                </c:pt>
                <c:pt idx="69">
                  <c:v>0.973</c:v>
                </c:pt>
                <c:pt idx="70">
                  <c:v>0.941</c:v>
                </c:pt>
                <c:pt idx="71">
                  <c:v>0.886</c:v>
                </c:pt>
                <c:pt idx="72">
                  <c:v>0.998</c:v>
                </c:pt>
                <c:pt idx="73">
                  <c:v>0.925</c:v>
                </c:pt>
                <c:pt idx="74">
                  <c:v>0.946</c:v>
                </c:pt>
                <c:pt idx="75">
                  <c:v>0.855</c:v>
                </c:pt>
                <c:pt idx="76">
                  <c:v>0.692</c:v>
                </c:pt>
                <c:pt idx="77">
                  <c:v>0.995</c:v>
                </c:pt>
                <c:pt idx="78">
                  <c:v>0.946</c:v>
                </c:pt>
                <c:pt idx="79">
                  <c:v>0.978</c:v>
                </c:pt>
                <c:pt idx="80">
                  <c:v>0.894</c:v>
                </c:pt>
                <c:pt idx="81">
                  <c:v>0.958</c:v>
                </c:pt>
                <c:pt idx="82">
                  <c:v>0.805</c:v>
                </c:pt>
                <c:pt idx="83">
                  <c:v>0.955</c:v>
                </c:pt>
                <c:pt idx="84">
                  <c:v>0.927</c:v>
                </c:pt>
                <c:pt idx="85">
                  <c:v>0.981</c:v>
                </c:pt>
                <c:pt idx="86">
                  <c:v>0.949</c:v>
                </c:pt>
                <c:pt idx="87">
                  <c:v>0.913</c:v>
                </c:pt>
                <c:pt idx="88">
                  <c:v>0.961</c:v>
                </c:pt>
                <c:pt idx="89">
                  <c:v>0.978</c:v>
                </c:pt>
                <c:pt idx="90">
                  <c:v>0.889</c:v>
                </c:pt>
                <c:pt idx="91">
                  <c:v>0.852</c:v>
                </c:pt>
                <c:pt idx="92">
                  <c:v>0.795</c:v>
                </c:pt>
                <c:pt idx="93">
                  <c:v>0.497</c:v>
                </c:pt>
                <c:pt idx="94">
                  <c:v>0.934</c:v>
                </c:pt>
                <c:pt idx="95">
                  <c:v>0.932</c:v>
                </c:pt>
                <c:pt idx="96">
                  <c:v>0.78</c:v>
                </c:pt>
                <c:pt idx="97">
                  <c:v>0.97</c:v>
                </c:pt>
                <c:pt idx="98">
                  <c:v>0.964</c:v>
                </c:pt>
                <c:pt idx="99">
                  <c:v>0.966</c:v>
                </c:pt>
                <c:pt idx="100">
                  <c:v>0.936</c:v>
                </c:pt>
                <c:pt idx="101">
                  <c:v>0.975</c:v>
                </c:pt>
                <c:pt idx="102">
                  <c:v>0.974</c:v>
                </c:pt>
                <c:pt idx="103">
                  <c:v>0.949</c:v>
                </c:pt>
                <c:pt idx="104">
                  <c:v>0.972</c:v>
                </c:pt>
                <c:pt idx="105">
                  <c:v>0.724</c:v>
                </c:pt>
                <c:pt idx="106">
                  <c:v>0.748</c:v>
                </c:pt>
                <c:pt idx="107">
                  <c:v>0.932</c:v>
                </c:pt>
                <c:pt idx="108">
                  <c:v>0.892</c:v>
                </c:pt>
                <c:pt idx="109">
                  <c:v>0.899</c:v>
                </c:pt>
                <c:pt idx="110">
                  <c:v>0.923</c:v>
                </c:pt>
                <c:pt idx="111">
                  <c:v>0.878</c:v>
                </c:pt>
                <c:pt idx="112">
                  <c:v>0.839</c:v>
                </c:pt>
                <c:pt idx="113">
                  <c:v>0.875</c:v>
                </c:pt>
                <c:pt idx="114">
                  <c:v>0.86</c:v>
                </c:pt>
                <c:pt idx="115">
                  <c:v>0.829</c:v>
                </c:pt>
                <c:pt idx="116">
                  <c:v>0.935</c:v>
                </c:pt>
                <c:pt idx="117">
                  <c:v>0.942</c:v>
                </c:pt>
                <c:pt idx="118">
                  <c:v>0.955</c:v>
                </c:pt>
                <c:pt idx="119">
                  <c:v>0.925</c:v>
                </c:pt>
                <c:pt idx="120">
                  <c:v>0.883</c:v>
                </c:pt>
                <c:pt idx="121">
                  <c:v>0.917</c:v>
                </c:pt>
                <c:pt idx="122">
                  <c:v>0.897</c:v>
                </c:pt>
                <c:pt idx="123">
                  <c:v>0.908</c:v>
                </c:pt>
                <c:pt idx="124">
                  <c:v>0.885</c:v>
                </c:pt>
                <c:pt idx="125">
                  <c:v>0.865</c:v>
                </c:pt>
                <c:pt idx="126">
                  <c:v>0.848</c:v>
                </c:pt>
                <c:pt idx="127">
                  <c:v>0.854</c:v>
                </c:pt>
                <c:pt idx="128">
                  <c:v>0.847</c:v>
                </c:pt>
                <c:pt idx="129">
                  <c:v>0.912</c:v>
                </c:pt>
                <c:pt idx="130">
                  <c:v>0.902</c:v>
                </c:pt>
                <c:pt idx="131">
                  <c:v>0.982</c:v>
                </c:pt>
                <c:pt idx="132">
                  <c:v>0.954</c:v>
                </c:pt>
                <c:pt idx="133">
                  <c:v>0.861</c:v>
                </c:pt>
                <c:pt idx="134">
                  <c:v>0.624</c:v>
                </c:pt>
                <c:pt idx="135">
                  <c:v>0.933</c:v>
                </c:pt>
                <c:pt idx="136">
                  <c:v>0.695</c:v>
                </c:pt>
                <c:pt idx="137">
                  <c:v>0.857</c:v>
                </c:pt>
                <c:pt idx="138">
                  <c:v>0.872</c:v>
                </c:pt>
                <c:pt idx="139">
                  <c:v>0.868</c:v>
                </c:pt>
                <c:pt idx="140">
                  <c:v>0.946</c:v>
                </c:pt>
                <c:pt idx="141">
                  <c:v>0.968</c:v>
                </c:pt>
                <c:pt idx="142">
                  <c:v>0.939</c:v>
                </c:pt>
                <c:pt idx="143">
                  <c:v>0.939</c:v>
                </c:pt>
                <c:pt idx="144">
                  <c:v>0.839</c:v>
                </c:pt>
                <c:pt idx="145">
                  <c:v>0.718</c:v>
                </c:pt>
                <c:pt idx="146">
                  <c:v>0.842</c:v>
                </c:pt>
                <c:pt idx="147">
                  <c:v>0.98</c:v>
                </c:pt>
                <c:pt idx="148">
                  <c:v>0.845</c:v>
                </c:pt>
                <c:pt idx="149">
                  <c:v>0.959</c:v>
                </c:pt>
                <c:pt idx="150">
                  <c:v>0.757</c:v>
                </c:pt>
                <c:pt idx="151">
                  <c:v>0.891</c:v>
                </c:pt>
                <c:pt idx="152">
                  <c:v>0.804</c:v>
                </c:pt>
                <c:pt idx="153">
                  <c:v>0.658</c:v>
                </c:pt>
                <c:pt idx="154">
                  <c:v>0.841</c:v>
                </c:pt>
                <c:pt idx="155">
                  <c:v>0.923</c:v>
                </c:pt>
                <c:pt idx="156">
                  <c:v>0.921</c:v>
                </c:pt>
                <c:pt idx="157">
                  <c:v>0.9</c:v>
                </c:pt>
                <c:pt idx="158">
                  <c:v>0.519</c:v>
                </c:pt>
                <c:pt idx="159">
                  <c:v>0.785</c:v>
                </c:pt>
                <c:pt idx="160">
                  <c:v>0.947</c:v>
                </c:pt>
                <c:pt idx="161">
                  <c:v>0.893</c:v>
                </c:pt>
                <c:pt idx="162">
                  <c:v>0.841</c:v>
                </c:pt>
                <c:pt idx="163">
                  <c:v>0.836</c:v>
                </c:pt>
                <c:pt idx="164">
                  <c:v>0.763</c:v>
                </c:pt>
                <c:pt idx="165">
                  <c:v>0.763</c:v>
                </c:pt>
                <c:pt idx="166">
                  <c:v>0.422</c:v>
                </c:pt>
                <c:pt idx="167">
                  <c:v>0.973</c:v>
                </c:pt>
                <c:pt idx="168">
                  <c:v>0.766</c:v>
                </c:pt>
                <c:pt idx="169">
                  <c:v>0.938</c:v>
                </c:pt>
                <c:pt idx="170">
                  <c:v>0.828</c:v>
                </c:pt>
                <c:pt idx="171">
                  <c:v>0.59</c:v>
                </c:pt>
                <c:pt idx="172">
                  <c:v>0.783</c:v>
                </c:pt>
                <c:pt idx="173">
                  <c:v>0.861</c:v>
                </c:pt>
                <c:pt idx="174">
                  <c:v>0.737</c:v>
                </c:pt>
                <c:pt idx="175">
                  <c:v>0.758</c:v>
                </c:pt>
                <c:pt idx="176">
                  <c:v>0.756</c:v>
                </c:pt>
                <c:pt idx="177">
                  <c:v>0.572</c:v>
                </c:pt>
                <c:pt idx="178">
                  <c:v>0.736</c:v>
                </c:pt>
                <c:pt idx="179">
                  <c:v>0.86</c:v>
                </c:pt>
                <c:pt idx="180">
                  <c:v>0.555</c:v>
                </c:pt>
                <c:pt idx="181">
                  <c:v>0.864</c:v>
                </c:pt>
                <c:pt idx="182">
                  <c:v>0.427</c:v>
                </c:pt>
                <c:pt idx="183">
                  <c:v>0.87</c:v>
                </c:pt>
                <c:pt idx="184">
                  <c:v>0.249</c:v>
                </c:pt>
                <c:pt idx="185">
                  <c:v>0.672</c:v>
                </c:pt>
                <c:pt idx="186">
                  <c:v>0.94</c:v>
                </c:pt>
                <c:pt idx="187">
                  <c:v>0.785</c:v>
                </c:pt>
                <c:pt idx="188">
                  <c:v>0.851</c:v>
                </c:pt>
                <c:pt idx="189">
                  <c:v>0.576</c:v>
                </c:pt>
                <c:pt idx="190">
                  <c:v>0.635</c:v>
                </c:pt>
                <c:pt idx="191">
                  <c:v>0.864</c:v>
                </c:pt>
                <c:pt idx="192">
                  <c:v>0.81</c:v>
                </c:pt>
                <c:pt idx="193">
                  <c:v>0.771</c:v>
                </c:pt>
                <c:pt idx="194">
                  <c:v>0.469</c:v>
                </c:pt>
                <c:pt idx="195">
                  <c:v>0.453</c:v>
                </c:pt>
                <c:pt idx="196">
                  <c:v>0.76</c:v>
                </c:pt>
                <c:pt idx="197">
                  <c:v>0.671</c:v>
                </c:pt>
                <c:pt idx="198">
                  <c:v>0.863</c:v>
                </c:pt>
                <c:pt idx="199">
                  <c:v>0.257</c:v>
                </c:pt>
                <c:pt idx="200">
                  <c:v>0.595</c:v>
                </c:pt>
                <c:pt idx="201">
                  <c:v>0.833</c:v>
                </c:pt>
                <c:pt idx="202">
                  <c:v>0.841</c:v>
                </c:pt>
                <c:pt idx="203">
                  <c:v>0.837</c:v>
                </c:pt>
                <c:pt idx="204">
                  <c:v>0.924</c:v>
                </c:pt>
                <c:pt idx="205">
                  <c:v>0.819</c:v>
                </c:pt>
                <c:pt idx="206">
                  <c:v>0.773</c:v>
                </c:pt>
                <c:pt idx="207">
                  <c:v>0.341</c:v>
                </c:pt>
                <c:pt idx="208">
                  <c:v>0.715</c:v>
                </c:pt>
                <c:pt idx="209">
                  <c:v>0.443</c:v>
                </c:pt>
                <c:pt idx="210">
                  <c:v>0.659</c:v>
                </c:pt>
                <c:pt idx="211">
                  <c:v>0.808</c:v>
                </c:pt>
                <c:pt idx="212">
                  <c:v>0.886</c:v>
                </c:pt>
                <c:pt idx="213">
                  <c:v>0.679</c:v>
                </c:pt>
                <c:pt idx="214">
                  <c:v>0.539</c:v>
                </c:pt>
                <c:pt idx="215">
                  <c:v>0.599</c:v>
                </c:pt>
                <c:pt idx="216">
                  <c:v>0.71</c:v>
                </c:pt>
                <c:pt idx="217">
                  <c:v>0.603</c:v>
                </c:pt>
                <c:pt idx="218">
                  <c:v>0.451</c:v>
                </c:pt>
                <c:pt idx="219">
                  <c:v>0.402</c:v>
                </c:pt>
                <c:pt idx="220">
                  <c:v>0.381</c:v>
                </c:pt>
                <c:pt idx="221">
                  <c:v>0.885</c:v>
                </c:pt>
                <c:pt idx="222">
                  <c:v>0.36</c:v>
                </c:pt>
                <c:pt idx="223">
                  <c:v>0.86</c:v>
                </c:pt>
                <c:pt idx="224">
                  <c:v>0.845</c:v>
                </c:pt>
                <c:pt idx="225">
                  <c:v>0.247</c:v>
                </c:pt>
                <c:pt idx="226">
                  <c:v>0.672</c:v>
                </c:pt>
                <c:pt idx="227">
                  <c:v>0.318</c:v>
                </c:pt>
                <c:pt idx="228">
                  <c:v>0.252</c:v>
                </c:pt>
                <c:pt idx="229">
                  <c:v>0.71</c:v>
                </c:pt>
                <c:pt idx="230">
                  <c:v>0.699</c:v>
                </c:pt>
                <c:pt idx="231">
                  <c:v>0.826</c:v>
                </c:pt>
                <c:pt idx="232">
                  <c:v>0.477</c:v>
                </c:pt>
                <c:pt idx="233">
                  <c:v>0.062</c:v>
                </c:pt>
                <c:pt idx="234">
                  <c:v>0.339</c:v>
                </c:pt>
                <c:pt idx="235">
                  <c:v>0.925</c:v>
                </c:pt>
                <c:pt idx="236">
                  <c:v>0.255</c:v>
                </c:pt>
                <c:pt idx="237">
                  <c:v>0.776</c:v>
                </c:pt>
                <c:pt idx="238">
                  <c:v>0.175</c:v>
                </c:pt>
                <c:pt idx="239">
                  <c:v>0.669</c:v>
                </c:pt>
                <c:pt idx="240">
                  <c:v>0.653</c:v>
                </c:pt>
                <c:pt idx="241">
                  <c:v>0.876</c:v>
                </c:pt>
                <c:pt idx="242">
                  <c:v>0.14</c:v>
                </c:pt>
                <c:pt idx="243">
                  <c:v>0.109</c:v>
                </c:pt>
                <c:pt idx="244">
                  <c:v>0.823</c:v>
                </c:pt>
                <c:pt idx="245">
                  <c:v>0.817</c:v>
                </c:pt>
                <c:pt idx="246">
                  <c:v>0.673</c:v>
                </c:pt>
                <c:pt idx="247">
                  <c:v>0.895</c:v>
                </c:pt>
                <c:pt idx="248">
                  <c:v>0.221</c:v>
                </c:pt>
                <c:pt idx="249">
                  <c:v>0.375</c:v>
                </c:pt>
                <c:pt idx="250">
                  <c:v>0.147</c:v>
                </c:pt>
                <c:pt idx="251">
                  <c:v>0.36</c:v>
                </c:pt>
                <c:pt idx="252">
                  <c:v>0.204</c:v>
                </c:pt>
                <c:pt idx="253">
                  <c:v>0.551</c:v>
                </c:pt>
                <c:pt idx="254">
                  <c:v>0.177</c:v>
                </c:pt>
                <c:pt idx="255">
                  <c:v>0.146</c:v>
                </c:pt>
                <c:pt idx="256">
                  <c:v>0.608</c:v>
                </c:pt>
                <c:pt idx="257">
                  <c:v>0.322</c:v>
                </c:pt>
                <c:pt idx="258">
                  <c:v>0.438</c:v>
                </c:pt>
                <c:pt idx="259">
                  <c:v>0.136</c:v>
                </c:pt>
                <c:pt idx="260">
                  <c:v>0.397</c:v>
                </c:pt>
                <c:pt idx="261">
                  <c:v>0.739</c:v>
                </c:pt>
                <c:pt idx="262">
                  <c:v>0.207</c:v>
                </c:pt>
                <c:pt idx="263">
                  <c:v>0.179</c:v>
                </c:pt>
                <c:pt idx="264">
                  <c:v>0.862</c:v>
                </c:pt>
                <c:pt idx="265">
                  <c:v>0.301</c:v>
                </c:pt>
                <c:pt idx="266">
                  <c:v>0.845</c:v>
                </c:pt>
                <c:pt idx="267">
                  <c:v>0.057</c:v>
                </c:pt>
                <c:pt idx="268">
                  <c:v>0.229</c:v>
                </c:pt>
                <c:pt idx="269">
                  <c:v>0.42</c:v>
                </c:pt>
                <c:pt idx="270">
                  <c:v>0.801</c:v>
                </c:pt>
                <c:pt idx="271">
                  <c:v>0.544</c:v>
                </c:pt>
                <c:pt idx="272">
                  <c:v>0.285</c:v>
                </c:pt>
                <c:pt idx="273">
                  <c:v>0.254</c:v>
                </c:pt>
                <c:pt idx="274">
                  <c:v>0.119</c:v>
                </c:pt>
                <c:pt idx="275">
                  <c:v>0.534</c:v>
                </c:pt>
                <c:pt idx="276">
                  <c:v>0.567</c:v>
                </c:pt>
                <c:pt idx="277">
                  <c:v>0.673</c:v>
                </c:pt>
                <c:pt idx="278">
                  <c:v>0.395</c:v>
                </c:pt>
                <c:pt idx="279">
                  <c:v>0.148</c:v>
                </c:pt>
                <c:pt idx="280">
                  <c:v>0.241</c:v>
                </c:pt>
                <c:pt idx="281">
                  <c:v>0.147</c:v>
                </c:pt>
                <c:pt idx="282">
                  <c:v>0.082</c:v>
                </c:pt>
                <c:pt idx="283">
                  <c:v>0.175</c:v>
                </c:pt>
                <c:pt idx="284">
                  <c:v>0.66</c:v>
                </c:pt>
                <c:pt idx="285">
                  <c:v>0.776</c:v>
                </c:pt>
                <c:pt idx="286">
                  <c:v>0.214</c:v>
                </c:pt>
                <c:pt idx="287">
                  <c:v>0.193</c:v>
                </c:pt>
                <c:pt idx="288">
                  <c:v>0.307</c:v>
                </c:pt>
                <c:pt idx="289">
                  <c:v>0.092</c:v>
                </c:pt>
                <c:pt idx="290">
                  <c:v>0.046</c:v>
                </c:pt>
                <c:pt idx="291">
                  <c:v>0.093</c:v>
                </c:pt>
                <c:pt idx="292">
                  <c:v>0.028</c:v>
                </c:pt>
                <c:pt idx="293">
                  <c:v>0.142</c:v>
                </c:pt>
                <c:pt idx="294">
                  <c:v>0.098</c:v>
                </c:pt>
                <c:pt idx="295">
                  <c:v>0.325</c:v>
                </c:pt>
                <c:pt idx="296">
                  <c:v>0.803</c:v>
                </c:pt>
                <c:pt idx="297">
                  <c:v>0.169</c:v>
                </c:pt>
                <c:pt idx="298">
                  <c:v>0.093</c:v>
                </c:pt>
                <c:pt idx="299">
                  <c:v>0.261</c:v>
                </c:pt>
                <c:pt idx="300">
                  <c:v>0.571</c:v>
                </c:pt>
                <c:pt idx="301">
                  <c:v>0.585</c:v>
                </c:pt>
                <c:pt idx="302">
                  <c:v>0.172</c:v>
                </c:pt>
                <c:pt idx="303">
                  <c:v>0.067</c:v>
                </c:pt>
                <c:pt idx="304">
                  <c:v>0.081</c:v>
                </c:pt>
                <c:pt idx="305">
                  <c:v>0.061</c:v>
                </c:pt>
                <c:pt idx="306">
                  <c:v>0.29</c:v>
                </c:pt>
                <c:pt idx="307">
                  <c:v>0.06</c:v>
                </c:pt>
                <c:pt idx="308">
                  <c:v>0.213</c:v>
                </c:pt>
                <c:pt idx="309">
                  <c:v>0.12</c:v>
                </c:pt>
                <c:pt idx="310">
                  <c:v>0.075</c:v>
                </c:pt>
                <c:pt idx="311">
                  <c:v>0.072</c:v>
                </c:pt>
                <c:pt idx="312">
                  <c:v>0.546</c:v>
                </c:pt>
                <c:pt idx="313">
                  <c:v>0.258</c:v>
                </c:pt>
                <c:pt idx="314">
                  <c:v>0.075</c:v>
                </c:pt>
                <c:pt idx="315">
                  <c:v>0.015</c:v>
                </c:pt>
                <c:pt idx="316">
                  <c:v>0.121</c:v>
                </c:pt>
                <c:pt idx="317">
                  <c:v>0.154</c:v>
                </c:pt>
                <c:pt idx="318">
                  <c:v>0.039</c:v>
                </c:pt>
                <c:pt idx="319">
                  <c:v>0.112</c:v>
                </c:pt>
                <c:pt idx="320">
                  <c:v>0.065</c:v>
                </c:pt>
                <c:pt idx="321">
                  <c:v>0.09</c:v>
                </c:pt>
                <c:pt idx="322">
                  <c:v>0.117</c:v>
                </c:pt>
                <c:pt idx="323">
                  <c:v>0.049</c:v>
                </c:pt>
                <c:pt idx="324">
                  <c:v>0.31</c:v>
                </c:pt>
                <c:pt idx="325">
                  <c:v>0.414</c:v>
                </c:pt>
                <c:pt idx="326">
                  <c:v>0.021</c:v>
                </c:pt>
                <c:pt idx="327">
                  <c:v>0.087</c:v>
                </c:pt>
                <c:pt idx="328">
                  <c:v>0.104</c:v>
                </c:pt>
                <c:pt idx="329">
                  <c:v>0.037</c:v>
                </c:pt>
                <c:pt idx="330">
                  <c:v>0.687</c:v>
                </c:pt>
                <c:pt idx="331">
                  <c:v>0.01</c:v>
                </c:pt>
                <c:pt idx="332">
                  <c:v>0.25</c:v>
                </c:pt>
                <c:pt idx="333">
                  <c:v>0.034</c:v>
                </c:pt>
                <c:pt idx="334">
                  <c:v>0.015</c:v>
                </c:pt>
                <c:pt idx="335">
                  <c:v>0.093</c:v>
                </c:pt>
                <c:pt idx="336">
                  <c:v>0.427</c:v>
                </c:pt>
                <c:pt idx="337">
                  <c:v>0.022</c:v>
                </c:pt>
                <c:pt idx="338">
                  <c:v>0.035</c:v>
                </c:pt>
                <c:pt idx="339">
                  <c:v>0.032</c:v>
                </c:pt>
                <c:pt idx="340">
                  <c:v>0.402</c:v>
                </c:pt>
                <c:pt idx="341">
                  <c:v>0.155</c:v>
                </c:pt>
                <c:pt idx="342">
                  <c:v>0.199</c:v>
                </c:pt>
                <c:pt idx="343">
                  <c:v>0.004</c:v>
                </c:pt>
                <c:pt idx="344">
                  <c:v>0.045</c:v>
                </c:pt>
                <c:pt idx="345">
                  <c:v>0.046</c:v>
                </c:pt>
                <c:pt idx="346">
                  <c:v>0.104</c:v>
                </c:pt>
                <c:pt idx="347">
                  <c:v>0.118</c:v>
                </c:pt>
                <c:pt idx="348">
                  <c:v>0.159</c:v>
                </c:pt>
                <c:pt idx="349">
                  <c:v>0.07</c:v>
                </c:pt>
                <c:pt idx="350">
                  <c:v>0.042</c:v>
                </c:pt>
                <c:pt idx="351">
                  <c:v>0.091</c:v>
                </c:pt>
                <c:pt idx="352">
                  <c:v>0.235</c:v>
                </c:pt>
                <c:pt idx="353">
                  <c:v>0.082</c:v>
                </c:pt>
                <c:pt idx="354">
                  <c:v>0.054</c:v>
                </c:pt>
                <c:pt idx="355">
                  <c:v>0.064</c:v>
                </c:pt>
                <c:pt idx="356">
                  <c:v>0.084</c:v>
                </c:pt>
                <c:pt idx="357">
                  <c:v>0.116</c:v>
                </c:pt>
                <c:pt idx="358">
                  <c:v>0.661</c:v>
                </c:pt>
                <c:pt idx="359">
                  <c:v>0.034</c:v>
                </c:pt>
                <c:pt idx="360">
                  <c:v>0.389</c:v>
                </c:pt>
                <c:pt idx="361">
                  <c:v>0.046</c:v>
                </c:pt>
                <c:pt idx="362">
                  <c:v>0.009</c:v>
                </c:pt>
                <c:pt idx="363">
                  <c:v>0.231</c:v>
                </c:pt>
                <c:pt idx="364">
                  <c:v>0.04</c:v>
                </c:pt>
                <c:pt idx="365">
                  <c:v>0.074</c:v>
                </c:pt>
                <c:pt idx="366">
                  <c:v>0.014</c:v>
                </c:pt>
                <c:pt idx="367">
                  <c:v>0.075</c:v>
                </c:pt>
                <c:pt idx="368">
                  <c:v>0.4</c:v>
                </c:pt>
                <c:pt idx="369">
                  <c:v>0.17</c:v>
                </c:pt>
                <c:pt idx="370">
                  <c:v>0.019</c:v>
                </c:pt>
                <c:pt idx="371">
                  <c:v>0.013</c:v>
                </c:pt>
                <c:pt idx="372">
                  <c:v>0.604</c:v>
                </c:pt>
                <c:pt idx="373">
                  <c:v>0.114</c:v>
                </c:pt>
                <c:pt idx="374">
                  <c:v>0.14</c:v>
                </c:pt>
                <c:pt idx="375">
                  <c:v>0.022</c:v>
                </c:pt>
                <c:pt idx="376">
                  <c:v>0.014</c:v>
                </c:pt>
                <c:pt idx="377">
                  <c:v>0.098</c:v>
                </c:pt>
                <c:pt idx="378">
                  <c:v>0.06</c:v>
                </c:pt>
                <c:pt idx="379">
                  <c:v>0.077</c:v>
                </c:pt>
                <c:pt idx="380">
                  <c:v>0.312</c:v>
                </c:pt>
                <c:pt idx="381">
                  <c:v>0.067</c:v>
                </c:pt>
                <c:pt idx="382">
                  <c:v>0.027</c:v>
                </c:pt>
                <c:pt idx="383">
                  <c:v>0.357</c:v>
                </c:pt>
                <c:pt idx="384">
                  <c:v>0.056</c:v>
                </c:pt>
                <c:pt idx="385">
                  <c:v>0.089</c:v>
                </c:pt>
                <c:pt idx="386">
                  <c:v>0.087</c:v>
                </c:pt>
                <c:pt idx="387">
                  <c:v>0.089</c:v>
                </c:pt>
                <c:pt idx="388">
                  <c:v>0.04</c:v>
                </c:pt>
                <c:pt idx="389">
                  <c:v>0.013</c:v>
                </c:pt>
                <c:pt idx="390">
                  <c:v>0.082</c:v>
                </c:pt>
                <c:pt idx="391">
                  <c:v>0.12</c:v>
                </c:pt>
                <c:pt idx="392">
                  <c:v>0.075</c:v>
                </c:pt>
                <c:pt idx="393">
                  <c:v>0.095</c:v>
                </c:pt>
                <c:pt idx="394">
                  <c:v>0.082</c:v>
                </c:pt>
                <c:pt idx="395">
                  <c:v>0.003</c:v>
                </c:pt>
                <c:pt idx="396">
                  <c:v>0.026</c:v>
                </c:pt>
                <c:pt idx="397">
                  <c:v>0.276</c:v>
                </c:pt>
                <c:pt idx="398">
                  <c:v>0.255</c:v>
                </c:pt>
                <c:pt idx="399">
                  <c:v>0.003</c:v>
                </c:pt>
                <c:pt idx="400">
                  <c:v>0.01</c:v>
                </c:pt>
                <c:pt idx="401">
                  <c:v>0.03</c:v>
                </c:pt>
                <c:pt idx="402">
                  <c:v>0.09</c:v>
                </c:pt>
                <c:pt idx="403">
                  <c:v>0.044</c:v>
                </c:pt>
                <c:pt idx="404">
                  <c:v>0.09</c:v>
                </c:pt>
                <c:pt idx="405">
                  <c:v>0.103</c:v>
                </c:pt>
                <c:pt idx="406">
                  <c:v>0.125</c:v>
                </c:pt>
                <c:pt idx="407">
                  <c:v>0.037</c:v>
                </c:pt>
                <c:pt idx="408">
                  <c:v>0.028</c:v>
                </c:pt>
                <c:pt idx="409">
                  <c:v>0.136</c:v>
                </c:pt>
                <c:pt idx="410">
                  <c:v>0.075</c:v>
                </c:pt>
                <c:pt idx="411">
                  <c:v>0.067</c:v>
                </c:pt>
                <c:pt idx="412">
                  <c:v>0.156</c:v>
                </c:pt>
                <c:pt idx="413">
                  <c:v>0.334</c:v>
                </c:pt>
                <c:pt idx="414">
                  <c:v>0.018</c:v>
                </c:pt>
                <c:pt idx="415">
                  <c:v>0.01</c:v>
                </c:pt>
                <c:pt idx="416">
                  <c:v>0.072</c:v>
                </c:pt>
                <c:pt idx="417">
                  <c:v>0.001</c:v>
                </c:pt>
                <c:pt idx="418">
                  <c:v>0.372</c:v>
                </c:pt>
                <c:pt idx="419">
                  <c:v>0.069</c:v>
                </c:pt>
                <c:pt idx="420">
                  <c:v>0.014</c:v>
                </c:pt>
                <c:pt idx="421">
                  <c:v>0.079</c:v>
                </c:pt>
                <c:pt idx="422">
                  <c:v>0.022</c:v>
                </c:pt>
                <c:pt idx="423">
                  <c:v>0.04</c:v>
                </c:pt>
                <c:pt idx="424">
                  <c:v>0.111</c:v>
                </c:pt>
                <c:pt idx="425">
                  <c:v>0.068</c:v>
                </c:pt>
                <c:pt idx="426">
                  <c:v>0.044</c:v>
                </c:pt>
                <c:pt idx="427">
                  <c:v>0.011</c:v>
                </c:pt>
                <c:pt idx="428">
                  <c:v>0.004</c:v>
                </c:pt>
                <c:pt idx="429">
                  <c:v>0.051</c:v>
                </c:pt>
                <c:pt idx="430">
                  <c:v>0.12</c:v>
                </c:pt>
                <c:pt idx="431">
                  <c:v>0.094</c:v>
                </c:pt>
                <c:pt idx="432">
                  <c:v>0.008</c:v>
                </c:pt>
                <c:pt idx="433">
                  <c:v>0.014</c:v>
                </c:pt>
                <c:pt idx="434">
                  <c:v>0.01</c:v>
                </c:pt>
                <c:pt idx="435">
                  <c:v>0.014</c:v>
                </c:pt>
                <c:pt idx="436">
                  <c:v>0.009</c:v>
                </c:pt>
                <c:pt idx="437">
                  <c:v>0.016</c:v>
                </c:pt>
                <c:pt idx="438">
                  <c:v>0.017</c:v>
                </c:pt>
                <c:pt idx="439">
                  <c:v>0.012</c:v>
                </c:pt>
                <c:pt idx="440">
                  <c:v>0.013</c:v>
                </c:pt>
                <c:pt idx="441">
                  <c:v>0.022</c:v>
                </c:pt>
                <c:pt idx="442">
                  <c:v>0.029</c:v>
                </c:pt>
                <c:pt idx="443">
                  <c:v>0.003</c:v>
                </c:pt>
                <c:pt idx="444">
                  <c:v>0.103</c:v>
                </c:pt>
                <c:pt idx="445">
                  <c:v>0.014</c:v>
                </c:pt>
                <c:pt idx="446">
                  <c:v>0.035</c:v>
                </c:pt>
                <c:pt idx="447">
                  <c:v>0.189</c:v>
                </c:pt>
                <c:pt idx="448">
                  <c:v>0.052</c:v>
                </c:pt>
                <c:pt idx="449">
                  <c:v>0.067</c:v>
                </c:pt>
                <c:pt idx="450">
                  <c:v>0.009</c:v>
                </c:pt>
                <c:pt idx="451">
                  <c:v>0.01</c:v>
                </c:pt>
                <c:pt idx="452">
                  <c:v>0.009</c:v>
                </c:pt>
                <c:pt idx="453">
                  <c:v>0.03</c:v>
                </c:pt>
                <c:pt idx="454">
                  <c:v>0.013</c:v>
                </c:pt>
                <c:pt idx="455">
                  <c:v>0.009</c:v>
                </c:pt>
                <c:pt idx="456">
                  <c:v>0.133</c:v>
                </c:pt>
                <c:pt idx="457">
                  <c:v>0.025</c:v>
                </c:pt>
                <c:pt idx="458">
                  <c:v>0.028</c:v>
                </c:pt>
                <c:pt idx="459">
                  <c:v>0.009</c:v>
                </c:pt>
                <c:pt idx="460">
                  <c:v>0.023</c:v>
                </c:pt>
                <c:pt idx="461">
                  <c:v>0.029</c:v>
                </c:pt>
                <c:pt idx="462">
                  <c:v>0.113</c:v>
                </c:pt>
                <c:pt idx="463">
                  <c:v>0.103</c:v>
                </c:pt>
                <c:pt idx="464">
                  <c:v>0.028</c:v>
                </c:pt>
                <c:pt idx="465">
                  <c:v>0.019</c:v>
                </c:pt>
                <c:pt idx="466">
                  <c:v>0.015</c:v>
                </c:pt>
                <c:pt idx="467">
                  <c:v>0.023</c:v>
                </c:pt>
                <c:pt idx="468">
                  <c:v>0.12</c:v>
                </c:pt>
                <c:pt idx="469">
                  <c:v>0.001</c:v>
                </c:pt>
                <c:pt idx="470">
                  <c:v>0.019</c:v>
                </c:pt>
                <c:pt idx="471">
                  <c:v>0.01</c:v>
                </c:pt>
                <c:pt idx="472">
                  <c:v>0.078</c:v>
                </c:pt>
                <c:pt idx="473">
                  <c:v>0.03</c:v>
                </c:pt>
                <c:pt idx="474">
                  <c:v>0.01</c:v>
                </c:pt>
                <c:pt idx="475">
                  <c:v>0.271</c:v>
                </c:pt>
                <c:pt idx="476">
                  <c:v>0.01</c:v>
                </c:pt>
                <c:pt idx="477">
                  <c:v>0.01</c:v>
                </c:pt>
                <c:pt idx="478">
                  <c:v>0.021</c:v>
                </c:pt>
                <c:pt idx="479">
                  <c:v>0.001</c:v>
                </c:pt>
                <c:pt idx="480">
                  <c:v>0.022</c:v>
                </c:pt>
                <c:pt idx="481">
                  <c:v>0.025</c:v>
                </c:pt>
                <c:pt idx="482">
                  <c:v>0.038</c:v>
                </c:pt>
                <c:pt idx="483">
                  <c:v>0.074</c:v>
                </c:pt>
                <c:pt idx="484">
                  <c:v>0.01</c:v>
                </c:pt>
                <c:pt idx="485">
                  <c:v>0.011</c:v>
                </c:pt>
                <c:pt idx="486">
                  <c:v>0.009</c:v>
                </c:pt>
                <c:pt idx="487">
                  <c:v>0.011</c:v>
                </c:pt>
                <c:pt idx="488">
                  <c:v>0.019</c:v>
                </c:pt>
                <c:pt idx="489">
                  <c:v>0.087</c:v>
                </c:pt>
                <c:pt idx="490">
                  <c:v>0.01</c:v>
                </c:pt>
                <c:pt idx="491">
                  <c:v>0.008</c:v>
                </c:pt>
                <c:pt idx="492">
                  <c:v>0.046</c:v>
                </c:pt>
                <c:pt idx="493">
                  <c:v>0.009</c:v>
                </c:pt>
                <c:pt idx="494">
                  <c:v>0.043</c:v>
                </c:pt>
                <c:pt idx="495">
                  <c:v>0.001</c:v>
                </c:pt>
                <c:pt idx="496">
                  <c:v>0.01</c:v>
                </c:pt>
                <c:pt idx="497">
                  <c:v>0.001</c:v>
                </c:pt>
                <c:pt idx="498">
                  <c:v>0.015</c:v>
                </c:pt>
                <c:pt idx="499">
                  <c:v>0.01</c:v>
                </c:pt>
                <c:pt idx="500">
                  <c:v>0.009</c:v>
                </c:pt>
                <c:pt idx="501">
                  <c:v>0.061</c:v>
                </c:pt>
                <c:pt idx="502">
                  <c:v>0.018</c:v>
                </c:pt>
                <c:pt idx="503">
                  <c:v>0.014</c:v>
                </c:pt>
                <c:pt idx="504">
                  <c:v>0.031</c:v>
                </c:pt>
                <c:pt idx="505">
                  <c:v>0.01</c:v>
                </c:pt>
                <c:pt idx="506">
                  <c:v>0.013</c:v>
                </c:pt>
                <c:pt idx="507">
                  <c:v>0.014</c:v>
                </c:pt>
                <c:pt idx="508">
                  <c:v>0.004</c:v>
                </c:pt>
                <c:pt idx="509">
                  <c:v>0.013</c:v>
                </c:pt>
                <c:pt idx="510">
                  <c:v>0.012</c:v>
                </c:pt>
                <c:pt idx="511">
                  <c:v>0.017</c:v>
                </c:pt>
                <c:pt idx="512">
                  <c:v>0.019</c:v>
                </c:pt>
                <c:pt idx="513">
                  <c:v>0.001</c:v>
                </c:pt>
                <c:pt idx="514">
                  <c:v>0.055</c:v>
                </c:pt>
                <c:pt idx="515">
                  <c:v>0.001</c:v>
                </c:pt>
                <c:pt idx="516">
                  <c:v>0.02</c:v>
                </c:pt>
                <c:pt idx="517">
                  <c:v>0.01</c:v>
                </c:pt>
                <c:pt idx="518">
                  <c:v>0.009</c:v>
                </c:pt>
                <c:pt idx="519">
                  <c:v>0.011</c:v>
                </c:pt>
                <c:pt idx="520">
                  <c:v>0.048</c:v>
                </c:pt>
                <c:pt idx="521">
                  <c:v>0.011</c:v>
                </c:pt>
                <c:pt idx="522">
                  <c:v>0.022</c:v>
                </c:pt>
                <c:pt idx="523">
                  <c:v>0.005</c:v>
                </c:pt>
                <c:pt idx="524">
                  <c:v>0.015</c:v>
                </c:pt>
                <c:pt idx="525">
                  <c:v>0.001</c:v>
                </c:pt>
                <c:pt idx="526">
                  <c:v>0.019</c:v>
                </c:pt>
                <c:pt idx="527">
                  <c:v>0.018</c:v>
                </c:pt>
                <c:pt idx="528">
                  <c:v>0.041</c:v>
                </c:pt>
                <c:pt idx="529">
                  <c:v>0.004</c:v>
                </c:pt>
                <c:pt idx="530">
                  <c:v>0.02</c:v>
                </c:pt>
                <c:pt idx="531">
                  <c:v>0.042</c:v>
                </c:pt>
                <c:pt idx="532">
                  <c:v>0.001</c:v>
                </c:pt>
                <c:pt idx="533">
                  <c:v>0.009</c:v>
                </c:pt>
                <c:pt idx="534">
                  <c:v>0.019</c:v>
                </c:pt>
                <c:pt idx="535">
                  <c:v>0.01</c:v>
                </c:pt>
                <c:pt idx="536">
                  <c:v>0.032</c:v>
                </c:pt>
                <c:pt idx="537">
                  <c:v>0.016</c:v>
                </c:pt>
                <c:pt idx="538">
                  <c:v>0.01</c:v>
                </c:pt>
                <c:pt idx="539">
                  <c:v>0.024</c:v>
                </c:pt>
                <c:pt idx="540">
                  <c:v>0.024</c:v>
                </c:pt>
                <c:pt idx="541">
                  <c:v>0.015</c:v>
                </c:pt>
                <c:pt idx="542">
                  <c:v>0.015</c:v>
                </c:pt>
                <c:pt idx="543">
                  <c:v>0.008</c:v>
                </c:pt>
                <c:pt idx="544">
                  <c:v>0.004</c:v>
                </c:pt>
                <c:pt idx="545">
                  <c:v>0.004</c:v>
                </c:pt>
                <c:pt idx="546">
                  <c:v>0.009</c:v>
                </c:pt>
                <c:pt idx="547">
                  <c:v>0.027</c:v>
                </c:pt>
                <c:pt idx="548">
                  <c:v>0.009</c:v>
                </c:pt>
                <c:pt idx="549">
                  <c:v>0.035</c:v>
                </c:pt>
                <c:pt idx="550">
                  <c:v>0.005</c:v>
                </c:pt>
                <c:pt idx="551">
                  <c:v>0.021</c:v>
                </c:pt>
                <c:pt idx="552">
                  <c:v>0.03</c:v>
                </c:pt>
                <c:pt idx="553">
                  <c:v>0.01</c:v>
                </c:pt>
                <c:pt idx="554">
                  <c:v>0.015</c:v>
                </c:pt>
                <c:pt idx="555">
                  <c:v>0.022</c:v>
                </c:pt>
                <c:pt idx="556">
                  <c:v>0.012</c:v>
                </c:pt>
                <c:pt idx="557">
                  <c:v>0.007</c:v>
                </c:pt>
                <c:pt idx="558">
                  <c:v>0.013</c:v>
                </c:pt>
                <c:pt idx="559">
                  <c:v>0.008</c:v>
                </c:pt>
                <c:pt idx="560">
                  <c:v>0.012</c:v>
                </c:pt>
                <c:pt idx="561">
                  <c:v>0.003</c:v>
                </c:pt>
                <c:pt idx="562">
                  <c:v>0.013</c:v>
                </c:pt>
                <c:pt idx="563">
                  <c:v>0.025</c:v>
                </c:pt>
                <c:pt idx="564">
                  <c:v>0.003</c:v>
                </c:pt>
                <c:pt idx="565">
                  <c:v>0.003</c:v>
                </c:pt>
                <c:pt idx="566">
                  <c:v>0.011</c:v>
                </c:pt>
                <c:pt idx="567">
                  <c:v>0.012</c:v>
                </c:pt>
                <c:pt idx="568">
                  <c:v>0.112</c:v>
                </c:pt>
                <c:pt idx="569">
                  <c:v>0.013</c:v>
                </c:pt>
                <c:pt idx="570">
                  <c:v>0.001</c:v>
                </c:pt>
                <c:pt idx="571">
                  <c:v>0.002</c:v>
                </c:pt>
                <c:pt idx="572">
                  <c:v>0.008</c:v>
                </c:pt>
                <c:pt idx="573">
                  <c:v>0.001</c:v>
                </c:pt>
                <c:pt idx="574">
                  <c:v>0.007</c:v>
                </c:pt>
                <c:pt idx="575">
                  <c:v>0.003</c:v>
                </c:pt>
                <c:pt idx="576">
                  <c:v>0.045</c:v>
                </c:pt>
                <c:pt idx="577">
                  <c:v>0.008</c:v>
                </c:pt>
                <c:pt idx="578">
                  <c:v>0.009</c:v>
                </c:pt>
                <c:pt idx="579">
                  <c:v>0.002</c:v>
                </c:pt>
                <c:pt idx="580">
                  <c:v>0.014</c:v>
                </c:pt>
                <c:pt idx="581">
                  <c:v>0.03</c:v>
                </c:pt>
                <c:pt idx="582">
                  <c:v>0.03</c:v>
                </c:pt>
                <c:pt idx="583">
                  <c:v>0.009</c:v>
                </c:pt>
                <c:pt idx="584">
                  <c:v>0.01</c:v>
                </c:pt>
                <c:pt idx="585">
                  <c:v>0.005</c:v>
                </c:pt>
                <c:pt idx="586">
                  <c:v>0.005</c:v>
                </c:pt>
                <c:pt idx="587">
                  <c:v>0.008</c:v>
                </c:pt>
                <c:pt idx="588">
                  <c:v>0.015</c:v>
                </c:pt>
                <c:pt idx="589">
                  <c:v>0.004</c:v>
                </c:pt>
                <c:pt idx="590">
                  <c:v>0.008</c:v>
                </c:pt>
                <c:pt idx="591">
                  <c:v>0.014</c:v>
                </c:pt>
                <c:pt idx="592">
                  <c:v>0.008</c:v>
                </c:pt>
                <c:pt idx="593">
                  <c:v>0.01</c:v>
                </c:pt>
                <c:pt idx="594">
                  <c:v>0.001</c:v>
                </c:pt>
                <c:pt idx="595">
                  <c:v>0.002</c:v>
                </c:pt>
                <c:pt idx="596">
                  <c:v>0.023</c:v>
                </c:pt>
                <c:pt idx="597">
                  <c:v>0.008</c:v>
                </c:pt>
                <c:pt idx="598">
                  <c:v>0.013</c:v>
                </c:pt>
                <c:pt idx="599">
                  <c:v>0.001</c:v>
                </c:pt>
                <c:pt idx="600">
                  <c:v>0.02</c:v>
                </c:pt>
                <c:pt idx="601">
                  <c:v>0.008</c:v>
                </c:pt>
                <c:pt idx="602">
                  <c:v>0.003</c:v>
                </c:pt>
                <c:pt idx="603">
                  <c:v>0.01</c:v>
                </c:pt>
                <c:pt idx="604">
                  <c:v>0.01</c:v>
                </c:pt>
                <c:pt idx="605">
                  <c:v>0.005</c:v>
                </c:pt>
                <c:pt idx="606">
                  <c:v>0.001</c:v>
                </c:pt>
                <c:pt idx="607">
                  <c:v>0.001</c:v>
                </c:pt>
                <c:pt idx="608">
                  <c:v>0.008</c:v>
                </c:pt>
                <c:pt idx="609">
                  <c:v>0.003</c:v>
                </c:pt>
                <c:pt idx="610">
                  <c:v>0.001</c:v>
                </c:pt>
                <c:pt idx="611">
                  <c:v>0.001</c:v>
                </c:pt>
                <c:pt idx="612">
                  <c:v>0.003</c:v>
                </c:pt>
                <c:pt idx="613">
                  <c:v>0.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Item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7ECAC4"/>
              </a:solidFill>
            </c:spPr>
            <c:extLst>
              <c:ext xmlns:c16="http://schemas.microsoft.com/office/drawing/2014/chart" uri="{C3380CC4-5D6E-409C-BE32-E72D297353CC}">
                <c16:uniqueId val="{000000E7-2993-41DE-A2CB-63102DE87051}"/>
              </c:ext>
            </c:extLst>
          </c:dPt>
          <c:dPt>
            <c:idx val="115"/>
            <c:invertIfNegative val="1"/>
            <c:bubble3D val="0"/>
            <c:spPr>
              <a:solidFill>
                <a:srgbClr val="7ECAC4"/>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7ECAC4"/>
              </a:solidFill>
            </c:spPr>
            <c:extLst>
              <c:ext xmlns:c16="http://schemas.microsoft.com/office/drawing/2014/chart" uri="{C3380CC4-5D6E-409C-BE32-E72D297353CC}">
                <c16:uniqueId val="{0000015D-2993-41DE-A2CB-63102DE87051}"/>
              </c:ext>
            </c:extLst>
          </c:dPt>
          <c:dPt>
            <c:idx val="174"/>
            <c:invertIfNegative val="1"/>
            <c:bubble3D val="0"/>
            <c:spPr>
              <a:solidFill>
                <a:srgbClr val="7ECAC4"/>
              </a:solidFill>
            </c:spPr>
            <c:extLst>
              <c:ext xmlns:c16="http://schemas.microsoft.com/office/drawing/2014/chart" uri="{C3380CC4-5D6E-409C-BE32-E72D297353CC}">
                <c16:uniqueId val="{0000015F-2993-41DE-A2CB-63102DE87051}"/>
              </c:ext>
            </c:extLst>
          </c:dPt>
          <c:dPt>
            <c:idx val="175"/>
            <c:invertIfNegative val="1"/>
            <c:bubble3D val="0"/>
            <c:spPr>
              <a:solidFill>
                <a:srgbClr val="7ECAC4"/>
              </a:solidFill>
            </c:spPr>
            <c:extLst>
              <c:ext xmlns:c16="http://schemas.microsoft.com/office/drawing/2014/chart" uri="{C3380CC4-5D6E-409C-BE32-E72D297353CC}">
                <c16:uniqueId val="{00000161-2993-41DE-A2CB-63102DE87051}"/>
              </c:ext>
            </c:extLst>
          </c:dPt>
          <c:dPt>
            <c:idx val="176"/>
            <c:invertIfNegative val="1"/>
            <c:bubble3D val="0"/>
            <c:spPr>
              <a:solidFill>
                <a:srgbClr val="7ECAC4"/>
              </a:solidFill>
            </c:spPr>
            <c:extLst>
              <c:ext xmlns:c16="http://schemas.microsoft.com/office/drawing/2014/chart" uri="{C3380CC4-5D6E-409C-BE32-E72D297353CC}">
                <c16:uniqueId val="{00000163-2993-41DE-A2CB-63102DE87051}"/>
              </c:ext>
            </c:extLst>
          </c:dPt>
          <c:dPt>
            <c:idx val="177"/>
            <c:invertIfNegative val="1"/>
            <c:bubble3D val="0"/>
            <c:spPr>
              <a:solidFill>
                <a:srgbClr val="7ECAC4"/>
              </a:solidFill>
            </c:spPr>
            <c:extLst>
              <c:ext xmlns:c16="http://schemas.microsoft.com/office/drawing/2014/chart" uri="{C3380CC4-5D6E-409C-BE32-E72D297353CC}">
                <c16:uniqueId val="{00000165-2993-41DE-A2CB-63102DE87051}"/>
              </c:ext>
            </c:extLst>
          </c:dPt>
          <c:dPt>
            <c:idx val="178"/>
            <c:invertIfNegative val="1"/>
            <c:bubble3D val="0"/>
            <c:spPr>
              <a:solidFill>
                <a:srgbClr val="7ECAC4"/>
              </a:solidFill>
            </c:spPr>
            <c:extLst>
              <c:ext xmlns:c16="http://schemas.microsoft.com/office/drawing/2014/chart" uri="{C3380CC4-5D6E-409C-BE32-E72D297353CC}">
                <c16:uniqueId val="{00000167-2993-41DE-A2CB-63102DE87051}"/>
              </c:ext>
            </c:extLst>
          </c:dPt>
          <c:dPt>
            <c:idx val="179"/>
            <c:invertIfNegative val="1"/>
            <c:bubble3D val="0"/>
            <c:spPr>
              <a:solidFill>
                <a:srgbClr val="7ECAC4"/>
              </a:solidFill>
            </c:spPr>
            <c:extLst>
              <c:ext xmlns:c16="http://schemas.microsoft.com/office/drawing/2014/chart" uri="{C3380CC4-5D6E-409C-BE32-E72D297353CC}">
                <c16:uniqueId val="{00000169-2993-41DE-A2CB-63102DE87051}"/>
              </c:ext>
            </c:extLst>
          </c:dPt>
          <c:dPt>
            <c:idx val="180"/>
            <c:invertIfNegative val="1"/>
            <c:bubble3D val="0"/>
            <c:spPr>
              <a:solidFill>
                <a:srgbClr val="7ECAC4"/>
              </a:solidFill>
            </c:spPr>
            <c:extLst>
              <c:ext xmlns:c16="http://schemas.microsoft.com/office/drawing/2014/chart" uri="{C3380CC4-5D6E-409C-BE32-E72D297353CC}">
                <c16:uniqueId val="{0000016B-2993-41DE-A2CB-63102DE87051}"/>
              </c:ext>
            </c:extLst>
          </c:dPt>
          <c:dPt>
            <c:idx val="181"/>
            <c:invertIfNegative val="1"/>
            <c:bubble3D val="0"/>
            <c:spPr>
              <a:solidFill>
                <a:srgbClr val="7ECAC4"/>
              </a:solidFill>
            </c:spPr>
            <c:extLst>
              <c:ext xmlns:c16="http://schemas.microsoft.com/office/drawing/2014/chart" uri="{C3380CC4-5D6E-409C-BE32-E72D297353CC}">
                <c16:uniqueId val="{0000016D-2993-41DE-A2CB-63102DE87051}"/>
              </c:ext>
            </c:extLst>
          </c:dPt>
          <c:dPt>
            <c:idx val="182"/>
            <c:invertIfNegative val="1"/>
            <c:bubble3D val="0"/>
            <c:spPr>
              <a:solidFill>
                <a:srgbClr val="7ECAC4"/>
              </a:solidFill>
            </c:spPr>
            <c:extLst>
              <c:ext xmlns:c16="http://schemas.microsoft.com/office/drawing/2014/chart" uri="{C3380CC4-5D6E-409C-BE32-E72D297353CC}">
                <c16:uniqueId val="{0000016F-2993-41DE-A2CB-63102DE87051}"/>
              </c:ext>
            </c:extLst>
          </c:dPt>
          <c:dPt>
            <c:idx val="183"/>
            <c:invertIfNegative val="1"/>
            <c:bubble3D val="0"/>
            <c:spPr>
              <a:solidFill>
                <a:srgbClr val="7ECAC4"/>
              </a:solidFill>
            </c:spPr>
            <c:extLst>
              <c:ext xmlns:c16="http://schemas.microsoft.com/office/drawing/2014/chart" uri="{C3380CC4-5D6E-409C-BE32-E72D297353CC}">
                <c16:uniqueId val="{00000171-2993-41DE-A2CB-63102DE87051}"/>
              </c:ext>
            </c:extLst>
          </c:dPt>
          <c:dPt>
            <c:idx val="184"/>
            <c:invertIfNegative val="1"/>
            <c:bubble3D val="0"/>
            <c:spPr>
              <a:solidFill>
                <a:srgbClr val="7ECAC4"/>
              </a:solidFill>
            </c:spPr>
            <c:extLst>
              <c:ext xmlns:c16="http://schemas.microsoft.com/office/drawing/2014/chart" uri="{C3380CC4-5D6E-409C-BE32-E72D297353CC}">
                <c16:uniqueId val="{00000173-2993-41DE-A2CB-63102DE87051}"/>
              </c:ext>
            </c:extLst>
          </c:dPt>
          <c:dPt>
            <c:idx val="185"/>
            <c:invertIfNegative val="1"/>
            <c:bubble3D val="0"/>
            <c:spPr>
              <a:solidFill>
                <a:srgbClr val="7ECAC4"/>
              </a:solidFill>
            </c:spPr>
            <c:extLst>
              <c:ext xmlns:c16="http://schemas.microsoft.com/office/drawing/2014/chart" uri="{C3380CC4-5D6E-409C-BE32-E72D297353CC}">
                <c16:uniqueId val="{00000175-2993-41DE-A2CB-63102DE87051}"/>
              </c:ext>
            </c:extLst>
          </c:dPt>
          <c:dPt>
            <c:idx val="186"/>
            <c:invertIfNegative val="1"/>
            <c:bubble3D val="0"/>
            <c:spPr>
              <a:solidFill>
                <a:srgbClr val="7ECAC4"/>
              </a:solidFill>
            </c:spPr>
            <c:extLst>
              <c:ext xmlns:c16="http://schemas.microsoft.com/office/drawing/2014/chart" uri="{C3380CC4-5D6E-409C-BE32-E72D297353CC}">
                <c16:uniqueId val="{00000177-2993-41DE-A2CB-63102DE87051}"/>
              </c:ext>
            </c:extLst>
          </c:dPt>
          <c:dPt>
            <c:idx val="187"/>
            <c:invertIfNegative val="1"/>
            <c:bubble3D val="0"/>
            <c:spPr>
              <a:solidFill>
                <a:srgbClr val="7ECAC4"/>
              </a:solidFill>
            </c:spPr>
            <c:extLst>
              <c:ext xmlns:c16="http://schemas.microsoft.com/office/drawing/2014/chart" uri="{C3380CC4-5D6E-409C-BE32-E72D297353CC}">
                <c16:uniqueId val="{00000179-2993-41DE-A2CB-63102DE87051}"/>
              </c:ext>
            </c:extLst>
          </c:dPt>
          <c:dPt>
            <c:idx val="188"/>
            <c:invertIfNegative val="1"/>
            <c:bubble3D val="0"/>
            <c:spPr>
              <a:solidFill>
                <a:srgbClr val="7ECAC4"/>
              </a:solidFill>
            </c:spPr>
            <c:extLst>
              <c:ext xmlns:c16="http://schemas.microsoft.com/office/drawing/2014/chart" uri="{C3380CC4-5D6E-409C-BE32-E72D297353CC}">
                <c16:uniqueId val="{0000017B-2993-41DE-A2CB-63102DE87051}"/>
              </c:ext>
            </c:extLst>
          </c:dPt>
          <c:dPt>
            <c:idx val="189"/>
            <c:invertIfNegative val="1"/>
            <c:bubble3D val="0"/>
            <c:spPr>
              <a:solidFill>
                <a:srgbClr val="7ECAC4"/>
              </a:solidFill>
            </c:spPr>
            <c:extLst>
              <c:ext xmlns:c16="http://schemas.microsoft.com/office/drawing/2014/chart" uri="{C3380CC4-5D6E-409C-BE32-E72D297353CC}">
                <c16:uniqueId val="{0000017D-2993-41DE-A2CB-63102DE87051}"/>
              </c:ext>
            </c:extLst>
          </c:dPt>
          <c:dPt>
            <c:idx val="190"/>
            <c:invertIfNegative val="1"/>
            <c:bubble3D val="0"/>
            <c:spPr>
              <a:solidFill>
                <a:srgbClr val="7ECAC4"/>
              </a:solidFill>
            </c:spPr>
            <c:extLst>
              <c:ext xmlns:c16="http://schemas.microsoft.com/office/drawing/2014/chart" uri="{C3380CC4-5D6E-409C-BE32-E72D297353CC}">
                <c16:uniqueId val="{0000017F-2993-41DE-A2CB-63102DE87051}"/>
              </c:ext>
            </c:extLst>
          </c:dPt>
          <c:dPt>
            <c:idx val="191"/>
            <c:invertIfNegative val="1"/>
            <c:bubble3D val="0"/>
            <c:spPr>
              <a:solidFill>
                <a:srgbClr val="7ECAC4"/>
              </a:solidFill>
            </c:spPr>
            <c:extLst>
              <c:ext xmlns:c16="http://schemas.microsoft.com/office/drawing/2014/chart" uri="{C3380CC4-5D6E-409C-BE32-E72D297353CC}">
                <c16:uniqueId val="{00000181-2993-41DE-A2CB-63102DE87051}"/>
              </c:ext>
            </c:extLst>
          </c:dPt>
          <c:dPt>
            <c:idx val="192"/>
            <c:invertIfNegative val="1"/>
            <c:bubble3D val="0"/>
            <c:spPr>
              <a:solidFill>
                <a:srgbClr val="7ECAC4"/>
              </a:solidFill>
            </c:spPr>
            <c:extLst>
              <c:ext xmlns:c16="http://schemas.microsoft.com/office/drawing/2014/chart" uri="{C3380CC4-5D6E-409C-BE32-E72D297353CC}">
                <c16:uniqueId val="{00000183-2993-41DE-A2CB-63102DE87051}"/>
              </c:ext>
            </c:extLst>
          </c:dPt>
          <c:dPt>
            <c:idx val="193"/>
            <c:invertIfNegative val="1"/>
            <c:bubble3D val="0"/>
            <c:spPr>
              <a:solidFill>
                <a:srgbClr val="7ECAC4"/>
              </a:solidFill>
            </c:spPr>
            <c:extLst>
              <c:ext xmlns:c16="http://schemas.microsoft.com/office/drawing/2014/chart" uri="{C3380CC4-5D6E-409C-BE32-E72D297353CC}">
                <c16:uniqueId val="{00000185-2993-41DE-A2CB-63102DE87051}"/>
              </c:ext>
            </c:extLst>
          </c:dPt>
          <c:dPt>
            <c:idx val="194"/>
            <c:invertIfNegative val="1"/>
            <c:bubble3D val="0"/>
            <c:spPr>
              <a:solidFill>
                <a:srgbClr val="7ECAC4"/>
              </a:solidFill>
            </c:spPr>
            <c:extLst>
              <c:ext xmlns:c16="http://schemas.microsoft.com/office/drawing/2014/chart" uri="{C3380CC4-5D6E-409C-BE32-E72D297353CC}">
                <c16:uniqueId val="{00000187-2993-41DE-A2CB-63102DE87051}"/>
              </c:ext>
            </c:extLst>
          </c:dPt>
          <c:dPt>
            <c:idx val="195"/>
            <c:invertIfNegative val="1"/>
            <c:bubble3D val="0"/>
            <c:spPr>
              <a:solidFill>
                <a:srgbClr val="7ECAC4"/>
              </a:solidFill>
            </c:spPr>
            <c:extLst>
              <c:ext xmlns:c16="http://schemas.microsoft.com/office/drawing/2014/chart" uri="{C3380CC4-5D6E-409C-BE32-E72D297353CC}">
                <c16:uniqueId val="{00000189-2993-41DE-A2CB-63102DE87051}"/>
              </c:ext>
            </c:extLst>
          </c:dPt>
          <c:dPt>
            <c:idx val="196"/>
            <c:invertIfNegative val="1"/>
            <c:bubble3D val="0"/>
            <c:spPr>
              <a:solidFill>
                <a:srgbClr val="7ECAC4"/>
              </a:solidFill>
            </c:spPr>
            <c:extLst>
              <c:ext xmlns:c16="http://schemas.microsoft.com/office/drawing/2014/chart" uri="{C3380CC4-5D6E-409C-BE32-E72D297353CC}">
                <c16:uniqueId val="{0000018B-2993-41DE-A2CB-63102DE87051}"/>
              </c:ext>
            </c:extLst>
          </c:dPt>
          <c:dPt>
            <c:idx val="197"/>
            <c:invertIfNegative val="1"/>
            <c:bubble3D val="0"/>
            <c:spPr>
              <a:solidFill>
                <a:srgbClr val="7ECAC4"/>
              </a:solidFill>
            </c:spPr>
            <c:extLst>
              <c:ext xmlns:c16="http://schemas.microsoft.com/office/drawing/2014/chart" uri="{C3380CC4-5D6E-409C-BE32-E72D297353CC}">
                <c16:uniqueId val="{0000018D-2993-41DE-A2CB-63102DE87051}"/>
              </c:ext>
            </c:extLst>
          </c:dPt>
          <c:dPt>
            <c:idx val="198"/>
            <c:invertIfNegative val="1"/>
            <c:bubble3D val="0"/>
            <c:spPr>
              <a:solidFill>
                <a:srgbClr val="7ECAC4"/>
              </a:solidFill>
            </c:spPr>
            <c:extLst>
              <c:ext xmlns:c16="http://schemas.microsoft.com/office/drawing/2014/chart" uri="{C3380CC4-5D6E-409C-BE32-E72D297353CC}">
                <c16:uniqueId val="{0000018F-2993-41DE-A2CB-63102DE87051}"/>
              </c:ext>
            </c:extLst>
          </c:dPt>
          <c:dPt>
            <c:idx val="199"/>
            <c:invertIfNegative val="1"/>
            <c:bubble3D val="0"/>
            <c:spPr>
              <a:solidFill>
                <a:srgbClr val="7ECAC4"/>
              </a:solidFill>
            </c:spPr>
            <c:extLst>
              <c:ext xmlns:c16="http://schemas.microsoft.com/office/drawing/2014/chart" uri="{C3380CC4-5D6E-409C-BE32-E72D297353CC}">
                <c16:uniqueId val="{00000191-2993-41DE-A2CB-63102DE87051}"/>
              </c:ext>
            </c:extLst>
          </c:dPt>
          <c:dPt>
            <c:idx val="200"/>
            <c:invertIfNegative val="1"/>
            <c:bubble3D val="0"/>
            <c:spPr>
              <a:solidFill>
                <a:srgbClr val="7ECAC4"/>
              </a:solidFill>
            </c:spPr>
            <c:extLst>
              <c:ext xmlns:c16="http://schemas.microsoft.com/office/drawing/2014/chart" uri="{C3380CC4-5D6E-409C-BE32-E72D297353CC}">
                <c16:uniqueId val="{00000193-2993-41DE-A2CB-63102DE87051}"/>
              </c:ext>
            </c:extLst>
          </c:dPt>
          <c:dPt>
            <c:idx val="201"/>
            <c:invertIfNegative val="1"/>
            <c:bubble3D val="0"/>
            <c:spPr>
              <a:solidFill>
                <a:srgbClr val="7ECAC4"/>
              </a:solidFill>
            </c:spPr>
            <c:extLst>
              <c:ext xmlns:c16="http://schemas.microsoft.com/office/drawing/2014/chart" uri="{C3380CC4-5D6E-409C-BE32-E72D297353CC}">
                <c16:uniqueId val="{00000195-2993-41DE-A2CB-63102DE87051}"/>
              </c:ext>
            </c:extLst>
          </c:dPt>
          <c:dPt>
            <c:idx val="202"/>
            <c:invertIfNegative val="1"/>
            <c:bubble3D val="0"/>
            <c:spPr>
              <a:solidFill>
                <a:srgbClr val="7ECAC4"/>
              </a:solidFill>
            </c:spPr>
            <c:extLst>
              <c:ext xmlns:c16="http://schemas.microsoft.com/office/drawing/2014/chart" uri="{C3380CC4-5D6E-409C-BE32-E72D297353CC}">
                <c16:uniqueId val="{00000197-2993-41DE-A2CB-63102DE87051}"/>
              </c:ext>
            </c:extLst>
          </c:dPt>
          <c:dPt>
            <c:idx val="203"/>
            <c:invertIfNegative val="1"/>
            <c:bubble3D val="0"/>
            <c:spPr>
              <a:solidFill>
                <a:srgbClr val="7ECAC4"/>
              </a:solidFill>
            </c:spPr>
            <c:extLst>
              <c:ext xmlns:c16="http://schemas.microsoft.com/office/drawing/2014/chart" uri="{C3380CC4-5D6E-409C-BE32-E72D297353CC}">
                <c16:uniqueId val="{00000199-2993-41DE-A2CB-63102DE87051}"/>
              </c:ext>
            </c:extLst>
          </c:dPt>
          <c:dPt>
            <c:idx val="204"/>
            <c:invertIfNegative val="1"/>
            <c:bubble3D val="0"/>
            <c:spPr>
              <a:solidFill>
                <a:srgbClr val="7ECAC4"/>
              </a:solidFill>
            </c:spPr>
            <c:extLst>
              <c:ext xmlns:c16="http://schemas.microsoft.com/office/drawing/2014/chart" uri="{C3380CC4-5D6E-409C-BE32-E72D297353CC}">
                <c16:uniqueId val="{0000019B-2993-41DE-A2CB-63102DE87051}"/>
              </c:ext>
            </c:extLst>
          </c:dPt>
          <c:dPt>
            <c:idx val="205"/>
            <c:invertIfNegative val="1"/>
            <c:bubble3D val="0"/>
            <c:spPr>
              <a:solidFill>
                <a:srgbClr val="7ECAC4"/>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dPt>
            <c:idx val="210"/>
            <c:spPr>
              <a:solidFill>
                <a:srgbClr val="AEABAB"/>
              </a:solidFill>
            </c:spPr>
          </c:dPt>
          <c:dPt>
            <c:idx val="211"/>
            <c:spPr>
              <a:solidFill>
                <a:srgbClr val="AEABAB"/>
              </a:solidFill>
            </c:spPr>
          </c:dPt>
          <c:dPt>
            <c:idx val="212"/>
            <c:spPr>
              <a:solidFill>
                <a:srgbClr val="AEABAB"/>
              </a:solidFill>
            </c:spPr>
          </c:dPt>
          <c:dPt>
            <c:idx val="213"/>
            <c:spPr>
              <a:solidFill>
                <a:srgbClr val="AEABAB"/>
              </a:solidFill>
            </c:spPr>
          </c:dPt>
          <c:dPt>
            <c:idx val="214"/>
            <c:spPr>
              <a:solidFill>
                <a:srgbClr val="AEABAB"/>
              </a:solidFill>
            </c:spPr>
          </c:dPt>
          <c:dPt>
            <c:idx val="215"/>
            <c:spPr>
              <a:solidFill>
                <a:srgbClr val="AEABAB"/>
              </a:solidFill>
            </c:spPr>
          </c:dPt>
          <c:dPt>
            <c:idx val="216"/>
            <c:spPr>
              <a:solidFill>
                <a:srgbClr val="AEABAB"/>
              </a:solidFill>
            </c:spPr>
          </c:dPt>
          <c:dPt>
            <c:idx val="217"/>
            <c:spPr>
              <a:solidFill>
                <a:srgbClr val="AEABAB"/>
              </a:solidFill>
            </c:spPr>
          </c:dPt>
          <c:dPt>
            <c:idx val="218"/>
            <c:spPr>
              <a:solidFill>
                <a:srgbClr val="AEABAB"/>
              </a:solidFill>
            </c:spPr>
          </c:dPt>
          <c:dPt>
            <c:idx val="219"/>
            <c:spPr>
              <a:solidFill>
                <a:srgbClr val="AEABAB"/>
              </a:solidFill>
            </c:spPr>
          </c:dPt>
          <c:dPt>
            <c:idx val="220"/>
            <c:spPr>
              <a:solidFill>
                <a:srgbClr val="AEABAB"/>
              </a:solidFill>
            </c:spPr>
          </c:dPt>
          <c:dPt>
            <c:idx val="221"/>
            <c:spPr>
              <a:solidFill>
                <a:srgbClr val="AEABAB"/>
              </a:solidFill>
            </c:spPr>
          </c:dPt>
          <c:dPt>
            <c:idx val="222"/>
            <c:spPr>
              <a:solidFill>
                <a:srgbClr val="AEABAB"/>
              </a:solidFill>
            </c:spPr>
          </c:dPt>
          <c:dPt>
            <c:idx val="223"/>
            <c:spPr>
              <a:solidFill>
                <a:srgbClr val="AEABAB"/>
              </a:solidFill>
            </c:spPr>
          </c:dPt>
          <c:dPt>
            <c:idx val="224"/>
            <c:spPr>
              <a:solidFill>
                <a:srgbClr val="AEABAB"/>
              </a:solidFill>
            </c:spPr>
          </c:dPt>
          <c:dPt>
            <c:idx val="225"/>
            <c:spPr>
              <a:solidFill>
                <a:srgbClr val="AEABAB"/>
              </a:solidFill>
            </c:spPr>
          </c:dPt>
          <c:dPt>
            <c:idx val="226"/>
            <c:spPr>
              <a:solidFill>
                <a:srgbClr val="AEABAB"/>
              </a:solidFill>
            </c:spPr>
          </c:dPt>
          <c:dPt>
            <c:idx val="227"/>
            <c:spPr>
              <a:solidFill>
                <a:srgbClr val="AEABAB"/>
              </a:solidFill>
            </c:spPr>
          </c:dPt>
          <c:dPt>
            <c:idx val="228"/>
            <c:spPr>
              <a:solidFill>
                <a:srgbClr val="AEABAB"/>
              </a:solidFill>
            </c:spPr>
          </c:dPt>
          <c:dPt>
            <c:idx val="229"/>
            <c:spPr>
              <a:solidFill>
                <a:srgbClr val="AEABAB"/>
              </a:solidFill>
            </c:spPr>
          </c:dPt>
          <c:dPt>
            <c:idx val="230"/>
            <c:spPr>
              <a:solidFill>
                <a:srgbClr val="AEABAB"/>
              </a:solidFill>
            </c:spPr>
          </c:dPt>
          <c:dPt>
            <c:idx val="231"/>
            <c:spPr>
              <a:solidFill>
                <a:srgbClr val="AEABAB"/>
              </a:solidFill>
            </c:spPr>
          </c:dPt>
          <c:dPt>
            <c:idx val="232"/>
            <c:spPr>
              <a:solidFill>
                <a:srgbClr val="AEABAB"/>
              </a:solidFill>
            </c:spPr>
          </c:dPt>
          <c:dPt>
            <c:idx val="233"/>
            <c:spPr>
              <a:solidFill>
                <a:srgbClr val="AEABAB"/>
              </a:solidFill>
            </c:spPr>
          </c:dPt>
          <c:dPt>
            <c:idx val="234"/>
            <c:spPr>
              <a:solidFill>
                <a:srgbClr val="AEABAB"/>
              </a:solidFill>
            </c:spPr>
          </c:dPt>
          <c:dPt>
            <c:idx val="235"/>
            <c:spPr>
              <a:solidFill>
                <a:srgbClr val="AEABAB"/>
              </a:solidFill>
            </c:spPr>
          </c:dPt>
          <c:dPt>
            <c:idx val="236"/>
            <c:spPr>
              <a:solidFill>
                <a:srgbClr val="AEABAB"/>
              </a:solidFill>
            </c:spPr>
          </c:dPt>
          <c:dPt>
            <c:idx val="237"/>
            <c:spPr>
              <a:solidFill>
                <a:srgbClr val="AEABAB"/>
              </a:solidFill>
            </c:spPr>
          </c:dPt>
          <c:dPt>
            <c:idx val="238"/>
            <c:spPr>
              <a:solidFill>
                <a:srgbClr val="AEABAB"/>
              </a:solidFill>
            </c:spPr>
          </c:dPt>
          <c:dPt>
            <c:idx val="239"/>
            <c:spPr>
              <a:solidFill>
                <a:srgbClr val="AEABAB"/>
              </a:solidFill>
            </c:spPr>
          </c:dPt>
          <c:dPt>
            <c:idx val="240"/>
            <c:spPr>
              <a:solidFill>
                <a:srgbClr val="AEABAB"/>
              </a:solidFill>
            </c:spPr>
          </c:dPt>
          <c:dPt>
            <c:idx val="241"/>
            <c:spPr>
              <a:solidFill>
                <a:srgbClr val="AEABAB"/>
              </a:solidFill>
            </c:spPr>
          </c:dPt>
          <c:dPt>
            <c:idx val="242"/>
            <c:spPr>
              <a:solidFill>
                <a:srgbClr val="AEABAB"/>
              </a:solidFill>
            </c:spPr>
          </c:dPt>
          <c:dPt>
            <c:idx val="243"/>
            <c:spPr>
              <a:solidFill>
                <a:srgbClr val="AEABAB"/>
              </a:solidFill>
            </c:spPr>
          </c:dPt>
          <c:dPt>
            <c:idx val="244"/>
            <c:spPr>
              <a:solidFill>
                <a:srgbClr val="AEABAB"/>
              </a:solidFill>
            </c:spPr>
          </c:dPt>
          <c:dPt>
            <c:idx val="245"/>
            <c:spPr>
              <a:solidFill>
                <a:srgbClr val="AEABAB"/>
              </a:solidFill>
            </c:spPr>
          </c:dPt>
          <c:dPt>
            <c:idx val="246"/>
            <c:spPr>
              <a:solidFill>
                <a:srgbClr val="AEABAB"/>
              </a:solidFill>
            </c:spPr>
          </c:dPt>
          <c:dPt>
            <c:idx val="247"/>
            <c:spPr>
              <a:solidFill>
                <a:srgbClr val="AEABAB"/>
              </a:solidFill>
            </c:spPr>
          </c:dPt>
          <c:dPt>
            <c:idx val="248"/>
            <c:spPr>
              <a:solidFill>
                <a:srgbClr val="AEABAB"/>
              </a:solidFill>
            </c:spPr>
          </c:dPt>
          <c:dPt>
            <c:idx val="249"/>
            <c:spPr>
              <a:solidFill>
                <a:srgbClr val="AEABAB"/>
              </a:solidFill>
            </c:spPr>
          </c:dPt>
          <c:dPt>
            <c:idx val="250"/>
            <c:spPr>
              <a:solidFill>
                <a:srgbClr val="AEABAB"/>
              </a:solidFill>
            </c:spPr>
          </c:dPt>
          <c:dPt>
            <c:idx val="251"/>
            <c:spPr>
              <a:solidFill>
                <a:srgbClr val="AEABAB"/>
              </a:solidFill>
            </c:spPr>
          </c:dPt>
          <c:dPt>
            <c:idx val="252"/>
            <c:spPr>
              <a:solidFill>
                <a:srgbClr val="AEABAB"/>
              </a:solidFill>
            </c:spPr>
          </c:dPt>
          <c:dPt>
            <c:idx val="253"/>
            <c:spPr>
              <a:solidFill>
                <a:srgbClr val="AEABAB"/>
              </a:solidFill>
            </c:spPr>
          </c:dPt>
          <c:dPt>
            <c:idx val="254"/>
            <c:spPr>
              <a:solidFill>
                <a:srgbClr val="AEABAB"/>
              </a:solidFill>
            </c:spPr>
          </c:dPt>
          <c:dPt>
            <c:idx val="255"/>
            <c:spPr>
              <a:solidFill>
                <a:srgbClr val="AEABAB"/>
              </a:solidFill>
            </c:spPr>
          </c:dPt>
          <c:dPt>
            <c:idx val="256"/>
            <c:spPr>
              <a:solidFill>
                <a:srgbClr val="AEABAB"/>
              </a:solidFill>
            </c:spPr>
          </c:dPt>
          <c:dPt>
            <c:idx val="257"/>
            <c:spPr>
              <a:solidFill>
                <a:srgbClr val="AEABAB"/>
              </a:solidFill>
            </c:spPr>
          </c:dPt>
          <c:dPt>
            <c:idx val="258"/>
            <c:spPr>
              <a:solidFill>
                <a:srgbClr val="AEABAB"/>
              </a:solidFill>
            </c:spPr>
          </c:dPt>
          <c:dPt>
            <c:idx val="259"/>
            <c:spPr>
              <a:solidFill>
                <a:srgbClr val="AEABAB"/>
              </a:solidFill>
            </c:spPr>
          </c:dPt>
          <c:dPt>
            <c:idx val="260"/>
            <c:spPr>
              <a:solidFill>
                <a:srgbClr val="AEABAB"/>
              </a:solidFill>
            </c:spPr>
          </c:dPt>
          <c:dPt>
            <c:idx val="261"/>
            <c:spPr>
              <a:solidFill>
                <a:srgbClr val="AEABAB"/>
              </a:solidFill>
            </c:spPr>
          </c:dPt>
          <c:dPt>
            <c:idx val="262"/>
            <c:spPr>
              <a:solidFill>
                <a:srgbClr val="AEABAB"/>
              </a:solidFill>
            </c:spPr>
          </c:dPt>
          <c:dPt>
            <c:idx val="263"/>
            <c:spPr>
              <a:solidFill>
                <a:srgbClr val="AEABAB"/>
              </a:solidFill>
            </c:spPr>
          </c:dPt>
          <c:dPt>
            <c:idx val="264"/>
            <c:spPr>
              <a:solidFill>
                <a:srgbClr val="AEABAB"/>
              </a:solidFill>
            </c:spPr>
          </c:dPt>
          <c:dPt>
            <c:idx val="265"/>
            <c:spPr>
              <a:solidFill>
                <a:srgbClr val="AEABAB"/>
              </a:solidFill>
            </c:spPr>
          </c:dPt>
          <c:dPt>
            <c:idx val="266"/>
            <c:spPr>
              <a:solidFill>
                <a:srgbClr val="AEABAB"/>
              </a:solidFill>
            </c:spPr>
          </c:dPt>
          <c:dPt>
            <c:idx val="267"/>
            <c:spPr>
              <a:solidFill>
                <a:srgbClr val="AEABAB"/>
              </a:solidFill>
            </c:spPr>
          </c:dPt>
          <c:dPt>
            <c:idx val="268"/>
            <c:spPr>
              <a:solidFill>
                <a:srgbClr val="AEABAB"/>
              </a:solidFill>
            </c:spPr>
          </c:dPt>
          <c:dPt>
            <c:idx val="269"/>
            <c:spPr>
              <a:solidFill>
                <a:srgbClr val="AEABAB"/>
              </a:solidFill>
            </c:spPr>
          </c:dPt>
          <c:dPt>
            <c:idx val="270"/>
            <c:spPr>
              <a:solidFill>
                <a:srgbClr val="AEABAB"/>
              </a:solidFill>
            </c:spPr>
          </c:dPt>
          <c:dPt>
            <c:idx val="271"/>
            <c:spPr>
              <a:solidFill>
                <a:srgbClr val="AEABAB"/>
              </a:solidFill>
            </c:spPr>
          </c:dPt>
          <c:dPt>
            <c:idx val="272"/>
            <c:spPr>
              <a:solidFill>
                <a:srgbClr val="AEABAB"/>
              </a:solidFill>
            </c:spPr>
          </c:dPt>
          <c:dPt>
            <c:idx val="273"/>
            <c:spPr>
              <a:solidFill>
                <a:srgbClr val="AEABAB"/>
              </a:solidFill>
            </c:spPr>
          </c:dPt>
          <c:dPt>
            <c:idx val="274"/>
            <c:spPr>
              <a:solidFill>
                <a:srgbClr val="AEABAB"/>
              </a:solidFill>
            </c:spPr>
          </c:dPt>
          <c:dPt>
            <c:idx val="275"/>
            <c:spPr>
              <a:solidFill>
                <a:srgbClr val="AEABAB"/>
              </a:solidFill>
            </c:spPr>
          </c:dPt>
          <c:dPt>
            <c:idx val="276"/>
            <c:spPr>
              <a:solidFill>
                <a:srgbClr val="AEABAB"/>
              </a:solidFill>
            </c:spPr>
          </c:dPt>
          <c:dPt>
            <c:idx val="277"/>
            <c:spPr>
              <a:solidFill>
                <a:srgbClr val="AEABAB"/>
              </a:solidFill>
            </c:spPr>
          </c:dPt>
          <c:dPt>
            <c:idx val="278"/>
            <c:spPr>
              <a:solidFill>
                <a:srgbClr val="AEABAB"/>
              </a:solidFill>
            </c:spPr>
          </c:dPt>
          <c:dPt>
            <c:idx val="279"/>
            <c:spPr>
              <a:solidFill>
                <a:srgbClr val="AEABAB"/>
              </a:solidFill>
            </c:spPr>
          </c:dPt>
          <c:dPt>
            <c:idx val="280"/>
            <c:spPr>
              <a:solidFill>
                <a:srgbClr val="AEABAB"/>
              </a:solidFill>
            </c:spPr>
          </c:dPt>
          <c:dPt>
            <c:idx val="281"/>
            <c:spPr>
              <a:solidFill>
                <a:srgbClr val="AEABAB"/>
              </a:solidFill>
            </c:spPr>
          </c:dPt>
          <c:dPt>
            <c:idx val="282"/>
            <c:spPr>
              <a:solidFill>
                <a:srgbClr val="AEABAB"/>
              </a:solidFill>
            </c:spPr>
          </c:dPt>
          <c:dPt>
            <c:idx val="283"/>
            <c:spPr>
              <a:solidFill>
                <a:srgbClr val="AEABAB"/>
              </a:solidFill>
            </c:spPr>
          </c:dPt>
          <c:dPt>
            <c:idx val="284"/>
            <c:spPr>
              <a:solidFill>
                <a:srgbClr val="AEABAB"/>
              </a:solidFill>
            </c:spPr>
          </c:dPt>
          <c:dPt>
            <c:idx val="285"/>
            <c:spPr>
              <a:solidFill>
                <a:srgbClr val="AEABAB"/>
              </a:solidFill>
            </c:spPr>
          </c:dPt>
          <c:dPt>
            <c:idx val="286"/>
            <c:spPr>
              <a:solidFill>
                <a:srgbClr val="AEABAB"/>
              </a:solidFill>
            </c:spPr>
          </c:dPt>
          <c:dPt>
            <c:idx val="287"/>
            <c:spPr>
              <a:solidFill>
                <a:srgbClr val="AEABAB"/>
              </a:solidFill>
            </c:spPr>
          </c:dPt>
          <c:dPt>
            <c:idx val="288"/>
            <c:spPr>
              <a:solidFill>
                <a:srgbClr val="AEABAB"/>
              </a:solidFill>
            </c:spPr>
          </c:dPt>
          <c:dPt>
            <c:idx val="289"/>
            <c:spPr>
              <a:solidFill>
                <a:srgbClr val="AEABAB"/>
              </a:solidFill>
            </c:spPr>
          </c:dPt>
          <c:dPt>
            <c:idx val="290"/>
            <c:spPr>
              <a:solidFill>
                <a:srgbClr val="AEABAB"/>
              </a:solidFill>
            </c:spPr>
          </c:dPt>
          <c:dPt>
            <c:idx val="291"/>
            <c:spPr>
              <a:solidFill>
                <a:srgbClr val="AEABAB"/>
              </a:solidFill>
            </c:spPr>
          </c:dPt>
          <c:dPt>
            <c:idx val="292"/>
            <c:spPr>
              <a:solidFill>
                <a:srgbClr val="AEABAB"/>
              </a:solidFill>
            </c:spPr>
          </c:dPt>
          <c:dPt>
            <c:idx val="293"/>
            <c:spPr>
              <a:solidFill>
                <a:srgbClr val="AEABAB"/>
              </a:solidFill>
            </c:spPr>
          </c:dPt>
          <c:dPt>
            <c:idx val="294"/>
            <c:spPr>
              <a:solidFill>
                <a:srgbClr val="AEABAB"/>
              </a:solidFill>
            </c:spPr>
          </c:dPt>
          <c:dPt>
            <c:idx val="295"/>
            <c:spPr>
              <a:solidFill>
                <a:srgbClr val="AEABAB"/>
              </a:solidFill>
            </c:spPr>
          </c:dPt>
          <c:dPt>
            <c:idx val="296"/>
            <c:spPr>
              <a:solidFill>
                <a:srgbClr val="AEABAB"/>
              </a:solidFill>
            </c:spPr>
          </c:dPt>
          <c:dPt>
            <c:idx val="297"/>
            <c:spPr>
              <a:solidFill>
                <a:srgbClr val="AEABAB"/>
              </a:solidFill>
            </c:spPr>
          </c:dPt>
          <c:dPt>
            <c:idx val="298"/>
            <c:spPr>
              <a:solidFill>
                <a:srgbClr val="AEABAB"/>
              </a:solidFill>
            </c:spPr>
          </c:dPt>
          <c:dPt>
            <c:idx val="299"/>
            <c:spPr>
              <a:solidFill>
                <a:srgbClr val="AEABAB"/>
              </a:solidFill>
            </c:spPr>
          </c:dPt>
          <c:dPt>
            <c:idx val="300"/>
            <c:spPr>
              <a:solidFill>
                <a:srgbClr val="AEABAB"/>
              </a:solidFill>
            </c:spPr>
          </c:dPt>
          <c:dPt>
            <c:idx val="301"/>
            <c:spPr>
              <a:solidFill>
                <a:srgbClr val="AEABAB"/>
              </a:solidFill>
            </c:spPr>
          </c:dPt>
          <c:dPt>
            <c:idx val="302"/>
            <c:spPr>
              <a:solidFill>
                <a:srgbClr val="AEABAB"/>
              </a:solidFill>
            </c:spPr>
          </c:dPt>
          <c:dPt>
            <c:idx val="303"/>
            <c:spPr>
              <a:solidFill>
                <a:srgbClr val="AEABAB"/>
              </a:solidFill>
            </c:spPr>
          </c:dPt>
          <c:dPt>
            <c:idx val="304"/>
            <c:spPr>
              <a:solidFill>
                <a:srgbClr val="AEABAB"/>
              </a:solidFill>
            </c:spPr>
          </c:dPt>
          <c:dPt>
            <c:idx val="305"/>
            <c:spPr>
              <a:solidFill>
                <a:srgbClr val="AEABAB"/>
              </a:solidFill>
            </c:spPr>
          </c:dPt>
          <c:dPt>
            <c:idx val="306"/>
            <c:spPr>
              <a:solidFill>
                <a:srgbClr val="AEABAB"/>
              </a:solidFill>
            </c:spPr>
          </c:dPt>
          <c:dPt>
            <c:idx val="307"/>
            <c:spPr>
              <a:solidFill>
                <a:srgbClr val="AEABAB"/>
              </a:solidFill>
            </c:spPr>
          </c:dPt>
          <c:dPt>
            <c:idx val="308"/>
            <c:spPr>
              <a:solidFill>
                <a:srgbClr val="AEABAB"/>
              </a:solidFill>
            </c:spPr>
          </c:dPt>
          <c:dPt>
            <c:idx val="309"/>
            <c:spPr>
              <a:solidFill>
                <a:srgbClr val="AEABAB"/>
              </a:solidFill>
            </c:spPr>
          </c:dPt>
          <c:dPt>
            <c:idx val="310"/>
            <c:spPr>
              <a:solidFill>
                <a:srgbClr val="AEABAB"/>
              </a:solidFill>
            </c:spPr>
          </c:dPt>
          <c:dPt>
            <c:idx val="311"/>
            <c:spPr>
              <a:solidFill>
                <a:srgbClr val="AEABAB"/>
              </a:solidFill>
            </c:spPr>
          </c:dPt>
          <c:dPt>
            <c:idx val="312"/>
            <c:spPr>
              <a:solidFill>
                <a:srgbClr val="AEABAB"/>
              </a:solidFill>
            </c:spPr>
          </c:dPt>
          <c:dPt>
            <c:idx val="313"/>
            <c:spPr>
              <a:solidFill>
                <a:srgbClr val="AEABAB"/>
              </a:solidFill>
            </c:spPr>
          </c:dPt>
          <c:dPt>
            <c:idx val="314"/>
            <c:spPr>
              <a:solidFill>
                <a:srgbClr val="AEABAB"/>
              </a:solidFill>
            </c:spPr>
          </c:dPt>
          <c:dPt>
            <c:idx val="315"/>
            <c:spPr>
              <a:solidFill>
                <a:srgbClr val="AEABAB"/>
              </a:solidFill>
            </c:spPr>
          </c:dPt>
          <c:dPt>
            <c:idx val="316"/>
            <c:spPr>
              <a:solidFill>
                <a:srgbClr val="AEABAB"/>
              </a:solidFill>
            </c:spPr>
          </c:dPt>
          <c:dPt>
            <c:idx val="317"/>
            <c:spPr>
              <a:solidFill>
                <a:srgbClr val="AEABAB"/>
              </a:solidFill>
            </c:spPr>
          </c:dPt>
          <c:dPt>
            <c:idx val="318"/>
            <c:spPr>
              <a:solidFill>
                <a:srgbClr val="AEABAB"/>
              </a:solidFill>
            </c:spPr>
          </c:dPt>
          <c:dPt>
            <c:idx val="319"/>
            <c:spPr>
              <a:solidFill>
                <a:srgbClr val="AEABAB"/>
              </a:solidFill>
            </c:spPr>
          </c:dPt>
          <c:dPt>
            <c:idx val="320"/>
            <c:spPr>
              <a:solidFill>
                <a:srgbClr val="AEABAB"/>
              </a:solidFill>
            </c:spPr>
          </c:dPt>
          <c:dPt>
            <c:idx val="321"/>
            <c:spPr>
              <a:solidFill>
                <a:srgbClr val="AEABAB"/>
              </a:solidFill>
            </c:spPr>
          </c:dPt>
          <c:dPt>
            <c:idx val="322"/>
            <c:spPr>
              <a:solidFill>
                <a:srgbClr val="AEABAB"/>
              </a:solidFill>
            </c:spPr>
          </c:dPt>
          <c:dPt>
            <c:idx val="323"/>
            <c:spPr>
              <a:solidFill>
                <a:srgbClr val="AEABAB"/>
              </a:solidFill>
            </c:spPr>
          </c:dPt>
          <c:dPt>
            <c:idx val="324"/>
            <c:spPr>
              <a:solidFill>
                <a:srgbClr val="AEABAB"/>
              </a:solidFill>
            </c:spPr>
          </c:dPt>
          <c:dPt>
            <c:idx val="325"/>
            <c:spPr>
              <a:solidFill>
                <a:srgbClr val="AEABAB"/>
              </a:solidFill>
            </c:spPr>
          </c:dPt>
          <c:dPt>
            <c:idx val="326"/>
            <c:spPr>
              <a:solidFill>
                <a:srgbClr val="AEABAB"/>
              </a:solidFill>
            </c:spPr>
          </c:dPt>
          <c:dPt>
            <c:idx val="327"/>
            <c:spPr>
              <a:solidFill>
                <a:srgbClr val="AEABAB"/>
              </a:solidFill>
            </c:spPr>
          </c:dPt>
          <c:dPt>
            <c:idx val="328"/>
            <c:spPr>
              <a:solidFill>
                <a:srgbClr val="AEABAB"/>
              </a:solidFill>
            </c:spPr>
          </c:dPt>
          <c:dPt>
            <c:idx val="329"/>
            <c:spPr>
              <a:solidFill>
                <a:srgbClr val="AEABAB"/>
              </a:solidFill>
            </c:spPr>
          </c:dPt>
          <c:dPt>
            <c:idx val="330"/>
            <c:spPr>
              <a:solidFill>
                <a:srgbClr val="AEABAB"/>
              </a:solidFill>
            </c:spPr>
          </c:dPt>
          <c:dPt>
            <c:idx val="331"/>
            <c:spPr>
              <a:solidFill>
                <a:srgbClr val="AEABAB"/>
              </a:solidFill>
            </c:spPr>
          </c:dPt>
          <c:dPt>
            <c:idx val="332"/>
            <c:spPr>
              <a:solidFill>
                <a:srgbClr val="AEABAB"/>
              </a:solidFill>
            </c:spPr>
          </c:dPt>
          <c:dPt>
            <c:idx val="333"/>
            <c:spPr>
              <a:solidFill>
                <a:srgbClr val="AEABAB"/>
              </a:solidFill>
            </c:spPr>
          </c:dPt>
          <c:dPt>
            <c:idx val="334"/>
            <c:spPr>
              <a:solidFill>
                <a:srgbClr val="AEABAB"/>
              </a:solidFill>
            </c:spPr>
          </c:dPt>
          <c:dPt>
            <c:idx val="335"/>
            <c:spPr>
              <a:solidFill>
                <a:srgbClr val="AEABAB"/>
              </a:solidFill>
            </c:spPr>
          </c:dPt>
          <c:dPt>
            <c:idx val="336"/>
            <c:spPr>
              <a:solidFill>
                <a:srgbClr val="AEABAB"/>
              </a:solidFill>
            </c:spPr>
          </c:dPt>
          <c:dPt>
            <c:idx val="337"/>
            <c:spPr>
              <a:solidFill>
                <a:srgbClr val="AEABAB"/>
              </a:solidFill>
            </c:spPr>
          </c:dPt>
          <c:dPt>
            <c:idx val="338"/>
            <c:spPr>
              <a:solidFill>
                <a:srgbClr val="AEABAB"/>
              </a:solidFill>
            </c:spPr>
          </c:dPt>
          <c:dPt>
            <c:idx val="339"/>
            <c:spPr>
              <a:solidFill>
                <a:srgbClr val="AEABAB"/>
              </a:solidFill>
            </c:spPr>
          </c:dPt>
          <c:dPt>
            <c:idx val="340"/>
            <c:spPr>
              <a:solidFill>
                <a:srgbClr val="AEABAB"/>
              </a:solidFill>
            </c:spPr>
          </c:dPt>
          <c:dPt>
            <c:idx val="341"/>
            <c:spPr>
              <a:solidFill>
                <a:srgbClr val="AEABAB"/>
              </a:solidFill>
            </c:spPr>
          </c:dPt>
          <c:dPt>
            <c:idx val="342"/>
            <c:spPr>
              <a:solidFill>
                <a:srgbClr val="AEABAB"/>
              </a:solidFill>
            </c:spPr>
          </c:dPt>
          <c:dPt>
            <c:idx val="343"/>
            <c:spPr>
              <a:solidFill>
                <a:srgbClr val="AEABAB"/>
              </a:solidFill>
            </c:spPr>
          </c:dPt>
          <c:dPt>
            <c:idx val="344"/>
            <c:spPr>
              <a:solidFill>
                <a:srgbClr val="AEABAB"/>
              </a:solidFill>
            </c:spPr>
          </c:dPt>
          <c:dPt>
            <c:idx val="345"/>
            <c:spPr>
              <a:solidFill>
                <a:srgbClr val="AEABAB"/>
              </a:solidFill>
            </c:spPr>
          </c:dPt>
          <c:dPt>
            <c:idx val="346"/>
            <c:spPr>
              <a:solidFill>
                <a:srgbClr val="AEABAB"/>
              </a:solidFill>
            </c:spPr>
          </c:dPt>
          <c:dPt>
            <c:idx val="347"/>
            <c:spPr>
              <a:solidFill>
                <a:srgbClr val="AEABAB"/>
              </a:solidFill>
            </c:spPr>
          </c:dPt>
          <c:dPt>
            <c:idx val="348"/>
            <c:spPr>
              <a:solidFill>
                <a:srgbClr val="AEABAB"/>
              </a:solidFill>
            </c:spPr>
          </c:dPt>
          <c:dPt>
            <c:idx val="349"/>
            <c:spPr>
              <a:solidFill>
                <a:srgbClr val="AEABAB"/>
              </a:solidFill>
            </c:spPr>
          </c:dPt>
          <c:dPt>
            <c:idx val="350"/>
            <c:spPr>
              <a:solidFill>
                <a:srgbClr val="AEABAB"/>
              </a:solidFill>
            </c:spPr>
          </c:dPt>
          <c:dPt>
            <c:idx val="351"/>
            <c:spPr>
              <a:solidFill>
                <a:srgbClr val="AEABAB"/>
              </a:solidFill>
            </c:spPr>
          </c:dPt>
          <c:dPt>
            <c:idx val="352"/>
            <c:spPr>
              <a:solidFill>
                <a:srgbClr val="AEABAB"/>
              </a:solidFill>
            </c:spPr>
          </c:dPt>
          <c:dPt>
            <c:idx val="353"/>
            <c:spPr>
              <a:solidFill>
                <a:srgbClr val="AEABAB"/>
              </a:solidFill>
            </c:spPr>
          </c:dPt>
          <c:dPt>
            <c:idx val="354"/>
            <c:spPr>
              <a:solidFill>
                <a:srgbClr val="AEABAB"/>
              </a:solidFill>
            </c:spPr>
          </c:dPt>
          <c:dPt>
            <c:idx val="355"/>
            <c:spPr>
              <a:solidFill>
                <a:srgbClr val="AEABAB"/>
              </a:solidFill>
            </c:spPr>
          </c:dPt>
          <c:dPt>
            <c:idx val="356"/>
            <c:spPr>
              <a:solidFill>
                <a:srgbClr val="AEABAB"/>
              </a:solidFill>
            </c:spPr>
          </c:dPt>
          <c:dPt>
            <c:idx val="357"/>
            <c:spPr>
              <a:solidFill>
                <a:srgbClr val="AEABAB"/>
              </a:solidFill>
            </c:spPr>
          </c:dPt>
          <c:dPt>
            <c:idx val="358"/>
            <c:spPr>
              <a:solidFill>
                <a:srgbClr val="AEABAB"/>
              </a:solidFill>
            </c:spPr>
          </c:dPt>
          <c:dPt>
            <c:idx val="359"/>
            <c:spPr>
              <a:solidFill>
                <a:srgbClr val="AEABAB"/>
              </a:solidFill>
            </c:spPr>
          </c:dPt>
          <c:dPt>
            <c:idx val="360"/>
            <c:spPr>
              <a:solidFill>
                <a:srgbClr val="AEABAB"/>
              </a:solidFill>
            </c:spPr>
          </c:dPt>
          <c:dPt>
            <c:idx val="361"/>
            <c:spPr>
              <a:solidFill>
                <a:srgbClr val="AEABAB"/>
              </a:solidFill>
            </c:spPr>
          </c:dPt>
          <c:dPt>
            <c:idx val="362"/>
            <c:spPr>
              <a:solidFill>
                <a:srgbClr val="AEABAB"/>
              </a:solidFill>
            </c:spPr>
          </c:dPt>
          <c:dPt>
            <c:idx val="363"/>
            <c:spPr>
              <a:solidFill>
                <a:srgbClr val="AEABAB"/>
              </a:solidFill>
            </c:spPr>
          </c:dPt>
          <c:dPt>
            <c:idx val="364"/>
            <c:spPr>
              <a:solidFill>
                <a:srgbClr val="AEABAB"/>
              </a:solidFill>
            </c:spPr>
          </c:dPt>
          <c:dPt>
            <c:idx val="365"/>
            <c:spPr>
              <a:solidFill>
                <a:srgbClr val="AEABAB"/>
              </a:solidFill>
            </c:spPr>
          </c:dPt>
          <c:dPt>
            <c:idx val="366"/>
            <c:spPr>
              <a:solidFill>
                <a:srgbClr val="AEABAB"/>
              </a:solidFill>
            </c:spPr>
          </c:dPt>
          <c:dPt>
            <c:idx val="367"/>
            <c:spPr>
              <a:solidFill>
                <a:srgbClr val="AEABAB"/>
              </a:solidFill>
            </c:spPr>
          </c:dPt>
          <c:dPt>
            <c:idx val="368"/>
            <c:spPr>
              <a:solidFill>
                <a:srgbClr val="AEABAB"/>
              </a:solidFill>
            </c:spPr>
          </c:dPt>
          <c:dPt>
            <c:idx val="369"/>
            <c:spPr>
              <a:solidFill>
                <a:srgbClr val="AEABAB"/>
              </a:solidFill>
            </c:spPr>
          </c:dPt>
          <c:dPt>
            <c:idx val="370"/>
            <c:spPr>
              <a:solidFill>
                <a:srgbClr val="AEABAB"/>
              </a:solidFill>
            </c:spPr>
          </c:dPt>
          <c:dPt>
            <c:idx val="371"/>
            <c:spPr>
              <a:solidFill>
                <a:srgbClr val="AEABAB"/>
              </a:solidFill>
            </c:spPr>
          </c:dPt>
          <c:dPt>
            <c:idx val="372"/>
            <c:spPr>
              <a:solidFill>
                <a:srgbClr val="AEABAB"/>
              </a:solidFill>
            </c:spPr>
          </c:dPt>
          <c:dPt>
            <c:idx val="373"/>
            <c:spPr>
              <a:solidFill>
                <a:srgbClr val="AEABAB"/>
              </a:solidFill>
            </c:spPr>
          </c:dPt>
          <c:dPt>
            <c:idx val="374"/>
            <c:spPr>
              <a:solidFill>
                <a:srgbClr val="AEABAB"/>
              </a:solidFill>
            </c:spPr>
          </c:dPt>
          <c:dPt>
            <c:idx val="375"/>
            <c:spPr>
              <a:solidFill>
                <a:srgbClr val="AEABAB"/>
              </a:solidFill>
            </c:spPr>
          </c:dPt>
          <c:dPt>
            <c:idx val="376"/>
            <c:spPr>
              <a:solidFill>
                <a:srgbClr val="AEABAB"/>
              </a:solidFill>
            </c:spPr>
          </c:dPt>
          <c:dPt>
            <c:idx val="377"/>
            <c:spPr>
              <a:solidFill>
                <a:srgbClr val="AEABAB"/>
              </a:solidFill>
            </c:spPr>
          </c:dPt>
          <c:dPt>
            <c:idx val="378"/>
            <c:spPr>
              <a:solidFill>
                <a:srgbClr val="AEABAB"/>
              </a:solidFill>
            </c:spPr>
          </c:dPt>
          <c:dPt>
            <c:idx val="379"/>
            <c:spPr>
              <a:solidFill>
                <a:srgbClr val="AEABAB"/>
              </a:solidFill>
            </c:spPr>
          </c:dPt>
          <c:dPt>
            <c:idx val="380"/>
            <c:spPr>
              <a:solidFill>
                <a:srgbClr val="AEABAB"/>
              </a:solidFill>
            </c:spPr>
          </c:dPt>
          <c:dPt>
            <c:idx val="381"/>
            <c:spPr>
              <a:solidFill>
                <a:srgbClr val="AEABAB"/>
              </a:solidFill>
            </c:spPr>
          </c:dPt>
          <c:dPt>
            <c:idx val="382"/>
            <c:spPr>
              <a:solidFill>
                <a:srgbClr val="AEABAB"/>
              </a:solidFill>
            </c:spPr>
          </c:dPt>
          <c:dPt>
            <c:idx val="383"/>
            <c:spPr>
              <a:solidFill>
                <a:srgbClr val="AEABAB"/>
              </a:solidFill>
            </c:spPr>
          </c:dPt>
          <c:dPt>
            <c:idx val="384"/>
            <c:spPr>
              <a:solidFill>
                <a:srgbClr val="AEABAB"/>
              </a:solidFill>
            </c:spPr>
          </c:dPt>
          <c:dPt>
            <c:idx val="385"/>
            <c:spPr>
              <a:solidFill>
                <a:srgbClr val="AEABAB"/>
              </a:solidFill>
            </c:spPr>
          </c:dPt>
          <c:dPt>
            <c:idx val="386"/>
            <c:spPr>
              <a:solidFill>
                <a:srgbClr val="AEABAB"/>
              </a:solidFill>
            </c:spPr>
          </c:dPt>
          <c:dPt>
            <c:idx val="387"/>
            <c:spPr>
              <a:solidFill>
                <a:srgbClr val="AEABAB"/>
              </a:solidFill>
            </c:spPr>
          </c:dPt>
          <c:dPt>
            <c:idx val="388"/>
            <c:spPr>
              <a:solidFill>
                <a:srgbClr val="AEABAB"/>
              </a:solidFill>
            </c:spPr>
          </c:dPt>
          <c:dPt>
            <c:idx val="389"/>
            <c:spPr>
              <a:solidFill>
                <a:srgbClr val="AEABAB"/>
              </a:solidFill>
            </c:spPr>
          </c:dPt>
          <c:dPt>
            <c:idx val="390"/>
            <c:spPr>
              <a:solidFill>
                <a:srgbClr val="AEABAB"/>
              </a:solidFill>
            </c:spPr>
          </c:dPt>
          <c:dPt>
            <c:idx val="391"/>
            <c:spPr>
              <a:solidFill>
                <a:srgbClr val="AEABAB"/>
              </a:solidFill>
            </c:spPr>
          </c:dPt>
          <c:dPt>
            <c:idx val="392"/>
            <c:spPr>
              <a:solidFill>
                <a:srgbClr val="AEABAB"/>
              </a:solidFill>
            </c:spPr>
          </c:dPt>
          <c:dPt>
            <c:idx val="393"/>
            <c:spPr>
              <a:solidFill>
                <a:srgbClr val="AEABAB"/>
              </a:solidFill>
            </c:spPr>
          </c:dPt>
          <c:dPt>
            <c:idx val="394"/>
            <c:spPr>
              <a:solidFill>
                <a:srgbClr val="AEABAB"/>
              </a:solidFill>
            </c:spPr>
          </c:dPt>
          <c:dPt>
            <c:idx val="395"/>
            <c:spPr>
              <a:solidFill>
                <a:srgbClr val="AEABAB"/>
              </a:solidFill>
            </c:spPr>
          </c:dPt>
          <c:dPt>
            <c:idx val="396"/>
            <c:spPr>
              <a:solidFill>
                <a:srgbClr val="AEABAB"/>
              </a:solidFill>
            </c:spPr>
          </c:dPt>
          <c:dPt>
            <c:idx val="397"/>
            <c:spPr>
              <a:solidFill>
                <a:srgbClr val="AEABAB"/>
              </a:solidFill>
            </c:spPr>
          </c:dPt>
          <c:dPt>
            <c:idx val="398"/>
            <c:spPr>
              <a:solidFill>
                <a:srgbClr val="AEABAB"/>
              </a:solidFill>
            </c:spPr>
          </c:dPt>
          <c:dPt>
            <c:idx val="399"/>
            <c:spPr>
              <a:solidFill>
                <a:srgbClr val="AEABAB"/>
              </a:solidFill>
            </c:spPr>
          </c:dPt>
          <c:dPt>
            <c:idx val="400"/>
            <c:spPr>
              <a:solidFill>
                <a:srgbClr val="AEABAB"/>
              </a:solidFill>
            </c:spPr>
          </c:dPt>
          <c:dPt>
            <c:idx val="401"/>
            <c:spPr>
              <a:solidFill>
                <a:srgbClr val="AEABAB"/>
              </a:solidFill>
            </c:spPr>
          </c:dPt>
          <c:dPt>
            <c:idx val="402"/>
            <c:spPr>
              <a:solidFill>
                <a:srgbClr val="AEABAB"/>
              </a:solidFill>
            </c:spPr>
          </c:dPt>
          <c:dPt>
            <c:idx val="403"/>
            <c:spPr>
              <a:solidFill>
                <a:srgbClr val="AEABAB"/>
              </a:solidFill>
            </c:spPr>
          </c:dPt>
          <c:dPt>
            <c:idx val="404"/>
            <c:spPr>
              <a:solidFill>
                <a:srgbClr val="AEABAB"/>
              </a:solidFill>
            </c:spPr>
          </c:dPt>
          <c:dPt>
            <c:idx val="405"/>
            <c:spPr>
              <a:solidFill>
                <a:srgbClr val="AEABAB"/>
              </a:solidFill>
            </c:spPr>
          </c:dPt>
          <c:dPt>
            <c:idx val="406"/>
            <c:spPr>
              <a:solidFill>
                <a:srgbClr val="AEABAB"/>
              </a:solidFill>
            </c:spPr>
          </c:dPt>
          <c:dPt>
            <c:idx val="407"/>
            <c:spPr>
              <a:solidFill>
                <a:srgbClr val="AEABAB"/>
              </a:solidFill>
            </c:spPr>
          </c:dPt>
          <c:dPt>
            <c:idx val="408"/>
            <c:spPr>
              <a:solidFill>
                <a:srgbClr val="AEABAB"/>
              </a:solidFill>
            </c:spPr>
          </c:dPt>
          <c:dPt>
            <c:idx val="409"/>
            <c:spPr>
              <a:solidFill>
                <a:srgbClr val="AEABAB"/>
              </a:solidFill>
            </c:spPr>
          </c:dPt>
          <c:dPt>
            <c:idx val="410"/>
            <c:spPr>
              <a:solidFill>
                <a:srgbClr val="AEABAB"/>
              </a:solidFill>
            </c:spPr>
          </c:dPt>
          <c:dPt>
            <c:idx val="411"/>
            <c:spPr>
              <a:solidFill>
                <a:srgbClr val="AEABAB"/>
              </a:solidFill>
            </c:spPr>
          </c:dPt>
          <c:dPt>
            <c:idx val="412"/>
            <c:spPr>
              <a:solidFill>
                <a:srgbClr val="AEABAB"/>
              </a:solidFill>
            </c:spPr>
          </c:dPt>
          <c:dPt>
            <c:idx val="413"/>
            <c:spPr>
              <a:solidFill>
                <a:srgbClr val="AEABAB"/>
              </a:solidFill>
            </c:spPr>
          </c:dPt>
          <c:dPt>
            <c:idx val="414"/>
            <c:spPr>
              <a:solidFill>
                <a:srgbClr val="AEABAB"/>
              </a:solidFill>
            </c:spPr>
          </c:dPt>
          <c:dPt>
            <c:idx val="415"/>
            <c:spPr>
              <a:solidFill>
                <a:srgbClr val="AEABAB"/>
              </a:solidFill>
            </c:spPr>
          </c:dPt>
          <c:dPt>
            <c:idx val="416"/>
            <c:spPr>
              <a:solidFill>
                <a:srgbClr val="AEABAB"/>
              </a:solidFill>
            </c:spPr>
          </c:dPt>
          <c:dPt>
            <c:idx val="417"/>
            <c:spPr>
              <a:solidFill>
                <a:srgbClr val="AEABAB"/>
              </a:solidFill>
            </c:spPr>
          </c:dPt>
          <c:dPt>
            <c:idx val="418"/>
            <c:spPr>
              <a:solidFill>
                <a:srgbClr val="AEABAB"/>
              </a:solidFill>
            </c:spPr>
          </c:dPt>
          <c:dPt>
            <c:idx val="419"/>
            <c:spPr>
              <a:solidFill>
                <a:srgbClr val="AEABAB"/>
              </a:solidFill>
            </c:spPr>
          </c:dPt>
          <c:dPt>
            <c:idx val="420"/>
            <c:spPr>
              <a:solidFill>
                <a:srgbClr val="AEABAB"/>
              </a:solidFill>
            </c:spPr>
          </c:dPt>
          <c:dPt>
            <c:idx val="421"/>
            <c:spPr>
              <a:solidFill>
                <a:srgbClr val="AEABAB"/>
              </a:solidFill>
            </c:spPr>
          </c:dPt>
          <c:dPt>
            <c:idx val="422"/>
            <c:spPr>
              <a:solidFill>
                <a:srgbClr val="AEABAB"/>
              </a:solidFill>
            </c:spPr>
          </c:dPt>
          <c:dPt>
            <c:idx val="423"/>
            <c:spPr>
              <a:solidFill>
                <a:srgbClr val="AEABAB"/>
              </a:solidFill>
            </c:spPr>
          </c:dPt>
          <c:dPt>
            <c:idx val="424"/>
            <c:spPr>
              <a:solidFill>
                <a:srgbClr val="AEABAB"/>
              </a:solidFill>
            </c:spPr>
          </c:dPt>
          <c:dPt>
            <c:idx val="425"/>
            <c:spPr>
              <a:solidFill>
                <a:srgbClr val="AEABAB"/>
              </a:solidFill>
            </c:spPr>
          </c:dPt>
          <c:dPt>
            <c:idx val="426"/>
            <c:spPr>
              <a:solidFill>
                <a:srgbClr val="AEABAB"/>
              </a:solidFill>
            </c:spPr>
          </c:dPt>
          <c:dPt>
            <c:idx val="427"/>
            <c:spPr>
              <a:solidFill>
                <a:srgbClr val="AEABAB"/>
              </a:solidFill>
            </c:spPr>
          </c:dPt>
          <c:dPt>
            <c:idx val="428"/>
            <c:spPr>
              <a:solidFill>
                <a:srgbClr val="AEABAB"/>
              </a:solidFill>
            </c:spPr>
          </c:dPt>
          <c:dPt>
            <c:idx val="429"/>
            <c:spPr>
              <a:solidFill>
                <a:srgbClr val="AEABAB"/>
              </a:solidFill>
            </c:spPr>
          </c:dPt>
          <c:dPt>
            <c:idx val="430"/>
            <c:spPr>
              <a:solidFill>
                <a:srgbClr val="AEABAB"/>
              </a:solidFill>
            </c:spPr>
          </c:dPt>
          <c:dPt>
            <c:idx val="431"/>
            <c:spPr>
              <a:solidFill>
                <a:srgbClr val="AEABAB"/>
              </a:solidFill>
            </c:spPr>
          </c:dPt>
          <c:dPt>
            <c:idx val="432"/>
            <c:spPr>
              <a:solidFill>
                <a:srgbClr val="AEABAB"/>
              </a:solidFill>
            </c:spPr>
          </c:dPt>
          <c:dPt>
            <c:idx val="433"/>
            <c:spPr>
              <a:solidFill>
                <a:srgbClr val="AEABAB"/>
              </a:solidFill>
            </c:spPr>
          </c:dPt>
          <c:dPt>
            <c:idx val="434"/>
            <c:spPr>
              <a:solidFill>
                <a:srgbClr val="AEABAB"/>
              </a:solidFill>
            </c:spPr>
          </c:dPt>
          <c:dPt>
            <c:idx val="435"/>
            <c:spPr>
              <a:solidFill>
                <a:srgbClr val="AEABAB"/>
              </a:solidFill>
            </c:spPr>
          </c:dPt>
          <c:dPt>
            <c:idx val="436"/>
            <c:spPr>
              <a:solidFill>
                <a:srgbClr val="AEABAB"/>
              </a:solidFill>
            </c:spPr>
          </c:dPt>
          <c:dPt>
            <c:idx val="437"/>
            <c:spPr>
              <a:solidFill>
                <a:srgbClr val="AEABAB"/>
              </a:solidFill>
            </c:spPr>
          </c:dPt>
          <c:dPt>
            <c:idx val="438"/>
            <c:spPr>
              <a:solidFill>
                <a:srgbClr val="AEABAB"/>
              </a:solidFill>
            </c:spPr>
          </c:dPt>
          <c:dPt>
            <c:idx val="439"/>
            <c:spPr>
              <a:solidFill>
                <a:srgbClr val="AEABAB"/>
              </a:solidFill>
            </c:spPr>
          </c:dPt>
          <c:dPt>
            <c:idx val="440"/>
            <c:spPr>
              <a:solidFill>
                <a:srgbClr val="AEABAB"/>
              </a:solidFill>
            </c:spPr>
          </c:dPt>
          <c:dPt>
            <c:idx val="441"/>
            <c:spPr>
              <a:solidFill>
                <a:srgbClr val="AEABAB"/>
              </a:solidFill>
            </c:spPr>
          </c:dPt>
          <c:dPt>
            <c:idx val="442"/>
            <c:spPr>
              <a:solidFill>
                <a:srgbClr val="AEABAB"/>
              </a:solidFill>
            </c:spPr>
          </c:dPt>
          <c:dPt>
            <c:idx val="443"/>
            <c:spPr>
              <a:solidFill>
                <a:srgbClr val="AEABAB"/>
              </a:solidFill>
            </c:spPr>
          </c:dPt>
          <c:dPt>
            <c:idx val="444"/>
            <c:spPr>
              <a:solidFill>
                <a:srgbClr val="AEABAB"/>
              </a:solidFill>
            </c:spPr>
          </c:dPt>
          <c:dPt>
            <c:idx val="445"/>
            <c:spPr>
              <a:solidFill>
                <a:srgbClr val="AEABAB"/>
              </a:solidFill>
            </c:spPr>
          </c:dPt>
          <c:dPt>
            <c:idx val="446"/>
            <c:spPr>
              <a:solidFill>
                <a:srgbClr val="AEABAB"/>
              </a:solidFill>
            </c:spPr>
          </c:dPt>
          <c:dPt>
            <c:idx val="447"/>
            <c:spPr>
              <a:solidFill>
                <a:srgbClr val="AEABAB"/>
              </a:solidFill>
            </c:spPr>
          </c:dPt>
          <c:dPt>
            <c:idx val="448"/>
            <c:spPr>
              <a:solidFill>
                <a:srgbClr val="AEABAB"/>
              </a:solidFill>
            </c:spPr>
          </c:dPt>
          <c:dPt>
            <c:idx val="449"/>
            <c:spPr>
              <a:solidFill>
                <a:srgbClr val="AEABAB"/>
              </a:solidFill>
            </c:spPr>
          </c:dPt>
          <c:dPt>
            <c:idx val="450"/>
            <c:spPr>
              <a:solidFill>
                <a:srgbClr val="AEABAB"/>
              </a:solidFill>
            </c:spPr>
          </c:dPt>
          <c:dPt>
            <c:idx val="451"/>
            <c:spPr>
              <a:solidFill>
                <a:srgbClr val="AEABAB"/>
              </a:solidFill>
            </c:spPr>
          </c:dPt>
          <c:dPt>
            <c:idx val="452"/>
            <c:spPr>
              <a:solidFill>
                <a:srgbClr val="AEABAB"/>
              </a:solidFill>
            </c:spPr>
          </c:dPt>
          <c:dPt>
            <c:idx val="453"/>
            <c:spPr>
              <a:solidFill>
                <a:srgbClr val="AEABAB"/>
              </a:solidFill>
            </c:spPr>
          </c:dPt>
          <c:dPt>
            <c:idx val="454"/>
            <c:spPr>
              <a:solidFill>
                <a:srgbClr val="AEABAB"/>
              </a:solidFill>
            </c:spPr>
          </c:dPt>
          <c:dPt>
            <c:idx val="455"/>
            <c:spPr>
              <a:solidFill>
                <a:srgbClr val="AEABAB"/>
              </a:solidFill>
            </c:spPr>
          </c:dPt>
          <c:dPt>
            <c:idx val="456"/>
            <c:spPr>
              <a:solidFill>
                <a:srgbClr val="AEABAB"/>
              </a:solidFill>
            </c:spPr>
          </c:dPt>
          <c:dPt>
            <c:idx val="457"/>
            <c:spPr>
              <a:solidFill>
                <a:srgbClr val="AEABAB"/>
              </a:solidFill>
            </c:spPr>
          </c:dPt>
          <c:dPt>
            <c:idx val="458"/>
            <c:spPr>
              <a:solidFill>
                <a:srgbClr val="AEABAB"/>
              </a:solidFill>
            </c:spPr>
          </c:dPt>
          <c:dPt>
            <c:idx val="459"/>
            <c:spPr>
              <a:solidFill>
                <a:srgbClr val="AEABAB"/>
              </a:solidFill>
            </c:spPr>
          </c:dPt>
          <c:dPt>
            <c:idx val="460"/>
            <c:spPr>
              <a:solidFill>
                <a:srgbClr val="AEABAB"/>
              </a:solidFill>
            </c:spPr>
          </c:dPt>
          <c:dPt>
            <c:idx val="461"/>
            <c:spPr>
              <a:solidFill>
                <a:srgbClr val="AEABAB"/>
              </a:solidFill>
            </c:spPr>
          </c:dPt>
          <c:dPt>
            <c:idx val="462"/>
            <c:spPr>
              <a:solidFill>
                <a:srgbClr val="AEABAB"/>
              </a:solidFill>
            </c:spPr>
          </c:dPt>
          <c:dPt>
            <c:idx val="463"/>
            <c:spPr>
              <a:solidFill>
                <a:srgbClr val="AEABAB"/>
              </a:solidFill>
            </c:spPr>
          </c:dPt>
          <c:dPt>
            <c:idx val="464"/>
            <c:spPr>
              <a:solidFill>
                <a:srgbClr val="AEABAB"/>
              </a:solidFill>
            </c:spPr>
          </c:dPt>
          <c:dPt>
            <c:idx val="465"/>
            <c:spPr>
              <a:solidFill>
                <a:srgbClr val="AEABAB"/>
              </a:solidFill>
            </c:spPr>
          </c:dPt>
          <c:dPt>
            <c:idx val="466"/>
            <c:spPr>
              <a:solidFill>
                <a:srgbClr val="AEABAB"/>
              </a:solidFill>
            </c:spPr>
          </c:dPt>
          <c:dPt>
            <c:idx val="467"/>
            <c:spPr>
              <a:solidFill>
                <a:srgbClr val="AEABAB"/>
              </a:solidFill>
            </c:spPr>
          </c:dPt>
          <c:dPt>
            <c:idx val="468"/>
            <c:spPr>
              <a:solidFill>
                <a:srgbClr val="AEABAB"/>
              </a:solidFill>
            </c:spPr>
          </c:dPt>
          <c:dPt>
            <c:idx val="469"/>
            <c:spPr>
              <a:solidFill>
                <a:srgbClr val="AEABAB"/>
              </a:solidFill>
            </c:spPr>
          </c:dPt>
          <c:dPt>
            <c:idx val="470"/>
            <c:spPr>
              <a:solidFill>
                <a:srgbClr val="AEABAB"/>
              </a:solidFill>
            </c:spPr>
          </c:dPt>
          <c:dPt>
            <c:idx val="471"/>
            <c:spPr>
              <a:solidFill>
                <a:srgbClr val="AEABAB"/>
              </a:solidFill>
            </c:spPr>
          </c:dPt>
          <c:dPt>
            <c:idx val="472"/>
            <c:spPr>
              <a:solidFill>
                <a:srgbClr val="AEABAB"/>
              </a:solidFill>
            </c:spPr>
          </c:dPt>
          <c:dPt>
            <c:idx val="473"/>
            <c:spPr>
              <a:solidFill>
                <a:srgbClr val="AEABAB"/>
              </a:solidFill>
            </c:spPr>
          </c:dPt>
          <c:dPt>
            <c:idx val="474"/>
            <c:spPr>
              <a:solidFill>
                <a:srgbClr val="AEABAB"/>
              </a:solidFill>
            </c:spPr>
          </c:dPt>
          <c:dPt>
            <c:idx val="475"/>
            <c:spPr>
              <a:solidFill>
                <a:srgbClr val="AEABAB"/>
              </a:solidFill>
            </c:spPr>
          </c:dPt>
          <c:dPt>
            <c:idx val="476"/>
            <c:spPr>
              <a:solidFill>
                <a:srgbClr val="AEABAB"/>
              </a:solidFill>
            </c:spPr>
          </c:dPt>
          <c:dPt>
            <c:idx val="477"/>
            <c:spPr>
              <a:solidFill>
                <a:srgbClr val="AEABAB"/>
              </a:solidFill>
            </c:spPr>
          </c:dPt>
          <c:dPt>
            <c:idx val="478"/>
            <c:spPr>
              <a:solidFill>
                <a:srgbClr val="AEABAB"/>
              </a:solidFill>
            </c:spPr>
          </c:dPt>
          <c:dPt>
            <c:idx val="479"/>
            <c:spPr>
              <a:solidFill>
                <a:srgbClr val="AEABAB"/>
              </a:solidFill>
            </c:spPr>
          </c:dPt>
          <c:dPt>
            <c:idx val="480"/>
            <c:spPr>
              <a:solidFill>
                <a:srgbClr val="AEABAB"/>
              </a:solidFill>
            </c:spPr>
          </c:dPt>
          <c:dPt>
            <c:idx val="481"/>
            <c:spPr>
              <a:solidFill>
                <a:srgbClr val="AEABAB"/>
              </a:solidFill>
            </c:spPr>
          </c:dPt>
          <c:dPt>
            <c:idx val="482"/>
            <c:spPr>
              <a:solidFill>
                <a:srgbClr val="AEABAB"/>
              </a:solidFill>
            </c:spPr>
          </c:dPt>
          <c:dPt>
            <c:idx val="483"/>
            <c:spPr>
              <a:solidFill>
                <a:srgbClr val="AEABAB"/>
              </a:solidFill>
            </c:spPr>
          </c:dPt>
          <c:dPt>
            <c:idx val="484"/>
            <c:spPr>
              <a:solidFill>
                <a:srgbClr val="AEABAB"/>
              </a:solidFill>
            </c:spPr>
          </c:dPt>
          <c:dPt>
            <c:idx val="485"/>
            <c:spPr>
              <a:solidFill>
                <a:srgbClr val="AEABAB"/>
              </a:solidFill>
            </c:spPr>
          </c:dPt>
          <c:dPt>
            <c:idx val="486"/>
            <c:spPr>
              <a:solidFill>
                <a:srgbClr val="AEABAB"/>
              </a:solidFill>
            </c:spPr>
          </c:dPt>
          <c:dPt>
            <c:idx val="487"/>
            <c:spPr>
              <a:solidFill>
                <a:srgbClr val="AEABAB"/>
              </a:solidFill>
            </c:spPr>
          </c:dPt>
          <c:dPt>
            <c:idx val="488"/>
            <c:spPr>
              <a:solidFill>
                <a:srgbClr val="AEABAB"/>
              </a:solidFill>
            </c:spPr>
          </c:dPt>
          <c:dPt>
            <c:idx val="489"/>
            <c:spPr>
              <a:solidFill>
                <a:srgbClr val="AEABAB"/>
              </a:solidFill>
            </c:spPr>
          </c:dPt>
          <c:dPt>
            <c:idx val="490"/>
            <c:spPr>
              <a:solidFill>
                <a:srgbClr val="AEABAB"/>
              </a:solidFill>
            </c:spPr>
          </c:dPt>
          <c:dPt>
            <c:idx val="491"/>
            <c:spPr>
              <a:solidFill>
                <a:srgbClr val="AEABAB"/>
              </a:solidFill>
            </c:spPr>
          </c:dPt>
          <c:dPt>
            <c:idx val="492"/>
            <c:spPr>
              <a:solidFill>
                <a:srgbClr val="AEABAB"/>
              </a:solidFill>
            </c:spPr>
          </c:dPt>
          <c:dPt>
            <c:idx val="493"/>
            <c:spPr>
              <a:solidFill>
                <a:srgbClr val="AEABAB"/>
              </a:solidFill>
            </c:spPr>
          </c:dPt>
          <c:dPt>
            <c:idx val="494"/>
            <c:spPr>
              <a:solidFill>
                <a:srgbClr val="AEABAB"/>
              </a:solidFill>
            </c:spPr>
          </c:dPt>
          <c:dPt>
            <c:idx val="495"/>
            <c:spPr>
              <a:solidFill>
                <a:srgbClr val="AEABAB"/>
              </a:solidFill>
            </c:spPr>
          </c:dPt>
          <c:dPt>
            <c:idx val="496"/>
            <c:spPr>
              <a:solidFill>
                <a:srgbClr val="AEABAB"/>
              </a:solidFill>
            </c:spPr>
          </c:dPt>
          <c:dPt>
            <c:idx val="497"/>
            <c:spPr>
              <a:solidFill>
                <a:srgbClr val="AEABAB"/>
              </a:solidFill>
            </c:spPr>
          </c:dPt>
          <c:dPt>
            <c:idx val="498"/>
            <c:spPr>
              <a:solidFill>
                <a:srgbClr val="AEABAB"/>
              </a:solidFill>
            </c:spPr>
          </c:dPt>
          <c:dPt>
            <c:idx val="499"/>
            <c:spPr>
              <a:solidFill>
                <a:srgbClr val="AEABAB"/>
              </a:solidFill>
            </c:spPr>
          </c:dPt>
          <c:dPt>
            <c:idx val="500"/>
            <c:spPr>
              <a:solidFill>
                <a:srgbClr val="AEABAB"/>
              </a:solidFill>
            </c:spPr>
          </c:dPt>
          <c:dPt>
            <c:idx val="501"/>
            <c:spPr>
              <a:solidFill>
                <a:srgbClr val="AEABAB"/>
              </a:solidFill>
            </c:spPr>
          </c:dPt>
          <c:dPt>
            <c:idx val="502"/>
            <c:spPr>
              <a:solidFill>
                <a:srgbClr val="AEABAB"/>
              </a:solidFill>
            </c:spPr>
          </c:dPt>
          <c:dPt>
            <c:idx val="503"/>
            <c:spPr>
              <a:solidFill>
                <a:srgbClr val="AEABAB"/>
              </a:solidFill>
            </c:spPr>
          </c:dPt>
          <c:dPt>
            <c:idx val="504"/>
            <c:spPr>
              <a:solidFill>
                <a:srgbClr val="AEABAB"/>
              </a:solidFill>
            </c:spPr>
          </c:dPt>
          <c:dPt>
            <c:idx val="505"/>
            <c:spPr>
              <a:solidFill>
                <a:srgbClr val="AEABAB"/>
              </a:solidFill>
            </c:spPr>
          </c:dPt>
          <c:dPt>
            <c:idx val="506"/>
            <c:spPr>
              <a:solidFill>
                <a:srgbClr val="AEABAB"/>
              </a:solidFill>
            </c:spPr>
          </c:dPt>
          <c:dPt>
            <c:idx val="507"/>
            <c:spPr>
              <a:solidFill>
                <a:srgbClr val="AEABAB"/>
              </a:solidFill>
            </c:spPr>
          </c:dPt>
          <c:dPt>
            <c:idx val="508"/>
            <c:spPr>
              <a:solidFill>
                <a:srgbClr val="AEABAB"/>
              </a:solidFill>
            </c:spPr>
          </c:dPt>
          <c:dPt>
            <c:idx val="509"/>
            <c:spPr>
              <a:solidFill>
                <a:srgbClr val="AEABAB"/>
              </a:solidFill>
            </c:spPr>
          </c:dPt>
          <c:dPt>
            <c:idx val="510"/>
            <c:spPr>
              <a:solidFill>
                <a:srgbClr val="AEABAB"/>
              </a:solidFill>
            </c:spPr>
          </c:dPt>
          <c:dPt>
            <c:idx val="511"/>
            <c:spPr>
              <a:solidFill>
                <a:srgbClr val="AEABAB"/>
              </a:solidFill>
            </c:spPr>
          </c:dPt>
          <c:dPt>
            <c:idx val="512"/>
            <c:spPr>
              <a:solidFill>
                <a:srgbClr val="AEABAB"/>
              </a:solidFill>
            </c:spPr>
          </c:dPt>
          <c:dPt>
            <c:idx val="513"/>
            <c:spPr>
              <a:solidFill>
                <a:srgbClr val="AEABAB"/>
              </a:solidFill>
            </c:spPr>
          </c:dPt>
          <c:dPt>
            <c:idx val="514"/>
            <c:spPr>
              <a:solidFill>
                <a:srgbClr val="AEABAB"/>
              </a:solidFill>
            </c:spPr>
          </c:dPt>
          <c:dPt>
            <c:idx val="515"/>
            <c:spPr>
              <a:solidFill>
                <a:srgbClr val="AEABAB"/>
              </a:solidFill>
            </c:spPr>
          </c:dPt>
          <c:dPt>
            <c:idx val="516"/>
            <c:spPr>
              <a:solidFill>
                <a:srgbClr val="AEABAB"/>
              </a:solidFill>
            </c:spPr>
          </c:dPt>
          <c:dPt>
            <c:idx val="517"/>
            <c:spPr>
              <a:solidFill>
                <a:srgbClr val="AEABAB"/>
              </a:solidFill>
            </c:spPr>
          </c:dPt>
          <c:dPt>
            <c:idx val="518"/>
            <c:spPr>
              <a:solidFill>
                <a:srgbClr val="AEABAB"/>
              </a:solidFill>
            </c:spPr>
          </c:dPt>
          <c:dPt>
            <c:idx val="519"/>
            <c:spPr>
              <a:solidFill>
                <a:srgbClr val="AEABAB"/>
              </a:solidFill>
            </c:spPr>
          </c:dPt>
          <c:dPt>
            <c:idx val="520"/>
            <c:spPr>
              <a:solidFill>
                <a:srgbClr val="AEABAB"/>
              </a:solidFill>
            </c:spPr>
          </c:dPt>
          <c:dPt>
            <c:idx val="521"/>
            <c:spPr>
              <a:solidFill>
                <a:srgbClr val="AEABAB"/>
              </a:solidFill>
            </c:spPr>
          </c:dPt>
          <c:dPt>
            <c:idx val="522"/>
            <c:spPr>
              <a:solidFill>
                <a:srgbClr val="AEABAB"/>
              </a:solidFill>
            </c:spPr>
          </c:dPt>
          <c:dPt>
            <c:idx val="523"/>
            <c:spPr>
              <a:solidFill>
                <a:srgbClr val="AEABAB"/>
              </a:solidFill>
            </c:spPr>
          </c:dPt>
          <c:dPt>
            <c:idx val="524"/>
            <c:spPr>
              <a:solidFill>
                <a:srgbClr val="AEABAB"/>
              </a:solidFill>
            </c:spPr>
          </c:dPt>
          <c:dPt>
            <c:idx val="525"/>
            <c:spPr>
              <a:solidFill>
                <a:srgbClr val="AEABAB"/>
              </a:solidFill>
            </c:spPr>
          </c:dPt>
          <c:dPt>
            <c:idx val="526"/>
            <c:spPr>
              <a:solidFill>
                <a:srgbClr val="AEABAB"/>
              </a:solidFill>
            </c:spPr>
          </c:dPt>
          <c:dPt>
            <c:idx val="527"/>
            <c:spPr>
              <a:solidFill>
                <a:srgbClr val="AEABAB"/>
              </a:solidFill>
            </c:spPr>
          </c:dPt>
          <c:dPt>
            <c:idx val="528"/>
            <c:spPr>
              <a:solidFill>
                <a:srgbClr val="AEABAB"/>
              </a:solidFill>
            </c:spPr>
          </c:dPt>
          <c:dPt>
            <c:idx val="529"/>
            <c:spPr>
              <a:solidFill>
                <a:srgbClr val="AEABAB"/>
              </a:solidFill>
            </c:spPr>
          </c:dPt>
          <c:dPt>
            <c:idx val="530"/>
            <c:spPr>
              <a:solidFill>
                <a:srgbClr val="AEABAB"/>
              </a:solidFill>
            </c:spPr>
          </c:dPt>
          <c:dPt>
            <c:idx val="531"/>
            <c:spPr>
              <a:solidFill>
                <a:srgbClr val="AEABAB"/>
              </a:solidFill>
            </c:spPr>
          </c:dPt>
          <c:dPt>
            <c:idx val="532"/>
            <c:spPr>
              <a:solidFill>
                <a:srgbClr val="AEABAB"/>
              </a:solidFill>
            </c:spPr>
          </c:dPt>
          <c:dPt>
            <c:idx val="533"/>
            <c:spPr>
              <a:solidFill>
                <a:srgbClr val="AEABAB"/>
              </a:solidFill>
            </c:spPr>
          </c:dPt>
          <c:dPt>
            <c:idx val="534"/>
            <c:spPr>
              <a:solidFill>
                <a:srgbClr val="AEABAB"/>
              </a:solidFill>
            </c:spPr>
          </c:dPt>
          <c:dPt>
            <c:idx val="535"/>
            <c:spPr>
              <a:solidFill>
                <a:srgbClr val="AEABAB"/>
              </a:solidFill>
            </c:spPr>
          </c:dPt>
          <c:dPt>
            <c:idx val="536"/>
            <c:spPr>
              <a:solidFill>
                <a:srgbClr val="AEABAB"/>
              </a:solidFill>
            </c:spPr>
          </c:dPt>
          <c:dPt>
            <c:idx val="537"/>
            <c:spPr>
              <a:solidFill>
                <a:srgbClr val="AEABAB"/>
              </a:solidFill>
            </c:spPr>
          </c:dPt>
          <c:dPt>
            <c:idx val="538"/>
            <c:spPr>
              <a:solidFill>
                <a:srgbClr val="AEABAB"/>
              </a:solidFill>
            </c:spPr>
          </c:dPt>
          <c:dPt>
            <c:idx val="539"/>
            <c:spPr>
              <a:solidFill>
                <a:srgbClr val="AEABAB"/>
              </a:solidFill>
            </c:spPr>
          </c:dPt>
          <c:dPt>
            <c:idx val="540"/>
            <c:spPr>
              <a:solidFill>
                <a:srgbClr val="AEABAB"/>
              </a:solidFill>
            </c:spPr>
          </c:dPt>
          <c:dPt>
            <c:idx val="541"/>
            <c:spPr>
              <a:solidFill>
                <a:srgbClr val="AEABAB"/>
              </a:solidFill>
            </c:spPr>
          </c:dPt>
          <c:dPt>
            <c:idx val="542"/>
            <c:spPr>
              <a:solidFill>
                <a:srgbClr val="AEABAB"/>
              </a:solidFill>
            </c:spPr>
          </c:dPt>
          <c:dPt>
            <c:idx val="543"/>
            <c:spPr>
              <a:solidFill>
                <a:srgbClr val="AEABAB"/>
              </a:solidFill>
            </c:spPr>
          </c:dPt>
          <c:dPt>
            <c:idx val="544"/>
            <c:spPr>
              <a:solidFill>
                <a:srgbClr val="AEABAB"/>
              </a:solidFill>
            </c:spPr>
          </c:dPt>
          <c:dPt>
            <c:idx val="545"/>
            <c:spPr>
              <a:solidFill>
                <a:srgbClr val="AEABAB"/>
              </a:solidFill>
            </c:spPr>
          </c:dPt>
          <c:dPt>
            <c:idx val="546"/>
            <c:spPr>
              <a:solidFill>
                <a:srgbClr val="AEABAB"/>
              </a:solidFill>
            </c:spPr>
          </c:dPt>
          <c:dPt>
            <c:idx val="547"/>
            <c:spPr>
              <a:solidFill>
                <a:srgbClr val="AEABAB"/>
              </a:solidFill>
            </c:spPr>
          </c:dPt>
          <c:dPt>
            <c:idx val="548"/>
            <c:spPr>
              <a:solidFill>
                <a:srgbClr val="AEABAB"/>
              </a:solidFill>
            </c:spPr>
          </c:dPt>
          <c:dPt>
            <c:idx val="549"/>
            <c:spPr>
              <a:solidFill>
                <a:srgbClr val="AEABAB"/>
              </a:solidFill>
            </c:spPr>
          </c:dPt>
          <c:dPt>
            <c:idx val="550"/>
            <c:spPr>
              <a:solidFill>
                <a:srgbClr val="AEABAB"/>
              </a:solidFill>
            </c:spPr>
          </c:dPt>
          <c:dPt>
            <c:idx val="551"/>
            <c:spPr>
              <a:solidFill>
                <a:srgbClr val="AEABAB"/>
              </a:solidFill>
            </c:spPr>
          </c:dPt>
          <c:dPt>
            <c:idx val="552"/>
            <c:spPr>
              <a:solidFill>
                <a:srgbClr val="AEABAB"/>
              </a:solidFill>
            </c:spPr>
          </c:dPt>
          <c:dPt>
            <c:idx val="553"/>
            <c:spPr>
              <a:solidFill>
                <a:srgbClr val="AEABAB"/>
              </a:solidFill>
            </c:spPr>
          </c:dPt>
          <c:dPt>
            <c:idx val="554"/>
            <c:spPr>
              <a:solidFill>
                <a:srgbClr val="AEABAB"/>
              </a:solidFill>
            </c:spPr>
          </c:dPt>
          <c:dPt>
            <c:idx val="555"/>
            <c:spPr>
              <a:solidFill>
                <a:srgbClr val="AEABAB"/>
              </a:solidFill>
            </c:spPr>
          </c:dPt>
          <c:dPt>
            <c:idx val="556"/>
            <c:spPr>
              <a:solidFill>
                <a:srgbClr val="AEABAB"/>
              </a:solidFill>
            </c:spPr>
          </c:dPt>
          <c:dPt>
            <c:idx val="557"/>
            <c:spPr>
              <a:solidFill>
                <a:srgbClr val="AEABAB"/>
              </a:solidFill>
            </c:spPr>
          </c:dPt>
          <c:dPt>
            <c:idx val="558"/>
            <c:spPr>
              <a:solidFill>
                <a:srgbClr val="AEABAB"/>
              </a:solidFill>
            </c:spPr>
          </c:dPt>
          <c:dPt>
            <c:idx val="559"/>
            <c:spPr>
              <a:solidFill>
                <a:srgbClr val="AEABAB"/>
              </a:solidFill>
            </c:spPr>
          </c:dPt>
          <c:dPt>
            <c:idx val="560"/>
            <c:spPr>
              <a:solidFill>
                <a:srgbClr val="AEABAB"/>
              </a:solidFill>
            </c:spPr>
          </c:dPt>
          <c:dPt>
            <c:idx val="561"/>
            <c:spPr>
              <a:solidFill>
                <a:srgbClr val="AEABAB"/>
              </a:solidFill>
            </c:spPr>
          </c:dPt>
          <c:dPt>
            <c:idx val="562"/>
            <c:spPr>
              <a:solidFill>
                <a:srgbClr val="AEABAB"/>
              </a:solidFill>
            </c:spPr>
          </c:dPt>
          <c:dPt>
            <c:idx val="563"/>
            <c:spPr>
              <a:solidFill>
                <a:srgbClr val="AEABAB"/>
              </a:solidFill>
            </c:spPr>
          </c:dPt>
          <c:dPt>
            <c:idx val="564"/>
            <c:spPr>
              <a:solidFill>
                <a:srgbClr val="AEABAB"/>
              </a:solidFill>
            </c:spPr>
          </c:dPt>
          <c:dPt>
            <c:idx val="565"/>
            <c:spPr>
              <a:solidFill>
                <a:srgbClr val="AEABAB"/>
              </a:solidFill>
            </c:spPr>
          </c:dPt>
          <c:dPt>
            <c:idx val="566"/>
            <c:spPr>
              <a:solidFill>
                <a:srgbClr val="AEABAB"/>
              </a:solidFill>
            </c:spPr>
          </c:dPt>
          <c:dPt>
            <c:idx val="567"/>
            <c:spPr>
              <a:solidFill>
                <a:srgbClr val="AEABAB"/>
              </a:solidFill>
            </c:spPr>
          </c:dPt>
          <c:dPt>
            <c:idx val="568"/>
            <c:spPr>
              <a:solidFill>
                <a:srgbClr val="AEABAB"/>
              </a:solidFill>
            </c:spPr>
          </c:dPt>
          <c:dPt>
            <c:idx val="569"/>
            <c:spPr>
              <a:solidFill>
                <a:srgbClr val="AEABAB"/>
              </a:solidFill>
            </c:spPr>
          </c:dPt>
          <c:dPt>
            <c:idx val="570"/>
            <c:spPr>
              <a:solidFill>
                <a:srgbClr val="AEABAB"/>
              </a:solidFill>
            </c:spPr>
          </c:dPt>
          <c:dPt>
            <c:idx val="571"/>
            <c:spPr>
              <a:solidFill>
                <a:srgbClr val="AEABAB"/>
              </a:solidFill>
            </c:spPr>
          </c:dPt>
          <c:dPt>
            <c:idx val="572"/>
            <c:spPr>
              <a:solidFill>
                <a:srgbClr val="AEABAB"/>
              </a:solidFill>
            </c:spPr>
          </c:dPt>
          <c:dPt>
            <c:idx val="573"/>
            <c:spPr>
              <a:solidFill>
                <a:srgbClr val="AEABAB"/>
              </a:solidFill>
            </c:spPr>
          </c:dPt>
          <c:dPt>
            <c:idx val="574"/>
            <c:spPr>
              <a:solidFill>
                <a:srgbClr val="AEABAB"/>
              </a:solidFill>
            </c:spPr>
          </c:dPt>
          <c:dPt>
            <c:idx val="575"/>
            <c:spPr>
              <a:solidFill>
                <a:srgbClr val="AEABAB"/>
              </a:solidFill>
            </c:spPr>
          </c:dPt>
          <c:dPt>
            <c:idx val="576"/>
            <c:spPr>
              <a:solidFill>
                <a:srgbClr val="AEABAB"/>
              </a:solidFill>
            </c:spPr>
          </c:dPt>
          <c:dPt>
            <c:idx val="577"/>
            <c:spPr>
              <a:solidFill>
                <a:srgbClr val="AEABAB"/>
              </a:solidFill>
            </c:spPr>
          </c:dPt>
          <c:dPt>
            <c:idx val="578"/>
            <c:spPr>
              <a:solidFill>
                <a:srgbClr val="AEABAB"/>
              </a:solidFill>
            </c:spPr>
          </c:dPt>
          <c:dPt>
            <c:idx val="579"/>
            <c:spPr>
              <a:solidFill>
                <a:srgbClr val="AEABAB"/>
              </a:solidFill>
            </c:spPr>
          </c:dPt>
          <c:dPt>
            <c:idx val="580"/>
            <c:spPr>
              <a:solidFill>
                <a:srgbClr val="AEABAB"/>
              </a:solidFill>
            </c:spPr>
          </c:dPt>
          <c:dPt>
            <c:idx val="581"/>
            <c:spPr>
              <a:solidFill>
                <a:srgbClr val="AEABAB"/>
              </a:solidFill>
            </c:spPr>
          </c:dPt>
          <c:dPt>
            <c:idx val="582"/>
            <c:spPr>
              <a:solidFill>
                <a:srgbClr val="AEABAB"/>
              </a:solidFill>
            </c:spPr>
          </c:dPt>
          <c:dPt>
            <c:idx val="583"/>
            <c:spPr>
              <a:solidFill>
                <a:srgbClr val="AEABAB"/>
              </a:solidFill>
            </c:spPr>
          </c:dPt>
          <c:dPt>
            <c:idx val="584"/>
            <c:spPr>
              <a:solidFill>
                <a:srgbClr val="AEABAB"/>
              </a:solidFill>
            </c:spPr>
          </c:dPt>
          <c:dPt>
            <c:idx val="585"/>
            <c:spPr>
              <a:solidFill>
                <a:srgbClr val="AEABAB"/>
              </a:solidFill>
            </c:spPr>
          </c:dPt>
          <c:dPt>
            <c:idx val="586"/>
            <c:spPr>
              <a:solidFill>
                <a:srgbClr val="AEABAB"/>
              </a:solidFill>
            </c:spPr>
          </c:dPt>
          <c:dPt>
            <c:idx val="587"/>
            <c:spPr>
              <a:solidFill>
                <a:srgbClr val="AEABAB"/>
              </a:solidFill>
            </c:spPr>
          </c:dPt>
          <c:dPt>
            <c:idx val="588"/>
            <c:spPr>
              <a:solidFill>
                <a:srgbClr val="AEABAB"/>
              </a:solidFill>
            </c:spPr>
          </c:dPt>
          <c:dPt>
            <c:idx val="589"/>
            <c:spPr>
              <a:solidFill>
                <a:srgbClr val="AEABAB"/>
              </a:solidFill>
            </c:spPr>
          </c:dPt>
          <c:dPt>
            <c:idx val="590"/>
            <c:spPr>
              <a:solidFill>
                <a:srgbClr val="AEABAB"/>
              </a:solidFill>
            </c:spPr>
          </c:dPt>
          <c:dPt>
            <c:idx val="591"/>
            <c:spPr>
              <a:solidFill>
                <a:srgbClr val="AEABAB"/>
              </a:solidFill>
            </c:spPr>
          </c:dPt>
          <c:dPt>
            <c:idx val="592"/>
            <c:spPr>
              <a:solidFill>
                <a:srgbClr val="AEABAB"/>
              </a:solidFill>
            </c:spPr>
          </c:dPt>
          <c:dPt>
            <c:idx val="593"/>
            <c:spPr>
              <a:solidFill>
                <a:srgbClr val="AEABAB"/>
              </a:solidFill>
            </c:spPr>
          </c:dPt>
          <c:dPt>
            <c:idx val="594"/>
            <c:spPr>
              <a:solidFill>
                <a:srgbClr val="AEABAB"/>
              </a:solidFill>
            </c:spPr>
          </c:dPt>
          <c:dPt>
            <c:idx val="595"/>
            <c:spPr>
              <a:solidFill>
                <a:srgbClr val="AEABAB"/>
              </a:solidFill>
            </c:spPr>
          </c:dPt>
          <c:dPt>
            <c:idx val="596"/>
            <c:spPr>
              <a:solidFill>
                <a:srgbClr val="AEABAB"/>
              </a:solidFill>
            </c:spPr>
          </c:dPt>
          <c:dPt>
            <c:idx val="597"/>
            <c:spPr>
              <a:solidFill>
                <a:srgbClr val="AEABAB"/>
              </a:solidFill>
            </c:spPr>
          </c:dPt>
          <c:dPt>
            <c:idx val="598"/>
            <c:spPr>
              <a:solidFill>
                <a:srgbClr val="AEABAB"/>
              </a:solidFill>
            </c:spPr>
          </c:dPt>
          <c:dPt>
            <c:idx val="599"/>
            <c:spPr>
              <a:solidFill>
                <a:srgbClr val="AEABAB"/>
              </a:solidFill>
            </c:spPr>
          </c:dPt>
          <c:dPt>
            <c:idx val="600"/>
            <c:spPr>
              <a:solidFill>
                <a:srgbClr val="AEABAB"/>
              </a:solidFill>
            </c:spPr>
          </c:dPt>
          <c:dPt>
            <c:idx val="601"/>
            <c:spPr>
              <a:solidFill>
                <a:srgbClr val="AEABAB"/>
              </a:solidFill>
            </c:spPr>
          </c:dPt>
          <c:dPt>
            <c:idx val="602"/>
            <c:spPr>
              <a:solidFill>
                <a:srgbClr val="AEABAB"/>
              </a:solidFill>
            </c:spPr>
          </c:dPt>
          <c:dPt>
            <c:idx val="603"/>
            <c:spPr>
              <a:solidFill>
                <a:srgbClr val="AEABAB"/>
              </a:solidFill>
            </c:spPr>
          </c:dPt>
          <c:dPt>
            <c:idx val="604"/>
            <c:spPr>
              <a:solidFill>
                <a:srgbClr val="AEABAB"/>
              </a:solidFill>
            </c:spPr>
          </c:dPt>
          <c:dPt>
            <c:idx val="605"/>
            <c:spPr>
              <a:solidFill>
                <a:srgbClr val="AEABAB"/>
              </a:solidFill>
            </c:spPr>
          </c:dPt>
          <c:dPt>
            <c:idx val="606"/>
            <c:spPr>
              <a:solidFill>
                <a:srgbClr val="AEABAB"/>
              </a:solidFill>
            </c:spPr>
          </c:dPt>
          <c:dPt>
            <c:idx val="607"/>
            <c:spPr>
              <a:solidFill>
                <a:srgbClr val="AEABAB"/>
              </a:solidFill>
            </c:spPr>
          </c:dPt>
          <c:dPt>
            <c:idx val="608"/>
            <c:spPr>
              <a:solidFill>
                <a:srgbClr val="AEABAB"/>
              </a:solidFill>
            </c:spPr>
          </c:dPt>
          <c:dPt>
            <c:idx val="609"/>
            <c:spPr>
              <a:solidFill>
                <a:srgbClr val="AEABAB"/>
              </a:solidFill>
            </c:spPr>
          </c:dPt>
          <c:dPt>
            <c:idx val="610"/>
            <c:spPr>
              <a:solidFill>
                <a:srgbClr val="AEABAB"/>
              </a:solidFill>
            </c:spPr>
          </c:dPt>
          <c:dPt>
            <c:idx val="611"/>
            <c:spPr>
              <a:solidFill>
                <a:srgbClr val="AEABAB"/>
              </a:solidFill>
            </c:spPr>
          </c:dPt>
          <c:dPt>
            <c:idx val="612"/>
            <c:spPr>
              <a:solidFill>
                <a:srgbClr val="AEABAB"/>
              </a:solidFill>
            </c:spPr>
          </c:dPt>
          <c:dPt>
            <c:idx val="613"/>
            <c:spPr>
              <a:solidFill>
                <a:srgbClr val="AEABAB"/>
              </a:solidFill>
            </c:spPr>
          </c:dPt>
          <c:cat>
            <c:strRef>
              <c:f>Sheet1!$A$2:$A$615</c:f>
              <c:strCache>
                <c:ptCount val="614"/>
                <c:pt idx="0">
                  <c:v>Caprice Des</c:v>
                </c:pt>
                <c:pt idx="1">
                  <c:v>Private Lab</c:v>
                </c:pt>
                <c:pt idx="2">
                  <c:v>Private Lab</c:v>
                </c:pt>
                <c:pt idx="3">
                  <c:v>Private Lab</c:v>
                </c:pt>
                <c:pt idx="4">
                  <c:v>Coeur De Li</c:v>
                </c:pt>
                <c:pt idx="5">
                  <c:v>President</c:v>
                </c:pt>
                <c:pt idx="6">
                  <c:v>Private Lab</c:v>
                </c:pt>
                <c:pt idx="7">
                  <c:v>Mini Babybe</c:v>
                </c:pt>
                <c:pt idx="8">
                  <c:v>Soignon</c:v>
                </c:pt>
                <c:pt idx="9">
                  <c:v>Private Lab</c:v>
                </c:pt>
                <c:pt idx="10">
                  <c:v>Private Lab</c:v>
                </c:pt>
                <c:pt idx="11">
                  <c:v>Caprice Des</c:v>
                </c:pt>
                <c:pt idx="12">
                  <c:v>President</c:v>
                </c:pt>
                <c:pt idx="13">
                  <c:v>La Vache Qu</c:v>
                </c:pt>
                <c:pt idx="14">
                  <c:v>Soignon</c:v>
                </c:pt>
                <c:pt idx="15">
                  <c:v>Le Rustique</c:v>
                </c:pt>
                <c:pt idx="16">
                  <c:v>Private Lab</c:v>
                </c:pt>
                <c:pt idx="17">
                  <c:v>St Moret</c:v>
                </c:pt>
                <c:pt idx="18">
                  <c:v>St Moret</c:v>
                </c:pt>
                <c:pt idx="19">
                  <c:v>La Vache Qu</c:v>
                </c:pt>
                <c:pt idx="20">
                  <c:v>Private Lab</c:v>
                </c:pt>
                <c:pt idx="21">
                  <c:v>President</c:v>
                </c:pt>
                <c:pt idx="22">
                  <c:v>Private Lab</c:v>
                </c:pt>
                <c:pt idx="23">
                  <c:v>St Moret</c:v>
                </c:pt>
                <c:pt idx="24">
                  <c:v>Private Lab</c:v>
                </c:pt>
                <c:pt idx="25">
                  <c:v>Galbani</c:v>
                </c:pt>
                <c:pt idx="26">
                  <c:v>Mini Babybe</c:v>
                </c:pt>
                <c:pt idx="27">
                  <c:v>Tartare</c:v>
                </c:pt>
                <c:pt idx="28">
                  <c:v>Private Lab</c:v>
                </c:pt>
                <c:pt idx="29">
                  <c:v>Private Lab</c:v>
                </c:pt>
                <c:pt idx="30">
                  <c:v>La Vache Qu</c:v>
                </c:pt>
                <c:pt idx="31">
                  <c:v>Coeur De Li</c:v>
                </c:pt>
                <c:pt idx="32">
                  <c:v>St Moret</c:v>
                </c:pt>
                <c:pt idx="33">
                  <c:v>Salakis</c:v>
                </c:pt>
                <c:pt idx="34">
                  <c:v>Kiri</c:v>
                </c:pt>
                <c:pt idx="35">
                  <c:v>Soignon</c:v>
                </c:pt>
                <c:pt idx="36">
                  <c:v>All Others</c:v>
                </c:pt>
                <c:pt idx="37">
                  <c:v>Private Lab</c:v>
                </c:pt>
                <c:pt idx="38">
                  <c:v>Private Lab</c:v>
                </c:pt>
                <c:pt idx="39">
                  <c:v>Private Lab</c:v>
                </c:pt>
                <c:pt idx="40">
                  <c:v>Private Lab</c:v>
                </c:pt>
                <c:pt idx="41">
                  <c:v>Private Lab</c:v>
                </c:pt>
                <c:pt idx="42">
                  <c:v>Galbani</c:v>
                </c:pt>
                <c:pt idx="43">
                  <c:v>Private Lab</c:v>
                </c:pt>
                <c:pt idx="44">
                  <c:v>Kiri</c:v>
                </c:pt>
                <c:pt idx="45">
                  <c:v>Private Lab</c:v>
                </c:pt>
                <c:pt idx="46">
                  <c:v>Private Lab</c:v>
                </c:pt>
                <c:pt idx="47">
                  <c:v>Galbani</c:v>
                </c:pt>
                <c:pt idx="48">
                  <c:v>Private Lab</c:v>
                </c:pt>
                <c:pt idx="49">
                  <c:v>Istara</c:v>
                </c:pt>
                <c:pt idx="50">
                  <c:v>Private Lab</c:v>
                </c:pt>
                <c:pt idx="51">
                  <c:v>Paysan Bret</c:v>
                </c:pt>
                <c:pt idx="52">
                  <c:v>Paysan Bret</c:v>
                </c:pt>
                <c:pt idx="53">
                  <c:v>Private Lab</c:v>
                </c:pt>
                <c:pt idx="54">
                  <c:v>Private Lab</c:v>
                </c:pt>
                <c:pt idx="55">
                  <c:v>Ficello</c:v>
                </c:pt>
                <c:pt idx="56">
                  <c:v>Tartare</c:v>
                </c:pt>
                <c:pt idx="57">
                  <c:v>Boursin</c:v>
                </c:pt>
                <c:pt idx="58">
                  <c:v>Boursin</c:v>
                </c:pt>
                <c:pt idx="59">
                  <c:v>Lou Perac</c:v>
                </c:pt>
                <c:pt idx="60">
                  <c:v>Private Lab</c:v>
                </c:pt>
                <c:pt idx="61">
                  <c:v>Kiri</c:v>
                </c:pt>
                <c:pt idx="62">
                  <c:v>Galbani</c:v>
                </c:pt>
                <c:pt idx="63">
                  <c:v>Galbani</c:v>
                </c:pt>
                <c:pt idx="64">
                  <c:v>Private Lab</c:v>
                </c:pt>
                <c:pt idx="65">
                  <c:v>Kiri</c:v>
                </c:pt>
                <c:pt idx="66">
                  <c:v>Private Lab</c:v>
                </c:pt>
                <c:pt idx="67">
                  <c:v>St Moret</c:v>
                </c:pt>
                <c:pt idx="68">
                  <c:v>Carre Frais</c:v>
                </c:pt>
                <c:pt idx="69">
                  <c:v>Private Lab</c:v>
                </c:pt>
                <c:pt idx="70">
                  <c:v>Lepetit</c:v>
                </c:pt>
                <c:pt idx="71">
                  <c:v>President</c:v>
                </c:pt>
                <c:pt idx="72">
                  <c:v>Boursin</c:v>
                </c:pt>
                <c:pt idx="73">
                  <c:v>Islos</c:v>
                </c:pt>
                <c:pt idx="74">
                  <c:v>Caprice Des</c:v>
                </c:pt>
                <c:pt idx="75">
                  <c:v>President</c:v>
                </c:pt>
                <c:pt idx="76">
                  <c:v>All Others</c:v>
                </c:pt>
                <c:pt idx="77">
                  <c:v>Salakis</c:v>
                </c:pt>
                <c:pt idx="78">
                  <c:v>Carre Frais</c:v>
                </c:pt>
                <c:pt idx="79">
                  <c:v>Coeur De Li</c:v>
                </c:pt>
                <c:pt idx="80">
                  <c:v>Philadelphi</c:v>
                </c:pt>
                <c:pt idx="81">
                  <c:v>Private Lab</c:v>
                </c:pt>
                <c:pt idx="82">
                  <c:v>Private Lab</c:v>
                </c:pt>
                <c:pt idx="83">
                  <c:v>Coeur De Li</c:v>
                </c:pt>
                <c:pt idx="84">
                  <c:v>Galbani</c:v>
                </c:pt>
                <c:pt idx="85">
                  <c:v>Kiri</c:v>
                </c:pt>
                <c:pt idx="86">
                  <c:v>St Moret</c:v>
                </c:pt>
                <c:pt idx="87">
                  <c:v>Soignon</c:v>
                </c:pt>
                <c:pt idx="88">
                  <c:v>President</c:v>
                </c:pt>
                <c:pt idx="89">
                  <c:v>Private Lab</c:v>
                </c:pt>
                <c:pt idx="90">
                  <c:v>Coeur De Li</c:v>
                </c:pt>
                <c:pt idx="91">
                  <c:v>Mini Babybe</c:v>
                </c:pt>
                <c:pt idx="92">
                  <c:v>President</c:v>
                </c:pt>
                <c:pt idx="93">
                  <c:v>All Others</c:v>
                </c:pt>
                <c:pt idx="94">
                  <c:v>Le Rustique</c:v>
                </c:pt>
                <c:pt idx="95">
                  <c:v>Petit Billy</c:v>
                </c:pt>
                <c:pt idx="96">
                  <c:v>Istara</c:v>
                </c:pt>
                <c:pt idx="97">
                  <c:v>Private Lab</c:v>
                </c:pt>
                <c:pt idx="98">
                  <c:v>Private Lab</c:v>
                </c:pt>
                <c:pt idx="99">
                  <c:v>President</c:v>
                </c:pt>
                <c:pt idx="100">
                  <c:v>Private Lab</c:v>
                </c:pt>
                <c:pt idx="101">
                  <c:v>President</c:v>
                </c:pt>
                <c:pt idx="102">
                  <c:v>Philadelphi</c:v>
                </c:pt>
                <c:pt idx="103">
                  <c:v>Ficello</c:v>
                </c:pt>
                <c:pt idx="104">
                  <c:v>Private Lab</c:v>
                </c:pt>
                <c:pt idx="105">
                  <c:v>Private Lab</c:v>
                </c:pt>
                <c:pt idx="106">
                  <c:v>All Others</c:v>
                </c:pt>
                <c:pt idx="107">
                  <c:v>Soignon</c:v>
                </c:pt>
                <c:pt idx="108">
                  <c:v>Etorki</c:v>
                </c:pt>
                <c:pt idx="109">
                  <c:v>Private Lab</c:v>
                </c:pt>
                <c:pt idx="110">
                  <c:v>Private Lab</c:v>
                </c:pt>
                <c:pt idx="111">
                  <c:v>St Moret</c:v>
                </c:pt>
                <c:pt idx="112">
                  <c:v>Private Lab</c:v>
                </c:pt>
                <c:pt idx="113">
                  <c:v>Soignon</c:v>
                </c:pt>
                <c:pt idx="114">
                  <c:v>All Others</c:v>
                </c:pt>
                <c:pt idx="115">
                  <c:v>Lactalis: A</c:v>
                </c:pt>
                <c:pt idx="116">
                  <c:v>Casa Azzurr</c:v>
                </c:pt>
                <c:pt idx="117">
                  <c:v>Tartare</c:v>
                </c:pt>
                <c:pt idx="118">
                  <c:v>La Vache Qu</c:v>
                </c:pt>
                <c:pt idx="119">
                  <c:v>All Others</c:v>
                </c:pt>
                <c:pt idx="120">
                  <c:v>Caprice Des</c:v>
                </c:pt>
                <c:pt idx="121">
                  <c:v>Soignon</c:v>
                </c:pt>
                <c:pt idx="122">
                  <c:v>Ficello</c:v>
                </c:pt>
                <c:pt idx="123">
                  <c:v>P'Tit Louis</c:v>
                </c:pt>
                <c:pt idx="124">
                  <c:v>Coeur De Li</c:v>
                </c:pt>
                <c:pt idx="125">
                  <c:v>Casa Azzurr</c:v>
                </c:pt>
                <c:pt idx="126">
                  <c:v>La Vache Qu</c:v>
                </c:pt>
                <c:pt idx="127">
                  <c:v>Soignon</c:v>
                </c:pt>
                <c:pt idx="128">
                  <c:v>All Others</c:v>
                </c:pt>
                <c:pt idx="129">
                  <c:v>All Others</c:v>
                </c:pt>
                <c:pt idx="130">
                  <c:v>Private Lab</c:v>
                </c:pt>
                <c:pt idx="131">
                  <c:v>Chavroux</c:v>
                </c:pt>
                <c:pt idx="132">
                  <c:v>Boursin</c:v>
                </c:pt>
                <c:pt idx="133">
                  <c:v>Private Lab</c:v>
                </c:pt>
                <c:pt idx="134">
                  <c:v>Lactalis: A</c:v>
                </c:pt>
                <c:pt idx="135">
                  <c:v>President</c:v>
                </c:pt>
                <c:pt idx="136">
                  <c:v>Paysan Bret</c:v>
                </c:pt>
                <c:pt idx="137">
                  <c:v>Salakis</c:v>
                </c:pt>
                <c:pt idx="138">
                  <c:v>Le Brebiou</c:v>
                </c:pt>
                <c:pt idx="139">
                  <c:v>Private Lab</c:v>
                </c:pt>
                <c:pt idx="140">
                  <c:v>President</c:v>
                </c:pt>
                <c:pt idx="141">
                  <c:v>Boursin</c:v>
                </c:pt>
                <c:pt idx="142">
                  <c:v>Private Lab</c:v>
                </c:pt>
                <c:pt idx="143">
                  <c:v>Boursin</c:v>
                </c:pt>
                <c:pt idx="144">
                  <c:v>Galbani</c:v>
                </c:pt>
                <c:pt idx="145">
                  <c:v>Private Lab</c:v>
                </c:pt>
                <c:pt idx="146">
                  <c:v>Soignon</c:v>
                </c:pt>
                <c:pt idx="147">
                  <c:v>Boursin</c:v>
                </c:pt>
                <c:pt idx="148">
                  <c:v>President</c:v>
                </c:pt>
                <c:pt idx="149">
                  <c:v>Private Lab</c:v>
                </c:pt>
                <c:pt idx="150">
                  <c:v>Casa Azzurr</c:v>
                </c:pt>
                <c:pt idx="151">
                  <c:v>All Others</c:v>
                </c:pt>
                <c:pt idx="152">
                  <c:v>Casa Azzurr</c:v>
                </c:pt>
                <c:pt idx="153">
                  <c:v>Paysan Bret</c:v>
                </c:pt>
                <c:pt idx="154">
                  <c:v>Private Lab</c:v>
                </c:pt>
                <c:pt idx="155">
                  <c:v>Le Rustique</c:v>
                </c:pt>
                <c:pt idx="156">
                  <c:v>Private Lab</c:v>
                </c:pt>
                <c:pt idx="157">
                  <c:v>All Others</c:v>
                </c:pt>
                <c:pt idx="158">
                  <c:v>Paysan Bret</c:v>
                </c:pt>
                <c:pt idx="159">
                  <c:v>Private Lab</c:v>
                </c:pt>
                <c:pt idx="160">
                  <c:v>Salakis</c:v>
                </c:pt>
                <c:pt idx="161">
                  <c:v>Soignon</c:v>
                </c:pt>
                <c:pt idx="162">
                  <c:v>La Vache Qu</c:v>
                </c:pt>
                <c:pt idx="163">
                  <c:v>Casa Azzurr</c:v>
                </c:pt>
                <c:pt idx="164">
                  <c:v>Lou Perac</c:v>
                </c:pt>
                <c:pt idx="165">
                  <c:v>Carre Frais</c:v>
                </c:pt>
                <c:pt idx="166">
                  <c:v>Paysan Bret</c:v>
                </c:pt>
                <c:pt idx="167">
                  <c:v>Boursin</c:v>
                </c:pt>
                <c:pt idx="168">
                  <c:v>All Others</c:v>
                </c:pt>
                <c:pt idx="169">
                  <c:v>Tartare</c:v>
                </c:pt>
                <c:pt idx="170">
                  <c:v>Chavroux</c:v>
                </c:pt>
                <c:pt idx="171">
                  <c:v>Lactalis: A</c:v>
                </c:pt>
                <c:pt idx="172">
                  <c:v>Soignon</c:v>
                </c:pt>
                <c:pt idx="173">
                  <c:v>Galbani</c:v>
                </c:pt>
                <c:pt idx="174">
                  <c:v>Private Lab</c:v>
                </c:pt>
                <c:pt idx="175">
                  <c:v>Pave D'Affi</c:v>
                </c:pt>
                <c:pt idx="176">
                  <c:v>Private Lab</c:v>
                </c:pt>
                <c:pt idx="177">
                  <c:v>Private Lab</c:v>
                </c:pt>
                <c:pt idx="178">
                  <c:v>All Others</c:v>
                </c:pt>
                <c:pt idx="179">
                  <c:v>Boursin</c:v>
                </c:pt>
                <c:pt idx="180">
                  <c:v>Paysan Bret</c:v>
                </c:pt>
                <c:pt idx="181">
                  <c:v>Private Lab</c:v>
                </c:pt>
                <c:pt idx="182">
                  <c:v>All Others</c:v>
                </c:pt>
                <c:pt idx="183">
                  <c:v>Caprice Des</c:v>
                </c:pt>
                <c:pt idx="184">
                  <c:v>All Others</c:v>
                </c:pt>
                <c:pt idx="185">
                  <c:v>Casa Azzurr</c:v>
                </c:pt>
                <c:pt idx="186">
                  <c:v>Boursin</c:v>
                </c:pt>
                <c:pt idx="187">
                  <c:v>Mini Babybe</c:v>
                </c:pt>
                <c:pt idx="188">
                  <c:v>Private Lab</c:v>
                </c:pt>
                <c:pt idx="189">
                  <c:v>Salakis</c:v>
                </c:pt>
                <c:pt idx="190">
                  <c:v>Private Lab</c:v>
                </c:pt>
                <c:pt idx="191">
                  <c:v>Tartare</c:v>
                </c:pt>
                <c:pt idx="192">
                  <c:v>Mini Babybe</c:v>
                </c:pt>
                <c:pt idx="193">
                  <c:v>Private Lab</c:v>
                </c:pt>
                <c:pt idx="194">
                  <c:v>Etorki</c:v>
                </c:pt>
                <c:pt idx="195">
                  <c:v>Galbani</c:v>
                </c:pt>
                <c:pt idx="196">
                  <c:v>Lou Perac</c:v>
                </c:pt>
                <c:pt idx="197">
                  <c:v>Private Lab</c:v>
                </c:pt>
                <c:pt idx="198">
                  <c:v>Savencia: A</c:v>
                </c:pt>
                <c:pt idx="199">
                  <c:v>St Moret</c:v>
                </c:pt>
                <c:pt idx="200">
                  <c:v>Private Lab</c:v>
                </c:pt>
                <c:pt idx="201">
                  <c:v>Saint Agur</c:v>
                </c:pt>
                <c:pt idx="202">
                  <c:v>Caprice Des</c:v>
                </c:pt>
                <c:pt idx="203">
                  <c:v>Kiri</c:v>
                </c:pt>
                <c:pt idx="204">
                  <c:v>Salakis</c:v>
                </c:pt>
                <c:pt idx="205">
                  <c:v>Caprice Des</c:v>
                </c:pt>
                <c:pt idx="206">
                  <c:v>Tartare</c:v>
                </c:pt>
                <c:pt idx="207">
                  <c:v>Casa Azzurr</c:v>
                </c:pt>
                <c:pt idx="208">
                  <c:v>Private Lab</c:v>
                </c:pt>
                <c:pt idx="209">
                  <c:v>Private Lab</c:v>
                </c:pt>
                <c:pt idx="210">
                  <c:v>St Moret</c:v>
                </c:pt>
                <c:pt idx="211">
                  <c:v>Boursin</c:v>
                </c:pt>
                <c:pt idx="212">
                  <c:v>Tartare</c:v>
                </c:pt>
                <c:pt idx="213">
                  <c:v>La Vache Qu</c:v>
                </c:pt>
                <c:pt idx="214">
                  <c:v>Paysan Bret</c:v>
                </c:pt>
                <c:pt idx="215">
                  <c:v>Le Rustique</c:v>
                </c:pt>
                <c:pt idx="216">
                  <c:v>Soignon</c:v>
                </c:pt>
                <c:pt idx="217">
                  <c:v>Kiri</c:v>
                </c:pt>
                <c:pt idx="218">
                  <c:v>Private Lab</c:v>
                </c:pt>
                <c:pt idx="219">
                  <c:v>All Others</c:v>
                </c:pt>
                <c:pt idx="220">
                  <c:v>Istara</c:v>
                </c:pt>
                <c:pt idx="221">
                  <c:v>All Others</c:v>
                </c:pt>
                <c:pt idx="222">
                  <c:v>Galbani</c:v>
                </c:pt>
                <c:pt idx="223">
                  <c:v>Soignon</c:v>
                </c:pt>
                <c:pt idx="224">
                  <c:v>Soignon</c:v>
                </c:pt>
                <c:pt idx="225">
                  <c:v>All Others</c:v>
                </c:pt>
                <c:pt idx="226">
                  <c:v>Kiri</c:v>
                </c:pt>
                <c:pt idx="227">
                  <c:v>All Others</c:v>
                </c:pt>
                <c:pt idx="228">
                  <c:v>All Others</c:v>
                </c:pt>
                <c:pt idx="229">
                  <c:v>Mini Babybe</c:v>
                </c:pt>
                <c:pt idx="230">
                  <c:v>Private Lab</c:v>
                </c:pt>
                <c:pt idx="231">
                  <c:v>All Others</c:v>
                </c:pt>
                <c:pt idx="232">
                  <c:v>Paysan Bret</c:v>
                </c:pt>
                <c:pt idx="233">
                  <c:v>All Others</c:v>
                </c:pt>
                <c:pt idx="234">
                  <c:v>Casa Azzurr</c:v>
                </c:pt>
                <c:pt idx="235">
                  <c:v>Private Lab</c:v>
                </c:pt>
                <c:pt idx="236">
                  <c:v>Corsica</c:v>
                </c:pt>
                <c:pt idx="237">
                  <c:v>Casa Azzurr</c:v>
                </c:pt>
                <c:pt idx="238">
                  <c:v>All Others</c:v>
                </c:pt>
                <c:pt idx="239">
                  <c:v>Islos</c:v>
                </c:pt>
                <c:pt idx="240">
                  <c:v>Soignon</c:v>
                </c:pt>
                <c:pt idx="241">
                  <c:v>Mini Babybe</c:v>
                </c:pt>
                <c:pt idx="242">
                  <c:v>Milleret: A</c:v>
                </c:pt>
                <c:pt idx="243">
                  <c:v>All Others</c:v>
                </c:pt>
                <c:pt idx="244">
                  <c:v>Boursin</c:v>
                </c:pt>
                <c:pt idx="245">
                  <c:v>Kiri</c:v>
                </c:pt>
                <c:pt idx="246">
                  <c:v>Soignon</c:v>
                </c:pt>
                <c:pt idx="247">
                  <c:v>Kiri</c:v>
                </c:pt>
                <c:pt idx="248">
                  <c:v>Paysan Bret</c:v>
                </c:pt>
                <c:pt idx="249">
                  <c:v>P'Tit Louis</c:v>
                </c:pt>
                <c:pt idx="250">
                  <c:v>All Others</c:v>
                </c:pt>
                <c:pt idx="251">
                  <c:v>All Others</c:v>
                </c:pt>
                <c:pt idx="252">
                  <c:v>Etoile Du Q</c:v>
                </c:pt>
                <c:pt idx="253">
                  <c:v>Galbani</c:v>
                </c:pt>
                <c:pt idx="254">
                  <c:v>All Others</c:v>
                </c:pt>
                <c:pt idx="255">
                  <c:v>Caprice Des</c:v>
                </c:pt>
                <c:pt idx="256">
                  <c:v>Triballat N</c:v>
                </c:pt>
                <c:pt idx="257">
                  <c:v>Lactalis: A</c:v>
                </c:pt>
                <c:pt idx="258">
                  <c:v>Salakis</c:v>
                </c:pt>
                <c:pt idx="259">
                  <c:v>All Others</c:v>
                </c:pt>
                <c:pt idx="260">
                  <c:v>Galbani</c:v>
                </c:pt>
                <c:pt idx="261">
                  <c:v>Mini Babybe</c:v>
                </c:pt>
                <c:pt idx="262">
                  <c:v>All Others</c:v>
                </c:pt>
                <c:pt idx="263">
                  <c:v>All Others</c:v>
                </c:pt>
                <c:pt idx="264">
                  <c:v>Le Brebiou</c:v>
                </c:pt>
                <c:pt idx="265">
                  <c:v>Galbani</c:v>
                </c:pt>
                <c:pt idx="266">
                  <c:v>Boursin</c:v>
                </c:pt>
                <c:pt idx="267">
                  <c:v>Paysan Bret</c:v>
                </c:pt>
                <c:pt idx="268">
                  <c:v>All Others</c:v>
                </c:pt>
                <c:pt idx="269">
                  <c:v>Etorki</c:v>
                </c:pt>
                <c:pt idx="270">
                  <c:v>Saint Agur</c:v>
                </c:pt>
                <c:pt idx="271">
                  <c:v>Islos</c:v>
                </c:pt>
                <c:pt idx="272">
                  <c:v>Carre Frais</c:v>
                </c:pt>
                <c:pt idx="273">
                  <c:v>All Others</c:v>
                </c:pt>
                <c:pt idx="274">
                  <c:v>Milleret: A</c:v>
                </c:pt>
                <c:pt idx="275">
                  <c:v>Triballat N</c:v>
                </c:pt>
                <c:pt idx="276">
                  <c:v>Galbani</c:v>
                </c:pt>
                <c:pt idx="277">
                  <c:v>Private Lab</c:v>
                </c:pt>
                <c:pt idx="278">
                  <c:v>Lactalis: A</c:v>
                </c:pt>
                <c:pt idx="279">
                  <c:v>Istara</c:v>
                </c:pt>
                <c:pt idx="280">
                  <c:v>Triballat N</c:v>
                </c:pt>
                <c:pt idx="281">
                  <c:v>All Others</c:v>
                </c:pt>
                <c:pt idx="282">
                  <c:v>All Others</c:v>
                </c:pt>
                <c:pt idx="283">
                  <c:v>All Others</c:v>
                </c:pt>
                <c:pt idx="284">
                  <c:v>Boursin</c:v>
                </c:pt>
                <c:pt idx="285">
                  <c:v>Chavroux</c:v>
                </c:pt>
                <c:pt idx="286">
                  <c:v>All Others</c:v>
                </c:pt>
                <c:pt idx="287">
                  <c:v>All Others</c:v>
                </c:pt>
                <c:pt idx="288">
                  <c:v>All Others</c:v>
                </c:pt>
                <c:pt idx="289">
                  <c:v>Lactalis: A</c:v>
                </c:pt>
                <c:pt idx="290">
                  <c:v>All Others</c:v>
                </c:pt>
                <c:pt idx="291">
                  <c:v>All Others</c:v>
                </c:pt>
                <c:pt idx="292">
                  <c:v>All Others</c:v>
                </c:pt>
                <c:pt idx="293">
                  <c:v>All Others</c:v>
                </c:pt>
                <c:pt idx="294">
                  <c:v>All Others</c:v>
                </c:pt>
                <c:pt idx="295">
                  <c:v>Boursin</c:v>
                </c:pt>
                <c:pt idx="296">
                  <c:v>Boursin</c:v>
                </c:pt>
                <c:pt idx="297">
                  <c:v>All Others</c:v>
                </c:pt>
                <c:pt idx="298">
                  <c:v>All Others</c:v>
                </c:pt>
                <c:pt idx="299">
                  <c:v>Triballat N</c:v>
                </c:pt>
                <c:pt idx="300">
                  <c:v>Tartare</c:v>
                </c:pt>
                <c:pt idx="301">
                  <c:v>Mini Babybe</c:v>
                </c:pt>
                <c:pt idx="302">
                  <c:v>All Others</c:v>
                </c:pt>
                <c:pt idx="303">
                  <c:v>All Others</c:v>
                </c:pt>
                <c:pt idx="304">
                  <c:v>All Others</c:v>
                </c:pt>
                <c:pt idx="305">
                  <c:v>All Others</c:v>
                </c:pt>
                <c:pt idx="306">
                  <c:v>Chavroux</c:v>
                </c:pt>
                <c:pt idx="307">
                  <c:v>All Others</c:v>
                </c:pt>
                <c:pt idx="308">
                  <c:v>All Others</c:v>
                </c:pt>
                <c:pt idx="309">
                  <c:v>All Others</c:v>
                </c:pt>
                <c:pt idx="310">
                  <c:v>All Others</c:v>
                </c:pt>
                <c:pt idx="311">
                  <c:v>All Others</c:v>
                </c:pt>
                <c:pt idx="312">
                  <c:v>Soignon</c:v>
                </c:pt>
                <c:pt idx="313">
                  <c:v>All Others</c:v>
                </c:pt>
                <c:pt idx="314">
                  <c:v>All Others</c:v>
                </c:pt>
                <c:pt idx="315">
                  <c:v>All Others</c:v>
                </c:pt>
                <c:pt idx="316">
                  <c:v>All Others</c:v>
                </c:pt>
                <c:pt idx="317">
                  <c:v>All Others</c:v>
                </c:pt>
                <c:pt idx="318">
                  <c:v>All Others</c:v>
                </c:pt>
                <c:pt idx="319">
                  <c:v>All Others</c:v>
                </c:pt>
                <c:pt idx="320">
                  <c:v>All Others</c:v>
                </c:pt>
                <c:pt idx="321">
                  <c:v>All Others</c:v>
                </c:pt>
                <c:pt idx="322">
                  <c:v>All Others</c:v>
                </c:pt>
                <c:pt idx="323">
                  <c:v>All Others</c:v>
                </c:pt>
                <c:pt idx="324">
                  <c:v>Chavroux</c:v>
                </c:pt>
                <c:pt idx="325">
                  <c:v>Boursin</c:v>
                </c:pt>
                <c:pt idx="326">
                  <c:v>All Others</c:v>
                </c:pt>
                <c:pt idx="327">
                  <c:v>All Others</c:v>
                </c:pt>
                <c:pt idx="328">
                  <c:v>All Others</c:v>
                </c:pt>
                <c:pt idx="329">
                  <c:v>All Others</c:v>
                </c:pt>
                <c:pt idx="330">
                  <c:v>Boursin</c:v>
                </c:pt>
                <c:pt idx="331">
                  <c:v>All Others</c:v>
                </c:pt>
                <c:pt idx="332">
                  <c:v>Salakis</c:v>
                </c:pt>
                <c:pt idx="333">
                  <c:v>All Others</c:v>
                </c:pt>
                <c:pt idx="334">
                  <c:v>All Others</c:v>
                </c:pt>
                <c:pt idx="335">
                  <c:v>All Others</c:v>
                </c:pt>
                <c:pt idx="336">
                  <c:v>All Others</c:v>
                </c:pt>
                <c:pt idx="337">
                  <c:v>All Others</c:v>
                </c:pt>
                <c:pt idx="338">
                  <c:v>All Others</c:v>
                </c:pt>
                <c:pt idx="339">
                  <c:v>All Others</c:v>
                </c:pt>
                <c:pt idx="340">
                  <c:v>President</c:v>
                </c:pt>
                <c:pt idx="341">
                  <c:v>All Others</c:v>
                </c:pt>
                <c:pt idx="342">
                  <c:v>Private Lab</c:v>
                </c:pt>
                <c:pt idx="343">
                  <c:v>All Others</c:v>
                </c:pt>
                <c:pt idx="344">
                  <c:v>All Others</c:v>
                </c:pt>
                <c:pt idx="345">
                  <c:v>All Others</c:v>
                </c:pt>
                <c:pt idx="346">
                  <c:v>All Others</c:v>
                </c:pt>
                <c:pt idx="347">
                  <c:v>All Others</c:v>
                </c:pt>
                <c:pt idx="348">
                  <c:v>Petit Billy</c:v>
                </c:pt>
                <c:pt idx="349">
                  <c:v>All Others</c:v>
                </c:pt>
                <c:pt idx="350">
                  <c:v>All Others</c:v>
                </c:pt>
                <c:pt idx="351">
                  <c:v>All Others</c:v>
                </c:pt>
                <c:pt idx="352">
                  <c:v>Salakis</c:v>
                </c:pt>
                <c:pt idx="353">
                  <c:v>Etoile Du V</c:v>
                </c:pt>
                <c:pt idx="354">
                  <c:v>All Others</c:v>
                </c:pt>
                <c:pt idx="355">
                  <c:v>All Others</c:v>
                </c:pt>
                <c:pt idx="356">
                  <c:v>All Others</c:v>
                </c:pt>
                <c:pt idx="357">
                  <c:v>All Others</c:v>
                </c:pt>
                <c:pt idx="358">
                  <c:v>Chavroux</c:v>
                </c:pt>
                <c:pt idx="359">
                  <c:v>All Others</c:v>
                </c:pt>
                <c:pt idx="360">
                  <c:v>Entremont</c:v>
                </c:pt>
                <c:pt idx="361">
                  <c:v>All Others</c:v>
                </c:pt>
                <c:pt idx="362">
                  <c:v>All Others</c:v>
                </c:pt>
                <c:pt idx="363">
                  <c:v>La Vache Qu</c:v>
                </c:pt>
                <c:pt idx="364">
                  <c:v>Lactalis: A</c:v>
                </c:pt>
                <c:pt idx="365">
                  <c:v>All Others</c:v>
                </c:pt>
                <c:pt idx="366">
                  <c:v>All Others</c:v>
                </c:pt>
                <c:pt idx="367">
                  <c:v>All Others</c:v>
                </c:pt>
                <c:pt idx="368">
                  <c:v>Entremont</c:v>
                </c:pt>
                <c:pt idx="369">
                  <c:v>Private Lab</c:v>
                </c:pt>
                <c:pt idx="370">
                  <c:v>All Others</c:v>
                </c:pt>
                <c:pt idx="371">
                  <c:v>All Others</c:v>
                </c:pt>
                <c:pt idx="372">
                  <c:v>Chavroux</c:v>
                </c:pt>
                <c:pt idx="373">
                  <c:v>Mini Babybe</c:v>
                </c:pt>
                <c:pt idx="374">
                  <c:v>All Others</c:v>
                </c:pt>
                <c:pt idx="375">
                  <c:v>All Others</c:v>
                </c:pt>
                <c:pt idx="376">
                  <c:v>All Others</c:v>
                </c:pt>
                <c:pt idx="377">
                  <c:v>All Others</c:v>
                </c:pt>
                <c:pt idx="378">
                  <c:v>All Others</c:v>
                </c:pt>
                <c:pt idx="379">
                  <c:v>All Others</c:v>
                </c:pt>
                <c:pt idx="380">
                  <c:v>Mini Babybe</c:v>
                </c:pt>
                <c:pt idx="381">
                  <c:v>All Others</c:v>
                </c:pt>
                <c:pt idx="382">
                  <c:v>All Others</c:v>
                </c:pt>
                <c:pt idx="383">
                  <c:v>All Others</c:v>
                </c:pt>
                <c:pt idx="384">
                  <c:v>All Others</c:v>
                </c:pt>
                <c:pt idx="385">
                  <c:v>All Others</c:v>
                </c:pt>
                <c:pt idx="386">
                  <c:v>All Others</c:v>
                </c:pt>
                <c:pt idx="387">
                  <c:v>All Others</c:v>
                </c:pt>
                <c:pt idx="388">
                  <c:v>All Others</c:v>
                </c:pt>
                <c:pt idx="389">
                  <c:v>All Others</c:v>
                </c:pt>
                <c:pt idx="390">
                  <c:v>Casa Azzurr</c:v>
                </c:pt>
                <c:pt idx="391">
                  <c:v>All Others</c:v>
                </c:pt>
                <c:pt idx="392">
                  <c:v>Corsica</c:v>
                </c:pt>
                <c:pt idx="393">
                  <c:v>All Others</c:v>
                </c:pt>
                <c:pt idx="394">
                  <c:v>All Others</c:v>
                </c:pt>
                <c:pt idx="395">
                  <c:v>All Others</c:v>
                </c:pt>
                <c:pt idx="396">
                  <c:v>All Others</c:v>
                </c:pt>
                <c:pt idx="397">
                  <c:v>Savencia: A</c:v>
                </c:pt>
                <c:pt idx="398">
                  <c:v>Savencia: A</c:v>
                </c:pt>
                <c:pt idx="399">
                  <c:v>All Others</c:v>
                </c:pt>
                <c:pt idx="400">
                  <c:v>All Others</c:v>
                </c:pt>
                <c:pt idx="401">
                  <c:v>All Others</c:v>
                </c:pt>
                <c:pt idx="402">
                  <c:v>All Others</c:v>
                </c:pt>
                <c:pt idx="403">
                  <c:v>All Others</c:v>
                </c:pt>
                <c:pt idx="404">
                  <c:v>All Others</c:v>
                </c:pt>
                <c:pt idx="405">
                  <c:v>All Others</c:v>
                </c:pt>
                <c:pt idx="406">
                  <c:v>All Others</c:v>
                </c:pt>
                <c:pt idx="407">
                  <c:v>All Others</c:v>
                </c:pt>
                <c:pt idx="408">
                  <c:v>All Others</c:v>
                </c:pt>
                <c:pt idx="409">
                  <c:v>All Others</c:v>
                </c:pt>
                <c:pt idx="410">
                  <c:v>All Others</c:v>
                </c:pt>
                <c:pt idx="411">
                  <c:v>All Others</c:v>
                </c:pt>
                <c:pt idx="412">
                  <c:v>All Others</c:v>
                </c:pt>
                <c:pt idx="413">
                  <c:v>Entremont</c:v>
                </c:pt>
                <c:pt idx="414">
                  <c:v>All Others</c:v>
                </c:pt>
                <c:pt idx="415">
                  <c:v>All Others</c:v>
                </c:pt>
                <c:pt idx="416">
                  <c:v>All Others</c:v>
                </c:pt>
                <c:pt idx="417">
                  <c:v>All Others</c:v>
                </c:pt>
                <c:pt idx="418">
                  <c:v>Kiri</c:v>
                </c:pt>
                <c:pt idx="419">
                  <c:v>All Others</c:v>
                </c:pt>
                <c:pt idx="420">
                  <c:v>All Others</c:v>
                </c:pt>
                <c:pt idx="421">
                  <c:v>All Others</c:v>
                </c:pt>
                <c:pt idx="422">
                  <c:v>All Others</c:v>
                </c:pt>
                <c:pt idx="423">
                  <c:v>All Others</c:v>
                </c:pt>
                <c:pt idx="424">
                  <c:v>All Others</c:v>
                </c:pt>
                <c:pt idx="425">
                  <c:v>All Others</c:v>
                </c:pt>
                <c:pt idx="426">
                  <c:v>All Others</c:v>
                </c:pt>
                <c:pt idx="427">
                  <c:v>All Others</c:v>
                </c:pt>
                <c:pt idx="428">
                  <c:v>All Others</c:v>
                </c:pt>
                <c:pt idx="429">
                  <c:v>All Others</c:v>
                </c:pt>
                <c:pt idx="430">
                  <c:v>All Others</c:v>
                </c:pt>
                <c:pt idx="431">
                  <c:v>All Others</c:v>
                </c:pt>
                <c:pt idx="432">
                  <c:v>All Others</c:v>
                </c:pt>
                <c:pt idx="433">
                  <c:v>All Others</c:v>
                </c:pt>
                <c:pt idx="434">
                  <c:v>All Others</c:v>
                </c:pt>
                <c:pt idx="435">
                  <c:v>All Others</c:v>
                </c:pt>
                <c:pt idx="436">
                  <c:v>All Others</c:v>
                </c:pt>
                <c:pt idx="437">
                  <c:v>All Others</c:v>
                </c:pt>
                <c:pt idx="438">
                  <c:v>All Others</c:v>
                </c:pt>
                <c:pt idx="439">
                  <c:v>All Others</c:v>
                </c:pt>
                <c:pt idx="440">
                  <c:v>All Others</c:v>
                </c:pt>
                <c:pt idx="441">
                  <c:v>All Others</c:v>
                </c:pt>
                <c:pt idx="442">
                  <c:v>All Others</c:v>
                </c:pt>
                <c:pt idx="443">
                  <c:v>All Others</c:v>
                </c:pt>
                <c:pt idx="444">
                  <c:v>All Others</c:v>
                </c:pt>
                <c:pt idx="445">
                  <c:v>All Others</c:v>
                </c:pt>
                <c:pt idx="446">
                  <c:v>All Others</c:v>
                </c:pt>
                <c:pt idx="447">
                  <c:v>All Others</c:v>
                </c:pt>
                <c:pt idx="448">
                  <c:v>All Others</c:v>
                </c:pt>
                <c:pt idx="449">
                  <c:v>All Others</c:v>
                </c:pt>
                <c:pt idx="450">
                  <c:v>All Others</c:v>
                </c:pt>
                <c:pt idx="451">
                  <c:v>All Others</c:v>
                </c:pt>
                <c:pt idx="452">
                  <c:v>All Others</c:v>
                </c:pt>
                <c:pt idx="453">
                  <c:v>All Others</c:v>
                </c:pt>
                <c:pt idx="454">
                  <c:v>All Others</c:v>
                </c:pt>
                <c:pt idx="455">
                  <c:v>All Others</c:v>
                </c:pt>
                <c:pt idx="456">
                  <c:v>Paysan Bret</c:v>
                </c:pt>
                <c:pt idx="457">
                  <c:v>All Others</c:v>
                </c:pt>
                <c:pt idx="458">
                  <c:v>All Others</c:v>
                </c:pt>
                <c:pt idx="459">
                  <c:v>All Others</c:v>
                </c:pt>
                <c:pt idx="460">
                  <c:v>All Others</c:v>
                </c:pt>
                <c:pt idx="461">
                  <c:v>All Others</c:v>
                </c:pt>
                <c:pt idx="462">
                  <c:v>All Others</c:v>
                </c:pt>
                <c:pt idx="463">
                  <c:v>All Others</c:v>
                </c:pt>
                <c:pt idx="464">
                  <c:v>All Others</c:v>
                </c:pt>
                <c:pt idx="465">
                  <c:v>All Others</c:v>
                </c:pt>
                <c:pt idx="466">
                  <c:v>All Others</c:v>
                </c:pt>
                <c:pt idx="467">
                  <c:v>All Others</c:v>
                </c:pt>
                <c:pt idx="468">
                  <c:v>All Others</c:v>
                </c:pt>
                <c:pt idx="469">
                  <c:v>Etoile Du V</c:v>
                </c:pt>
                <c:pt idx="470">
                  <c:v>All Others</c:v>
                </c:pt>
                <c:pt idx="471">
                  <c:v>All Others</c:v>
                </c:pt>
                <c:pt idx="472">
                  <c:v>All Others</c:v>
                </c:pt>
                <c:pt idx="473">
                  <c:v>Lactalis: A</c:v>
                </c:pt>
                <c:pt idx="474">
                  <c:v>All Others</c:v>
                </c:pt>
                <c:pt idx="475">
                  <c:v>All Others</c:v>
                </c:pt>
                <c:pt idx="476">
                  <c:v>All Others</c:v>
                </c:pt>
                <c:pt idx="477">
                  <c:v>All Others</c:v>
                </c:pt>
                <c:pt idx="478">
                  <c:v>All Others</c:v>
                </c:pt>
                <c:pt idx="479">
                  <c:v>All Others</c:v>
                </c:pt>
                <c:pt idx="480">
                  <c:v>All Others</c:v>
                </c:pt>
                <c:pt idx="481">
                  <c:v>All Others</c:v>
                </c:pt>
                <c:pt idx="482">
                  <c:v>All Others</c:v>
                </c:pt>
                <c:pt idx="483">
                  <c:v>All Others</c:v>
                </c:pt>
                <c:pt idx="484">
                  <c:v>All Others</c:v>
                </c:pt>
                <c:pt idx="485">
                  <c:v>All Others</c:v>
                </c:pt>
                <c:pt idx="486">
                  <c:v>All Others</c:v>
                </c:pt>
                <c:pt idx="487">
                  <c:v>All Others</c:v>
                </c:pt>
                <c:pt idx="488">
                  <c:v>All Others</c:v>
                </c:pt>
                <c:pt idx="489">
                  <c:v>Etoile Du V</c:v>
                </c:pt>
                <c:pt idx="490">
                  <c:v>All Others</c:v>
                </c:pt>
                <c:pt idx="491">
                  <c:v>All Others</c:v>
                </c:pt>
                <c:pt idx="492">
                  <c:v>All Others</c:v>
                </c:pt>
                <c:pt idx="493">
                  <c:v>All Others</c:v>
                </c:pt>
                <c:pt idx="494">
                  <c:v>All Others</c:v>
                </c:pt>
                <c:pt idx="495">
                  <c:v>All Others</c:v>
                </c:pt>
                <c:pt idx="496">
                  <c:v>All Others</c:v>
                </c:pt>
                <c:pt idx="497">
                  <c:v>All Others</c:v>
                </c:pt>
                <c:pt idx="498">
                  <c:v>All Others</c:v>
                </c:pt>
                <c:pt idx="499">
                  <c:v>All Others</c:v>
                </c:pt>
                <c:pt idx="500">
                  <c:v>All Others</c:v>
                </c:pt>
                <c:pt idx="501">
                  <c:v>All Others</c:v>
                </c:pt>
                <c:pt idx="502">
                  <c:v>Savencia: A</c:v>
                </c:pt>
                <c:pt idx="503">
                  <c:v>All Others</c:v>
                </c:pt>
                <c:pt idx="504">
                  <c:v>All Others</c:v>
                </c:pt>
                <c:pt idx="505">
                  <c:v>All Others</c:v>
                </c:pt>
                <c:pt idx="506">
                  <c:v>All Others</c:v>
                </c:pt>
                <c:pt idx="507">
                  <c:v>All Others</c:v>
                </c:pt>
                <c:pt idx="508">
                  <c:v>All Others</c:v>
                </c:pt>
                <c:pt idx="509">
                  <c:v>All Others</c:v>
                </c:pt>
                <c:pt idx="510">
                  <c:v>All Others</c:v>
                </c:pt>
                <c:pt idx="511">
                  <c:v>All Others</c:v>
                </c:pt>
                <c:pt idx="512">
                  <c:v>All Others</c:v>
                </c:pt>
                <c:pt idx="513">
                  <c:v>All Others</c:v>
                </c:pt>
                <c:pt idx="514">
                  <c:v>All Others</c:v>
                </c:pt>
                <c:pt idx="515">
                  <c:v>All Others</c:v>
                </c:pt>
                <c:pt idx="516">
                  <c:v>All Others</c:v>
                </c:pt>
                <c:pt idx="517">
                  <c:v>All Others</c:v>
                </c:pt>
                <c:pt idx="518">
                  <c:v>All Others</c:v>
                </c:pt>
                <c:pt idx="519">
                  <c:v>All Others</c:v>
                </c:pt>
                <c:pt idx="520">
                  <c:v>All Others</c:v>
                </c:pt>
                <c:pt idx="521">
                  <c:v>All Others</c:v>
                </c:pt>
                <c:pt idx="522">
                  <c:v>All Others</c:v>
                </c:pt>
                <c:pt idx="523">
                  <c:v>All Others</c:v>
                </c:pt>
                <c:pt idx="524">
                  <c:v>All Others</c:v>
                </c:pt>
                <c:pt idx="525">
                  <c:v>All Others</c:v>
                </c:pt>
                <c:pt idx="526">
                  <c:v>All Others</c:v>
                </c:pt>
                <c:pt idx="527">
                  <c:v>All Others</c:v>
                </c:pt>
                <c:pt idx="528">
                  <c:v>All Others</c:v>
                </c:pt>
                <c:pt idx="529">
                  <c:v>All Others</c:v>
                </c:pt>
                <c:pt idx="530">
                  <c:v>All Others</c:v>
                </c:pt>
                <c:pt idx="531">
                  <c:v>All Others</c:v>
                </c:pt>
                <c:pt idx="532">
                  <c:v>All Others</c:v>
                </c:pt>
                <c:pt idx="533">
                  <c:v>All Others</c:v>
                </c:pt>
                <c:pt idx="534">
                  <c:v>All Others</c:v>
                </c:pt>
                <c:pt idx="535">
                  <c:v>All Others</c:v>
                </c:pt>
                <c:pt idx="536">
                  <c:v>All Others</c:v>
                </c:pt>
                <c:pt idx="537">
                  <c:v>All Others</c:v>
                </c:pt>
                <c:pt idx="538">
                  <c:v>All Others</c:v>
                </c:pt>
                <c:pt idx="539">
                  <c:v>All Others</c:v>
                </c:pt>
                <c:pt idx="540">
                  <c:v>All Others</c:v>
                </c:pt>
                <c:pt idx="541">
                  <c:v>Savencia: A</c:v>
                </c:pt>
                <c:pt idx="542">
                  <c:v>Lactalis: A</c:v>
                </c:pt>
                <c:pt idx="543">
                  <c:v>All Others</c:v>
                </c:pt>
                <c:pt idx="544">
                  <c:v>All Others</c:v>
                </c:pt>
                <c:pt idx="545">
                  <c:v>All Others</c:v>
                </c:pt>
                <c:pt idx="546">
                  <c:v>All Others</c:v>
                </c:pt>
                <c:pt idx="547">
                  <c:v>All Others</c:v>
                </c:pt>
                <c:pt idx="548">
                  <c:v>All Others</c:v>
                </c:pt>
                <c:pt idx="549">
                  <c:v>All Others</c:v>
                </c:pt>
                <c:pt idx="550">
                  <c:v>All Others</c:v>
                </c:pt>
                <c:pt idx="551">
                  <c:v>All Others</c:v>
                </c:pt>
                <c:pt idx="552">
                  <c:v>Caprice Des</c:v>
                </c:pt>
                <c:pt idx="553">
                  <c:v>All Others</c:v>
                </c:pt>
                <c:pt idx="554">
                  <c:v>All Others</c:v>
                </c:pt>
                <c:pt idx="555">
                  <c:v>All Others</c:v>
                </c:pt>
                <c:pt idx="556">
                  <c:v>All Others</c:v>
                </c:pt>
                <c:pt idx="557">
                  <c:v>All Others</c:v>
                </c:pt>
                <c:pt idx="558">
                  <c:v>All Others</c:v>
                </c:pt>
                <c:pt idx="559">
                  <c:v>All Others</c:v>
                </c:pt>
                <c:pt idx="560">
                  <c:v>All Others</c:v>
                </c:pt>
                <c:pt idx="561">
                  <c:v>All Others</c:v>
                </c:pt>
                <c:pt idx="562">
                  <c:v>All Others</c:v>
                </c:pt>
                <c:pt idx="563">
                  <c:v>All Others</c:v>
                </c:pt>
                <c:pt idx="564">
                  <c:v>All Others</c:v>
                </c:pt>
                <c:pt idx="565">
                  <c:v>Lactalis: A</c:v>
                </c:pt>
                <c:pt idx="566">
                  <c:v>All Others</c:v>
                </c:pt>
                <c:pt idx="567">
                  <c:v>All Others</c:v>
                </c:pt>
                <c:pt idx="568">
                  <c:v>La Vache Qu</c:v>
                </c:pt>
                <c:pt idx="569">
                  <c:v>All Others</c:v>
                </c:pt>
                <c:pt idx="570">
                  <c:v>All Others</c:v>
                </c:pt>
                <c:pt idx="571">
                  <c:v>All Others</c:v>
                </c:pt>
                <c:pt idx="572">
                  <c:v>All Others</c:v>
                </c:pt>
                <c:pt idx="573">
                  <c:v>Gillot</c:v>
                </c:pt>
                <c:pt idx="574">
                  <c:v>All Others</c:v>
                </c:pt>
                <c:pt idx="575">
                  <c:v>All Others</c:v>
                </c:pt>
                <c:pt idx="576">
                  <c:v>All Others</c:v>
                </c:pt>
                <c:pt idx="577">
                  <c:v>All Others</c:v>
                </c:pt>
                <c:pt idx="578">
                  <c:v>Lactalis: A</c:v>
                </c:pt>
                <c:pt idx="579">
                  <c:v>Private Lab</c:v>
                </c:pt>
                <c:pt idx="580">
                  <c:v>All Others</c:v>
                </c:pt>
                <c:pt idx="581">
                  <c:v>All Others</c:v>
                </c:pt>
                <c:pt idx="582">
                  <c:v>All Others</c:v>
                </c:pt>
                <c:pt idx="583">
                  <c:v>All Others</c:v>
                </c:pt>
                <c:pt idx="584">
                  <c:v>All Others</c:v>
                </c:pt>
                <c:pt idx="585">
                  <c:v>All Others</c:v>
                </c:pt>
                <c:pt idx="586">
                  <c:v>All Others</c:v>
                </c:pt>
                <c:pt idx="587">
                  <c:v>All Others</c:v>
                </c:pt>
                <c:pt idx="588">
                  <c:v>All Others</c:v>
                </c:pt>
                <c:pt idx="589">
                  <c:v>All Others</c:v>
                </c:pt>
                <c:pt idx="590">
                  <c:v>Private Lab</c:v>
                </c:pt>
                <c:pt idx="591">
                  <c:v>All Others</c:v>
                </c:pt>
                <c:pt idx="592">
                  <c:v>All Others</c:v>
                </c:pt>
                <c:pt idx="593">
                  <c:v>All Others</c:v>
                </c:pt>
                <c:pt idx="594">
                  <c:v>All Others</c:v>
                </c:pt>
                <c:pt idx="595">
                  <c:v>All Others</c:v>
                </c:pt>
                <c:pt idx="596">
                  <c:v>All Others</c:v>
                </c:pt>
                <c:pt idx="597">
                  <c:v>All Others</c:v>
                </c:pt>
                <c:pt idx="598">
                  <c:v>All Others</c:v>
                </c:pt>
                <c:pt idx="599">
                  <c:v>All Others</c:v>
                </c:pt>
                <c:pt idx="600">
                  <c:v>Private Lab</c:v>
                </c:pt>
                <c:pt idx="601">
                  <c:v>All Others</c:v>
                </c:pt>
                <c:pt idx="602">
                  <c:v>Private Lab</c:v>
                </c:pt>
                <c:pt idx="603">
                  <c:v>All Others</c:v>
                </c:pt>
                <c:pt idx="604">
                  <c:v>All Others</c:v>
                </c:pt>
                <c:pt idx="605">
                  <c:v>All Others</c:v>
                </c:pt>
                <c:pt idx="606">
                  <c:v>Private Lab</c:v>
                </c:pt>
                <c:pt idx="607">
                  <c:v>Private Lab</c:v>
                </c:pt>
                <c:pt idx="608">
                  <c:v>All Others</c:v>
                </c:pt>
                <c:pt idx="609">
                  <c:v>All Others</c:v>
                </c:pt>
                <c:pt idx="610">
                  <c:v>Lactalis: A</c:v>
                </c:pt>
                <c:pt idx="611">
                  <c:v>All Others</c:v>
                </c:pt>
                <c:pt idx="612">
                  <c:v>President</c:v>
                </c:pt>
                <c:pt idx="613">
                  <c:v>All Others</c:v>
                </c:pt>
              </c:strCache>
            </c:strRef>
          </c:cat>
          <c:val>
            <c:numRef>
              <c:f>Sheet1!$C$2:$C$615</c:f>
              <c:numCache>
                <c:formatCode>General</c:formatCode>
                <c:ptCount val="614"/>
                <c:pt idx="0">
                  <c:v>0.02642928005750792</c:v>
                </c:pt>
                <c:pt idx="1">
                  <c:v>0.048020947395950586</c:v>
                </c:pt>
                <c:pt idx="2">
                  <c:v>0.06934077431736495</c:v>
                </c:pt>
                <c:pt idx="3">
                  <c:v>0.08868491570336881</c:v>
                </c:pt>
                <c:pt idx="4">
                  <c:v>0.10641357276041244</c:v>
                </c:pt>
                <c:pt idx="5">
                  <c:v>0.12398128981839232</c:v>
                </c:pt>
                <c:pt idx="6">
                  <c:v>0.1414679469438647</c:v>
                </c:pt>
                <c:pt idx="7">
                  <c:v>0.15883062738553383</c:v>
                </c:pt>
                <c:pt idx="8">
                  <c:v>0.17583575608305155</c:v>
                </c:pt>
                <c:pt idx="9">
                  <c:v>0.1923572706428339</c:v>
                </c:pt>
                <c:pt idx="10">
                  <c:v>0.20880307655562144</c:v>
                </c:pt>
                <c:pt idx="11">
                  <c:v>0.223706956498201</c:v>
                </c:pt>
                <c:pt idx="12">
                  <c:v>0.23727535734086055</c:v>
                </c:pt>
                <c:pt idx="13">
                  <c:v>0.25038934921880646</c:v>
                </c:pt>
                <c:pt idx="14">
                  <c:v>0.26258747887889405</c:v>
                </c:pt>
                <c:pt idx="15">
                  <c:v>0.2745701259201289</c:v>
                </c:pt>
                <c:pt idx="16">
                  <c:v>0.2863414861971662</c:v>
                </c:pt>
                <c:pt idx="17">
                  <c:v>0.2976467714976284</c:v>
                </c:pt>
                <c:pt idx="18">
                  <c:v>0.3087462452402379</c:v>
                </c:pt>
                <c:pt idx="19">
                  <c:v>0.31949886631899377</c:v>
                </c:pt>
                <c:pt idx="20">
                  <c:v>0.3299590185255762</c:v>
                </c:pt>
                <c:pt idx="21">
                  <c:v>0.3403390183888444</c:v>
                </c:pt>
                <c:pt idx="22">
                  <c:v>0.3502184321964627</c:v>
                </c:pt>
                <c:pt idx="23">
                  <c:v>0.35993068203758793</c:v>
                </c:pt>
                <c:pt idx="24">
                  <c:v>0.36928379010810963</c:v>
                </c:pt>
                <c:pt idx="25">
                  <c:v>0.37861498164497726</c:v>
                </c:pt>
                <c:pt idx="26">
                  <c:v>0.38778311431108753</c:v>
                </c:pt>
                <c:pt idx="27">
                  <c:v>0.39690792530149277</c:v>
                </c:pt>
                <c:pt idx="28">
                  <c:v>0.4059394692847408</c:v>
                </c:pt>
                <c:pt idx="29">
                  <c:v>0.4145292058301512</c:v>
                </c:pt>
                <c:pt idx="30">
                  <c:v>0.42310688714756534</c:v>
                </c:pt>
                <c:pt idx="31">
                  <c:v>0.4315587661306067</c:v>
                </c:pt>
                <c:pt idx="32">
                  <c:v>0.43996530056126026</c:v>
                </c:pt>
                <c:pt idx="33">
                  <c:v>0.44805232868859957</c:v>
                </c:pt>
                <c:pt idx="34">
                  <c:v>0.4558334695866154</c:v>
                </c:pt>
                <c:pt idx="35">
                  <c:v>0.4634861220353191</c:v>
                </c:pt>
                <c:pt idx="36">
                  <c:v>0.4710729585592348</c:v>
                </c:pt>
                <c:pt idx="37">
                  <c:v>0.4785980353839111</c:v>
                </c:pt>
                <c:pt idx="38">
                  <c:v>0.48590350005890515</c:v>
                </c:pt>
                <c:pt idx="39">
                  <c:v>0.49313469950279454</c:v>
                </c:pt>
                <c:pt idx="40">
                  <c:v>0.5003647278075518</c:v>
                </c:pt>
                <c:pt idx="41">
                  <c:v>0.5070520771170928</c:v>
                </c:pt>
                <c:pt idx="42">
                  <c:v>0.5137156877331377</c:v>
                </c:pt>
                <c:pt idx="43">
                  <c:v>0.5202903354092382</c:v>
                </c:pt>
                <c:pt idx="44">
                  <c:v>0.526806417401914</c:v>
                </c:pt>
                <c:pt idx="45">
                  <c:v>0.5332680772049054</c:v>
                </c:pt>
                <c:pt idx="46">
                  <c:v>0.539641699110784</c:v>
                </c:pt>
                <c:pt idx="47">
                  <c:v>0.5457183595779823</c:v>
                </c:pt>
                <c:pt idx="48">
                  <c:v>0.551615783397053</c:v>
                </c:pt>
                <c:pt idx="49">
                  <c:v>0.5573739236915028</c:v>
                </c:pt>
                <c:pt idx="50">
                  <c:v>0.563113732429612</c:v>
                </c:pt>
                <c:pt idx="51">
                  <c:v>0.568787404095988</c:v>
                </c:pt>
                <c:pt idx="52">
                  <c:v>0.574430868750502</c:v>
                </c:pt>
                <c:pt idx="53">
                  <c:v>0.5798719008715444</c:v>
                </c:pt>
                <c:pt idx="54">
                  <c:v>0.5852226104142163</c:v>
                </c:pt>
                <c:pt idx="55">
                  <c:v>0.5901866415810875</c:v>
                </c:pt>
                <c:pt idx="56">
                  <c:v>0.595011481727621</c:v>
                </c:pt>
                <c:pt idx="57">
                  <c:v>0.5997730908332036</c:v>
                </c:pt>
                <c:pt idx="58">
                  <c:v>0.6044863393976947</c:v>
                </c:pt>
                <c:pt idx="59">
                  <c:v>0.6091207935119338</c:v>
                </c:pt>
                <c:pt idx="60">
                  <c:v>0.6136657890028998</c:v>
                </c:pt>
                <c:pt idx="61">
                  <c:v>0.6181677036783697</c:v>
                </c:pt>
                <c:pt idx="62">
                  <c:v>0.6226298275491693</c:v>
                </c:pt>
                <c:pt idx="63">
                  <c:v>0.6270779815278475</c:v>
                </c:pt>
                <c:pt idx="64">
                  <c:v>0.6315084794059886</c:v>
                </c:pt>
                <c:pt idx="65">
                  <c:v>0.6359327341176982</c:v>
                </c:pt>
                <c:pt idx="66">
                  <c:v>0.6403505065481312</c:v>
                </c:pt>
                <c:pt idx="67">
                  <c:v>0.6447566688183454</c:v>
                </c:pt>
                <c:pt idx="68">
                  <c:v>0.6491588045341962</c:v>
                </c:pt>
                <c:pt idx="69">
                  <c:v>0.653520507151486</c:v>
                </c:pt>
                <c:pt idx="70">
                  <c:v>0.6578612898378705</c:v>
                </c:pt>
                <c:pt idx="71">
                  <c:v>0.6621983461724711</c:v>
                </c:pt>
                <c:pt idx="72">
                  <c:v>0.6664761282059307</c:v>
                </c:pt>
                <c:pt idx="73">
                  <c:v>0.670738872184603</c:v>
                </c:pt>
                <c:pt idx="74">
                  <c:v>0.6749740516322569</c:v>
                </c:pt>
                <c:pt idx="75">
                  <c:v>0.6791644345717667</c:v>
                </c:pt>
                <c:pt idx="76">
                  <c:v>0.6833170722730186</c:v>
                </c:pt>
                <c:pt idx="77">
                  <c:v>0.6873585826590077</c:v>
                </c:pt>
                <c:pt idx="78">
                  <c:v>0.691362358278922</c:v>
                </c:pt>
                <c:pt idx="79">
                  <c:v>0.6953584717516084</c:v>
                </c:pt>
                <c:pt idx="80">
                  <c:v>0.699300269501804</c:v>
                </c:pt>
                <c:pt idx="81">
                  <c:v>0.7030205666186499</c:v>
                </c:pt>
                <c:pt idx="82">
                  <c:v>0.7065980563212956</c:v>
                </c:pt>
                <c:pt idx="83">
                  <c:v>0.7101599250176337</c:v>
                </c:pt>
                <c:pt idx="84">
                  <c:v>0.7136871238067882</c:v>
                </c:pt>
                <c:pt idx="85">
                  <c:v>0.7172118022905676</c:v>
                </c:pt>
                <c:pt idx="86">
                  <c:v>0.7207227622146176</c:v>
                </c:pt>
                <c:pt idx="87">
                  <c:v>0.7241499970355867</c:v>
                </c:pt>
                <c:pt idx="88">
                  <c:v>0.7275381898129699</c:v>
                </c:pt>
                <c:pt idx="89">
                  <c:v>0.7309110966939015</c:v>
                </c:pt>
                <c:pt idx="90">
                  <c:v>0.7342189591008595</c:v>
                </c:pt>
                <c:pt idx="91">
                  <c:v>0.7375095895306919</c:v>
                </c:pt>
                <c:pt idx="92">
                  <c:v>0.7407963574703612</c:v>
                </c:pt>
                <c:pt idx="93">
                  <c:v>0.7440704889758779</c:v>
                </c:pt>
                <c:pt idx="94">
                  <c:v>0.7473416655804249</c:v>
                </c:pt>
                <c:pt idx="95">
                  <c:v>0.7506113289545284</c:v>
                </c:pt>
                <c:pt idx="96">
                  <c:v>0.7537461228291454</c:v>
                </c:pt>
                <c:pt idx="97">
                  <c:v>0.7568753455024068</c:v>
                </c:pt>
                <c:pt idx="98">
                  <c:v>0.760001417793949</c:v>
                </c:pt>
                <c:pt idx="99">
                  <c:v>0.7630862576102947</c:v>
                </c:pt>
                <c:pt idx="100">
                  <c:v>0.7661282696889001</c:v>
                </c:pt>
                <c:pt idx="101">
                  <c:v>0.7690956796811811</c:v>
                </c:pt>
                <c:pt idx="102">
                  <c:v>0.7720468979331809</c:v>
                </c:pt>
                <c:pt idx="103">
                  <c:v>0.7749427357907519</c:v>
                </c:pt>
                <c:pt idx="104">
                  <c:v>0.7777124012968174</c:v>
                </c:pt>
                <c:pt idx="105">
                  <c:v>0.7804702419629126</c:v>
                </c:pt>
                <c:pt idx="106">
                  <c:v>0.7831853875389189</c:v>
                </c:pt>
                <c:pt idx="107">
                  <c:v>0.7858538359055667</c:v>
                </c:pt>
                <c:pt idx="108">
                  <c:v>0.7885181896486616</c:v>
                </c:pt>
                <c:pt idx="109">
                  <c:v>0.791173181260155</c:v>
                </c:pt>
                <c:pt idx="110">
                  <c:v>0.7938183464732672</c:v>
                </c:pt>
                <c:pt idx="111">
                  <c:v>0.7964093338476316</c:v>
                </c:pt>
                <c:pt idx="112">
                  <c:v>0.7989531230932173</c:v>
                </c:pt>
                <c:pt idx="113">
                  <c:v>0.8014707301359405</c:v>
                </c:pt>
                <c:pt idx="114">
                  <c:v>0.803970749147316</c:v>
                </c:pt>
                <c:pt idx="115">
                  <c:v>0.8064351051394868</c:v>
                </c:pt>
                <c:pt idx="116">
                  <c:v>0.8088901688146094</c:v>
                </c:pt>
                <c:pt idx="117">
                  <c:v>0.8113358092703963</c:v>
                </c:pt>
                <c:pt idx="118">
                  <c:v>0.8137131518940244</c:v>
                </c:pt>
                <c:pt idx="119">
                  <c:v>0.8160793992397645</c:v>
                </c:pt>
                <c:pt idx="120">
                  <c:v>0.818433448237674</c:v>
                </c:pt>
                <c:pt idx="121">
                  <c:v>0.820768380265518</c:v>
                </c:pt>
                <c:pt idx="122">
                  <c:v>0.8230310263048443</c:v>
                </c:pt>
                <c:pt idx="123">
                  <c:v>0.8252565187842521</c:v>
                </c:pt>
                <c:pt idx="124">
                  <c:v>0.8274700310863086</c:v>
                </c:pt>
                <c:pt idx="125">
                  <c:v>0.8296649971522729</c:v>
                </c:pt>
                <c:pt idx="126">
                  <c:v>0.8318468642626689</c:v>
                </c:pt>
                <c:pt idx="127">
                  <c:v>0.8340185297214594</c:v>
                </c:pt>
                <c:pt idx="128">
                  <c:v>0.836178419210467</c:v>
                </c:pt>
                <c:pt idx="129">
                  <c:v>0.8383068904051123</c:v>
                </c:pt>
                <c:pt idx="130">
                  <c:v>0.8404192780720342</c:v>
                </c:pt>
                <c:pt idx="131">
                  <c:v>0.8425162471948533</c:v>
                </c:pt>
                <c:pt idx="132">
                  <c:v>0.8445927903247319</c:v>
                </c:pt>
                <c:pt idx="133">
                  <c:v>0.8466632508616516</c:v>
                </c:pt>
                <c:pt idx="134">
                  <c:v>0.8487093740452805</c:v>
                </c:pt>
                <c:pt idx="135">
                  <c:v>0.8507543941589667</c:v>
                </c:pt>
                <c:pt idx="136">
                  <c:v>0.8527670168291802</c:v>
                </c:pt>
                <c:pt idx="137">
                  <c:v>0.8547477447207049</c:v>
                </c:pt>
                <c:pt idx="138">
                  <c:v>0.8567097186778414</c:v>
                </c:pt>
                <c:pt idx="139">
                  <c:v>0.8586682298331327</c:v>
                </c:pt>
                <c:pt idx="140">
                  <c:v>0.8605854003006698</c:v>
                </c:pt>
                <c:pt idx="141">
                  <c:v>0.8624934617143611</c:v>
                </c:pt>
                <c:pt idx="142">
                  <c:v>0.8643723022467562</c:v>
                </c:pt>
                <c:pt idx="143">
                  <c:v>0.8662468875821259</c:v>
                </c:pt>
                <c:pt idx="144">
                  <c:v>0.8681196210864685</c:v>
                </c:pt>
                <c:pt idx="145">
                  <c:v>0.8699593165988114</c:v>
                </c:pt>
                <c:pt idx="146">
                  <c:v>0.8717377201694223</c:v>
                </c:pt>
                <c:pt idx="147">
                  <c:v>0.8735010699769714</c:v>
                </c:pt>
                <c:pt idx="148">
                  <c:v>0.8752524832412649</c:v>
                </c:pt>
                <c:pt idx="149">
                  <c:v>0.876999232893396</c:v>
                </c:pt>
                <c:pt idx="150">
                  <c:v>0.8787430834962</c:v>
                </c:pt>
                <c:pt idx="151">
                  <c:v>0.8804495449149683</c:v>
                </c:pt>
                <c:pt idx="152">
                  <c:v>0.8821478781743651</c:v>
                </c:pt>
                <c:pt idx="153">
                  <c:v>0.8838340479932081</c:v>
                </c:pt>
                <c:pt idx="154">
                  <c:v>0.8854972837312821</c:v>
                </c:pt>
                <c:pt idx="155">
                  <c:v>0.8871463366428471</c:v>
                </c:pt>
                <c:pt idx="156">
                  <c:v>0.888765110982633</c:v>
                </c:pt>
                <c:pt idx="157">
                  <c:v>0.890340404818605</c:v>
                </c:pt>
                <c:pt idx="158">
                  <c:v>0.8919138415874585</c:v>
                </c:pt>
                <c:pt idx="159">
                  <c:v>0.8934805447426433</c:v>
                </c:pt>
                <c:pt idx="160">
                  <c:v>0.8950237622820879</c:v>
                </c:pt>
                <c:pt idx="161">
                  <c:v>0.8965397277106402</c:v>
                </c:pt>
                <c:pt idx="162">
                  <c:v>0.8980522251012558</c:v>
                </c:pt>
                <c:pt idx="163">
                  <c:v>0.8995610554824578</c:v>
                </c:pt>
                <c:pt idx="164">
                  <c:v>0.9010526573772618</c:v>
                </c:pt>
                <c:pt idx="165">
                  <c:v>0.902543870055931</c:v>
                </c:pt>
                <c:pt idx="166">
                  <c:v>0.9040285306387701</c:v>
                </c:pt>
                <c:pt idx="167">
                  <c:v>0.9054949905675561</c:v>
                </c:pt>
                <c:pt idx="168">
                  <c:v>0.9069356226023377</c:v>
                </c:pt>
                <c:pt idx="169">
                  <c:v>0.9083627978819651</c:v>
                </c:pt>
                <c:pt idx="170">
                  <c:v>0.9097620874836285</c:v>
                </c:pt>
                <c:pt idx="171">
                  <c:v>0.9111538475857154</c:v>
                </c:pt>
                <c:pt idx="172">
                  <c:v>0.9125233560442922</c:v>
                </c:pt>
                <c:pt idx="173">
                  <c:v>0.9138701433564879</c:v>
                </c:pt>
                <c:pt idx="174">
                  <c:v>0.9152160108619434</c:v>
                </c:pt>
                <c:pt idx="175">
                  <c:v>0.9165561396111152</c:v>
                </c:pt>
                <c:pt idx="176">
                  <c:v>0.9178821920009718</c:v>
                </c:pt>
                <c:pt idx="177">
                  <c:v>0.9191985174781857</c:v>
                </c:pt>
                <c:pt idx="178">
                  <c:v>0.9205063325613487</c:v>
                </c:pt>
                <c:pt idx="179">
                  <c:v>0.9217830330434564</c:v>
                </c:pt>
                <c:pt idx="180">
                  <c:v>0.9230147031386664</c:v>
                </c:pt>
                <c:pt idx="181">
                  <c:v>0.9242462493130442</c:v>
                </c:pt>
                <c:pt idx="182">
                  <c:v>0.9254706272781589</c:v>
                </c:pt>
                <c:pt idx="183">
                  <c:v>0.9266920119442995</c:v>
                </c:pt>
                <c:pt idx="184">
                  <c:v>0.9278953512937682</c:v>
                </c:pt>
                <c:pt idx="185">
                  <c:v>0.9290854642761085</c:v>
                </c:pt>
                <c:pt idx="186">
                  <c:v>0.9302715070699896</c:v>
                </c:pt>
                <c:pt idx="187">
                  <c:v>0.9314348863144961</c:v>
                </c:pt>
                <c:pt idx="188">
                  <c:v>0.9325843532638878</c:v>
                </c:pt>
                <c:pt idx="189">
                  <c:v>0.9337183301092593</c:v>
                </c:pt>
                <c:pt idx="190">
                  <c:v>0.9348321549838122</c:v>
                </c:pt>
                <c:pt idx="191">
                  <c:v>0.9358576365225815</c:v>
                </c:pt>
                <c:pt idx="192">
                  <c:v>0.9368806187003414</c:v>
                </c:pt>
                <c:pt idx="193">
                  <c:v>0.9378930414269103</c:v>
                </c:pt>
                <c:pt idx="194">
                  <c:v>0.9389040521541381</c:v>
                </c:pt>
                <c:pt idx="195">
                  <c:v>0.9399030408152824</c:v>
                </c:pt>
                <c:pt idx="196">
                  <c:v>0.9409009892395822</c:v>
                </c:pt>
                <c:pt idx="197">
                  <c:v>0.9418748464068917</c:v>
                </c:pt>
                <c:pt idx="198">
                  <c:v>0.9428338644908908</c:v>
                </c:pt>
                <c:pt idx="199">
                  <c:v>0.9437837525766782</c:v>
                </c:pt>
                <c:pt idx="200">
                  <c:v>0.9447316160404191</c:v>
                </c:pt>
                <c:pt idx="201">
                  <c:v>0.9456508503012032</c:v>
                </c:pt>
                <c:pt idx="202">
                  <c:v>0.9465572526470853</c:v>
                </c:pt>
                <c:pt idx="203">
                  <c:v>0.9474542021024466</c:v>
                </c:pt>
                <c:pt idx="204">
                  <c:v>0.9483476887559626</c:v>
                </c:pt>
                <c:pt idx="205">
                  <c:v>0.9492114483726708</c:v>
                </c:pt>
                <c:pt idx="206">
                  <c:v>0.9500597056678121</c:v>
                </c:pt>
                <c:pt idx="207">
                  <c:v>0.9508971783598277</c:v>
                </c:pt>
                <c:pt idx="208">
                  <c:v>0.951732258158028</c:v>
                </c:pt>
                <c:pt idx="209">
                  <c:v>0.9525666712272439</c:v>
                </c:pt>
                <c:pt idx="210">
                  <c:v>0.9533881092617236</c:v>
                </c:pt>
                <c:pt idx="211">
                  <c:v>0.9542073760635946</c:v>
                </c:pt>
                <c:pt idx="212">
                  <c:v>0.9550080879025544</c:v>
                </c:pt>
                <c:pt idx="213">
                  <c:v>0.9558069095124828</c:v>
                </c:pt>
                <c:pt idx="214">
                  <c:v>0.956597800189153</c:v>
                </c:pt>
                <c:pt idx="215">
                  <c:v>0.957356422579274</c:v>
                </c:pt>
                <c:pt idx="216">
                  <c:v>0.9581087721317784</c:v>
                </c:pt>
                <c:pt idx="217">
                  <c:v>0.9588550600356899</c:v>
                </c:pt>
                <c:pt idx="218">
                  <c:v>0.9595957435763328</c:v>
                </c:pt>
                <c:pt idx="219">
                  <c:v>0.9603171041939779</c:v>
                </c:pt>
                <c:pt idx="220">
                  <c:v>0.9610266661521102</c:v>
                </c:pt>
                <c:pt idx="221">
                  <c:v>0.9617263318973079</c:v>
                </c:pt>
                <c:pt idx="222">
                  <c:v>0.9623981311635441</c:v>
                </c:pt>
                <c:pt idx="223">
                  <c:v>0.9630665461693075</c:v>
                </c:pt>
                <c:pt idx="224">
                  <c:v>0.9637147830237949</c:v>
                </c:pt>
                <c:pt idx="225">
                  <c:v>0.9643622798440169</c:v>
                </c:pt>
                <c:pt idx="226">
                  <c:v>0.9650078445464755</c:v>
                </c:pt>
                <c:pt idx="227">
                  <c:v>0.9656393992134445</c:v>
                </c:pt>
                <c:pt idx="228">
                  <c:v>0.9662675783467601</c:v>
                </c:pt>
                <c:pt idx="229">
                  <c:v>0.9668600089380431</c:v>
                </c:pt>
                <c:pt idx="230">
                  <c:v>0.9674356177127014</c:v>
                </c:pt>
                <c:pt idx="231">
                  <c:v>0.9680057826975637</c:v>
                </c:pt>
                <c:pt idx="232">
                  <c:v>0.9685751448150627</c:v>
                </c:pt>
                <c:pt idx="233">
                  <c:v>0.9691428488369201</c:v>
                </c:pt>
                <c:pt idx="234">
                  <c:v>0.9697058770290683</c:v>
                </c:pt>
                <c:pt idx="235">
                  <c:v>0.970265655353759</c:v>
                </c:pt>
                <c:pt idx="236">
                  <c:v>0.9708017787624176</c:v>
                </c:pt>
                <c:pt idx="237">
                  <c:v>0.9713377852316993</c:v>
                </c:pt>
                <c:pt idx="238">
                  <c:v>0.9718727916075047</c:v>
                </c:pt>
                <c:pt idx="239">
                  <c:v>0.9723959417267908</c:v>
                </c:pt>
                <c:pt idx="240">
                  <c:v>0.9729148471212344</c:v>
                </c:pt>
                <c:pt idx="241">
                  <c:v>0.9734070693933954</c:v>
                </c:pt>
                <c:pt idx="242">
                  <c:v>0.9738973944550696</c:v>
                </c:pt>
                <c:pt idx="243">
                  <c:v>0.9743799770827796</c:v>
                </c:pt>
                <c:pt idx="244">
                  <c:v>0.974859152760287</c:v>
                </c:pt>
                <c:pt idx="245">
                  <c:v>0.975337851953468</c:v>
                </c:pt>
                <c:pt idx="246">
                  <c:v>0.9758119852748612</c:v>
                </c:pt>
                <c:pt idx="247">
                  <c:v>0.9762849125498456</c:v>
                </c:pt>
                <c:pt idx="248">
                  <c:v>0.9767369373475631</c:v>
                </c:pt>
                <c:pt idx="249">
                  <c:v>0.9771695397365441</c:v>
                </c:pt>
                <c:pt idx="250">
                  <c:v>0.9775920312328391</c:v>
                </c:pt>
                <c:pt idx="251">
                  <c:v>0.9780136954266772</c:v>
                </c:pt>
                <c:pt idx="252">
                  <c:v>0.9784335880762245</c:v>
                </c:pt>
                <c:pt idx="253">
                  <c:v>0.9788530461301773</c:v>
                </c:pt>
                <c:pt idx="254">
                  <c:v>0.9792706279180095</c:v>
                </c:pt>
                <c:pt idx="255">
                  <c:v>0.9796872270660034</c:v>
                </c:pt>
                <c:pt idx="256">
                  <c:v>0.9801017282866699</c:v>
                </c:pt>
                <c:pt idx="257">
                  <c:v>0.9805100928080986</c:v>
                </c:pt>
                <c:pt idx="258">
                  <c:v>0.9809169685341776</c:v>
                </c:pt>
                <c:pt idx="259">
                  <c:v>0.981312588408896</c:v>
                </c:pt>
                <c:pt idx="260">
                  <c:v>0.981698771101368</c:v>
                </c:pt>
                <c:pt idx="261">
                  <c:v>0.9820825172659289</c:v>
                </c:pt>
                <c:pt idx="262">
                  <c:v>0.9824201788438366</c:v>
                </c:pt>
                <c:pt idx="263">
                  <c:v>0.982753175064218</c:v>
                </c:pt>
                <c:pt idx="264">
                  <c:v>0.9830817240975523</c:v>
                </c:pt>
                <c:pt idx="265">
                  <c:v>0.9834099676922159</c:v>
                </c:pt>
                <c:pt idx="266">
                  <c:v>0.9837343191255312</c:v>
                </c:pt>
                <c:pt idx="267">
                  <c:v>0.9840370908804124</c:v>
                </c:pt>
                <c:pt idx="268">
                  <c:v>0.9843385029968673</c:v>
                </c:pt>
                <c:pt idx="269">
                  <c:v>0.9846267725236579</c:v>
                </c:pt>
                <c:pt idx="270">
                  <c:v>0.9849135043849115</c:v>
                </c:pt>
                <c:pt idx="271">
                  <c:v>0.9851964837139237</c:v>
                </c:pt>
                <c:pt idx="272">
                  <c:v>0.9854728585861907</c:v>
                </c:pt>
                <c:pt idx="273">
                  <c:v>0.9857461406737452</c:v>
                </c:pt>
                <c:pt idx="274">
                  <c:v>0.986006547212302</c:v>
                </c:pt>
                <c:pt idx="275">
                  <c:v>0.9862543574600741</c:v>
                </c:pt>
                <c:pt idx="276">
                  <c:v>0.9865004171079215</c:v>
                </c:pt>
                <c:pt idx="277">
                  <c:v>0.9867377621541494</c:v>
                </c:pt>
                <c:pt idx="278">
                  <c:v>0.9869528555568674</c:v>
                </c:pt>
                <c:pt idx="279">
                  <c:v>0.9871667481492681</c:v>
                </c:pt>
                <c:pt idx="280">
                  <c:v>0.9873758305189443</c:v>
                </c:pt>
                <c:pt idx="281">
                  <c:v>0.9875795179690119</c:v>
                </c:pt>
                <c:pt idx="282">
                  <c:v>0.9877813815138738</c:v>
                </c:pt>
                <c:pt idx="283">
                  <c:v>0.9879791312361808</c:v>
                </c:pt>
                <c:pt idx="284">
                  <c:v>0.9881650630999728</c:v>
                </c:pt>
                <c:pt idx="285">
                  <c:v>0.9883456646226181</c:v>
                </c:pt>
                <c:pt idx="286">
                  <c:v>0.9885260950996078</c:v>
                </c:pt>
                <c:pt idx="287">
                  <c:v>0.9887032582555015</c:v>
                </c:pt>
                <c:pt idx="288">
                  <c:v>0.9888788313849433</c:v>
                </c:pt>
                <c:pt idx="289">
                  <c:v>0.9890466289185078</c:v>
                </c:pt>
                <c:pt idx="290">
                  <c:v>0.9892143112580594</c:v>
                </c:pt>
                <c:pt idx="291">
                  <c:v>0.9893787559477003</c:v>
                </c:pt>
                <c:pt idx="292">
                  <c:v>0.9895431762022475</c:v>
                </c:pt>
                <c:pt idx="293">
                  <c:v>0.9897071810602025</c:v>
                </c:pt>
                <c:pt idx="294">
                  <c:v>0.9898677946762294</c:v>
                </c:pt>
                <c:pt idx="295">
                  <c:v>0.9900227026978855</c:v>
                </c:pt>
                <c:pt idx="296">
                  <c:v>0.9901766193528843</c:v>
                </c:pt>
                <c:pt idx="297">
                  <c:v>0.9903299443295436</c:v>
                </c:pt>
                <c:pt idx="298">
                  <c:v>0.9904808694309322</c:v>
                </c:pt>
                <c:pt idx="299">
                  <c:v>0.9906294470179651</c:v>
                </c:pt>
                <c:pt idx="300">
                  <c:v>0.9907726523751192</c:v>
                </c:pt>
                <c:pt idx="301">
                  <c:v>0.990915180531106</c:v>
                </c:pt>
                <c:pt idx="302">
                  <c:v>0.9910485507630599</c:v>
                </c:pt>
                <c:pt idx="303">
                  <c:v>0.9911811704885654</c:v>
                </c:pt>
                <c:pt idx="304">
                  <c:v>0.9913090009357124</c:v>
                </c:pt>
                <c:pt idx="305">
                  <c:v>0.991435412402063</c:v>
                </c:pt>
                <c:pt idx="306">
                  <c:v>0.9915589806707292</c:v>
                </c:pt>
                <c:pt idx="307">
                  <c:v>0.9916807791404686</c:v>
                </c:pt>
                <c:pt idx="308">
                  <c:v>0.9918004674653336</c:v>
                </c:pt>
                <c:pt idx="309">
                  <c:v>0.9919187490269489</c:v>
                </c:pt>
                <c:pt idx="310">
                  <c:v>0.9920336184022702</c:v>
                </c:pt>
                <c:pt idx="311">
                  <c:v>0.9921444245705878</c:v>
                </c:pt>
                <c:pt idx="312">
                  <c:v>0.9922443222149476</c:v>
                </c:pt>
                <c:pt idx="313">
                  <c:v>0.9923404044939679</c:v>
                </c:pt>
                <c:pt idx="314">
                  <c:v>0.9924361656260429</c:v>
                </c:pt>
                <c:pt idx="315">
                  <c:v>0.9925307346746197</c:v>
                </c:pt>
                <c:pt idx="316">
                  <c:v>0.9926245444899291</c:v>
                </c:pt>
                <c:pt idx="317">
                  <c:v>0.9927183001989597</c:v>
                </c:pt>
                <c:pt idx="318">
                  <c:v>0.9928088217488072</c:v>
                </c:pt>
                <c:pt idx="319">
                  <c:v>0.9928988004905026</c:v>
                </c:pt>
                <c:pt idx="320">
                  <c:v>0.99298787862446</c:v>
                </c:pt>
                <c:pt idx="321">
                  <c:v>0.9930737871776963</c:v>
                </c:pt>
                <c:pt idx="322">
                  <c:v>0.9931572644391129</c:v>
                </c:pt>
                <c:pt idx="323">
                  <c:v>0.9932395775428526</c:v>
                </c:pt>
                <c:pt idx="324">
                  <c:v>0.993320628748541</c:v>
                </c:pt>
                <c:pt idx="325">
                  <c:v>0.993400929447781</c:v>
                </c:pt>
                <c:pt idx="326">
                  <c:v>0.9934807501719669</c:v>
                </c:pt>
                <c:pt idx="327">
                  <c:v>0.9935602602213905</c:v>
                </c:pt>
                <c:pt idx="328">
                  <c:v>0.9936395747900648</c:v>
                </c:pt>
                <c:pt idx="329">
                  <c:v>0.993718545522064</c:v>
                </c:pt>
                <c:pt idx="330">
                  <c:v>0.9937962753003776</c:v>
                </c:pt>
                <c:pt idx="331">
                  <c:v>0.9938732179196025</c:v>
                </c:pt>
                <c:pt idx="332">
                  <c:v>0.9939493890880131</c:v>
                </c:pt>
                <c:pt idx="333">
                  <c:v>0.9940254991686895</c:v>
                </c:pt>
                <c:pt idx="334">
                  <c:v>0.9941006824611706</c:v>
                </c:pt>
                <c:pt idx="335">
                  <c:v>0.9941724745117235</c:v>
                </c:pt>
                <c:pt idx="336">
                  <c:v>0.9942439279616928</c:v>
                </c:pt>
                <c:pt idx="337">
                  <c:v>0.9943150288481678</c:v>
                </c:pt>
                <c:pt idx="338">
                  <c:v>0.9943849620862384</c:v>
                </c:pt>
                <c:pt idx="339">
                  <c:v>0.9944546352650978</c:v>
                </c:pt>
                <c:pt idx="340">
                  <c:v>0.9945242700459529</c:v>
                </c:pt>
                <c:pt idx="341">
                  <c:v>0.99459352782822</c:v>
                </c:pt>
                <c:pt idx="342">
                  <c:v>0.9946625726760994</c:v>
                </c:pt>
                <c:pt idx="343">
                  <c:v>0.9947308251287985</c:v>
                </c:pt>
                <c:pt idx="344">
                  <c:v>0.9947985626991669</c:v>
                </c:pt>
                <c:pt idx="345">
                  <c:v>0.9948629194997902</c:v>
                </c:pt>
                <c:pt idx="346">
                  <c:v>0.9949267526912636</c:v>
                </c:pt>
                <c:pt idx="347">
                  <c:v>0.994990104162319</c:v>
                </c:pt>
                <c:pt idx="348">
                  <c:v>0.9950525969143684</c:v>
                </c:pt>
                <c:pt idx="349">
                  <c:v>0.9951145451129019</c:v>
                </c:pt>
                <c:pt idx="350">
                  <c:v>0.9951763658998755</c:v>
                </c:pt>
                <c:pt idx="351">
                  <c:v>0.9952369143166147</c:v>
                </c:pt>
                <c:pt idx="352">
                  <c:v>0.9952972847062429</c:v>
                </c:pt>
                <c:pt idx="353">
                  <c:v>0.9953572519168257</c:v>
                </c:pt>
                <c:pt idx="354">
                  <c:v>0.9954170253920229</c:v>
                </c:pt>
                <c:pt idx="355">
                  <c:v>0.9954758685882971</c:v>
                </c:pt>
                <c:pt idx="356">
                  <c:v>0.9955342021383319</c:v>
                </c:pt>
                <c:pt idx="357">
                  <c:v>0.9955923751148941</c:v>
                </c:pt>
                <c:pt idx="358">
                  <c:v>0.9956499564131167</c:v>
                </c:pt>
                <c:pt idx="359">
                  <c:v>0.9957072095829387</c:v>
                </c:pt>
                <c:pt idx="360">
                  <c:v>0.995763579598661</c:v>
                </c:pt>
                <c:pt idx="361">
                  <c:v>0.9958183194445631</c:v>
                </c:pt>
                <c:pt idx="362">
                  <c:v>0.9958721604280911</c:v>
                </c:pt>
                <c:pt idx="363">
                  <c:v>0.9959255895057545</c:v>
                </c:pt>
                <c:pt idx="364">
                  <c:v>0.9959785333722723</c:v>
                </c:pt>
                <c:pt idx="365">
                  <c:v>0.9960312381239449</c:v>
                </c:pt>
                <c:pt idx="366">
                  <c:v>0.9960832168042628</c:v>
                </c:pt>
                <c:pt idx="367">
                  <c:v>0.9961344205430388</c:v>
                </c:pt>
                <c:pt idx="368">
                  <c:v>0.9961856242818148</c:v>
                </c:pt>
                <c:pt idx="369">
                  <c:v>0.9962367355163076</c:v>
                </c:pt>
                <c:pt idx="370">
                  <c:v>0.9962870264297988</c:v>
                </c:pt>
                <c:pt idx="371">
                  <c:v>0.9963362404538049</c:v>
                </c:pt>
                <c:pt idx="372">
                  <c:v>0.9963851996546913</c:v>
                </c:pt>
                <c:pt idx="373">
                  <c:v>0.9964339581387369</c:v>
                </c:pt>
                <c:pt idx="374">
                  <c:v>0.9964795330791507</c:v>
                </c:pt>
                <c:pt idx="375">
                  <c:v>0.9965247554560701</c:v>
                </c:pt>
                <c:pt idx="376">
                  <c:v>0.9965696985747763</c:v>
                </c:pt>
                <c:pt idx="377">
                  <c:v>0.9966131441713135</c:v>
                </c:pt>
                <c:pt idx="378">
                  <c:v>0.9966565408976634</c:v>
                </c:pt>
                <c:pt idx="379">
                  <c:v>0.9966995815697913</c:v>
                </c:pt>
                <c:pt idx="380">
                  <c:v>0.9967418839530178</c:v>
                </c:pt>
                <c:pt idx="381">
                  <c:v>0.9967838983512117</c:v>
                </c:pt>
                <c:pt idx="382">
                  <c:v>0.9968257364676585</c:v>
                </c:pt>
                <c:pt idx="383">
                  <c:v>0.9968664767502542</c:v>
                </c:pt>
                <c:pt idx="384">
                  <c:v>0.9969071454729327</c:v>
                </c:pt>
                <c:pt idx="385">
                  <c:v>0.9969477042376897</c:v>
                </c:pt>
                <c:pt idx="386">
                  <c:v>0.996988081484608</c:v>
                </c:pt>
                <c:pt idx="387">
                  <c:v>0.9970272649026645</c:v>
                </c:pt>
                <c:pt idx="388">
                  <c:v>0.9970662737843375</c:v>
                </c:pt>
                <c:pt idx="389">
                  <c:v>0.997105258230917</c:v>
                </c:pt>
                <c:pt idx="390">
                  <c:v>0.997144225223858</c:v>
                </c:pt>
                <c:pt idx="391">
                  <c:v>0.9971830787681499</c:v>
                </c:pt>
                <c:pt idx="392">
                  <c:v>0.9972217857018799</c:v>
                </c:pt>
                <c:pt idx="393">
                  <c:v>0.9972598800129043</c:v>
                </c:pt>
                <c:pt idx="394">
                  <c:v>0.9972979533795628</c:v>
                </c:pt>
                <c:pt idx="395">
                  <c:v>0.9973360058018553</c:v>
                </c:pt>
                <c:pt idx="396">
                  <c:v>0.9973737807112983</c:v>
                </c:pt>
                <c:pt idx="397">
                  <c:v>0.997411506750554</c:v>
                </c:pt>
                <c:pt idx="398">
                  <c:v>0.9974491699567116</c:v>
                </c:pt>
                <c:pt idx="399">
                  <c:v>0.9974868226906862</c:v>
                </c:pt>
                <c:pt idx="400">
                  <c:v>0.997524421318382</c:v>
                </c:pt>
                <c:pt idx="401">
                  <c:v>0.9975617581415028</c:v>
                </c:pt>
                <c:pt idx="402">
                  <c:v>0.9975986289524802</c:v>
                </c:pt>
                <c:pt idx="403">
                  <c:v>0.9976350616771354</c:v>
                </c:pt>
                <c:pt idx="404">
                  <c:v>0.9976705327063186</c:v>
                </c:pt>
                <c:pt idx="405">
                  <c:v>0.9977056913153755</c:v>
                </c:pt>
                <c:pt idx="406">
                  <c:v>0.9977407748737875</c:v>
                </c:pt>
                <c:pt idx="407">
                  <c:v>0.9977755128501606</c:v>
                </c:pt>
                <c:pt idx="408">
                  <c:v>0.9978096556574666</c:v>
                </c:pt>
                <c:pt idx="409">
                  <c:v>0.9978437897379534</c:v>
                </c:pt>
                <c:pt idx="410">
                  <c:v>0.9978773967185626</c:v>
                </c:pt>
                <c:pt idx="411">
                  <c:v>0.9979108972319779</c:v>
                </c:pt>
                <c:pt idx="412">
                  <c:v>0.9979435791697555</c:v>
                </c:pt>
                <c:pt idx="413">
                  <c:v>0.9979758544377599</c:v>
                </c:pt>
                <c:pt idx="414">
                  <c:v>0.998007599115159</c:v>
                </c:pt>
                <c:pt idx="415">
                  <c:v>0.9980391378396258</c:v>
                </c:pt>
                <c:pt idx="416">
                  <c:v>0.998070673073365</c:v>
                </c:pt>
                <c:pt idx="417">
                  <c:v>0.9981019534839844</c:v>
                </c:pt>
                <c:pt idx="418">
                  <c:v>0.9981332077141464</c:v>
                </c:pt>
                <c:pt idx="419">
                  <c:v>0.9981643676946613</c:v>
                </c:pt>
                <c:pt idx="420">
                  <c:v>0.998194326864859</c:v>
                </c:pt>
                <c:pt idx="421">
                  <c:v>0.998224198766865</c:v>
                </c:pt>
                <c:pt idx="422">
                  <c:v>0.9982532294035034</c:v>
                </c:pt>
                <c:pt idx="423">
                  <c:v>0.9982815845843384</c:v>
                </c:pt>
                <c:pt idx="424">
                  <c:v>0.9983094859705767</c:v>
                </c:pt>
                <c:pt idx="425">
                  <c:v>0.9983364570778919</c:v>
                </c:pt>
                <c:pt idx="426">
                  <c:v>0.9983627248035822</c:v>
                </c:pt>
                <c:pt idx="427">
                  <c:v>0.998388685345238</c:v>
                </c:pt>
                <c:pt idx="428">
                  <c:v>0.9984145045124232</c:v>
                </c:pt>
                <c:pt idx="429">
                  <c:v>0.9984398978108331</c:v>
                </c:pt>
                <c:pt idx="430">
                  <c:v>0.9984650135963935</c:v>
                </c:pt>
                <c:pt idx="431">
                  <c:v>0.9984896686059019</c:v>
                </c:pt>
                <c:pt idx="432">
                  <c:v>0.9985143166339551</c:v>
                </c:pt>
                <c:pt idx="433">
                  <c:v>0.9985382350999259</c:v>
                </c:pt>
                <c:pt idx="434">
                  <c:v>0.998561753877579</c:v>
                </c:pt>
                <c:pt idx="435">
                  <c:v>0.9985850701930273</c:v>
                </c:pt>
                <c:pt idx="436">
                  <c:v>0.9986079711118834</c:v>
                </c:pt>
                <c:pt idx="437">
                  <c:v>0.9986304025278683</c:v>
                </c:pt>
                <c:pt idx="438">
                  <c:v>0.9986527257312955</c:v>
                </c:pt>
                <c:pt idx="439">
                  <c:v>0.9986746876444093</c:v>
                </c:pt>
                <c:pt idx="440">
                  <c:v>0.9986966216317017</c:v>
                </c:pt>
                <c:pt idx="441">
                  <c:v>0.9987184596239833</c:v>
                </c:pt>
                <c:pt idx="442">
                  <c:v>0.9987399101454939</c:v>
                </c:pt>
                <c:pt idx="443">
                  <c:v>0.9987605106748177</c:v>
                </c:pt>
                <c:pt idx="444">
                  <c:v>0.99878081449229</c:v>
                </c:pt>
                <c:pt idx="445">
                  <c:v>0.9988008198525467</c:v>
                </c:pt>
                <c:pt idx="446">
                  <c:v>0.9988203138212002</c:v>
                </c:pt>
                <c:pt idx="447">
                  <c:v>0.9988396349988342</c:v>
                </c:pt>
                <c:pt idx="448">
                  <c:v>0.9988588706536404</c:v>
                </c:pt>
                <c:pt idx="449">
                  <c:v>0.9988777851615014</c:v>
                </c:pt>
                <c:pt idx="450">
                  <c:v>0.9988963715409617</c:v>
                </c:pt>
                <c:pt idx="451">
                  <c:v>0.9989147851294025</c:v>
                </c:pt>
                <c:pt idx="452">
                  <c:v>0.998933137630109</c:v>
                </c:pt>
                <c:pt idx="453">
                  <c:v>0.9989514796586326</c:v>
                </c:pt>
                <c:pt idx="454">
                  <c:v>0.9989695337021237</c:v>
                </c:pt>
                <c:pt idx="455">
                  <c:v>0.9989873102327653</c:v>
                </c:pt>
                <c:pt idx="456">
                  <c:v>0.999004929680662</c:v>
                </c:pt>
                <c:pt idx="457">
                  <c:v>0.9990225421471033</c:v>
                </c:pt>
                <c:pt idx="458">
                  <c:v>0.9990398387026908</c:v>
                </c:pt>
                <c:pt idx="459">
                  <c:v>0.9990566517924965</c:v>
                </c:pt>
                <c:pt idx="460">
                  <c:v>0.999073299072738</c:v>
                </c:pt>
                <c:pt idx="461">
                  <c:v>0.9990899027188836</c:v>
                </c:pt>
                <c:pt idx="462">
                  <c:v>0.9991061677644457</c:v>
                </c:pt>
                <c:pt idx="463">
                  <c:v>0.9991222914355372</c:v>
                </c:pt>
                <c:pt idx="464">
                  <c:v>0.9991383697271691</c:v>
                </c:pt>
                <c:pt idx="465">
                  <c:v>0.9991540797470322</c:v>
                </c:pt>
                <c:pt idx="466">
                  <c:v>0.999169615230512</c:v>
                </c:pt>
                <c:pt idx="467">
                  <c:v>0.9991844490777307</c:v>
                </c:pt>
                <c:pt idx="468">
                  <c:v>0.9991991642402088</c:v>
                </c:pt>
                <c:pt idx="469">
                  <c:v>0.9992138183149528</c:v>
                </c:pt>
                <c:pt idx="470">
                  <c:v>0.9992280657199236</c:v>
                </c:pt>
                <c:pt idx="471">
                  <c:v>0.9992422433103411</c:v>
                </c:pt>
                <c:pt idx="472">
                  <c:v>0.9992560561197174</c:v>
                </c:pt>
                <c:pt idx="473">
                  <c:v>0.9992697903877211</c:v>
                </c:pt>
                <c:pt idx="474">
                  <c:v>0.999296440348091</c:v>
                </c:pt>
                <c:pt idx="475">
                  <c:v>0.9993096998771321</c:v>
                </c:pt>
                <c:pt idx="476">
                  <c:v>0.9993229332257159</c:v>
                </c:pt>
                <c:pt idx="477">
                  <c:v>0.9993361159587484</c:v>
                </c:pt>
                <c:pt idx="478">
                  <c:v>0.9993491887338594</c:v>
                </c:pt>
                <c:pt idx="479">
                  <c:v>0.9993749782298594</c:v>
                </c:pt>
                <c:pt idx="480">
                  <c:v>0.9993877071682953</c:v>
                </c:pt>
                <c:pt idx="481">
                  <c:v>0.9994001708114285</c:v>
                </c:pt>
                <c:pt idx="482">
                  <c:v>0.9994124826079083</c:v>
                </c:pt>
                <c:pt idx="483">
                  <c:v>0.9994244994379001</c:v>
                </c:pt>
                <c:pt idx="484">
                  <c:v>0.9994364708884323</c:v>
                </c:pt>
                <c:pt idx="485">
                  <c:v>0.9994478558967166</c:v>
                </c:pt>
                <c:pt idx="486">
                  <c:v>0.9994587242773062</c:v>
                </c:pt>
                <c:pt idx="487">
                  <c:v>0.9994692174046717</c:v>
                </c:pt>
                <c:pt idx="488">
                  <c:v>0.9994796930783988</c:v>
                </c:pt>
                <c:pt idx="489">
                  <c:v>0.9994900256322916</c:v>
                </c:pt>
                <c:pt idx="490">
                  <c:v>0.9995003058252694</c:v>
                </c:pt>
                <c:pt idx="491">
                  <c:v>0.9995100798627355</c:v>
                </c:pt>
                <c:pt idx="492">
                  <c:v>0.9995194088324243</c:v>
                </c:pt>
                <c:pt idx="493">
                  <c:v>0.9995287290752939</c:v>
                </c:pt>
                <c:pt idx="494">
                  <c:v>0.9995378520920503</c:v>
                </c:pt>
                <c:pt idx="495">
                  <c:v>0.9995469349654384</c:v>
                </c:pt>
                <c:pt idx="496">
                  <c:v>0.9995648947592826</c:v>
                </c:pt>
                <c:pt idx="497">
                  <c:v>0.9995736145969935</c:v>
                </c:pt>
                <c:pt idx="498">
                  <c:v>0.9995823030181553</c:v>
                </c:pt>
                <c:pt idx="499">
                  <c:v>0.9995909443144937</c:v>
                </c:pt>
                <c:pt idx="500">
                  <c:v>0.9995995716479215</c:v>
                </c:pt>
                <c:pt idx="501">
                  <c:v>0.9996081553472533</c:v>
                </c:pt>
                <c:pt idx="502">
                  <c:v>0.9996166029082063</c:v>
                </c:pt>
                <c:pt idx="503">
                  <c:v>0.9996250434877039</c:v>
                </c:pt>
                <c:pt idx="504">
                  <c:v>0.9996332309894457</c:v>
                </c:pt>
                <c:pt idx="505">
                  <c:v>0.9996413975468215</c:v>
                </c:pt>
                <c:pt idx="506">
                  <c:v>0.9996495204701014</c:v>
                </c:pt>
                <c:pt idx="507">
                  <c:v>0.9996656144700077</c:v>
                </c:pt>
                <c:pt idx="508">
                  <c:v>0.9996727530080857</c:v>
                </c:pt>
                <c:pt idx="509">
                  <c:v>0.9996797588985123</c:v>
                </c:pt>
                <c:pt idx="510">
                  <c:v>0.999686764788939</c:v>
                </c:pt>
                <c:pt idx="511">
                  <c:v>0.9996935717078888</c:v>
                </c:pt>
                <c:pt idx="512">
                  <c:v>0.9997065676869911</c:v>
                </c:pt>
                <c:pt idx="513">
                  <c:v>0.9997128806679759</c:v>
                </c:pt>
                <c:pt idx="514">
                  <c:v>0.9997191360519543</c:v>
                </c:pt>
                <c:pt idx="515">
                  <c:v>0.9997313518534232</c:v>
                </c:pt>
                <c:pt idx="516">
                  <c:v>0.9997374396824735</c:v>
                </c:pt>
                <c:pt idx="517">
                  <c:v>0.9997433878824172</c:v>
                </c:pt>
                <c:pt idx="518">
                  <c:v>0.9997548880847145</c:v>
                </c:pt>
                <c:pt idx="519">
                  <c:v>0.9997657529745765</c:v>
                </c:pt>
                <c:pt idx="520">
                  <c:v>0.9997710902971786</c:v>
                </c:pt>
                <c:pt idx="521">
                  <c:v>0.9997763735135018</c:v>
                </c:pt>
                <c:pt idx="522">
                  <c:v>0.9997816427669144</c:v>
                </c:pt>
                <c:pt idx="523">
                  <c:v>0.9997868020624054</c:v>
                </c:pt>
                <c:pt idx="524">
                  <c:v>0.999791840927792</c:v>
                </c:pt>
                <c:pt idx="525">
                  <c:v>0.9997967523816188</c:v>
                </c:pt>
                <c:pt idx="526">
                  <c:v>0.9998014212298727</c:v>
                </c:pt>
                <c:pt idx="527">
                  <c:v>0.99980605517085</c:v>
                </c:pt>
                <c:pt idx="528">
                  <c:v>0.999810577408542</c:v>
                </c:pt>
                <c:pt idx="529">
                  <c:v>0.9998148518045695</c:v>
                </c:pt>
                <c:pt idx="530">
                  <c:v>0.9998191244552334</c:v>
                </c:pt>
                <c:pt idx="531">
                  <c:v>0.9998232801665203</c:v>
                </c:pt>
                <c:pt idx="532">
                  <c:v>0.9998273154477028</c:v>
                </c:pt>
                <c:pt idx="533">
                  <c:v>0.9998313228030639</c:v>
                </c:pt>
                <c:pt idx="534">
                  <c:v>0.9998352411448695</c:v>
                </c:pt>
                <c:pt idx="535">
                  <c:v>0.9998391350515815</c:v>
                </c:pt>
                <c:pt idx="536">
                  <c:v>0.9998430045231999</c:v>
                </c:pt>
                <c:pt idx="537">
                  <c:v>0.9998468722494543</c:v>
                </c:pt>
                <c:pt idx="538">
                  <c:v>0.9998506841240662</c:v>
                </c:pt>
                <c:pt idx="539">
                  <c:v>0.9998543109901117</c:v>
                </c:pt>
                <c:pt idx="540">
                  <c:v>0.999857782518776</c:v>
                </c:pt>
                <c:pt idx="541">
                  <c:v>0.9998612173947998</c:v>
                </c:pt>
                <c:pt idx="542">
                  <c:v>0.999864617363547</c:v>
                </c:pt>
                <c:pt idx="543">
                  <c:v>0.9998679440270132</c:v>
                </c:pt>
                <c:pt idx="544">
                  <c:v>0.9998711659686493</c:v>
                </c:pt>
                <c:pt idx="545">
                  <c:v>0.9998743111142768</c:v>
                </c:pt>
                <c:pt idx="546">
                  <c:v>0.9998774318248107</c:v>
                </c:pt>
                <c:pt idx="547">
                  <c:v>0.9998836121581443</c:v>
                </c:pt>
                <c:pt idx="548">
                  <c:v>0.9998897087140137</c:v>
                </c:pt>
                <c:pt idx="549">
                  <c:v>0.9998927002676239</c:v>
                </c:pt>
                <c:pt idx="550">
                  <c:v>0.9998956830944149</c:v>
                </c:pt>
                <c:pt idx="551">
                  <c:v>0.9998986502129315</c:v>
                </c:pt>
                <c:pt idx="552">
                  <c:v>0.9999016155860841</c:v>
                </c:pt>
                <c:pt idx="553">
                  <c:v>0.9999045408158687</c:v>
                </c:pt>
                <c:pt idx="554">
                  <c:v>0.9999074293930127</c:v>
                </c:pt>
                <c:pt idx="555">
                  <c:v>0.9999102690999694</c:v>
                </c:pt>
                <c:pt idx="556">
                  <c:v>0.9999131000801069</c:v>
                </c:pt>
                <c:pt idx="557">
                  <c:v>0.999915789685774</c:v>
                </c:pt>
                <c:pt idx="558">
                  <c:v>0.9999184286758899</c:v>
                </c:pt>
                <c:pt idx="559">
                  <c:v>0.999920938509082</c:v>
                </c:pt>
                <c:pt idx="560">
                  <c:v>0.9999233750369932</c:v>
                </c:pt>
                <c:pt idx="561">
                  <c:v>0.9999281904958092</c:v>
                </c:pt>
                <c:pt idx="562">
                  <c:v>0.999930588625716</c:v>
                </c:pt>
                <c:pt idx="563">
                  <c:v>0.9999329151957057</c:v>
                </c:pt>
                <c:pt idx="564">
                  <c:v>0.9999349869425758</c:v>
                </c:pt>
                <c:pt idx="565">
                  <c:v>0.9999369801480733</c:v>
                </c:pt>
                <c:pt idx="566">
                  <c:v>0.9999389663721155</c:v>
                </c:pt>
                <c:pt idx="567">
                  <c:v>0.999940888017696</c:v>
                </c:pt>
                <c:pt idx="568">
                  <c:v>0.9999427346126316</c:v>
                </c:pt>
                <c:pt idx="569">
                  <c:v>0.9999445166291053</c:v>
                </c:pt>
                <c:pt idx="570">
                  <c:v>0.9999480230650463</c:v>
                </c:pt>
                <c:pt idx="571">
                  <c:v>0.9999496724338687</c:v>
                </c:pt>
                <c:pt idx="572">
                  <c:v>0.9999513200573272</c:v>
                </c:pt>
                <c:pt idx="573">
                  <c:v>0.9999546065774252</c:v>
                </c:pt>
                <c:pt idx="574">
                  <c:v>0.9999576679455887</c:v>
                </c:pt>
                <c:pt idx="575">
                  <c:v>0.9999591497594832</c:v>
                </c:pt>
                <c:pt idx="576">
                  <c:v>0.9999605722310073</c:v>
                </c:pt>
                <c:pt idx="577">
                  <c:v>0.9999619737581654</c:v>
                </c:pt>
                <c:pt idx="578">
                  <c:v>0.9999633717945958</c:v>
                </c:pt>
                <c:pt idx="579">
                  <c:v>0.9999647366691135</c:v>
                </c:pt>
                <c:pt idx="580">
                  <c:v>0.9999660963075395</c:v>
                </c:pt>
                <c:pt idx="581">
                  <c:v>0.9999674280201443</c:v>
                </c:pt>
                <c:pt idx="582">
                  <c:v>0.999969733645768</c:v>
                </c:pt>
                <c:pt idx="583">
                  <c:v>0.9999718420452787</c:v>
                </c:pt>
                <c:pt idx="584">
                  <c:v>0.9999738335054124</c:v>
                </c:pt>
                <c:pt idx="585">
                  <c:v>0.9999747672750632</c:v>
                </c:pt>
                <c:pt idx="586">
                  <c:v>0.9999765231110794</c:v>
                </c:pt>
                <c:pt idx="587">
                  <c:v>0.9999773329598981</c:v>
                </c:pt>
                <c:pt idx="588">
                  <c:v>0.9999781410633529</c:v>
                </c:pt>
                <c:pt idx="589">
                  <c:v>0.999978935203897</c:v>
                </c:pt>
                <c:pt idx="590">
                  <c:v>0.9999797241083497</c:v>
                </c:pt>
                <c:pt idx="591">
                  <c:v>0.9999804938138002</c:v>
                </c:pt>
                <c:pt idx="592">
                  <c:v>0.999981260028523</c:v>
                </c:pt>
                <c:pt idx="593">
                  <c:v>0.9999827540599642</c:v>
                </c:pt>
                <c:pt idx="594">
                  <c:v>0.9999839670878283</c:v>
                </c:pt>
                <c:pt idx="595">
                  <c:v>0.9999856443824722</c:v>
                </c:pt>
                <c:pt idx="596">
                  <c:v>0.9999867055636829</c:v>
                </c:pt>
                <c:pt idx="597">
                  <c:v>0.9999872221913775</c:v>
                </c:pt>
                <c:pt idx="598">
                  <c:v>0.9999881995951241</c:v>
                </c:pt>
                <c:pt idx="599">
                  <c:v>0.9999899187784999</c:v>
                </c:pt>
                <c:pt idx="600">
                  <c:v>0.999991089917632</c:v>
                </c:pt>
                <c:pt idx="601">
                  <c:v>0.999991477388403</c:v>
                </c:pt>
                <c:pt idx="602">
                  <c:v>0.9999929871281188</c:v>
                </c:pt>
                <c:pt idx="603">
                  <c:v>0.9999940134020527</c:v>
                </c:pt>
                <c:pt idx="604">
                  <c:v>0.9999948668849672</c:v>
                </c:pt>
                <c:pt idx="605">
                  <c:v>0.9999956034285048</c:v>
                </c:pt>
                <c:pt idx="606">
                  <c:v>0.9999958111268009</c:v>
                </c:pt>
                <c:pt idx="607">
                  <c:v>0.9999968548543732</c:v>
                </c:pt>
                <c:pt idx="608">
                  <c:v>0.999999033068437</c:v>
                </c:pt>
                <c:pt idx="609">
                  <c:v>0.9999992704379183</c:v>
                </c:pt>
                <c:pt idx="610">
                  <c:v>0.9999994816269421</c:v>
                </c:pt>
                <c:pt idx="611">
                  <c:v>0.9999995462054039</c:v>
                </c:pt>
                <c:pt idx="612">
                  <c:v>0.9999996736169636</c:v>
                </c:pt>
                <c:pt idx="613">
                  <c:v>0.9999999162225363</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1475</c:f>
              <c:strCache>
                <c:ptCount val="1474"/>
                <c:pt idx="0">
                  <c:v>Caprice Des</c:v>
                </c:pt>
                <c:pt idx="1">
                  <c:v>La Vache Qu</c:v>
                </c:pt>
                <c:pt idx="2">
                  <c:v>Private Lab</c:v>
                </c:pt>
                <c:pt idx="3">
                  <c:v>Mini Babybe</c:v>
                </c:pt>
                <c:pt idx="4">
                  <c:v>Kiri</c:v>
                </c:pt>
                <c:pt idx="5">
                  <c:v>Coeur De Li</c:v>
                </c:pt>
                <c:pt idx="6">
                  <c:v>Caprice Des</c:v>
                </c:pt>
                <c:pt idx="7">
                  <c:v>President</c:v>
                </c:pt>
                <c:pt idx="8">
                  <c:v>Soignon</c:v>
                </c:pt>
                <c:pt idx="9">
                  <c:v>Soignon</c:v>
                </c:pt>
                <c:pt idx="10">
                  <c:v>Private Lab</c:v>
                </c:pt>
                <c:pt idx="11">
                  <c:v>La Vache Qu</c:v>
                </c:pt>
                <c:pt idx="12">
                  <c:v>Tartare</c:v>
                </c:pt>
                <c:pt idx="13">
                  <c:v>Coeur De Li</c:v>
                </c:pt>
                <c:pt idx="14">
                  <c:v>President</c:v>
                </c:pt>
                <c:pt idx="15">
                  <c:v>President</c:v>
                </c:pt>
                <c:pt idx="16">
                  <c:v>Le Rustique</c:v>
                </c:pt>
                <c:pt idx="17">
                  <c:v>Galbani</c:v>
                </c:pt>
                <c:pt idx="18">
                  <c:v>Ficello</c:v>
                </c:pt>
                <c:pt idx="19">
                  <c:v>Soignon</c:v>
                </c:pt>
                <c:pt idx="20">
                  <c:v>St Moret</c:v>
                </c:pt>
                <c:pt idx="21">
                  <c:v>Private Lab</c:v>
                </c:pt>
                <c:pt idx="22">
                  <c:v>St Moret</c:v>
                </c:pt>
                <c:pt idx="23">
                  <c:v>President</c:v>
                </c:pt>
                <c:pt idx="24">
                  <c:v>Mini Babybe</c:v>
                </c:pt>
                <c:pt idx="25">
                  <c:v>Kiri</c:v>
                </c:pt>
                <c:pt idx="26">
                  <c:v>St Moret</c:v>
                </c:pt>
                <c:pt idx="27">
                  <c:v>Private Lab</c:v>
                </c:pt>
                <c:pt idx="28">
                  <c:v>La Vache Qu</c:v>
                </c:pt>
                <c:pt idx="29">
                  <c:v>Private Lab</c:v>
                </c:pt>
                <c:pt idx="30">
                  <c:v>All Others</c:v>
                </c:pt>
                <c:pt idx="31">
                  <c:v>St Moret</c:v>
                </c:pt>
                <c:pt idx="32">
                  <c:v>Salakis</c:v>
                </c:pt>
                <c:pt idx="33">
                  <c:v>Carre Frais</c:v>
                </c:pt>
                <c:pt idx="34">
                  <c:v>Coeur De Li</c:v>
                </c:pt>
                <c:pt idx="35">
                  <c:v>St Moret</c:v>
                </c:pt>
                <c:pt idx="36">
                  <c:v>Paysan Bret</c:v>
                </c:pt>
                <c:pt idx="37">
                  <c:v>President</c:v>
                </c:pt>
                <c:pt idx="38">
                  <c:v>Galbani</c:v>
                </c:pt>
                <c:pt idx="39">
                  <c:v>Philadelphi</c:v>
                </c:pt>
                <c:pt idx="40">
                  <c:v>Kiri</c:v>
                </c:pt>
                <c:pt idx="41">
                  <c:v>Boursin</c:v>
                </c:pt>
                <c:pt idx="42">
                  <c:v>Carre Frais</c:v>
                </c:pt>
                <c:pt idx="43">
                  <c:v>Private Lab</c:v>
                </c:pt>
                <c:pt idx="44">
                  <c:v>Private Lab</c:v>
                </c:pt>
                <c:pt idx="45">
                  <c:v>Paysan Bret</c:v>
                </c:pt>
                <c:pt idx="46">
                  <c:v>Islos</c:v>
                </c:pt>
                <c:pt idx="47">
                  <c:v>St Moret</c:v>
                </c:pt>
                <c:pt idx="48">
                  <c:v>Private Lab</c:v>
                </c:pt>
                <c:pt idx="49">
                  <c:v>Paysan Bret</c:v>
                </c:pt>
                <c:pt idx="50">
                  <c:v>Galbani</c:v>
                </c:pt>
                <c:pt idx="51">
                  <c:v>Salakis</c:v>
                </c:pt>
                <c:pt idx="52">
                  <c:v>Tartare</c:v>
                </c:pt>
                <c:pt idx="53">
                  <c:v>Kiri</c:v>
                </c:pt>
                <c:pt idx="54">
                  <c:v>Lepetit</c:v>
                </c:pt>
                <c:pt idx="55">
                  <c:v>Istara</c:v>
                </c:pt>
                <c:pt idx="56">
                  <c:v>Coeur De Li</c:v>
                </c:pt>
                <c:pt idx="57">
                  <c:v>Casa Azzurr</c:v>
                </c:pt>
                <c:pt idx="58">
                  <c:v>Boursin</c:v>
                </c:pt>
                <c:pt idx="59">
                  <c:v>Private Lab</c:v>
                </c:pt>
                <c:pt idx="60">
                  <c:v>Private Lab</c:v>
                </c:pt>
                <c:pt idx="61">
                  <c:v>All Others</c:v>
                </c:pt>
                <c:pt idx="62">
                  <c:v>Kiri</c:v>
                </c:pt>
                <c:pt idx="63">
                  <c:v>All Others</c:v>
                </c:pt>
                <c:pt idx="64">
                  <c:v>Petit Billy</c:v>
                </c:pt>
                <c:pt idx="65">
                  <c:v>Lou Perac</c:v>
                </c:pt>
                <c:pt idx="66">
                  <c:v>Mini Babybe</c:v>
                </c:pt>
                <c:pt idx="67">
                  <c:v>Carre Frais</c:v>
                </c:pt>
                <c:pt idx="68">
                  <c:v>Mini Babybe</c:v>
                </c:pt>
                <c:pt idx="69">
                  <c:v>Boursin</c:v>
                </c:pt>
                <c:pt idx="70">
                  <c:v>All Others</c:v>
                </c:pt>
                <c:pt idx="71">
                  <c:v>Private Lab</c:v>
                </c:pt>
                <c:pt idx="72">
                  <c:v>Galbani</c:v>
                </c:pt>
                <c:pt idx="73">
                  <c:v>La Vache Qu</c:v>
                </c:pt>
                <c:pt idx="74">
                  <c:v>All Others</c:v>
                </c:pt>
                <c:pt idx="75">
                  <c:v>Private Lab</c:v>
                </c:pt>
                <c:pt idx="76">
                  <c:v>Private Lab</c:v>
                </c:pt>
                <c:pt idx="77">
                  <c:v>St Moret</c:v>
                </c:pt>
                <c:pt idx="78">
                  <c:v>President</c:v>
                </c:pt>
                <c:pt idx="79">
                  <c:v>St Moret</c:v>
                </c:pt>
                <c:pt idx="80">
                  <c:v>Private Lab</c:v>
                </c:pt>
                <c:pt idx="81">
                  <c:v>Caprice Des</c:v>
                </c:pt>
                <c:pt idx="82">
                  <c:v>Philadelphi</c:v>
                </c:pt>
                <c:pt idx="83">
                  <c:v>President</c:v>
                </c:pt>
                <c:pt idx="84">
                  <c:v>Private Lab</c:v>
                </c:pt>
                <c:pt idx="85">
                  <c:v>Philadelphi</c:v>
                </c:pt>
                <c:pt idx="86">
                  <c:v>Private Lab</c:v>
                </c:pt>
                <c:pt idx="87">
                  <c:v>Casa Azzurr</c:v>
                </c:pt>
                <c:pt idx="88">
                  <c:v>Salakis</c:v>
                </c:pt>
                <c:pt idx="89">
                  <c:v>Kiri</c:v>
                </c:pt>
                <c:pt idx="90">
                  <c:v>Istara</c:v>
                </c:pt>
                <c:pt idx="91">
                  <c:v>La Vache Qu</c:v>
                </c:pt>
                <c:pt idx="92">
                  <c:v>Ficello</c:v>
                </c:pt>
                <c:pt idx="93">
                  <c:v>Private Lab</c:v>
                </c:pt>
                <c:pt idx="94">
                  <c:v>Mini Babybe</c:v>
                </c:pt>
                <c:pt idx="95">
                  <c:v>Laita: All </c:v>
                </c:pt>
                <c:pt idx="96">
                  <c:v>La Vache Qu</c:v>
                </c:pt>
                <c:pt idx="97">
                  <c:v>Le Rustique</c:v>
                </c:pt>
                <c:pt idx="98">
                  <c:v>Private Lab</c:v>
                </c:pt>
                <c:pt idx="99">
                  <c:v>All Others</c:v>
                </c:pt>
                <c:pt idx="100">
                  <c:v>Etorki</c:v>
                </c:pt>
                <c:pt idx="101">
                  <c:v>Private Lab</c:v>
                </c:pt>
                <c:pt idx="102">
                  <c:v>Lactalis: A</c:v>
                </c:pt>
                <c:pt idx="103">
                  <c:v>Soignon</c:v>
                </c:pt>
                <c:pt idx="104">
                  <c:v>Private Lab</c:v>
                </c:pt>
                <c:pt idx="105">
                  <c:v>All Others</c:v>
                </c:pt>
                <c:pt idx="106">
                  <c:v>Coeur De Li</c:v>
                </c:pt>
                <c:pt idx="107">
                  <c:v>Caprice Des</c:v>
                </c:pt>
                <c:pt idx="108">
                  <c:v>Tartare</c:v>
                </c:pt>
                <c:pt idx="109">
                  <c:v>All Others</c:v>
                </c:pt>
                <c:pt idx="110">
                  <c:v>Salakis</c:v>
                </c:pt>
                <c:pt idx="111">
                  <c:v>Boursin</c:v>
                </c:pt>
                <c:pt idx="112">
                  <c:v>St Moret</c:v>
                </c:pt>
                <c:pt idx="113">
                  <c:v>Soignon</c:v>
                </c:pt>
                <c:pt idx="114">
                  <c:v>President</c:v>
                </c:pt>
                <c:pt idx="115">
                  <c:v>All Others</c:v>
                </c:pt>
                <c:pt idx="116">
                  <c:v>Private Lab</c:v>
                </c:pt>
                <c:pt idx="117">
                  <c:v>Private Lab</c:v>
                </c:pt>
                <c:pt idx="118">
                  <c:v>Private Lab</c:v>
                </c:pt>
                <c:pt idx="119">
                  <c:v>President</c:v>
                </c:pt>
                <c:pt idx="120">
                  <c:v>Private Lab</c:v>
                </c:pt>
                <c:pt idx="121">
                  <c:v>Soignon</c:v>
                </c:pt>
                <c:pt idx="122">
                  <c:v>Mini Babybe</c:v>
                </c:pt>
                <c:pt idx="123">
                  <c:v>Le Rustique</c:v>
                </c:pt>
                <c:pt idx="124">
                  <c:v>Soignon</c:v>
                </c:pt>
                <c:pt idx="125">
                  <c:v>Galbani</c:v>
                </c:pt>
                <c:pt idx="126">
                  <c:v>President</c:v>
                </c:pt>
                <c:pt idx="127">
                  <c:v>Lactalis: A</c:v>
                </c:pt>
                <c:pt idx="128">
                  <c:v>Caprice Des</c:v>
                </c:pt>
                <c:pt idx="129">
                  <c:v>Casa Azzurr</c:v>
                </c:pt>
                <c:pt idx="130">
                  <c:v>All Others</c:v>
                </c:pt>
                <c:pt idx="131">
                  <c:v>Casa Azzurr</c:v>
                </c:pt>
                <c:pt idx="132">
                  <c:v>Paysan Bret</c:v>
                </c:pt>
                <c:pt idx="133">
                  <c:v>Casa Azzurr</c:v>
                </c:pt>
                <c:pt idx="134">
                  <c:v>All Others</c:v>
                </c:pt>
                <c:pt idx="135">
                  <c:v>Paysan Bret</c:v>
                </c:pt>
                <c:pt idx="136">
                  <c:v>Salakis</c:v>
                </c:pt>
                <c:pt idx="137">
                  <c:v>Le Brebiou</c:v>
                </c:pt>
                <c:pt idx="138">
                  <c:v>Lactalis: A</c:v>
                </c:pt>
                <c:pt idx="139">
                  <c:v>Private Lab</c:v>
                </c:pt>
                <c:pt idx="140">
                  <c:v>Coeur De Li</c:v>
                </c:pt>
                <c:pt idx="141">
                  <c:v>Galbani</c:v>
                </c:pt>
                <c:pt idx="142">
                  <c:v>Savencia: A</c:v>
                </c:pt>
                <c:pt idx="143">
                  <c:v>Private Lab</c:v>
                </c:pt>
                <c:pt idx="144">
                  <c:v>Chavroux</c:v>
                </c:pt>
                <c:pt idx="145">
                  <c:v>Chavroux</c:v>
                </c:pt>
                <c:pt idx="146">
                  <c:v>Paysan Bret</c:v>
                </c:pt>
                <c:pt idx="147">
                  <c:v>All Others</c:v>
                </c:pt>
                <c:pt idx="148">
                  <c:v>Casa Azzurr</c:v>
                </c:pt>
                <c:pt idx="149">
                  <c:v>All Others</c:v>
                </c:pt>
                <c:pt idx="150">
                  <c:v>All Others</c:v>
                </c:pt>
                <c:pt idx="151">
                  <c:v>Private Lab</c:v>
                </c:pt>
                <c:pt idx="152">
                  <c:v>All Others</c:v>
                </c:pt>
                <c:pt idx="153">
                  <c:v>President</c:v>
                </c:pt>
                <c:pt idx="154">
                  <c:v>Casa Azzurr</c:v>
                </c:pt>
                <c:pt idx="155">
                  <c:v>Paysan Bret</c:v>
                </c:pt>
                <c:pt idx="156">
                  <c:v>Salakis</c:v>
                </c:pt>
                <c:pt idx="157">
                  <c:v>All Others</c:v>
                </c:pt>
                <c:pt idx="158">
                  <c:v>Lactalis: A</c:v>
                </c:pt>
                <c:pt idx="159">
                  <c:v>La Vache Qu</c:v>
                </c:pt>
                <c:pt idx="160">
                  <c:v>President</c:v>
                </c:pt>
                <c:pt idx="161">
                  <c:v>Le Rustique</c:v>
                </c:pt>
                <c:pt idx="162">
                  <c:v>Private Lab</c:v>
                </c:pt>
                <c:pt idx="163">
                  <c:v>Boursin</c:v>
                </c:pt>
                <c:pt idx="164">
                  <c:v>Private Lab</c:v>
                </c:pt>
                <c:pt idx="165">
                  <c:v>Lou Perac</c:v>
                </c:pt>
                <c:pt idx="166">
                  <c:v>Casa Azzurr</c:v>
                </c:pt>
                <c:pt idx="167">
                  <c:v>Soignon</c:v>
                </c:pt>
                <c:pt idx="168">
                  <c:v>Chavroux</c:v>
                </c:pt>
                <c:pt idx="169">
                  <c:v>All Others</c:v>
                </c:pt>
                <c:pt idx="170">
                  <c:v>Soignon</c:v>
                </c:pt>
                <c:pt idx="171">
                  <c:v>Etorki</c:v>
                </c:pt>
                <c:pt idx="172">
                  <c:v>All Others</c:v>
                </c:pt>
                <c:pt idx="173">
                  <c:v>President</c:v>
                </c:pt>
                <c:pt idx="174">
                  <c:v>Private Lab</c:v>
                </c:pt>
                <c:pt idx="175">
                  <c:v>Rondele</c:v>
                </c:pt>
                <c:pt idx="176">
                  <c:v>Soignon</c:v>
                </c:pt>
                <c:pt idx="177">
                  <c:v>P'Tit Louis</c:v>
                </c:pt>
                <c:pt idx="178">
                  <c:v>Galbani</c:v>
                </c:pt>
                <c:pt idx="179">
                  <c:v>Private Lab</c:v>
                </c:pt>
                <c:pt idx="180">
                  <c:v>All Others</c:v>
                </c:pt>
                <c:pt idx="181">
                  <c:v>Boursin</c:v>
                </c:pt>
                <c:pt idx="182">
                  <c:v>Caprice Des</c:v>
                </c:pt>
                <c:pt idx="183">
                  <c:v>Private Lab</c:v>
                </c:pt>
                <c:pt idx="184">
                  <c:v>Private Lab</c:v>
                </c:pt>
                <c:pt idx="185">
                  <c:v>All Others</c:v>
                </c:pt>
                <c:pt idx="186">
                  <c:v>Private Lab</c:v>
                </c:pt>
                <c:pt idx="187">
                  <c:v>Ficello</c:v>
                </c:pt>
                <c:pt idx="188">
                  <c:v>Casa Azzurr</c:v>
                </c:pt>
                <c:pt idx="189">
                  <c:v>All Others</c:v>
                </c:pt>
                <c:pt idx="190">
                  <c:v>Soignon</c:v>
                </c:pt>
                <c:pt idx="191">
                  <c:v>Private Lab</c:v>
                </c:pt>
                <c:pt idx="192">
                  <c:v>Private Lab</c:v>
                </c:pt>
                <c:pt idx="193">
                  <c:v>Soignon</c:v>
                </c:pt>
                <c:pt idx="194">
                  <c:v>P'Tit Louis</c:v>
                </c:pt>
                <c:pt idx="195">
                  <c:v>Tartare</c:v>
                </c:pt>
                <c:pt idx="196">
                  <c:v>Lactalis: A</c:v>
                </c:pt>
                <c:pt idx="197">
                  <c:v>All Others</c:v>
                </c:pt>
                <c:pt idx="198">
                  <c:v>Soignon</c:v>
                </c:pt>
                <c:pt idx="199">
                  <c:v>Galbani</c:v>
                </c:pt>
                <c:pt idx="200">
                  <c:v>Caprice Des</c:v>
                </c:pt>
                <c:pt idx="201">
                  <c:v>Private Lab</c:v>
                </c:pt>
                <c:pt idx="202">
                  <c:v>Kiri</c:v>
                </c:pt>
                <c:pt idx="203">
                  <c:v>Galbani</c:v>
                </c:pt>
                <c:pt idx="204">
                  <c:v>Boursin</c:v>
                </c:pt>
                <c:pt idx="205">
                  <c:v>All Others</c:v>
                </c:pt>
                <c:pt idx="206">
                  <c:v>All Others</c:v>
                </c:pt>
                <c:pt idx="207">
                  <c:v>Salakis</c:v>
                </c:pt>
                <c:pt idx="208">
                  <c:v>All Others</c:v>
                </c:pt>
                <c:pt idx="209">
                  <c:v>All Others</c:v>
                </c:pt>
                <c:pt idx="210">
                  <c:v>All Others</c:v>
                </c:pt>
                <c:pt idx="211">
                  <c:v>All Others</c:v>
                </c:pt>
                <c:pt idx="212">
                  <c:v>Caprice Des</c:v>
                </c:pt>
                <c:pt idx="213">
                  <c:v>Mini Babybe</c:v>
                </c:pt>
                <c:pt idx="214">
                  <c:v>Casa Azzurr</c:v>
                </c:pt>
                <c:pt idx="215">
                  <c:v>Private Lab</c:v>
                </c:pt>
                <c:pt idx="216">
                  <c:v>Paysan Bret</c:v>
                </c:pt>
                <c:pt idx="217">
                  <c:v>Tartare</c:v>
                </c:pt>
                <c:pt idx="218">
                  <c:v>Private Lab</c:v>
                </c:pt>
                <c:pt idx="219">
                  <c:v>Pave D'Affi</c:v>
                </c:pt>
                <c:pt idx="220">
                  <c:v>P'Tit Louis</c:v>
                </c:pt>
                <c:pt idx="221">
                  <c:v>Private Lab</c:v>
                </c:pt>
                <c:pt idx="222">
                  <c:v>All Others</c:v>
                </c:pt>
                <c:pt idx="223">
                  <c:v>Casa Azzurr</c:v>
                </c:pt>
                <c:pt idx="224">
                  <c:v>Boursin</c:v>
                </c:pt>
                <c:pt idx="225">
                  <c:v>Mini Babybe</c:v>
                </c:pt>
                <c:pt idx="226">
                  <c:v>La Vache Qu</c:v>
                </c:pt>
                <c:pt idx="227">
                  <c:v>Private Lab</c:v>
                </c:pt>
                <c:pt idx="228">
                  <c:v>Boursin</c:v>
                </c:pt>
                <c:pt idx="229">
                  <c:v>Tartare</c:v>
                </c:pt>
                <c:pt idx="230">
                  <c:v>All Others</c:v>
                </c:pt>
                <c:pt idx="231">
                  <c:v>All Others</c:v>
                </c:pt>
                <c:pt idx="232">
                  <c:v>All Others</c:v>
                </c:pt>
                <c:pt idx="233">
                  <c:v>Private Lab</c:v>
                </c:pt>
                <c:pt idx="234">
                  <c:v>Lactalis: A</c:v>
                </c:pt>
                <c:pt idx="235">
                  <c:v>Lou Perac</c:v>
                </c:pt>
                <c:pt idx="236">
                  <c:v>All Others</c:v>
                </c:pt>
                <c:pt idx="237">
                  <c:v>All Others</c:v>
                </c:pt>
                <c:pt idx="238">
                  <c:v>All Others</c:v>
                </c:pt>
                <c:pt idx="239">
                  <c:v>Lactalis: A</c:v>
                </c:pt>
                <c:pt idx="240">
                  <c:v>St Moret</c:v>
                </c:pt>
                <c:pt idx="241">
                  <c:v>All Others</c:v>
                </c:pt>
                <c:pt idx="242">
                  <c:v>Philadelphi</c:v>
                </c:pt>
                <c:pt idx="243">
                  <c:v>Casa Azzurr</c:v>
                </c:pt>
                <c:pt idx="244">
                  <c:v>Private Lab</c:v>
                </c:pt>
                <c:pt idx="245">
                  <c:v>All Others</c:v>
                </c:pt>
                <c:pt idx="246">
                  <c:v>Private Lab</c:v>
                </c:pt>
                <c:pt idx="247">
                  <c:v>Tartare</c:v>
                </c:pt>
                <c:pt idx="248">
                  <c:v>Private Lab</c:v>
                </c:pt>
                <c:pt idx="249">
                  <c:v>President</c:v>
                </c:pt>
                <c:pt idx="250">
                  <c:v>Private Lab</c:v>
                </c:pt>
                <c:pt idx="251">
                  <c:v>All Others</c:v>
                </c:pt>
                <c:pt idx="252">
                  <c:v>Corsica</c:v>
                </c:pt>
                <c:pt idx="253">
                  <c:v>Kiri</c:v>
                </c:pt>
                <c:pt idx="254">
                  <c:v>Ficello</c:v>
                </c:pt>
                <c:pt idx="255">
                  <c:v>Lou Perac</c:v>
                </c:pt>
                <c:pt idx="256">
                  <c:v>Private Lab</c:v>
                </c:pt>
                <c:pt idx="257">
                  <c:v>Private Lab</c:v>
                </c:pt>
                <c:pt idx="258">
                  <c:v>Istara</c:v>
                </c:pt>
                <c:pt idx="259">
                  <c:v>All Others</c:v>
                </c:pt>
                <c:pt idx="260">
                  <c:v>All Others</c:v>
                </c:pt>
                <c:pt idx="261">
                  <c:v>All Others</c:v>
                </c:pt>
                <c:pt idx="262">
                  <c:v>Paysan Bret</c:v>
                </c:pt>
                <c:pt idx="263">
                  <c:v>All Others</c:v>
                </c:pt>
                <c:pt idx="264">
                  <c:v>All Others</c:v>
                </c:pt>
                <c:pt idx="265">
                  <c:v>All Others</c:v>
                </c:pt>
                <c:pt idx="266">
                  <c:v>Savencia: A</c:v>
                </c:pt>
                <c:pt idx="267">
                  <c:v>All Others</c:v>
                </c:pt>
                <c:pt idx="268">
                  <c:v>Galbani</c:v>
                </c:pt>
                <c:pt idx="269">
                  <c:v>All Others</c:v>
                </c:pt>
                <c:pt idx="270">
                  <c:v>All Others</c:v>
                </c:pt>
                <c:pt idx="271">
                  <c:v>Galbani</c:v>
                </c:pt>
                <c:pt idx="272">
                  <c:v>All Others</c:v>
                </c:pt>
                <c:pt idx="273">
                  <c:v>President</c:v>
                </c:pt>
                <c:pt idx="274">
                  <c:v>Private Lab</c:v>
                </c:pt>
                <c:pt idx="275">
                  <c:v>Corsica</c:v>
                </c:pt>
                <c:pt idx="276">
                  <c:v>All Others</c:v>
                </c:pt>
                <c:pt idx="277">
                  <c:v>Triballat N</c:v>
                </c:pt>
                <c:pt idx="278">
                  <c:v>Private Lab</c:v>
                </c:pt>
                <c:pt idx="279">
                  <c:v>Private Lab</c:v>
                </c:pt>
                <c:pt idx="280">
                  <c:v>Private Lab</c:v>
                </c:pt>
                <c:pt idx="281">
                  <c:v>All Others</c:v>
                </c:pt>
                <c:pt idx="282">
                  <c:v>Savencia: A</c:v>
                </c:pt>
                <c:pt idx="283">
                  <c:v>All Others</c:v>
                </c:pt>
                <c:pt idx="284">
                  <c:v>Private Lab</c:v>
                </c:pt>
                <c:pt idx="285">
                  <c:v>Private Lab</c:v>
                </c:pt>
                <c:pt idx="286">
                  <c:v>Private Lab</c:v>
                </c:pt>
                <c:pt idx="287">
                  <c:v>Private Lab</c:v>
                </c:pt>
                <c:pt idx="288">
                  <c:v>All Others</c:v>
                </c:pt>
                <c:pt idx="289">
                  <c:v>Private Lab</c:v>
                </c:pt>
                <c:pt idx="290">
                  <c:v>All Others</c:v>
                </c:pt>
                <c:pt idx="291">
                  <c:v>Private Lab</c:v>
                </c:pt>
                <c:pt idx="292">
                  <c:v>Private Lab</c:v>
                </c:pt>
                <c:pt idx="293">
                  <c:v>All Others</c:v>
                </c:pt>
                <c:pt idx="294">
                  <c:v>Private Lab</c:v>
                </c:pt>
                <c:pt idx="295">
                  <c:v>All Others</c:v>
                </c:pt>
                <c:pt idx="296">
                  <c:v>Boursin</c:v>
                </c:pt>
                <c:pt idx="297">
                  <c:v>All Others</c:v>
                </c:pt>
                <c:pt idx="298">
                  <c:v>Islos</c:v>
                </c:pt>
                <c:pt idx="299">
                  <c:v>All Others</c:v>
                </c:pt>
                <c:pt idx="300">
                  <c:v>Mini Babybe</c:v>
                </c:pt>
                <c:pt idx="301">
                  <c:v>All Others</c:v>
                </c:pt>
                <c:pt idx="302">
                  <c:v>Private Lab</c:v>
                </c:pt>
                <c:pt idx="303">
                  <c:v>Casa Azzurr</c:v>
                </c:pt>
                <c:pt idx="304">
                  <c:v>Galbani</c:v>
                </c:pt>
                <c:pt idx="305">
                  <c:v>Casa Azzurr</c:v>
                </c:pt>
                <c:pt idx="306">
                  <c:v>Private Lab</c:v>
                </c:pt>
                <c:pt idx="307">
                  <c:v>All Others</c:v>
                </c:pt>
                <c:pt idx="308">
                  <c:v>All Others</c:v>
                </c:pt>
                <c:pt idx="309">
                  <c:v>All Others</c:v>
                </c:pt>
                <c:pt idx="310">
                  <c:v>Kiri</c:v>
                </c:pt>
                <c:pt idx="311">
                  <c:v>Rondele</c:v>
                </c:pt>
                <c:pt idx="312">
                  <c:v>Ficello</c:v>
                </c:pt>
                <c:pt idx="313">
                  <c:v>All Others</c:v>
                </c:pt>
                <c:pt idx="314">
                  <c:v>Private Lab</c:v>
                </c:pt>
                <c:pt idx="315">
                  <c:v>Casa Azzurr</c:v>
                </c:pt>
                <c:pt idx="316">
                  <c:v>Private Lab</c:v>
                </c:pt>
                <c:pt idx="317">
                  <c:v>All Others</c:v>
                </c:pt>
                <c:pt idx="318">
                  <c:v>All Others</c:v>
                </c:pt>
                <c:pt idx="319">
                  <c:v>All Others</c:v>
                </c:pt>
                <c:pt idx="320">
                  <c:v>All Others</c:v>
                </c:pt>
                <c:pt idx="321">
                  <c:v>President</c:v>
                </c:pt>
                <c:pt idx="322">
                  <c:v>All Others</c:v>
                </c:pt>
                <c:pt idx="323">
                  <c:v>All Others</c:v>
                </c:pt>
                <c:pt idx="324">
                  <c:v>All Others</c:v>
                </c:pt>
                <c:pt idx="325">
                  <c:v>Private Lab</c:v>
                </c:pt>
                <c:pt idx="326">
                  <c:v>Private Lab</c:v>
                </c:pt>
                <c:pt idx="327">
                  <c:v>Galbani</c:v>
                </c:pt>
                <c:pt idx="328">
                  <c:v>Etoile Du Q</c:v>
                </c:pt>
                <c:pt idx="329">
                  <c:v>Eurial Autr</c:v>
                </c:pt>
                <c:pt idx="330">
                  <c:v>All Others</c:v>
                </c:pt>
                <c:pt idx="331">
                  <c:v>Private Lab</c:v>
                </c:pt>
                <c:pt idx="332">
                  <c:v>All Others</c:v>
                </c:pt>
                <c:pt idx="333">
                  <c:v>All Others</c:v>
                </c:pt>
                <c:pt idx="334">
                  <c:v>Boursin</c:v>
                </c:pt>
                <c:pt idx="335">
                  <c:v>Kiri</c:v>
                </c:pt>
                <c:pt idx="336">
                  <c:v>Lou Perac</c:v>
                </c:pt>
                <c:pt idx="337">
                  <c:v>Saint Agur</c:v>
                </c:pt>
                <c:pt idx="338">
                  <c:v>All Others</c:v>
                </c:pt>
                <c:pt idx="339">
                  <c:v>All Others</c:v>
                </c:pt>
                <c:pt idx="340">
                  <c:v>All Others</c:v>
                </c:pt>
                <c:pt idx="341">
                  <c:v>All Others</c:v>
                </c:pt>
                <c:pt idx="342">
                  <c:v>Boursin</c:v>
                </c:pt>
                <c:pt idx="343">
                  <c:v>Salakis</c:v>
                </c:pt>
                <c:pt idx="344">
                  <c:v>All Others</c:v>
                </c:pt>
                <c:pt idx="345">
                  <c:v>All Others</c:v>
                </c:pt>
                <c:pt idx="346">
                  <c:v>All Others</c:v>
                </c:pt>
                <c:pt idx="347">
                  <c:v>All Others</c:v>
                </c:pt>
                <c:pt idx="348">
                  <c:v>Mini Babybe</c:v>
                </c:pt>
                <c:pt idx="349">
                  <c:v>Private Lab</c:v>
                </c:pt>
                <c:pt idx="350">
                  <c:v>Etoile Du V</c:v>
                </c:pt>
                <c:pt idx="351">
                  <c:v>All Others</c:v>
                </c:pt>
                <c:pt idx="352">
                  <c:v>All Others</c:v>
                </c:pt>
                <c:pt idx="353">
                  <c:v>All Others</c:v>
                </c:pt>
                <c:pt idx="354">
                  <c:v>All Others</c:v>
                </c:pt>
                <c:pt idx="355">
                  <c:v>Rondele</c:v>
                </c:pt>
                <c:pt idx="356">
                  <c:v>All Others</c:v>
                </c:pt>
                <c:pt idx="357">
                  <c:v>Savencia: A</c:v>
                </c:pt>
                <c:pt idx="358">
                  <c:v>All Others</c:v>
                </c:pt>
                <c:pt idx="359">
                  <c:v>Private Lab</c:v>
                </c:pt>
                <c:pt idx="360">
                  <c:v>Private Lab</c:v>
                </c:pt>
                <c:pt idx="361">
                  <c:v>All Others</c:v>
                </c:pt>
                <c:pt idx="362">
                  <c:v>All Others</c:v>
                </c:pt>
                <c:pt idx="363">
                  <c:v>All Others</c:v>
                </c:pt>
                <c:pt idx="364">
                  <c:v>Private Lab</c:v>
                </c:pt>
                <c:pt idx="365">
                  <c:v>Soignon</c:v>
                </c:pt>
                <c:pt idx="366">
                  <c:v>All Others</c:v>
                </c:pt>
                <c:pt idx="367">
                  <c:v>Milleret: A</c:v>
                </c:pt>
                <c:pt idx="368">
                  <c:v>All Others</c:v>
                </c:pt>
                <c:pt idx="369">
                  <c:v>Triballat R</c:v>
                </c:pt>
                <c:pt idx="370">
                  <c:v>Mini Babybe</c:v>
                </c:pt>
                <c:pt idx="371">
                  <c:v>All Others</c:v>
                </c:pt>
                <c:pt idx="372">
                  <c:v>Salakis</c:v>
                </c:pt>
                <c:pt idx="373">
                  <c:v>Private Lab</c:v>
                </c:pt>
                <c:pt idx="374">
                  <c:v>All Others</c:v>
                </c:pt>
                <c:pt idx="375">
                  <c:v>All Others</c:v>
                </c:pt>
                <c:pt idx="376">
                  <c:v>Boursin</c:v>
                </c:pt>
                <c:pt idx="377">
                  <c:v>Private Lab</c:v>
                </c:pt>
                <c:pt idx="378">
                  <c:v>Savencia: A</c:v>
                </c:pt>
                <c:pt idx="379">
                  <c:v>All Others</c:v>
                </c:pt>
                <c:pt idx="380">
                  <c:v>All Others</c:v>
                </c:pt>
                <c:pt idx="381">
                  <c:v>Mini Babybe</c:v>
                </c:pt>
                <c:pt idx="382">
                  <c:v>St Moret</c:v>
                </c:pt>
                <c:pt idx="383">
                  <c:v>President</c:v>
                </c:pt>
                <c:pt idx="384">
                  <c:v>Saint Agur</c:v>
                </c:pt>
                <c:pt idx="385">
                  <c:v>Etoile Du V</c:v>
                </c:pt>
                <c:pt idx="386">
                  <c:v>All Others</c:v>
                </c:pt>
                <c:pt idx="387">
                  <c:v>All Others</c:v>
                </c:pt>
                <c:pt idx="388">
                  <c:v>Private Lab</c:v>
                </c:pt>
                <c:pt idx="389">
                  <c:v>La Vache Qu</c:v>
                </c:pt>
                <c:pt idx="390">
                  <c:v>All Others</c:v>
                </c:pt>
                <c:pt idx="391">
                  <c:v>Private Lab</c:v>
                </c:pt>
                <c:pt idx="392">
                  <c:v>All Others</c:v>
                </c:pt>
                <c:pt idx="393">
                  <c:v>All Others</c:v>
                </c:pt>
                <c:pt idx="394">
                  <c:v>Boursin</c:v>
                </c:pt>
                <c:pt idx="395">
                  <c:v>Triballat R</c:v>
                </c:pt>
                <c:pt idx="396">
                  <c:v>All Others</c:v>
                </c:pt>
                <c:pt idx="397">
                  <c:v>All Others</c:v>
                </c:pt>
                <c:pt idx="398">
                  <c:v>All Others</c:v>
                </c:pt>
                <c:pt idx="399">
                  <c:v>All Others</c:v>
                </c:pt>
                <c:pt idx="400">
                  <c:v>All Others</c:v>
                </c:pt>
                <c:pt idx="401">
                  <c:v>Savencia: A</c:v>
                </c:pt>
                <c:pt idx="402">
                  <c:v>Private Lab</c:v>
                </c:pt>
                <c:pt idx="403">
                  <c:v>All Others</c:v>
                </c:pt>
                <c:pt idx="404">
                  <c:v>St Moret</c:v>
                </c:pt>
                <c:pt idx="405">
                  <c:v>Islos</c:v>
                </c:pt>
                <c:pt idx="406">
                  <c:v>Triballat N</c:v>
                </c:pt>
                <c:pt idx="407">
                  <c:v>Private Lab</c:v>
                </c:pt>
                <c:pt idx="408">
                  <c:v>President</c:v>
                </c:pt>
                <c:pt idx="409">
                  <c:v>All Others</c:v>
                </c:pt>
                <c:pt idx="410">
                  <c:v>All Others</c:v>
                </c:pt>
                <c:pt idx="411">
                  <c:v>All Others</c:v>
                </c:pt>
                <c:pt idx="412">
                  <c:v>Etorki</c:v>
                </c:pt>
                <c:pt idx="413">
                  <c:v>Private Lab</c:v>
                </c:pt>
                <c:pt idx="414">
                  <c:v>Boursin</c:v>
                </c:pt>
                <c:pt idx="415">
                  <c:v>Etoile Du Q</c:v>
                </c:pt>
                <c:pt idx="416">
                  <c:v>Tartare</c:v>
                </c:pt>
                <c:pt idx="417">
                  <c:v>All Others</c:v>
                </c:pt>
                <c:pt idx="418">
                  <c:v>All Others</c:v>
                </c:pt>
                <c:pt idx="419">
                  <c:v>All Others</c:v>
                </c:pt>
                <c:pt idx="420">
                  <c:v>Eurial Autr</c:v>
                </c:pt>
                <c:pt idx="421">
                  <c:v>All Others</c:v>
                </c:pt>
                <c:pt idx="422">
                  <c:v>Lactalis: A</c:v>
                </c:pt>
                <c:pt idx="423">
                  <c:v>Private Lab</c:v>
                </c:pt>
                <c:pt idx="424">
                  <c:v>All Others</c:v>
                </c:pt>
                <c:pt idx="425">
                  <c:v>All Others</c:v>
                </c:pt>
                <c:pt idx="426">
                  <c:v>All Others</c:v>
                </c:pt>
                <c:pt idx="427">
                  <c:v>Private Lab</c:v>
                </c:pt>
                <c:pt idx="428">
                  <c:v>All Others</c:v>
                </c:pt>
                <c:pt idx="429">
                  <c:v>All Others</c:v>
                </c:pt>
                <c:pt idx="430">
                  <c:v>All Others</c:v>
                </c:pt>
                <c:pt idx="431">
                  <c:v>All Others</c:v>
                </c:pt>
                <c:pt idx="432">
                  <c:v>Casa Azzurr</c:v>
                </c:pt>
                <c:pt idx="433">
                  <c:v>Boursin</c:v>
                </c:pt>
                <c:pt idx="434">
                  <c:v>All Others</c:v>
                </c:pt>
                <c:pt idx="435">
                  <c:v>All Others</c:v>
                </c:pt>
                <c:pt idx="436">
                  <c:v>Private Lab</c:v>
                </c:pt>
                <c:pt idx="437">
                  <c:v>All Others</c:v>
                </c:pt>
                <c:pt idx="438">
                  <c:v>All Others</c:v>
                </c:pt>
                <c:pt idx="439">
                  <c:v>Etoile Du Q</c:v>
                </c:pt>
                <c:pt idx="440">
                  <c:v>Boursin</c:v>
                </c:pt>
                <c:pt idx="441">
                  <c:v>All Others</c:v>
                </c:pt>
                <c:pt idx="442">
                  <c:v>All Others</c:v>
                </c:pt>
                <c:pt idx="443">
                  <c:v>Private Lab</c:v>
                </c:pt>
                <c:pt idx="444">
                  <c:v>Soignon</c:v>
                </c:pt>
                <c:pt idx="445">
                  <c:v>All Others</c:v>
                </c:pt>
                <c:pt idx="446">
                  <c:v>All Others</c:v>
                </c:pt>
                <c:pt idx="447">
                  <c:v>Lactalis: A</c:v>
                </c:pt>
                <c:pt idx="448">
                  <c:v>All Others</c:v>
                </c:pt>
                <c:pt idx="449">
                  <c:v>Soignon</c:v>
                </c:pt>
                <c:pt idx="450">
                  <c:v>All Others</c:v>
                </c:pt>
                <c:pt idx="451">
                  <c:v>Triballat N</c:v>
                </c:pt>
                <c:pt idx="452">
                  <c:v>Boursin</c:v>
                </c:pt>
                <c:pt idx="453">
                  <c:v>All Others</c:v>
                </c:pt>
                <c:pt idx="454">
                  <c:v>Le Brebiou</c:v>
                </c:pt>
                <c:pt idx="455">
                  <c:v>Savencia: A</c:v>
                </c:pt>
                <c:pt idx="456">
                  <c:v>All Others</c:v>
                </c:pt>
                <c:pt idx="457">
                  <c:v>All Others</c:v>
                </c:pt>
                <c:pt idx="458">
                  <c:v>Private Lab</c:v>
                </c:pt>
                <c:pt idx="459">
                  <c:v>All Others</c:v>
                </c:pt>
                <c:pt idx="460">
                  <c:v>All Others</c:v>
                </c:pt>
                <c:pt idx="461">
                  <c:v>Lactalis: A</c:v>
                </c:pt>
                <c:pt idx="462">
                  <c:v>All Others</c:v>
                </c:pt>
                <c:pt idx="463">
                  <c:v>Private Lab</c:v>
                </c:pt>
                <c:pt idx="464">
                  <c:v>All Others</c:v>
                </c:pt>
                <c:pt idx="465">
                  <c:v>All Others</c:v>
                </c:pt>
                <c:pt idx="466">
                  <c:v>Chavroux</c:v>
                </c:pt>
                <c:pt idx="467">
                  <c:v>Coeur De Li</c:v>
                </c:pt>
                <c:pt idx="468">
                  <c:v>Salakis</c:v>
                </c:pt>
                <c:pt idx="469">
                  <c:v>Private Lab</c:v>
                </c:pt>
                <c:pt idx="470">
                  <c:v>All Others</c:v>
                </c:pt>
                <c:pt idx="471">
                  <c:v>All Others</c:v>
                </c:pt>
                <c:pt idx="472">
                  <c:v>Etoile Du V</c:v>
                </c:pt>
                <c:pt idx="473">
                  <c:v>Milleret: A</c:v>
                </c:pt>
                <c:pt idx="474">
                  <c:v>Paysan Bret</c:v>
                </c:pt>
                <c:pt idx="475">
                  <c:v>Etoile Du V</c:v>
                </c:pt>
                <c:pt idx="476">
                  <c:v>All Others</c:v>
                </c:pt>
                <c:pt idx="477">
                  <c:v>Lactalis: A</c:v>
                </c:pt>
                <c:pt idx="478">
                  <c:v>Casa Azzurr</c:v>
                </c:pt>
                <c:pt idx="479">
                  <c:v>All Others</c:v>
                </c:pt>
                <c:pt idx="480">
                  <c:v>All Others</c:v>
                </c:pt>
                <c:pt idx="481">
                  <c:v>All Others</c:v>
                </c:pt>
                <c:pt idx="482">
                  <c:v>All Others</c:v>
                </c:pt>
                <c:pt idx="483">
                  <c:v>All Others</c:v>
                </c:pt>
                <c:pt idx="484">
                  <c:v>Carre Frais</c:v>
                </c:pt>
                <c:pt idx="485">
                  <c:v>All Others</c:v>
                </c:pt>
                <c:pt idx="486">
                  <c:v>Triballat R</c:v>
                </c:pt>
                <c:pt idx="487">
                  <c:v>All Others</c:v>
                </c:pt>
                <c:pt idx="488">
                  <c:v>Tartare</c:v>
                </c:pt>
                <c:pt idx="489">
                  <c:v>All Others</c:v>
                </c:pt>
                <c:pt idx="490">
                  <c:v>Casa Azzurr</c:v>
                </c:pt>
                <c:pt idx="491">
                  <c:v>Paysan Bret</c:v>
                </c:pt>
                <c:pt idx="492">
                  <c:v>All Others</c:v>
                </c:pt>
                <c:pt idx="493">
                  <c:v>All Others</c:v>
                </c:pt>
                <c:pt idx="494">
                  <c:v>Private Lab</c:v>
                </c:pt>
                <c:pt idx="495">
                  <c:v>Etoile Du V</c:v>
                </c:pt>
                <c:pt idx="496">
                  <c:v>Etoile Du Q</c:v>
                </c:pt>
                <c:pt idx="497">
                  <c:v>All Others</c:v>
                </c:pt>
                <c:pt idx="498">
                  <c:v>All Others</c:v>
                </c:pt>
                <c:pt idx="499">
                  <c:v>All Others</c:v>
                </c:pt>
                <c:pt idx="500">
                  <c:v>Private Lab</c:v>
                </c:pt>
                <c:pt idx="501">
                  <c:v>All Others</c:v>
                </c:pt>
                <c:pt idx="502">
                  <c:v>All Others</c:v>
                </c:pt>
                <c:pt idx="503">
                  <c:v>Private Lab</c:v>
                </c:pt>
                <c:pt idx="504">
                  <c:v>All Others</c:v>
                </c:pt>
                <c:pt idx="505">
                  <c:v>All Others</c:v>
                </c:pt>
                <c:pt idx="506">
                  <c:v>All Others</c:v>
                </c:pt>
                <c:pt idx="507">
                  <c:v>Milleret: A</c:v>
                </c:pt>
                <c:pt idx="508">
                  <c:v>Etoile Du V</c:v>
                </c:pt>
                <c:pt idx="509">
                  <c:v>All Others</c:v>
                </c:pt>
                <c:pt idx="510">
                  <c:v>Corsica</c:v>
                </c:pt>
                <c:pt idx="511">
                  <c:v>All Others</c:v>
                </c:pt>
                <c:pt idx="512">
                  <c:v>All Others</c:v>
                </c:pt>
                <c:pt idx="513">
                  <c:v>All Others</c:v>
                </c:pt>
                <c:pt idx="514">
                  <c:v>All Others</c:v>
                </c:pt>
                <c:pt idx="515">
                  <c:v>All Others</c:v>
                </c:pt>
                <c:pt idx="516">
                  <c:v>All Others</c:v>
                </c:pt>
                <c:pt idx="517">
                  <c:v>All Others</c:v>
                </c:pt>
                <c:pt idx="518">
                  <c:v>All Others</c:v>
                </c:pt>
                <c:pt idx="519">
                  <c:v>All Others</c:v>
                </c:pt>
                <c:pt idx="520">
                  <c:v>Lactalis: A</c:v>
                </c:pt>
                <c:pt idx="521">
                  <c:v>All Others</c:v>
                </c:pt>
                <c:pt idx="522">
                  <c:v>All Others</c:v>
                </c:pt>
                <c:pt idx="523">
                  <c:v>All Others</c:v>
                </c:pt>
                <c:pt idx="524">
                  <c:v>Private Lab</c:v>
                </c:pt>
                <c:pt idx="525">
                  <c:v>Private Lab</c:v>
                </c:pt>
                <c:pt idx="526">
                  <c:v>Mini Babybe</c:v>
                </c:pt>
                <c:pt idx="527">
                  <c:v>All Others</c:v>
                </c:pt>
                <c:pt idx="528">
                  <c:v>All Others</c:v>
                </c:pt>
                <c:pt idx="529">
                  <c:v>All Others</c:v>
                </c:pt>
                <c:pt idx="530">
                  <c:v>All Others</c:v>
                </c:pt>
                <c:pt idx="531">
                  <c:v>All Others</c:v>
                </c:pt>
                <c:pt idx="532">
                  <c:v>All Others</c:v>
                </c:pt>
                <c:pt idx="533">
                  <c:v>P'Tit Louis</c:v>
                </c:pt>
                <c:pt idx="534">
                  <c:v>All Others</c:v>
                </c:pt>
                <c:pt idx="535">
                  <c:v>All Others</c:v>
                </c:pt>
                <c:pt idx="536">
                  <c:v>All Others</c:v>
                </c:pt>
                <c:pt idx="537">
                  <c:v>All Others</c:v>
                </c:pt>
                <c:pt idx="538">
                  <c:v>Boursin</c:v>
                </c:pt>
                <c:pt idx="539">
                  <c:v>Private Lab</c:v>
                </c:pt>
                <c:pt idx="540">
                  <c:v>All Others</c:v>
                </c:pt>
                <c:pt idx="541">
                  <c:v>All Others</c:v>
                </c:pt>
                <c:pt idx="542">
                  <c:v>All Others</c:v>
                </c:pt>
                <c:pt idx="543">
                  <c:v>All Others</c:v>
                </c:pt>
                <c:pt idx="544">
                  <c:v>All Others</c:v>
                </c:pt>
                <c:pt idx="545">
                  <c:v>All Others</c:v>
                </c:pt>
                <c:pt idx="546">
                  <c:v>Triballat N</c:v>
                </c:pt>
                <c:pt idx="547">
                  <c:v>All Others</c:v>
                </c:pt>
                <c:pt idx="548">
                  <c:v>Petit Billy</c:v>
                </c:pt>
                <c:pt idx="549">
                  <c:v>La Vache Qu</c:v>
                </c:pt>
                <c:pt idx="550">
                  <c:v>Private Lab</c:v>
                </c:pt>
                <c:pt idx="551">
                  <c:v>All Others</c:v>
                </c:pt>
                <c:pt idx="552">
                  <c:v>Galbani</c:v>
                </c:pt>
                <c:pt idx="553">
                  <c:v>All Others</c:v>
                </c:pt>
                <c:pt idx="554">
                  <c:v>Lactalis: A</c:v>
                </c:pt>
                <c:pt idx="555">
                  <c:v>All Others</c:v>
                </c:pt>
                <c:pt idx="556">
                  <c:v>St Moret</c:v>
                </c:pt>
                <c:pt idx="557">
                  <c:v>All Others</c:v>
                </c:pt>
                <c:pt idx="558">
                  <c:v>All Others</c:v>
                </c:pt>
                <c:pt idx="559">
                  <c:v>Boursin</c:v>
                </c:pt>
                <c:pt idx="560">
                  <c:v>All Others</c:v>
                </c:pt>
                <c:pt idx="561">
                  <c:v>All Others</c:v>
                </c:pt>
                <c:pt idx="562">
                  <c:v>All Others</c:v>
                </c:pt>
                <c:pt idx="563">
                  <c:v>All Others</c:v>
                </c:pt>
                <c:pt idx="564">
                  <c:v>All Others</c:v>
                </c:pt>
                <c:pt idx="565">
                  <c:v>All Others</c:v>
                </c:pt>
                <c:pt idx="566">
                  <c:v>Savencia: A</c:v>
                </c:pt>
                <c:pt idx="567">
                  <c:v>All Others</c:v>
                </c:pt>
                <c:pt idx="568">
                  <c:v>All Others</c:v>
                </c:pt>
                <c:pt idx="569">
                  <c:v>All Others</c:v>
                </c:pt>
                <c:pt idx="570">
                  <c:v>Triballat N</c:v>
                </c:pt>
                <c:pt idx="571">
                  <c:v>All Others</c:v>
                </c:pt>
                <c:pt idx="572">
                  <c:v>All Others</c:v>
                </c:pt>
                <c:pt idx="573">
                  <c:v>Boursin</c:v>
                </c:pt>
                <c:pt idx="574">
                  <c:v>All Others</c:v>
                </c:pt>
                <c:pt idx="575">
                  <c:v>Savencia: A</c:v>
                </c:pt>
                <c:pt idx="576">
                  <c:v>Lactalis: A</c:v>
                </c:pt>
                <c:pt idx="577">
                  <c:v>All Others</c:v>
                </c:pt>
                <c:pt idx="578">
                  <c:v>All Others</c:v>
                </c:pt>
                <c:pt idx="579">
                  <c:v>All Others</c:v>
                </c:pt>
                <c:pt idx="580">
                  <c:v>Private Lab</c:v>
                </c:pt>
                <c:pt idx="581">
                  <c:v>Private Lab</c:v>
                </c:pt>
                <c:pt idx="582">
                  <c:v>All Others</c:v>
                </c:pt>
                <c:pt idx="583">
                  <c:v>Private Lab</c:v>
                </c:pt>
                <c:pt idx="584">
                  <c:v>All Others</c:v>
                </c:pt>
                <c:pt idx="585">
                  <c:v>All Others</c:v>
                </c:pt>
                <c:pt idx="586">
                  <c:v>Salakis</c:v>
                </c:pt>
                <c:pt idx="587">
                  <c:v>All Others</c:v>
                </c:pt>
                <c:pt idx="588">
                  <c:v>All Others</c:v>
                </c:pt>
                <c:pt idx="589">
                  <c:v>Triballat N</c:v>
                </c:pt>
                <c:pt idx="590">
                  <c:v>All Others</c:v>
                </c:pt>
                <c:pt idx="591">
                  <c:v>All Others</c:v>
                </c:pt>
                <c:pt idx="592">
                  <c:v>Private Lab</c:v>
                </c:pt>
                <c:pt idx="593">
                  <c:v>All Others</c:v>
                </c:pt>
                <c:pt idx="594">
                  <c:v>Savencia: A</c:v>
                </c:pt>
                <c:pt idx="595">
                  <c:v>Petit Billy</c:v>
                </c:pt>
                <c:pt idx="596">
                  <c:v>Salakis</c:v>
                </c:pt>
                <c:pt idx="597">
                  <c:v>All Others</c:v>
                </c:pt>
                <c:pt idx="598">
                  <c:v>All Others</c:v>
                </c:pt>
                <c:pt idx="599">
                  <c:v>All Others</c:v>
                </c:pt>
                <c:pt idx="600">
                  <c:v>Private Lab</c:v>
                </c:pt>
                <c:pt idx="601">
                  <c:v>All Others</c:v>
                </c:pt>
                <c:pt idx="602">
                  <c:v>Tartare</c:v>
                </c:pt>
                <c:pt idx="603">
                  <c:v>All Others</c:v>
                </c:pt>
                <c:pt idx="604">
                  <c:v>All Others</c:v>
                </c:pt>
                <c:pt idx="605">
                  <c:v>All Others</c:v>
                </c:pt>
                <c:pt idx="606">
                  <c:v>All Others</c:v>
                </c:pt>
                <c:pt idx="607">
                  <c:v>All Others</c:v>
                </c:pt>
                <c:pt idx="608">
                  <c:v>All Others</c:v>
                </c:pt>
                <c:pt idx="609">
                  <c:v>Islos</c:v>
                </c:pt>
                <c:pt idx="610">
                  <c:v>All Others</c:v>
                </c:pt>
                <c:pt idx="611">
                  <c:v>All Others</c:v>
                </c:pt>
                <c:pt idx="612">
                  <c:v>All Others</c:v>
                </c:pt>
                <c:pt idx="613">
                  <c:v>Philadelphi</c:v>
                </c:pt>
                <c:pt idx="614">
                  <c:v>All Others</c:v>
                </c:pt>
                <c:pt idx="615">
                  <c:v>All Others</c:v>
                </c:pt>
                <c:pt idx="616">
                  <c:v>All Others</c:v>
                </c:pt>
                <c:pt idx="617">
                  <c:v>All Others</c:v>
                </c:pt>
                <c:pt idx="618">
                  <c:v>All Others</c:v>
                </c:pt>
                <c:pt idx="619">
                  <c:v>All Others</c:v>
                </c:pt>
                <c:pt idx="620">
                  <c:v>All Others</c:v>
                </c:pt>
                <c:pt idx="621">
                  <c:v>All Others</c:v>
                </c:pt>
                <c:pt idx="622">
                  <c:v>All Others</c:v>
                </c:pt>
                <c:pt idx="623">
                  <c:v>All Others</c:v>
                </c:pt>
                <c:pt idx="624">
                  <c:v>All Others</c:v>
                </c:pt>
                <c:pt idx="625">
                  <c:v>All Others</c:v>
                </c:pt>
                <c:pt idx="626">
                  <c:v>All Others</c:v>
                </c:pt>
                <c:pt idx="627">
                  <c:v>Private Lab</c:v>
                </c:pt>
                <c:pt idx="628">
                  <c:v>All Others</c:v>
                </c:pt>
                <c:pt idx="629">
                  <c:v>Private Lab</c:v>
                </c:pt>
                <c:pt idx="630">
                  <c:v>Private Lab</c:v>
                </c:pt>
                <c:pt idx="631">
                  <c:v>All Others</c:v>
                </c:pt>
                <c:pt idx="632">
                  <c:v>All Others</c:v>
                </c:pt>
                <c:pt idx="633">
                  <c:v>All Others</c:v>
                </c:pt>
                <c:pt idx="634">
                  <c:v>Private Lab</c:v>
                </c:pt>
                <c:pt idx="635">
                  <c:v>All Others</c:v>
                </c:pt>
                <c:pt idx="636">
                  <c:v>Private Lab</c:v>
                </c:pt>
                <c:pt idx="637">
                  <c:v>All Others</c:v>
                </c:pt>
                <c:pt idx="638">
                  <c:v>All Others</c:v>
                </c:pt>
                <c:pt idx="639">
                  <c:v>All Others</c:v>
                </c:pt>
                <c:pt idx="640">
                  <c:v>All Others</c:v>
                </c:pt>
                <c:pt idx="641">
                  <c:v>All Others</c:v>
                </c:pt>
                <c:pt idx="642">
                  <c:v>All Others</c:v>
                </c:pt>
                <c:pt idx="643">
                  <c:v>All Others</c:v>
                </c:pt>
                <c:pt idx="644">
                  <c:v>Private Lab</c:v>
                </c:pt>
                <c:pt idx="645">
                  <c:v>All Others</c:v>
                </c:pt>
                <c:pt idx="646">
                  <c:v>All Others</c:v>
                </c:pt>
                <c:pt idx="647">
                  <c:v>All Others</c:v>
                </c:pt>
                <c:pt idx="648">
                  <c:v>All Others</c:v>
                </c:pt>
                <c:pt idx="649">
                  <c:v>All Others</c:v>
                </c:pt>
                <c:pt idx="650">
                  <c:v>All Others</c:v>
                </c:pt>
                <c:pt idx="651">
                  <c:v>All Others</c:v>
                </c:pt>
                <c:pt idx="652">
                  <c:v>All Others</c:v>
                </c:pt>
                <c:pt idx="653">
                  <c:v>All Others</c:v>
                </c:pt>
                <c:pt idx="654">
                  <c:v>All Others</c:v>
                </c:pt>
                <c:pt idx="655">
                  <c:v>All Others</c:v>
                </c:pt>
                <c:pt idx="656">
                  <c:v>All Others</c:v>
                </c:pt>
                <c:pt idx="657">
                  <c:v>Private Lab</c:v>
                </c:pt>
                <c:pt idx="658">
                  <c:v>Boursin</c:v>
                </c:pt>
                <c:pt idx="659">
                  <c:v>All Others</c:v>
                </c:pt>
                <c:pt idx="660">
                  <c:v>Private Lab</c:v>
                </c:pt>
                <c:pt idx="661">
                  <c:v>All Others</c:v>
                </c:pt>
                <c:pt idx="662">
                  <c:v>All Others</c:v>
                </c:pt>
                <c:pt idx="663">
                  <c:v>All Others</c:v>
                </c:pt>
                <c:pt idx="664">
                  <c:v>All Others</c:v>
                </c:pt>
                <c:pt idx="665">
                  <c:v>All Others</c:v>
                </c:pt>
                <c:pt idx="666">
                  <c:v>Triballat R</c:v>
                </c:pt>
                <c:pt idx="667">
                  <c:v>Eurial Autr</c:v>
                </c:pt>
                <c:pt idx="668">
                  <c:v>All Others</c:v>
                </c:pt>
                <c:pt idx="669">
                  <c:v>Kiri</c:v>
                </c:pt>
                <c:pt idx="670">
                  <c:v>Triballat R</c:v>
                </c:pt>
                <c:pt idx="671">
                  <c:v>All Others</c:v>
                </c:pt>
                <c:pt idx="672">
                  <c:v>All Others</c:v>
                </c:pt>
                <c:pt idx="673">
                  <c:v>All Others</c:v>
                </c:pt>
                <c:pt idx="674">
                  <c:v>All Others</c:v>
                </c:pt>
                <c:pt idx="675">
                  <c:v>All Others</c:v>
                </c:pt>
                <c:pt idx="676">
                  <c:v>All Others</c:v>
                </c:pt>
                <c:pt idx="677">
                  <c:v>All Others</c:v>
                </c:pt>
                <c:pt idx="678">
                  <c:v>All Others</c:v>
                </c:pt>
                <c:pt idx="679">
                  <c:v>All Others</c:v>
                </c:pt>
                <c:pt idx="680">
                  <c:v>Private Lab</c:v>
                </c:pt>
                <c:pt idx="681">
                  <c:v>All Others</c:v>
                </c:pt>
                <c:pt idx="682">
                  <c:v>All Others</c:v>
                </c:pt>
                <c:pt idx="683">
                  <c:v>All Others</c:v>
                </c:pt>
                <c:pt idx="684">
                  <c:v>All Others</c:v>
                </c:pt>
                <c:pt idx="685">
                  <c:v>Eurial Autr</c:v>
                </c:pt>
                <c:pt idx="686">
                  <c:v>All Others</c:v>
                </c:pt>
                <c:pt idx="687">
                  <c:v>All Others</c:v>
                </c:pt>
                <c:pt idx="688">
                  <c:v>All Others</c:v>
                </c:pt>
                <c:pt idx="689">
                  <c:v>All Others</c:v>
                </c:pt>
                <c:pt idx="690">
                  <c:v>Boursin</c:v>
                </c:pt>
                <c:pt idx="691">
                  <c:v>All Others</c:v>
                </c:pt>
                <c:pt idx="692">
                  <c:v>All Others</c:v>
                </c:pt>
                <c:pt idx="693">
                  <c:v>Lactalis: A</c:v>
                </c:pt>
                <c:pt idx="694">
                  <c:v>All Others</c:v>
                </c:pt>
                <c:pt idx="695">
                  <c:v>All Others</c:v>
                </c:pt>
                <c:pt idx="696">
                  <c:v>All Others</c:v>
                </c:pt>
                <c:pt idx="697">
                  <c:v>All Others</c:v>
                </c:pt>
                <c:pt idx="698">
                  <c:v>All Others</c:v>
                </c:pt>
                <c:pt idx="699">
                  <c:v>All Others</c:v>
                </c:pt>
                <c:pt idx="700">
                  <c:v>All Others</c:v>
                </c:pt>
                <c:pt idx="701">
                  <c:v>All Others</c:v>
                </c:pt>
                <c:pt idx="702">
                  <c:v>All Others</c:v>
                </c:pt>
                <c:pt idx="703">
                  <c:v>All Others</c:v>
                </c:pt>
                <c:pt idx="704">
                  <c:v>President</c:v>
                </c:pt>
                <c:pt idx="705">
                  <c:v>All Others</c:v>
                </c:pt>
                <c:pt idx="706">
                  <c:v>All Others</c:v>
                </c:pt>
                <c:pt idx="707">
                  <c:v>All Others</c:v>
                </c:pt>
                <c:pt idx="708">
                  <c:v>All Others</c:v>
                </c:pt>
                <c:pt idx="709">
                  <c:v>All Others</c:v>
                </c:pt>
                <c:pt idx="710">
                  <c:v>All Others</c:v>
                </c:pt>
                <c:pt idx="711">
                  <c:v>All Others</c:v>
                </c:pt>
                <c:pt idx="712">
                  <c:v>All Others</c:v>
                </c:pt>
                <c:pt idx="713">
                  <c:v>Tartare</c:v>
                </c:pt>
                <c:pt idx="714">
                  <c:v>All Others</c:v>
                </c:pt>
                <c:pt idx="715">
                  <c:v>All Others</c:v>
                </c:pt>
                <c:pt idx="716">
                  <c:v>All Others</c:v>
                </c:pt>
                <c:pt idx="717">
                  <c:v>All Others</c:v>
                </c:pt>
                <c:pt idx="718">
                  <c:v>All Others</c:v>
                </c:pt>
                <c:pt idx="719">
                  <c:v>All Others</c:v>
                </c:pt>
                <c:pt idx="720">
                  <c:v>All Others</c:v>
                </c:pt>
                <c:pt idx="721">
                  <c:v>Private Lab</c:v>
                </c:pt>
                <c:pt idx="722">
                  <c:v>Private Lab</c:v>
                </c:pt>
                <c:pt idx="723">
                  <c:v>All Others</c:v>
                </c:pt>
                <c:pt idx="724">
                  <c:v>All Others</c:v>
                </c:pt>
                <c:pt idx="725">
                  <c:v>All Others</c:v>
                </c:pt>
                <c:pt idx="726">
                  <c:v>All Others</c:v>
                </c:pt>
                <c:pt idx="727">
                  <c:v>Mini Babybe</c:v>
                </c:pt>
                <c:pt idx="728">
                  <c:v>All Others</c:v>
                </c:pt>
                <c:pt idx="729">
                  <c:v>President</c:v>
                </c:pt>
                <c:pt idx="730">
                  <c:v>Soignon</c:v>
                </c:pt>
                <c:pt idx="731">
                  <c:v>Lactalis: A</c:v>
                </c:pt>
                <c:pt idx="732">
                  <c:v>All Others</c:v>
                </c:pt>
                <c:pt idx="733">
                  <c:v>All Others</c:v>
                </c:pt>
                <c:pt idx="734">
                  <c:v>All Others</c:v>
                </c:pt>
                <c:pt idx="735">
                  <c:v>All Others</c:v>
                </c:pt>
                <c:pt idx="736">
                  <c:v>Private Lab</c:v>
                </c:pt>
                <c:pt idx="737">
                  <c:v>All Others</c:v>
                </c:pt>
                <c:pt idx="738">
                  <c:v>Mini Babybe</c:v>
                </c:pt>
                <c:pt idx="739">
                  <c:v>All Others</c:v>
                </c:pt>
                <c:pt idx="740">
                  <c:v>All Others</c:v>
                </c:pt>
                <c:pt idx="741">
                  <c:v>All Others</c:v>
                </c:pt>
                <c:pt idx="742">
                  <c:v>Eurial Autr</c:v>
                </c:pt>
                <c:pt idx="743">
                  <c:v>All Others</c:v>
                </c:pt>
                <c:pt idx="744">
                  <c:v>All Others</c:v>
                </c:pt>
                <c:pt idx="745">
                  <c:v>All Others</c:v>
                </c:pt>
                <c:pt idx="746">
                  <c:v>All Others</c:v>
                </c:pt>
                <c:pt idx="747">
                  <c:v>All Others</c:v>
                </c:pt>
                <c:pt idx="748">
                  <c:v>All Others</c:v>
                </c:pt>
                <c:pt idx="749">
                  <c:v>St Moret</c:v>
                </c:pt>
                <c:pt idx="750">
                  <c:v>Carre Frais</c:v>
                </c:pt>
                <c:pt idx="751">
                  <c:v>Private Lab</c:v>
                </c:pt>
                <c:pt idx="752">
                  <c:v>Private Lab</c:v>
                </c:pt>
                <c:pt idx="753">
                  <c:v>All Others</c:v>
                </c:pt>
                <c:pt idx="754">
                  <c:v>All Others</c:v>
                </c:pt>
                <c:pt idx="755">
                  <c:v>All Others</c:v>
                </c:pt>
                <c:pt idx="756">
                  <c:v>All Others</c:v>
                </c:pt>
                <c:pt idx="757">
                  <c:v>All Others</c:v>
                </c:pt>
                <c:pt idx="758">
                  <c:v>All Others</c:v>
                </c:pt>
                <c:pt idx="759">
                  <c:v>All Others</c:v>
                </c:pt>
                <c:pt idx="760">
                  <c:v>All Others</c:v>
                </c:pt>
                <c:pt idx="761">
                  <c:v>All Others</c:v>
                </c:pt>
                <c:pt idx="762">
                  <c:v>All Others</c:v>
                </c:pt>
                <c:pt idx="763">
                  <c:v>All Others</c:v>
                </c:pt>
                <c:pt idx="764">
                  <c:v>All Others</c:v>
                </c:pt>
                <c:pt idx="765">
                  <c:v>All Others</c:v>
                </c:pt>
                <c:pt idx="766">
                  <c:v>All Others</c:v>
                </c:pt>
                <c:pt idx="767">
                  <c:v>All Others</c:v>
                </c:pt>
                <c:pt idx="768">
                  <c:v>Lactalis: A</c:v>
                </c:pt>
                <c:pt idx="769">
                  <c:v>All Others</c:v>
                </c:pt>
                <c:pt idx="770">
                  <c:v>All Others</c:v>
                </c:pt>
                <c:pt idx="771">
                  <c:v>Savencia: A</c:v>
                </c:pt>
                <c:pt idx="772">
                  <c:v>All Others</c:v>
                </c:pt>
                <c:pt idx="773">
                  <c:v>All Others</c:v>
                </c:pt>
                <c:pt idx="774">
                  <c:v>Eurial Autr</c:v>
                </c:pt>
                <c:pt idx="775">
                  <c:v>Etoile Du Q</c:v>
                </c:pt>
                <c:pt idx="776">
                  <c:v>Private Lab</c:v>
                </c:pt>
                <c:pt idx="777">
                  <c:v>All Others</c:v>
                </c:pt>
                <c:pt idx="778">
                  <c:v>All Others</c:v>
                </c:pt>
                <c:pt idx="779">
                  <c:v>All Others</c:v>
                </c:pt>
                <c:pt idx="780">
                  <c:v>All Others</c:v>
                </c:pt>
                <c:pt idx="781">
                  <c:v>Eurial Autr</c:v>
                </c:pt>
                <c:pt idx="782">
                  <c:v>All Others</c:v>
                </c:pt>
                <c:pt idx="783">
                  <c:v>Lou Perac</c:v>
                </c:pt>
                <c:pt idx="784">
                  <c:v>All Others</c:v>
                </c:pt>
                <c:pt idx="785">
                  <c:v>All Others</c:v>
                </c:pt>
                <c:pt idx="786">
                  <c:v>All Others</c:v>
                </c:pt>
                <c:pt idx="787">
                  <c:v>All Others</c:v>
                </c:pt>
                <c:pt idx="788">
                  <c:v>All Others</c:v>
                </c:pt>
                <c:pt idx="789">
                  <c:v>All Others</c:v>
                </c:pt>
                <c:pt idx="790">
                  <c:v>All Others</c:v>
                </c:pt>
                <c:pt idx="791">
                  <c:v>All Others</c:v>
                </c:pt>
                <c:pt idx="792">
                  <c:v>All Others</c:v>
                </c:pt>
                <c:pt idx="793">
                  <c:v>All Others</c:v>
                </c:pt>
                <c:pt idx="794">
                  <c:v>All Others</c:v>
                </c:pt>
                <c:pt idx="795">
                  <c:v>All Others</c:v>
                </c:pt>
                <c:pt idx="796">
                  <c:v>All Others</c:v>
                </c:pt>
                <c:pt idx="797">
                  <c:v>All Others</c:v>
                </c:pt>
                <c:pt idx="798">
                  <c:v>All Others</c:v>
                </c:pt>
                <c:pt idx="799">
                  <c:v>All Others</c:v>
                </c:pt>
                <c:pt idx="800">
                  <c:v>All Others</c:v>
                </c:pt>
                <c:pt idx="801">
                  <c:v>All Others</c:v>
                </c:pt>
                <c:pt idx="802">
                  <c:v>All Others</c:v>
                </c:pt>
                <c:pt idx="803">
                  <c:v>All Others</c:v>
                </c:pt>
                <c:pt idx="804">
                  <c:v>All Others</c:v>
                </c:pt>
                <c:pt idx="805">
                  <c:v>All Others</c:v>
                </c:pt>
                <c:pt idx="806">
                  <c:v>All Others</c:v>
                </c:pt>
                <c:pt idx="807">
                  <c:v>All Others</c:v>
                </c:pt>
                <c:pt idx="808">
                  <c:v>All Others</c:v>
                </c:pt>
                <c:pt idx="809">
                  <c:v>Lactalis: A</c:v>
                </c:pt>
                <c:pt idx="810">
                  <c:v>Lactalis: A</c:v>
                </c:pt>
                <c:pt idx="811">
                  <c:v>All Others</c:v>
                </c:pt>
                <c:pt idx="812">
                  <c:v>All Others</c:v>
                </c:pt>
                <c:pt idx="813">
                  <c:v>All Others</c:v>
                </c:pt>
                <c:pt idx="814">
                  <c:v>All Others</c:v>
                </c:pt>
                <c:pt idx="815">
                  <c:v>All Others</c:v>
                </c:pt>
                <c:pt idx="816">
                  <c:v>All Others</c:v>
                </c:pt>
                <c:pt idx="817">
                  <c:v>All Others</c:v>
                </c:pt>
                <c:pt idx="818">
                  <c:v>All Others</c:v>
                </c:pt>
                <c:pt idx="819">
                  <c:v>All Others</c:v>
                </c:pt>
                <c:pt idx="820">
                  <c:v>All Others</c:v>
                </c:pt>
                <c:pt idx="821">
                  <c:v>All Others</c:v>
                </c:pt>
                <c:pt idx="822">
                  <c:v>All Others</c:v>
                </c:pt>
                <c:pt idx="823">
                  <c:v>All Others</c:v>
                </c:pt>
                <c:pt idx="824">
                  <c:v>All Others</c:v>
                </c:pt>
                <c:pt idx="825">
                  <c:v>All Others</c:v>
                </c:pt>
                <c:pt idx="826">
                  <c:v>All Others</c:v>
                </c:pt>
                <c:pt idx="827">
                  <c:v>Triballat R</c:v>
                </c:pt>
                <c:pt idx="828">
                  <c:v>Savencia: A</c:v>
                </c:pt>
                <c:pt idx="829">
                  <c:v>Savencia: A</c:v>
                </c:pt>
                <c:pt idx="830">
                  <c:v>All Others</c:v>
                </c:pt>
                <c:pt idx="831">
                  <c:v>All Others</c:v>
                </c:pt>
                <c:pt idx="832">
                  <c:v>All Others</c:v>
                </c:pt>
                <c:pt idx="833">
                  <c:v>All Others</c:v>
                </c:pt>
                <c:pt idx="834">
                  <c:v>All Others</c:v>
                </c:pt>
                <c:pt idx="835">
                  <c:v>All Others</c:v>
                </c:pt>
                <c:pt idx="836">
                  <c:v>All Others</c:v>
                </c:pt>
                <c:pt idx="837">
                  <c:v>All Others</c:v>
                </c:pt>
                <c:pt idx="838">
                  <c:v>All Others</c:v>
                </c:pt>
                <c:pt idx="839">
                  <c:v>All Others</c:v>
                </c:pt>
                <c:pt idx="840">
                  <c:v>All Others</c:v>
                </c:pt>
                <c:pt idx="841">
                  <c:v>All Others</c:v>
                </c:pt>
                <c:pt idx="842">
                  <c:v>All Others</c:v>
                </c:pt>
                <c:pt idx="843">
                  <c:v>All Others</c:v>
                </c:pt>
                <c:pt idx="844">
                  <c:v>All Others</c:v>
                </c:pt>
                <c:pt idx="845">
                  <c:v>All Others</c:v>
                </c:pt>
                <c:pt idx="846">
                  <c:v>All Others</c:v>
                </c:pt>
                <c:pt idx="847">
                  <c:v>All Others</c:v>
                </c:pt>
                <c:pt idx="848">
                  <c:v>All Others</c:v>
                </c:pt>
                <c:pt idx="849">
                  <c:v>All Others</c:v>
                </c:pt>
                <c:pt idx="850">
                  <c:v>Lou Perac</c:v>
                </c:pt>
                <c:pt idx="851">
                  <c:v>All Others</c:v>
                </c:pt>
                <c:pt idx="852">
                  <c:v>All Others</c:v>
                </c:pt>
                <c:pt idx="853">
                  <c:v>All Others</c:v>
                </c:pt>
                <c:pt idx="854">
                  <c:v>All Others</c:v>
                </c:pt>
                <c:pt idx="855">
                  <c:v>All Others</c:v>
                </c:pt>
                <c:pt idx="856">
                  <c:v>All Others</c:v>
                </c:pt>
                <c:pt idx="857">
                  <c:v>All Others</c:v>
                </c:pt>
                <c:pt idx="858">
                  <c:v>All Others</c:v>
                </c:pt>
                <c:pt idx="859">
                  <c:v>All Others</c:v>
                </c:pt>
                <c:pt idx="860">
                  <c:v>All Others</c:v>
                </c:pt>
                <c:pt idx="861">
                  <c:v>All Others</c:v>
                </c:pt>
                <c:pt idx="862">
                  <c:v>All Others</c:v>
                </c:pt>
                <c:pt idx="863">
                  <c:v>All Others</c:v>
                </c:pt>
                <c:pt idx="864">
                  <c:v>All Others</c:v>
                </c:pt>
                <c:pt idx="865">
                  <c:v>All Others</c:v>
                </c:pt>
                <c:pt idx="866">
                  <c:v>All Others</c:v>
                </c:pt>
                <c:pt idx="867">
                  <c:v>Soignon</c:v>
                </c:pt>
                <c:pt idx="868">
                  <c:v>All Others</c:v>
                </c:pt>
                <c:pt idx="869">
                  <c:v>All Others</c:v>
                </c:pt>
                <c:pt idx="870">
                  <c:v>All Others</c:v>
                </c:pt>
                <c:pt idx="871">
                  <c:v>All Others</c:v>
                </c:pt>
                <c:pt idx="872">
                  <c:v>All Others</c:v>
                </c:pt>
                <c:pt idx="873">
                  <c:v>All Others</c:v>
                </c:pt>
                <c:pt idx="874">
                  <c:v>All Others</c:v>
                </c:pt>
                <c:pt idx="875">
                  <c:v>All Others</c:v>
                </c:pt>
                <c:pt idx="876">
                  <c:v>All Others</c:v>
                </c:pt>
                <c:pt idx="877">
                  <c:v>All Others</c:v>
                </c:pt>
                <c:pt idx="878">
                  <c:v>All Others</c:v>
                </c:pt>
                <c:pt idx="879">
                  <c:v>All Others</c:v>
                </c:pt>
                <c:pt idx="880">
                  <c:v>All Others</c:v>
                </c:pt>
                <c:pt idx="881">
                  <c:v>All Others</c:v>
                </c:pt>
                <c:pt idx="882">
                  <c:v>All Others</c:v>
                </c:pt>
                <c:pt idx="883">
                  <c:v>All Others</c:v>
                </c:pt>
                <c:pt idx="884">
                  <c:v>All Others</c:v>
                </c:pt>
                <c:pt idx="885">
                  <c:v>All Others</c:v>
                </c:pt>
                <c:pt idx="886">
                  <c:v>All Others</c:v>
                </c:pt>
                <c:pt idx="887">
                  <c:v>All Others</c:v>
                </c:pt>
                <c:pt idx="888">
                  <c:v>All Others</c:v>
                </c:pt>
                <c:pt idx="889">
                  <c:v>Triballat R</c:v>
                </c:pt>
                <c:pt idx="890">
                  <c:v>All Others</c:v>
                </c:pt>
                <c:pt idx="891">
                  <c:v>All Others</c:v>
                </c:pt>
                <c:pt idx="892">
                  <c:v>All Others</c:v>
                </c:pt>
                <c:pt idx="893">
                  <c:v>Triballat R</c:v>
                </c:pt>
                <c:pt idx="894">
                  <c:v>All Others</c:v>
                </c:pt>
                <c:pt idx="895">
                  <c:v>All Others</c:v>
                </c:pt>
                <c:pt idx="896">
                  <c:v>All Others</c:v>
                </c:pt>
                <c:pt idx="897">
                  <c:v>All Others</c:v>
                </c:pt>
                <c:pt idx="898">
                  <c:v>All Others</c:v>
                </c:pt>
                <c:pt idx="899">
                  <c:v>Private Lab</c:v>
                </c:pt>
                <c:pt idx="900">
                  <c:v>All Others</c:v>
                </c:pt>
                <c:pt idx="901">
                  <c:v>All Others</c:v>
                </c:pt>
                <c:pt idx="902">
                  <c:v>All Others</c:v>
                </c:pt>
                <c:pt idx="903">
                  <c:v>All Others</c:v>
                </c:pt>
                <c:pt idx="904">
                  <c:v>All Others</c:v>
                </c:pt>
                <c:pt idx="905">
                  <c:v>All Others</c:v>
                </c:pt>
                <c:pt idx="906">
                  <c:v>All Others</c:v>
                </c:pt>
                <c:pt idx="907">
                  <c:v>All Others</c:v>
                </c:pt>
                <c:pt idx="908">
                  <c:v>All Others</c:v>
                </c:pt>
                <c:pt idx="909">
                  <c:v>All Others</c:v>
                </c:pt>
                <c:pt idx="910">
                  <c:v>All Others</c:v>
                </c:pt>
                <c:pt idx="911">
                  <c:v>All Others</c:v>
                </c:pt>
                <c:pt idx="912">
                  <c:v>All Others</c:v>
                </c:pt>
                <c:pt idx="913">
                  <c:v>All Others</c:v>
                </c:pt>
                <c:pt idx="914">
                  <c:v>All Others</c:v>
                </c:pt>
                <c:pt idx="915">
                  <c:v>All Others</c:v>
                </c:pt>
                <c:pt idx="916">
                  <c:v>All Others</c:v>
                </c:pt>
                <c:pt idx="917">
                  <c:v>All Others</c:v>
                </c:pt>
                <c:pt idx="918">
                  <c:v>Caprice Des</c:v>
                </c:pt>
                <c:pt idx="919">
                  <c:v>All Others</c:v>
                </c:pt>
                <c:pt idx="920">
                  <c:v>All Others</c:v>
                </c:pt>
                <c:pt idx="921">
                  <c:v>Private Lab</c:v>
                </c:pt>
                <c:pt idx="922">
                  <c:v>All Others</c:v>
                </c:pt>
                <c:pt idx="923">
                  <c:v>All Others</c:v>
                </c:pt>
                <c:pt idx="924">
                  <c:v>All Others</c:v>
                </c:pt>
                <c:pt idx="925">
                  <c:v>All Others</c:v>
                </c:pt>
                <c:pt idx="926">
                  <c:v>All Others</c:v>
                </c:pt>
                <c:pt idx="927">
                  <c:v>All Others</c:v>
                </c:pt>
                <c:pt idx="928">
                  <c:v>All Others</c:v>
                </c:pt>
                <c:pt idx="929">
                  <c:v>All Others</c:v>
                </c:pt>
                <c:pt idx="930">
                  <c:v>All Others</c:v>
                </c:pt>
                <c:pt idx="931">
                  <c:v>All Others</c:v>
                </c:pt>
                <c:pt idx="932">
                  <c:v>All Others</c:v>
                </c:pt>
                <c:pt idx="933">
                  <c:v>All Others</c:v>
                </c:pt>
                <c:pt idx="934">
                  <c:v>All Others</c:v>
                </c:pt>
                <c:pt idx="935">
                  <c:v>Mini Babybe</c:v>
                </c:pt>
                <c:pt idx="936">
                  <c:v>All Others</c:v>
                </c:pt>
                <c:pt idx="937">
                  <c:v>All Others</c:v>
                </c:pt>
                <c:pt idx="938">
                  <c:v>All Others</c:v>
                </c:pt>
                <c:pt idx="939">
                  <c:v>Lactalis: A</c:v>
                </c:pt>
                <c:pt idx="940">
                  <c:v>All Others</c:v>
                </c:pt>
                <c:pt idx="941">
                  <c:v>All Others</c:v>
                </c:pt>
                <c:pt idx="942">
                  <c:v>All Others</c:v>
                </c:pt>
                <c:pt idx="943">
                  <c:v>All Others</c:v>
                </c:pt>
                <c:pt idx="944">
                  <c:v>All Others</c:v>
                </c:pt>
                <c:pt idx="945">
                  <c:v>All Others</c:v>
                </c:pt>
                <c:pt idx="946">
                  <c:v>All Others</c:v>
                </c:pt>
                <c:pt idx="947">
                  <c:v>All Others</c:v>
                </c:pt>
                <c:pt idx="948">
                  <c:v>All Others</c:v>
                </c:pt>
                <c:pt idx="949">
                  <c:v>All Others</c:v>
                </c:pt>
                <c:pt idx="950">
                  <c:v>Private Lab</c:v>
                </c:pt>
                <c:pt idx="951">
                  <c:v>All Others</c:v>
                </c:pt>
                <c:pt idx="952">
                  <c:v>All Others</c:v>
                </c:pt>
                <c:pt idx="953">
                  <c:v>All Others</c:v>
                </c:pt>
                <c:pt idx="954">
                  <c:v>All Others</c:v>
                </c:pt>
                <c:pt idx="955">
                  <c:v>All Others</c:v>
                </c:pt>
                <c:pt idx="956">
                  <c:v>All Others</c:v>
                </c:pt>
                <c:pt idx="957">
                  <c:v>All Others</c:v>
                </c:pt>
                <c:pt idx="958">
                  <c:v>All Others</c:v>
                </c:pt>
                <c:pt idx="959">
                  <c:v>All Others</c:v>
                </c:pt>
                <c:pt idx="960">
                  <c:v>Eurial Autr</c:v>
                </c:pt>
                <c:pt idx="961">
                  <c:v>All Others</c:v>
                </c:pt>
                <c:pt idx="962">
                  <c:v>All Others</c:v>
                </c:pt>
                <c:pt idx="963">
                  <c:v>All Others</c:v>
                </c:pt>
                <c:pt idx="964">
                  <c:v>All Others</c:v>
                </c:pt>
                <c:pt idx="965">
                  <c:v>All Others</c:v>
                </c:pt>
                <c:pt idx="966">
                  <c:v>All Others</c:v>
                </c:pt>
                <c:pt idx="967">
                  <c:v>All Others</c:v>
                </c:pt>
                <c:pt idx="968">
                  <c:v>All Others</c:v>
                </c:pt>
                <c:pt idx="969">
                  <c:v>All Others</c:v>
                </c:pt>
                <c:pt idx="970">
                  <c:v>All Others</c:v>
                </c:pt>
                <c:pt idx="971">
                  <c:v>All Others</c:v>
                </c:pt>
                <c:pt idx="972">
                  <c:v>All Others</c:v>
                </c:pt>
                <c:pt idx="973">
                  <c:v>All Others</c:v>
                </c:pt>
                <c:pt idx="974">
                  <c:v>All Others</c:v>
                </c:pt>
                <c:pt idx="975">
                  <c:v>All Others</c:v>
                </c:pt>
                <c:pt idx="976">
                  <c:v>All Others</c:v>
                </c:pt>
                <c:pt idx="977">
                  <c:v>All Others</c:v>
                </c:pt>
                <c:pt idx="978">
                  <c:v>All Others</c:v>
                </c:pt>
                <c:pt idx="979">
                  <c:v>All Others</c:v>
                </c:pt>
                <c:pt idx="980">
                  <c:v>All Others</c:v>
                </c:pt>
                <c:pt idx="981">
                  <c:v>All Others</c:v>
                </c:pt>
                <c:pt idx="982">
                  <c:v>Eurial Autr</c:v>
                </c:pt>
                <c:pt idx="983">
                  <c:v>All Others</c:v>
                </c:pt>
                <c:pt idx="984">
                  <c:v>All Others</c:v>
                </c:pt>
                <c:pt idx="985">
                  <c:v>All Others</c:v>
                </c:pt>
                <c:pt idx="986">
                  <c:v>All Others</c:v>
                </c:pt>
                <c:pt idx="987">
                  <c:v>All Others</c:v>
                </c:pt>
                <c:pt idx="988">
                  <c:v>All Others</c:v>
                </c:pt>
                <c:pt idx="989">
                  <c:v>All Others</c:v>
                </c:pt>
                <c:pt idx="990">
                  <c:v>All Others</c:v>
                </c:pt>
                <c:pt idx="991">
                  <c:v>All Others</c:v>
                </c:pt>
                <c:pt idx="992">
                  <c:v>All Others</c:v>
                </c:pt>
                <c:pt idx="993">
                  <c:v>All Others</c:v>
                </c:pt>
                <c:pt idx="994">
                  <c:v>All Others</c:v>
                </c:pt>
                <c:pt idx="995">
                  <c:v>All Others</c:v>
                </c:pt>
                <c:pt idx="996">
                  <c:v>All Others</c:v>
                </c:pt>
                <c:pt idx="997">
                  <c:v>All Others</c:v>
                </c:pt>
                <c:pt idx="998">
                  <c:v>All Others</c:v>
                </c:pt>
                <c:pt idx="999">
                  <c:v>All Others</c:v>
                </c:pt>
                <c:pt idx="1000">
                  <c:v>All Others</c:v>
                </c:pt>
                <c:pt idx="1001">
                  <c:v>All Others</c:v>
                </c:pt>
                <c:pt idx="1002">
                  <c:v>All Others</c:v>
                </c:pt>
                <c:pt idx="1003">
                  <c:v>All Others</c:v>
                </c:pt>
                <c:pt idx="1004">
                  <c:v>All Others</c:v>
                </c:pt>
                <c:pt idx="1005">
                  <c:v>Private Lab</c:v>
                </c:pt>
                <c:pt idx="1006">
                  <c:v>All Others</c:v>
                </c:pt>
                <c:pt idx="1007">
                  <c:v>All Others</c:v>
                </c:pt>
                <c:pt idx="1008">
                  <c:v>All Others</c:v>
                </c:pt>
                <c:pt idx="1009">
                  <c:v>All Others</c:v>
                </c:pt>
                <c:pt idx="1010">
                  <c:v>All Others</c:v>
                </c:pt>
                <c:pt idx="1011">
                  <c:v>All Others</c:v>
                </c:pt>
                <c:pt idx="1012">
                  <c:v>All Others</c:v>
                </c:pt>
                <c:pt idx="1013">
                  <c:v>All Others</c:v>
                </c:pt>
                <c:pt idx="1014">
                  <c:v>All Others</c:v>
                </c:pt>
                <c:pt idx="1015">
                  <c:v>All Others</c:v>
                </c:pt>
                <c:pt idx="1016">
                  <c:v>All Others</c:v>
                </c:pt>
                <c:pt idx="1017">
                  <c:v>All Others</c:v>
                </c:pt>
                <c:pt idx="1018">
                  <c:v>Lactalis: A</c:v>
                </c:pt>
                <c:pt idx="1019">
                  <c:v>Private Lab</c:v>
                </c:pt>
                <c:pt idx="1020">
                  <c:v>All Others</c:v>
                </c:pt>
                <c:pt idx="1021">
                  <c:v>All Others</c:v>
                </c:pt>
                <c:pt idx="1022">
                  <c:v>All Others</c:v>
                </c:pt>
                <c:pt idx="1023">
                  <c:v>All Others</c:v>
                </c:pt>
                <c:pt idx="1024">
                  <c:v>All Others</c:v>
                </c:pt>
                <c:pt idx="1025">
                  <c:v>All Others</c:v>
                </c:pt>
                <c:pt idx="1026">
                  <c:v>All Others</c:v>
                </c:pt>
                <c:pt idx="1027">
                  <c:v>All Others</c:v>
                </c:pt>
                <c:pt idx="1028">
                  <c:v>All Others</c:v>
                </c:pt>
                <c:pt idx="1029">
                  <c:v>All Others</c:v>
                </c:pt>
                <c:pt idx="1030">
                  <c:v>All Others</c:v>
                </c:pt>
                <c:pt idx="1031">
                  <c:v>All Others</c:v>
                </c:pt>
                <c:pt idx="1032">
                  <c:v>All Others</c:v>
                </c:pt>
                <c:pt idx="1033">
                  <c:v>All Others</c:v>
                </c:pt>
                <c:pt idx="1034">
                  <c:v>All Others</c:v>
                </c:pt>
                <c:pt idx="1035">
                  <c:v>All Others</c:v>
                </c:pt>
                <c:pt idx="1036">
                  <c:v>All Others</c:v>
                </c:pt>
                <c:pt idx="1037">
                  <c:v>All Others</c:v>
                </c:pt>
                <c:pt idx="1038">
                  <c:v>All Others</c:v>
                </c:pt>
                <c:pt idx="1039">
                  <c:v>All Others</c:v>
                </c:pt>
                <c:pt idx="1040">
                  <c:v>All Others</c:v>
                </c:pt>
                <c:pt idx="1041">
                  <c:v>All Others</c:v>
                </c:pt>
                <c:pt idx="1042">
                  <c:v>President</c:v>
                </c:pt>
                <c:pt idx="1043">
                  <c:v>All Others</c:v>
                </c:pt>
                <c:pt idx="1044">
                  <c:v>All Others</c:v>
                </c:pt>
                <c:pt idx="1045">
                  <c:v>All Others</c:v>
                </c:pt>
                <c:pt idx="1046">
                  <c:v>All Others</c:v>
                </c:pt>
                <c:pt idx="1047">
                  <c:v>All Others</c:v>
                </c:pt>
                <c:pt idx="1048">
                  <c:v>All Others</c:v>
                </c:pt>
                <c:pt idx="1049">
                  <c:v>All Others</c:v>
                </c:pt>
                <c:pt idx="1050">
                  <c:v>Rondele</c:v>
                </c:pt>
                <c:pt idx="1051">
                  <c:v>All Others</c:v>
                </c:pt>
                <c:pt idx="1052">
                  <c:v>Lactalis: A</c:v>
                </c:pt>
                <c:pt idx="1053">
                  <c:v>All Others</c:v>
                </c:pt>
                <c:pt idx="1054">
                  <c:v>All Others</c:v>
                </c:pt>
                <c:pt idx="1055">
                  <c:v>All Others</c:v>
                </c:pt>
                <c:pt idx="1056">
                  <c:v>All Others</c:v>
                </c:pt>
                <c:pt idx="1057">
                  <c:v>All Others</c:v>
                </c:pt>
                <c:pt idx="1058">
                  <c:v>All Others</c:v>
                </c:pt>
                <c:pt idx="1059">
                  <c:v>All Others</c:v>
                </c:pt>
                <c:pt idx="1060">
                  <c:v>All Others</c:v>
                </c:pt>
                <c:pt idx="1061">
                  <c:v>All Others</c:v>
                </c:pt>
                <c:pt idx="1062">
                  <c:v>All Others</c:v>
                </c:pt>
                <c:pt idx="1063">
                  <c:v>All Others</c:v>
                </c:pt>
                <c:pt idx="1064">
                  <c:v>All Others</c:v>
                </c:pt>
                <c:pt idx="1065">
                  <c:v>All Others</c:v>
                </c:pt>
                <c:pt idx="1066">
                  <c:v>All Others</c:v>
                </c:pt>
                <c:pt idx="1067">
                  <c:v>All Others</c:v>
                </c:pt>
                <c:pt idx="1068">
                  <c:v>Rondele</c:v>
                </c:pt>
                <c:pt idx="1069">
                  <c:v>All Others</c:v>
                </c:pt>
                <c:pt idx="1070">
                  <c:v>All Others</c:v>
                </c:pt>
                <c:pt idx="1071">
                  <c:v>All Others</c:v>
                </c:pt>
                <c:pt idx="1072">
                  <c:v>All Others</c:v>
                </c:pt>
                <c:pt idx="1073">
                  <c:v>Private Lab</c:v>
                </c:pt>
                <c:pt idx="1074">
                  <c:v>All Others</c:v>
                </c:pt>
                <c:pt idx="1075">
                  <c:v>All Others</c:v>
                </c:pt>
                <c:pt idx="1076">
                  <c:v>All Others</c:v>
                </c:pt>
                <c:pt idx="1077">
                  <c:v>All Others</c:v>
                </c:pt>
                <c:pt idx="1078">
                  <c:v>All Others</c:v>
                </c:pt>
                <c:pt idx="1079">
                  <c:v>All Others</c:v>
                </c:pt>
                <c:pt idx="1080">
                  <c:v>All Others</c:v>
                </c:pt>
                <c:pt idx="1081">
                  <c:v>All Others</c:v>
                </c:pt>
                <c:pt idx="1082">
                  <c:v>All Others</c:v>
                </c:pt>
                <c:pt idx="1083">
                  <c:v>All Others</c:v>
                </c:pt>
                <c:pt idx="1084">
                  <c:v>Soignon</c:v>
                </c:pt>
                <c:pt idx="1085">
                  <c:v>All Others</c:v>
                </c:pt>
                <c:pt idx="1086">
                  <c:v>All Others</c:v>
                </c:pt>
                <c:pt idx="1087">
                  <c:v>All Others</c:v>
                </c:pt>
                <c:pt idx="1088">
                  <c:v>All Others</c:v>
                </c:pt>
                <c:pt idx="1089">
                  <c:v>All Others</c:v>
                </c:pt>
                <c:pt idx="1090">
                  <c:v>All Others</c:v>
                </c:pt>
                <c:pt idx="1091">
                  <c:v>Lactalis: A</c:v>
                </c:pt>
                <c:pt idx="1092">
                  <c:v>All Others</c:v>
                </c:pt>
                <c:pt idx="1093">
                  <c:v>All Others</c:v>
                </c:pt>
                <c:pt idx="1094">
                  <c:v>All Others</c:v>
                </c:pt>
                <c:pt idx="1095">
                  <c:v>Rondele</c:v>
                </c:pt>
                <c:pt idx="1096">
                  <c:v>All Others</c:v>
                </c:pt>
                <c:pt idx="1097">
                  <c:v>All Others</c:v>
                </c:pt>
                <c:pt idx="1098">
                  <c:v>All Others</c:v>
                </c:pt>
                <c:pt idx="1099">
                  <c:v>All Others</c:v>
                </c:pt>
                <c:pt idx="1100">
                  <c:v>All Others</c:v>
                </c:pt>
                <c:pt idx="1101">
                  <c:v>All Others</c:v>
                </c:pt>
                <c:pt idx="1102">
                  <c:v>All Others</c:v>
                </c:pt>
                <c:pt idx="1103">
                  <c:v>All Others</c:v>
                </c:pt>
                <c:pt idx="1104">
                  <c:v>All Others</c:v>
                </c:pt>
                <c:pt idx="1105">
                  <c:v>Petit Billy</c:v>
                </c:pt>
                <c:pt idx="1106">
                  <c:v>All Others</c:v>
                </c:pt>
                <c:pt idx="1107">
                  <c:v>All Others</c:v>
                </c:pt>
                <c:pt idx="1108">
                  <c:v>All Others</c:v>
                </c:pt>
                <c:pt idx="1109">
                  <c:v>All Others</c:v>
                </c:pt>
                <c:pt idx="1110">
                  <c:v>All Others</c:v>
                </c:pt>
                <c:pt idx="1111">
                  <c:v>All Others</c:v>
                </c:pt>
                <c:pt idx="1112">
                  <c:v>Lactalis: A</c:v>
                </c:pt>
                <c:pt idx="1113">
                  <c:v>All Others</c:v>
                </c:pt>
                <c:pt idx="1114">
                  <c:v>All Others</c:v>
                </c:pt>
                <c:pt idx="1115">
                  <c:v>All Others</c:v>
                </c:pt>
                <c:pt idx="1116">
                  <c:v>All Others</c:v>
                </c:pt>
                <c:pt idx="1117">
                  <c:v>All Others</c:v>
                </c:pt>
                <c:pt idx="1118">
                  <c:v>All Others</c:v>
                </c:pt>
                <c:pt idx="1119">
                  <c:v>All Others</c:v>
                </c:pt>
                <c:pt idx="1120">
                  <c:v>All Others</c:v>
                </c:pt>
                <c:pt idx="1121">
                  <c:v>Savencia: A</c:v>
                </c:pt>
                <c:pt idx="1122">
                  <c:v>All Others</c:v>
                </c:pt>
                <c:pt idx="1123">
                  <c:v>All Others</c:v>
                </c:pt>
                <c:pt idx="1124">
                  <c:v>All Others</c:v>
                </c:pt>
                <c:pt idx="1125">
                  <c:v>All Others</c:v>
                </c:pt>
                <c:pt idx="1126">
                  <c:v>All Others</c:v>
                </c:pt>
                <c:pt idx="1127">
                  <c:v>All Others</c:v>
                </c:pt>
                <c:pt idx="1128">
                  <c:v>All Others</c:v>
                </c:pt>
                <c:pt idx="1129">
                  <c:v>All Others</c:v>
                </c:pt>
                <c:pt idx="1130">
                  <c:v>All Others</c:v>
                </c:pt>
                <c:pt idx="1131">
                  <c:v>Savencia: A</c:v>
                </c:pt>
                <c:pt idx="1132">
                  <c:v>All Others</c:v>
                </c:pt>
                <c:pt idx="1133">
                  <c:v>All Others</c:v>
                </c:pt>
                <c:pt idx="1134">
                  <c:v>All Others</c:v>
                </c:pt>
                <c:pt idx="1135">
                  <c:v>All Others</c:v>
                </c:pt>
                <c:pt idx="1136">
                  <c:v>All Others</c:v>
                </c:pt>
                <c:pt idx="1137">
                  <c:v>All Others</c:v>
                </c:pt>
                <c:pt idx="1138">
                  <c:v>All Others</c:v>
                </c:pt>
                <c:pt idx="1139">
                  <c:v>All Others</c:v>
                </c:pt>
                <c:pt idx="1140">
                  <c:v>All Others</c:v>
                </c:pt>
                <c:pt idx="1141">
                  <c:v>All Others</c:v>
                </c:pt>
                <c:pt idx="1142">
                  <c:v>All Others</c:v>
                </c:pt>
                <c:pt idx="1143">
                  <c:v>All Others</c:v>
                </c:pt>
                <c:pt idx="1144">
                  <c:v>All Others</c:v>
                </c:pt>
                <c:pt idx="1145">
                  <c:v>All Others</c:v>
                </c:pt>
                <c:pt idx="1146">
                  <c:v>All Others</c:v>
                </c:pt>
                <c:pt idx="1147">
                  <c:v>All Others</c:v>
                </c:pt>
                <c:pt idx="1148">
                  <c:v>All Others</c:v>
                </c:pt>
                <c:pt idx="1149">
                  <c:v>All Others</c:v>
                </c:pt>
                <c:pt idx="1150">
                  <c:v>All Others</c:v>
                </c:pt>
                <c:pt idx="1151">
                  <c:v>Private Lab</c:v>
                </c:pt>
                <c:pt idx="1152">
                  <c:v>All Others</c:v>
                </c:pt>
                <c:pt idx="1153">
                  <c:v>All Others</c:v>
                </c:pt>
                <c:pt idx="1154">
                  <c:v>All Others</c:v>
                </c:pt>
                <c:pt idx="1155">
                  <c:v>All Others</c:v>
                </c:pt>
                <c:pt idx="1156">
                  <c:v>All Others</c:v>
                </c:pt>
                <c:pt idx="1157">
                  <c:v>All Others</c:v>
                </c:pt>
                <c:pt idx="1158">
                  <c:v>Private Lab</c:v>
                </c:pt>
                <c:pt idx="1159">
                  <c:v>All Others</c:v>
                </c:pt>
                <c:pt idx="1160">
                  <c:v>All Others</c:v>
                </c:pt>
                <c:pt idx="1161">
                  <c:v>All Others</c:v>
                </c:pt>
                <c:pt idx="1162">
                  <c:v>All Others</c:v>
                </c:pt>
                <c:pt idx="1163">
                  <c:v>All Others</c:v>
                </c:pt>
                <c:pt idx="1164">
                  <c:v>All Others</c:v>
                </c:pt>
                <c:pt idx="1165">
                  <c:v>All Others</c:v>
                </c:pt>
                <c:pt idx="1166">
                  <c:v>All Others</c:v>
                </c:pt>
                <c:pt idx="1167">
                  <c:v>All Others</c:v>
                </c:pt>
                <c:pt idx="1168">
                  <c:v>All Others</c:v>
                </c:pt>
                <c:pt idx="1169">
                  <c:v>All Others</c:v>
                </c:pt>
                <c:pt idx="1170">
                  <c:v>All Others</c:v>
                </c:pt>
                <c:pt idx="1171">
                  <c:v>All Others</c:v>
                </c:pt>
                <c:pt idx="1172">
                  <c:v>All Others</c:v>
                </c:pt>
                <c:pt idx="1173">
                  <c:v>All Others</c:v>
                </c:pt>
                <c:pt idx="1174">
                  <c:v>All Others</c:v>
                </c:pt>
                <c:pt idx="1175">
                  <c:v>All Others</c:v>
                </c:pt>
                <c:pt idx="1176">
                  <c:v>All Others</c:v>
                </c:pt>
                <c:pt idx="1177">
                  <c:v>All Others</c:v>
                </c:pt>
                <c:pt idx="1178">
                  <c:v>All Others</c:v>
                </c:pt>
                <c:pt idx="1179">
                  <c:v>All Others</c:v>
                </c:pt>
                <c:pt idx="1180">
                  <c:v>All Others</c:v>
                </c:pt>
                <c:pt idx="1181">
                  <c:v>All Others</c:v>
                </c:pt>
                <c:pt idx="1182">
                  <c:v>All Others</c:v>
                </c:pt>
                <c:pt idx="1183">
                  <c:v>All Others</c:v>
                </c:pt>
                <c:pt idx="1184">
                  <c:v>All Others</c:v>
                </c:pt>
                <c:pt idx="1185">
                  <c:v>All Others</c:v>
                </c:pt>
                <c:pt idx="1186">
                  <c:v>All Others</c:v>
                </c:pt>
                <c:pt idx="1187">
                  <c:v>All Others</c:v>
                </c:pt>
                <c:pt idx="1188">
                  <c:v>All Others</c:v>
                </c:pt>
                <c:pt idx="1189">
                  <c:v>All Others</c:v>
                </c:pt>
                <c:pt idx="1190">
                  <c:v>All Others</c:v>
                </c:pt>
                <c:pt idx="1191">
                  <c:v>All Others</c:v>
                </c:pt>
                <c:pt idx="1192">
                  <c:v>All Others</c:v>
                </c:pt>
                <c:pt idx="1193">
                  <c:v>All Others</c:v>
                </c:pt>
                <c:pt idx="1194">
                  <c:v>All Others</c:v>
                </c:pt>
                <c:pt idx="1195">
                  <c:v>All Others</c:v>
                </c:pt>
                <c:pt idx="1196">
                  <c:v>All Others</c:v>
                </c:pt>
                <c:pt idx="1197">
                  <c:v>All Others</c:v>
                </c:pt>
                <c:pt idx="1198">
                  <c:v>All Others</c:v>
                </c:pt>
                <c:pt idx="1199">
                  <c:v>All Others</c:v>
                </c:pt>
                <c:pt idx="1200">
                  <c:v>All Others</c:v>
                </c:pt>
                <c:pt idx="1201">
                  <c:v>All Others</c:v>
                </c:pt>
                <c:pt idx="1202">
                  <c:v>All Others</c:v>
                </c:pt>
                <c:pt idx="1203">
                  <c:v>All Others</c:v>
                </c:pt>
                <c:pt idx="1204">
                  <c:v>All Others</c:v>
                </c:pt>
                <c:pt idx="1205">
                  <c:v>All Others</c:v>
                </c:pt>
                <c:pt idx="1206">
                  <c:v>Private Lab</c:v>
                </c:pt>
                <c:pt idx="1207">
                  <c:v>All Others</c:v>
                </c:pt>
                <c:pt idx="1208">
                  <c:v>Private Lab</c:v>
                </c:pt>
                <c:pt idx="1209">
                  <c:v>All Others</c:v>
                </c:pt>
                <c:pt idx="1210">
                  <c:v>All Others</c:v>
                </c:pt>
                <c:pt idx="1211">
                  <c:v>All Others</c:v>
                </c:pt>
                <c:pt idx="1212">
                  <c:v>All Others</c:v>
                </c:pt>
                <c:pt idx="1213">
                  <c:v>All Others</c:v>
                </c:pt>
                <c:pt idx="1214">
                  <c:v>All Others</c:v>
                </c:pt>
                <c:pt idx="1215">
                  <c:v>All Others</c:v>
                </c:pt>
                <c:pt idx="1216">
                  <c:v>All Others</c:v>
                </c:pt>
                <c:pt idx="1217">
                  <c:v>All Others</c:v>
                </c:pt>
                <c:pt idx="1218">
                  <c:v>All Others</c:v>
                </c:pt>
                <c:pt idx="1219">
                  <c:v>All Others</c:v>
                </c:pt>
                <c:pt idx="1220">
                  <c:v>All Others</c:v>
                </c:pt>
                <c:pt idx="1221">
                  <c:v>All Others</c:v>
                </c:pt>
                <c:pt idx="1222">
                  <c:v>All Others</c:v>
                </c:pt>
                <c:pt idx="1223">
                  <c:v>All Others</c:v>
                </c:pt>
                <c:pt idx="1224">
                  <c:v>All Others</c:v>
                </c:pt>
                <c:pt idx="1225">
                  <c:v>All Others</c:v>
                </c:pt>
                <c:pt idx="1226">
                  <c:v>All Others</c:v>
                </c:pt>
                <c:pt idx="1227">
                  <c:v>All Others</c:v>
                </c:pt>
                <c:pt idx="1228">
                  <c:v>Private Lab</c:v>
                </c:pt>
                <c:pt idx="1229">
                  <c:v>All Others</c:v>
                </c:pt>
                <c:pt idx="1230">
                  <c:v>All Others</c:v>
                </c:pt>
                <c:pt idx="1231">
                  <c:v>All Others</c:v>
                </c:pt>
                <c:pt idx="1232">
                  <c:v>All Others</c:v>
                </c:pt>
                <c:pt idx="1233">
                  <c:v>All Others</c:v>
                </c:pt>
                <c:pt idx="1234">
                  <c:v>All Others</c:v>
                </c:pt>
                <c:pt idx="1235">
                  <c:v>All Others</c:v>
                </c:pt>
                <c:pt idx="1236">
                  <c:v>Savencia: A</c:v>
                </c:pt>
                <c:pt idx="1237">
                  <c:v>All Others</c:v>
                </c:pt>
                <c:pt idx="1238">
                  <c:v>All Others</c:v>
                </c:pt>
                <c:pt idx="1239">
                  <c:v>Istara</c:v>
                </c:pt>
                <c:pt idx="1240">
                  <c:v>All Others</c:v>
                </c:pt>
                <c:pt idx="1241">
                  <c:v>All Others</c:v>
                </c:pt>
                <c:pt idx="1242">
                  <c:v>All Others</c:v>
                </c:pt>
                <c:pt idx="1243">
                  <c:v>All Others</c:v>
                </c:pt>
                <c:pt idx="1244">
                  <c:v>All Others</c:v>
                </c:pt>
                <c:pt idx="1245">
                  <c:v>All Others</c:v>
                </c:pt>
                <c:pt idx="1246">
                  <c:v>All Others</c:v>
                </c:pt>
                <c:pt idx="1247">
                  <c:v>Private Lab</c:v>
                </c:pt>
                <c:pt idx="1248">
                  <c:v>All Others</c:v>
                </c:pt>
                <c:pt idx="1249">
                  <c:v>All Others</c:v>
                </c:pt>
                <c:pt idx="1250">
                  <c:v>All Others</c:v>
                </c:pt>
                <c:pt idx="1251">
                  <c:v>All Others</c:v>
                </c:pt>
                <c:pt idx="1252">
                  <c:v>All Others</c:v>
                </c:pt>
                <c:pt idx="1253">
                  <c:v>All Others</c:v>
                </c:pt>
                <c:pt idx="1254">
                  <c:v>All Others</c:v>
                </c:pt>
                <c:pt idx="1255">
                  <c:v>All Others</c:v>
                </c:pt>
                <c:pt idx="1256">
                  <c:v>All Others</c:v>
                </c:pt>
                <c:pt idx="1257">
                  <c:v>All Others</c:v>
                </c:pt>
                <c:pt idx="1258">
                  <c:v>All Others</c:v>
                </c:pt>
                <c:pt idx="1259">
                  <c:v>Salakis</c:v>
                </c:pt>
                <c:pt idx="1260">
                  <c:v>Societe</c:v>
                </c:pt>
                <c:pt idx="1261">
                  <c:v>All Others</c:v>
                </c:pt>
                <c:pt idx="1262">
                  <c:v>All Others</c:v>
                </c:pt>
                <c:pt idx="1263">
                  <c:v>All Others</c:v>
                </c:pt>
                <c:pt idx="1264">
                  <c:v>Lactalis: A</c:v>
                </c:pt>
                <c:pt idx="1265">
                  <c:v>All Others</c:v>
                </c:pt>
                <c:pt idx="1266">
                  <c:v>All Others</c:v>
                </c:pt>
                <c:pt idx="1267">
                  <c:v>All Others</c:v>
                </c:pt>
                <c:pt idx="1268">
                  <c:v>All Others</c:v>
                </c:pt>
                <c:pt idx="1269">
                  <c:v>All Others</c:v>
                </c:pt>
                <c:pt idx="1270">
                  <c:v>All Others</c:v>
                </c:pt>
                <c:pt idx="1271">
                  <c:v>All Others</c:v>
                </c:pt>
                <c:pt idx="1272">
                  <c:v>All Others</c:v>
                </c:pt>
                <c:pt idx="1273">
                  <c:v>All Others</c:v>
                </c:pt>
                <c:pt idx="1274">
                  <c:v>Limiano</c:v>
                </c:pt>
                <c:pt idx="1275">
                  <c:v>All Others</c:v>
                </c:pt>
                <c:pt idx="1276">
                  <c:v>All Others</c:v>
                </c:pt>
                <c:pt idx="1277">
                  <c:v>All Others</c:v>
                </c:pt>
                <c:pt idx="1278">
                  <c:v>All Others</c:v>
                </c:pt>
                <c:pt idx="1279">
                  <c:v>All Others</c:v>
                </c:pt>
                <c:pt idx="1280">
                  <c:v>All Others</c:v>
                </c:pt>
                <c:pt idx="1281">
                  <c:v>All Others</c:v>
                </c:pt>
                <c:pt idx="1282">
                  <c:v>All Others</c:v>
                </c:pt>
                <c:pt idx="1283">
                  <c:v>All Others</c:v>
                </c:pt>
                <c:pt idx="1284">
                  <c:v>All Others</c:v>
                </c:pt>
                <c:pt idx="1285">
                  <c:v>Private Lab</c:v>
                </c:pt>
                <c:pt idx="1286">
                  <c:v>All Others</c:v>
                </c:pt>
                <c:pt idx="1287">
                  <c:v>All Others</c:v>
                </c:pt>
                <c:pt idx="1288">
                  <c:v>All Others</c:v>
                </c:pt>
                <c:pt idx="1289">
                  <c:v>All Others</c:v>
                </c:pt>
                <c:pt idx="1290">
                  <c:v>All Others</c:v>
                </c:pt>
                <c:pt idx="1291">
                  <c:v>All Others</c:v>
                </c:pt>
                <c:pt idx="1292">
                  <c:v>All Others</c:v>
                </c:pt>
                <c:pt idx="1293">
                  <c:v>All Others</c:v>
                </c:pt>
                <c:pt idx="1294">
                  <c:v>All Others</c:v>
                </c:pt>
                <c:pt idx="1295">
                  <c:v>All Others</c:v>
                </c:pt>
                <c:pt idx="1296">
                  <c:v>All Others</c:v>
                </c:pt>
                <c:pt idx="1297">
                  <c:v>All Others</c:v>
                </c:pt>
                <c:pt idx="1298">
                  <c:v>All Others</c:v>
                </c:pt>
                <c:pt idx="1299">
                  <c:v>Private Lab</c:v>
                </c:pt>
                <c:pt idx="1300">
                  <c:v>All Others</c:v>
                </c:pt>
                <c:pt idx="1301">
                  <c:v>All Others</c:v>
                </c:pt>
                <c:pt idx="1302">
                  <c:v>All Others</c:v>
                </c:pt>
                <c:pt idx="1303">
                  <c:v>All Others</c:v>
                </c:pt>
                <c:pt idx="1304">
                  <c:v>All Others</c:v>
                </c:pt>
                <c:pt idx="1305">
                  <c:v>All Others</c:v>
                </c:pt>
                <c:pt idx="1306">
                  <c:v>All Others</c:v>
                </c:pt>
                <c:pt idx="1307">
                  <c:v>All Others</c:v>
                </c:pt>
                <c:pt idx="1308">
                  <c:v>All Others</c:v>
                </c:pt>
                <c:pt idx="1309">
                  <c:v>All Others</c:v>
                </c:pt>
                <c:pt idx="1310">
                  <c:v>All Others</c:v>
                </c:pt>
                <c:pt idx="1311">
                  <c:v>All Others</c:v>
                </c:pt>
                <c:pt idx="1312">
                  <c:v>All Others</c:v>
                </c:pt>
                <c:pt idx="1313">
                  <c:v>All Others</c:v>
                </c:pt>
                <c:pt idx="1314">
                  <c:v>All Others</c:v>
                </c:pt>
                <c:pt idx="1315">
                  <c:v>All Others</c:v>
                </c:pt>
                <c:pt idx="1316">
                  <c:v>All Others</c:v>
                </c:pt>
                <c:pt idx="1317">
                  <c:v>All Others</c:v>
                </c:pt>
                <c:pt idx="1318">
                  <c:v>All Others</c:v>
                </c:pt>
                <c:pt idx="1319">
                  <c:v>All Others</c:v>
                </c:pt>
                <c:pt idx="1320">
                  <c:v>All Others</c:v>
                </c:pt>
                <c:pt idx="1321">
                  <c:v>All Others</c:v>
                </c:pt>
                <c:pt idx="1322">
                  <c:v>All Others</c:v>
                </c:pt>
                <c:pt idx="1323">
                  <c:v>All Others</c:v>
                </c:pt>
                <c:pt idx="1324">
                  <c:v>All Others</c:v>
                </c:pt>
                <c:pt idx="1325">
                  <c:v>All Others</c:v>
                </c:pt>
                <c:pt idx="1326">
                  <c:v>All Others</c:v>
                </c:pt>
                <c:pt idx="1327">
                  <c:v>All Others</c:v>
                </c:pt>
                <c:pt idx="1328">
                  <c:v>All Others</c:v>
                </c:pt>
                <c:pt idx="1329">
                  <c:v>All Others</c:v>
                </c:pt>
                <c:pt idx="1330">
                  <c:v>All Others</c:v>
                </c:pt>
                <c:pt idx="1331">
                  <c:v>All Others</c:v>
                </c:pt>
                <c:pt idx="1332">
                  <c:v>All Others</c:v>
                </c:pt>
                <c:pt idx="1333">
                  <c:v>All Others</c:v>
                </c:pt>
                <c:pt idx="1334">
                  <c:v>All Others</c:v>
                </c:pt>
                <c:pt idx="1335">
                  <c:v>All Others</c:v>
                </c:pt>
                <c:pt idx="1336">
                  <c:v>All Others</c:v>
                </c:pt>
                <c:pt idx="1337">
                  <c:v>All Others</c:v>
                </c:pt>
                <c:pt idx="1338">
                  <c:v>All Others</c:v>
                </c:pt>
                <c:pt idx="1339">
                  <c:v>All Others</c:v>
                </c:pt>
                <c:pt idx="1340">
                  <c:v>All Others</c:v>
                </c:pt>
                <c:pt idx="1341">
                  <c:v>All Others</c:v>
                </c:pt>
                <c:pt idx="1342">
                  <c:v>All Others</c:v>
                </c:pt>
                <c:pt idx="1343">
                  <c:v>All Others</c:v>
                </c:pt>
                <c:pt idx="1344">
                  <c:v>All Others</c:v>
                </c:pt>
                <c:pt idx="1345">
                  <c:v>All Others</c:v>
                </c:pt>
                <c:pt idx="1346">
                  <c:v>All Others</c:v>
                </c:pt>
                <c:pt idx="1347">
                  <c:v>All Others</c:v>
                </c:pt>
                <c:pt idx="1348">
                  <c:v>All Others</c:v>
                </c:pt>
                <c:pt idx="1349">
                  <c:v>All Others</c:v>
                </c:pt>
                <c:pt idx="1350">
                  <c:v>All Others</c:v>
                </c:pt>
                <c:pt idx="1351">
                  <c:v>All Others</c:v>
                </c:pt>
                <c:pt idx="1352">
                  <c:v>All Others</c:v>
                </c:pt>
                <c:pt idx="1353">
                  <c:v>All Others</c:v>
                </c:pt>
                <c:pt idx="1354">
                  <c:v>All Others</c:v>
                </c:pt>
                <c:pt idx="1355">
                  <c:v>All Others</c:v>
                </c:pt>
                <c:pt idx="1356">
                  <c:v>All Others</c:v>
                </c:pt>
                <c:pt idx="1357">
                  <c:v>All Others</c:v>
                </c:pt>
                <c:pt idx="1358">
                  <c:v>All Others</c:v>
                </c:pt>
                <c:pt idx="1359">
                  <c:v>All Others</c:v>
                </c:pt>
                <c:pt idx="1360">
                  <c:v>Private Lab</c:v>
                </c:pt>
                <c:pt idx="1361">
                  <c:v>All Others</c:v>
                </c:pt>
                <c:pt idx="1362">
                  <c:v>All Others</c:v>
                </c:pt>
                <c:pt idx="1363">
                  <c:v>All Others</c:v>
                </c:pt>
                <c:pt idx="1364">
                  <c:v>All Others</c:v>
                </c:pt>
                <c:pt idx="1365">
                  <c:v>All Others</c:v>
                </c:pt>
                <c:pt idx="1366">
                  <c:v>All Others</c:v>
                </c:pt>
                <c:pt idx="1367">
                  <c:v>All Others</c:v>
                </c:pt>
                <c:pt idx="1368">
                  <c:v>All Others</c:v>
                </c:pt>
                <c:pt idx="1369">
                  <c:v>All Others</c:v>
                </c:pt>
                <c:pt idx="1370">
                  <c:v>All Others</c:v>
                </c:pt>
                <c:pt idx="1371">
                  <c:v>All Others</c:v>
                </c:pt>
                <c:pt idx="1372">
                  <c:v>All Others</c:v>
                </c:pt>
                <c:pt idx="1373">
                  <c:v>All Others</c:v>
                </c:pt>
                <c:pt idx="1374">
                  <c:v>All Others</c:v>
                </c:pt>
                <c:pt idx="1375">
                  <c:v>All Others</c:v>
                </c:pt>
                <c:pt idx="1376">
                  <c:v>Private Lab</c:v>
                </c:pt>
                <c:pt idx="1377">
                  <c:v>All Others</c:v>
                </c:pt>
                <c:pt idx="1378">
                  <c:v>All Others</c:v>
                </c:pt>
                <c:pt idx="1379">
                  <c:v>Private Lab</c:v>
                </c:pt>
                <c:pt idx="1380">
                  <c:v>All Others</c:v>
                </c:pt>
                <c:pt idx="1381">
                  <c:v>All Others</c:v>
                </c:pt>
                <c:pt idx="1382">
                  <c:v>All Others</c:v>
                </c:pt>
                <c:pt idx="1383">
                  <c:v>All Others</c:v>
                </c:pt>
                <c:pt idx="1384">
                  <c:v>All Others</c:v>
                </c:pt>
                <c:pt idx="1385">
                  <c:v>All Others</c:v>
                </c:pt>
                <c:pt idx="1386">
                  <c:v>All Others</c:v>
                </c:pt>
                <c:pt idx="1387">
                  <c:v>All Others</c:v>
                </c:pt>
                <c:pt idx="1388">
                  <c:v>Lactalis: A</c:v>
                </c:pt>
                <c:pt idx="1389">
                  <c:v>All Others</c:v>
                </c:pt>
                <c:pt idx="1390">
                  <c:v>All Others</c:v>
                </c:pt>
                <c:pt idx="1391">
                  <c:v>All Others</c:v>
                </c:pt>
                <c:pt idx="1392">
                  <c:v>All Others</c:v>
                </c:pt>
                <c:pt idx="1393">
                  <c:v>Private Lab</c:v>
                </c:pt>
                <c:pt idx="1394">
                  <c:v>All Others</c:v>
                </c:pt>
                <c:pt idx="1395">
                  <c:v>All Others</c:v>
                </c:pt>
                <c:pt idx="1396">
                  <c:v>All Others</c:v>
                </c:pt>
                <c:pt idx="1397">
                  <c:v>Milleret: A</c:v>
                </c:pt>
                <c:pt idx="1398">
                  <c:v>All Others</c:v>
                </c:pt>
                <c:pt idx="1399">
                  <c:v>All Others</c:v>
                </c:pt>
                <c:pt idx="1400">
                  <c:v>All Others</c:v>
                </c:pt>
                <c:pt idx="1401">
                  <c:v>All Others</c:v>
                </c:pt>
                <c:pt idx="1402">
                  <c:v>All Others</c:v>
                </c:pt>
                <c:pt idx="1403">
                  <c:v>All Others</c:v>
                </c:pt>
                <c:pt idx="1404">
                  <c:v>All Others</c:v>
                </c:pt>
                <c:pt idx="1405">
                  <c:v>All Others</c:v>
                </c:pt>
                <c:pt idx="1406">
                  <c:v>All Others</c:v>
                </c:pt>
                <c:pt idx="1407">
                  <c:v>All Others</c:v>
                </c:pt>
                <c:pt idx="1408">
                  <c:v>All Others</c:v>
                </c:pt>
                <c:pt idx="1409">
                  <c:v>All Others</c:v>
                </c:pt>
                <c:pt idx="1410">
                  <c:v>All Others</c:v>
                </c:pt>
                <c:pt idx="1411">
                  <c:v>All Others</c:v>
                </c:pt>
                <c:pt idx="1412">
                  <c:v>All Others</c:v>
                </c:pt>
                <c:pt idx="1413">
                  <c:v>Private Lab</c:v>
                </c:pt>
                <c:pt idx="1414">
                  <c:v>All Others</c:v>
                </c:pt>
                <c:pt idx="1415">
                  <c:v>All Others</c:v>
                </c:pt>
                <c:pt idx="1416">
                  <c:v>All Others</c:v>
                </c:pt>
                <c:pt idx="1417">
                  <c:v>All Others</c:v>
                </c:pt>
                <c:pt idx="1418">
                  <c:v>All Others</c:v>
                </c:pt>
                <c:pt idx="1419">
                  <c:v>All Others</c:v>
                </c:pt>
                <c:pt idx="1420">
                  <c:v>All Others</c:v>
                </c:pt>
                <c:pt idx="1421">
                  <c:v>All Others</c:v>
                </c:pt>
                <c:pt idx="1422">
                  <c:v>Private Lab</c:v>
                </c:pt>
                <c:pt idx="1423">
                  <c:v>All Others</c:v>
                </c:pt>
                <c:pt idx="1424">
                  <c:v>All Others</c:v>
                </c:pt>
                <c:pt idx="1425">
                  <c:v>All Others</c:v>
                </c:pt>
                <c:pt idx="1426">
                  <c:v>All Others</c:v>
                </c:pt>
                <c:pt idx="1427">
                  <c:v>All Others</c:v>
                </c:pt>
                <c:pt idx="1428">
                  <c:v>All Others</c:v>
                </c:pt>
                <c:pt idx="1429">
                  <c:v>All Others</c:v>
                </c:pt>
                <c:pt idx="1430">
                  <c:v>All Others</c:v>
                </c:pt>
                <c:pt idx="1431">
                  <c:v>All Others</c:v>
                </c:pt>
                <c:pt idx="1432">
                  <c:v>All Others</c:v>
                </c:pt>
                <c:pt idx="1433">
                  <c:v>All Others</c:v>
                </c:pt>
                <c:pt idx="1434">
                  <c:v>Lactalis: A</c:v>
                </c:pt>
                <c:pt idx="1435">
                  <c:v>Private Lab</c:v>
                </c:pt>
                <c:pt idx="1436">
                  <c:v>All Others</c:v>
                </c:pt>
                <c:pt idx="1437">
                  <c:v>All Others</c:v>
                </c:pt>
                <c:pt idx="1438">
                  <c:v>All Others</c:v>
                </c:pt>
                <c:pt idx="1439">
                  <c:v>All Others</c:v>
                </c:pt>
                <c:pt idx="1440">
                  <c:v>All Others</c:v>
                </c:pt>
                <c:pt idx="1441">
                  <c:v>All Others</c:v>
                </c:pt>
                <c:pt idx="1442">
                  <c:v>All Others</c:v>
                </c:pt>
                <c:pt idx="1443">
                  <c:v>All Others</c:v>
                </c:pt>
                <c:pt idx="1444">
                  <c:v>All Others</c:v>
                </c:pt>
                <c:pt idx="1445">
                  <c:v>All Others</c:v>
                </c:pt>
                <c:pt idx="1446">
                  <c:v>All Others</c:v>
                </c:pt>
                <c:pt idx="1447">
                  <c:v>All Others</c:v>
                </c:pt>
                <c:pt idx="1448">
                  <c:v>All Others</c:v>
                </c:pt>
                <c:pt idx="1449">
                  <c:v>All Others</c:v>
                </c:pt>
                <c:pt idx="1450">
                  <c:v>All Others</c:v>
                </c:pt>
                <c:pt idx="1451">
                  <c:v>All Others</c:v>
                </c:pt>
                <c:pt idx="1452">
                  <c:v>All Others</c:v>
                </c:pt>
                <c:pt idx="1453">
                  <c:v>Ficello</c:v>
                </c:pt>
                <c:pt idx="1454">
                  <c:v>Private Lab</c:v>
                </c:pt>
                <c:pt idx="1455">
                  <c:v>Private Lab</c:v>
                </c:pt>
                <c:pt idx="1456">
                  <c:v>All Others</c:v>
                </c:pt>
                <c:pt idx="1457">
                  <c:v>Mini Babybe</c:v>
                </c:pt>
                <c:pt idx="1458">
                  <c:v>All Others</c:v>
                </c:pt>
                <c:pt idx="1459">
                  <c:v>All Others</c:v>
                </c:pt>
                <c:pt idx="1460">
                  <c:v>All Others</c:v>
                </c:pt>
                <c:pt idx="1461">
                  <c:v>All Others</c:v>
                </c:pt>
                <c:pt idx="1462">
                  <c:v>All Others</c:v>
                </c:pt>
                <c:pt idx="1463">
                  <c:v>All Others</c:v>
                </c:pt>
                <c:pt idx="1464">
                  <c:v>All Others</c:v>
                </c:pt>
                <c:pt idx="1465">
                  <c:v>All Others</c:v>
                </c:pt>
                <c:pt idx="1466">
                  <c:v>All Others</c:v>
                </c:pt>
                <c:pt idx="1467">
                  <c:v>All Others</c:v>
                </c:pt>
                <c:pt idx="1468">
                  <c:v>All Others</c:v>
                </c:pt>
                <c:pt idx="1469">
                  <c:v>Private Lab</c:v>
                </c:pt>
                <c:pt idx="1470">
                  <c:v>All Others</c:v>
                </c:pt>
                <c:pt idx="1471">
                  <c:v>All Others</c:v>
                </c:pt>
                <c:pt idx="1472">
                  <c:v>All Others</c:v>
                </c:pt>
                <c:pt idx="1473">
                  <c:v>All Others</c:v>
                </c:pt>
              </c:strCache>
            </c:strRef>
          </c:cat>
          <c:val>
            <c:numRef>
              <c:f>Sheet1!$B$2:$B$1475</c:f>
              <c:numCache>
                <c:formatCode>General</c:formatCode>
                <c:ptCount val="1474"/>
                <c:pt idx="0">
                  <c:v>1.0</c:v>
                </c:pt>
                <c:pt idx="1">
                  <c:v>0.99</c:v>
                </c:pt>
                <c:pt idx="2">
                  <c:v>0.53</c:v>
                </c:pt>
                <c:pt idx="3">
                  <c:v>1.0</c:v>
                </c:pt>
                <c:pt idx="4">
                  <c:v>0.99</c:v>
                </c:pt>
                <c:pt idx="5">
                  <c:v>1.0</c:v>
                </c:pt>
                <c:pt idx="6">
                  <c:v>1.0</c:v>
                </c:pt>
                <c:pt idx="7">
                  <c:v>1.0</c:v>
                </c:pt>
                <c:pt idx="8">
                  <c:v>1.0</c:v>
                </c:pt>
                <c:pt idx="9">
                  <c:v>1.0</c:v>
                </c:pt>
                <c:pt idx="10">
                  <c:v>1.0</c:v>
                </c:pt>
                <c:pt idx="11">
                  <c:v>1.0</c:v>
                </c:pt>
                <c:pt idx="12">
                  <c:v>1.0</c:v>
                </c:pt>
                <c:pt idx="13">
                  <c:v>1.0</c:v>
                </c:pt>
                <c:pt idx="14">
                  <c:v>1.0</c:v>
                </c:pt>
                <c:pt idx="15">
                  <c:v>1.0</c:v>
                </c:pt>
                <c:pt idx="16">
                  <c:v>1.0</c:v>
                </c:pt>
                <c:pt idx="17">
                  <c:v>1.0</c:v>
                </c:pt>
                <c:pt idx="18">
                  <c:v>1.0</c:v>
                </c:pt>
                <c:pt idx="19">
                  <c:v>1.0</c:v>
                </c:pt>
                <c:pt idx="20">
                  <c:v>1.0</c:v>
                </c:pt>
                <c:pt idx="21">
                  <c:v>1.0</c:v>
                </c:pt>
                <c:pt idx="22">
                  <c:v>1.0</c:v>
                </c:pt>
                <c:pt idx="23">
                  <c:v>1.0</c:v>
                </c:pt>
                <c:pt idx="24">
                  <c:v>1.0</c:v>
                </c:pt>
                <c:pt idx="25">
                  <c:v>1.0</c:v>
                </c:pt>
                <c:pt idx="26">
                  <c:v>1.0</c:v>
                </c:pt>
                <c:pt idx="27">
                  <c:v>1.0</c:v>
                </c:pt>
                <c:pt idx="28">
                  <c:v>1.0</c:v>
                </c:pt>
                <c:pt idx="29">
                  <c:v>1.0</c:v>
                </c:pt>
                <c:pt idx="30">
                  <c:v>1.0</c:v>
                </c:pt>
                <c:pt idx="31">
                  <c:v>0.99</c:v>
                </c:pt>
                <c:pt idx="32">
                  <c:v>1.0</c:v>
                </c:pt>
                <c:pt idx="33">
                  <c:v>1.0</c:v>
                </c:pt>
                <c:pt idx="34">
                  <c:v>1.0</c:v>
                </c:pt>
                <c:pt idx="35">
                  <c:v>1.0</c:v>
                </c:pt>
                <c:pt idx="36">
                  <c:v>1.0</c:v>
                </c:pt>
                <c:pt idx="37">
                  <c:v>1.0</c:v>
                </c:pt>
                <c:pt idx="38">
                  <c:v>0.99</c:v>
                </c:pt>
                <c:pt idx="39">
                  <c:v>1.0</c:v>
                </c:pt>
                <c:pt idx="40">
                  <c:v>1.0</c:v>
                </c:pt>
                <c:pt idx="41">
                  <c:v>1.0</c:v>
                </c:pt>
                <c:pt idx="42">
                  <c:v>1.0</c:v>
                </c:pt>
                <c:pt idx="43">
                  <c:v>1.0</c:v>
                </c:pt>
                <c:pt idx="44">
                  <c:v>1.0</c:v>
                </c:pt>
                <c:pt idx="45">
                  <c:v>1.0</c:v>
                </c:pt>
                <c:pt idx="46">
                  <c:v>1.0</c:v>
                </c:pt>
                <c:pt idx="47">
                  <c:v>1.0</c:v>
                </c:pt>
                <c:pt idx="48">
                  <c:v>1.0</c:v>
                </c:pt>
                <c:pt idx="49">
                  <c:v>1.0</c:v>
                </c:pt>
                <c:pt idx="50">
                  <c:v>1.0</c:v>
                </c:pt>
                <c:pt idx="51">
                  <c:v>0.99</c:v>
                </c:pt>
                <c:pt idx="52">
                  <c:v>1.0</c:v>
                </c:pt>
                <c:pt idx="53">
                  <c:v>1.0</c:v>
                </c:pt>
                <c:pt idx="54">
                  <c:v>1.0</c:v>
                </c:pt>
                <c:pt idx="55">
                  <c:v>1.0</c:v>
                </c:pt>
                <c:pt idx="56">
                  <c:v>1.0</c:v>
                </c:pt>
                <c:pt idx="57">
                  <c:v>1.0</c:v>
                </c:pt>
                <c:pt idx="58">
                  <c:v>1.0</c:v>
                </c:pt>
                <c:pt idx="59">
                  <c:v>1.0</c:v>
                </c:pt>
                <c:pt idx="60">
                  <c:v>1.0</c:v>
                </c:pt>
                <c:pt idx="61">
                  <c:v>0.99</c:v>
                </c:pt>
                <c:pt idx="62">
                  <c:v>0.99</c:v>
                </c:pt>
                <c:pt idx="63">
                  <c:v>0.97</c:v>
                </c:pt>
                <c:pt idx="64">
                  <c:v>1.0</c:v>
                </c:pt>
                <c:pt idx="65">
                  <c:v>1.0</c:v>
                </c:pt>
                <c:pt idx="66">
                  <c:v>0.97</c:v>
                </c:pt>
                <c:pt idx="67">
                  <c:v>1.0</c:v>
                </c:pt>
                <c:pt idx="68">
                  <c:v>1.0</c:v>
                </c:pt>
                <c:pt idx="69">
                  <c:v>1.0</c:v>
                </c:pt>
                <c:pt idx="70">
                  <c:v>0.98</c:v>
                </c:pt>
                <c:pt idx="71">
                  <c:v>1.0</c:v>
                </c:pt>
                <c:pt idx="72">
                  <c:v>0.99</c:v>
                </c:pt>
                <c:pt idx="73">
                  <c:v>0.94</c:v>
                </c:pt>
                <c:pt idx="74">
                  <c:v>1.0</c:v>
                </c:pt>
                <c:pt idx="75">
                  <c:v>1.0</c:v>
                </c:pt>
                <c:pt idx="76">
                  <c:v>1.0</c:v>
                </c:pt>
                <c:pt idx="77">
                  <c:v>1.0</c:v>
                </c:pt>
                <c:pt idx="78">
                  <c:v>1.0</c:v>
                </c:pt>
                <c:pt idx="79">
                  <c:v>1.0</c:v>
                </c:pt>
                <c:pt idx="80">
                  <c:v>1.0</c:v>
                </c:pt>
                <c:pt idx="81">
                  <c:v>1.0</c:v>
                </c:pt>
                <c:pt idx="82">
                  <c:v>0.97</c:v>
                </c:pt>
                <c:pt idx="83">
                  <c:v>1.0</c:v>
                </c:pt>
                <c:pt idx="84">
                  <c:v>1.0</c:v>
                </c:pt>
                <c:pt idx="85">
                  <c:v>1.0</c:v>
                </c:pt>
                <c:pt idx="86">
                  <c:v>1.0</c:v>
                </c:pt>
                <c:pt idx="87">
                  <c:v>0.99</c:v>
                </c:pt>
                <c:pt idx="88">
                  <c:v>1.0</c:v>
                </c:pt>
                <c:pt idx="89">
                  <c:v>0.98</c:v>
                </c:pt>
                <c:pt idx="90">
                  <c:v>1.0</c:v>
                </c:pt>
                <c:pt idx="91">
                  <c:v>0.94</c:v>
                </c:pt>
                <c:pt idx="92">
                  <c:v>1.0</c:v>
                </c:pt>
                <c:pt idx="93">
                  <c:v>1.0</c:v>
                </c:pt>
                <c:pt idx="94">
                  <c:v>0.99</c:v>
                </c:pt>
                <c:pt idx="95">
                  <c:v>0.85</c:v>
                </c:pt>
                <c:pt idx="96">
                  <c:v>1.0</c:v>
                </c:pt>
                <c:pt idx="97">
                  <c:v>1.0</c:v>
                </c:pt>
                <c:pt idx="98">
                  <c:v>1.0</c:v>
                </c:pt>
                <c:pt idx="99">
                  <c:v>0.99</c:v>
                </c:pt>
                <c:pt idx="100">
                  <c:v>1.0</c:v>
                </c:pt>
                <c:pt idx="101">
                  <c:v>1.0</c:v>
                </c:pt>
                <c:pt idx="102">
                  <c:v>0.99</c:v>
                </c:pt>
                <c:pt idx="103">
                  <c:v>1.0</c:v>
                </c:pt>
                <c:pt idx="104">
                  <c:v>1.0</c:v>
                </c:pt>
                <c:pt idx="105">
                  <c:v>0.94</c:v>
                </c:pt>
                <c:pt idx="106">
                  <c:v>1.0</c:v>
                </c:pt>
                <c:pt idx="107">
                  <c:v>0.98</c:v>
                </c:pt>
                <c:pt idx="108">
                  <c:v>1.0</c:v>
                </c:pt>
                <c:pt idx="109">
                  <c:v>0.96</c:v>
                </c:pt>
                <c:pt idx="110">
                  <c:v>0.99</c:v>
                </c:pt>
                <c:pt idx="111">
                  <c:v>1.0</c:v>
                </c:pt>
                <c:pt idx="112">
                  <c:v>0.97</c:v>
                </c:pt>
                <c:pt idx="113">
                  <c:v>1.0</c:v>
                </c:pt>
                <c:pt idx="114">
                  <c:v>1.0</c:v>
                </c:pt>
                <c:pt idx="115">
                  <c:v>0.98</c:v>
                </c:pt>
                <c:pt idx="116">
                  <c:v>1.0</c:v>
                </c:pt>
                <c:pt idx="117">
                  <c:v>1.0</c:v>
                </c:pt>
                <c:pt idx="118">
                  <c:v>1.0</c:v>
                </c:pt>
                <c:pt idx="119">
                  <c:v>1.0</c:v>
                </c:pt>
                <c:pt idx="120">
                  <c:v>1.0</c:v>
                </c:pt>
                <c:pt idx="121">
                  <c:v>1.0</c:v>
                </c:pt>
                <c:pt idx="122">
                  <c:v>0.94</c:v>
                </c:pt>
                <c:pt idx="123">
                  <c:v>0.96</c:v>
                </c:pt>
                <c:pt idx="124">
                  <c:v>1.0</c:v>
                </c:pt>
                <c:pt idx="125">
                  <c:v>0.96</c:v>
                </c:pt>
                <c:pt idx="126">
                  <c:v>0.97</c:v>
                </c:pt>
                <c:pt idx="127">
                  <c:v>0.98</c:v>
                </c:pt>
                <c:pt idx="128">
                  <c:v>0.9</c:v>
                </c:pt>
                <c:pt idx="129">
                  <c:v>0.94</c:v>
                </c:pt>
                <c:pt idx="130">
                  <c:v>0.85</c:v>
                </c:pt>
                <c:pt idx="131">
                  <c:v>0.97</c:v>
                </c:pt>
                <c:pt idx="132">
                  <c:v>1.0</c:v>
                </c:pt>
                <c:pt idx="133">
                  <c:v>0.94</c:v>
                </c:pt>
                <c:pt idx="134">
                  <c:v>0.98</c:v>
                </c:pt>
                <c:pt idx="135">
                  <c:v>1.0</c:v>
                </c:pt>
                <c:pt idx="136">
                  <c:v>0.95</c:v>
                </c:pt>
                <c:pt idx="137">
                  <c:v>1.0</c:v>
                </c:pt>
                <c:pt idx="138">
                  <c:v>0.99</c:v>
                </c:pt>
                <c:pt idx="139">
                  <c:v>1.0</c:v>
                </c:pt>
                <c:pt idx="140">
                  <c:v>0.99</c:v>
                </c:pt>
                <c:pt idx="141">
                  <c:v>0.99</c:v>
                </c:pt>
                <c:pt idx="142">
                  <c:v>0.99</c:v>
                </c:pt>
                <c:pt idx="143">
                  <c:v>1.0</c:v>
                </c:pt>
                <c:pt idx="144">
                  <c:v>1.0</c:v>
                </c:pt>
                <c:pt idx="145">
                  <c:v>0.99</c:v>
                </c:pt>
                <c:pt idx="146">
                  <c:v>0.95</c:v>
                </c:pt>
                <c:pt idx="147">
                  <c:v>0.91</c:v>
                </c:pt>
                <c:pt idx="148">
                  <c:v>0.92</c:v>
                </c:pt>
                <c:pt idx="149">
                  <c:v>0.96</c:v>
                </c:pt>
                <c:pt idx="150">
                  <c:v>0.97</c:v>
                </c:pt>
                <c:pt idx="151">
                  <c:v>1.0</c:v>
                </c:pt>
                <c:pt idx="152">
                  <c:v>1.0</c:v>
                </c:pt>
                <c:pt idx="153">
                  <c:v>0.99</c:v>
                </c:pt>
                <c:pt idx="154">
                  <c:v>0.99</c:v>
                </c:pt>
                <c:pt idx="155">
                  <c:v>1.0</c:v>
                </c:pt>
                <c:pt idx="156">
                  <c:v>0.98</c:v>
                </c:pt>
                <c:pt idx="157">
                  <c:v>0.91</c:v>
                </c:pt>
                <c:pt idx="158">
                  <c:v>0.92</c:v>
                </c:pt>
                <c:pt idx="159">
                  <c:v>0.95</c:v>
                </c:pt>
                <c:pt idx="160">
                  <c:v>0.83</c:v>
                </c:pt>
                <c:pt idx="161">
                  <c:v>1.0</c:v>
                </c:pt>
                <c:pt idx="162">
                  <c:v>0.95</c:v>
                </c:pt>
                <c:pt idx="163">
                  <c:v>1.0</c:v>
                </c:pt>
                <c:pt idx="164">
                  <c:v>1.0</c:v>
                </c:pt>
                <c:pt idx="165">
                  <c:v>0.95</c:v>
                </c:pt>
                <c:pt idx="166">
                  <c:v>0.93</c:v>
                </c:pt>
                <c:pt idx="167">
                  <c:v>0.99</c:v>
                </c:pt>
                <c:pt idx="168">
                  <c:v>0.89</c:v>
                </c:pt>
                <c:pt idx="169">
                  <c:v>0.98</c:v>
                </c:pt>
                <c:pt idx="170">
                  <c:v>0.95</c:v>
                </c:pt>
                <c:pt idx="171">
                  <c:v>0.88</c:v>
                </c:pt>
                <c:pt idx="172">
                  <c:v>0.64</c:v>
                </c:pt>
                <c:pt idx="173">
                  <c:v>1.0</c:v>
                </c:pt>
                <c:pt idx="174">
                  <c:v>1.0</c:v>
                </c:pt>
                <c:pt idx="175">
                  <c:v>0.99</c:v>
                </c:pt>
                <c:pt idx="176">
                  <c:v>0.97</c:v>
                </c:pt>
                <c:pt idx="177">
                  <c:v>0.99</c:v>
                </c:pt>
                <c:pt idx="178">
                  <c:v>0.99</c:v>
                </c:pt>
                <c:pt idx="179">
                  <c:v>1.0</c:v>
                </c:pt>
                <c:pt idx="180">
                  <c:v>0.94</c:v>
                </c:pt>
                <c:pt idx="181">
                  <c:v>0.98</c:v>
                </c:pt>
                <c:pt idx="182">
                  <c:v>0.99</c:v>
                </c:pt>
                <c:pt idx="183">
                  <c:v>1.0</c:v>
                </c:pt>
                <c:pt idx="184">
                  <c:v>0.99</c:v>
                </c:pt>
                <c:pt idx="185">
                  <c:v>0.96</c:v>
                </c:pt>
                <c:pt idx="186">
                  <c:v>1.0</c:v>
                </c:pt>
                <c:pt idx="187">
                  <c:v>0.97</c:v>
                </c:pt>
                <c:pt idx="188">
                  <c:v>0.97</c:v>
                </c:pt>
                <c:pt idx="189">
                  <c:v>0.89</c:v>
                </c:pt>
                <c:pt idx="190">
                  <c:v>0.96</c:v>
                </c:pt>
                <c:pt idx="191">
                  <c:v>1.0</c:v>
                </c:pt>
                <c:pt idx="192">
                  <c:v>1.0</c:v>
                </c:pt>
                <c:pt idx="193">
                  <c:v>0.97</c:v>
                </c:pt>
                <c:pt idx="194">
                  <c:v>0.99</c:v>
                </c:pt>
                <c:pt idx="195">
                  <c:v>0.98</c:v>
                </c:pt>
                <c:pt idx="196">
                  <c:v>1.0</c:v>
                </c:pt>
                <c:pt idx="197">
                  <c:v>0.89</c:v>
                </c:pt>
                <c:pt idx="198">
                  <c:v>0.95</c:v>
                </c:pt>
                <c:pt idx="199">
                  <c:v>0.81</c:v>
                </c:pt>
                <c:pt idx="200">
                  <c:v>0.87</c:v>
                </c:pt>
                <c:pt idx="201">
                  <c:v>0.99</c:v>
                </c:pt>
                <c:pt idx="202">
                  <c:v>0.96</c:v>
                </c:pt>
                <c:pt idx="203">
                  <c:v>0.95</c:v>
                </c:pt>
                <c:pt idx="204">
                  <c:v>0.97</c:v>
                </c:pt>
                <c:pt idx="205">
                  <c:v>0.34</c:v>
                </c:pt>
                <c:pt idx="206">
                  <c:v>0.98</c:v>
                </c:pt>
                <c:pt idx="207">
                  <c:v>0.95</c:v>
                </c:pt>
                <c:pt idx="208">
                  <c:v>0.89</c:v>
                </c:pt>
                <c:pt idx="209">
                  <c:v>0.94</c:v>
                </c:pt>
                <c:pt idx="210">
                  <c:v>0.89</c:v>
                </c:pt>
                <c:pt idx="211">
                  <c:v>0.97</c:v>
                </c:pt>
                <c:pt idx="212">
                  <c:v>0.95</c:v>
                </c:pt>
                <c:pt idx="213">
                  <c:v>0.96</c:v>
                </c:pt>
                <c:pt idx="214">
                  <c:v>0.93</c:v>
                </c:pt>
                <c:pt idx="215">
                  <c:v>1.0</c:v>
                </c:pt>
                <c:pt idx="216">
                  <c:v>0.99</c:v>
                </c:pt>
                <c:pt idx="217">
                  <c:v>0.99</c:v>
                </c:pt>
                <c:pt idx="218">
                  <c:v>1.0</c:v>
                </c:pt>
                <c:pt idx="219">
                  <c:v>0.95</c:v>
                </c:pt>
                <c:pt idx="220">
                  <c:v>0.95</c:v>
                </c:pt>
                <c:pt idx="221">
                  <c:v>1.0</c:v>
                </c:pt>
                <c:pt idx="222">
                  <c:v>0.94</c:v>
                </c:pt>
                <c:pt idx="223">
                  <c:v>0.92</c:v>
                </c:pt>
                <c:pt idx="224">
                  <c:v>1.0</c:v>
                </c:pt>
                <c:pt idx="225">
                  <c:v>0.92</c:v>
                </c:pt>
                <c:pt idx="226">
                  <c:v>0.86</c:v>
                </c:pt>
                <c:pt idx="227">
                  <c:v>1.0</c:v>
                </c:pt>
                <c:pt idx="228">
                  <c:v>0.99</c:v>
                </c:pt>
                <c:pt idx="229">
                  <c:v>0.92</c:v>
                </c:pt>
                <c:pt idx="230">
                  <c:v>0.96</c:v>
                </c:pt>
                <c:pt idx="231">
                  <c:v>0.97</c:v>
                </c:pt>
                <c:pt idx="232">
                  <c:v>0.95</c:v>
                </c:pt>
                <c:pt idx="233">
                  <c:v>0.98</c:v>
                </c:pt>
                <c:pt idx="234">
                  <c:v>0.84</c:v>
                </c:pt>
                <c:pt idx="235">
                  <c:v>0.9</c:v>
                </c:pt>
                <c:pt idx="236">
                  <c:v>0.6</c:v>
                </c:pt>
                <c:pt idx="237">
                  <c:v>0.9</c:v>
                </c:pt>
                <c:pt idx="238">
                  <c:v>0.9</c:v>
                </c:pt>
                <c:pt idx="239">
                  <c:v>0.92</c:v>
                </c:pt>
                <c:pt idx="240">
                  <c:v>0.82</c:v>
                </c:pt>
                <c:pt idx="241">
                  <c:v>0.91</c:v>
                </c:pt>
                <c:pt idx="242">
                  <c:v>0.85</c:v>
                </c:pt>
                <c:pt idx="243">
                  <c:v>0.9</c:v>
                </c:pt>
                <c:pt idx="244">
                  <c:v>0.05</c:v>
                </c:pt>
                <c:pt idx="245">
                  <c:v>0.95</c:v>
                </c:pt>
                <c:pt idx="246">
                  <c:v>0.93</c:v>
                </c:pt>
                <c:pt idx="247">
                  <c:v>0.88</c:v>
                </c:pt>
                <c:pt idx="248">
                  <c:v>0.99</c:v>
                </c:pt>
                <c:pt idx="249">
                  <c:v>0.93</c:v>
                </c:pt>
                <c:pt idx="250">
                  <c:v>1.0</c:v>
                </c:pt>
                <c:pt idx="251">
                  <c:v>0.96</c:v>
                </c:pt>
                <c:pt idx="252">
                  <c:v>0.84</c:v>
                </c:pt>
                <c:pt idx="253">
                  <c:v>0.98</c:v>
                </c:pt>
                <c:pt idx="254">
                  <c:v>0.93</c:v>
                </c:pt>
                <c:pt idx="255">
                  <c:v>0.93</c:v>
                </c:pt>
                <c:pt idx="256">
                  <c:v>1.0</c:v>
                </c:pt>
                <c:pt idx="257">
                  <c:v>0.97</c:v>
                </c:pt>
                <c:pt idx="258">
                  <c:v>0.97</c:v>
                </c:pt>
                <c:pt idx="259">
                  <c:v>0.87</c:v>
                </c:pt>
                <c:pt idx="260">
                  <c:v>0.94</c:v>
                </c:pt>
                <c:pt idx="261">
                  <c:v>0.88</c:v>
                </c:pt>
                <c:pt idx="262">
                  <c:v>0.77</c:v>
                </c:pt>
                <c:pt idx="263">
                  <c:v>0.74</c:v>
                </c:pt>
                <c:pt idx="264">
                  <c:v>0.98</c:v>
                </c:pt>
                <c:pt idx="265">
                  <c:v>0.82</c:v>
                </c:pt>
                <c:pt idx="266">
                  <c:v>0.87</c:v>
                </c:pt>
                <c:pt idx="267">
                  <c:v>0.55</c:v>
                </c:pt>
                <c:pt idx="268">
                  <c:v>0.89</c:v>
                </c:pt>
                <c:pt idx="269">
                  <c:v>0.67</c:v>
                </c:pt>
                <c:pt idx="270">
                  <c:v>0.73</c:v>
                </c:pt>
                <c:pt idx="271">
                  <c:v>0.83</c:v>
                </c:pt>
                <c:pt idx="272">
                  <c:v>0.93</c:v>
                </c:pt>
                <c:pt idx="273">
                  <c:v>0.93</c:v>
                </c:pt>
                <c:pt idx="274">
                  <c:v>1.0</c:v>
                </c:pt>
                <c:pt idx="275">
                  <c:v>0.75</c:v>
                </c:pt>
                <c:pt idx="276">
                  <c:v>0.33</c:v>
                </c:pt>
                <c:pt idx="277">
                  <c:v>0.51</c:v>
                </c:pt>
                <c:pt idx="278">
                  <c:v>0.96</c:v>
                </c:pt>
                <c:pt idx="279">
                  <c:v>0.93</c:v>
                </c:pt>
                <c:pt idx="280">
                  <c:v>0.99</c:v>
                </c:pt>
                <c:pt idx="281">
                  <c:v>0.57</c:v>
                </c:pt>
                <c:pt idx="282">
                  <c:v>0.63</c:v>
                </c:pt>
                <c:pt idx="283">
                  <c:v>0.49</c:v>
                </c:pt>
                <c:pt idx="284">
                  <c:v>0.97</c:v>
                </c:pt>
                <c:pt idx="285">
                  <c:v>0.93</c:v>
                </c:pt>
                <c:pt idx="286">
                  <c:v>1.0</c:v>
                </c:pt>
                <c:pt idx="287">
                  <c:v>1.0</c:v>
                </c:pt>
                <c:pt idx="288">
                  <c:v>0.71</c:v>
                </c:pt>
                <c:pt idx="289">
                  <c:v>1.0</c:v>
                </c:pt>
                <c:pt idx="290">
                  <c:v>0.87</c:v>
                </c:pt>
                <c:pt idx="291">
                  <c:v>0.97</c:v>
                </c:pt>
                <c:pt idx="292">
                  <c:v>0.95</c:v>
                </c:pt>
                <c:pt idx="293">
                  <c:v>0.92</c:v>
                </c:pt>
                <c:pt idx="294">
                  <c:v>0.96</c:v>
                </c:pt>
                <c:pt idx="295">
                  <c:v>0.95</c:v>
                </c:pt>
                <c:pt idx="296">
                  <c:v>1.0</c:v>
                </c:pt>
                <c:pt idx="297">
                  <c:v>0.77</c:v>
                </c:pt>
                <c:pt idx="298">
                  <c:v>0.93</c:v>
                </c:pt>
                <c:pt idx="299">
                  <c:v>0.56</c:v>
                </c:pt>
                <c:pt idx="300">
                  <c:v>0.96</c:v>
                </c:pt>
                <c:pt idx="301">
                  <c:v>0.96</c:v>
                </c:pt>
                <c:pt idx="302">
                  <c:v>0.96</c:v>
                </c:pt>
                <c:pt idx="303">
                  <c:v>0.88</c:v>
                </c:pt>
                <c:pt idx="304">
                  <c:v>0.84</c:v>
                </c:pt>
                <c:pt idx="305">
                  <c:v>0.88</c:v>
                </c:pt>
                <c:pt idx="306">
                  <c:v>0.85</c:v>
                </c:pt>
                <c:pt idx="307">
                  <c:v>0.73</c:v>
                </c:pt>
                <c:pt idx="308">
                  <c:v>0.86</c:v>
                </c:pt>
                <c:pt idx="309">
                  <c:v>0.22</c:v>
                </c:pt>
                <c:pt idx="310">
                  <c:v>0.75</c:v>
                </c:pt>
                <c:pt idx="311">
                  <c:v>0.95</c:v>
                </c:pt>
                <c:pt idx="312">
                  <c:v>0.99</c:v>
                </c:pt>
                <c:pt idx="313">
                  <c:v>0.78</c:v>
                </c:pt>
                <c:pt idx="314">
                  <c:v>0.79</c:v>
                </c:pt>
                <c:pt idx="315">
                  <c:v>0.92</c:v>
                </c:pt>
                <c:pt idx="316">
                  <c:v>1.0</c:v>
                </c:pt>
                <c:pt idx="317">
                  <c:v>0.58</c:v>
                </c:pt>
                <c:pt idx="318">
                  <c:v>0.94</c:v>
                </c:pt>
                <c:pt idx="319">
                  <c:v>0.67</c:v>
                </c:pt>
                <c:pt idx="320">
                  <c:v>0.9</c:v>
                </c:pt>
                <c:pt idx="321">
                  <c:v>0.73</c:v>
                </c:pt>
                <c:pt idx="322">
                  <c:v>0.83</c:v>
                </c:pt>
                <c:pt idx="323">
                  <c:v>0.87</c:v>
                </c:pt>
                <c:pt idx="324">
                  <c:v>0.84</c:v>
                </c:pt>
                <c:pt idx="325">
                  <c:v>0.94</c:v>
                </c:pt>
                <c:pt idx="326">
                  <c:v>0.93</c:v>
                </c:pt>
                <c:pt idx="327">
                  <c:v>0.99</c:v>
                </c:pt>
                <c:pt idx="328">
                  <c:v>0.34</c:v>
                </c:pt>
                <c:pt idx="329">
                  <c:v>0.48</c:v>
                </c:pt>
                <c:pt idx="330">
                  <c:v>0.36</c:v>
                </c:pt>
                <c:pt idx="331">
                  <c:v>0.91</c:v>
                </c:pt>
                <c:pt idx="332">
                  <c:v>0.06</c:v>
                </c:pt>
                <c:pt idx="333">
                  <c:v>0.89</c:v>
                </c:pt>
                <c:pt idx="334">
                  <c:v>0.58</c:v>
                </c:pt>
                <c:pt idx="335">
                  <c:v>0.89</c:v>
                </c:pt>
                <c:pt idx="336">
                  <c:v>0.77</c:v>
                </c:pt>
                <c:pt idx="337">
                  <c:v>0.57</c:v>
                </c:pt>
                <c:pt idx="338">
                  <c:v>0.71</c:v>
                </c:pt>
                <c:pt idx="339">
                  <c:v>0.23</c:v>
                </c:pt>
                <c:pt idx="340">
                  <c:v>0.87</c:v>
                </c:pt>
                <c:pt idx="341">
                  <c:v>0.59</c:v>
                </c:pt>
                <c:pt idx="342">
                  <c:v>0.94</c:v>
                </c:pt>
                <c:pt idx="343">
                  <c:v>0.73</c:v>
                </c:pt>
                <c:pt idx="344">
                  <c:v>0.78</c:v>
                </c:pt>
                <c:pt idx="345">
                  <c:v>0.84</c:v>
                </c:pt>
                <c:pt idx="346">
                  <c:v>0.84</c:v>
                </c:pt>
                <c:pt idx="347">
                  <c:v>0.76</c:v>
                </c:pt>
                <c:pt idx="348">
                  <c:v>0.88</c:v>
                </c:pt>
                <c:pt idx="349">
                  <c:v>0.93</c:v>
                </c:pt>
                <c:pt idx="350">
                  <c:v>0.89</c:v>
                </c:pt>
                <c:pt idx="351">
                  <c:v>0.93</c:v>
                </c:pt>
                <c:pt idx="352">
                  <c:v>0.18</c:v>
                </c:pt>
                <c:pt idx="353">
                  <c:v>0.91</c:v>
                </c:pt>
                <c:pt idx="354">
                  <c:v>0.9</c:v>
                </c:pt>
                <c:pt idx="355">
                  <c:v>0.94</c:v>
                </c:pt>
                <c:pt idx="356">
                  <c:v>0.76</c:v>
                </c:pt>
                <c:pt idx="357">
                  <c:v>0.39</c:v>
                </c:pt>
                <c:pt idx="358">
                  <c:v>0.76</c:v>
                </c:pt>
                <c:pt idx="359">
                  <c:v>0.74</c:v>
                </c:pt>
                <c:pt idx="360">
                  <c:v>0.86</c:v>
                </c:pt>
                <c:pt idx="361">
                  <c:v>0.47</c:v>
                </c:pt>
                <c:pt idx="362">
                  <c:v>0.93</c:v>
                </c:pt>
                <c:pt idx="363">
                  <c:v>0.78</c:v>
                </c:pt>
                <c:pt idx="364">
                  <c:v>0.99</c:v>
                </c:pt>
                <c:pt idx="365">
                  <c:v>0.73</c:v>
                </c:pt>
                <c:pt idx="366">
                  <c:v>0.07</c:v>
                </c:pt>
                <c:pt idx="367">
                  <c:v>0.15</c:v>
                </c:pt>
                <c:pt idx="368">
                  <c:v>0.36</c:v>
                </c:pt>
                <c:pt idx="369">
                  <c:v>0.74</c:v>
                </c:pt>
                <c:pt idx="370">
                  <c:v>0.94</c:v>
                </c:pt>
                <c:pt idx="371">
                  <c:v>0.82</c:v>
                </c:pt>
                <c:pt idx="372">
                  <c:v>0.96</c:v>
                </c:pt>
                <c:pt idx="373">
                  <c:v>0.79</c:v>
                </c:pt>
                <c:pt idx="374">
                  <c:v>0.58</c:v>
                </c:pt>
                <c:pt idx="375">
                  <c:v>0.61</c:v>
                </c:pt>
                <c:pt idx="376">
                  <c:v>0.88</c:v>
                </c:pt>
                <c:pt idx="377">
                  <c:v>0.93</c:v>
                </c:pt>
                <c:pt idx="378">
                  <c:v>0.49</c:v>
                </c:pt>
                <c:pt idx="379">
                  <c:v>0.82</c:v>
                </c:pt>
                <c:pt idx="380">
                  <c:v>0.55</c:v>
                </c:pt>
                <c:pt idx="381">
                  <c:v>0.7</c:v>
                </c:pt>
                <c:pt idx="382">
                  <c:v>0.89</c:v>
                </c:pt>
                <c:pt idx="383">
                  <c:v>0.96</c:v>
                </c:pt>
                <c:pt idx="384">
                  <c:v>0.77</c:v>
                </c:pt>
                <c:pt idx="385">
                  <c:v>0.19</c:v>
                </c:pt>
                <c:pt idx="386">
                  <c:v>0.7</c:v>
                </c:pt>
                <c:pt idx="387">
                  <c:v>0.85</c:v>
                </c:pt>
                <c:pt idx="388">
                  <c:v>0.8</c:v>
                </c:pt>
                <c:pt idx="389">
                  <c:v>0.82</c:v>
                </c:pt>
                <c:pt idx="390">
                  <c:v>0.22</c:v>
                </c:pt>
                <c:pt idx="391">
                  <c:v>0.9</c:v>
                </c:pt>
                <c:pt idx="392">
                  <c:v>0.12</c:v>
                </c:pt>
                <c:pt idx="393">
                  <c:v>0.73</c:v>
                </c:pt>
                <c:pt idx="394">
                  <c:v>0.95</c:v>
                </c:pt>
                <c:pt idx="395">
                  <c:v>0.33</c:v>
                </c:pt>
                <c:pt idx="396">
                  <c:v>0.67</c:v>
                </c:pt>
                <c:pt idx="397">
                  <c:v>0.1</c:v>
                </c:pt>
                <c:pt idx="398">
                  <c:v>0.06</c:v>
                </c:pt>
                <c:pt idx="399">
                  <c:v>0.8</c:v>
                </c:pt>
                <c:pt idx="400">
                  <c:v>0.62</c:v>
                </c:pt>
                <c:pt idx="401">
                  <c:v>0.36</c:v>
                </c:pt>
                <c:pt idx="402">
                  <c:v>0.25</c:v>
                </c:pt>
                <c:pt idx="403">
                  <c:v>0.2</c:v>
                </c:pt>
                <c:pt idx="404">
                  <c:v>0.86</c:v>
                </c:pt>
                <c:pt idx="405">
                  <c:v>0.99</c:v>
                </c:pt>
                <c:pt idx="406">
                  <c:v>0.44</c:v>
                </c:pt>
                <c:pt idx="407">
                  <c:v>0.63</c:v>
                </c:pt>
                <c:pt idx="408">
                  <c:v>0.91</c:v>
                </c:pt>
                <c:pt idx="409">
                  <c:v>0.89</c:v>
                </c:pt>
                <c:pt idx="410">
                  <c:v>0.16</c:v>
                </c:pt>
                <c:pt idx="411">
                  <c:v>0.41</c:v>
                </c:pt>
                <c:pt idx="412">
                  <c:v>0.83</c:v>
                </c:pt>
                <c:pt idx="413">
                  <c:v>0.82</c:v>
                </c:pt>
                <c:pt idx="414">
                  <c:v>0.96</c:v>
                </c:pt>
                <c:pt idx="415">
                  <c:v>0.34</c:v>
                </c:pt>
                <c:pt idx="416">
                  <c:v>0.62</c:v>
                </c:pt>
                <c:pt idx="417">
                  <c:v>0.32</c:v>
                </c:pt>
                <c:pt idx="418">
                  <c:v>0.81</c:v>
                </c:pt>
                <c:pt idx="419">
                  <c:v>0.89</c:v>
                </c:pt>
                <c:pt idx="420">
                  <c:v>0.41</c:v>
                </c:pt>
                <c:pt idx="421">
                  <c:v>0.14</c:v>
                </c:pt>
                <c:pt idx="422">
                  <c:v>0.96</c:v>
                </c:pt>
                <c:pt idx="423">
                  <c:v>0.79</c:v>
                </c:pt>
                <c:pt idx="424">
                  <c:v>0.55</c:v>
                </c:pt>
                <c:pt idx="425">
                  <c:v>0.57</c:v>
                </c:pt>
                <c:pt idx="426">
                  <c:v>0.71</c:v>
                </c:pt>
                <c:pt idx="427">
                  <c:v>0.74</c:v>
                </c:pt>
                <c:pt idx="428">
                  <c:v>0.25</c:v>
                </c:pt>
                <c:pt idx="429">
                  <c:v>0.09</c:v>
                </c:pt>
                <c:pt idx="430">
                  <c:v>0.73</c:v>
                </c:pt>
                <c:pt idx="431">
                  <c:v>0.64</c:v>
                </c:pt>
                <c:pt idx="432">
                  <c:v>0.72</c:v>
                </c:pt>
                <c:pt idx="433">
                  <c:v>0.59</c:v>
                </c:pt>
                <c:pt idx="434">
                  <c:v>0.33</c:v>
                </c:pt>
                <c:pt idx="435">
                  <c:v>0.41</c:v>
                </c:pt>
                <c:pt idx="436">
                  <c:v>0.77</c:v>
                </c:pt>
                <c:pt idx="437">
                  <c:v>0.51</c:v>
                </c:pt>
                <c:pt idx="438">
                  <c:v>0.14</c:v>
                </c:pt>
                <c:pt idx="439">
                  <c:v>0.26</c:v>
                </c:pt>
                <c:pt idx="440">
                  <c:v>0.67</c:v>
                </c:pt>
                <c:pt idx="441">
                  <c:v>0.53</c:v>
                </c:pt>
                <c:pt idx="442">
                  <c:v>0.16</c:v>
                </c:pt>
                <c:pt idx="443">
                  <c:v>0.8</c:v>
                </c:pt>
                <c:pt idx="444">
                  <c:v>0.79</c:v>
                </c:pt>
                <c:pt idx="445">
                  <c:v>0.4</c:v>
                </c:pt>
                <c:pt idx="446">
                  <c:v>0.42</c:v>
                </c:pt>
                <c:pt idx="447">
                  <c:v>0.88</c:v>
                </c:pt>
                <c:pt idx="448">
                  <c:v>0.9</c:v>
                </c:pt>
                <c:pt idx="449">
                  <c:v>0.71</c:v>
                </c:pt>
                <c:pt idx="450">
                  <c:v>0.68</c:v>
                </c:pt>
                <c:pt idx="451">
                  <c:v>0.45</c:v>
                </c:pt>
                <c:pt idx="452">
                  <c:v>0.94</c:v>
                </c:pt>
                <c:pt idx="453">
                  <c:v>0.6</c:v>
                </c:pt>
                <c:pt idx="454">
                  <c:v>0.89</c:v>
                </c:pt>
                <c:pt idx="455">
                  <c:v>0.3</c:v>
                </c:pt>
                <c:pt idx="456">
                  <c:v>0.3</c:v>
                </c:pt>
                <c:pt idx="457">
                  <c:v>0.84</c:v>
                </c:pt>
                <c:pt idx="458">
                  <c:v>0.74</c:v>
                </c:pt>
                <c:pt idx="459">
                  <c:v>0.18</c:v>
                </c:pt>
                <c:pt idx="460">
                  <c:v>0.22</c:v>
                </c:pt>
                <c:pt idx="461">
                  <c:v>0.54</c:v>
                </c:pt>
                <c:pt idx="462">
                  <c:v>0.22</c:v>
                </c:pt>
                <c:pt idx="463">
                  <c:v>0.16</c:v>
                </c:pt>
                <c:pt idx="464">
                  <c:v>0.53</c:v>
                </c:pt>
                <c:pt idx="465">
                  <c:v>0.31</c:v>
                </c:pt>
                <c:pt idx="466">
                  <c:v>0.85</c:v>
                </c:pt>
                <c:pt idx="467">
                  <c:v>0.62</c:v>
                </c:pt>
                <c:pt idx="468">
                  <c:v>0.7</c:v>
                </c:pt>
                <c:pt idx="469">
                  <c:v>0.64</c:v>
                </c:pt>
                <c:pt idx="470">
                  <c:v>0.14</c:v>
                </c:pt>
                <c:pt idx="471">
                  <c:v>0.42</c:v>
                </c:pt>
                <c:pt idx="472">
                  <c:v>0.23</c:v>
                </c:pt>
                <c:pt idx="473">
                  <c:v>0.19</c:v>
                </c:pt>
                <c:pt idx="474">
                  <c:v>0.05</c:v>
                </c:pt>
                <c:pt idx="475">
                  <c:v>0.22</c:v>
                </c:pt>
                <c:pt idx="476">
                  <c:v>0.45</c:v>
                </c:pt>
                <c:pt idx="477">
                  <c:v>0.3</c:v>
                </c:pt>
                <c:pt idx="478">
                  <c:v>0.18</c:v>
                </c:pt>
                <c:pt idx="479">
                  <c:v>0.25</c:v>
                </c:pt>
                <c:pt idx="480">
                  <c:v>0.41</c:v>
                </c:pt>
                <c:pt idx="481">
                  <c:v>0.77</c:v>
                </c:pt>
                <c:pt idx="482">
                  <c:v>0.36</c:v>
                </c:pt>
                <c:pt idx="483">
                  <c:v>0.16</c:v>
                </c:pt>
                <c:pt idx="484">
                  <c:v>0.15</c:v>
                </c:pt>
                <c:pt idx="485">
                  <c:v>0.64</c:v>
                </c:pt>
                <c:pt idx="486">
                  <c:v>0.33</c:v>
                </c:pt>
                <c:pt idx="487">
                  <c:v>0.15</c:v>
                </c:pt>
                <c:pt idx="488">
                  <c:v>0.7</c:v>
                </c:pt>
                <c:pt idx="489">
                  <c:v>0.56</c:v>
                </c:pt>
                <c:pt idx="490">
                  <c:v>0.59</c:v>
                </c:pt>
                <c:pt idx="491">
                  <c:v>0.92</c:v>
                </c:pt>
                <c:pt idx="492">
                  <c:v>0.72</c:v>
                </c:pt>
                <c:pt idx="493">
                  <c:v>0.21</c:v>
                </c:pt>
                <c:pt idx="494">
                  <c:v>0.62</c:v>
                </c:pt>
                <c:pt idx="495">
                  <c:v>0.19</c:v>
                </c:pt>
                <c:pt idx="496">
                  <c:v>0.25</c:v>
                </c:pt>
                <c:pt idx="497">
                  <c:v>0.68</c:v>
                </c:pt>
                <c:pt idx="498">
                  <c:v>0.81</c:v>
                </c:pt>
                <c:pt idx="499">
                  <c:v>0.02</c:v>
                </c:pt>
                <c:pt idx="500">
                  <c:v>0.69</c:v>
                </c:pt>
                <c:pt idx="501">
                  <c:v>0.39</c:v>
                </c:pt>
                <c:pt idx="502">
                  <c:v>0.17</c:v>
                </c:pt>
                <c:pt idx="503">
                  <c:v>0.16</c:v>
                </c:pt>
                <c:pt idx="504">
                  <c:v>0.32</c:v>
                </c:pt>
                <c:pt idx="505">
                  <c:v>0.28</c:v>
                </c:pt>
                <c:pt idx="506">
                  <c:v>0.08</c:v>
                </c:pt>
                <c:pt idx="507">
                  <c:v>0.73</c:v>
                </c:pt>
                <c:pt idx="508">
                  <c:v>0.26</c:v>
                </c:pt>
                <c:pt idx="509">
                  <c:v>0.11</c:v>
                </c:pt>
                <c:pt idx="510">
                  <c:v>0.64</c:v>
                </c:pt>
                <c:pt idx="511">
                  <c:v>0.12</c:v>
                </c:pt>
                <c:pt idx="512">
                  <c:v>0.58</c:v>
                </c:pt>
                <c:pt idx="513">
                  <c:v>0.11</c:v>
                </c:pt>
                <c:pt idx="514">
                  <c:v>0.29</c:v>
                </c:pt>
                <c:pt idx="515">
                  <c:v>0.31</c:v>
                </c:pt>
                <c:pt idx="516">
                  <c:v>0.55</c:v>
                </c:pt>
                <c:pt idx="517">
                  <c:v>0.11</c:v>
                </c:pt>
                <c:pt idx="518">
                  <c:v>0.13</c:v>
                </c:pt>
                <c:pt idx="519">
                  <c:v>0.21</c:v>
                </c:pt>
                <c:pt idx="520">
                  <c:v>0.67</c:v>
                </c:pt>
                <c:pt idx="521">
                  <c:v>0.17</c:v>
                </c:pt>
                <c:pt idx="522">
                  <c:v>0.09</c:v>
                </c:pt>
                <c:pt idx="523">
                  <c:v>0.36</c:v>
                </c:pt>
                <c:pt idx="524">
                  <c:v>0.83</c:v>
                </c:pt>
                <c:pt idx="525">
                  <c:v>0.01</c:v>
                </c:pt>
                <c:pt idx="526">
                  <c:v>0.68</c:v>
                </c:pt>
                <c:pt idx="527">
                  <c:v>0.47</c:v>
                </c:pt>
                <c:pt idx="528">
                  <c:v>0.07</c:v>
                </c:pt>
                <c:pt idx="529">
                  <c:v>0.9</c:v>
                </c:pt>
                <c:pt idx="530">
                  <c:v>0.15</c:v>
                </c:pt>
                <c:pt idx="531">
                  <c:v>0.39</c:v>
                </c:pt>
                <c:pt idx="532">
                  <c:v>0.76</c:v>
                </c:pt>
                <c:pt idx="533">
                  <c:v>0.72</c:v>
                </c:pt>
                <c:pt idx="534">
                  <c:v>0.6</c:v>
                </c:pt>
                <c:pt idx="535">
                  <c:v>0.56</c:v>
                </c:pt>
                <c:pt idx="536">
                  <c:v>0.53</c:v>
                </c:pt>
                <c:pt idx="537">
                  <c:v>0.14</c:v>
                </c:pt>
                <c:pt idx="538">
                  <c:v>0.66</c:v>
                </c:pt>
                <c:pt idx="539">
                  <c:v>0.73</c:v>
                </c:pt>
                <c:pt idx="540">
                  <c:v>0.05</c:v>
                </c:pt>
                <c:pt idx="541">
                  <c:v>0.06</c:v>
                </c:pt>
                <c:pt idx="542">
                  <c:v>0.45</c:v>
                </c:pt>
                <c:pt idx="543">
                  <c:v>0.1</c:v>
                </c:pt>
                <c:pt idx="544">
                  <c:v>0.09</c:v>
                </c:pt>
                <c:pt idx="545">
                  <c:v>0.66</c:v>
                </c:pt>
                <c:pt idx="546">
                  <c:v>0.36</c:v>
                </c:pt>
                <c:pt idx="547">
                  <c:v>0.01</c:v>
                </c:pt>
                <c:pt idx="548">
                  <c:v>0.83</c:v>
                </c:pt>
                <c:pt idx="549">
                  <c:v>0.08</c:v>
                </c:pt>
                <c:pt idx="550">
                  <c:v>0.48</c:v>
                </c:pt>
                <c:pt idx="551">
                  <c:v>0.24</c:v>
                </c:pt>
                <c:pt idx="552">
                  <c:v>0.72</c:v>
                </c:pt>
                <c:pt idx="553">
                  <c:v>0.2</c:v>
                </c:pt>
                <c:pt idx="554">
                  <c:v>0.27</c:v>
                </c:pt>
                <c:pt idx="555">
                  <c:v>0.04</c:v>
                </c:pt>
                <c:pt idx="556">
                  <c:v>0.73</c:v>
                </c:pt>
                <c:pt idx="557">
                  <c:v>0.14</c:v>
                </c:pt>
                <c:pt idx="558">
                  <c:v>0.09</c:v>
                </c:pt>
                <c:pt idx="559">
                  <c:v>0.85</c:v>
                </c:pt>
                <c:pt idx="560">
                  <c:v>0.15</c:v>
                </c:pt>
                <c:pt idx="561">
                  <c:v>0.25</c:v>
                </c:pt>
                <c:pt idx="562">
                  <c:v>0.14</c:v>
                </c:pt>
                <c:pt idx="563">
                  <c:v>0.08</c:v>
                </c:pt>
                <c:pt idx="564">
                  <c:v>0.72</c:v>
                </c:pt>
                <c:pt idx="565">
                  <c:v>0.07</c:v>
                </c:pt>
                <c:pt idx="566">
                  <c:v>0.15</c:v>
                </c:pt>
                <c:pt idx="567">
                  <c:v>0.01</c:v>
                </c:pt>
                <c:pt idx="568">
                  <c:v>0.11</c:v>
                </c:pt>
                <c:pt idx="569">
                  <c:v>0.9</c:v>
                </c:pt>
                <c:pt idx="570">
                  <c:v>0.31</c:v>
                </c:pt>
                <c:pt idx="571">
                  <c:v>0.22</c:v>
                </c:pt>
                <c:pt idx="572">
                  <c:v>0.09</c:v>
                </c:pt>
                <c:pt idx="573">
                  <c:v>0.49</c:v>
                </c:pt>
                <c:pt idx="574">
                  <c:v>0.15</c:v>
                </c:pt>
                <c:pt idx="575">
                  <c:v>0.57</c:v>
                </c:pt>
                <c:pt idx="576">
                  <c:v>0.24</c:v>
                </c:pt>
                <c:pt idx="577">
                  <c:v>0.69</c:v>
                </c:pt>
                <c:pt idx="578">
                  <c:v>0.21</c:v>
                </c:pt>
                <c:pt idx="579">
                  <c:v>0.12</c:v>
                </c:pt>
                <c:pt idx="580">
                  <c:v>0.5</c:v>
                </c:pt>
                <c:pt idx="581">
                  <c:v>0.67</c:v>
                </c:pt>
                <c:pt idx="582">
                  <c:v>0.09</c:v>
                </c:pt>
                <c:pt idx="583">
                  <c:v>0.64</c:v>
                </c:pt>
                <c:pt idx="584">
                  <c:v>0.09</c:v>
                </c:pt>
                <c:pt idx="585">
                  <c:v>0.01</c:v>
                </c:pt>
                <c:pt idx="586">
                  <c:v>0.54</c:v>
                </c:pt>
                <c:pt idx="587">
                  <c:v>0.01</c:v>
                </c:pt>
                <c:pt idx="588">
                  <c:v>0.11</c:v>
                </c:pt>
                <c:pt idx="589">
                  <c:v>0.21</c:v>
                </c:pt>
                <c:pt idx="590">
                  <c:v>0.14</c:v>
                </c:pt>
                <c:pt idx="591">
                  <c:v>0.05</c:v>
                </c:pt>
                <c:pt idx="592">
                  <c:v>0.32</c:v>
                </c:pt>
                <c:pt idx="593">
                  <c:v>0.1</c:v>
                </c:pt>
                <c:pt idx="594">
                  <c:v>0.53</c:v>
                </c:pt>
                <c:pt idx="595">
                  <c:v>0.59</c:v>
                </c:pt>
                <c:pt idx="596">
                  <c:v>0.55</c:v>
                </c:pt>
                <c:pt idx="597">
                  <c:v>0.13</c:v>
                </c:pt>
                <c:pt idx="598">
                  <c:v>0.06</c:v>
                </c:pt>
                <c:pt idx="599">
                  <c:v>0.61</c:v>
                </c:pt>
                <c:pt idx="600">
                  <c:v>0.64</c:v>
                </c:pt>
                <c:pt idx="601">
                  <c:v>0.1</c:v>
                </c:pt>
                <c:pt idx="602">
                  <c:v>0.56</c:v>
                </c:pt>
                <c:pt idx="603">
                  <c:v>0.04</c:v>
                </c:pt>
                <c:pt idx="604">
                  <c:v>0.11</c:v>
                </c:pt>
                <c:pt idx="605">
                  <c:v>0.02</c:v>
                </c:pt>
                <c:pt idx="606">
                  <c:v>0.12</c:v>
                </c:pt>
                <c:pt idx="607">
                  <c:v>0.02</c:v>
                </c:pt>
                <c:pt idx="608">
                  <c:v>0.01</c:v>
                </c:pt>
                <c:pt idx="609">
                  <c:v>0.46</c:v>
                </c:pt>
                <c:pt idx="610">
                  <c:v>0.2</c:v>
                </c:pt>
                <c:pt idx="611">
                  <c:v>0.09</c:v>
                </c:pt>
                <c:pt idx="612">
                  <c:v>0.11</c:v>
                </c:pt>
                <c:pt idx="613">
                  <c:v>0.44</c:v>
                </c:pt>
                <c:pt idx="614">
                  <c:v>0.29</c:v>
                </c:pt>
                <c:pt idx="615">
                  <c:v>0.06</c:v>
                </c:pt>
                <c:pt idx="616">
                  <c:v>0.1</c:v>
                </c:pt>
                <c:pt idx="617">
                  <c:v>0.13</c:v>
                </c:pt>
                <c:pt idx="618">
                  <c:v>0.3</c:v>
                </c:pt>
                <c:pt idx="619">
                  <c:v>0.16</c:v>
                </c:pt>
                <c:pt idx="620">
                  <c:v>0.72</c:v>
                </c:pt>
                <c:pt idx="621">
                  <c:v>0.68</c:v>
                </c:pt>
                <c:pt idx="622">
                  <c:v>0.07</c:v>
                </c:pt>
                <c:pt idx="623">
                  <c:v>0.09</c:v>
                </c:pt>
                <c:pt idx="624">
                  <c:v>0.08</c:v>
                </c:pt>
                <c:pt idx="625">
                  <c:v>0.72</c:v>
                </c:pt>
                <c:pt idx="626">
                  <c:v>0.31</c:v>
                </c:pt>
                <c:pt idx="627">
                  <c:v>0.46</c:v>
                </c:pt>
                <c:pt idx="628">
                  <c:v>0.6</c:v>
                </c:pt>
                <c:pt idx="629">
                  <c:v>0.31</c:v>
                </c:pt>
                <c:pt idx="630">
                  <c:v>0.65</c:v>
                </c:pt>
                <c:pt idx="631">
                  <c:v>0.02</c:v>
                </c:pt>
                <c:pt idx="632">
                  <c:v>0.69</c:v>
                </c:pt>
                <c:pt idx="633">
                  <c:v>0.08</c:v>
                </c:pt>
                <c:pt idx="634">
                  <c:v>0.37</c:v>
                </c:pt>
                <c:pt idx="635">
                  <c:v>0.05</c:v>
                </c:pt>
                <c:pt idx="636">
                  <c:v>0.28</c:v>
                </c:pt>
                <c:pt idx="637">
                  <c:v>0.14</c:v>
                </c:pt>
                <c:pt idx="638">
                  <c:v>0.15</c:v>
                </c:pt>
                <c:pt idx="639">
                  <c:v>0.5</c:v>
                </c:pt>
                <c:pt idx="640">
                  <c:v>0.53</c:v>
                </c:pt>
                <c:pt idx="641">
                  <c:v>0.07</c:v>
                </c:pt>
                <c:pt idx="642">
                  <c:v>0.08</c:v>
                </c:pt>
                <c:pt idx="643">
                  <c:v>0.06</c:v>
                </c:pt>
                <c:pt idx="644">
                  <c:v>0.17</c:v>
                </c:pt>
                <c:pt idx="645">
                  <c:v>0.05</c:v>
                </c:pt>
                <c:pt idx="646">
                  <c:v>0.11</c:v>
                </c:pt>
                <c:pt idx="647">
                  <c:v>0.48</c:v>
                </c:pt>
                <c:pt idx="648">
                  <c:v>0.08</c:v>
                </c:pt>
                <c:pt idx="649">
                  <c:v>0.08</c:v>
                </c:pt>
                <c:pt idx="650">
                  <c:v>0.02</c:v>
                </c:pt>
                <c:pt idx="651">
                  <c:v>0.14</c:v>
                </c:pt>
                <c:pt idx="652">
                  <c:v>0.34</c:v>
                </c:pt>
                <c:pt idx="653">
                  <c:v>0.03</c:v>
                </c:pt>
                <c:pt idx="654">
                  <c:v>0.07</c:v>
                </c:pt>
                <c:pt idx="655">
                  <c:v>0.09</c:v>
                </c:pt>
                <c:pt idx="656">
                  <c:v>0.72</c:v>
                </c:pt>
                <c:pt idx="657">
                  <c:v>0.7</c:v>
                </c:pt>
                <c:pt idx="658">
                  <c:v>0.71</c:v>
                </c:pt>
                <c:pt idx="659">
                  <c:v>0.69</c:v>
                </c:pt>
                <c:pt idx="660">
                  <c:v>0.69</c:v>
                </c:pt>
                <c:pt idx="661">
                  <c:v>0.02</c:v>
                </c:pt>
                <c:pt idx="662">
                  <c:v>0.29</c:v>
                </c:pt>
                <c:pt idx="663">
                  <c:v>0.66</c:v>
                </c:pt>
                <c:pt idx="664">
                  <c:v>0.29</c:v>
                </c:pt>
                <c:pt idx="665">
                  <c:v>0.06</c:v>
                </c:pt>
                <c:pt idx="666">
                  <c:v>0.07</c:v>
                </c:pt>
                <c:pt idx="667">
                  <c:v>0.12</c:v>
                </c:pt>
                <c:pt idx="668">
                  <c:v>0.1</c:v>
                </c:pt>
                <c:pt idx="669">
                  <c:v>0.56</c:v>
                </c:pt>
                <c:pt idx="670">
                  <c:v>0.1</c:v>
                </c:pt>
                <c:pt idx="671">
                  <c:v>0.05</c:v>
                </c:pt>
                <c:pt idx="672">
                  <c:v>0.02</c:v>
                </c:pt>
                <c:pt idx="673">
                  <c:v>0.11</c:v>
                </c:pt>
                <c:pt idx="674">
                  <c:v>0.08</c:v>
                </c:pt>
                <c:pt idx="675">
                  <c:v>0.08</c:v>
                </c:pt>
                <c:pt idx="676">
                  <c:v>0.68</c:v>
                </c:pt>
                <c:pt idx="677">
                  <c:v>0.21</c:v>
                </c:pt>
                <c:pt idx="678">
                  <c:v>0.02</c:v>
                </c:pt>
                <c:pt idx="679">
                  <c:v>0.17</c:v>
                </c:pt>
                <c:pt idx="680">
                  <c:v>0.77</c:v>
                </c:pt>
                <c:pt idx="681">
                  <c:v>0.13</c:v>
                </c:pt>
                <c:pt idx="682">
                  <c:v>0.01</c:v>
                </c:pt>
                <c:pt idx="683">
                  <c:v>0.05</c:v>
                </c:pt>
                <c:pt idx="684">
                  <c:v>0.08</c:v>
                </c:pt>
                <c:pt idx="685">
                  <c:v>0.02</c:v>
                </c:pt>
                <c:pt idx="686">
                  <c:v>0.03</c:v>
                </c:pt>
                <c:pt idx="687">
                  <c:v>0.12</c:v>
                </c:pt>
                <c:pt idx="688">
                  <c:v>0.06</c:v>
                </c:pt>
                <c:pt idx="689">
                  <c:v>0.17</c:v>
                </c:pt>
                <c:pt idx="690">
                  <c:v>0.14</c:v>
                </c:pt>
                <c:pt idx="691">
                  <c:v>0.11</c:v>
                </c:pt>
                <c:pt idx="692">
                  <c:v>0.15</c:v>
                </c:pt>
                <c:pt idx="693">
                  <c:v>0.06</c:v>
                </c:pt>
                <c:pt idx="694">
                  <c:v>0.02</c:v>
                </c:pt>
                <c:pt idx="695">
                  <c:v>0.09</c:v>
                </c:pt>
                <c:pt idx="696">
                  <c:v>0.02</c:v>
                </c:pt>
                <c:pt idx="697">
                  <c:v>0.01</c:v>
                </c:pt>
                <c:pt idx="698">
                  <c:v>0.01</c:v>
                </c:pt>
                <c:pt idx="699">
                  <c:v>0.11</c:v>
                </c:pt>
                <c:pt idx="700">
                  <c:v>0.1</c:v>
                </c:pt>
                <c:pt idx="701">
                  <c:v>0.06</c:v>
                </c:pt>
                <c:pt idx="702">
                  <c:v>0.12</c:v>
                </c:pt>
                <c:pt idx="703">
                  <c:v>0.06</c:v>
                </c:pt>
                <c:pt idx="704">
                  <c:v>0.1</c:v>
                </c:pt>
                <c:pt idx="705">
                  <c:v>0.09</c:v>
                </c:pt>
                <c:pt idx="706">
                  <c:v>0.06</c:v>
                </c:pt>
                <c:pt idx="707">
                  <c:v>0.05</c:v>
                </c:pt>
                <c:pt idx="708">
                  <c:v>0.01</c:v>
                </c:pt>
                <c:pt idx="709">
                  <c:v>0.08</c:v>
                </c:pt>
                <c:pt idx="710">
                  <c:v>0.14</c:v>
                </c:pt>
                <c:pt idx="711">
                  <c:v>0.69</c:v>
                </c:pt>
                <c:pt idx="712">
                  <c:v>0.05</c:v>
                </c:pt>
                <c:pt idx="713">
                  <c:v>0.41</c:v>
                </c:pt>
                <c:pt idx="714">
                  <c:v>0.09</c:v>
                </c:pt>
                <c:pt idx="715">
                  <c:v>0.15</c:v>
                </c:pt>
                <c:pt idx="716">
                  <c:v>0.08</c:v>
                </c:pt>
                <c:pt idx="717">
                  <c:v>0.02</c:v>
                </c:pt>
                <c:pt idx="718">
                  <c:v>0.06</c:v>
                </c:pt>
                <c:pt idx="719">
                  <c:v>0.05</c:v>
                </c:pt>
                <c:pt idx="720">
                  <c:v>0.02</c:v>
                </c:pt>
                <c:pt idx="721">
                  <c:v>0.77</c:v>
                </c:pt>
                <c:pt idx="722">
                  <c:v>0.39</c:v>
                </c:pt>
                <c:pt idx="723">
                  <c:v>0.09</c:v>
                </c:pt>
                <c:pt idx="724">
                  <c:v>0.06</c:v>
                </c:pt>
                <c:pt idx="725">
                  <c:v>0.1</c:v>
                </c:pt>
                <c:pt idx="726">
                  <c:v>0.07</c:v>
                </c:pt>
                <c:pt idx="727">
                  <c:v>0.21</c:v>
                </c:pt>
                <c:pt idx="728">
                  <c:v>0.03</c:v>
                </c:pt>
                <c:pt idx="729">
                  <c:v>0.1</c:v>
                </c:pt>
                <c:pt idx="730">
                  <c:v>0.04</c:v>
                </c:pt>
                <c:pt idx="731">
                  <c:v>0.65</c:v>
                </c:pt>
                <c:pt idx="732">
                  <c:v>0.08</c:v>
                </c:pt>
                <c:pt idx="733">
                  <c:v>0.02</c:v>
                </c:pt>
                <c:pt idx="734">
                  <c:v>0.1</c:v>
                </c:pt>
                <c:pt idx="735">
                  <c:v>0.09</c:v>
                </c:pt>
                <c:pt idx="736">
                  <c:v>0.16</c:v>
                </c:pt>
                <c:pt idx="737">
                  <c:v>0.17</c:v>
                </c:pt>
                <c:pt idx="738">
                  <c:v>0.67</c:v>
                </c:pt>
                <c:pt idx="739">
                  <c:v>0.14</c:v>
                </c:pt>
                <c:pt idx="740">
                  <c:v>0.11</c:v>
                </c:pt>
                <c:pt idx="741">
                  <c:v>0.07</c:v>
                </c:pt>
                <c:pt idx="742">
                  <c:v>0.15</c:v>
                </c:pt>
                <c:pt idx="743">
                  <c:v>0.03</c:v>
                </c:pt>
                <c:pt idx="744">
                  <c:v>0.3</c:v>
                </c:pt>
                <c:pt idx="745">
                  <c:v>0.1</c:v>
                </c:pt>
                <c:pt idx="746">
                  <c:v>0.07</c:v>
                </c:pt>
                <c:pt idx="747">
                  <c:v>0.32</c:v>
                </c:pt>
                <c:pt idx="748">
                  <c:v>0.1</c:v>
                </c:pt>
                <c:pt idx="749">
                  <c:v>0.27</c:v>
                </c:pt>
                <c:pt idx="750">
                  <c:v>0.1</c:v>
                </c:pt>
                <c:pt idx="751">
                  <c:v>0.19</c:v>
                </c:pt>
                <c:pt idx="752">
                  <c:v>0.1</c:v>
                </c:pt>
                <c:pt idx="753">
                  <c:v>0.27</c:v>
                </c:pt>
                <c:pt idx="754">
                  <c:v>0.2</c:v>
                </c:pt>
                <c:pt idx="755">
                  <c:v>0.09</c:v>
                </c:pt>
                <c:pt idx="756">
                  <c:v>0.09</c:v>
                </c:pt>
                <c:pt idx="757">
                  <c:v>0.09</c:v>
                </c:pt>
                <c:pt idx="758">
                  <c:v>0.1</c:v>
                </c:pt>
                <c:pt idx="759">
                  <c:v>0.11</c:v>
                </c:pt>
                <c:pt idx="760">
                  <c:v>0.05</c:v>
                </c:pt>
                <c:pt idx="761">
                  <c:v>0.01</c:v>
                </c:pt>
                <c:pt idx="762">
                  <c:v>0.06</c:v>
                </c:pt>
                <c:pt idx="763">
                  <c:v>0.25</c:v>
                </c:pt>
                <c:pt idx="764">
                  <c:v>0.06</c:v>
                </c:pt>
                <c:pt idx="765">
                  <c:v>0.01</c:v>
                </c:pt>
                <c:pt idx="766">
                  <c:v>0.01</c:v>
                </c:pt>
                <c:pt idx="767">
                  <c:v>0.43</c:v>
                </c:pt>
                <c:pt idx="768">
                  <c:v>0.09</c:v>
                </c:pt>
                <c:pt idx="769">
                  <c:v>0.04</c:v>
                </c:pt>
                <c:pt idx="770">
                  <c:v>0.01</c:v>
                </c:pt>
                <c:pt idx="771">
                  <c:v>0.08</c:v>
                </c:pt>
                <c:pt idx="772">
                  <c:v>0.1</c:v>
                </c:pt>
                <c:pt idx="773">
                  <c:v>0.08</c:v>
                </c:pt>
                <c:pt idx="774">
                  <c:v>0.04</c:v>
                </c:pt>
                <c:pt idx="775">
                  <c:v>0.16</c:v>
                </c:pt>
                <c:pt idx="776">
                  <c:v>0.54</c:v>
                </c:pt>
                <c:pt idx="777">
                  <c:v>0.18</c:v>
                </c:pt>
                <c:pt idx="778">
                  <c:v>0.13</c:v>
                </c:pt>
                <c:pt idx="779">
                  <c:v>0.08</c:v>
                </c:pt>
                <c:pt idx="780">
                  <c:v>0.01</c:v>
                </c:pt>
                <c:pt idx="781">
                  <c:v>0.04</c:v>
                </c:pt>
                <c:pt idx="782">
                  <c:v>0.04</c:v>
                </c:pt>
                <c:pt idx="783">
                  <c:v>0.06</c:v>
                </c:pt>
                <c:pt idx="784">
                  <c:v>0.29</c:v>
                </c:pt>
                <c:pt idx="785">
                  <c:v>0.01</c:v>
                </c:pt>
                <c:pt idx="786">
                  <c:v>0.11</c:v>
                </c:pt>
                <c:pt idx="787">
                  <c:v>0.07</c:v>
                </c:pt>
                <c:pt idx="788">
                  <c:v>0.05</c:v>
                </c:pt>
                <c:pt idx="789">
                  <c:v>0.02</c:v>
                </c:pt>
                <c:pt idx="790">
                  <c:v>0.02</c:v>
                </c:pt>
                <c:pt idx="791">
                  <c:v>0.05</c:v>
                </c:pt>
                <c:pt idx="792">
                  <c:v>0.01</c:v>
                </c:pt>
                <c:pt idx="793">
                  <c:v>0.01</c:v>
                </c:pt>
                <c:pt idx="794">
                  <c:v>0.02</c:v>
                </c:pt>
                <c:pt idx="795">
                  <c:v>0.07</c:v>
                </c:pt>
                <c:pt idx="796">
                  <c:v>0.01</c:v>
                </c:pt>
                <c:pt idx="797">
                  <c:v>0.02</c:v>
                </c:pt>
                <c:pt idx="798">
                  <c:v>0.39</c:v>
                </c:pt>
                <c:pt idx="799">
                  <c:v>0.07</c:v>
                </c:pt>
                <c:pt idx="800">
                  <c:v>0.13</c:v>
                </c:pt>
                <c:pt idx="801">
                  <c:v>0.05</c:v>
                </c:pt>
                <c:pt idx="802">
                  <c:v>0.01</c:v>
                </c:pt>
                <c:pt idx="803">
                  <c:v>0.03</c:v>
                </c:pt>
                <c:pt idx="804">
                  <c:v>0.17</c:v>
                </c:pt>
                <c:pt idx="805">
                  <c:v>0.06</c:v>
                </c:pt>
                <c:pt idx="806">
                  <c:v>0.06</c:v>
                </c:pt>
                <c:pt idx="807">
                  <c:v>0.29</c:v>
                </c:pt>
                <c:pt idx="808">
                  <c:v>0.03</c:v>
                </c:pt>
                <c:pt idx="809">
                  <c:v>0.15</c:v>
                </c:pt>
                <c:pt idx="810">
                  <c:v>0.15</c:v>
                </c:pt>
                <c:pt idx="811">
                  <c:v>0.1</c:v>
                </c:pt>
                <c:pt idx="812">
                  <c:v>0.11</c:v>
                </c:pt>
                <c:pt idx="813">
                  <c:v>0.09</c:v>
                </c:pt>
                <c:pt idx="814">
                  <c:v>0.18</c:v>
                </c:pt>
                <c:pt idx="815">
                  <c:v>0.04</c:v>
                </c:pt>
                <c:pt idx="816">
                  <c:v>0.01</c:v>
                </c:pt>
                <c:pt idx="817">
                  <c:v>0.03</c:v>
                </c:pt>
                <c:pt idx="818">
                  <c:v>0.01</c:v>
                </c:pt>
                <c:pt idx="819">
                  <c:v>0.03</c:v>
                </c:pt>
                <c:pt idx="820">
                  <c:v>0.07</c:v>
                </c:pt>
                <c:pt idx="821">
                  <c:v>0.08</c:v>
                </c:pt>
                <c:pt idx="822">
                  <c:v>0.04</c:v>
                </c:pt>
                <c:pt idx="823">
                  <c:v>0.02</c:v>
                </c:pt>
                <c:pt idx="824">
                  <c:v>0.12</c:v>
                </c:pt>
                <c:pt idx="825">
                  <c:v>0.03</c:v>
                </c:pt>
                <c:pt idx="826">
                  <c:v>0.12</c:v>
                </c:pt>
                <c:pt idx="827">
                  <c:v>0.08</c:v>
                </c:pt>
                <c:pt idx="828">
                  <c:v>0.62</c:v>
                </c:pt>
                <c:pt idx="829">
                  <c:v>0.59</c:v>
                </c:pt>
                <c:pt idx="830">
                  <c:v>0.01</c:v>
                </c:pt>
                <c:pt idx="831">
                  <c:v>0.05</c:v>
                </c:pt>
                <c:pt idx="832">
                  <c:v>0.1</c:v>
                </c:pt>
                <c:pt idx="833">
                  <c:v>0.06</c:v>
                </c:pt>
                <c:pt idx="834">
                  <c:v>0.04</c:v>
                </c:pt>
                <c:pt idx="835">
                  <c:v>0.01</c:v>
                </c:pt>
                <c:pt idx="836">
                  <c:v>0.14</c:v>
                </c:pt>
                <c:pt idx="837">
                  <c:v>0.02</c:v>
                </c:pt>
                <c:pt idx="838">
                  <c:v>0.04</c:v>
                </c:pt>
                <c:pt idx="839">
                  <c:v>0.01</c:v>
                </c:pt>
                <c:pt idx="840">
                  <c:v>0.01</c:v>
                </c:pt>
                <c:pt idx="841">
                  <c:v>0.15</c:v>
                </c:pt>
                <c:pt idx="842">
                  <c:v>0.08</c:v>
                </c:pt>
                <c:pt idx="843">
                  <c:v>0.66</c:v>
                </c:pt>
                <c:pt idx="844">
                  <c:v>0.02</c:v>
                </c:pt>
                <c:pt idx="845">
                  <c:v>0.06</c:v>
                </c:pt>
                <c:pt idx="846">
                  <c:v>0.13</c:v>
                </c:pt>
                <c:pt idx="847">
                  <c:v>0.05</c:v>
                </c:pt>
                <c:pt idx="848">
                  <c:v>0.02</c:v>
                </c:pt>
                <c:pt idx="849">
                  <c:v>0.23</c:v>
                </c:pt>
                <c:pt idx="850">
                  <c:v>0.05</c:v>
                </c:pt>
                <c:pt idx="851">
                  <c:v>0.06</c:v>
                </c:pt>
                <c:pt idx="852">
                  <c:v>0.02</c:v>
                </c:pt>
                <c:pt idx="853">
                  <c:v>0.03</c:v>
                </c:pt>
                <c:pt idx="854">
                  <c:v>0.02</c:v>
                </c:pt>
                <c:pt idx="855">
                  <c:v>0.01</c:v>
                </c:pt>
                <c:pt idx="856">
                  <c:v>0.02</c:v>
                </c:pt>
                <c:pt idx="857">
                  <c:v>0.11</c:v>
                </c:pt>
                <c:pt idx="858">
                  <c:v>0.01</c:v>
                </c:pt>
                <c:pt idx="859">
                  <c:v>0.06</c:v>
                </c:pt>
                <c:pt idx="860">
                  <c:v>0.03</c:v>
                </c:pt>
                <c:pt idx="861">
                  <c:v>0.03</c:v>
                </c:pt>
                <c:pt idx="862">
                  <c:v>0.05</c:v>
                </c:pt>
                <c:pt idx="863">
                  <c:v>0.06</c:v>
                </c:pt>
                <c:pt idx="864">
                  <c:v>0.08</c:v>
                </c:pt>
                <c:pt idx="865">
                  <c:v>0.14</c:v>
                </c:pt>
                <c:pt idx="866">
                  <c:v>0.24</c:v>
                </c:pt>
                <c:pt idx="867">
                  <c:v>0.04</c:v>
                </c:pt>
                <c:pt idx="868">
                  <c:v>0.42</c:v>
                </c:pt>
                <c:pt idx="869">
                  <c:v>0.08</c:v>
                </c:pt>
                <c:pt idx="870">
                  <c:v>0.01</c:v>
                </c:pt>
                <c:pt idx="871">
                  <c:v>0.02</c:v>
                </c:pt>
                <c:pt idx="872">
                  <c:v>0.06</c:v>
                </c:pt>
                <c:pt idx="873">
                  <c:v>0.01</c:v>
                </c:pt>
                <c:pt idx="874">
                  <c:v>0.02</c:v>
                </c:pt>
                <c:pt idx="875">
                  <c:v>0.09</c:v>
                </c:pt>
                <c:pt idx="876">
                  <c:v>0.1</c:v>
                </c:pt>
                <c:pt idx="877">
                  <c:v>0.01</c:v>
                </c:pt>
                <c:pt idx="878">
                  <c:v>0.04</c:v>
                </c:pt>
                <c:pt idx="879">
                  <c:v>0.08</c:v>
                </c:pt>
                <c:pt idx="880">
                  <c:v>0.15</c:v>
                </c:pt>
                <c:pt idx="881">
                  <c:v>0.02</c:v>
                </c:pt>
                <c:pt idx="882">
                  <c:v>0.3</c:v>
                </c:pt>
                <c:pt idx="883">
                  <c:v>0.01</c:v>
                </c:pt>
                <c:pt idx="884">
                  <c:v>0.21</c:v>
                </c:pt>
                <c:pt idx="885">
                  <c:v>0.04</c:v>
                </c:pt>
                <c:pt idx="886">
                  <c:v>0.01</c:v>
                </c:pt>
                <c:pt idx="887">
                  <c:v>0.03</c:v>
                </c:pt>
                <c:pt idx="888">
                  <c:v>0.02</c:v>
                </c:pt>
                <c:pt idx="889">
                  <c:v>0.08</c:v>
                </c:pt>
                <c:pt idx="890">
                  <c:v>0.03</c:v>
                </c:pt>
                <c:pt idx="891">
                  <c:v>0.04</c:v>
                </c:pt>
                <c:pt idx="892">
                  <c:v>0.06</c:v>
                </c:pt>
                <c:pt idx="893">
                  <c:v>0.21</c:v>
                </c:pt>
                <c:pt idx="894">
                  <c:v>0.09</c:v>
                </c:pt>
                <c:pt idx="895">
                  <c:v>0.02</c:v>
                </c:pt>
                <c:pt idx="896">
                  <c:v>0.57</c:v>
                </c:pt>
                <c:pt idx="897">
                  <c:v>0.14</c:v>
                </c:pt>
                <c:pt idx="898">
                  <c:v>0.01</c:v>
                </c:pt>
                <c:pt idx="899">
                  <c:v>0.02</c:v>
                </c:pt>
                <c:pt idx="900">
                  <c:v>0.08</c:v>
                </c:pt>
                <c:pt idx="901">
                  <c:v>0.04</c:v>
                </c:pt>
                <c:pt idx="902">
                  <c:v>0.03</c:v>
                </c:pt>
                <c:pt idx="903">
                  <c:v>0.01</c:v>
                </c:pt>
                <c:pt idx="904">
                  <c:v>0.38</c:v>
                </c:pt>
                <c:pt idx="905">
                  <c:v>0.01</c:v>
                </c:pt>
                <c:pt idx="906">
                  <c:v>0.03</c:v>
                </c:pt>
                <c:pt idx="907">
                  <c:v>0.02</c:v>
                </c:pt>
                <c:pt idx="908">
                  <c:v>0.11</c:v>
                </c:pt>
                <c:pt idx="909">
                  <c:v>0.25</c:v>
                </c:pt>
                <c:pt idx="910">
                  <c:v>0.1</c:v>
                </c:pt>
                <c:pt idx="911">
                  <c:v>0.12</c:v>
                </c:pt>
                <c:pt idx="912">
                  <c:v>0.01</c:v>
                </c:pt>
                <c:pt idx="913">
                  <c:v>0.02</c:v>
                </c:pt>
                <c:pt idx="914">
                  <c:v>0.06</c:v>
                </c:pt>
                <c:pt idx="915">
                  <c:v>0.01</c:v>
                </c:pt>
                <c:pt idx="916">
                  <c:v>0.02</c:v>
                </c:pt>
                <c:pt idx="917">
                  <c:v>0.08</c:v>
                </c:pt>
                <c:pt idx="918">
                  <c:v>0.37</c:v>
                </c:pt>
                <c:pt idx="919">
                  <c:v>0.03</c:v>
                </c:pt>
                <c:pt idx="920">
                  <c:v>0.07</c:v>
                </c:pt>
                <c:pt idx="921">
                  <c:v>0.03</c:v>
                </c:pt>
                <c:pt idx="922">
                  <c:v>0.02</c:v>
                </c:pt>
                <c:pt idx="923">
                  <c:v>0.01</c:v>
                </c:pt>
                <c:pt idx="924">
                  <c:v>0.02</c:v>
                </c:pt>
                <c:pt idx="925">
                  <c:v>0.06</c:v>
                </c:pt>
                <c:pt idx="926">
                  <c:v>0.04</c:v>
                </c:pt>
                <c:pt idx="927">
                  <c:v>0.05</c:v>
                </c:pt>
                <c:pt idx="928">
                  <c:v>0.07</c:v>
                </c:pt>
                <c:pt idx="929">
                  <c:v>0.01</c:v>
                </c:pt>
                <c:pt idx="930">
                  <c:v>0.03</c:v>
                </c:pt>
                <c:pt idx="931">
                  <c:v>0.02</c:v>
                </c:pt>
                <c:pt idx="932">
                  <c:v>0.06</c:v>
                </c:pt>
                <c:pt idx="933">
                  <c:v>0.01</c:v>
                </c:pt>
                <c:pt idx="934">
                  <c:v>0.01</c:v>
                </c:pt>
                <c:pt idx="935">
                  <c:v>0.05</c:v>
                </c:pt>
                <c:pt idx="936">
                  <c:v>0.01</c:v>
                </c:pt>
                <c:pt idx="937">
                  <c:v>0.13</c:v>
                </c:pt>
                <c:pt idx="938">
                  <c:v>0.03</c:v>
                </c:pt>
                <c:pt idx="939">
                  <c:v>0.03</c:v>
                </c:pt>
                <c:pt idx="940">
                  <c:v>0.02</c:v>
                </c:pt>
                <c:pt idx="941">
                  <c:v>0.01</c:v>
                </c:pt>
                <c:pt idx="942">
                  <c:v>0.04</c:v>
                </c:pt>
                <c:pt idx="943">
                  <c:v>0.02</c:v>
                </c:pt>
                <c:pt idx="944">
                  <c:v>0.01</c:v>
                </c:pt>
                <c:pt idx="945">
                  <c:v>0.02</c:v>
                </c:pt>
                <c:pt idx="946">
                  <c:v>0.02</c:v>
                </c:pt>
                <c:pt idx="947">
                  <c:v>0.01</c:v>
                </c:pt>
                <c:pt idx="948">
                  <c:v>0.03</c:v>
                </c:pt>
                <c:pt idx="949">
                  <c:v>0.1</c:v>
                </c:pt>
                <c:pt idx="950">
                  <c:v>0.13</c:v>
                </c:pt>
                <c:pt idx="951">
                  <c:v>0.02</c:v>
                </c:pt>
                <c:pt idx="952">
                  <c:v>0.04</c:v>
                </c:pt>
                <c:pt idx="953">
                  <c:v>0.03</c:v>
                </c:pt>
                <c:pt idx="954">
                  <c:v>0.01</c:v>
                </c:pt>
                <c:pt idx="955">
                  <c:v>0.01</c:v>
                </c:pt>
                <c:pt idx="956">
                  <c:v>0.02</c:v>
                </c:pt>
                <c:pt idx="957">
                  <c:v>0.02</c:v>
                </c:pt>
                <c:pt idx="958">
                  <c:v>0.01</c:v>
                </c:pt>
                <c:pt idx="959">
                  <c:v>0.01</c:v>
                </c:pt>
                <c:pt idx="960">
                  <c:v>0.03</c:v>
                </c:pt>
                <c:pt idx="961">
                  <c:v>0.04</c:v>
                </c:pt>
                <c:pt idx="962">
                  <c:v>0.01</c:v>
                </c:pt>
                <c:pt idx="963">
                  <c:v>0.11</c:v>
                </c:pt>
                <c:pt idx="964">
                  <c:v>0.19</c:v>
                </c:pt>
                <c:pt idx="965">
                  <c:v>0.06</c:v>
                </c:pt>
                <c:pt idx="966">
                  <c:v>0.01</c:v>
                </c:pt>
                <c:pt idx="967">
                  <c:v>0.02</c:v>
                </c:pt>
                <c:pt idx="968">
                  <c:v>0.02</c:v>
                </c:pt>
                <c:pt idx="969">
                  <c:v>0.02</c:v>
                </c:pt>
                <c:pt idx="970">
                  <c:v>0.02</c:v>
                </c:pt>
                <c:pt idx="971">
                  <c:v>0.01</c:v>
                </c:pt>
                <c:pt idx="972">
                  <c:v>0.05</c:v>
                </c:pt>
                <c:pt idx="973">
                  <c:v>0.21</c:v>
                </c:pt>
                <c:pt idx="974">
                  <c:v>0.07</c:v>
                </c:pt>
                <c:pt idx="975">
                  <c:v>0.05</c:v>
                </c:pt>
                <c:pt idx="976">
                  <c:v>0.02</c:v>
                </c:pt>
                <c:pt idx="977">
                  <c:v>0.04</c:v>
                </c:pt>
                <c:pt idx="978">
                  <c:v>0.02</c:v>
                </c:pt>
                <c:pt idx="979">
                  <c:v>0.09</c:v>
                </c:pt>
                <c:pt idx="980">
                  <c:v>0.02</c:v>
                </c:pt>
                <c:pt idx="981">
                  <c:v>0.06</c:v>
                </c:pt>
                <c:pt idx="982">
                  <c:v>0.05</c:v>
                </c:pt>
                <c:pt idx="983">
                  <c:v>0.05</c:v>
                </c:pt>
                <c:pt idx="984">
                  <c:v>0.01</c:v>
                </c:pt>
                <c:pt idx="985">
                  <c:v>0.02</c:v>
                </c:pt>
                <c:pt idx="986">
                  <c:v>0.01</c:v>
                </c:pt>
                <c:pt idx="987">
                  <c:v>0.01</c:v>
                </c:pt>
                <c:pt idx="988">
                  <c:v>0.08</c:v>
                </c:pt>
                <c:pt idx="989">
                  <c:v>0.06</c:v>
                </c:pt>
                <c:pt idx="990">
                  <c:v>0.07</c:v>
                </c:pt>
                <c:pt idx="991">
                  <c:v>0.04</c:v>
                </c:pt>
                <c:pt idx="992">
                  <c:v>0.01</c:v>
                </c:pt>
                <c:pt idx="993">
                  <c:v>0.01</c:v>
                </c:pt>
                <c:pt idx="994">
                  <c:v>0.1</c:v>
                </c:pt>
                <c:pt idx="995">
                  <c:v>0.07</c:v>
                </c:pt>
                <c:pt idx="996">
                  <c:v>0.02</c:v>
                </c:pt>
                <c:pt idx="997">
                  <c:v>0.08</c:v>
                </c:pt>
                <c:pt idx="998">
                  <c:v>0.01</c:v>
                </c:pt>
                <c:pt idx="999">
                  <c:v>0.02</c:v>
                </c:pt>
                <c:pt idx="1000">
                  <c:v>0.01</c:v>
                </c:pt>
                <c:pt idx="1001">
                  <c:v>0.02</c:v>
                </c:pt>
                <c:pt idx="1002">
                  <c:v>0.04</c:v>
                </c:pt>
                <c:pt idx="1003">
                  <c:v>0.02</c:v>
                </c:pt>
                <c:pt idx="1004">
                  <c:v>0.01</c:v>
                </c:pt>
                <c:pt idx="1005">
                  <c:v>0.04</c:v>
                </c:pt>
                <c:pt idx="1006">
                  <c:v>0.05</c:v>
                </c:pt>
                <c:pt idx="1007">
                  <c:v>0.05</c:v>
                </c:pt>
                <c:pt idx="1008">
                  <c:v>0.02</c:v>
                </c:pt>
                <c:pt idx="1009">
                  <c:v>0.02</c:v>
                </c:pt>
                <c:pt idx="1010">
                  <c:v>0.01</c:v>
                </c:pt>
                <c:pt idx="1011">
                  <c:v>0.02</c:v>
                </c:pt>
                <c:pt idx="1012">
                  <c:v>0.01</c:v>
                </c:pt>
                <c:pt idx="1013">
                  <c:v>0.04</c:v>
                </c:pt>
                <c:pt idx="1014">
                  <c:v>0.03</c:v>
                </c:pt>
                <c:pt idx="1015">
                  <c:v>0.01</c:v>
                </c:pt>
                <c:pt idx="1016">
                  <c:v>0.02</c:v>
                </c:pt>
                <c:pt idx="1017">
                  <c:v>0.01</c:v>
                </c:pt>
                <c:pt idx="1018">
                  <c:v>0.03</c:v>
                </c:pt>
                <c:pt idx="1019">
                  <c:v>0.08</c:v>
                </c:pt>
                <c:pt idx="1020">
                  <c:v>0.13</c:v>
                </c:pt>
                <c:pt idx="1021">
                  <c:v>0.02</c:v>
                </c:pt>
                <c:pt idx="1022">
                  <c:v>0.01</c:v>
                </c:pt>
                <c:pt idx="1023">
                  <c:v>0.02</c:v>
                </c:pt>
                <c:pt idx="1024">
                  <c:v>0.03</c:v>
                </c:pt>
                <c:pt idx="1025">
                  <c:v>0.01</c:v>
                </c:pt>
                <c:pt idx="1026">
                  <c:v>0.01</c:v>
                </c:pt>
                <c:pt idx="1027">
                  <c:v>0.02</c:v>
                </c:pt>
                <c:pt idx="1028">
                  <c:v>0.02</c:v>
                </c:pt>
                <c:pt idx="1029">
                  <c:v>0.02</c:v>
                </c:pt>
                <c:pt idx="1030">
                  <c:v>0.03</c:v>
                </c:pt>
                <c:pt idx="1031">
                  <c:v>0.04</c:v>
                </c:pt>
                <c:pt idx="1032">
                  <c:v>0.01</c:v>
                </c:pt>
                <c:pt idx="1033">
                  <c:v>0.01</c:v>
                </c:pt>
                <c:pt idx="1034">
                  <c:v>0.01</c:v>
                </c:pt>
                <c:pt idx="1035">
                  <c:v>0.02</c:v>
                </c:pt>
                <c:pt idx="1036">
                  <c:v>0.07</c:v>
                </c:pt>
                <c:pt idx="1037">
                  <c:v>0.02</c:v>
                </c:pt>
                <c:pt idx="1038">
                  <c:v>0.01</c:v>
                </c:pt>
                <c:pt idx="1039">
                  <c:v>0.02</c:v>
                </c:pt>
                <c:pt idx="1040">
                  <c:v>0.01</c:v>
                </c:pt>
                <c:pt idx="1041">
                  <c:v>0.01</c:v>
                </c:pt>
                <c:pt idx="1042">
                  <c:v>0.29</c:v>
                </c:pt>
                <c:pt idx="1043">
                  <c:v>0.01</c:v>
                </c:pt>
                <c:pt idx="1044">
                  <c:v>0.01</c:v>
                </c:pt>
                <c:pt idx="1045">
                  <c:v>0.01</c:v>
                </c:pt>
                <c:pt idx="1046">
                  <c:v>0.01</c:v>
                </c:pt>
                <c:pt idx="1047">
                  <c:v>0.01</c:v>
                </c:pt>
                <c:pt idx="1048">
                  <c:v>0.02</c:v>
                </c:pt>
                <c:pt idx="1049">
                  <c:v>0.03</c:v>
                </c:pt>
                <c:pt idx="1050">
                  <c:v>0.13</c:v>
                </c:pt>
                <c:pt idx="1051">
                  <c:v>0.03</c:v>
                </c:pt>
                <c:pt idx="1052">
                  <c:v>0.03</c:v>
                </c:pt>
                <c:pt idx="1053">
                  <c:v>0.01</c:v>
                </c:pt>
                <c:pt idx="1054">
                  <c:v>0.02</c:v>
                </c:pt>
                <c:pt idx="1055">
                  <c:v>0.03</c:v>
                </c:pt>
                <c:pt idx="1056">
                  <c:v>0.02</c:v>
                </c:pt>
                <c:pt idx="1057">
                  <c:v>0.02</c:v>
                </c:pt>
                <c:pt idx="1058">
                  <c:v>0.01</c:v>
                </c:pt>
                <c:pt idx="1059">
                  <c:v>0.01</c:v>
                </c:pt>
                <c:pt idx="1060">
                  <c:v>0.03</c:v>
                </c:pt>
                <c:pt idx="1061">
                  <c:v>0.03</c:v>
                </c:pt>
                <c:pt idx="1062">
                  <c:v>0.13</c:v>
                </c:pt>
                <c:pt idx="1063">
                  <c:v>0.01</c:v>
                </c:pt>
                <c:pt idx="1064">
                  <c:v>0.01</c:v>
                </c:pt>
                <c:pt idx="1065">
                  <c:v>0.06</c:v>
                </c:pt>
                <c:pt idx="1066">
                  <c:v>0.01</c:v>
                </c:pt>
                <c:pt idx="1067">
                  <c:v>0.02</c:v>
                </c:pt>
                <c:pt idx="1068">
                  <c:v>0.14</c:v>
                </c:pt>
                <c:pt idx="1069">
                  <c:v>0.01</c:v>
                </c:pt>
                <c:pt idx="1070">
                  <c:v>0.03</c:v>
                </c:pt>
                <c:pt idx="1071">
                  <c:v>0.01</c:v>
                </c:pt>
                <c:pt idx="1072">
                  <c:v>0.09</c:v>
                </c:pt>
                <c:pt idx="1073">
                  <c:v>0.04</c:v>
                </c:pt>
                <c:pt idx="1074">
                  <c:v>0.01</c:v>
                </c:pt>
                <c:pt idx="1075">
                  <c:v>0.01</c:v>
                </c:pt>
                <c:pt idx="1076">
                  <c:v>0.01</c:v>
                </c:pt>
                <c:pt idx="1077">
                  <c:v>0.01</c:v>
                </c:pt>
                <c:pt idx="1078">
                  <c:v>0.08</c:v>
                </c:pt>
                <c:pt idx="1079">
                  <c:v>0.05</c:v>
                </c:pt>
                <c:pt idx="1080">
                  <c:v>0.02</c:v>
                </c:pt>
                <c:pt idx="1081">
                  <c:v>0.01</c:v>
                </c:pt>
                <c:pt idx="1082">
                  <c:v>0.01</c:v>
                </c:pt>
                <c:pt idx="1083">
                  <c:v>0.01</c:v>
                </c:pt>
                <c:pt idx="1084">
                  <c:v>0.02</c:v>
                </c:pt>
                <c:pt idx="1085">
                  <c:v>0.01</c:v>
                </c:pt>
                <c:pt idx="1086">
                  <c:v>0.07</c:v>
                </c:pt>
                <c:pt idx="1087">
                  <c:v>0.02</c:v>
                </c:pt>
                <c:pt idx="1088">
                  <c:v>0.02</c:v>
                </c:pt>
                <c:pt idx="1089">
                  <c:v>0.02</c:v>
                </c:pt>
                <c:pt idx="1090">
                  <c:v>0.01</c:v>
                </c:pt>
                <c:pt idx="1091">
                  <c:v>0.01</c:v>
                </c:pt>
                <c:pt idx="1092">
                  <c:v>0.13</c:v>
                </c:pt>
                <c:pt idx="1093">
                  <c:v>0.04</c:v>
                </c:pt>
                <c:pt idx="1094">
                  <c:v>0.01</c:v>
                </c:pt>
                <c:pt idx="1095">
                  <c:v>0.13</c:v>
                </c:pt>
                <c:pt idx="1096">
                  <c:v>0.02</c:v>
                </c:pt>
                <c:pt idx="1097">
                  <c:v>0.04</c:v>
                </c:pt>
                <c:pt idx="1098">
                  <c:v>0.02</c:v>
                </c:pt>
                <c:pt idx="1099">
                  <c:v>0.02</c:v>
                </c:pt>
                <c:pt idx="1100">
                  <c:v>0.01</c:v>
                </c:pt>
                <c:pt idx="1101">
                  <c:v>0.01</c:v>
                </c:pt>
                <c:pt idx="1102">
                  <c:v>0.06</c:v>
                </c:pt>
                <c:pt idx="1103">
                  <c:v>0.01</c:v>
                </c:pt>
                <c:pt idx="1104">
                  <c:v>0.01</c:v>
                </c:pt>
                <c:pt idx="1105">
                  <c:v>0.19</c:v>
                </c:pt>
                <c:pt idx="1106">
                  <c:v>0.07</c:v>
                </c:pt>
                <c:pt idx="1107">
                  <c:v>0.04</c:v>
                </c:pt>
                <c:pt idx="1108">
                  <c:v>0.01</c:v>
                </c:pt>
                <c:pt idx="1109">
                  <c:v>0.07</c:v>
                </c:pt>
                <c:pt idx="1110">
                  <c:v>0.03</c:v>
                </c:pt>
                <c:pt idx="1111">
                  <c:v>0.01</c:v>
                </c:pt>
                <c:pt idx="1112">
                  <c:v>0.01</c:v>
                </c:pt>
                <c:pt idx="1113">
                  <c:v>0.03</c:v>
                </c:pt>
                <c:pt idx="1114">
                  <c:v>0.01</c:v>
                </c:pt>
                <c:pt idx="1115">
                  <c:v>0.01</c:v>
                </c:pt>
                <c:pt idx="1116">
                  <c:v>0.01</c:v>
                </c:pt>
                <c:pt idx="1117">
                  <c:v>0.01</c:v>
                </c:pt>
                <c:pt idx="1118">
                  <c:v>0.01</c:v>
                </c:pt>
                <c:pt idx="1119">
                  <c:v>0.01</c:v>
                </c:pt>
                <c:pt idx="1120">
                  <c:v>0.01</c:v>
                </c:pt>
                <c:pt idx="1121">
                  <c:v>0.07</c:v>
                </c:pt>
                <c:pt idx="1122">
                  <c:v>0.01</c:v>
                </c:pt>
                <c:pt idx="1123">
                  <c:v>0.01</c:v>
                </c:pt>
                <c:pt idx="1124">
                  <c:v>0.06</c:v>
                </c:pt>
                <c:pt idx="1125">
                  <c:v>0.01</c:v>
                </c:pt>
                <c:pt idx="1126">
                  <c:v>0.01</c:v>
                </c:pt>
                <c:pt idx="1127">
                  <c:v>0.01</c:v>
                </c:pt>
                <c:pt idx="1128">
                  <c:v>0.01</c:v>
                </c:pt>
                <c:pt idx="1129">
                  <c:v>0.01</c:v>
                </c:pt>
                <c:pt idx="1130">
                  <c:v>0.02</c:v>
                </c:pt>
                <c:pt idx="1131">
                  <c:v>0.07</c:v>
                </c:pt>
                <c:pt idx="1132">
                  <c:v>0.01</c:v>
                </c:pt>
                <c:pt idx="1133">
                  <c:v>0.01</c:v>
                </c:pt>
                <c:pt idx="1134">
                  <c:v>0.02</c:v>
                </c:pt>
                <c:pt idx="1135">
                  <c:v>0.02</c:v>
                </c:pt>
                <c:pt idx="1136">
                  <c:v>0.01</c:v>
                </c:pt>
                <c:pt idx="1137">
                  <c:v>0.01</c:v>
                </c:pt>
                <c:pt idx="1138">
                  <c:v>0.02</c:v>
                </c:pt>
                <c:pt idx="1139">
                  <c:v>0.01</c:v>
                </c:pt>
                <c:pt idx="1140">
                  <c:v>0.02</c:v>
                </c:pt>
                <c:pt idx="1141">
                  <c:v>0.01</c:v>
                </c:pt>
                <c:pt idx="1142">
                  <c:v>0.01</c:v>
                </c:pt>
                <c:pt idx="1143">
                  <c:v>0.02</c:v>
                </c:pt>
                <c:pt idx="1144">
                  <c:v>0.03</c:v>
                </c:pt>
                <c:pt idx="1145">
                  <c:v>0.01</c:v>
                </c:pt>
                <c:pt idx="1146">
                  <c:v>0.01</c:v>
                </c:pt>
                <c:pt idx="1147">
                  <c:v>0.01</c:v>
                </c:pt>
                <c:pt idx="1148">
                  <c:v>0.04</c:v>
                </c:pt>
                <c:pt idx="1149">
                  <c:v>0.01</c:v>
                </c:pt>
                <c:pt idx="1150">
                  <c:v>0.12</c:v>
                </c:pt>
                <c:pt idx="1151">
                  <c:v>0.03</c:v>
                </c:pt>
                <c:pt idx="1152">
                  <c:v>0.01</c:v>
                </c:pt>
                <c:pt idx="1153">
                  <c:v>0.01</c:v>
                </c:pt>
                <c:pt idx="1154">
                  <c:v>0.01</c:v>
                </c:pt>
                <c:pt idx="1155">
                  <c:v>0.09</c:v>
                </c:pt>
                <c:pt idx="1156">
                  <c:v>0.01</c:v>
                </c:pt>
                <c:pt idx="1157">
                  <c:v>0.03</c:v>
                </c:pt>
                <c:pt idx="1158">
                  <c:v>0.01</c:v>
                </c:pt>
                <c:pt idx="1159">
                  <c:v>0.02</c:v>
                </c:pt>
                <c:pt idx="1160">
                  <c:v>0.06</c:v>
                </c:pt>
                <c:pt idx="1161">
                  <c:v>0.01</c:v>
                </c:pt>
                <c:pt idx="1162">
                  <c:v>0.01</c:v>
                </c:pt>
                <c:pt idx="1163">
                  <c:v>0.01</c:v>
                </c:pt>
                <c:pt idx="1164">
                  <c:v>0.01</c:v>
                </c:pt>
                <c:pt idx="1165">
                  <c:v>0.01</c:v>
                </c:pt>
                <c:pt idx="1166">
                  <c:v>0.01</c:v>
                </c:pt>
                <c:pt idx="1167">
                  <c:v>0.05</c:v>
                </c:pt>
                <c:pt idx="1168">
                  <c:v>0.02</c:v>
                </c:pt>
                <c:pt idx="1169">
                  <c:v>0.02</c:v>
                </c:pt>
                <c:pt idx="1170">
                  <c:v>0.08</c:v>
                </c:pt>
                <c:pt idx="1171">
                  <c:v>0.03</c:v>
                </c:pt>
                <c:pt idx="1172">
                  <c:v>0.08</c:v>
                </c:pt>
                <c:pt idx="1173">
                  <c:v>0.01</c:v>
                </c:pt>
                <c:pt idx="1174">
                  <c:v>0.01</c:v>
                </c:pt>
                <c:pt idx="1175">
                  <c:v>0.13</c:v>
                </c:pt>
                <c:pt idx="1176">
                  <c:v>0.01</c:v>
                </c:pt>
                <c:pt idx="1177">
                  <c:v>0.01</c:v>
                </c:pt>
                <c:pt idx="1178">
                  <c:v>0.07</c:v>
                </c:pt>
                <c:pt idx="1179">
                  <c:v>0.02</c:v>
                </c:pt>
                <c:pt idx="1180">
                  <c:v>0.04</c:v>
                </c:pt>
                <c:pt idx="1181">
                  <c:v>0.04</c:v>
                </c:pt>
                <c:pt idx="1182">
                  <c:v>0.01</c:v>
                </c:pt>
                <c:pt idx="1183">
                  <c:v>0.01</c:v>
                </c:pt>
                <c:pt idx="1184">
                  <c:v>0.01</c:v>
                </c:pt>
                <c:pt idx="1185">
                  <c:v>0.03</c:v>
                </c:pt>
                <c:pt idx="1186">
                  <c:v>0.02</c:v>
                </c:pt>
                <c:pt idx="1187">
                  <c:v>0.03</c:v>
                </c:pt>
                <c:pt idx="1188">
                  <c:v>0.03</c:v>
                </c:pt>
                <c:pt idx="1189">
                  <c:v>0.02</c:v>
                </c:pt>
                <c:pt idx="1190">
                  <c:v>0.01</c:v>
                </c:pt>
                <c:pt idx="1191">
                  <c:v>0.01</c:v>
                </c:pt>
                <c:pt idx="1192">
                  <c:v>0.01</c:v>
                </c:pt>
                <c:pt idx="1193">
                  <c:v>0.02</c:v>
                </c:pt>
                <c:pt idx="1194">
                  <c:v>0.08</c:v>
                </c:pt>
                <c:pt idx="1195">
                  <c:v>0.03</c:v>
                </c:pt>
                <c:pt idx="1196">
                  <c:v>0.02</c:v>
                </c:pt>
                <c:pt idx="1197">
                  <c:v>0.01</c:v>
                </c:pt>
                <c:pt idx="1198">
                  <c:v>0.02</c:v>
                </c:pt>
                <c:pt idx="1199">
                  <c:v>0.01</c:v>
                </c:pt>
                <c:pt idx="1200">
                  <c:v>0.13</c:v>
                </c:pt>
                <c:pt idx="1201">
                  <c:v>0.02</c:v>
                </c:pt>
                <c:pt idx="1202">
                  <c:v>0.01</c:v>
                </c:pt>
                <c:pt idx="1203">
                  <c:v>0.01</c:v>
                </c:pt>
                <c:pt idx="1204">
                  <c:v>0.01</c:v>
                </c:pt>
                <c:pt idx="1205">
                  <c:v>0.01</c:v>
                </c:pt>
                <c:pt idx="1206">
                  <c:v>0.01</c:v>
                </c:pt>
                <c:pt idx="1207">
                  <c:v>0.04</c:v>
                </c:pt>
                <c:pt idx="1208">
                  <c:v>0.01</c:v>
                </c:pt>
                <c:pt idx="1209">
                  <c:v>0.01</c:v>
                </c:pt>
                <c:pt idx="1210">
                  <c:v>0.01</c:v>
                </c:pt>
                <c:pt idx="1211">
                  <c:v>0.01</c:v>
                </c:pt>
                <c:pt idx="1212">
                  <c:v>0.03</c:v>
                </c:pt>
                <c:pt idx="1213">
                  <c:v>0.01</c:v>
                </c:pt>
                <c:pt idx="1214">
                  <c:v>0.04</c:v>
                </c:pt>
                <c:pt idx="1215">
                  <c:v>0.01</c:v>
                </c:pt>
                <c:pt idx="1216">
                  <c:v>0.01</c:v>
                </c:pt>
                <c:pt idx="1217">
                  <c:v>0.02</c:v>
                </c:pt>
                <c:pt idx="1218">
                  <c:v>0.02</c:v>
                </c:pt>
                <c:pt idx="1219">
                  <c:v>0.02</c:v>
                </c:pt>
                <c:pt idx="1220">
                  <c:v>0.01</c:v>
                </c:pt>
                <c:pt idx="1221">
                  <c:v>0.02</c:v>
                </c:pt>
                <c:pt idx="1222">
                  <c:v>0.01</c:v>
                </c:pt>
                <c:pt idx="1223">
                  <c:v>0.01</c:v>
                </c:pt>
                <c:pt idx="1224">
                  <c:v>0.01</c:v>
                </c:pt>
                <c:pt idx="1225">
                  <c:v>0.02</c:v>
                </c:pt>
                <c:pt idx="1226">
                  <c:v>0.03</c:v>
                </c:pt>
                <c:pt idx="1227">
                  <c:v>0.03</c:v>
                </c:pt>
                <c:pt idx="1228">
                  <c:v>0.01</c:v>
                </c:pt>
                <c:pt idx="1229">
                  <c:v>0.01</c:v>
                </c:pt>
                <c:pt idx="1230">
                  <c:v>0.01</c:v>
                </c:pt>
                <c:pt idx="1231">
                  <c:v>0.01</c:v>
                </c:pt>
                <c:pt idx="1232">
                  <c:v>0.01</c:v>
                </c:pt>
                <c:pt idx="1233">
                  <c:v>0.01</c:v>
                </c:pt>
                <c:pt idx="1234">
                  <c:v>0.07</c:v>
                </c:pt>
                <c:pt idx="1235">
                  <c:v>0.01</c:v>
                </c:pt>
                <c:pt idx="1236">
                  <c:v>0.01</c:v>
                </c:pt>
                <c:pt idx="1237">
                  <c:v>0.01</c:v>
                </c:pt>
                <c:pt idx="1238">
                  <c:v>0.05</c:v>
                </c:pt>
                <c:pt idx="1239">
                  <c:v>0.01</c:v>
                </c:pt>
                <c:pt idx="1240">
                  <c:v>0.01</c:v>
                </c:pt>
                <c:pt idx="1241">
                  <c:v>0.01</c:v>
                </c:pt>
                <c:pt idx="1242">
                  <c:v>0.02</c:v>
                </c:pt>
                <c:pt idx="1243">
                  <c:v>0.01</c:v>
                </c:pt>
                <c:pt idx="1244">
                  <c:v>0.01</c:v>
                </c:pt>
                <c:pt idx="1245">
                  <c:v>0.02</c:v>
                </c:pt>
                <c:pt idx="1246">
                  <c:v>0.01</c:v>
                </c:pt>
                <c:pt idx="1247">
                  <c:v>0.02</c:v>
                </c:pt>
                <c:pt idx="1248">
                  <c:v>0.02</c:v>
                </c:pt>
                <c:pt idx="1249">
                  <c:v>0.01</c:v>
                </c:pt>
                <c:pt idx="1250">
                  <c:v>0.01</c:v>
                </c:pt>
                <c:pt idx="1251">
                  <c:v>0.04</c:v>
                </c:pt>
                <c:pt idx="1252">
                  <c:v>0.01</c:v>
                </c:pt>
                <c:pt idx="1253">
                  <c:v>0.02</c:v>
                </c:pt>
                <c:pt idx="1254">
                  <c:v>0.01</c:v>
                </c:pt>
                <c:pt idx="1255">
                  <c:v>0.05</c:v>
                </c:pt>
                <c:pt idx="1256">
                  <c:v>0.02</c:v>
                </c:pt>
                <c:pt idx="1257">
                  <c:v>0.01</c:v>
                </c:pt>
                <c:pt idx="1258">
                  <c:v>0.03</c:v>
                </c:pt>
                <c:pt idx="1259">
                  <c:v>0.01</c:v>
                </c:pt>
                <c:pt idx="1260">
                  <c:v>0.01</c:v>
                </c:pt>
                <c:pt idx="1261">
                  <c:v>0.01</c:v>
                </c:pt>
                <c:pt idx="1262">
                  <c:v>0.03</c:v>
                </c:pt>
                <c:pt idx="1263">
                  <c:v>0.14</c:v>
                </c:pt>
                <c:pt idx="1264">
                  <c:v>0.01</c:v>
                </c:pt>
                <c:pt idx="1265">
                  <c:v>0.03</c:v>
                </c:pt>
                <c:pt idx="1266">
                  <c:v>0.03</c:v>
                </c:pt>
                <c:pt idx="1267">
                  <c:v>0.01</c:v>
                </c:pt>
                <c:pt idx="1268">
                  <c:v>0.01</c:v>
                </c:pt>
                <c:pt idx="1269">
                  <c:v>0.01</c:v>
                </c:pt>
                <c:pt idx="1270">
                  <c:v>0.01</c:v>
                </c:pt>
                <c:pt idx="1271">
                  <c:v>0.03</c:v>
                </c:pt>
                <c:pt idx="1272">
                  <c:v>0.01</c:v>
                </c:pt>
                <c:pt idx="1273">
                  <c:v>0.02</c:v>
                </c:pt>
                <c:pt idx="1274">
                  <c:v>0.01</c:v>
                </c:pt>
                <c:pt idx="1275">
                  <c:v>0.02</c:v>
                </c:pt>
                <c:pt idx="1276">
                  <c:v>0.01</c:v>
                </c:pt>
                <c:pt idx="1277">
                  <c:v>0.02</c:v>
                </c:pt>
                <c:pt idx="1278">
                  <c:v>0.01</c:v>
                </c:pt>
                <c:pt idx="1279">
                  <c:v>0.01</c:v>
                </c:pt>
                <c:pt idx="1280">
                  <c:v>0.02</c:v>
                </c:pt>
                <c:pt idx="1281">
                  <c:v>0.01</c:v>
                </c:pt>
                <c:pt idx="1282">
                  <c:v>0.01</c:v>
                </c:pt>
                <c:pt idx="1283">
                  <c:v>0.01</c:v>
                </c:pt>
                <c:pt idx="1284">
                  <c:v>0.01</c:v>
                </c:pt>
                <c:pt idx="1285">
                  <c:v>0.01</c:v>
                </c:pt>
                <c:pt idx="1286">
                  <c:v>0.01</c:v>
                </c:pt>
                <c:pt idx="1287">
                  <c:v>0.01</c:v>
                </c:pt>
                <c:pt idx="1288">
                  <c:v>0.01</c:v>
                </c:pt>
                <c:pt idx="1289">
                  <c:v>0.04</c:v>
                </c:pt>
                <c:pt idx="1290">
                  <c:v>0.06</c:v>
                </c:pt>
                <c:pt idx="1291">
                  <c:v>0.01</c:v>
                </c:pt>
                <c:pt idx="1292">
                  <c:v>0.01</c:v>
                </c:pt>
                <c:pt idx="1293">
                  <c:v>0.04</c:v>
                </c:pt>
                <c:pt idx="1294">
                  <c:v>0.01</c:v>
                </c:pt>
                <c:pt idx="1295">
                  <c:v>0.01</c:v>
                </c:pt>
                <c:pt idx="1296">
                  <c:v>0.03</c:v>
                </c:pt>
                <c:pt idx="1297">
                  <c:v>0.01</c:v>
                </c:pt>
                <c:pt idx="1298">
                  <c:v>0.01</c:v>
                </c:pt>
                <c:pt idx="1299">
                  <c:v>0.01</c:v>
                </c:pt>
                <c:pt idx="1300">
                  <c:v>0.01</c:v>
                </c:pt>
                <c:pt idx="1301">
                  <c:v>0.01</c:v>
                </c:pt>
                <c:pt idx="1302">
                  <c:v>0.01</c:v>
                </c:pt>
                <c:pt idx="1303">
                  <c:v>0.02</c:v>
                </c:pt>
                <c:pt idx="1304">
                  <c:v>0.01</c:v>
                </c:pt>
                <c:pt idx="1305">
                  <c:v>0.01</c:v>
                </c:pt>
                <c:pt idx="1306">
                  <c:v>0.01</c:v>
                </c:pt>
                <c:pt idx="1307">
                  <c:v>0.01</c:v>
                </c:pt>
                <c:pt idx="1308">
                  <c:v>0.03</c:v>
                </c:pt>
                <c:pt idx="1309">
                  <c:v>0.02</c:v>
                </c:pt>
                <c:pt idx="1310">
                  <c:v>0.03</c:v>
                </c:pt>
                <c:pt idx="1311">
                  <c:v>0.02</c:v>
                </c:pt>
                <c:pt idx="1312">
                  <c:v>0.05</c:v>
                </c:pt>
                <c:pt idx="1313">
                  <c:v>0.02</c:v>
                </c:pt>
                <c:pt idx="1314">
                  <c:v>0.03</c:v>
                </c:pt>
                <c:pt idx="1315">
                  <c:v>0.01</c:v>
                </c:pt>
                <c:pt idx="1316">
                  <c:v>0.01</c:v>
                </c:pt>
                <c:pt idx="1317">
                  <c:v>0.01</c:v>
                </c:pt>
                <c:pt idx="1318">
                  <c:v>0.02</c:v>
                </c:pt>
                <c:pt idx="1319">
                  <c:v>0.01</c:v>
                </c:pt>
                <c:pt idx="1320">
                  <c:v>0.02</c:v>
                </c:pt>
                <c:pt idx="1321">
                  <c:v>0.01</c:v>
                </c:pt>
                <c:pt idx="1322">
                  <c:v>0.01</c:v>
                </c:pt>
                <c:pt idx="1323">
                  <c:v>0.01</c:v>
                </c:pt>
                <c:pt idx="1324">
                  <c:v>0.01</c:v>
                </c:pt>
                <c:pt idx="1325">
                  <c:v>0.01</c:v>
                </c:pt>
                <c:pt idx="1326">
                  <c:v>0.01</c:v>
                </c:pt>
                <c:pt idx="1327">
                  <c:v>0.03</c:v>
                </c:pt>
                <c:pt idx="1328">
                  <c:v>0.01</c:v>
                </c:pt>
                <c:pt idx="1329">
                  <c:v>0.01</c:v>
                </c:pt>
                <c:pt idx="1330">
                  <c:v>0.01</c:v>
                </c:pt>
                <c:pt idx="1331">
                  <c:v>0.01</c:v>
                </c:pt>
                <c:pt idx="1332">
                  <c:v>0.02</c:v>
                </c:pt>
                <c:pt idx="1333">
                  <c:v>0.02</c:v>
                </c:pt>
                <c:pt idx="1334">
                  <c:v>0.02</c:v>
                </c:pt>
                <c:pt idx="1335">
                  <c:v>0.01</c:v>
                </c:pt>
                <c:pt idx="1336">
                  <c:v>0.04</c:v>
                </c:pt>
                <c:pt idx="1337">
                  <c:v>0.01</c:v>
                </c:pt>
                <c:pt idx="1338">
                  <c:v>0.03</c:v>
                </c:pt>
                <c:pt idx="1339">
                  <c:v>0.01</c:v>
                </c:pt>
                <c:pt idx="1340">
                  <c:v>0.01</c:v>
                </c:pt>
                <c:pt idx="1341">
                  <c:v>0.02</c:v>
                </c:pt>
                <c:pt idx="1342">
                  <c:v>0.01</c:v>
                </c:pt>
                <c:pt idx="1343">
                  <c:v>0.01</c:v>
                </c:pt>
                <c:pt idx="1344">
                  <c:v>0.01</c:v>
                </c:pt>
                <c:pt idx="1345">
                  <c:v>0.02</c:v>
                </c:pt>
                <c:pt idx="1346">
                  <c:v>0.01</c:v>
                </c:pt>
                <c:pt idx="1347">
                  <c:v>0.01</c:v>
                </c:pt>
                <c:pt idx="1348">
                  <c:v>0.01</c:v>
                </c:pt>
                <c:pt idx="1349">
                  <c:v>0.01</c:v>
                </c:pt>
                <c:pt idx="1350">
                  <c:v>0.01</c:v>
                </c:pt>
                <c:pt idx="1351">
                  <c:v>0.01</c:v>
                </c:pt>
                <c:pt idx="1352">
                  <c:v>0.03</c:v>
                </c:pt>
                <c:pt idx="1353">
                  <c:v>0.01</c:v>
                </c:pt>
                <c:pt idx="1354">
                  <c:v>0.01</c:v>
                </c:pt>
                <c:pt idx="1355">
                  <c:v>0.01</c:v>
                </c:pt>
                <c:pt idx="1356">
                  <c:v>0.01</c:v>
                </c:pt>
                <c:pt idx="1357">
                  <c:v>0.02</c:v>
                </c:pt>
                <c:pt idx="1358">
                  <c:v>0.01</c:v>
                </c:pt>
                <c:pt idx="1359">
                  <c:v>0.01</c:v>
                </c:pt>
                <c:pt idx="1360">
                  <c:v>0.02</c:v>
                </c:pt>
                <c:pt idx="1361">
                  <c:v>0.01</c:v>
                </c:pt>
                <c:pt idx="1362">
                  <c:v>0.01</c:v>
                </c:pt>
                <c:pt idx="1363">
                  <c:v>0.01</c:v>
                </c:pt>
                <c:pt idx="1364">
                  <c:v>0.01</c:v>
                </c:pt>
                <c:pt idx="1365">
                  <c:v>0.01</c:v>
                </c:pt>
                <c:pt idx="1366">
                  <c:v>0.01</c:v>
                </c:pt>
                <c:pt idx="1367">
                  <c:v>0.01</c:v>
                </c:pt>
                <c:pt idx="1368">
                  <c:v>0.01</c:v>
                </c:pt>
                <c:pt idx="1369">
                  <c:v>0.01</c:v>
                </c:pt>
                <c:pt idx="1370">
                  <c:v>0.01</c:v>
                </c:pt>
                <c:pt idx="1371">
                  <c:v>0.01</c:v>
                </c:pt>
                <c:pt idx="1372">
                  <c:v>0.01</c:v>
                </c:pt>
                <c:pt idx="1373">
                  <c:v>0.01</c:v>
                </c:pt>
                <c:pt idx="1374">
                  <c:v>0.01</c:v>
                </c:pt>
                <c:pt idx="1375">
                  <c:v>0.05</c:v>
                </c:pt>
                <c:pt idx="1376">
                  <c:v>0.01</c:v>
                </c:pt>
                <c:pt idx="1377">
                  <c:v>0.01</c:v>
                </c:pt>
                <c:pt idx="1378">
                  <c:v>0.02</c:v>
                </c:pt>
                <c:pt idx="1379">
                  <c:v>0.01</c:v>
                </c:pt>
                <c:pt idx="1380">
                  <c:v>0.03</c:v>
                </c:pt>
                <c:pt idx="1381">
                  <c:v>0.01</c:v>
                </c:pt>
                <c:pt idx="1382">
                  <c:v>0.01</c:v>
                </c:pt>
                <c:pt idx="1383">
                  <c:v>0.01</c:v>
                </c:pt>
                <c:pt idx="1384">
                  <c:v>0.01</c:v>
                </c:pt>
                <c:pt idx="1385">
                  <c:v>0.01</c:v>
                </c:pt>
                <c:pt idx="1386">
                  <c:v>0.02</c:v>
                </c:pt>
                <c:pt idx="1387">
                  <c:v>0.01</c:v>
                </c:pt>
                <c:pt idx="1388">
                  <c:v>0.01</c:v>
                </c:pt>
                <c:pt idx="1389">
                  <c:v>0.01</c:v>
                </c:pt>
                <c:pt idx="1390">
                  <c:v>0.01</c:v>
                </c:pt>
                <c:pt idx="1391">
                  <c:v>0.01</c:v>
                </c:pt>
                <c:pt idx="1392">
                  <c:v>0.01</c:v>
                </c:pt>
                <c:pt idx="1393">
                  <c:v>0.01</c:v>
                </c:pt>
                <c:pt idx="1394">
                  <c:v>0.01</c:v>
                </c:pt>
                <c:pt idx="1395">
                  <c:v>0.01</c:v>
                </c:pt>
                <c:pt idx="1396">
                  <c:v>0.01</c:v>
                </c:pt>
                <c:pt idx="1397">
                  <c:v>0.01</c:v>
                </c:pt>
                <c:pt idx="1398">
                  <c:v>0.01</c:v>
                </c:pt>
                <c:pt idx="1399">
                  <c:v>0.01</c:v>
                </c:pt>
                <c:pt idx="1400">
                  <c:v>0.02</c:v>
                </c:pt>
                <c:pt idx="1401">
                  <c:v>0.01</c:v>
                </c:pt>
                <c:pt idx="1402">
                  <c:v>0.01</c:v>
                </c:pt>
                <c:pt idx="1403">
                  <c:v>0.01</c:v>
                </c:pt>
                <c:pt idx="1404">
                  <c:v>0.01</c:v>
                </c:pt>
                <c:pt idx="1405">
                  <c:v>0.01</c:v>
                </c:pt>
                <c:pt idx="1406">
                  <c:v>0.01</c:v>
                </c:pt>
                <c:pt idx="1407">
                  <c:v>0.01</c:v>
                </c:pt>
                <c:pt idx="1408">
                  <c:v>0.01</c:v>
                </c:pt>
                <c:pt idx="1409">
                  <c:v>0.01</c:v>
                </c:pt>
                <c:pt idx="1410">
                  <c:v>0.01</c:v>
                </c:pt>
                <c:pt idx="1411">
                  <c:v>0.01</c:v>
                </c:pt>
                <c:pt idx="1412">
                  <c:v>0.01</c:v>
                </c:pt>
                <c:pt idx="1413">
                  <c:v>0.01</c:v>
                </c:pt>
                <c:pt idx="1414">
                  <c:v>0.01</c:v>
                </c:pt>
                <c:pt idx="1415">
                  <c:v>0.01</c:v>
                </c:pt>
                <c:pt idx="1416">
                  <c:v>0.01</c:v>
                </c:pt>
                <c:pt idx="1417">
                  <c:v>0.01</c:v>
                </c:pt>
                <c:pt idx="1418">
                  <c:v>0.01</c:v>
                </c:pt>
                <c:pt idx="1419">
                  <c:v>0.01</c:v>
                </c:pt>
                <c:pt idx="1420">
                  <c:v>0.01</c:v>
                </c:pt>
                <c:pt idx="1421">
                  <c:v>0.02</c:v>
                </c:pt>
                <c:pt idx="1422">
                  <c:v>0.01</c:v>
                </c:pt>
                <c:pt idx="1423">
                  <c:v>0.01</c:v>
                </c:pt>
                <c:pt idx="1424">
                  <c:v>0.01</c:v>
                </c:pt>
                <c:pt idx="1425">
                  <c:v>0.01</c:v>
                </c:pt>
                <c:pt idx="1426">
                  <c:v>0.01</c:v>
                </c:pt>
                <c:pt idx="1427">
                  <c:v>0.01</c:v>
                </c:pt>
                <c:pt idx="1428">
                  <c:v>0.01</c:v>
                </c:pt>
                <c:pt idx="1429">
                  <c:v>0.01</c:v>
                </c:pt>
                <c:pt idx="1430">
                  <c:v>0.01</c:v>
                </c:pt>
                <c:pt idx="1431">
                  <c:v>0.01</c:v>
                </c:pt>
                <c:pt idx="1432">
                  <c:v>0.01</c:v>
                </c:pt>
                <c:pt idx="1433">
                  <c:v>0.01</c:v>
                </c:pt>
                <c:pt idx="1434">
                  <c:v>0.01</c:v>
                </c:pt>
                <c:pt idx="1435">
                  <c:v>0.01</c:v>
                </c:pt>
                <c:pt idx="1436">
                  <c:v>0.01</c:v>
                </c:pt>
                <c:pt idx="1437">
                  <c:v>0.01</c:v>
                </c:pt>
                <c:pt idx="1438">
                  <c:v>0.01</c:v>
                </c:pt>
                <c:pt idx="1439">
                  <c:v>0.01</c:v>
                </c:pt>
                <c:pt idx="1440">
                  <c:v>0.01</c:v>
                </c:pt>
                <c:pt idx="1441">
                  <c:v>0.01</c:v>
                </c:pt>
                <c:pt idx="1442">
                  <c:v>0.01</c:v>
                </c:pt>
                <c:pt idx="1443">
                  <c:v>0.01</c:v>
                </c:pt>
                <c:pt idx="1444">
                  <c:v>0.01</c:v>
                </c:pt>
                <c:pt idx="1445">
                  <c:v>0.01</c:v>
                </c:pt>
                <c:pt idx="1446">
                  <c:v>0.01</c:v>
                </c:pt>
                <c:pt idx="1447">
                  <c:v>0.01</c:v>
                </c:pt>
                <c:pt idx="1448">
                  <c:v>0.04</c:v>
                </c:pt>
                <c:pt idx="1449">
                  <c:v>0.01</c:v>
                </c:pt>
                <c:pt idx="1450">
                  <c:v>0.01</c:v>
                </c:pt>
                <c:pt idx="1451">
                  <c:v>0.01</c:v>
                </c:pt>
                <c:pt idx="1452">
                  <c:v>0.01</c:v>
                </c:pt>
                <c:pt idx="1453">
                  <c:v>0.01</c:v>
                </c:pt>
                <c:pt idx="1454">
                  <c:v>0.03</c:v>
                </c:pt>
                <c:pt idx="1455">
                  <c:v>0.01</c:v>
                </c:pt>
                <c:pt idx="1456">
                  <c:v>0.01</c:v>
                </c:pt>
                <c:pt idx="1457">
                  <c:v>0.01</c:v>
                </c:pt>
                <c:pt idx="1458">
                  <c:v>0.01</c:v>
                </c:pt>
                <c:pt idx="1459">
                  <c:v>0.01</c:v>
                </c:pt>
                <c:pt idx="1460">
                  <c:v>0.01</c:v>
                </c:pt>
                <c:pt idx="1461">
                  <c:v>0.01</c:v>
                </c:pt>
                <c:pt idx="1462">
                  <c:v>0.01</c:v>
                </c:pt>
                <c:pt idx="1463">
                  <c:v>0.01</c:v>
                </c:pt>
                <c:pt idx="1464">
                  <c:v>0.01</c:v>
                </c:pt>
                <c:pt idx="1465">
                  <c:v>0.01</c:v>
                </c:pt>
                <c:pt idx="1466">
                  <c:v>0.01</c:v>
                </c:pt>
                <c:pt idx="1467">
                  <c:v>0.01</c:v>
                </c:pt>
                <c:pt idx="1468">
                  <c:v>0.01</c:v>
                </c:pt>
                <c:pt idx="1469">
                  <c:v>0.01</c:v>
                </c:pt>
                <c:pt idx="1470">
                  <c:v>0.01</c:v>
                </c:pt>
                <c:pt idx="1471">
                  <c:v>0.01</c:v>
                </c:pt>
                <c:pt idx="1472">
                  <c:v>0.01</c:v>
                </c:pt>
                <c:pt idx="1473">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Item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00A097"/>
              </a:solidFill>
            </c:spPr>
            <c:extLst>
              <c:ext xmlns:c16="http://schemas.microsoft.com/office/drawing/2014/chart" uri="{C3380CC4-5D6E-409C-BE32-E72D297353CC}">
                <c16:uniqueId val="{000000EB-2993-41DE-A2CB-63102DE87051}"/>
              </c:ext>
            </c:extLst>
          </c:dPt>
          <c:dPt>
            <c:idx val="117"/>
            <c:invertIfNegative val="1"/>
            <c:bubble3D val="0"/>
            <c:spPr>
              <a:solidFill>
                <a:srgbClr val="00A097"/>
              </a:solidFill>
            </c:spPr>
            <c:extLst>
              <c:ext xmlns:c16="http://schemas.microsoft.com/office/drawing/2014/chart" uri="{C3380CC4-5D6E-409C-BE32-E72D297353CC}">
                <c16:uniqueId val="{000000ED-2993-41DE-A2CB-63102DE87051}"/>
              </c:ext>
            </c:extLst>
          </c:dPt>
          <c:dPt>
            <c:idx val="118"/>
            <c:invertIfNegative val="1"/>
            <c:bubble3D val="0"/>
            <c:spPr>
              <a:solidFill>
                <a:srgbClr val="00A097"/>
              </a:solidFill>
            </c:spPr>
            <c:extLst>
              <c:ext xmlns:c16="http://schemas.microsoft.com/office/drawing/2014/chart" uri="{C3380CC4-5D6E-409C-BE32-E72D297353CC}">
                <c16:uniqueId val="{000000EF-2993-41DE-A2CB-63102DE87051}"/>
              </c:ext>
            </c:extLst>
          </c:dPt>
          <c:dPt>
            <c:idx val="119"/>
            <c:invertIfNegative val="1"/>
            <c:bubble3D val="0"/>
            <c:spPr>
              <a:solidFill>
                <a:srgbClr val="00A097"/>
              </a:solidFill>
            </c:spPr>
            <c:extLst>
              <c:ext xmlns:c16="http://schemas.microsoft.com/office/drawing/2014/chart" uri="{C3380CC4-5D6E-409C-BE32-E72D297353CC}">
                <c16:uniqueId val="{000000F1-2993-41DE-A2CB-63102DE87051}"/>
              </c:ext>
            </c:extLst>
          </c:dPt>
          <c:dPt>
            <c:idx val="120"/>
            <c:invertIfNegative val="1"/>
            <c:bubble3D val="0"/>
            <c:spPr>
              <a:solidFill>
                <a:srgbClr val="00A097"/>
              </a:solidFill>
            </c:spPr>
            <c:extLst>
              <c:ext xmlns:c16="http://schemas.microsoft.com/office/drawing/2014/chart" uri="{C3380CC4-5D6E-409C-BE32-E72D297353CC}">
                <c16:uniqueId val="{000000F3-2993-41DE-A2CB-63102DE87051}"/>
              </c:ext>
            </c:extLst>
          </c:dPt>
          <c:dPt>
            <c:idx val="121"/>
            <c:invertIfNegative val="1"/>
            <c:bubble3D val="0"/>
            <c:spPr>
              <a:solidFill>
                <a:srgbClr val="00A097"/>
              </a:solidFill>
            </c:spPr>
            <c:extLst>
              <c:ext xmlns:c16="http://schemas.microsoft.com/office/drawing/2014/chart" uri="{C3380CC4-5D6E-409C-BE32-E72D297353CC}">
                <c16:uniqueId val="{000000F5-2993-41DE-A2CB-63102DE87051}"/>
              </c:ext>
            </c:extLst>
          </c:dPt>
          <c:dPt>
            <c:idx val="122"/>
            <c:invertIfNegative val="1"/>
            <c:bubble3D val="0"/>
            <c:spPr>
              <a:solidFill>
                <a:srgbClr val="00A097"/>
              </a:solidFill>
            </c:spPr>
            <c:extLst>
              <c:ext xmlns:c16="http://schemas.microsoft.com/office/drawing/2014/chart" uri="{C3380CC4-5D6E-409C-BE32-E72D297353CC}">
                <c16:uniqueId val="{000000F7-2993-41DE-A2CB-63102DE87051}"/>
              </c:ext>
            </c:extLst>
          </c:dPt>
          <c:dPt>
            <c:idx val="123"/>
            <c:invertIfNegative val="1"/>
            <c:bubble3D val="0"/>
            <c:spPr>
              <a:solidFill>
                <a:srgbClr val="00A097"/>
              </a:solidFill>
            </c:spPr>
            <c:extLst>
              <c:ext xmlns:c16="http://schemas.microsoft.com/office/drawing/2014/chart" uri="{C3380CC4-5D6E-409C-BE32-E72D297353CC}">
                <c16:uniqueId val="{000000F9-2993-41DE-A2CB-63102DE87051}"/>
              </c:ext>
            </c:extLst>
          </c:dPt>
          <c:dPt>
            <c:idx val="124"/>
            <c:invertIfNegative val="1"/>
            <c:bubble3D val="0"/>
            <c:spPr>
              <a:solidFill>
                <a:srgbClr val="00A097"/>
              </a:solidFill>
            </c:spPr>
            <c:extLst>
              <c:ext xmlns:c16="http://schemas.microsoft.com/office/drawing/2014/chart" uri="{C3380CC4-5D6E-409C-BE32-E72D297353CC}">
                <c16:uniqueId val="{000000FB-2993-41DE-A2CB-63102DE87051}"/>
              </c:ext>
            </c:extLst>
          </c:dPt>
          <c:dPt>
            <c:idx val="125"/>
            <c:invertIfNegative val="1"/>
            <c:bubble3D val="0"/>
            <c:spPr>
              <a:solidFill>
                <a:srgbClr val="00A097"/>
              </a:solidFill>
            </c:spPr>
            <c:extLst>
              <c:ext xmlns:c16="http://schemas.microsoft.com/office/drawing/2014/chart" uri="{C3380CC4-5D6E-409C-BE32-E72D297353CC}">
                <c16:uniqueId val="{000000FD-2993-41DE-A2CB-63102DE87051}"/>
              </c:ext>
            </c:extLst>
          </c:dPt>
          <c:dPt>
            <c:idx val="126"/>
            <c:invertIfNegative val="1"/>
            <c:bubble3D val="0"/>
            <c:spPr>
              <a:solidFill>
                <a:srgbClr val="00A097"/>
              </a:solidFill>
            </c:spPr>
            <c:extLst>
              <c:ext xmlns:c16="http://schemas.microsoft.com/office/drawing/2014/chart" uri="{C3380CC4-5D6E-409C-BE32-E72D297353CC}">
                <c16:uniqueId val="{000000FF-2993-41DE-A2CB-63102DE87051}"/>
              </c:ext>
            </c:extLst>
          </c:dPt>
          <c:dPt>
            <c:idx val="127"/>
            <c:invertIfNegative val="1"/>
            <c:bubble3D val="0"/>
            <c:spPr>
              <a:solidFill>
                <a:srgbClr val="00A097"/>
              </a:solidFill>
            </c:spPr>
            <c:extLst>
              <c:ext xmlns:c16="http://schemas.microsoft.com/office/drawing/2014/chart" uri="{C3380CC4-5D6E-409C-BE32-E72D297353CC}">
                <c16:uniqueId val="{00000101-2993-41DE-A2CB-63102DE87051}"/>
              </c:ext>
            </c:extLst>
          </c:dPt>
          <c:dPt>
            <c:idx val="128"/>
            <c:invertIfNegative val="1"/>
            <c:bubble3D val="0"/>
            <c:spPr>
              <a:solidFill>
                <a:srgbClr val="00A097"/>
              </a:solidFill>
            </c:spPr>
            <c:extLst>
              <c:ext xmlns:c16="http://schemas.microsoft.com/office/drawing/2014/chart" uri="{C3380CC4-5D6E-409C-BE32-E72D297353CC}">
                <c16:uniqueId val="{00000103-2993-41DE-A2CB-63102DE87051}"/>
              </c:ext>
            </c:extLst>
          </c:dPt>
          <c:dPt>
            <c:idx val="129"/>
            <c:invertIfNegative val="1"/>
            <c:bubble3D val="0"/>
            <c:spPr>
              <a:solidFill>
                <a:srgbClr val="00A097"/>
              </a:solidFill>
            </c:spPr>
            <c:extLst>
              <c:ext xmlns:c16="http://schemas.microsoft.com/office/drawing/2014/chart" uri="{C3380CC4-5D6E-409C-BE32-E72D297353CC}">
                <c16:uniqueId val="{00000105-2993-41DE-A2CB-63102DE87051}"/>
              </c:ext>
            </c:extLst>
          </c:dPt>
          <c:dPt>
            <c:idx val="130"/>
            <c:invertIfNegative val="1"/>
            <c:bubble3D val="0"/>
            <c:spPr>
              <a:solidFill>
                <a:srgbClr val="00A097"/>
              </a:solidFill>
            </c:spPr>
            <c:extLst>
              <c:ext xmlns:c16="http://schemas.microsoft.com/office/drawing/2014/chart" uri="{C3380CC4-5D6E-409C-BE32-E72D297353CC}">
                <c16:uniqueId val="{00000107-2993-41DE-A2CB-63102DE87051}"/>
              </c:ext>
            </c:extLst>
          </c:dPt>
          <c:dPt>
            <c:idx val="131"/>
            <c:invertIfNegative val="1"/>
            <c:bubble3D val="0"/>
            <c:spPr>
              <a:solidFill>
                <a:srgbClr val="00A097"/>
              </a:solidFill>
            </c:spPr>
            <c:extLst>
              <c:ext xmlns:c16="http://schemas.microsoft.com/office/drawing/2014/chart" uri="{C3380CC4-5D6E-409C-BE32-E72D297353CC}">
                <c16:uniqueId val="{00000109-2993-41DE-A2CB-63102DE87051}"/>
              </c:ext>
            </c:extLst>
          </c:dPt>
          <c:dPt>
            <c:idx val="132"/>
            <c:invertIfNegative val="1"/>
            <c:bubble3D val="0"/>
            <c:spPr>
              <a:solidFill>
                <a:srgbClr val="00A097"/>
              </a:solidFill>
            </c:spPr>
            <c:extLst>
              <c:ext xmlns:c16="http://schemas.microsoft.com/office/drawing/2014/chart" uri="{C3380CC4-5D6E-409C-BE32-E72D297353CC}">
                <c16:uniqueId val="{0000010B-2993-41DE-A2CB-63102DE87051}"/>
              </c:ext>
            </c:extLst>
          </c:dPt>
          <c:dPt>
            <c:idx val="133"/>
            <c:invertIfNegative val="1"/>
            <c:bubble3D val="0"/>
            <c:spPr>
              <a:solidFill>
                <a:srgbClr val="00A097"/>
              </a:solidFill>
            </c:spPr>
            <c:extLst>
              <c:ext xmlns:c16="http://schemas.microsoft.com/office/drawing/2014/chart" uri="{C3380CC4-5D6E-409C-BE32-E72D297353CC}">
                <c16:uniqueId val="{0000010D-2993-41DE-A2CB-63102DE87051}"/>
              </c:ext>
            </c:extLst>
          </c:dPt>
          <c:dPt>
            <c:idx val="134"/>
            <c:invertIfNegative val="1"/>
            <c:bubble3D val="0"/>
            <c:spPr>
              <a:solidFill>
                <a:srgbClr val="00A097"/>
              </a:solidFill>
            </c:spPr>
            <c:extLst>
              <c:ext xmlns:c16="http://schemas.microsoft.com/office/drawing/2014/chart" uri="{C3380CC4-5D6E-409C-BE32-E72D297353CC}">
                <c16:uniqueId val="{0000010F-2993-41DE-A2CB-63102DE87051}"/>
              </c:ext>
            </c:extLst>
          </c:dPt>
          <c:dPt>
            <c:idx val="135"/>
            <c:invertIfNegative val="1"/>
            <c:bubble3D val="0"/>
            <c:spPr>
              <a:solidFill>
                <a:srgbClr val="00A097"/>
              </a:solidFill>
            </c:spPr>
            <c:extLst>
              <c:ext xmlns:c16="http://schemas.microsoft.com/office/drawing/2014/chart" uri="{C3380CC4-5D6E-409C-BE32-E72D297353CC}">
                <c16:uniqueId val="{00000111-2993-41DE-A2CB-63102DE87051}"/>
              </c:ext>
            </c:extLst>
          </c:dPt>
          <c:dPt>
            <c:idx val="136"/>
            <c:invertIfNegative val="1"/>
            <c:bubble3D val="0"/>
            <c:spPr>
              <a:solidFill>
                <a:srgbClr val="00A097"/>
              </a:solidFill>
            </c:spPr>
            <c:extLst>
              <c:ext xmlns:c16="http://schemas.microsoft.com/office/drawing/2014/chart" uri="{C3380CC4-5D6E-409C-BE32-E72D297353CC}">
                <c16:uniqueId val="{00000113-2993-41DE-A2CB-63102DE87051}"/>
              </c:ext>
            </c:extLst>
          </c:dPt>
          <c:dPt>
            <c:idx val="137"/>
            <c:invertIfNegative val="1"/>
            <c:bubble3D val="0"/>
            <c:spPr>
              <a:solidFill>
                <a:srgbClr val="00A097"/>
              </a:solidFill>
            </c:spPr>
            <c:extLst>
              <c:ext xmlns:c16="http://schemas.microsoft.com/office/drawing/2014/chart" uri="{C3380CC4-5D6E-409C-BE32-E72D297353CC}">
                <c16:uniqueId val="{00000115-2993-41DE-A2CB-63102DE87051}"/>
              </c:ext>
            </c:extLst>
          </c:dPt>
          <c:dPt>
            <c:idx val="138"/>
            <c:invertIfNegative val="1"/>
            <c:bubble3D val="0"/>
            <c:spPr>
              <a:solidFill>
                <a:srgbClr val="00A097"/>
              </a:solidFill>
            </c:spPr>
            <c:extLst>
              <c:ext xmlns:c16="http://schemas.microsoft.com/office/drawing/2014/chart" uri="{C3380CC4-5D6E-409C-BE32-E72D297353CC}">
                <c16:uniqueId val="{00000117-2993-41DE-A2CB-63102DE87051}"/>
              </c:ext>
            </c:extLst>
          </c:dPt>
          <c:dPt>
            <c:idx val="139"/>
            <c:invertIfNegative val="1"/>
            <c:bubble3D val="0"/>
            <c:spPr>
              <a:solidFill>
                <a:srgbClr val="00A097"/>
              </a:solidFill>
            </c:spPr>
            <c:extLst>
              <c:ext xmlns:c16="http://schemas.microsoft.com/office/drawing/2014/chart" uri="{C3380CC4-5D6E-409C-BE32-E72D297353CC}">
                <c16:uniqueId val="{00000119-2993-41DE-A2CB-63102DE87051}"/>
              </c:ext>
            </c:extLst>
          </c:dPt>
          <c:dPt>
            <c:idx val="140"/>
            <c:invertIfNegative val="1"/>
            <c:bubble3D val="0"/>
            <c:spPr>
              <a:solidFill>
                <a:srgbClr val="00A097"/>
              </a:solidFill>
            </c:spPr>
            <c:extLst>
              <c:ext xmlns:c16="http://schemas.microsoft.com/office/drawing/2014/chart" uri="{C3380CC4-5D6E-409C-BE32-E72D297353CC}">
                <c16:uniqueId val="{0000011B-2993-41DE-A2CB-63102DE87051}"/>
              </c:ext>
            </c:extLst>
          </c:dPt>
          <c:dPt>
            <c:idx val="141"/>
            <c:invertIfNegative val="1"/>
            <c:bubble3D val="0"/>
            <c:spPr>
              <a:solidFill>
                <a:srgbClr val="00A097"/>
              </a:solidFill>
            </c:spPr>
            <c:extLst>
              <c:ext xmlns:c16="http://schemas.microsoft.com/office/drawing/2014/chart" uri="{C3380CC4-5D6E-409C-BE32-E72D297353CC}">
                <c16:uniqueId val="{0000011D-2993-41DE-A2CB-63102DE87051}"/>
              </c:ext>
            </c:extLst>
          </c:dPt>
          <c:dPt>
            <c:idx val="142"/>
            <c:invertIfNegative val="1"/>
            <c:bubble3D val="0"/>
            <c:spPr>
              <a:solidFill>
                <a:srgbClr val="00A097"/>
              </a:solidFill>
            </c:spPr>
            <c:extLst>
              <c:ext xmlns:c16="http://schemas.microsoft.com/office/drawing/2014/chart" uri="{C3380CC4-5D6E-409C-BE32-E72D297353CC}">
                <c16:uniqueId val="{0000011F-2993-41DE-A2CB-63102DE87051}"/>
              </c:ext>
            </c:extLst>
          </c:dPt>
          <c:dPt>
            <c:idx val="143"/>
            <c:invertIfNegative val="1"/>
            <c:bubble3D val="0"/>
            <c:spPr>
              <a:solidFill>
                <a:srgbClr val="00A097"/>
              </a:solidFill>
            </c:spPr>
            <c:extLst>
              <c:ext xmlns:c16="http://schemas.microsoft.com/office/drawing/2014/chart" uri="{C3380CC4-5D6E-409C-BE32-E72D297353CC}">
                <c16:uniqueId val="{00000121-2993-41DE-A2CB-63102DE87051}"/>
              </c:ext>
            </c:extLst>
          </c:dPt>
          <c:dPt>
            <c:idx val="144"/>
            <c:invertIfNegative val="1"/>
            <c:bubble3D val="0"/>
            <c:spPr>
              <a:solidFill>
                <a:srgbClr val="00A097"/>
              </a:solidFill>
            </c:spPr>
            <c:extLst>
              <c:ext xmlns:c16="http://schemas.microsoft.com/office/drawing/2014/chart" uri="{C3380CC4-5D6E-409C-BE32-E72D297353CC}">
                <c16:uniqueId val="{00000123-2993-41DE-A2CB-63102DE87051}"/>
              </c:ext>
            </c:extLst>
          </c:dPt>
          <c:dPt>
            <c:idx val="145"/>
            <c:invertIfNegative val="1"/>
            <c:bubble3D val="0"/>
            <c:spPr>
              <a:solidFill>
                <a:srgbClr val="00A097"/>
              </a:solidFill>
            </c:spPr>
            <c:extLst>
              <c:ext xmlns:c16="http://schemas.microsoft.com/office/drawing/2014/chart" uri="{C3380CC4-5D6E-409C-BE32-E72D297353CC}">
                <c16:uniqueId val="{00000125-2993-41DE-A2CB-63102DE87051}"/>
              </c:ext>
            </c:extLst>
          </c:dPt>
          <c:dPt>
            <c:idx val="146"/>
            <c:invertIfNegative val="1"/>
            <c:bubble3D val="0"/>
            <c:spPr>
              <a:solidFill>
                <a:srgbClr val="00A097"/>
              </a:solidFill>
            </c:spPr>
            <c:extLst>
              <c:ext xmlns:c16="http://schemas.microsoft.com/office/drawing/2014/chart" uri="{C3380CC4-5D6E-409C-BE32-E72D297353CC}">
                <c16:uniqueId val="{00000127-2993-41DE-A2CB-63102DE87051}"/>
              </c:ext>
            </c:extLst>
          </c:dPt>
          <c:dPt>
            <c:idx val="147"/>
            <c:invertIfNegative val="1"/>
            <c:bubble3D val="0"/>
            <c:spPr>
              <a:solidFill>
                <a:srgbClr val="00A097"/>
              </a:solidFill>
            </c:spPr>
            <c:extLst>
              <c:ext xmlns:c16="http://schemas.microsoft.com/office/drawing/2014/chart" uri="{C3380CC4-5D6E-409C-BE32-E72D297353CC}">
                <c16:uniqueId val="{00000129-2993-41DE-A2CB-63102DE87051}"/>
              </c:ext>
            </c:extLst>
          </c:dPt>
          <c:dPt>
            <c:idx val="148"/>
            <c:invertIfNegative val="1"/>
            <c:bubble3D val="0"/>
            <c:spPr>
              <a:solidFill>
                <a:srgbClr val="00A097"/>
              </a:solidFill>
            </c:spPr>
            <c:extLst>
              <c:ext xmlns:c16="http://schemas.microsoft.com/office/drawing/2014/chart" uri="{C3380CC4-5D6E-409C-BE32-E72D297353CC}">
                <c16:uniqueId val="{0000012B-2993-41DE-A2CB-63102DE87051}"/>
              </c:ext>
            </c:extLst>
          </c:dPt>
          <c:dPt>
            <c:idx val="149"/>
            <c:invertIfNegative val="1"/>
            <c:bubble3D val="0"/>
            <c:spPr>
              <a:solidFill>
                <a:srgbClr val="00A097"/>
              </a:solidFill>
            </c:spPr>
            <c:extLst>
              <c:ext xmlns:c16="http://schemas.microsoft.com/office/drawing/2014/chart" uri="{C3380CC4-5D6E-409C-BE32-E72D297353CC}">
                <c16:uniqueId val="{0000012D-2993-41DE-A2CB-63102DE87051}"/>
              </c:ext>
            </c:extLst>
          </c:dPt>
          <c:dPt>
            <c:idx val="150"/>
            <c:invertIfNegative val="1"/>
            <c:bubble3D val="0"/>
            <c:spPr>
              <a:solidFill>
                <a:srgbClr val="00A097"/>
              </a:solidFill>
            </c:spPr>
            <c:extLst>
              <c:ext xmlns:c16="http://schemas.microsoft.com/office/drawing/2014/chart" uri="{C3380CC4-5D6E-409C-BE32-E72D297353CC}">
                <c16:uniqueId val="{0000012F-2993-41DE-A2CB-63102DE87051}"/>
              </c:ext>
            </c:extLst>
          </c:dPt>
          <c:dPt>
            <c:idx val="151"/>
            <c:invertIfNegative val="1"/>
            <c:bubble3D val="0"/>
            <c:spPr>
              <a:solidFill>
                <a:srgbClr val="00A097"/>
              </a:solidFill>
            </c:spPr>
            <c:extLst>
              <c:ext xmlns:c16="http://schemas.microsoft.com/office/drawing/2014/chart" uri="{C3380CC4-5D6E-409C-BE32-E72D297353CC}">
                <c16:uniqueId val="{00000131-2993-41DE-A2CB-63102DE87051}"/>
              </c:ext>
            </c:extLst>
          </c:dPt>
          <c:dPt>
            <c:idx val="152"/>
            <c:invertIfNegative val="1"/>
            <c:bubble3D val="0"/>
            <c:spPr>
              <a:solidFill>
                <a:srgbClr val="00A097"/>
              </a:solidFill>
            </c:spPr>
            <c:extLst>
              <c:ext xmlns:c16="http://schemas.microsoft.com/office/drawing/2014/chart" uri="{C3380CC4-5D6E-409C-BE32-E72D297353CC}">
                <c16:uniqueId val="{00000133-2993-41DE-A2CB-63102DE87051}"/>
              </c:ext>
            </c:extLst>
          </c:dPt>
          <c:dPt>
            <c:idx val="153"/>
            <c:invertIfNegative val="1"/>
            <c:bubble3D val="0"/>
            <c:spPr>
              <a:solidFill>
                <a:srgbClr val="00A097"/>
              </a:solidFill>
            </c:spPr>
            <c:extLst>
              <c:ext xmlns:c16="http://schemas.microsoft.com/office/drawing/2014/chart" uri="{C3380CC4-5D6E-409C-BE32-E72D297353CC}">
                <c16:uniqueId val="{00000135-2993-41DE-A2CB-63102DE87051}"/>
              </c:ext>
            </c:extLst>
          </c:dPt>
          <c:dPt>
            <c:idx val="154"/>
            <c:invertIfNegative val="1"/>
            <c:bubble3D val="0"/>
            <c:spPr>
              <a:solidFill>
                <a:srgbClr val="00A097"/>
              </a:solidFill>
            </c:spPr>
            <c:extLst>
              <c:ext xmlns:c16="http://schemas.microsoft.com/office/drawing/2014/chart" uri="{C3380CC4-5D6E-409C-BE32-E72D297353CC}">
                <c16:uniqueId val="{00000137-2993-41DE-A2CB-63102DE87051}"/>
              </c:ext>
            </c:extLst>
          </c:dPt>
          <c:dPt>
            <c:idx val="155"/>
            <c:invertIfNegative val="1"/>
            <c:bubble3D val="0"/>
            <c:spPr>
              <a:solidFill>
                <a:srgbClr val="00A097"/>
              </a:solidFill>
            </c:spPr>
            <c:extLst>
              <c:ext xmlns:c16="http://schemas.microsoft.com/office/drawing/2014/chart" uri="{C3380CC4-5D6E-409C-BE32-E72D297353CC}">
                <c16:uniqueId val="{00000139-2993-41DE-A2CB-63102DE87051}"/>
              </c:ext>
            </c:extLst>
          </c:dPt>
          <c:dPt>
            <c:idx val="156"/>
            <c:invertIfNegative val="1"/>
            <c:bubble3D val="0"/>
            <c:spPr>
              <a:solidFill>
                <a:srgbClr val="00A097"/>
              </a:solidFill>
            </c:spPr>
            <c:extLst>
              <c:ext xmlns:c16="http://schemas.microsoft.com/office/drawing/2014/chart" uri="{C3380CC4-5D6E-409C-BE32-E72D297353CC}">
                <c16:uniqueId val="{0000013B-2993-41DE-A2CB-63102DE87051}"/>
              </c:ext>
            </c:extLst>
          </c:dPt>
          <c:dPt>
            <c:idx val="157"/>
            <c:invertIfNegative val="1"/>
            <c:bubble3D val="0"/>
            <c:spPr>
              <a:solidFill>
                <a:srgbClr val="00A097"/>
              </a:solidFill>
            </c:spPr>
            <c:extLst>
              <c:ext xmlns:c16="http://schemas.microsoft.com/office/drawing/2014/chart" uri="{C3380CC4-5D6E-409C-BE32-E72D297353CC}">
                <c16:uniqueId val="{0000013D-2993-41DE-A2CB-63102DE87051}"/>
              </c:ext>
            </c:extLst>
          </c:dPt>
          <c:dPt>
            <c:idx val="158"/>
            <c:invertIfNegative val="1"/>
            <c:bubble3D val="0"/>
            <c:spPr>
              <a:solidFill>
                <a:srgbClr val="00A097"/>
              </a:solidFill>
            </c:spPr>
            <c:extLst>
              <c:ext xmlns:c16="http://schemas.microsoft.com/office/drawing/2014/chart" uri="{C3380CC4-5D6E-409C-BE32-E72D297353CC}">
                <c16:uniqueId val="{0000013F-2993-41DE-A2CB-63102DE87051}"/>
              </c:ext>
            </c:extLst>
          </c:dPt>
          <c:dPt>
            <c:idx val="159"/>
            <c:invertIfNegative val="1"/>
            <c:bubble3D val="0"/>
            <c:spPr>
              <a:solidFill>
                <a:srgbClr val="00A097"/>
              </a:solidFill>
            </c:spPr>
            <c:extLst>
              <c:ext xmlns:c16="http://schemas.microsoft.com/office/drawing/2014/chart" uri="{C3380CC4-5D6E-409C-BE32-E72D297353CC}">
                <c16:uniqueId val="{00000141-2993-41DE-A2CB-63102DE87051}"/>
              </c:ext>
            </c:extLst>
          </c:dPt>
          <c:dPt>
            <c:idx val="160"/>
            <c:invertIfNegative val="1"/>
            <c:bubble3D val="0"/>
            <c:spPr>
              <a:solidFill>
                <a:srgbClr val="00A097"/>
              </a:solidFill>
            </c:spPr>
            <c:extLst>
              <c:ext xmlns:c16="http://schemas.microsoft.com/office/drawing/2014/chart" uri="{C3380CC4-5D6E-409C-BE32-E72D297353CC}">
                <c16:uniqueId val="{00000143-2993-41DE-A2CB-63102DE87051}"/>
              </c:ext>
            </c:extLst>
          </c:dPt>
          <c:dPt>
            <c:idx val="161"/>
            <c:invertIfNegative val="1"/>
            <c:bubble3D val="0"/>
            <c:spPr>
              <a:solidFill>
                <a:srgbClr val="00A097"/>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7ECAC4"/>
              </a:solidFill>
            </c:spPr>
            <c:extLst>
              <c:ext xmlns:c16="http://schemas.microsoft.com/office/drawing/2014/chart" uri="{C3380CC4-5D6E-409C-BE32-E72D297353CC}">
                <c16:uniqueId val="{0000015D-2993-41DE-A2CB-63102DE87051}"/>
              </c:ext>
            </c:extLst>
          </c:dPt>
          <c:dPt>
            <c:idx val="174"/>
            <c:invertIfNegative val="1"/>
            <c:bubble3D val="0"/>
            <c:spPr>
              <a:solidFill>
                <a:srgbClr val="7ECAC4"/>
              </a:solidFill>
            </c:spPr>
            <c:extLst>
              <c:ext xmlns:c16="http://schemas.microsoft.com/office/drawing/2014/chart" uri="{C3380CC4-5D6E-409C-BE32-E72D297353CC}">
                <c16:uniqueId val="{0000015F-2993-41DE-A2CB-63102DE87051}"/>
              </c:ext>
            </c:extLst>
          </c:dPt>
          <c:dPt>
            <c:idx val="175"/>
            <c:invertIfNegative val="1"/>
            <c:bubble3D val="0"/>
            <c:spPr>
              <a:solidFill>
                <a:srgbClr val="7ECAC4"/>
              </a:solidFill>
            </c:spPr>
            <c:extLst>
              <c:ext xmlns:c16="http://schemas.microsoft.com/office/drawing/2014/chart" uri="{C3380CC4-5D6E-409C-BE32-E72D297353CC}">
                <c16:uniqueId val="{00000161-2993-41DE-A2CB-63102DE87051}"/>
              </c:ext>
            </c:extLst>
          </c:dPt>
          <c:dPt>
            <c:idx val="176"/>
            <c:invertIfNegative val="1"/>
            <c:bubble3D val="0"/>
            <c:spPr>
              <a:solidFill>
                <a:srgbClr val="7ECAC4"/>
              </a:solidFill>
            </c:spPr>
            <c:extLst>
              <c:ext xmlns:c16="http://schemas.microsoft.com/office/drawing/2014/chart" uri="{C3380CC4-5D6E-409C-BE32-E72D297353CC}">
                <c16:uniqueId val="{00000163-2993-41DE-A2CB-63102DE87051}"/>
              </c:ext>
            </c:extLst>
          </c:dPt>
          <c:dPt>
            <c:idx val="177"/>
            <c:invertIfNegative val="1"/>
            <c:bubble3D val="0"/>
            <c:spPr>
              <a:solidFill>
                <a:srgbClr val="7ECAC4"/>
              </a:solidFill>
            </c:spPr>
            <c:extLst>
              <c:ext xmlns:c16="http://schemas.microsoft.com/office/drawing/2014/chart" uri="{C3380CC4-5D6E-409C-BE32-E72D297353CC}">
                <c16:uniqueId val="{00000165-2993-41DE-A2CB-63102DE87051}"/>
              </c:ext>
            </c:extLst>
          </c:dPt>
          <c:dPt>
            <c:idx val="178"/>
            <c:invertIfNegative val="1"/>
            <c:bubble3D val="0"/>
            <c:spPr>
              <a:solidFill>
                <a:srgbClr val="7ECAC4"/>
              </a:solidFill>
            </c:spPr>
            <c:extLst>
              <c:ext xmlns:c16="http://schemas.microsoft.com/office/drawing/2014/chart" uri="{C3380CC4-5D6E-409C-BE32-E72D297353CC}">
                <c16:uniqueId val="{00000167-2993-41DE-A2CB-63102DE87051}"/>
              </c:ext>
            </c:extLst>
          </c:dPt>
          <c:dPt>
            <c:idx val="179"/>
            <c:invertIfNegative val="1"/>
            <c:bubble3D val="0"/>
            <c:spPr>
              <a:solidFill>
                <a:srgbClr val="7ECAC4"/>
              </a:solidFill>
            </c:spPr>
            <c:extLst>
              <c:ext xmlns:c16="http://schemas.microsoft.com/office/drawing/2014/chart" uri="{C3380CC4-5D6E-409C-BE32-E72D297353CC}">
                <c16:uniqueId val="{00000169-2993-41DE-A2CB-63102DE87051}"/>
              </c:ext>
            </c:extLst>
          </c:dPt>
          <c:dPt>
            <c:idx val="180"/>
            <c:invertIfNegative val="1"/>
            <c:bubble3D val="0"/>
            <c:spPr>
              <a:solidFill>
                <a:srgbClr val="7ECAC4"/>
              </a:solidFill>
            </c:spPr>
            <c:extLst>
              <c:ext xmlns:c16="http://schemas.microsoft.com/office/drawing/2014/chart" uri="{C3380CC4-5D6E-409C-BE32-E72D297353CC}">
                <c16:uniqueId val="{0000016B-2993-41DE-A2CB-63102DE87051}"/>
              </c:ext>
            </c:extLst>
          </c:dPt>
          <c:dPt>
            <c:idx val="181"/>
            <c:invertIfNegative val="1"/>
            <c:bubble3D val="0"/>
            <c:spPr>
              <a:solidFill>
                <a:srgbClr val="7ECAC4"/>
              </a:solidFill>
            </c:spPr>
            <c:extLst>
              <c:ext xmlns:c16="http://schemas.microsoft.com/office/drawing/2014/chart" uri="{C3380CC4-5D6E-409C-BE32-E72D297353CC}">
                <c16:uniqueId val="{0000016D-2993-41DE-A2CB-63102DE87051}"/>
              </c:ext>
            </c:extLst>
          </c:dPt>
          <c:dPt>
            <c:idx val="182"/>
            <c:invertIfNegative val="1"/>
            <c:bubble3D val="0"/>
            <c:spPr>
              <a:solidFill>
                <a:srgbClr val="7ECAC4"/>
              </a:solidFill>
            </c:spPr>
            <c:extLst>
              <c:ext xmlns:c16="http://schemas.microsoft.com/office/drawing/2014/chart" uri="{C3380CC4-5D6E-409C-BE32-E72D297353CC}">
                <c16:uniqueId val="{0000016F-2993-41DE-A2CB-63102DE87051}"/>
              </c:ext>
            </c:extLst>
          </c:dPt>
          <c:dPt>
            <c:idx val="183"/>
            <c:invertIfNegative val="1"/>
            <c:bubble3D val="0"/>
            <c:spPr>
              <a:solidFill>
                <a:srgbClr val="7ECAC4"/>
              </a:solidFill>
            </c:spPr>
            <c:extLst>
              <c:ext xmlns:c16="http://schemas.microsoft.com/office/drawing/2014/chart" uri="{C3380CC4-5D6E-409C-BE32-E72D297353CC}">
                <c16:uniqueId val="{00000171-2993-41DE-A2CB-63102DE87051}"/>
              </c:ext>
            </c:extLst>
          </c:dPt>
          <c:dPt>
            <c:idx val="184"/>
            <c:invertIfNegative val="1"/>
            <c:bubble3D val="0"/>
            <c:spPr>
              <a:solidFill>
                <a:srgbClr val="7ECAC4"/>
              </a:solidFill>
            </c:spPr>
            <c:extLst>
              <c:ext xmlns:c16="http://schemas.microsoft.com/office/drawing/2014/chart" uri="{C3380CC4-5D6E-409C-BE32-E72D297353CC}">
                <c16:uniqueId val="{00000173-2993-41DE-A2CB-63102DE87051}"/>
              </c:ext>
            </c:extLst>
          </c:dPt>
          <c:dPt>
            <c:idx val="185"/>
            <c:invertIfNegative val="1"/>
            <c:bubble3D val="0"/>
            <c:spPr>
              <a:solidFill>
                <a:srgbClr val="7ECAC4"/>
              </a:solidFill>
            </c:spPr>
            <c:extLst>
              <c:ext xmlns:c16="http://schemas.microsoft.com/office/drawing/2014/chart" uri="{C3380CC4-5D6E-409C-BE32-E72D297353CC}">
                <c16:uniqueId val="{00000175-2993-41DE-A2CB-63102DE87051}"/>
              </c:ext>
            </c:extLst>
          </c:dPt>
          <c:dPt>
            <c:idx val="186"/>
            <c:invertIfNegative val="1"/>
            <c:bubble3D val="0"/>
            <c:spPr>
              <a:solidFill>
                <a:srgbClr val="7ECAC4"/>
              </a:solidFill>
            </c:spPr>
            <c:extLst>
              <c:ext xmlns:c16="http://schemas.microsoft.com/office/drawing/2014/chart" uri="{C3380CC4-5D6E-409C-BE32-E72D297353CC}">
                <c16:uniqueId val="{00000177-2993-41DE-A2CB-63102DE87051}"/>
              </c:ext>
            </c:extLst>
          </c:dPt>
          <c:dPt>
            <c:idx val="187"/>
            <c:invertIfNegative val="1"/>
            <c:bubble3D val="0"/>
            <c:spPr>
              <a:solidFill>
                <a:srgbClr val="7ECAC4"/>
              </a:solidFill>
            </c:spPr>
            <c:extLst>
              <c:ext xmlns:c16="http://schemas.microsoft.com/office/drawing/2014/chart" uri="{C3380CC4-5D6E-409C-BE32-E72D297353CC}">
                <c16:uniqueId val="{00000179-2993-41DE-A2CB-63102DE87051}"/>
              </c:ext>
            </c:extLst>
          </c:dPt>
          <c:dPt>
            <c:idx val="188"/>
            <c:invertIfNegative val="1"/>
            <c:bubble3D val="0"/>
            <c:spPr>
              <a:solidFill>
                <a:srgbClr val="7ECAC4"/>
              </a:solidFill>
            </c:spPr>
            <c:extLst>
              <c:ext xmlns:c16="http://schemas.microsoft.com/office/drawing/2014/chart" uri="{C3380CC4-5D6E-409C-BE32-E72D297353CC}">
                <c16:uniqueId val="{0000017B-2993-41DE-A2CB-63102DE87051}"/>
              </c:ext>
            </c:extLst>
          </c:dPt>
          <c:dPt>
            <c:idx val="189"/>
            <c:invertIfNegative val="1"/>
            <c:bubble3D val="0"/>
            <c:spPr>
              <a:solidFill>
                <a:srgbClr val="7ECAC4"/>
              </a:solidFill>
            </c:spPr>
            <c:extLst>
              <c:ext xmlns:c16="http://schemas.microsoft.com/office/drawing/2014/chart" uri="{C3380CC4-5D6E-409C-BE32-E72D297353CC}">
                <c16:uniqueId val="{0000017D-2993-41DE-A2CB-63102DE87051}"/>
              </c:ext>
            </c:extLst>
          </c:dPt>
          <c:dPt>
            <c:idx val="190"/>
            <c:invertIfNegative val="1"/>
            <c:bubble3D val="0"/>
            <c:spPr>
              <a:solidFill>
                <a:srgbClr val="7ECAC4"/>
              </a:solidFill>
            </c:spPr>
            <c:extLst>
              <c:ext xmlns:c16="http://schemas.microsoft.com/office/drawing/2014/chart" uri="{C3380CC4-5D6E-409C-BE32-E72D297353CC}">
                <c16:uniqueId val="{0000017F-2993-41DE-A2CB-63102DE87051}"/>
              </c:ext>
            </c:extLst>
          </c:dPt>
          <c:dPt>
            <c:idx val="191"/>
            <c:invertIfNegative val="1"/>
            <c:bubble3D val="0"/>
            <c:spPr>
              <a:solidFill>
                <a:srgbClr val="7ECAC4"/>
              </a:solidFill>
            </c:spPr>
            <c:extLst>
              <c:ext xmlns:c16="http://schemas.microsoft.com/office/drawing/2014/chart" uri="{C3380CC4-5D6E-409C-BE32-E72D297353CC}">
                <c16:uniqueId val="{00000181-2993-41DE-A2CB-63102DE87051}"/>
              </c:ext>
            </c:extLst>
          </c:dPt>
          <c:dPt>
            <c:idx val="192"/>
            <c:invertIfNegative val="1"/>
            <c:bubble3D val="0"/>
            <c:spPr>
              <a:solidFill>
                <a:srgbClr val="7ECAC4"/>
              </a:solidFill>
            </c:spPr>
            <c:extLst>
              <c:ext xmlns:c16="http://schemas.microsoft.com/office/drawing/2014/chart" uri="{C3380CC4-5D6E-409C-BE32-E72D297353CC}">
                <c16:uniqueId val="{00000183-2993-41DE-A2CB-63102DE87051}"/>
              </c:ext>
            </c:extLst>
          </c:dPt>
          <c:dPt>
            <c:idx val="193"/>
            <c:invertIfNegative val="1"/>
            <c:bubble3D val="0"/>
            <c:spPr>
              <a:solidFill>
                <a:srgbClr val="7ECAC4"/>
              </a:solidFill>
            </c:spPr>
            <c:extLst>
              <c:ext xmlns:c16="http://schemas.microsoft.com/office/drawing/2014/chart" uri="{C3380CC4-5D6E-409C-BE32-E72D297353CC}">
                <c16:uniqueId val="{00000185-2993-41DE-A2CB-63102DE87051}"/>
              </c:ext>
            </c:extLst>
          </c:dPt>
          <c:dPt>
            <c:idx val="194"/>
            <c:invertIfNegative val="1"/>
            <c:bubble3D val="0"/>
            <c:spPr>
              <a:solidFill>
                <a:srgbClr val="7ECAC4"/>
              </a:solidFill>
            </c:spPr>
            <c:extLst>
              <c:ext xmlns:c16="http://schemas.microsoft.com/office/drawing/2014/chart" uri="{C3380CC4-5D6E-409C-BE32-E72D297353CC}">
                <c16:uniqueId val="{00000187-2993-41DE-A2CB-63102DE87051}"/>
              </c:ext>
            </c:extLst>
          </c:dPt>
          <c:dPt>
            <c:idx val="195"/>
            <c:invertIfNegative val="1"/>
            <c:bubble3D val="0"/>
            <c:spPr>
              <a:solidFill>
                <a:srgbClr val="7ECAC4"/>
              </a:solidFill>
            </c:spPr>
            <c:extLst>
              <c:ext xmlns:c16="http://schemas.microsoft.com/office/drawing/2014/chart" uri="{C3380CC4-5D6E-409C-BE32-E72D297353CC}">
                <c16:uniqueId val="{00000189-2993-41DE-A2CB-63102DE87051}"/>
              </c:ext>
            </c:extLst>
          </c:dPt>
          <c:dPt>
            <c:idx val="196"/>
            <c:invertIfNegative val="1"/>
            <c:bubble3D val="0"/>
            <c:spPr>
              <a:solidFill>
                <a:srgbClr val="7ECAC4"/>
              </a:solidFill>
            </c:spPr>
            <c:extLst>
              <c:ext xmlns:c16="http://schemas.microsoft.com/office/drawing/2014/chart" uri="{C3380CC4-5D6E-409C-BE32-E72D297353CC}">
                <c16:uniqueId val="{0000018B-2993-41DE-A2CB-63102DE87051}"/>
              </c:ext>
            </c:extLst>
          </c:dPt>
          <c:dPt>
            <c:idx val="197"/>
            <c:invertIfNegative val="1"/>
            <c:bubble3D val="0"/>
            <c:spPr>
              <a:solidFill>
                <a:srgbClr val="7ECAC4"/>
              </a:solidFill>
            </c:spPr>
            <c:extLst>
              <c:ext xmlns:c16="http://schemas.microsoft.com/office/drawing/2014/chart" uri="{C3380CC4-5D6E-409C-BE32-E72D297353CC}">
                <c16:uniqueId val="{0000018D-2993-41DE-A2CB-63102DE87051}"/>
              </c:ext>
            </c:extLst>
          </c:dPt>
          <c:dPt>
            <c:idx val="198"/>
            <c:invertIfNegative val="1"/>
            <c:bubble3D val="0"/>
            <c:spPr>
              <a:solidFill>
                <a:srgbClr val="7ECAC4"/>
              </a:solidFill>
            </c:spPr>
            <c:extLst>
              <c:ext xmlns:c16="http://schemas.microsoft.com/office/drawing/2014/chart" uri="{C3380CC4-5D6E-409C-BE32-E72D297353CC}">
                <c16:uniqueId val="{0000018F-2993-41DE-A2CB-63102DE87051}"/>
              </c:ext>
            </c:extLst>
          </c:dPt>
          <c:dPt>
            <c:idx val="199"/>
            <c:invertIfNegative val="1"/>
            <c:bubble3D val="0"/>
            <c:spPr>
              <a:solidFill>
                <a:srgbClr val="7ECAC4"/>
              </a:solidFill>
            </c:spPr>
            <c:extLst>
              <c:ext xmlns:c16="http://schemas.microsoft.com/office/drawing/2014/chart" uri="{C3380CC4-5D6E-409C-BE32-E72D297353CC}">
                <c16:uniqueId val="{00000191-2993-41DE-A2CB-63102DE87051}"/>
              </c:ext>
            </c:extLst>
          </c:dPt>
          <c:dPt>
            <c:idx val="200"/>
            <c:invertIfNegative val="1"/>
            <c:bubble3D val="0"/>
            <c:spPr>
              <a:solidFill>
                <a:srgbClr val="7ECAC4"/>
              </a:solidFill>
            </c:spPr>
            <c:extLst>
              <c:ext xmlns:c16="http://schemas.microsoft.com/office/drawing/2014/chart" uri="{C3380CC4-5D6E-409C-BE32-E72D297353CC}">
                <c16:uniqueId val="{00000193-2993-41DE-A2CB-63102DE87051}"/>
              </c:ext>
            </c:extLst>
          </c:dPt>
          <c:dPt>
            <c:idx val="201"/>
            <c:invertIfNegative val="1"/>
            <c:bubble3D val="0"/>
            <c:spPr>
              <a:solidFill>
                <a:srgbClr val="7ECAC4"/>
              </a:solidFill>
            </c:spPr>
            <c:extLst>
              <c:ext xmlns:c16="http://schemas.microsoft.com/office/drawing/2014/chart" uri="{C3380CC4-5D6E-409C-BE32-E72D297353CC}">
                <c16:uniqueId val="{00000195-2993-41DE-A2CB-63102DE87051}"/>
              </c:ext>
            </c:extLst>
          </c:dPt>
          <c:dPt>
            <c:idx val="202"/>
            <c:invertIfNegative val="1"/>
            <c:bubble3D val="0"/>
            <c:spPr>
              <a:solidFill>
                <a:srgbClr val="7ECAC4"/>
              </a:solidFill>
            </c:spPr>
            <c:extLst>
              <c:ext xmlns:c16="http://schemas.microsoft.com/office/drawing/2014/chart" uri="{C3380CC4-5D6E-409C-BE32-E72D297353CC}">
                <c16:uniqueId val="{00000197-2993-41DE-A2CB-63102DE87051}"/>
              </c:ext>
            </c:extLst>
          </c:dPt>
          <c:dPt>
            <c:idx val="203"/>
            <c:invertIfNegative val="1"/>
            <c:bubble3D val="0"/>
            <c:spPr>
              <a:solidFill>
                <a:srgbClr val="7ECAC4"/>
              </a:solidFill>
            </c:spPr>
            <c:extLst>
              <c:ext xmlns:c16="http://schemas.microsoft.com/office/drawing/2014/chart" uri="{C3380CC4-5D6E-409C-BE32-E72D297353CC}">
                <c16:uniqueId val="{00000199-2993-41DE-A2CB-63102DE87051}"/>
              </c:ext>
            </c:extLst>
          </c:dPt>
          <c:dPt>
            <c:idx val="204"/>
            <c:invertIfNegative val="1"/>
            <c:bubble3D val="0"/>
            <c:spPr>
              <a:solidFill>
                <a:srgbClr val="7ECAC4"/>
              </a:solidFill>
            </c:spPr>
            <c:extLst>
              <c:ext xmlns:c16="http://schemas.microsoft.com/office/drawing/2014/chart" uri="{C3380CC4-5D6E-409C-BE32-E72D297353CC}">
                <c16:uniqueId val="{0000019B-2993-41DE-A2CB-63102DE87051}"/>
              </c:ext>
            </c:extLst>
          </c:dPt>
          <c:dPt>
            <c:idx val="205"/>
            <c:invertIfNegative val="1"/>
            <c:bubble3D val="0"/>
            <c:spPr>
              <a:solidFill>
                <a:srgbClr val="7ECAC4"/>
              </a:solidFill>
            </c:spPr>
            <c:extLst>
              <c:ext xmlns:c16="http://schemas.microsoft.com/office/drawing/2014/chart" uri="{C3380CC4-5D6E-409C-BE32-E72D297353CC}">
                <c16:uniqueId val="{0000019D-2993-41DE-A2CB-63102DE87051}"/>
              </c:ext>
            </c:extLst>
          </c:dPt>
          <c:dPt>
            <c:idx val="206"/>
            <c:invertIfNegative val="1"/>
            <c:bubble3D val="0"/>
            <c:spPr>
              <a:solidFill>
                <a:srgbClr val="7ECAC4"/>
              </a:solidFill>
            </c:spPr>
            <c:extLst>
              <c:ext xmlns:c16="http://schemas.microsoft.com/office/drawing/2014/chart" uri="{C3380CC4-5D6E-409C-BE32-E72D297353CC}">
                <c16:uniqueId val="{0000019F-2993-41DE-A2CB-63102DE87051}"/>
              </c:ext>
            </c:extLst>
          </c:dPt>
          <c:dPt>
            <c:idx val="207"/>
            <c:invertIfNegative val="1"/>
            <c:bubble3D val="0"/>
            <c:spPr>
              <a:solidFill>
                <a:srgbClr val="7ECAC4"/>
              </a:solidFill>
            </c:spPr>
            <c:extLst>
              <c:ext xmlns:c16="http://schemas.microsoft.com/office/drawing/2014/chart" uri="{C3380CC4-5D6E-409C-BE32-E72D297353CC}">
                <c16:uniqueId val="{000001A1-2993-41DE-A2CB-63102DE87051}"/>
              </c:ext>
            </c:extLst>
          </c:dPt>
          <c:dPt>
            <c:idx val="208"/>
            <c:invertIfNegative val="1"/>
            <c:bubble3D val="0"/>
            <c:spPr>
              <a:solidFill>
                <a:srgbClr val="7ECAC4"/>
              </a:solidFill>
            </c:spPr>
            <c:extLst>
              <c:ext xmlns:c16="http://schemas.microsoft.com/office/drawing/2014/chart" uri="{C3380CC4-5D6E-409C-BE32-E72D297353CC}">
                <c16:uniqueId val="{000001A3-2993-41DE-A2CB-63102DE87051}"/>
              </c:ext>
            </c:extLst>
          </c:dPt>
          <c:dPt>
            <c:idx val="209"/>
            <c:invertIfNegative val="1"/>
            <c:bubble3D val="0"/>
            <c:spPr>
              <a:solidFill>
                <a:srgbClr val="7ECAC4"/>
              </a:solidFill>
            </c:spPr>
            <c:extLst>
              <c:ext xmlns:c16="http://schemas.microsoft.com/office/drawing/2014/chart" uri="{C3380CC4-5D6E-409C-BE32-E72D297353CC}">
                <c16:uniqueId val="{000001A5-2993-41DE-A2CB-63102DE87051}"/>
              </c:ext>
            </c:extLst>
          </c:dPt>
          <c:dPt>
            <c:idx val="210"/>
            <c:spPr>
              <a:solidFill>
                <a:srgbClr val="7ECAC4"/>
              </a:solidFill>
            </c:spPr>
          </c:dPt>
          <c:dPt>
            <c:idx val="211"/>
            <c:spPr>
              <a:solidFill>
                <a:srgbClr val="7ECAC4"/>
              </a:solidFill>
            </c:spPr>
          </c:dPt>
          <c:dPt>
            <c:idx val="212"/>
            <c:spPr>
              <a:solidFill>
                <a:srgbClr val="7ECAC4"/>
              </a:solidFill>
            </c:spPr>
          </c:dPt>
          <c:dPt>
            <c:idx val="213"/>
            <c:spPr>
              <a:solidFill>
                <a:srgbClr val="7ECAC4"/>
              </a:solidFill>
            </c:spPr>
          </c:dPt>
          <c:dPt>
            <c:idx val="214"/>
            <c:spPr>
              <a:solidFill>
                <a:srgbClr val="7ECAC4"/>
              </a:solidFill>
            </c:spPr>
          </c:dPt>
          <c:dPt>
            <c:idx val="215"/>
            <c:spPr>
              <a:solidFill>
                <a:srgbClr val="7ECAC4"/>
              </a:solidFill>
            </c:spPr>
          </c:dPt>
          <c:dPt>
            <c:idx val="216"/>
            <c:spPr>
              <a:solidFill>
                <a:srgbClr val="7ECAC4"/>
              </a:solidFill>
            </c:spPr>
          </c:dPt>
          <c:dPt>
            <c:idx val="217"/>
            <c:spPr>
              <a:solidFill>
                <a:srgbClr val="7ECAC4"/>
              </a:solidFill>
            </c:spPr>
          </c:dPt>
          <c:dPt>
            <c:idx val="218"/>
            <c:spPr>
              <a:solidFill>
                <a:srgbClr val="7ECAC4"/>
              </a:solidFill>
            </c:spPr>
          </c:dPt>
          <c:dPt>
            <c:idx val="219"/>
            <c:spPr>
              <a:solidFill>
                <a:srgbClr val="7ECAC4"/>
              </a:solidFill>
            </c:spPr>
          </c:dPt>
          <c:dPt>
            <c:idx val="220"/>
            <c:spPr>
              <a:solidFill>
                <a:srgbClr val="7ECAC4"/>
              </a:solidFill>
            </c:spPr>
          </c:dPt>
          <c:dPt>
            <c:idx val="221"/>
            <c:spPr>
              <a:solidFill>
                <a:srgbClr val="7ECAC4"/>
              </a:solidFill>
            </c:spPr>
          </c:dPt>
          <c:dPt>
            <c:idx val="222"/>
            <c:spPr>
              <a:solidFill>
                <a:srgbClr val="7ECAC4"/>
              </a:solidFill>
            </c:spPr>
          </c:dPt>
          <c:dPt>
            <c:idx val="223"/>
            <c:spPr>
              <a:solidFill>
                <a:srgbClr val="7ECAC4"/>
              </a:solidFill>
            </c:spPr>
          </c:dPt>
          <c:dPt>
            <c:idx val="224"/>
            <c:spPr>
              <a:solidFill>
                <a:srgbClr val="7ECAC4"/>
              </a:solidFill>
            </c:spPr>
          </c:dPt>
          <c:dPt>
            <c:idx val="225"/>
            <c:spPr>
              <a:solidFill>
                <a:srgbClr val="7ECAC4"/>
              </a:solidFill>
            </c:spPr>
          </c:dPt>
          <c:dPt>
            <c:idx val="226"/>
            <c:spPr>
              <a:solidFill>
                <a:srgbClr val="7ECAC4"/>
              </a:solidFill>
            </c:spPr>
          </c:dPt>
          <c:dPt>
            <c:idx val="227"/>
            <c:spPr>
              <a:solidFill>
                <a:srgbClr val="7ECAC4"/>
              </a:solidFill>
            </c:spPr>
          </c:dPt>
          <c:dPt>
            <c:idx val="228"/>
            <c:spPr>
              <a:solidFill>
                <a:srgbClr val="7ECAC4"/>
              </a:solidFill>
            </c:spPr>
          </c:dPt>
          <c:dPt>
            <c:idx val="229"/>
            <c:spPr>
              <a:solidFill>
                <a:srgbClr val="7ECAC4"/>
              </a:solidFill>
            </c:spPr>
          </c:dPt>
          <c:dPt>
            <c:idx val="230"/>
            <c:spPr>
              <a:solidFill>
                <a:srgbClr val="7ECAC4"/>
              </a:solidFill>
            </c:spPr>
          </c:dPt>
          <c:dPt>
            <c:idx val="231"/>
            <c:spPr>
              <a:solidFill>
                <a:srgbClr val="7ECAC4"/>
              </a:solidFill>
            </c:spPr>
          </c:dPt>
          <c:dPt>
            <c:idx val="232"/>
            <c:spPr>
              <a:solidFill>
                <a:srgbClr val="7ECAC4"/>
              </a:solidFill>
            </c:spPr>
          </c:dPt>
          <c:dPt>
            <c:idx val="233"/>
            <c:spPr>
              <a:solidFill>
                <a:srgbClr val="7ECAC4"/>
              </a:solidFill>
            </c:spPr>
          </c:dPt>
          <c:dPt>
            <c:idx val="234"/>
            <c:spPr>
              <a:solidFill>
                <a:srgbClr val="7ECAC4"/>
              </a:solidFill>
            </c:spPr>
          </c:dPt>
          <c:dPt>
            <c:idx val="235"/>
            <c:spPr>
              <a:solidFill>
                <a:srgbClr val="7ECAC4"/>
              </a:solidFill>
            </c:spPr>
          </c:dPt>
          <c:dPt>
            <c:idx val="236"/>
            <c:spPr>
              <a:solidFill>
                <a:srgbClr val="7ECAC4"/>
              </a:solidFill>
            </c:spPr>
          </c:dPt>
          <c:dPt>
            <c:idx val="237"/>
            <c:spPr>
              <a:solidFill>
                <a:srgbClr val="7ECAC4"/>
              </a:solidFill>
            </c:spPr>
          </c:dPt>
          <c:dPt>
            <c:idx val="238"/>
            <c:spPr>
              <a:solidFill>
                <a:srgbClr val="7ECAC4"/>
              </a:solidFill>
            </c:spPr>
          </c:dPt>
          <c:dPt>
            <c:idx val="239"/>
            <c:spPr>
              <a:solidFill>
                <a:srgbClr val="7ECAC4"/>
              </a:solidFill>
            </c:spPr>
          </c:dPt>
          <c:dPt>
            <c:idx val="240"/>
            <c:spPr>
              <a:solidFill>
                <a:srgbClr val="7ECAC4"/>
              </a:solidFill>
            </c:spPr>
          </c:dPt>
          <c:dPt>
            <c:idx val="241"/>
            <c:spPr>
              <a:solidFill>
                <a:srgbClr val="7ECAC4"/>
              </a:solidFill>
            </c:spPr>
          </c:dPt>
          <c:dPt>
            <c:idx val="242"/>
            <c:spPr>
              <a:solidFill>
                <a:srgbClr val="7ECAC4"/>
              </a:solidFill>
            </c:spPr>
          </c:dPt>
          <c:dPt>
            <c:idx val="243"/>
            <c:spPr>
              <a:solidFill>
                <a:srgbClr val="7ECAC4"/>
              </a:solidFill>
            </c:spPr>
          </c:dPt>
          <c:dPt>
            <c:idx val="244"/>
            <c:spPr>
              <a:solidFill>
                <a:srgbClr val="7ECAC4"/>
              </a:solidFill>
            </c:spPr>
          </c:dPt>
          <c:dPt>
            <c:idx val="245"/>
            <c:spPr>
              <a:solidFill>
                <a:srgbClr val="7ECAC4"/>
              </a:solidFill>
            </c:spPr>
          </c:dPt>
          <c:dPt>
            <c:idx val="246"/>
            <c:spPr>
              <a:solidFill>
                <a:srgbClr val="7ECAC4"/>
              </a:solidFill>
            </c:spPr>
          </c:dPt>
          <c:dPt>
            <c:idx val="247"/>
            <c:spPr>
              <a:solidFill>
                <a:srgbClr val="7ECAC4"/>
              </a:solidFill>
            </c:spPr>
          </c:dPt>
          <c:dPt>
            <c:idx val="248"/>
            <c:spPr>
              <a:solidFill>
                <a:srgbClr val="7ECAC4"/>
              </a:solidFill>
            </c:spPr>
          </c:dPt>
          <c:dPt>
            <c:idx val="249"/>
            <c:spPr>
              <a:solidFill>
                <a:srgbClr val="7ECAC4"/>
              </a:solidFill>
            </c:spPr>
          </c:dPt>
          <c:dPt>
            <c:idx val="250"/>
            <c:spPr>
              <a:solidFill>
                <a:srgbClr val="7ECAC4"/>
              </a:solidFill>
            </c:spPr>
          </c:dPt>
          <c:dPt>
            <c:idx val="251"/>
            <c:spPr>
              <a:solidFill>
                <a:srgbClr val="7ECAC4"/>
              </a:solidFill>
            </c:spPr>
          </c:dPt>
          <c:dPt>
            <c:idx val="252"/>
            <c:spPr>
              <a:solidFill>
                <a:srgbClr val="7ECAC4"/>
              </a:solidFill>
            </c:spPr>
          </c:dPt>
          <c:dPt>
            <c:idx val="253"/>
            <c:spPr>
              <a:solidFill>
                <a:srgbClr val="7ECAC4"/>
              </a:solidFill>
            </c:spPr>
          </c:dPt>
          <c:dPt>
            <c:idx val="254"/>
            <c:spPr>
              <a:solidFill>
                <a:srgbClr val="7ECAC4"/>
              </a:solidFill>
            </c:spPr>
          </c:dPt>
          <c:dPt>
            <c:idx val="255"/>
            <c:spPr>
              <a:solidFill>
                <a:srgbClr val="7ECAC4"/>
              </a:solidFill>
            </c:spPr>
          </c:dPt>
          <c:dPt>
            <c:idx val="256"/>
            <c:spPr>
              <a:solidFill>
                <a:srgbClr val="7ECAC4"/>
              </a:solidFill>
            </c:spPr>
          </c:dPt>
          <c:dPt>
            <c:idx val="257"/>
            <c:spPr>
              <a:solidFill>
                <a:srgbClr val="7ECAC4"/>
              </a:solidFill>
            </c:spPr>
          </c:dPt>
          <c:dPt>
            <c:idx val="258"/>
            <c:spPr>
              <a:solidFill>
                <a:srgbClr val="7ECAC4"/>
              </a:solidFill>
            </c:spPr>
          </c:dPt>
          <c:dPt>
            <c:idx val="259"/>
            <c:spPr>
              <a:solidFill>
                <a:srgbClr val="7ECAC4"/>
              </a:solidFill>
            </c:spPr>
          </c:dPt>
          <c:dPt>
            <c:idx val="260"/>
            <c:spPr>
              <a:solidFill>
                <a:srgbClr val="7ECAC4"/>
              </a:solidFill>
            </c:spPr>
          </c:dPt>
          <c:dPt>
            <c:idx val="261"/>
            <c:spPr>
              <a:solidFill>
                <a:srgbClr val="7ECAC4"/>
              </a:solidFill>
            </c:spPr>
          </c:dPt>
          <c:dPt>
            <c:idx val="262"/>
            <c:spPr>
              <a:solidFill>
                <a:srgbClr val="7ECAC4"/>
              </a:solidFill>
            </c:spPr>
          </c:dPt>
          <c:dPt>
            <c:idx val="263"/>
            <c:spPr>
              <a:solidFill>
                <a:srgbClr val="7ECAC4"/>
              </a:solidFill>
            </c:spPr>
          </c:dPt>
          <c:dPt>
            <c:idx val="264"/>
            <c:spPr>
              <a:solidFill>
                <a:srgbClr val="7ECAC4"/>
              </a:solidFill>
            </c:spPr>
          </c:dPt>
          <c:dPt>
            <c:idx val="265"/>
            <c:spPr>
              <a:solidFill>
                <a:srgbClr val="7ECAC4"/>
              </a:solidFill>
            </c:spPr>
          </c:dPt>
          <c:dPt>
            <c:idx val="266"/>
            <c:spPr>
              <a:solidFill>
                <a:srgbClr val="7ECAC4"/>
              </a:solidFill>
            </c:spPr>
          </c:dPt>
          <c:dPt>
            <c:idx val="267"/>
            <c:spPr>
              <a:solidFill>
                <a:srgbClr val="7ECAC4"/>
              </a:solidFill>
            </c:spPr>
          </c:dPt>
          <c:dPt>
            <c:idx val="268"/>
            <c:spPr>
              <a:solidFill>
                <a:srgbClr val="7ECAC4"/>
              </a:solidFill>
            </c:spPr>
          </c:dPt>
          <c:dPt>
            <c:idx val="269"/>
            <c:spPr>
              <a:solidFill>
                <a:srgbClr val="7ECAC4"/>
              </a:solidFill>
            </c:spPr>
          </c:dPt>
          <c:dPt>
            <c:idx val="270"/>
            <c:spPr>
              <a:solidFill>
                <a:srgbClr val="7ECAC4"/>
              </a:solidFill>
            </c:spPr>
          </c:dPt>
          <c:dPt>
            <c:idx val="271"/>
            <c:spPr>
              <a:solidFill>
                <a:srgbClr val="7ECAC4"/>
              </a:solidFill>
            </c:spPr>
          </c:dPt>
          <c:dPt>
            <c:idx val="272"/>
            <c:spPr>
              <a:solidFill>
                <a:srgbClr val="7ECAC4"/>
              </a:solidFill>
            </c:spPr>
          </c:dPt>
          <c:dPt>
            <c:idx val="273"/>
            <c:spPr>
              <a:solidFill>
                <a:srgbClr val="7ECAC4"/>
              </a:solidFill>
            </c:spPr>
          </c:dPt>
          <c:dPt>
            <c:idx val="274"/>
            <c:spPr>
              <a:solidFill>
                <a:srgbClr val="7ECAC4"/>
              </a:solidFill>
            </c:spPr>
          </c:dPt>
          <c:dPt>
            <c:idx val="275"/>
            <c:spPr>
              <a:solidFill>
                <a:srgbClr val="7ECAC4"/>
              </a:solidFill>
            </c:spPr>
          </c:dPt>
          <c:dPt>
            <c:idx val="276"/>
            <c:spPr>
              <a:solidFill>
                <a:srgbClr val="7ECAC4"/>
              </a:solidFill>
            </c:spPr>
          </c:dPt>
          <c:dPt>
            <c:idx val="277"/>
            <c:spPr>
              <a:solidFill>
                <a:srgbClr val="7ECAC4"/>
              </a:solidFill>
            </c:spPr>
          </c:dPt>
          <c:dPt>
            <c:idx val="278"/>
            <c:spPr>
              <a:solidFill>
                <a:srgbClr val="7ECAC4"/>
              </a:solidFill>
            </c:spPr>
          </c:dPt>
          <c:dPt>
            <c:idx val="279"/>
            <c:spPr>
              <a:solidFill>
                <a:srgbClr val="7ECAC4"/>
              </a:solidFill>
            </c:spPr>
          </c:dPt>
          <c:dPt>
            <c:idx val="280"/>
            <c:spPr>
              <a:solidFill>
                <a:srgbClr val="7ECAC4"/>
              </a:solidFill>
            </c:spPr>
          </c:dPt>
          <c:dPt>
            <c:idx val="281"/>
            <c:spPr>
              <a:solidFill>
                <a:srgbClr val="7ECAC4"/>
              </a:solidFill>
            </c:spPr>
          </c:dPt>
          <c:dPt>
            <c:idx val="282"/>
            <c:spPr>
              <a:solidFill>
                <a:srgbClr val="7ECAC4"/>
              </a:solidFill>
            </c:spPr>
          </c:dPt>
          <c:dPt>
            <c:idx val="283"/>
            <c:spPr>
              <a:solidFill>
                <a:srgbClr val="7ECAC4"/>
              </a:solidFill>
            </c:spPr>
          </c:dPt>
          <c:dPt>
            <c:idx val="284"/>
            <c:spPr>
              <a:solidFill>
                <a:srgbClr val="7ECAC4"/>
              </a:solidFill>
            </c:spPr>
          </c:dPt>
          <c:dPt>
            <c:idx val="285"/>
            <c:spPr>
              <a:solidFill>
                <a:srgbClr val="7ECAC4"/>
              </a:solidFill>
            </c:spPr>
          </c:dPt>
          <c:dPt>
            <c:idx val="286"/>
            <c:spPr>
              <a:solidFill>
                <a:srgbClr val="7ECAC4"/>
              </a:solidFill>
            </c:spPr>
          </c:dPt>
          <c:dPt>
            <c:idx val="287"/>
            <c:spPr>
              <a:solidFill>
                <a:srgbClr val="7ECAC4"/>
              </a:solidFill>
            </c:spPr>
          </c:dPt>
          <c:dPt>
            <c:idx val="288"/>
            <c:spPr>
              <a:solidFill>
                <a:srgbClr val="7ECAC4"/>
              </a:solidFill>
            </c:spPr>
          </c:dPt>
          <c:dPt>
            <c:idx val="289"/>
            <c:spPr>
              <a:solidFill>
                <a:srgbClr val="7ECAC4"/>
              </a:solidFill>
            </c:spPr>
          </c:dPt>
          <c:dPt>
            <c:idx val="290"/>
            <c:spPr>
              <a:solidFill>
                <a:srgbClr val="7ECAC4"/>
              </a:solidFill>
            </c:spPr>
          </c:dPt>
          <c:dPt>
            <c:idx val="291"/>
            <c:spPr>
              <a:solidFill>
                <a:srgbClr val="7ECAC4"/>
              </a:solidFill>
            </c:spPr>
          </c:dPt>
          <c:dPt>
            <c:idx val="292"/>
            <c:spPr>
              <a:solidFill>
                <a:srgbClr val="7ECAC4"/>
              </a:solidFill>
            </c:spPr>
          </c:dPt>
          <c:dPt>
            <c:idx val="293"/>
            <c:spPr>
              <a:solidFill>
                <a:srgbClr val="7ECAC4"/>
              </a:solidFill>
            </c:spPr>
          </c:dPt>
          <c:dPt>
            <c:idx val="294"/>
            <c:spPr>
              <a:solidFill>
                <a:srgbClr val="7ECAC4"/>
              </a:solidFill>
            </c:spPr>
          </c:dPt>
          <c:dPt>
            <c:idx val="295"/>
            <c:spPr>
              <a:solidFill>
                <a:srgbClr val="7ECAC4"/>
              </a:solidFill>
            </c:spPr>
          </c:dPt>
          <c:dPt>
            <c:idx val="296"/>
            <c:spPr>
              <a:solidFill>
                <a:srgbClr val="7ECAC4"/>
              </a:solidFill>
            </c:spPr>
          </c:dPt>
          <c:dPt>
            <c:idx val="297"/>
            <c:spPr>
              <a:solidFill>
                <a:srgbClr val="7ECAC4"/>
              </a:solidFill>
            </c:spPr>
          </c:dPt>
          <c:dPt>
            <c:idx val="298"/>
            <c:spPr>
              <a:solidFill>
                <a:srgbClr val="7ECAC4"/>
              </a:solidFill>
            </c:spPr>
          </c:dPt>
          <c:dPt>
            <c:idx val="299"/>
            <c:spPr>
              <a:solidFill>
                <a:srgbClr val="7ECAC4"/>
              </a:solidFill>
            </c:spPr>
          </c:dPt>
          <c:dPt>
            <c:idx val="300"/>
            <c:spPr>
              <a:solidFill>
                <a:srgbClr val="7ECAC4"/>
              </a:solidFill>
            </c:spPr>
          </c:dPt>
          <c:dPt>
            <c:idx val="301"/>
            <c:spPr>
              <a:solidFill>
                <a:srgbClr val="7ECAC4"/>
              </a:solidFill>
            </c:spPr>
          </c:dPt>
          <c:dPt>
            <c:idx val="302"/>
            <c:spPr>
              <a:solidFill>
                <a:srgbClr val="7ECAC4"/>
              </a:solidFill>
            </c:spPr>
          </c:dPt>
          <c:dPt>
            <c:idx val="303"/>
            <c:spPr>
              <a:solidFill>
                <a:srgbClr val="7ECAC4"/>
              </a:solidFill>
            </c:spPr>
          </c:dPt>
          <c:dPt>
            <c:idx val="304"/>
            <c:spPr>
              <a:solidFill>
                <a:srgbClr val="7ECAC4"/>
              </a:solidFill>
            </c:spPr>
          </c:dPt>
          <c:dPt>
            <c:idx val="305"/>
            <c:spPr>
              <a:solidFill>
                <a:srgbClr val="7ECAC4"/>
              </a:solidFill>
            </c:spPr>
          </c:dPt>
          <c:dPt>
            <c:idx val="306"/>
            <c:spPr>
              <a:solidFill>
                <a:srgbClr val="7ECAC4"/>
              </a:solidFill>
            </c:spPr>
          </c:dPt>
          <c:dPt>
            <c:idx val="307"/>
            <c:spPr>
              <a:solidFill>
                <a:srgbClr val="7ECAC4"/>
              </a:solidFill>
            </c:spPr>
          </c:dPt>
          <c:dPt>
            <c:idx val="308"/>
            <c:spPr>
              <a:solidFill>
                <a:srgbClr val="7ECAC4"/>
              </a:solidFill>
            </c:spPr>
          </c:dPt>
          <c:dPt>
            <c:idx val="309"/>
            <c:spPr>
              <a:solidFill>
                <a:srgbClr val="7ECAC4"/>
              </a:solidFill>
            </c:spPr>
          </c:dPt>
          <c:dPt>
            <c:idx val="310"/>
            <c:spPr>
              <a:solidFill>
                <a:srgbClr val="7ECAC4"/>
              </a:solidFill>
            </c:spPr>
          </c:dPt>
          <c:dPt>
            <c:idx val="311"/>
            <c:spPr>
              <a:solidFill>
                <a:srgbClr val="7ECAC4"/>
              </a:solidFill>
            </c:spPr>
          </c:dPt>
          <c:dPt>
            <c:idx val="312"/>
            <c:spPr>
              <a:solidFill>
                <a:srgbClr val="7ECAC4"/>
              </a:solidFill>
            </c:spPr>
          </c:dPt>
          <c:dPt>
            <c:idx val="313"/>
            <c:spPr>
              <a:solidFill>
                <a:srgbClr val="7ECAC4"/>
              </a:solidFill>
            </c:spPr>
          </c:dPt>
          <c:dPt>
            <c:idx val="314"/>
            <c:spPr>
              <a:solidFill>
                <a:srgbClr val="7ECAC4"/>
              </a:solidFill>
            </c:spPr>
          </c:dPt>
          <c:dPt>
            <c:idx val="315"/>
            <c:spPr>
              <a:solidFill>
                <a:srgbClr val="7ECAC4"/>
              </a:solidFill>
            </c:spPr>
          </c:dPt>
          <c:dPt>
            <c:idx val="316"/>
            <c:spPr>
              <a:solidFill>
                <a:srgbClr val="7ECAC4"/>
              </a:solidFill>
            </c:spPr>
          </c:dPt>
          <c:dPt>
            <c:idx val="317"/>
            <c:spPr>
              <a:solidFill>
                <a:srgbClr val="7ECAC4"/>
              </a:solidFill>
            </c:spPr>
          </c:dPt>
          <c:dPt>
            <c:idx val="318"/>
            <c:spPr>
              <a:solidFill>
                <a:srgbClr val="7ECAC4"/>
              </a:solidFill>
            </c:spPr>
          </c:dPt>
          <c:dPt>
            <c:idx val="319"/>
            <c:spPr>
              <a:solidFill>
                <a:srgbClr val="7ECAC4"/>
              </a:solidFill>
            </c:spPr>
          </c:dPt>
          <c:dPt>
            <c:idx val="320"/>
            <c:spPr>
              <a:solidFill>
                <a:srgbClr val="7ECAC4"/>
              </a:solidFill>
            </c:spPr>
          </c:dPt>
          <c:dPt>
            <c:idx val="321"/>
            <c:spPr>
              <a:solidFill>
                <a:srgbClr val="7ECAC4"/>
              </a:solidFill>
            </c:spPr>
          </c:dPt>
          <c:dPt>
            <c:idx val="322"/>
            <c:spPr>
              <a:solidFill>
                <a:srgbClr val="7ECAC4"/>
              </a:solidFill>
            </c:spPr>
          </c:dPt>
          <c:dPt>
            <c:idx val="323"/>
            <c:spPr>
              <a:solidFill>
                <a:srgbClr val="7ECAC4"/>
              </a:solidFill>
            </c:spPr>
          </c:dPt>
          <c:dPt>
            <c:idx val="324"/>
            <c:spPr>
              <a:solidFill>
                <a:srgbClr val="7ECAC4"/>
              </a:solidFill>
            </c:spPr>
          </c:dPt>
          <c:dPt>
            <c:idx val="325"/>
            <c:spPr>
              <a:solidFill>
                <a:srgbClr val="7ECAC4"/>
              </a:solidFill>
            </c:spPr>
          </c:dPt>
          <c:dPt>
            <c:idx val="326"/>
            <c:spPr>
              <a:solidFill>
                <a:srgbClr val="7ECAC4"/>
              </a:solidFill>
            </c:spPr>
          </c:dPt>
          <c:dPt>
            <c:idx val="327"/>
            <c:spPr>
              <a:solidFill>
                <a:srgbClr val="7ECAC4"/>
              </a:solidFill>
            </c:spPr>
          </c:dPt>
          <c:dPt>
            <c:idx val="328"/>
            <c:spPr>
              <a:solidFill>
                <a:srgbClr val="7ECAC4"/>
              </a:solidFill>
            </c:spPr>
          </c:dPt>
          <c:dPt>
            <c:idx val="329"/>
            <c:spPr>
              <a:solidFill>
                <a:srgbClr val="7ECAC4"/>
              </a:solidFill>
            </c:spPr>
          </c:dPt>
          <c:dPt>
            <c:idx val="330"/>
            <c:spPr>
              <a:solidFill>
                <a:srgbClr val="7ECAC4"/>
              </a:solidFill>
            </c:spPr>
          </c:dPt>
          <c:dPt>
            <c:idx val="331"/>
            <c:spPr>
              <a:solidFill>
                <a:srgbClr val="7ECAC4"/>
              </a:solidFill>
            </c:spPr>
          </c:dPt>
          <c:dPt>
            <c:idx val="332"/>
            <c:spPr>
              <a:solidFill>
                <a:srgbClr val="7ECAC4"/>
              </a:solidFill>
            </c:spPr>
          </c:dPt>
          <c:dPt>
            <c:idx val="333"/>
            <c:spPr>
              <a:solidFill>
                <a:srgbClr val="7ECAC4"/>
              </a:solidFill>
            </c:spPr>
          </c:dPt>
          <c:dPt>
            <c:idx val="334"/>
            <c:spPr>
              <a:solidFill>
                <a:srgbClr val="7ECAC4"/>
              </a:solidFill>
            </c:spPr>
          </c:dPt>
          <c:dPt>
            <c:idx val="335"/>
            <c:spPr>
              <a:solidFill>
                <a:srgbClr val="7ECAC4"/>
              </a:solidFill>
            </c:spPr>
          </c:dPt>
          <c:dPt>
            <c:idx val="336"/>
            <c:spPr>
              <a:solidFill>
                <a:srgbClr val="7ECAC4"/>
              </a:solidFill>
            </c:spPr>
          </c:dPt>
          <c:dPt>
            <c:idx val="337"/>
            <c:spPr>
              <a:solidFill>
                <a:srgbClr val="7ECAC4"/>
              </a:solidFill>
            </c:spPr>
          </c:dPt>
          <c:dPt>
            <c:idx val="338"/>
            <c:spPr>
              <a:solidFill>
                <a:srgbClr val="7ECAC4"/>
              </a:solidFill>
            </c:spPr>
          </c:dPt>
          <c:dPt>
            <c:idx val="339"/>
            <c:spPr>
              <a:solidFill>
                <a:srgbClr val="7ECAC4"/>
              </a:solidFill>
            </c:spPr>
          </c:dPt>
          <c:dPt>
            <c:idx val="340"/>
            <c:spPr>
              <a:solidFill>
                <a:srgbClr val="7ECAC4"/>
              </a:solidFill>
            </c:spPr>
          </c:dPt>
          <c:dPt>
            <c:idx val="341"/>
            <c:spPr>
              <a:solidFill>
                <a:srgbClr val="7ECAC4"/>
              </a:solidFill>
            </c:spPr>
          </c:dPt>
          <c:dPt>
            <c:idx val="342"/>
            <c:spPr>
              <a:solidFill>
                <a:srgbClr val="7ECAC4"/>
              </a:solidFill>
            </c:spPr>
          </c:dPt>
          <c:dPt>
            <c:idx val="343"/>
            <c:spPr>
              <a:solidFill>
                <a:srgbClr val="7ECAC4"/>
              </a:solidFill>
            </c:spPr>
          </c:dPt>
          <c:dPt>
            <c:idx val="344"/>
            <c:spPr>
              <a:solidFill>
                <a:srgbClr val="7ECAC4"/>
              </a:solidFill>
            </c:spPr>
          </c:dPt>
          <c:dPt>
            <c:idx val="345"/>
            <c:spPr>
              <a:solidFill>
                <a:srgbClr val="7ECAC4"/>
              </a:solidFill>
            </c:spPr>
          </c:dPt>
          <c:dPt>
            <c:idx val="346"/>
            <c:spPr>
              <a:solidFill>
                <a:srgbClr val="7ECAC4"/>
              </a:solidFill>
            </c:spPr>
          </c:dPt>
          <c:dPt>
            <c:idx val="347"/>
            <c:spPr>
              <a:solidFill>
                <a:srgbClr val="7ECAC4"/>
              </a:solidFill>
            </c:spPr>
          </c:dPt>
          <c:dPt>
            <c:idx val="348"/>
            <c:spPr>
              <a:solidFill>
                <a:srgbClr val="7ECAC4"/>
              </a:solidFill>
            </c:spPr>
          </c:dPt>
          <c:dPt>
            <c:idx val="349"/>
            <c:spPr>
              <a:solidFill>
                <a:srgbClr val="7ECAC4"/>
              </a:solidFill>
            </c:spPr>
          </c:dPt>
          <c:dPt>
            <c:idx val="350"/>
            <c:spPr>
              <a:solidFill>
                <a:srgbClr val="7ECAC4"/>
              </a:solidFill>
            </c:spPr>
          </c:dPt>
          <c:dPt>
            <c:idx val="351"/>
            <c:spPr>
              <a:solidFill>
                <a:srgbClr val="7ECAC4"/>
              </a:solidFill>
            </c:spPr>
          </c:dPt>
          <c:dPt>
            <c:idx val="352"/>
            <c:spPr>
              <a:solidFill>
                <a:srgbClr val="7ECAC4"/>
              </a:solidFill>
            </c:spPr>
          </c:dPt>
          <c:dPt>
            <c:idx val="353"/>
            <c:spPr>
              <a:solidFill>
                <a:srgbClr val="7ECAC4"/>
              </a:solidFill>
            </c:spPr>
          </c:dPt>
          <c:dPt>
            <c:idx val="354"/>
            <c:spPr>
              <a:solidFill>
                <a:srgbClr val="7ECAC4"/>
              </a:solidFill>
            </c:spPr>
          </c:dPt>
          <c:dPt>
            <c:idx val="355"/>
            <c:spPr>
              <a:solidFill>
                <a:srgbClr val="7ECAC4"/>
              </a:solidFill>
            </c:spPr>
          </c:dPt>
          <c:dPt>
            <c:idx val="356"/>
            <c:spPr>
              <a:solidFill>
                <a:srgbClr val="7ECAC4"/>
              </a:solidFill>
            </c:spPr>
          </c:dPt>
          <c:dPt>
            <c:idx val="357"/>
            <c:spPr>
              <a:solidFill>
                <a:srgbClr val="7ECAC4"/>
              </a:solidFill>
            </c:spPr>
          </c:dPt>
          <c:dPt>
            <c:idx val="358"/>
            <c:spPr>
              <a:solidFill>
                <a:srgbClr val="7ECAC4"/>
              </a:solidFill>
            </c:spPr>
          </c:dPt>
          <c:dPt>
            <c:idx val="359"/>
            <c:spPr>
              <a:solidFill>
                <a:srgbClr val="7ECAC4"/>
              </a:solidFill>
            </c:spPr>
          </c:dPt>
          <c:dPt>
            <c:idx val="360"/>
            <c:spPr>
              <a:solidFill>
                <a:srgbClr val="7ECAC4"/>
              </a:solidFill>
            </c:spPr>
          </c:dPt>
          <c:dPt>
            <c:idx val="361"/>
            <c:spPr>
              <a:solidFill>
                <a:srgbClr val="7ECAC4"/>
              </a:solidFill>
            </c:spPr>
          </c:dPt>
          <c:dPt>
            <c:idx val="362"/>
            <c:spPr>
              <a:solidFill>
                <a:srgbClr val="7ECAC4"/>
              </a:solidFill>
            </c:spPr>
          </c:dPt>
          <c:dPt>
            <c:idx val="363"/>
            <c:spPr>
              <a:solidFill>
                <a:srgbClr val="7ECAC4"/>
              </a:solidFill>
            </c:spPr>
          </c:dPt>
          <c:dPt>
            <c:idx val="364"/>
            <c:spPr>
              <a:solidFill>
                <a:srgbClr val="7ECAC4"/>
              </a:solidFill>
            </c:spPr>
          </c:dPt>
          <c:dPt>
            <c:idx val="365"/>
            <c:spPr>
              <a:solidFill>
                <a:srgbClr val="7ECAC4"/>
              </a:solidFill>
            </c:spPr>
          </c:dPt>
          <c:dPt>
            <c:idx val="366"/>
            <c:spPr>
              <a:solidFill>
                <a:srgbClr val="AEABAB"/>
              </a:solidFill>
            </c:spPr>
          </c:dPt>
          <c:dPt>
            <c:idx val="367"/>
            <c:spPr>
              <a:solidFill>
                <a:srgbClr val="AEABAB"/>
              </a:solidFill>
            </c:spPr>
          </c:dPt>
          <c:dPt>
            <c:idx val="368"/>
            <c:spPr>
              <a:solidFill>
                <a:srgbClr val="AEABAB"/>
              </a:solidFill>
            </c:spPr>
          </c:dPt>
          <c:dPt>
            <c:idx val="369"/>
            <c:spPr>
              <a:solidFill>
                <a:srgbClr val="AEABAB"/>
              </a:solidFill>
            </c:spPr>
          </c:dPt>
          <c:dPt>
            <c:idx val="370"/>
            <c:spPr>
              <a:solidFill>
                <a:srgbClr val="AEABAB"/>
              </a:solidFill>
            </c:spPr>
          </c:dPt>
          <c:dPt>
            <c:idx val="371"/>
            <c:spPr>
              <a:solidFill>
                <a:srgbClr val="AEABAB"/>
              </a:solidFill>
            </c:spPr>
          </c:dPt>
          <c:dPt>
            <c:idx val="372"/>
            <c:spPr>
              <a:solidFill>
                <a:srgbClr val="AEABAB"/>
              </a:solidFill>
            </c:spPr>
          </c:dPt>
          <c:dPt>
            <c:idx val="373"/>
            <c:spPr>
              <a:solidFill>
                <a:srgbClr val="AEABAB"/>
              </a:solidFill>
            </c:spPr>
          </c:dPt>
          <c:dPt>
            <c:idx val="374"/>
            <c:spPr>
              <a:solidFill>
                <a:srgbClr val="AEABAB"/>
              </a:solidFill>
            </c:spPr>
          </c:dPt>
          <c:dPt>
            <c:idx val="375"/>
            <c:spPr>
              <a:solidFill>
                <a:srgbClr val="AEABAB"/>
              </a:solidFill>
            </c:spPr>
          </c:dPt>
          <c:dPt>
            <c:idx val="376"/>
            <c:spPr>
              <a:solidFill>
                <a:srgbClr val="AEABAB"/>
              </a:solidFill>
            </c:spPr>
          </c:dPt>
          <c:dPt>
            <c:idx val="377"/>
            <c:spPr>
              <a:solidFill>
                <a:srgbClr val="AEABAB"/>
              </a:solidFill>
            </c:spPr>
          </c:dPt>
          <c:dPt>
            <c:idx val="378"/>
            <c:spPr>
              <a:solidFill>
                <a:srgbClr val="AEABAB"/>
              </a:solidFill>
            </c:spPr>
          </c:dPt>
          <c:dPt>
            <c:idx val="379"/>
            <c:spPr>
              <a:solidFill>
                <a:srgbClr val="AEABAB"/>
              </a:solidFill>
            </c:spPr>
          </c:dPt>
          <c:dPt>
            <c:idx val="380"/>
            <c:spPr>
              <a:solidFill>
                <a:srgbClr val="AEABAB"/>
              </a:solidFill>
            </c:spPr>
          </c:dPt>
          <c:dPt>
            <c:idx val="381"/>
            <c:spPr>
              <a:solidFill>
                <a:srgbClr val="AEABAB"/>
              </a:solidFill>
            </c:spPr>
          </c:dPt>
          <c:dPt>
            <c:idx val="382"/>
            <c:spPr>
              <a:solidFill>
                <a:srgbClr val="AEABAB"/>
              </a:solidFill>
            </c:spPr>
          </c:dPt>
          <c:dPt>
            <c:idx val="383"/>
            <c:spPr>
              <a:solidFill>
                <a:srgbClr val="AEABAB"/>
              </a:solidFill>
            </c:spPr>
          </c:dPt>
          <c:dPt>
            <c:idx val="384"/>
            <c:spPr>
              <a:solidFill>
                <a:srgbClr val="AEABAB"/>
              </a:solidFill>
            </c:spPr>
          </c:dPt>
          <c:dPt>
            <c:idx val="385"/>
            <c:spPr>
              <a:solidFill>
                <a:srgbClr val="AEABAB"/>
              </a:solidFill>
            </c:spPr>
          </c:dPt>
          <c:dPt>
            <c:idx val="386"/>
            <c:spPr>
              <a:solidFill>
                <a:srgbClr val="AEABAB"/>
              </a:solidFill>
            </c:spPr>
          </c:dPt>
          <c:dPt>
            <c:idx val="387"/>
            <c:spPr>
              <a:solidFill>
                <a:srgbClr val="AEABAB"/>
              </a:solidFill>
            </c:spPr>
          </c:dPt>
          <c:dPt>
            <c:idx val="388"/>
            <c:spPr>
              <a:solidFill>
                <a:srgbClr val="AEABAB"/>
              </a:solidFill>
            </c:spPr>
          </c:dPt>
          <c:dPt>
            <c:idx val="389"/>
            <c:spPr>
              <a:solidFill>
                <a:srgbClr val="AEABAB"/>
              </a:solidFill>
            </c:spPr>
          </c:dPt>
          <c:dPt>
            <c:idx val="390"/>
            <c:spPr>
              <a:solidFill>
                <a:srgbClr val="AEABAB"/>
              </a:solidFill>
            </c:spPr>
          </c:dPt>
          <c:dPt>
            <c:idx val="391"/>
            <c:spPr>
              <a:solidFill>
                <a:srgbClr val="AEABAB"/>
              </a:solidFill>
            </c:spPr>
          </c:dPt>
          <c:dPt>
            <c:idx val="392"/>
            <c:spPr>
              <a:solidFill>
                <a:srgbClr val="AEABAB"/>
              </a:solidFill>
            </c:spPr>
          </c:dPt>
          <c:dPt>
            <c:idx val="393"/>
            <c:spPr>
              <a:solidFill>
                <a:srgbClr val="AEABAB"/>
              </a:solidFill>
            </c:spPr>
          </c:dPt>
          <c:dPt>
            <c:idx val="394"/>
            <c:spPr>
              <a:solidFill>
                <a:srgbClr val="AEABAB"/>
              </a:solidFill>
            </c:spPr>
          </c:dPt>
          <c:dPt>
            <c:idx val="395"/>
            <c:spPr>
              <a:solidFill>
                <a:srgbClr val="AEABAB"/>
              </a:solidFill>
            </c:spPr>
          </c:dPt>
          <c:dPt>
            <c:idx val="396"/>
            <c:spPr>
              <a:solidFill>
                <a:srgbClr val="AEABAB"/>
              </a:solidFill>
            </c:spPr>
          </c:dPt>
          <c:dPt>
            <c:idx val="397"/>
            <c:spPr>
              <a:solidFill>
                <a:srgbClr val="AEABAB"/>
              </a:solidFill>
            </c:spPr>
          </c:dPt>
          <c:dPt>
            <c:idx val="398"/>
            <c:spPr>
              <a:solidFill>
                <a:srgbClr val="AEABAB"/>
              </a:solidFill>
            </c:spPr>
          </c:dPt>
          <c:dPt>
            <c:idx val="399"/>
            <c:spPr>
              <a:solidFill>
                <a:srgbClr val="AEABAB"/>
              </a:solidFill>
            </c:spPr>
          </c:dPt>
          <c:dPt>
            <c:idx val="400"/>
            <c:spPr>
              <a:solidFill>
                <a:srgbClr val="AEABAB"/>
              </a:solidFill>
            </c:spPr>
          </c:dPt>
          <c:dPt>
            <c:idx val="401"/>
            <c:spPr>
              <a:solidFill>
                <a:srgbClr val="AEABAB"/>
              </a:solidFill>
            </c:spPr>
          </c:dPt>
          <c:dPt>
            <c:idx val="402"/>
            <c:spPr>
              <a:solidFill>
                <a:srgbClr val="AEABAB"/>
              </a:solidFill>
            </c:spPr>
          </c:dPt>
          <c:dPt>
            <c:idx val="403"/>
            <c:spPr>
              <a:solidFill>
                <a:srgbClr val="AEABAB"/>
              </a:solidFill>
            </c:spPr>
          </c:dPt>
          <c:dPt>
            <c:idx val="404"/>
            <c:spPr>
              <a:solidFill>
                <a:srgbClr val="AEABAB"/>
              </a:solidFill>
            </c:spPr>
          </c:dPt>
          <c:dPt>
            <c:idx val="405"/>
            <c:spPr>
              <a:solidFill>
                <a:srgbClr val="AEABAB"/>
              </a:solidFill>
            </c:spPr>
          </c:dPt>
          <c:dPt>
            <c:idx val="406"/>
            <c:spPr>
              <a:solidFill>
                <a:srgbClr val="AEABAB"/>
              </a:solidFill>
            </c:spPr>
          </c:dPt>
          <c:dPt>
            <c:idx val="407"/>
            <c:spPr>
              <a:solidFill>
                <a:srgbClr val="AEABAB"/>
              </a:solidFill>
            </c:spPr>
          </c:dPt>
          <c:dPt>
            <c:idx val="408"/>
            <c:spPr>
              <a:solidFill>
                <a:srgbClr val="AEABAB"/>
              </a:solidFill>
            </c:spPr>
          </c:dPt>
          <c:dPt>
            <c:idx val="409"/>
            <c:spPr>
              <a:solidFill>
                <a:srgbClr val="AEABAB"/>
              </a:solidFill>
            </c:spPr>
          </c:dPt>
          <c:dPt>
            <c:idx val="410"/>
            <c:spPr>
              <a:solidFill>
                <a:srgbClr val="AEABAB"/>
              </a:solidFill>
            </c:spPr>
          </c:dPt>
          <c:dPt>
            <c:idx val="411"/>
            <c:spPr>
              <a:solidFill>
                <a:srgbClr val="AEABAB"/>
              </a:solidFill>
            </c:spPr>
          </c:dPt>
          <c:dPt>
            <c:idx val="412"/>
            <c:spPr>
              <a:solidFill>
                <a:srgbClr val="AEABAB"/>
              </a:solidFill>
            </c:spPr>
          </c:dPt>
          <c:dPt>
            <c:idx val="413"/>
            <c:spPr>
              <a:solidFill>
                <a:srgbClr val="AEABAB"/>
              </a:solidFill>
            </c:spPr>
          </c:dPt>
          <c:dPt>
            <c:idx val="414"/>
            <c:spPr>
              <a:solidFill>
                <a:srgbClr val="AEABAB"/>
              </a:solidFill>
            </c:spPr>
          </c:dPt>
          <c:dPt>
            <c:idx val="415"/>
            <c:spPr>
              <a:solidFill>
                <a:srgbClr val="AEABAB"/>
              </a:solidFill>
            </c:spPr>
          </c:dPt>
          <c:dPt>
            <c:idx val="416"/>
            <c:spPr>
              <a:solidFill>
                <a:srgbClr val="AEABAB"/>
              </a:solidFill>
            </c:spPr>
          </c:dPt>
          <c:dPt>
            <c:idx val="417"/>
            <c:spPr>
              <a:solidFill>
                <a:srgbClr val="AEABAB"/>
              </a:solidFill>
            </c:spPr>
          </c:dPt>
          <c:dPt>
            <c:idx val="418"/>
            <c:spPr>
              <a:solidFill>
                <a:srgbClr val="AEABAB"/>
              </a:solidFill>
            </c:spPr>
          </c:dPt>
          <c:dPt>
            <c:idx val="419"/>
            <c:spPr>
              <a:solidFill>
                <a:srgbClr val="AEABAB"/>
              </a:solidFill>
            </c:spPr>
          </c:dPt>
          <c:dPt>
            <c:idx val="420"/>
            <c:spPr>
              <a:solidFill>
                <a:srgbClr val="AEABAB"/>
              </a:solidFill>
            </c:spPr>
          </c:dPt>
          <c:dPt>
            <c:idx val="421"/>
            <c:spPr>
              <a:solidFill>
                <a:srgbClr val="AEABAB"/>
              </a:solidFill>
            </c:spPr>
          </c:dPt>
          <c:dPt>
            <c:idx val="422"/>
            <c:spPr>
              <a:solidFill>
                <a:srgbClr val="AEABAB"/>
              </a:solidFill>
            </c:spPr>
          </c:dPt>
          <c:dPt>
            <c:idx val="423"/>
            <c:spPr>
              <a:solidFill>
                <a:srgbClr val="AEABAB"/>
              </a:solidFill>
            </c:spPr>
          </c:dPt>
          <c:dPt>
            <c:idx val="424"/>
            <c:spPr>
              <a:solidFill>
                <a:srgbClr val="AEABAB"/>
              </a:solidFill>
            </c:spPr>
          </c:dPt>
          <c:dPt>
            <c:idx val="425"/>
            <c:spPr>
              <a:solidFill>
                <a:srgbClr val="AEABAB"/>
              </a:solidFill>
            </c:spPr>
          </c:dPt>
          <c:dPt>
            <c:idx val="426"/>
            <c:spPr>
              <a:solidFill>
                <a:srgbClr val="AEABAB"/>
              </a:solidFill>
            </c:spPr>
          </c:dPt>
          <c:dPt>
            <c:idx val="427"/>
            <c:spPr>
              <a:solidFill>
                <a:srgbClr val="AEABAB"/>
              </a:solidFill>
            </c:spPr>
          </c:dPt>
          <c:dPt>
            <c:idx val="428"/>
            <c:spPr>
              <a:solidFill>
                <a:srgbClr val="AEABAB"/>
              </a:solidFill>
            </c:spPr>
          </c:dPt>
          <c:dPt>
            <c:idx val="429"/>
            <c:spPr>
              <a:solidFill>
                <a:srgbClr val="AEABAB"/>
              </a:solidFill>
            </c:spPr>
          </c:dPt>
          <c:dPt>
            <c:idx val="430"/>
            <c:spPr>
              <a:solidFill>
                <a:srgbClr val="AEABAB"/>
              </a:solidFill>
            </c:spPr>
          </c:dPt>
          <c:dPt>
            <c:idx val="431"/>
            <c:spPr>
              <a:solidFill>
                <a:srgbClr val="AEABAB"/>
              </a:solidFill>
            </c:spPr>
          </c:dPt>
          <c:dPt>
            <c:idx val="432"/>
            <c:spPr>
              <a:solidFill>
                <a:srgbClr val="AEABAB"/>
              </a:solidFill>
            </c:spPr>
          </c:dPt>
          <c:dPt>
            <c:idx val="433"/>
            <c:spPr>
              <a:solidFill>
                <a:srgbClr val="AEABAB"/>
              </a:solidFill>
            </c:spPr>
          </c:dPt>
          <c:dPt>
            <c:idx val="434"/>
            <c:spPr>
              <a:solidFill>
                <a:srgbClr val="AEABAB"/>
              </a:solidFill>
            </c:spPr>
          </c:dPt>
          <c:dPt>
            <c:idx val="435"/>
            <c:spPr>
              <a:solidFill>
                <a:srgbClr val="AEABAB"/>
              </a:solidFill>
            </c:spPr>
          </c:dPt>
          <c:dPt>
            <c:idx val="436"/>
            <c:spPr>
              <a:solidFill>
                <a:srgbClr val="AEABAB"/>
              </a:solidFill>
            </c:spPr>
          </c:dPt>
          <c:dPt>
            <c:idx val="437"/>
            <c:spPr>
              <a:solidFill>
                <a:srgbClr val="AEABAB"/>
              </a:solidFill>
            </c:spPr>
          </c:dPt>
          <c:dPt>
            <c:idx val="438"/>
            <c:spPr>
              <a:solidFill>
                <a:srgbClr val="AEABAB"/>
              </a:solidFill>
            </c:spPr>
          </c:dPt>
          <c:dPt>
            <c:idx val="439"/>
            <c:spPr>
              <a:solidFill>
                <a:srgbClr val="AEABAB"/>
              </a:solidFill>
            </c:spPr>
          </c:dPt>
          <c:dPt>
            <c:idx val="440"/>
            <c:spPr>
              <a:solidFill>
                <a:srgbClr val="AEABAB"/>
              </a:solidFill>
            </c:spPr>
          </c:dPt>
          <c:dPt>
            <c:idx val="441"/>
            <c:spPr>
              <a:solidFill>
                <a:srgbClr val="AEABAB"/>
              </a:solidFill>
            </c:spPr>
          </c:dPt>
          <c:dPt>
            <c:idx val="442"/>
            <c:spPr>
              <a:solidFill>
                <a:srgbClr val="AEABAB"/>
              </a:solidFill>
            </c:spPr>
          </c:dPt>
          <c:dPt>
            <c:idx val="443"/>
            <c:spPr>
              <a:solidFill>
                <a:srgbClr val="AEABAB"/>
              </a:solidFill>
            </c:spPr>
          </c:dPt>
          <c:dPt>
            <c:idx val="444"/>
            <c:spPr>
              <a:solidFill>
                <a:srgbClr val="AEABAB"/>
              </a:solidFill>
            </c:spPr>
          </c:dPt>
          <c:dPt>
            <c:idx val="445"/>
            <c:spPr>
              <a:solidFill>
                <a:srgbClr val="AEABAB"/>
              </a:solidFill>
            </c:spPr>
          </c:dPt>
          <c:dPt>
            <c:idx val="446"/>
            <c:spPr>
              <a:solidFill>
                <a:srgbClr val="AEABAB"/>
              </a:solidFill>
            </c:spPr>
          </c:dPt>
          <c:dPt>
            <c:idx val="447"/>
            <c:spPr>
              <a:solidFill>
                <a:srgbClr val="AEABAB"/>
              </a:solidFill>
            </c:spPr>
          </c:dPt>
          <c:dPt>
            <c:idx val="448"/>
            <c:spPr>
              <a:solidFill>
                <a:srgbClr val="AEABAB"/>
              </a:solidFill>
            </c:spPr>
          </c:dPt>
          <c:dPt>
            <c:idx val="449"/>
            <c:spPr>
              <a:solidFill>
                <a:srgbClr val="AEABAB"/>
              </a:solidFill>
            </c:spPr>
          </c:dPt>
          <c:dPt>
            <c:idx val="450"/>
            <c:spPr>
              <a:solidFill>
                <a:srgbClr val="AEABAB"/>
              </a:solidFill>
            </c:spPr>
          </c:dPt>
          <c:dPt>
            <c:idx val="451"/>
            <c:spPr>
              <a:solidFill>
                <a:srgbClr val="AEABAB"/>
              </a:solidFill>
            </c:spPr>
          </c:dPt>
          <c:dPt>
            <c:idx val="452"/>
            <c:spPr>
              <a:solidFill>
                <a:srgbClr val="AEABAB"/>
              </a:solidFill>
            </c:spPr>
          </c:dPt>
          <c:dPt>
            <c:idx val="453"/>
            <c:spPr>
              <a:solidFill>
                <a:srgbClr val="AEABAB"/>
              </a:solidFill>
            </c:spPr>
          </c:dPt>
          <c:dPt>
            <c:idx val="454"/>
            <c:spPr>
              <a:solidFill>
                <a:srgbClr val="AEABAB"/>
              </a:solidFill>
            </c:spPr>
          </c:dPt>
          <c:dPt>
            <c:idx val="455"/>
            <c:spPr>
              <a:solidFill>
                <a:srgbClr val="AEABAB"/>
              </a:solidFill>
            </c:spPr>
          </c:dPt>
          <c:dPt>
            <c:idx val="456"/>
            <c:spPr>
              <a:solidFill>
                <a:srgbClr val="AEABAB"/>
              </a:solidFill>
            </c:spPr>
          </c:dPt>
          <c:dPt>
            <c:idx val="457"/>
            <c:spPr>
              <a:solidFill>
                <a:srgbClr val="AEABAB"/>
              </a:solidFill>
            </c:spPr>
          </c:dPt>
          <c:dPt>
            <c:idx val="458"/>
            <c:spPr>
              <a:solidFill>
                <a:srgbClr val="AEABAB"/>
              </a:solidFill>
            </c:spPr>
          </c:dPt>
          <c:dPt>
            <c:idx val="459"/>
            <c:spPr>
              <a:solidFill>
                <a:srgbClr val="AEABAB"/>
              </a:solidFill>
            </c:spPr>
          </c:dPt>
          <c:dPt>
            <c:idx val="460"/>
            <c:spPr>
              <a:solidFill>
                <a:srgbClr val="AEABAB"/>
              </a:solidFill>
            </c:spPr>
          </c:dPt>
          <c:dPt>
            <c:idx val="461"/>
            <c:spPr>
              <a:solidFill>
                <a:srgbClr val="AEABAB"/>
              </a:solidFill>
            </c:spPr>
          </c:dPt>
          <c:dPt>
            <c:idx val="462"/>
            <c:spPr>
              <a:solidFill>
                <a:srgbClr val="AEABAB"/>
              </a:solidFill>
            </c:spPr>
          </c:dPt>
          <c:dPt>
            <c:idx val="463"/>
            <c:spPr>
              <a:solidFill>
                <a:srgbClr val="AEABAB"/>
              </a:solidFill>
            </c:spPr>
          </c:dPt>
          <c:dPt>
            <c:idx val="464"/>
            <c:spPr>
              <a:solidFill>
                <a:srgbClr val="AEABAB"/>
              </a:solidFill>
            </c:spPr>
          </c:dPt>
          <c:dPt>
            <c:idx val="465"/>
            <c:spPr>
              <a:solidFill>
                <a:srgbClr val="AEABAB"/>
              </a:solidFill>
            </c:spPr>
          </c:dPt>
          <c:dPt>
            <c:idx val="466"/>
            <c:spPr>
              <a:solidFill>
                <a:srgbClr val="AEABAB"/>
              </a:solidFill>
            </c:spPr>
          </c:dPt>
          <c:dPt>
            <c:idx val="467"/>
            <c:spPr>
              <a:solidFill>
                <a:srgbClr val="AEABAB"/>
              </a:solidFill>
            </c:spPr>
          </c:dPt>
          <c:dPt>
            <c:idx val="468"/>
            <c:spPr>
              <a:solidFill>
                <a:srgbClr val="AEABAB"/>
              </a:solidFill>
            </c:spPr>
          </c:dPt>
          <c:dPt>
            <c:idx val="469"/>
            <c:spPr>
              <a:solidFill>
                <a:srgbClr val="AEABAB"/>
              </a:solidFill>
            </c:spPr>
          </c:dPt>
          <c:dPt>
            <c:idx val="470"/>
            <c:spPr>
              <a:solidFill>
                <a:srgbClr val="AEABAB"/>
              </a:solidFill>
            </c:spPr>
          </c:dPt>
          <c:dPt>
            <c:idx val="471"/>
            <c:spPr>
              <a:solidFill>
                <a:srgbClr val="AEABAB"/>
              </a:solidFill>
            </c:spPr>
          </c:dPt>
          <c:dPt>
            <c:idx val="472"/>
            <c:spPr>
              <a:solidFill>
                <a:srgbClr val="AEABAB"/>
              </a:solidFill>
            </c:spPr>
          </c:dPt>
          <c:dPt>
            <c:idx val="473"/>
            <c:spPr>
              <a:solidFill>
                <a:srgbClr val="AEABAB"/>
              </a:solidFill>
            </c:spPr>
          </c:dPt>
          <c:dPt>
            <c:idx val="474"/>
            <c:spPr>
              <a:solidFill>
                <a:srgbClr val="AEABAB"/>
              </a:solidFill>
            </c:spPr>
          </c:dPt>
          <c:dPt>
            <c:idx val="475"/>
            <c:spPr>
              <a:solidFill>
                <a:srgbClr val="AEABAB"/>
              </a:solidFill>
            </c:spPr>
          </c:dPt>
          <c:dPt>
            <c:idx val="476"/>
            <c:spPr>
              <a:solidFill>
                <a:srgbClr val="AEABAB"/>
              </a:solidFill>
            </c:spPr>
          </c:dPt>
          <c:dPt>
            <c:idx val="477"/>
            <c:spPr>
              <a:solidFill>
                <a:srgbClr val="AEABAB"/>
              </a:solidFill>
            </c:spPr>
          </c:dPt>
          <c:dPt>
            <c:idx val="478"/>
            <c:spPr>
              <a:solidFill>
                <a:srgbClr val="AEABAB"/>
              </a:solidFill>
            </c:spPr>
          </c:dPt>
          <c:dPt>
            <c:idx val="479"/>
            <c:spPr>
              <a:solidFill>
                <a:srgbClr val="AEABAB"/>
              </a:solidFill>
            </c:spPr>
          </c:dPt>
          <c:dPt>
            <c:idx val="480"/>
            <c:spPr>
              <a:solidFill>
                <a:srgbClr val="AEABAB"/>
              </a:solidFill>
            </c:spPr>
          </c:dPt>
          <c:dPt>
            <c:idx val="481"/>
            <c:spPr>
              <a:solidFill>
                <a:srgbClr val="AEABAB"/>
              </a:solidFill>
            </c:spPr>
          </c:dPt>
          <c:dPt>
            <c:idx val="482"/>
            <c:spPr>
              <a:solidFill>
                <a:srgbClr val="AEABAB"/>
              </a:solidFill>
            </c:spPr>
          </c:dPt>
          <c:dPt>
            <c:idx val="483"/>
            <c:spPr>
              <a:solidFill>
                <a:srgbClr val="AEABAB"/>
              </a:solidFill>
            </c:spPr>
          </c:dPt>
          <c:dPt>
            <c:idx val="484"/>
            <c:spPr>
              <a:solidFill>
                <a:srgbClr val="AEABAB"/>
              </a:solidFill>
            </c:spPr>
          </c:dPt>
          <c:dPt>
            <c:idx val="485"/>
            <c:spPr>
              <a:solidFill>
                <a:srgbClr val="AEABAB"/>
              </a:solidFill>
            </c:spPr>
          </c:dPt>
          <c:dPt>
            <c:idx val="486"/>
            <c:spPr>
              <a:solidFill>
                <a:srgbClr val="AEABAB"/>
              </a:solidFill>
            </c:spPr>
          </c:dPt>
          <c:dPt>
            <c:idx val="487"/>
            <c:spPr>
              <a:solidFill>
                <a:srgbClr val="AEABAB"/>
              </a:solidFill>
            </c:spPr>
          </c:dPt>
          <c:dPt>
            <c:idx val="488"/>
            <c:spPr>
              <a:solidFill>
                <a:srgbClr val="AEABAB"/>
              </a:solidFill>
            </c:spPr>
          </c:dPt>
          <c:dPt>
            <c:idx val="489"/>
            <c:spPr>
              <a:solidFill>
                <a:srgbClr val="AEABAB"/>
              </a:solidFill>
            </c:spPr>
          </c:dPt>
          <c:dPt>
            <c:idx val="490"/>
            <c:spPr>
              <a:solidFill>
                <a:srgbClr val="AEABAB"/>
              </a:solidFill>
            </c:spPr>
          </c:dPt>
          <c:dPt>
            <c:idx val="491"/>
            <c:spPr>
              <a:solidFill>
                <a:srgbClr val="AEABAB"/>
              </a:solidFill>
            </c:spPr>
          </c:dPt>
          <c:dPt>
            <c:idx val="492"/>
            <c:spPr>
              <a:solidFill>
                <a:srgbClr val="AEABAB"/>
              </a:solidFill>
            </c:spPr>
          </c:dPt>
          <c:dPt>
            <c:idx val="493"/>
            <c:spPr>
              <a:solidFill>
                <a:srgbClr val="AEABAB"/>
              </a:solidFill>
            </c:spPr>
          </c:dPt>
          <c:dPt>
            <c:idx val="494"/>
            <c:spPr>
              <a:solidFill>
                <a:srgbClr val="AEABAB"/>
              </a:solidFill>
            </c:spPr>
          </c:dPt>
          <c:dPt>
            <c:idx val="495"/>
            <c:spPr>
              <a:solidFill>
                <a:srgbClr val="AEABAB"/>
              </a:solidFill>
            </c:spPr>
          </c:dPt>
          <c:dPt>
            <c:idx val="496"/>
            <c:spPr>
              <a:solidFill>
                <a:srgbClr val="AEABAB"/>
              </a:solidFill>
            </c:spPr>
          </c:dPt>
          <c:dPt>
            <c:idx val="497"/>
            <c:spPr>
              <a:solidFill>
                <a:srgbClr val="AEABAB"/>
              </a:solidFill>
            </c:spPr>
          </c:dPt>
          <c:dPt>
            <c:idx val="498"/>
            <c:spPr>
              <a:solidFill>
                <a:srgbClr val="AEABAB"/>
              </a:solidFill>
            </c:spPr>
          </c:dPt>
          <c:dPt>
            <c:idx val="499"/>
            <c:spPr>
              <a:solidFill>
                <a:srgbClr val="AEABAB"/>
              </a:solidFill>
            </c:spPr>
          </c:dPt>
          <c:dPt>
            <c:idx val="500"/>
            <c:spPr>
              <a:solidFill>
                <a:srgbClr val="AEABAB"/>
              </a:solidFill>
            </c:spPr>
          </c:dPt>
          <c:dPt>
            <c:idx val="501"/>
            <c:spPr>
              <a:solidFill>
                <a:srgbClr val="AEABAB"/>
              </a:solidFill>
            </c:spPr>
          </c:dPt>
          <c:dPt>
            <c:idx val="502"/>
            <c:spPr>
              <a:solidFill>
                <a:srgbClr val="AEABAB"/>
              </a:solidFill>
            </c:spPr>
          </c:dPt>
          <c:dPt>
            <c:idx val="503"/>
            <c:spPr>
              <a:solidFill>
                <a:srgbClr val="AEABAB"/>
              </a:solidFill>
            </c:spPr>
          </c:dPt>
          <c:dPt>
            <c:idx val="504"/>
            <c:spPr>
              <a:solidFill>
                <a:srgbClr val="AEABAB"/>
              </a:solidFill>
            </c:spPr>
          </c:dPt>
          <c:dPt>
            <c:idx val="505"/>
            <c:spPr>
              <a:solidFill>
                <a:srgbClr val="AEABAB"/>
              </a:solidFill>
            </c:spPr>
          </c:dPt>
          <c:dPt>
            <c:idx val="506"/>
            <c:spPr>
              <a:solidFill>
                <a:srgbClr val="AEABAB"/>
              </a:solidFill>
            </c:spPr>
          </c:dPt>
          <c:dPt>
            <c:idx val="507"/>
            <c:spPr>
              <a:solidFill>
                <a:srgbClr val="AEABAB"/>
              </a:solidFill>
            </c:spPr>
          </c:dPt>
          <c:dPt>
            <c:idx val="508"/>
            <c:spPr>
              <a:solidFill>
                <a:srgbClr val="AEABAB"/>
              </a:solidFill>
            </c:spPr>
          </c:dPt>
          <c:dPt>
            <c:idx val="509"/>
            <c:spPr>
              <a:solidFill>
                <a:srgbClr val="AEABAB"/>
              </a:solidFill>
            </c:spPr>
          </c:dPt>
          <c:dPt>
            <c:idx val="510"/>
            <c:spPr>
              <a:solidFill>
                <a:srgbClr val="AEABAB"/>
              </a:solidFill>
            </c:spPr>
          </c:dPt>
          <c:dPt>
            <c:idx val="511"/>
            <c:spPr>
              <a:solidFill>
                <a:srgbClr val="AEABAB"/>
              </a:solidFill>
            </c:spPr>
          </c:dPt>
          <c:dPt>
            <c:idx val="512"/>
            <c:spPr>
              <a:solidFill>
                <a:srgbClr val="AEABAB"/>
              </a:solidFill>
            </c:spPr>
          </c:dPt>
          <c:dPt>
            <c:idx val="513"/>
            <c:spPr>
              <a:solidFill>
                <a:srgbClr val="AEABAB"/>
              </a:solidFill>
            </c:spPr>
          </c:dPt>
          <c:dPt>
            <c:idx val="514"/>
            <c:spPr>
              <a:solidFill>
                <a:srgbClr val="AEABAB"/>
              </a:solidFill>
            </c:spPr>
          </c:dPt>
          <c:dPt>
            <c:idx val="515"/>
            <c:spPr>
              <a:solidFill>
                <a:srgbClr val="AEABAB"/>
              </a:solidFill>
            </c:spPr>
          </c:dPt>
          <c:dPt>
            <c:idx val="516"/>
            <c:spPr>
              <a:solidFill>
                <a:srgbClr val="AEABAB"/>
              </a:solidFill>
            </c:spPr>
          </c:dPt>
          <c:dPt>
            <c:idx val="517"/>
            <c:spPr>
              <a:solidFill>
                <a:srgbClr val="AEABAB"/>
              </a:solidFill>
            </c:spPr>
          </c:dPt>
          <c:dPt>
            <c:idx val="518"/>
            <c:spPr>
              <a:solidFill>
                <a:srgbClr val="AEABAB"/>
              </a:solidFill>
            </c:spPr>
          </c:dPt>
          <c:dPt>
            <c:idx val="519"/>
            <c:spPr>
              <a:solidFill>
                <a:srgbClr val="AEABAB"/>
              </a:solidFill>
            </c:spPr>
          </c:dPt>
          <c:dPt>
            <c:idx val="520"/>
            <c:spPr>
              <a:solidFill>
                <a:srgbClr val="AEABAB"/>
              </a:solidFill>
            </c:spPr>
          </c:dPt>
          <c:dPt>
            <c:idx val="521"/>
            <c:spPr>
              <a:solidFill>
                <a:srgbClr val="AEABAB"/>
              </a:solidFill>
            </c:spPr>
          </c:dPt>
          <c:dPt>
            <c:idx val="522"/>
            <c:spPr>
              <a:solidFill>
                <a:srgbClr val="AEABAB"/>
              </a:solidFill>
            </c:spPr>
          </c:dPt>
          <c:dPt>
            <c:idx val="523"/>
            <c:spPr>
              <a:solidFill>
                <a:srgbClr val="AEABAB"/>
              </a:solidFill>
            </c:spPr>
          </c:dPt>
          <c:dPt>
            <c:idx val="524"/>
            <c:spPr>
              <a:solidFill>
                <a:srgbClr val="AEABAB"/>
              </a:solidFill>
            </c:spPr>
          </c:dPt>
          <c:dPt>
            <c:idx val="525"/>
            <c:spPr>
              <a:solidFill>
                <a:srgbClr val="AEABAB"/>
              </a:solidFill>
            </c:spPr>
          </c:dPt>
          <c:dPt>
            <c:idx val="526"/>
            <c:spPr>
              <a:solidFill>
                <a:srgbClr val="AEABAB"/>
              </a:solidFill>
            </c:spPr>
          </c:dPt>
          <c:dPt>
            <c:idx val="527"/>
            <c:spPr>
              <a:solidFill>
                <a:srgbClr val="AEABAB"/>
              </a:solidFill>
            </c:spPr>
          </c:dPt>
          <c:dPt>
            <c:idx val="528"/>
            <c:spPr>
              <a:solidFill>
                <a:srgbClr val="AEABAB"/>
              </a:solidFill>
            </c:spPr>
          </c:dPt>
          <c:dPt>
            <c:idx val="529"/>
            <c:spPr>
              <a:solidFill>
                <a:srgbClr val="AEABAB"/>
              </a:solidFill>
            </c:spPr>
          </c:dPt>
          <c:dPt>
            <c:idx val="530"/>
            <c:spPr>
              <a:solidFill>
                <a:srgbClr val="AEABAB"/>
              </a:solidFill>
            </c:spPr>
          </c:dPt>
          <c:dPt>
            <c:idx val="531"/>
            <c:spPr>
              <a:solidFill>
                <a:srgbClr val="AEABAB"/>
              </a:solidFill>
            </c:spPr>
          </c:dPt>
          <c:dPt>
            <c:idx val="532"/>
            <c:spPr>
              <a:solidFill>
                <a:srgbClr val="AEABAB"/>
              </a:solidFill>
            </c:spPr>
          </c:dPt>
          <c:dPt>
            <c:idx val="533"/>
            <c:spPr>
              <a:solidFill>
                <a:srgbClr val="AEABAB"/>
              </a:solidFill>
            </c:spPr>
          </c:dPt>
          <c:dPt>
            <c:idx val="534"/>
            <c:spPr>
              <a:solidFill>
                <a:srgbClr val="AEABAB"/>
              </a:solidFill>
            </c:spPr>
          </c:dPt>
          <c:dPt>
            <c:idx val="535"/>
            <c:spPr>
              <a:solidFill>
                <a:srgbClr val="AEABAB"/>
              </a:solidFill>
            </c:spPr>
          </c:dPt>
          <c:dPt>
            <c:idx val="536"/>
            <c:spPr>
              <a:solidFill>
                <a:srgbClr val="AEABAB"/>
              </a:solidFill>
            </c:spPr>
          </c:dPt>
          <c:dPt>
            <c:idx val="537"/>
            <c:spPr>
              <a:solidFill>
                <a:srgbClr val="AEABAB"/>
              </a:solidFill>
            </c:spPr>
          </c:dPt>
          <c:dPt>
            <c:idx val="538"/>
            <c:spPr>
              <a:solidFill>
                <a:srgbClr val="AEABAB"/>
              </a:solidFill>
            </c:spPr>
          </c:dPt>
          <c:dPt>
            <c:idx val="539"/>
            <c:spPr>
              <a:solidFill>
                <a:srgbClr val="AEABAB"/>
              </a:solidFill>
            </c:spPr>
          </c:dPt>
          <c:dPt>
            <c:idx val="540"/>
            <c:spPr>
              <a:solidFill>
                <a:srgbClr val="AEABAB"/>
              </a:solidFill>
            </c:spPr>
          </c:dPt>
          <c:dPt>
            <c:idx val="541"/>
            <c:spPr>
              <a:solidFill>
                <a:srgbClr val="AEABAB"/>
              </a:solidFill>
            </c:spPr>
          </c:dPt>
          <c:dPt>
            <c:idx val="542"/>
            <c:spPr>
              <a:solidFill>
                <a:srgbClr val="AEABAB"/>
              </a:solidFill>
            </c:spPr>
          </c:dPt>
          <c:dPt>
            <c:idx val="543"/>
            <c:spPr>
              <a:solidFill>
                <a:srgbClr val="AEABAB"/>
              </a:solidFill>
            </c:spPr>
          </c:dPt>
          <c:dPt>
            <c:idx val="544"/>
            <c:spPr>
              <a:solidFill>
                <a:srgbClr val="AEABAB"/>
              </a:solidFill>
            </c:spPr>
          </c:dPt>
          <c:dPt>
            <c:idx val="545"/>
            <c:spPr>
              <a:solidFill>
                <a:srgbClr val="AEABAB"/>
              </a:solidFill>
            </c:spPr>
          </c:dPt>
          <c:dPt>
            <c:idx val="546"/>
            <c:spPr>
              <a:solidFill>
                <a:srgbClr val="AEABAB"/>
              </a:solidFill>
            </c:spPr>
          </c:dPt>
          <c:dPt>
            <c:idx val="547"/>
            <c:spPr>
              <a:solidFill>
                <a:srgbClr val="AEABAB"/>
              </a:solidFill>
            </c:spPr>
          </c:dPt>
          <c:dPt>
            <c:idx val="548"/>
            <c:spPr>
              <a:solidFill>
                <a:srgbClr val="AEABAB"/>
              </a:solidFill>
            </c:spPr>
          </c:dPt>
          <c:dPt>
            <c:idx val="549"/>
            <c:spPr>
              <a:solidFill>
                <a:srgbClr val="AEABAB"/>
              </a:solidFill>
            </c:spPr>
          </c:dPt>
          <c:dPt>
            <c:idx val="550"/>
            <c:spPr>
              <a:solidFill>
                <a:srgbClr val="AEABAB"/>
              </a:solidFill>
            </c:spPr>
          </c:dPt>
          <c:dPt>
            <c:idx val="551"/>
            <c:spPr>
              <a:solidFill>
                <a:srgbClr val="AEABAB"/>
              </a:solidFill>
            </c:spPr>
          </c:dPt>
          <c:dPt>
            <c:idx val="552"/>
            <c:spPr>
              <a:solidFill>
                <a:srgbClr val="AEABAB"/>
              </a:solidFill>
            </c:spPr>
          </c:dPt>
          <c:dPt>
            <c:idx val="553"/>
            <c:spPr>
              <a:solidFill>
                <a:srgbClr val="AEABAB"/>
              </a:solidFill>
            </c:spPr>
          </c:dPt>
          <c:dPt>
            <c:idx val="554"/>
            <c:spPr>
              <a:solidFill>
                <a:srgbClr val="AEABAB"/>
              </a:solidFill>
            </c:spPr>
          </c:dPt>
          <c:dPt>
            <c:idx val="555"/>
            <c:spPr>
              <a:solidFill>
                <a:srgbClr val="AEABAB"/>
              </a:solidFill>
            </c:spPr>
          </c:dPt>
          <c:dPt>
            <c:idx val="556"/>
            <c:spPr>
              <a:solidFill>
                <a:srgbClr val="AEABAB"/>
              </a:solidFill>
            </c:spPr>
          </c:dPt>
          <c:dPt>
            <c:idx val="557"/>
            <c:spPr>
              <a:solidFill>
                <a:srgbClr val="AEABAB"/>
              </a:solidFill>
            </c:spPr>
          </c:dPt>
          <c:dPt>
            <c:idx val="558"/>
            <c:spPr>
              <a:solidFill>
                <a:srgbClr val="AEABAB"/>
              </a:solidFill>
            </c:spPr>
          </c:dPt>
          <c:dPt>
            <c:idx val="559"/>
            <c:spPr>
              <a:solidFill>
                <a:srgbClr val="AEABAB"/>
              </a:solidFill>
            </c:spPr>
          </c:dPt>
          <c:dPt>
            <c:idx val="560"/>
            <c:spPr>
              <a:solidFill>
                <a:srgbClr val="AEABAB"/>
              </a:solidFill>
            </c:spPr>
          </c:dPt>
          <c:dPt>
            <c:idx val="561"/>
            <c:spPr>
              <a:solidFill>
                <a:srgbClr val="AEABAB"/>
              </a:solidFill>
            </c:spPr>
          </c:dPt>
          <c:dPt>
            <c:idx val="562"/>
            <c:spPr>
              <a:solidFill>
                <a:srgbClr val="AEABAB"/>
              </a:solidFill>
            </c:spPr>
          </c:dPt>
          <c:dPt>
            <c:idx val="563"/>
            <c:spPr>
              <a:solidFill>
                <a:srgbClr val="AEABAB"/>
              </a:solidFill>
            </c:spPr>
          </c:dPt>
          <c:dPt>
            <c:idx val="564"/>
            <c:spPr>
              <a:solidFill>
                <a:srgbClr val="AEABAB"/>
              </a:solidFill>
            </c:spPr>
          </c:dPt>
          <c:dPt>
            <c:idx val="565"/>
            <c:spPr>
              <a:solidFill>
                <a:srgbClr val="AEABAB"/>
              </a:solidFill>
            </c:spPr>
          </c:dPt>
          <c:dPt>
            <c:idx val="566"/>
            <c:spPr>
              <a:solidFill>
                <a:srgbClr val="AEABAB"/>
              </a:solidFill>
            </c:spPr>
          </c:dPt>
          <c:dPt>
            <c:idx val="567"/>
            <c:spPr>
              <a:solidFill>
                <a:srgbClr val="AEABAB"/>
              </a:solidFill>
            </c:spPr>
          </c:dPt>
          <c:dPt>
            <c:idx val="568"/>
            <c:spPr>
              <a:solidFill>
                <a:srgbClr val="AEABAB"/>
              </a:solidFill>
            </c:spPr>
          </c:dPt>
          <c:dPt>
            <c:idx val="569"/>
            <c:spPr>
              <a:solidFill>
                <a:srgbClr val="AEABAB"/>
              </a:solidFill>
            </c:spPr>
          </c:dPt>
          <c:dPt>
            <c:idx val="570"/>
            <c:spPr>
              <a:solidFill>
                <a:srgbClr val="AEABAB"/>
              </a:solidFill>
            </c:spPr>
          </c:dPt>
          <c:dPt>
            <c:idx val="571"/>
            <c:spPr>
              <a:solidFill>
                <a:srgbClr val="AEABAB"/>
              </a:solidFill>
            </c:spPr>
          </c:dPt>
          <c:dPt>
            <c:idx val="572"/>
            <c:spPr>
              <a:solidFill>
                <a:srgbClr val="AEABAB"/>
              </a:solidFill>
            </c:spPr>
          </c:dPt>
          <c:dPt>
            <c:idx val="573"/>
            <c:spPr>
              <a:solidFill>
                <a:srgbClr val="AEABAB"/>
              </a:solidFill>
            </c:spPr>
          </c:dPt>
          <c:dPt>
            <c:idx val="574"/>
            <c:spPr>
              <a:solidFill>
                <a:srgbClr val="AEABAB"/>
              </a:solidFill>
            </c:spPr>
          </c:dPt>
          <c:dPt>
            <c:idx val="575"/>
            <c:spPr>
              <a:solidFill>
                <a:srgbClr val="AEABAB"/>
              </a:solidFill>
            </c:spPr>
          </c:dPt>
          <c:dPt>
            <c:idx val="576"/>
            <c:spPr>
              <a:solidFill>
                <a:srgbClr val="AEABAB"/>
              </a:solidFill>
            </c:spPr>
          </c:dPt>
          <c:dPt>
            <c:idx val="577"/>
            <c:spPr>
              <a:solidFill>
                <a:srgbClr val="AEABAB"/>
              </a:solidFill>
            </c:spPr>
          </c:dPt>
          <c:dPt>
            <c:idx val="578"/>
            <c:spPr>
              <a:solidFill>
                <a:srgbClr val="AEABAB"/>
              </a:solidFill>
            </c:spPr>
          </c:dPt>
          <c:dPt>
            <c:idx val="579"/>
            <c:spPr>
              <a:solidFill>
                <a:srgbClr val="AEABAB"/>
              </a:solidFill>
            </c:spPr>
          </c:dPt>
          <c:dPt>
            <c:idx val="580"/>
            <c:spPr>
              <a:solidFill>
                <a:srgbClr val="AEABAB"/>
              </a:solidFill>
            </c:spPr>
          </c:dPt>
          <c:dPt>
            <c:idx val="581"/>
            <c:spPr>
              <a:solidFill>
                <a:srgbClr val="AEABAB"/>
              </a:solidFill>
            </c:spPr>
          </c:dPt>
          <c:dPt>
            <c:idx val="582"/>
            <c:spPr>
              <a:solidFill>
                <a:srgbClr val="AEABAB"/>
              </a:solidFill>
            </c:spPr>
          </c:dPt>
          <c:dPt>
            <c:idx val="583"/>
            <c:spPr>
              <a:solidFill>
                <a:srgbClr val="AEABAB"/>
              </a:solidFill>
            </c:spPr>
          </c:dPt>
          <c:dPt>
            <c:idx val="584"/>
            <c:spPr>
              <a:solidFill>
                <a:srgbClr val="AEABAB"/>
              </a:solidFill>
            </c:spPr>
          </c:dPt>
          <c:dPt>
            <c:idx val="585"/>
            <c:spPr>
              <a:solidFill>
                <a:srgbClr val="AEABAB"/>
              </a:solidFill>
            </c:spPr>
          </c:dPt>
          <c:dPt>
            <c:idx val="586"/>
            <c:spPr>
              <a:solidFill>
                <a:srgbClr val="AEABAB"/>
              </a:solidFill>
            </c:spPr>
          </c:dPt>
          <c:dPt>
            <c:idx val="587"/>
            <c:spPr>
              <a:solidFill>
                <a:srgbClr val="AEABAB"/>
              </a:solidFill>
            </c:spPr>
          </c:dPt>
          <c:dPt>
            <c:idx val="588"/>
            <c:spPr>
              <a:solidFill>
                <a:srgbClr val="AEABAB"/>
              </a:solidFill>
            </c:spPr>
          </c:dPt>
          <c:dPt>
            <c:idx val="589"/>
            <c:spPr>
              <a:solidFill>
                <a:srgbClr val="AEABAB"/>
              </a:solidFill>
            </c:spPr>
          </c:dPt>
          <c:dPt>
            <c:idx val="590"/>
            <c:spPr>
              <a:solidFill>
                <a:srgbClr val="AEABAB"/>
              </a:solidFill>
            </c:spPr>
          </c:dPt>
          <c:dPt>
            <c:idx val="591"/>
            <c:spPr>
              <a:solidFill>
                <a:srgbClr val="AEABAB"/>
              </a:solidFill>
            </c:spPr>
          </c:dPt>
          <c:dPt>
            <c:idx val="592"/>
            <c:spPr>
              <a:solidFill>
                <a:srgbClr val="AEABAB"/>
              </a:solidFill>
            </c:spPr>
          </c:dPt>
          <c:dPt>
            <c:idx val="593"/>
            <c:spPr>
              <a:solidFill>
                <a:srgbClr val="AEABAB"/>
              </a:solidFill>
            </c:spPr>
          </c:dPt>
          <c:dPt>
            <c:idx val="594"/>
            <c:spPr>
              <a:solidFill>
                <a:srgbClr val="AEABAB"/>
              </a:solidFill>
            </c:spPr>
          </c:dPt>
          <c:dPt>
            <c:idx val="595"/>
            <c:spPr>
              <a:solidFill>
                <a:srgbClr val="AEABAB"/>
              </a:solidFill>
            </c:spPr>
          </c:dPt>
          <c:dPt>
            <c:idx val="596"/>
            <c:spPr>
              <a:solidFill>
                <a:srgbClr val="AEABAB"/>
              </a:solidFill>
            </c:spPr>
          </c:dPt>
          <c:dPt>
            <c:idx val="597"/>
            <c:spPr>
              <a:solidFill>
                <a:srgbClr val="AEABAB"/>
              </a:solidFill>
            </c:spPr>
          </c:dPt>
          <c:dPt>
            <c:idx val="598"/>
            <c:spPr>
              <a:solidFill>
                <a:srgbClr val="AEABAB"/>
              </a:solidFill>
            </c:spPr>
          </c:dPt>
          <c:dPt>
            <c:idx val="599"/>
            <c:spPr>
              <a:solidFill>
                <a:srgbClr val="AEABAB"/>
              </a:solidFill>
            </c:spPr>
          </c:dPt>
          <c:dPt>
            <c:idx val="600"/>
            <c:spPr>
              <a:solidFill>
                <a:srgbClr val="AEABAB"/>
              </a:solidFill>
            </c:spPr>
          </c:dPt>
          <c:dPt>
            <c:idx val="601"/>
            <c:spPr>
              <a:solidFill>
                <a:srgbClr val="AEABAB"/>
              </a:solidFill>
            </c:spPr>
          </c:dPt>
          <c:dPt>
            <c:idx val="602"/>
            <c:spPr>
              <a:solidFill>
                <a:srgbClr val="AEABAB"/>
              </a:solidFill>
            </c:spPr>
          </c:dPt>
          <c:dPt>
            <c:idx val="603"/>
            <c:spPr>
              <a:solidFill>
                <a:srgbClr val="AEABAB"/>
              </a:solidFill>
            </c:spPr>
          </c:dPt>
          <c:dPt>
            <c:idx val="604"/>
            <c:spPr>
              <a:solidFill>
                <a:srgbClr val="AEABAB"/>
              </a:solidFill>
            </c:spPr>
          </c:dPt>
          <c:dPt>
            <c:idx val="605"/>
            <c:spPr>
              <a:solidFill>
                <a:srgbClr val="AEABAB"/>
              </a:solidFill>
            </c:spPr>
          </c:dPt>
          <c:dPt>
            <c:idx val="606"/>
            <c:spPr>
              <a:solidFill>
                <a:srgbClr val="AEABAB"/>
              </a:solidFill>
            </c:spPr>
          </c:dPt>
          <c:dPt>
            <c:idx val="607"/>
            <c:spPr>
              <a:solidFill>
                <a:srgbClr val="AEABAB"/>
              </a:solidFill>
            </c:spPr>
          </c:dPt>
          <c:dPt>
            <c:idx val="608"/>
            <c:spPr>
              <a:solidFill>
                <a:srgbClr val="AEABAB"/>
              </a:solidFill>
            </c:spPr>
          </c:dPt>
          <c:dPt>
            <c:idx val="609"/>
            <c:spPr>
              <a:solidFill>
                <a:srgbClr val="AEABAB"/>
              </a:solidFill>
            </c:spPr>
          </c:dPt>
          <c:dPt>
            <c:idx val="610"/>
            <c:spPr>
              <a:solidFill>
                <a:srgbClr val="AEABAB"/>
              </a:solidFill>
            </c:spPr>
          </c:dPt>
          <c:dPt>
            <c:idx val="611"/>
            <c:spPr>
              <a:solidFill>
                <a:srgbClr val="AEABAB"/>
              </a:solidFill>
            </c:spPr>
          </c:dPt>
          <c:dPt>
            <c:idx val="612"/>
            <c:spPr>
              <a:solidFill>
                <a:srgbClr val="AEABAB"/>
              </a:solidFill>
            </c:spPr>
          </c:dPt>
          <c:dPt>
            <c:idx val="613"/>
            <c:spPr>
              <a:solidFill>
                <a:srgbClr val="AEABAB"/>
              </a:solidFill>
            </c:spPr>
          </c:dPt>
          <c:dPt>
            <c:idx val="614"/>
            <c:spPr>
              <a:solidFill>
                <a:srgbClr val="AEABAB"/>
              </a:solidFill>
            </c:spPr>
          </c:dPt>
          <c:dPt>
            <c:idx val="615"/>
            <c:spPr>
              <a:solidFill>
                <a:srgbClr val="AEABAB"/>
              </a:solidFill>
            </c:spPr>
          </c:dPt>
          <c:dPt>
            <c:idx val="616"/>
            <c:spPr>
              <a:solidFill>
                <a:srgbClr val="AEABAB"/>
              </a:solidFill>
            </c:spPr>
          </c:dPt>
          <c:dPt>
            <c:idx val="617"/>
            <c:spPr>
              <a:solidFill>
                <a:srgbClr val="AEABAB"/>
              </a:solidFill>
            </c:spPr>
          </c:dPt>
          <c:dPt>
            <c:idx val="618"/>
            <c:spPr>
              <a:solidFill>
                <a:srgbClr val="AEABAB"/>
              </a:solidFill>
            </c:spPr>
          </c:dPt>
          <c:dPt>
            <c:idx val="619"/>
            <c:spPr>
              <a:solidFill>
                <a:srgbClr val="AEABAB"/>
              </a:solidFill>
            </c:spPr>
          </c:dPt>
          <c:dPt>
            <c:idx val="620"/>
            <c:spPr>
              <a:solidFill>
                <a:srgbClr val="AEABAB"/>
              </a:solidFill>
            </c:spPr>
          </c:dPt>
          <c:dPt>
            <c:idx val="621"/>
            <c:spPr>
              <a:solidFill>
                <a:srgbClr val="AEABAB"/>
              </a:solidFill>
            </c:spPr>
          </c:dPt>
          <c:dPt>
            <c:idx val="622"/>
            <c:spPr>
              <a:solidFill>
                <a:srgbClr val="AEABAB"/>
              </a:solidFill>
            </c:spPr>
          </c:dPt>
          <c:dPt>
            <c:idx val="623"/>
            <c:spPr>
              <a:solidFill>
                <a:srgbClr val="AEABAB"/>
              </a:solidFill>
            </c:spPr>
          </c:dPt>
          <c:dPt>
            <c:idx val="624"/>
            <c:spPr>
              <a:solidFill>
                <a:srgbClr val="AEABAB"/>
              </a:solidFill>
            </c:spPr>
          </c:dPt>
          <c:dPt>
            <c:idx val="625"/>
            <c:spPr>
              <a:solidFill>
                <a:srgbClr val="AEABAB"/>
              </a:solidFill>
            </c:spPr>
          </c:dPt>
          <c:dPt>
            <c:idx val="626"/>
            <c:spPr>
              <a:solidFill>
                <a:srgbClr val="AEABAB"/>
              </a:solidFill>
            </c:spPr>
          </c:dPt>
          <c:dPt>
            <c:idx val="627"/>
            <c:spPr>
              <a:solidFill>
                <a:srgbClr val="AEABAB"/>
              </a:solidFill>
            </c:spPr>
          </c:dPt>
          <c:dPt>
            <c:idx val="628"/>
            <c:spPr>
              <a:solidFill>
                <a:srgbClr val="AEABAB"/>
              </a:solidFill>
            </c:spPr>
          </c:dPt>
          <c:dPt>
            <c:idx val="629"/>
            <c:spPr>
              <a:solidFill>
                <a:srgbClr val="AEABAB"/>
              </a:solidFill>
            </c:spPr>
          </c:dPt>
          <c:dPt>
            <c:idx val="630"/>
            <c:spPr>
              <a:solidFill>
                <a:srgbClr val="AEABAB"/>
              </a:solidFill>
            </c:spPr>
          </c:dPt>
          <c:dPt>
            <c:idx val="631"/>
            <c:spPr>
              <a:solidFill>
                <a:srgbClr val="AEABAB"/>
              </a:solidFill>
            </c:spPr>
          </c:dPt>
          <c:dPt>
            <c:idx val="632"/>
            <c:spPr>
              <a:solidFill>
                <a:srgbClr val="AEABAB"/>
              </a:solidFill>
            </c:spPr>
          </c:dPt>
          <c:dPt>
            <c:idx val="633"/>
            <c:spPr>
              <a:solidFill>
                <a:srgbClr val="AEABAB"/>
              </a:solidFill>
            </c:spPr>
          </c:dPt>
          <c:dPt>
            <c:idx val="634"/>
            <c:spPr>
              <a:solidFill>
                <a:srgbClr val="AEABAB"/>
              </a:solidFill>
            </c:spPr>
          </c:dPt>
          <c:dPt>
            <c:idx val="635"/>
            <c:spPr>
              <a:solidFill>
                <a:srgbClr val="AEABAB"/>
              </a:solidFill>
            </c:spPr>
          </c:dPt>
          <c:dPt>
            <c:idx val="636"/>
            <c:spPr>
              <a:solidFill>
                <a:srgbClr val="AEABAB"/>
              </a:solidFill>
            </c:spPr>
          </c:dPt>
          <c:dPt>
            <c:idx val="637"/>
            <c:spPr>
              <a:solidFill>
                <a:srgbClr val="AEABAB"/>
              </a:solidFill>
            </c:spPr>
          </c:dPt>
          <c:dPt>
            <c:idx val="638"/>
            <c:spPr>
              <a:solidFill>
                <a:srgbClr val="AEABAB"/>
              </a:solidFill>
            </c:spPr>
          </c:dPt>
          <c:dPt>
            <c:idx val="639"/>
            <c:spPr>
              <a:solidFill>
                <a:srgbClr val="AEABAB"/>
              </a:solidFill>
            </c:spPr>
          </c:dPt>
          <c:dPt>
            <c:idx val="640"/>
            <c:spPr>
              <a:solidFill>
                <a:srgbClr val="AEABAB"/>
              </a:solidFill>
            </c:spPr>
          </c:dPt>
          <c:dPt>
            <c:idx val="641"/>
            <c:spPr>
              <a:solidFill>
                <a:srgbClr val="AEABAB"/>
              </a:solidFill>
            </c:spPr>
          </c:dPt>
          <c:dPt>
            <c:idx val="642"/>
            <c:spPr>
              <a:solidFill>
                <a:srgbClr val="AEABAB"/>
              </a:solidFill>
            </c:spPr>
          </c:dPt>
          <c:dPt>
            <c:idx val="643"/>
            <c:spPr>
              <a:solidFill>
                <a:srgbClr val="AEABAB"/>
              </a:solidFill>
            </c:spPr>
          </c:dPt>
          <c:dPt>
            <c:idx val="644"/>
            <c:spPr>
              <a:solidFill>
                <a:srgbClr val="AEABAB"/>
              </a:solidFill>
            </c:spPr>
          </c:dPt>
          <c:dPt>
            <c:idx val="645"/>
            <c:spPr>
              <a:solidFill>
                <a:srgbClr val="AEABAB"/>
              </a:solidFill>
            </c:spPr>
          </c:dPt>
          <c:dPt>
            <c:idx val="646"/>
            <c:spPr>
              <a:solidFill>
                <a:srgbClr val="AEABAB"/>
              </a:solidFill>
            </c:spPr>
          </c:dPt>
          <c:dPt>
            <c:idx val="647"/>
            <c:spPr>
              <a:solidFill>
                <a:srgbClr val="AEABAB"/>
              </a:solidFill>
            </c:spPr>
          </c:dPt>
          <c:dPt>
            <c:idx val="648"/>
            <c:spPr>
              <a:solidFill>
                <a:srgbClr val="AEABAB"/>
              </a:solidFill>
            </c:spPr>
          </c:dPt>
          <c:dPt>
            <c:idx val="649"/>
            <c:spPr>
              <a:solidFill>
                <a:srgbClr val="AEABAB"/>
              </a:solidFill>
            </c:spPr>
          </c:dPt>
          <c:dPt>
            <c:idx val="650"/>
            <c:spPr>
              <a:solidFill>
                <a:srgbClr val="AEABAB"/>
              </a:solidFill>
            </c:spPr>
          </c:dPt>
          <c:dPt>
            <c:idx val="651"/>
            <c:spPr>
              <a:solidFill>
                <a:srgbClr val="AEABAB"/>
              </a:solidFill>
            </c:spPr>
          </c:dPt>
          <c:dPt>
            <c:idx val="652"/>
            <c:spPr>
              <a:solidFill>
                <a:srgbClr val="AEABAB"/>
              </a:solidFill>
            </c:spPr>
          </c:dPt>
          <c:dPt>
            <c:idx val="653"/>
            <c:spPr>
              <a:solidFill>
                <a:srgbClr val="AEABAB"/>
              </a:solidFill>
            </c:spPr>
          </c:dPt>
          <c:dPt>
            <c:idx val="654"/>
            <c:spPr>
              <a:solidFill>
                <a:srgbClr val="AEABAB"/>
              </a:solidFill>
            </c:spPr>
          </c:dPt>
          <c:dPt>
            <c:idx val="655"/>
            <c:spPr>
              <a:solidFill>
                <a:srgbClr val="AEABAB"/>
              </a:solidFill>
            </c:spPr>
          </c:dPt>
          <c:dPt>
            <c:idx val="656"/>
            <c:spPr>
              <a:solidFill>
                <a:srgbClr val="AEABAB"/>
              </a:solidFill>
            </c:spPr>
          </c:dPt>
          <c:dPt>
            <c:idx val="657"/>
            <c:spPr>
              <a:solidFill>
                <a:srgbClr val="AEABAB"/>
              </a:solidFill>
            </c:spPr>
          </c:dPt>
          <c:dPt>
            <c:idx val="658"/>
            <c:spPr>
              <a:solidFill>
                <a:srgbClr val="AEABAB"/>
              </a:solidFill>
            </c:spPr>
          </c:dPt>
          <c:dPt>
            <c:idx val="659"/>
            <c:spPr>
              <a:solidFill>
                <a:srgbClr val="AEABAB"/>
              </a:solidFill>
            </c:spPr>
          </c:dPt>
          <c:dPt>
            <c:idx val="660"/>
            <c:spPr>
              <a:solidFill>
                <a:srgbClr val="AEABAB"/>
              </a:solidFill>
            </c:spPr>
          </c:dPt>
          <c:dPt>
            <c:idx val="661"/>
            <c:spPr>
              <a:solidFill>
                <a:srgbClr val="AEABAB"/>
              </a:solidFill>
            </c:spPr>
          </c:dPt>
          <c:dPt>
            <c:idx val="662"/>
            <c:spPr>
              <a:solidFill>
                <a:srgbClr val="AEABAB"/>
              </a:solidFill>
            </c:spPr>
          </c:dPt>
          <c:dPt>
            <c:idx val="663"/>
            <c:spPr>
              <a:solidFill>
                <a:srgbClr val="AEABAB"/>
              </a:solidFill>
            </c:spPr>
          </c:dPt>
          <c:dPt>
            <c:idx val="664"/>
            <c:spPr>
              <a:solidFill>
                <a:srgbClr val="AEABAB"/>
              </a:solidFill>
            </c:spPr>
          </c:dPt>
          <c:dPt>
            <c:idx val="665"/>
            <c:spPr>
              <a:solidFill>
                <a:srgbClr val="AEABAB"/>
              </a:solidFill>
            </c:spPr>
          </c:dPt>
          <c:dPt>
            <c:idx val="666"/>
            <c:spPr>
              <a:solidFill>
                <a:srgbClr val="AEABAB"/>
              </a:solidFill>
            </c:spPr>
          </c:dPt>
          <c:dPt>
            <c:idx val="667"/>
            <c:spPr>
              <a:solidFill>
                <a:srgbClr val="AEABAB"/>
              </a:solidFill>
            </c:spPr>
          </c:dPt>
          <c:dPt>
            <c:idx val="668"/>
            <c:spPr>
              <a:solidFill>
                <a:srgbClr val="AEABAB"/>
              </a:solidFill>
            </c:spPr>
          </c:dPt>
          <c:dPt>
            <c:idx val="669"/>
            <c:spPr>
              <a:solidFill>
                <a:srgbClr val="AEABAB"/>
              </a:solidFill>
            </c:spPr>
          </c:dPt>
          <c:dPt>
            <c:idx val="670"/>
            <c:spPr>
              <a:solidFill>
                <a:srgbClr val="AEABAB"/>
              </a:solidFill>
            </c:spPr>
          </c:dPt>
          <c:dPt>
            <c:idx val="671"/>
            <c:spPr>
              <a:solidFill>
                <a:srgbClr val="AEABAB"/>
              </a:solidFill>
            </c:spPr>
          </c:dPt>
          <c:dPt>
            <c:idx val="672"/>
            <c:spPr>
              <a:solidFill>
                <a:srgbClr val="AEABAB"/>
              </a:solidFill>
            </c:spPr>
          </c:dPt>
          <c:dPt>
            <c:idx val="673"/>
            <c:spPr>
              <a:solidFill>
                <a:srgbClr val="AEABAB"/>
              </a:solidFill>
            </c:spPr>
          </c:dPt>
          <c:dPt>
            <c:idx val="674"/>
            <c:spPr>
              <a:solidFill>
                <a:srgbClr val="AEABAB"/>
              </a:solidFill>
            </c:spPr>
          </c:dPt>
          <c:dPt>
            <c:idx val="675"/>
            <c:spPr>
              <a:solidFill>
                <a:srgbClr val="AEABAB"/>
              </a:solidFill>
            </c:spPr>
          </c:dPt>
          <c:dPt>
            <c:idx val="676"/>
            <c:spPr>
              <a:solidFill>
                <a:srgbClr val="AEABAB"/>
              </a:solidFill>
            </c:spPr>
          </c:dPt>
          <c:dPt>
            <c:idx val="677"/>
            <c:spPr>
              <a:solidFill>
                <a:srgbClr val="AEABAB"/>
              </a:solidFill>
            </c:spPr>
          </c:dPt>
          <c:dPt>
            <c:idx val="678"/>
            <c:spPr>
              <a:solidFill>
                <a:srgbClr val="AEABAB"/>
              </a:solidFill>
            </c:spPr>
          </c:dPt>
          <c:dPt>
            <c:idx val="679"/>
            <c:spPr>
              <a:solidFill>
                <a:srgbClr val="AEABAB"/>
              </a:solidFill>
            </c:spPr>
          </c:dPt>
          <c:dPt>
            <c:idx val="680"/>
            <c:spPr>
              <a:solidFill>
                <a:srgbClr val="AEABAB"/>
              </a:solidFill>
            </c:spPr>
          </c:dPt>
          <c:dPt>
            <c:idx val="681"/>
            <c:spPr>
              <a:solidFill>
                <a:srgbClr val="AEABAB"/>
              </a:solidFill>
            </c:spPr>
          </c:dPt>
          <c:dPt>
            <c:idx val="682"/>
            <c:spPr>
              <a:solidFill>
                <a:srgbClr val="AEABAB"/>
              </a:solidFill>
            </c:spPr>
          </c:dPt>
          <c:dPt>
            <c:idx val="683"/>
            <c:spPr>
              <a:solidFill>
                <a:srgbClr val="AEABAB"/>
              </a:solidFill>
            </c:spPr>
          </c:dPt>
          <c:dPt>
            <c:idx val="684"/>
            <c:spPr>
              <a:solidFill>
                <a:srgbClr val="AEABAB"/>
              </a:solidFill>
            </c:spPr>
          </c:dPt>
          <c:dPt>
            <c:idx val="685"/>
            <c:spPr>
              <a:solidFill>
                <a:srgbClr val="AEABAB"/>
              </a:solidFill>
            </c:spPr>
          </c:dPt>
          <c:dPt>
            <c:idx val="686"/>
            <c:spPr>
              <a:solidFill>
                <a:srgbClr val="AEABAB"/>
              </a:solidFill>
            </c:spPr>
          </c:dPt>
          <c:dPt>
            <c:idx val="687"/>
            <c:spPr>
              <a:solidFill>
                <a:srgbClr val="AEABAB"/>
              </a:solidFill>
            </c:spPr>
          </c:dPt>
          <c:dPt>
            <c:idx val="688"/>
            <c:spPr>
              <a:solidFill>
                <a:srgbClr val="AEABAB"/>
              </a:solidFill>
            </c:spPr>
          </c:dPt>
          <c:dPt>
            <c:idx val="689"/>
            <c:spPr>
              <a:solidFill>
                <a:srgbClr val="AEABAB"/>
              </a:solidFill>
            </c:spPr>
          </c:dPt>
          <c:dPt>
            <c:idx val="690"/>
            <c:spPr>
              <a:solidFill>
                <a:srgbClr val="AEABAB"/>
              </a:solidFill>
            </c:spPr>
          </c:dPt>
          <c:dPt>
            <c:idx val="691"/>
            <c:spPr>
              <a:solidFill>
                <a:srgbClr val="AEABAB"/>
              </a:solidFill>
            </c:spPr>
          </c:dPt>
          <c:dPt>
            <c:idx val="692"/>
            <c:spPr>
              <a:solidFill>
                <a:srgbClr val="AEABAB"/>
              </a:solidFill>
            </c:spPr>
          </c:dPt>
          <c:dPt>
            <c:idx val="693"/>
            <c:spPr>
              <a:solidFill>
                <a:srgbClr val="AEABAB"/>
              </a:solidFill>
            </c:spPr>
          </c:dPt>
          <c:dPt>
            <c:idx val="694"/>
            <c:spPr>
              <a:solidFill>
                <a:srgbClr val="AEABAB"/>
              </a:solidFill>
            </c:spPr>
          </c:dPt>
          <c:dPt>
            <c:idx val="695"/>
            <c:spPr>
              <a:solidFill>
                <a:srgbClr val="AEABAB"/>
              </a:solidFill>
            </c:spPr>
          </c:dPt>
          <c:dPt>
            <c:idx val="696"/>
            <c:spPr>
              <a:solidFill>
                <a:srgbClr val="AEABAB"/>
              </a:solidFill>
            </c:spPr>
          </c:dPt>
          <c:dPt>
            <c:idx val="697"/>
            <c:spPr>
              <a:solidFill>
                <a:srgbClr val="AEABAB"/>
              </a:solidFill>
            </c:spPr>
          </c:dPt>
          <c:dPt>
            <c:idx val="698"/>
            <c:spPr>
              <a:solidFill>
                <a:srgbClr val="AEABAB"/>
              </a:solidFill>
            </c:spPr>
          </c:dPt>
          <c:dPt>
            <c:idx val="699"/>
            <c:spPr>
              <a:solidFill>
                <a:srgbClr val="AEABAB"/>
              </a:solidFill>
            </c:spPr>
          </c:dPt>
          <c:dPt>
            <c:idx val="700"/>
            <c:spPr>
              <a:solidFill>
                <a:srgbClr val="AEABAB"/>
              </a:solidFill>
            </c:spPr>
          </c:dPt>
          <c:dPt>
            <c:idx val="701"/>
            <c:spPr>
              <a:solidFill>
                <a:srgbClr val="AEABAB"/>
              </a:solidFill>
            </c:spPr>
          </c:dPt>
          <c:dPt>
            <c:idx val="702"/>
            <c:spPr>
              <a:solidFill>
                <a:srgbClr val="AEABAB"/>
              </a:solidFill>
            </c:spPr>
          </c:dPt>
          <c:dPt>
            <c:idx val="703"/>
            <c:spPr>
              <a:solidFill>
                <a:srgbClr val="AEABAB"/>
              </a:solidFill>
            </c:spPr>
          </c:dPt>
          <c:dPt>
            <c:idx val="704"/>
            <c:spPr>
              <a:solidFill>
                <a:srgbClr val="AEABAB"/>
              </a:solidFill>
            </c:spPr>
          </c:dPt>
          <c:dPt>
            <c:idx val="705"/>
            <c:spPr>
              <a:solidFill>
                <a:srgbClr val="AEABAB"/>
              </a:solidFill>
            </c:spPr>
          </c:dPt>
          <c:dPt>
            <c:idx val="706"/>
            <c:spPr>
              <a:solidFill>
                <a:srgbClr val="AEABAB"/>
              </a:solidFill>
            </c:spPr>
          </c:dPt>
          <c:dPt>
            <c:idx val="707"/>
            <c:spPr>
              <a:solidFill>
                <a:srgbClr val="AEABAB"/>
              </a:solidFill>
            </c:spPr>
          </c:dPt>
          <c:dPt>
            <c:idx val="708"/>
            <c:spPr>
              <a:solidFill>
                <a:srgbClr val="AEABAB"/>
              </a:solidFill>
            </c:spPr>
          </c:dPt>
          <c:dPt>
            <c:idx val="709"/>
            <c:spPr>
              <a:solidFill>
                <a:srgbClr val="AEABAB"/>
              </a:solidFill>
            </c:spPr>
          </c:dPt>
          <c:dPt>
            <c:idx val="710"/>
            <c:spPr>
              <a:solidFill>
                <a:srgbClr val="AEABAB"/>
              </a:solidFill>
            </c:spPr>
          </c:dPt>
          <c:dPt>
            <c:idx val="711"/>
            <c:spPr>
              <a:solidFill>
                <a:srgbClr val="AEABAB"/>
              </a:solidFill>
            </c:spPr>
          </c:dPt>
          <c:dPt>
            <c:idx val="712"/>
            <c:spPr>
              <a:solidFill>
                <a:srgbClr val="AEABAB"/>
              </a:solidFill>
            </c:spPr>
          </c:dPt>
          <c:dPt>
            <c:idx val="713"/>
            <c:spPr>
              <a:solidFill>
                <a:srgbClr val="AEABAB"/>
              </a:solidFill>
            </c:spPr>
          </c:dPt>
          <c:dPt>
            <c:idx val="714"/>
            <c:spPr>
              <a:solidFill>
                <a:srgbClr val="AEABAB"/>
              </a:solidFill>
            </c:spPr>
          </c:dPt>
          <c:dPt>
            <c:idx val="715"/>
            <c:spPr>
              <a:solidFill>
                <a:srgbClr val="AEABAB"/>
              </a:solidFill>
            </c:spPr>
          </c:dPt>
          <c:dPt>
            <c:idx val="716"/>
            <c:spPr>
              <a:solidFill>
                <a:srgbClr val="AEABAB"/>
              </a:solidFill>
            </c:spPr>
          </c:dPt>
          <c:dPt>
            <c:idx val="717"/>
            <c:spPr>
              <a:solidFill>
                <a:srgbClr val="AEABAB"/>
              </a:solidFill>
            </c:spPr>
          </c:dPt>
          <c:dPt>
            <c:idx val="718"/>
            <c:spPr>
              <a:solidFill>
                <a:srgbClr val="AEABAB"/>
              </a:solidFill>
            </c:spPr>
          </c:dPt>
          <c:dPt>
            <c:idx val="719"/>
            <c:spPr>
              <a:solidFill>
                <a:srgbClr val="AEABAB"/>
              </a:solidFill>
            </c:spPr>
          </c:dPt>
          <c:dPt>
            <c:idx val="720"/>
            <c:spPr>
              <a:solidFill>
                <a:srgbClr val="AEABAB"/>
              </a:solidFill>
            </c:spPr>
          </c:dPt>
          <c:dPt>
            <c:idx val="721"/>
            <c:spPr>
              <a:solidFill>
                <a:srgbClr val="AEABAB"/>
              </a:solidFill>
            </c:spPr>
          </c:dPt>
          <c:dPt>
            <c:idx val="722"/>
            <c:spPr>
              <a:solidFill>
                <a:srgbClr val="AEABAB"/>
              </a:solidFill>
            </c:spPr>
          </c:dPt>
          <c:dPt>
            <c:idx val="723"/>
            <c:spPr>
              <a:solidFill>
                <a:srgbClr val="AEABAB"/>
              </a:solidFill>
            </c:spPr>
          </c:dPt>
          <c:dPt>
            <c:idx val="724"/>
            <c:spPr>
              <a:solidFill>
                <a:srgbClr val="AEABAB"/>
              </a:solidFill>
            </c:spPr>
          </c:dPt>
          <c:dPt>
            <c:idx val="725"/>
            <c:spPr>
              <a:solidFill>
                <a:srgbClr val="AEABAB"/>
              </a:solidFill>
            </c:spPr>
          </c:dPt>
          <c:dPt>
            <c:idx val="726"/>
            <c:spPr>
              <a:solidFill>
                <a:srgbClr val="AEABAB"/>
              </a:solidFill>
            </c:spPr>
          </c:dPt>
          <c:dPt>
            <c:idx val="727"/>
            <c:spPr>
              <a:solidFill>
                <a:srgbClr val="AEABAB"/>
              </a:solidFill>
            </c:spPr>
          </c:dPt>
          <c:dPt>
            <c:idx val="728"/>
            <c:spPr>
              <a:solidFill>
                <a:srgbClr val="AEABAB"/>
              </a:solidFill>
            </c:spPr>
          </c:dPt>
          <c:dPt>
            <c:idx val="729"/>
            <c:spPr>
              <a:solidFill>
                <a:srgbClr val="AEABAB"/>
              </a:solidFill>
            </c:spPr>
          </c:dPt>
          <c:dPt>
            <c:idx val="730"/>
            <c:spPr>
              <a:solidFill>
                <a:srgbClr val="AEABAB"/>
              </a:solidFill>
            </c:spPr>
          </c:dPt>
          <c:dPt>
            <c:idx val="731"/>
            <c:spPr>
              <a:solidFill>
                <a:srgbClr val="AEABAB"/>
              </a:solidFill>
            </c:spPr>
          </c:dPt>
          <c:dPt>
            <c:idx val="732"/>
            <c:spPr>
              <a:solidFill>
                <a:srgbClr val="AEABAB"/>
              </a:solidFill>
            </c:spPr>
          </c:dPt>
          <c:dPt>
            <c:idx val="733"/>
            <c:spPr>
              <a:solidFill>
                <a:srgbClr val="AEABAB"/>
              </a:solidFill>
            </c:spPr>
          </c:dPt>
          <c:dPt>
            <c:idx val="734"/>
            <c:spPr>
              <a:solidFill>
                <a:srgbClr val="AEABAB"/>
              </a:solidFill>
            </c:spPr>
          </c:dPt>
          <c:dPt>
            <c:idx val="735"/>
            <c:spPr>
              <a:solidFill>
                <a:srgbClr val="AEABAB"/>
              </a:solidFill>
            </c:spPr>
          </c:dPt>
          <c:dPt>
            <c:idx val="736"/>
            <c:spPr>
              <a:solidFill>
                <a:srgbClr val="AEABAB"/>
              </a:solidFill>
            </c:spPr>
          </c:dPt>
          <c:dPt>
            <c:idx val="737"/>
            <c:spPr>
              <a:solidFill>
                <a:srgbClr val="AEABAB"/>
              </a:solidFill>
            </c:spPr>
          </c:dPt>
          <c:dPt>
            <c:idx val="738"/>
            <c:spPr>
              <a:solidFill>
                <a:srgbClr val="AEABAB"/>
              </a:solidFill>
            </c:spPr>
          </c:dPt>
          <c:dPt>
            <c:idx val="739"/>
            <c:spPr>
              <a:solidFill>
                <a:srgbClr val="AEABAB"/>
              </a:solidFill>
            </c:spPr>
          </c:dPt>
          <c:dPt>
            <c:idx val="740"/>
            <c:spPr>
              <a:solidFill>
                <a:srgbClr val="AEABAB"/>
              </a:solidFill>
            </c:spPr>
          </c:dPt>
          <c:dPt>
            <c:idx val="741"/>
            <c:spPr>
              <a:solidFill>
                <a:srgbClr val="AEABAB"/>
              </a:solidFill>
            </c:spPr>
          </c:dPt>
          <c:dPt>
            <c:idx val="742"/>
            <c:spPr>
              <a:solidFill>
                <a:srgbClr val="AEABAB"/>
              </a:solidFill>
            </c:spPr>
          </c:dPt>
          <c:dPt>
            <c:idx val="743"/>
            <c:spPr>
              <a:solidFill>
                <a:srgbClr val="AEABAB"/>
              </a:solidFill>
            </c:spPr>
          </c:dPt>
          <c:dPt>
            <c:idx val="744"/>
            <c:spPr>
              <a:solidFill>
                <a:srgbClr val="AEABAB"/>
              </a:solidFill>
            </c:spPr>
          </c:dPt>
          <c:dPt>
            <c:idx val="745"/>
            <c:spPr>
              <a:solidFill>
                <a:srgbClr val="AEABAB"/>
              </a:solidFill>
            </c:spPr>
          </c:dPt>
          <c:dPt>
            <c:idx val="746"/>
            <c:spPr>
              <a:solidFill>
                <a:srgbClr val="AEABAB"/>
              </a:solidFill>
            </c:spPr>
          </c:dPt>
          <c:dPt>
            <c:idx val="747"/>
            <c:spPr>
              <a:solidFill>
                <a:srgbClr val="AEABAB"/>
              </a:solidFill>
            </c:spPr>
          </c:dPt>
          <c:dPt>
            <c:idx val="748"/>
            <c:spPr>
              <a:solidFill>
                <a:srgbClr val="AEABAB"/>
              </a:solidFill>
            </c:spPr>
          </c:dPt>
          <c:dPt>
            <c:idx val="749"/>
            <c:spPr>
              <a:solidFill>
                <a:srgbClr val="AEABAB"/>
              </a:solidFill>
            </c:spPr>
          </c:dPt>
          <c:dPt>
            <c:idx val="750"/>
            <c:spPr>
              <a:solidFill>
                <a:srgbClr val="AEABAB"/>
              </a:solidFill>
            </c:spPr>
          </c:dPt>
          <c:dPt>
            <c:idx val="751"/>
            <c:spPr>
              <a:solidFill>
                <a:srgbClr val="AEABAB"/>
              </a:solidFill>
            </c:spPr>
          </c:dPt>
          <c:dPt>
            <c:idx val="752"/>
            <c:spPr>
              <a:solidFill>
                <a:srgbClr val="AEABAB"/>
              </a:solidFill>
            </c:spPr>
          </c:dPt>
          <c:dPt>
            <c:idx val="753"/>
            <c:spPr>
              <a:solidFill>
                <a:srgbClr val="AEABAB"/>
              </a:solidFill>
            </c:spPr>
          </c:dPt>
          <c:dPt>
            <c:idx val="754"/>
            <c:spPr>
              <a:solidFill>
                <a:srgbClr val="AEABAB"/>
              </a:solidFill>
            </c:spPr>
          </c:dPt>
          <c:dPt>
            <c:idx val="755"/>
            <c:spPr>
              <a:solidFill>
                <a:srgbClr val="AEABAB"/>
              </a:solidFill>
            </c:spPr>
          </c:dPt>
          <c:dPt>
            <c:idx val="756"/>
            <c:spPr>
              <a:solidFill>
                <a:srgbClr val="AEABAB"/>
              </a:solidFill>
            </c:spPr>
          </c:dPt>
          <c:dPt>
            <c:idx val="757"/>
            <c:spPr>
              <a:solidFill>
                <a:srgbClr val="AEABAB"/>
              </a:solidFill>
            </c:spPr>
          </c:dPt>
          <c:dPt>
            <c:idx val="758"/>
            <c:spPr>
              <a:solidFill>
                <a:srgbClr val="AEABAB"/>
              </a:solidFill>
            </c:spPr>
          </c:dPt>
          <c:dPt>
            <c:idx val="759"/>
            <c:spPr>
              <a:solidFill>
                <a:srgbClr val="AEABAB"/>
              </a:solidFill>
            </c:spPr>
          </c:dPt>
          <c:dPt>
            <c:idx val="760"/>
            <c:spPr>
              <a:solidFill>
                <a:srgbClr val="AEABAB"/>
              </a:solidFill>
            </c:spPr>
          </c:dPt>
          <c:dPt>
            <c:idx val="761"/>
            <c:spPr>
              <a:solidFill>
                <a:srgbClr val="AEABAB"/>
              </a:solidFill>
            </c:spPr>
          </c:dPt>
          <c:dPt>
            <c:idx val="762"/>
            <c:spPr>
              <a:solidFill>
                <a:srgbClr val="AEABAB"/>
              </a:solidFill>
            </c:spPr>
          </c:dPt>
          <c:dPt>
            <c:idx val="763"/>
            <c:spPr>
              <a:solidFill>
                <a:srgbClr val="AEABAB"/>
              </a:solidFill>
            </c:spPr>
          </c:dPt>
          <c:dPt>
            <c:idx val="764"/>
            <c:spPr>
              <a:solidFill>
                <a:srgbClr val="AEABAB"/>
              </a:solidFill>
            </c:spPr>
          </c:dPt>
          <c:dPt>
            <c:idx val="765"/>
            <c:spPr>
              <a:solidFill>
                <a:srgbClr val="AEABAB"/>
              </a:solidFill>
            </c:spPr>
          </c:dPt>
          <c:dPt>
            <c:idx val="766"/>
            <c:spPr>
              <a:solidFill>
                <a:srgbClr val="AEABAB"/>
              </a:solidFill>
            </c:spPr>
          </c:dPt>
          <c:dPt>
            <c:idx val="767"/>
            <c:spPr>
              <a:solidFill>
                <a:srgbClr val="AEABAB"/>
              </a:solidFill>
            </c:spPr>
          </c:dPt>
          <c:dPt>
            <c:idx val="768"/>
            <c:spPr>
              <a:solidFill>
                <a:srgbClr val="AEABAB"/>
              </a:solidFill>
            </c:spPr>
          </c:dPt>
          <c:dPt>
            <c:idx val="769"/>
            <c:spPr>
              <a:solidFill>
                <a:srgbClr val="AEABAB"/>
              </a:solidFill>
            </c:spPr>
          </c:dPt>
          <c:dPt>
            <c:idx val="770"/>
            <c:spPr>
              <a:solidFill>
                <a:srgbClr val="AEABAB"/>
              </a:solidFill>
            </c:spPr>
          </c:dPt>
          <c:dPt>
            <c:idx val="771"/>
            <c:spPr>
              <a:solidFill>
                <a:srgbClr val="AEABAB"/>
              </a:solidFill>
            </c:spPr>
          </c:dPt>
          <c:dPt>
            <c:idx val="772"/>
            <c:spPr>
              <a:solidFill>
                <a:srgbClr val="AEABAB"/>
              </a:solidFill>
            </c:spPr>
          </c:dPt>
          <c:dPt>
            <c:idx val="773"/>
            <c:spPr>
              <a:solidFill>
                <a:srgbClr val="AEABAB"/>
              </a:solidFill>
            </c:spPr>
          </c:dPt>
          <c:dPt>
            <c:idx val="774"/>
            <c:spPr>
              <a:solidFill>
                <a:srgbClr val="AEABAB"/>
              </a:solidFill>
            </c:spPr>
          </c:dPt>
          <c:dPt>
            <c:idx val="775"/>
            <c:spPr>
              <a:solidFill>
                <a:srgbClr val="AEABAB"/>
              </a:solidFill>
            </c:spPr>
          </c:dPt>
          <c:dPt>
            <c:idx val="776"/>
            <c:spPr>
              <a:solidFill>
                <a:srgbClr val="AEABAB"/>
              </a:solidFill>
            </c:spPr>
          </c:dPt>
          <c:dPt>
            <c:idx val="777"/>
            <c:spPr>
              <a:solidFill>
                <a:srgbClr val="AEABAB"/>
              </a:solidFill>
            </c:spPr>
          </c:dPt>
          <c:dPt>
            <c:idx val="778"/>
            <c:spPr>
              <a:solidFill>
                <a:srgbClr val="AEABAB"/>
              </a:solidFill>
            </c:spPr>
          </c:dPt>
          <c:dPt>
            <c:idx val="779"/>
            <c:spPr>
              <a:solidFill>
                <a:srgbClr val="AEABAB"/>
              </a:solidFill>
            </c:spPr>
          </c:dPt>
          <c:dPt>
            <c:idx val="780"/>
            <c:spPr>
              <a:solidFill>
                <a:srgbClr val="AEABAB"/>
              </a:solidFill>
            </c:spPr>
          </c:dPt>
          <c:dPt>
            <c:idx val="781"/>
            <c:spPr>
              <a:solidFill>
                <a:srgbClr val="AEABAB"/>
              </a:solidFill>
            </c:spPr>
          </c:dPt>
          <c:dPt>
            <c:idx val="782"/>
            <c:spPr>
              <a:solidFill>
                <a:srgbClr val="AEABAB"/>
              </a:solidFill>
            </c:spPr>
          </c:dPt>
          <c:dPt>
            <c:idx val="783"/>
            <c:spPr>
              <a:solidFill>
                <a:srgbClr val="AEABAB"/>
              </a:solidFill>
            </c:spPr>
          </c:dPt>
          <c:dPt>
            <c:idx val="784"/>
            <c:spPr>
              <a:solidFill>
                <a:srgbClr val="AEABAB"/>
              </a:solidFill>
            </c:spPr>
          </c:dPt>
          <c:dPt>
            <c:idx val="785"/>
            <c:spPr>
              <a:solidFill>
                <a:srgbClr val="AEABAB"/>
              </a:solidFill>
            </c:spPr>
          </c:dPt>
          <c:dPt>
            <c:idx val="786"/>
            <c:spPr>
              <a:solidFill>
                <a:srgbClr val="AEABAB"/>
              </a:solidFill>
            </c:spPr>
          </c:dPt>
          <c:dPt>
            <c:idx val="787"/>
            <c:spPr>
              <a:solidFill>
                <a:srgbClr val="AEABAB"/>
              </a:solidFill>
            </c:spPr>
          </c:dPt>
          <c:dPt>
            <c:idx val="788"/>
            <c:spPr>
              <a:solidFill>
                <a:srgbClr val="AEABAB"/>
              </a:solidFill>
            </c:spPr>
          </c:dPt>
          <c:dPt>
            <c:idx val="789"/>
            <c:spPr>
              <a:solidFill>
                <a:srgbClr val="AEABAB"/>
              </a:solidFill>
            </c:spPr>
          </c:dPt>
          <c:dPt>
            <c:idx val="790"/>
            <c:spPr>
              <a:solidFill>
                <a:srgbClr val="AEABAB"/>
              </a:solidFill>
            </c:spPr>
          </c:dPt>
          <c:dPt>
            <c:idx val="791"/>
            <c:spPr>
              <a:solidFill>
                <a:srgbClr val="AEABAB"/>
              </a:solidFill>
            </c:spPr>
          </c:dPt>
          <c:dPt>
            <c:idx val="792"/>
            <c:spPr>
              <a:solidFill>
                <a:srgbClr val="AEABAB"/>
              </a:solidFill>
            </c:spPr>
          </c:dPt>
          <c:dPt>
            <c:idx val="793"/>
            <c:spPr>
              <a:solidFill>
                <a:srgbClr val="AEABAB"/>
              </a:solidFill>
            </c:spPr>
          </c:dPt>
          <c:dPt>
            <c:idx val="794"/>
            <c:spPr>
              <a:solidFill>
                <a:srgbClr val="AEABAB"/>
              </a:solidFill>
            </c:spPr>
          </c:dPt>
          <c:dPt>
            <c:idx val="795"/>
            <c:spPr>
              <a:solidFill>
                <a:srgbClr val="AEABAB"/>
              </a:solidFill>
            </c:spPr>
          </c:dPt>
          <c:dPt>
            <c:idx val="796"/>
            <c:spPr>
              <a:solidFill>
                <a:srgbClr val="AEABAB"/>
              </a:solidFill>
            </c:spPr>
          </c:dPt>
          <c:dPt>
            <c:idx val="797"/>
            <c:spPr>
              <a:solidFill>
                <a:srgbClr val="AEABAB"/>
              </a:solidFill>
            </c:spPr>
          </c:dPt>
          <c:dPt>
            <c:idx val="798"/>
            <c:spPr>
              <a:solidFill>
                <a:srgbClr val="AEABAB"/>
              </a:solidFill>
            </c:spPr>
          </c:dPt>
          <c:dPt>
            <c:idx val="799"/>
            <c:spPr>
              <a:solidFill>
                <a:srgbClr val="AEABAB"/>
              </a:solidFill>
            </c:spPr>
          </c:dPt>
          <c:dPt>
            <c:idx val="800"/>
            <c:spPr>
              <a:solidFill>
                <a:srgbClr val="AEABAB"/>
              </a:solidFill>
            </c:spPr>
          </c:dPt>
          <c:dPt>
            <c:idx val="801"/>
            <c:spPr>
              <a:solidFill>
                <a:srgbClr val="AEABAB"/>
              </a:solidFill>
            </c:spPr>
          </c:dPt>
          <c:dPt>
            <c:idx val="802"/>
            <c:spPr>
              <a:solidFill>
                <a:srgbClr val="AEABAB"/>
              </a:solidFill>
            </c:spPr>
          </c:dPt>
          <c:dPt>
            <c:idx val="803"/>
            <c:spPr>
              <a:solidFill>
                <a:srgbClr val="AEABAB"/>
              </a:solidFill>
            </c:spPr>
          </c:dPt>
          <c:dPt>
            <c:idx val="804"/>
            <c:spPr>
              <a:solidFill>
                <a:srgbClr val="AEABAB"/>
              </a:solidFill>
            </c:spPr>
          </c:dPt>
          <c:dPt>
            <c:idx val="805"/>
            <c:spPr>
              <a:solidFill>
                <a:srgbClr val="AEABAB"/>
              </a:solidFill>
            </c:spPr>
          </c:dPt>
          <c:dPt>
            <c:idx val="806"/>
            <c:spPr>
              <a:solidFill>
                <a:srgbClr val="AEABAB"/>
              </a:solidFill>
            </c:spPr>
          </c:dPt>
          <c:dPt>
            <c:idx val="807"/>
            <c:spPr>
              <a:solidFill>
                <a:srgbClr val="AEABAB"/>
              </a:solidFill>
            </c:spPr>
          </c:dPt>
          <c:dPt>
            <c:idx val="808"/>
            <c:spPr>
              <a:solidFill>
                <a:srgbClr val="AEABAB"/>
              </a:solidFill>
            </c:spPr>
          </c:dPt>
          <c:dPt>
            <c:idx val="809"/>
            <c:spPr>
              <a:solidFill>
                <a:srgbClr val="AEABAB"/>
              </a:solidFill>
            </c:spPr>
          </c:dPt>
          <c:dPt>
            <c:idx val="810"/>
            <c:spPr>
              <a:solidFill>
                <a:srgbClr val="AEABAB"/>
              </a:solidFill>
            </c:spPr>
          </c:dPt>
          <c:dPt>
            <c:idx val="811"/>
            <c:spPr>
              <a:solidFill>
                <a:srgbClr val="AEABAB"/>
              </a:solidFill>
            </c:spPr>
          </c:dPt>
          <c:dPt>
            <c:idx val="812"/>
            <c:spPr>
              <a:solidFill>
                <a:srgbClr val="AEABAB"/>
              </a:solidFill>
            </c:spPr>
          </c:dPt>
          <c:dPt>
            <c:idx val="813"/>
            <c:spPr>
              <a:solidFill>
                <a:srgbClr val="AEABAB"/>
              </a:solidFill>
            </c:spPr>
          </c:dPt>
          <c:dPt>
            <c:idx val="814"/>
            <c:spPr>
              <a:solidFill>
                <a:srgbClr val="AEABAB"/>
              </a:solidFill>
            </c:spPr>
          </c:dPt>
          <c:dPt>
            <c:idx val="815"/>
            <c:spPr>
              <a:solidFill>
                <a:srgbClr val="AEABAB"/>
              </a:solidFill>
            </c:spPr>
          </c:dPt>
          <c:dPt>
            <c:idx val="816"/>
            <c:spPr>
              <a:solidFill>
                <a:srgbClr val="AEABAB"/>
              </a:solidFill>
            </c:spPr>
          </c:dPt>
          <c:dPt>
            <c:idx val="817"/>
            <c:spPr>
              <a:solidFill>
                <a:srgbClr val="AEABAB"/>
              </a:solidFill>
            </c:spPr>
          </c:dPt>
          <c:dPt>
            <c:idx val="818"/>
            <c:spPr>
              <a:solidFill>
                <a:srgbClr val="AEABAB"/>
              </a:solidFill>
            </c:spPr>
          </c:dPt>
          <c:dPt>
            <c:idx val="819"/>
            <c:spPr>
              <a:solidFill>
                <a:srgbClr val="AEABAB"/>
              </a:solidFill>
            </c:spPr>
          </c:dPt>
          <c:dPt>
            <c:idx val="820"/>
            <c:spPr>
              <a:solidFill>
                <a:srgbClr val="AEABAB"/>
              </a:solidFill>
            </c:spPr>
          </c:dPt>
          <c:dPt>
            <c:idx val="821"/>
            <c:spPr>
              <a:solidFill>
                <a:srgbClr val="AEABAB"/>
              </a:solidFill>
            </c:spPr>
          </c:dPt>
          <c:dPt>
            <c:idx val="822"/>
            <c:spPr>
              <a:solidFill>
                <a:srgbClr val="AEABAB"/>
              </a:solidFill>
            </c:spPr>
          </c:dPt>
          <c:dPt>
            <c:idx val="823"/>
            <c:spPr>
              <a:solidFill>
                <a:srgbClr val="AEABAB"/>
              </a:solidFill>
            </c:spPr>
          </c:dPt>
          <c:dPt>
            <c:idx val="824"/>
            <c:spPr>
              <a:solidFill>
                <a:srgbClr val="AEABAB"/>
              </a:solidFill>
            </c:spPr>
          </c:dPt>
          <c:dPt>
            <c:idx val="825"/>
            <c:spPr>
              <a:solidFill>
                <a:srgbClr val="AEABAB"/>
              </a:solidFill>
            </c:spPr>
          </c:dPt>
          <c:dPt>
            <c:idx val="826"/>
            <c:spPr>
              <a:solidFill>
                <a:srgbClr val="AEABAB"/>
              </a:solidFill>
            </c:spPr>
          </c:dPt>
          <c:dPt>
            <c:idx val="827"/>
            <c:spPr>
              <a:solidFill>
                <a:srgbClr val="AEABAB"/>
              </a:solidFill>
            </c:spPr>
          </c:dPt>
          <c:dPt>
            <c:idx val="828"/>
            <c:spPr>
              <a:solidFill>
                <a:srgbClr val="AEABAB"/>
              </a:solidFill>
            </c:spPr>
          </c:dPt>
          <c:dPt>
            <c:idx val="829"/>
            <c:spPr>
              <a:solidFill>
                <a:srgbClr val="AEABAB"/>
              </a:solidFill>
            </c:spPr>
          </c:dPt>
          <c:dPt>
            <c:idx val="830"/>
            <c:spPr>
              <a:solidFill>
                <a:srgbClr val="AEABAB"/>
              </a:solidFill>
            </c:spPr>
          </c:dPt>
          <c:dPt>
            <c:idx val="831"/>
            <c:spPr>
              <a:solidFill>
                <a:srgbClr val="AEABAB"/>
              </a:solidFill>
            </c:spPr>
          </c:dPt>
          <c:dPt>
            <c:idx val="832"/>
            <c:spPr>
              <a:solidFill>
                <a:srgbClr val="AEABAB"/>
              </a:solidFill>
            </c:spPr>
          </c:dPt>
          <c:dPt>
            <c:idx val="833"/>
            <c:spPr>
              <a:solidFill>
                <a:srgbClr val="AEABAB"/>
              </a:solidFill>
            </c:spPr>
          </c:dPt>
          <c:dPt>
            <c:idx val="834"/>
            <c:spPr>
              <a:solidFill>
                <a:srgbClr val="AEABAB"/>
              </a:solidFill>
            </c:spPr>
          </c:dPt>
          <c:dPt>
            <c:idx val="835"/>
            <c:spPr>
              <a:solidFill>
                <a:srgbClr val="AEABAB"/>
              </a:solidFill>
            </c:spPr>
          </c:dPt>
          <c:dPt>
            <c:idx val="836"/>
            <c:spPr>
              <a:solidFill>
                <a:srgbClr val="AEABAB"/>
              </a:solidFill>
            </c:spPr>
          </c:dPt>
          <c:dPt>
            <c:idx val="837"/>
            <c:spPr>
              <a:solidFill>
                <a:srgbClr val="AEABAB"/>
              </a:solidFill>
            </c:spPr>
          </c:dPt>
          <c:dPt>
            <c:idx val="838"/>
            <c:spPr>
              <a:solidFill>
                <a:srgbClr val="AEABAB"/>
              </a:solidFill>
            </c:spPr>
          </c:dPt>
          <c:dPt>
            <c:idx val="839"/>
            <c:spPr>
              <a:solidFill>
                <a:srgbClr val="AEABAB"/>
              </a:solidFill>
            </c:spPr>
          </c:dPt>
          <c:dPt>
            <c:idx val="840"/>
            <c:spPr>
              <a:solidFill>
                <a:srgbClr val="AEABAB"/>
              </a:solidFill>
            </c:spPr>
          </c:dPt>
          <c:dPt>
            <c:idx val="841"/>
            <c:spPr>
              <a:solidFill>
                <a:srgbClr val="AEABAB"/>
              </a:solidFill>
            </c:spPr>
          </c:dPt>
          <c:dPt>
            <c:idx val="842"/>
            <c:spPr>
              <a:solidFill>
                <a:srgbClr val="AEABAB"/>
              </a:solidFill>
            </c:spPr>
          </c:dPt>
          <c:dPt>
            <c:idx val="843"/>
            <c:spPr>
              <a:solidFill>
                <a:srgbClr val="AEABAB"/>
              </a:solidFill>
            </c:spPr>
          </c:dPt>
          <c:dPt>
            <c:idx val="844"/>
            <c:spPr>
              <a:solidFill>
                <a:srgbClr val="AEABAB"/>
              </a:solidFill>
            </c:spPr>
          </c:dPt>
          <c:dPt>
            <c:idx val="845"/>
            <c:spPr>
              <a:solidFill>
                <a:srgbClr val="AEABAB"/>
              </a:solidFill>
            </c:spPr>
          </c:dPt>
          <c:dPt>
            <c:idx val="846"/>
            <c:spPr>
              <a:solidFill>
                <a:srgbClr val="AEABAB"/>
              </a:solidFill>
            </c:spPr>
          </c:dPt>
          <c:dPt>
            <c:idx val="847"/>
            <c:spPr>
              <a:solidFill>
                <a:srgbClr val="AEABAB"/>
              </a:solidFill>
            </c:spPr>
          </c:dPt>
          <c:dPt>
            <c:idx val="848"/>
            <c:spPr>
              <a:solidFill>
                <a:srgbClr val="AEABAB"/>
              </a:solidFill>
            </c:spPr>
          </c:dPt>
          <c:dPt>
            <c:idx val="849"/>
            <c:spPr>
              <a:solidFill>
                <a:srgbClr val="AEABAB"/>
              </a:solidFill>
            </c:spPr>
          </c:dPt>
          <c:dPt>
            <c:idx val="850"/>
            <c:spPr>
              <a:solidFill>
                <a:srgbClr val="AEABAB"/>
              </a:solidFill>
            </c:spPr>
          </c:dPt>
          <c:dPt>
            <c:idx val="851"/>
            <c:spPr>
              <a:solidFill>
                <a:srgbClr val="AEABAB"/>
              </a:solidFill>
            </c:spPr>
          </c:dPt>
          <c:dPt>
            <c:idx val="852"/>
            <c:spPr>
              <a:solidFill>
                <a:srgbClr val="AEABAB"/>
              </a:solidFill>
            </c:spPr>
          </c:dPt>
          <c:dPt>
            <c:idx val="853"/>
            <c:spPr>
              <a:solidFill>
                <a:srgbClr val="AEABAB"/>
              </a:solidFill>
            </c:spPr>
          </c:dPt>
          <c:dPt>
            <c:idx val="854"/>
            <c:spPr>
              <a:solidFill>
                <a:srgbClr val="AEABAB"/>
              </a:solidFill>
            </c:spPr>
          </c:dPt>
          <c:dPt>
            <c:idx val="855"/>
            <c:spPr>
              <a:solidFill>
                <a:srgbClr val="AEABAB"/>
              </a:solidFill>
            </c:spPr>
          </c:dPt>
          <c:dPt>
            <c:idx val="856"/>
            <c:spPr>
              <a:solidFill>
                <a:srgbClr val="AEABAB"/>
              </a:solidFill>
            </c:spPr>
          </c:dPt>
          <c:dPt>
            <c:idx val="857"/>
            <c:spPr>
              <a:solidFill>
                <a:srgbClr val="AEABAB"/>
              </a:solidFill>
            </c:spPr>
          </c:dPt>
          <c:dPt>
            <c:idx val="858"/>
            <c:spPr>
              <a:solidFill>
                <a:srgbClr val="AEABAB"/>
              </a:solidFill>
            </c:spPr>
          </c:dPt>
          <c:dPt>
            <c:idx val="859"/>
            <c:spPr>
              <a:solidFill>
                <a:srgbClr val="AEABAB"/>
              </a:solidFill>
            </c:spPr>
          </c:dPt>
          <c:dPt>
            <c:idx val="860"/>
            <c:spPr>
              <a:solidFill>
                <a:srgbClr val="AEABAB"/>
              </a:solidFill>
            </c:spPr>
          </c:dPt>
          <c:dPt>
            <c:idx val="861"/>
            <c:spPr>
              <a:solidFill>
                <a:srgbClr val="AEABAB"/>
              </a:solidFill>
            </c:spPr>
          </c:dPt>
          <c:dPt>
            <c:idx val="862"/>
            <c:spPr>
              <a:solidFill>
                <a:srgbClr val="AEABAB"/>
              </a:solidFill>
            </c:spPr>
          </c:dPt>
          <c:dPt>
            <c:idx val="863"/>
            <c:spPr>
              <a:solidFill>
                <a:srgbClr val="AEABAB"/>
              </a:solidFill>
            </c:spPr>
          </c:dPt>
          <c:dPt>
            <c:idx val="864"/>
            <c:spPr>
              <a:solidFill>
                <a:srgbClr val="AEABAB"/>
              </a:solidFill>
            </c:spPr>
          </c:dPt>
          <c:dPt>
            <c:idx val="865"/>
            <c:spPr>
              <a:solidFill>
                <a:srgbClr val="AEABAB"/>
              </a:solidFill>
            </c:spPr>
          </c:dPt>
          <c:dPt>
            <c:idx val="866"/>
            <c:spPr>
              <a:solidFill>
                <a:srgbClr val="AEABAB"/>
              </a:solidFill>
            </c:spPr>
          </c:dPt>
          <c:dPt>
            <c:idx val="867"/>
            <c:spPr>
              <a:solidFill>
                <a:srgbClr val="AEABAB"/>
              </a:solidFill>
            </c:spPr>
          </c:dPt>
          <c:dPt>
            <c:idx val="868"/>
            <c:spPr>
              <a:solidFill>
                <a:srgbClr val="AEABAB"/>
              </a:solidFill>
            </c:spPr>
          </c:dPt>
          <c:dPt>
            <c:idx val="869"/>
            <c:spPr>
              <a:solidFill>
                <a:srgbClr val="AEABAB"/>
              </a:solidFill>
            </c:spPr>
          </c:dPt>
          <c:dPt>
            <c:idx val="870"/>
            <c:spPr>
              <a:solidFill>
                <a:srgbClr val="AEABAB"/>
              </a:solidFill>
            </c:spPr>
          </c:dPt>
          <c:dPt>
            <c:idx val="871"/>
            <c:spPr>
              <a:solidFill>
                <a:srgbClr val="AEABAB"/>
              </a:solidFill>
            </c:spPr>
          </c:dPt>
          <c:dPt>
            <c:idx val="872"/>
            <c:spPr>
              <a:solidFill>
                <a:srgbClr val="AEABAB"/>
              </a:solidFill>
            </c:spPr>
          </c:dPt>
          <c:dPt>
            <c:idx val="873"/>
            <c:spPr>
              <a:solidFill>
                <a:srgbClr val="AEABAB"/>
              </a:solidFill>
            </c:spPr>
          </c:dPt>
          <c:dPt>
            <c:idx val="874"/>
            <c:spPr>
              <a:solidFill>
                <a:srgbClr val="AEABAB"/>
              </a:solidFill>
            </c:spPr>
          </c:dPt>
          <c:dPt>
            <c:idx val="875"/>
            <c:spPr>
              <a:solidFill>
                <a:srgbClr val="AEABAB"/>
              </a:solidFill>
            </c:spPr>
          </c:dPt>
          <c:dPt>
            <c:idx val="876"/>
            <c:spPr>
              <a:solidFill>
                <a:srgbClr val="AEABAB"/>
              </a:solidFill>
            </c:spPr>
          </c:dPt>
          <c:dPt>
            <c:idx val="877"/>
            <c:spPr>
              <a:solidFill>
                <a:srgbClr val="AEABAB"/>
              </a:solidFill>
            </c:spPr>
          </c:dPt>
          <c:dPt>
            <c:idx val="878"/>
            <c:spPr>
              <a:solidFill>
                <a:srgbClr val="AEABAB"/>
              </a:solidFill>
            </c:spPr>
          </c:dPt>
          <c:dPt>
            <c:idx val="879"/>
            <c:spPr>
              <a:solidFill>
                <a:srgbClr val="AEABAB"/>
              </a:solidFill>
            </c:spPr>
          </c:dPt>
          <c:dPt>
            <c:idx val="880"/>
            <c:spPr>
              <a:solidFill>
                <a:srgbClr val="AEABAB"/>
              </a:solidFill>
            </c:spPr>
          </c:dPt>
          <c:dPt>
            <c:idx val="881"/>
            <c:spPr>
              <a:solidFill>
                <a:srgbClr val="AEABAB"/>
              </a:solidFill>
            </c:spPr>
          </c:dPt>
          <c:dPt>
            <c:idx val="882"/>
            <c:spPr>
              <a:solidFill>
                <a:srgbClr val="AEABAB"/>
              </a:solidFill>
            </c:spPr>
          </c:dPt>
          <c:dPt>
            <c:idx val="883"/>
            <c:spPr>
              <a:solidFill>
                <a:srgbClr val="AEABAB"/>
              </a:solidFill>
            </c:spPr>
          </c:dPt>
          <c:dPt>
            <c:idx val="884"/>
            <c:spPr>
              <a:solidFill>
                <a:srgbClr val="AEABAB"/>
              </a:solidFill>
            </c:spPr>
          </c:dPt>
          <c:dPt>
            <c:idx val="885"/>
            <c:spPr>
              <a:solidFill>
                <a:srgbClr val="AEABAB"/>
              </a:solidFill>
            </c:spPr>
          </c:dPt>
          <c:dPt>
            <c:idx val="886"/>
            <c:spPr>
              <a:solidFill>
                <a:srgbClr val="AEABAB"/>
              </a:solidFill>
            </c:spPr>
          </c:dPt>
          <c:dPt>
            <c:idx val="887"/>
            <c:spPr>
              <a:solidFill>
                <a:srgbClr val="AEABAB"/>
              </a:solidFill>
            </c:spPr>
          </c:dPt>
          <c:dPt>
            <c:idx val="888"/>
            <c:spPr>
              <a:solidFill>
                <a:srgbClr val="AEABAB"/>
              </a:solidFill>
            </c:spPr>
          </c:dPt>
          <c:dPt>
            <c:idx val="889"/>
            <c:spPr>
              <a:solidFill>
                <a:srgbClr val="AEABAB"/>
              </a:solidFill>
            </c:spPr>
          </c:dPt>
          <c:dPt>
            <c:idx val="890"/>
            <c:spPr>
              <a:solidFill>
                <a:srgbClr val="AEABAB"/>
              </a:solidFill>
            </c:spPr>
          </c:dPt>
          <c:dPt>
            <c:idx val="891"/>
            <c:spPr>
              <a:solidFill>
                <a:srgbClr val="AEABAB"/>
              </a:solidFill>
            </c:spPr>
          </c:dPt>
          <c:dPt>
            <c:idx val="892"/>
            <c:spPr>
              <a:solidFill>
                <a:srgbClr val="AEABAB"/>
              </a:solidFill>
            </c:spPr>
          </c:dPt>
          <c:dPt>
            <c:idx val="893"/>
            <c:spPr>
              <a:solidFill>
                <a:srgbClr val="AEABAB"/>
              </a:solidFill>
            </c:spPr>
          </c:dPt>
          <c:dPt>
            <c:idx val="894"/>
            <c:spPr>
              <a:solidFill>
                <a:srgbClr val="AEABAB"/>
              </a:solidFill>
            </c:spPr>
          </c:dPt>
          <c:dPt>
            <c:idx val="895"/>
            <c:spPr>
              <a:solidFill>
                <a:srgbClr val="AEABAB"/>
              </a:solidFill>
            </c:spPr>
          </c:dPt>
          <c:dPt>
            <c:idx val="896"/>
            <c:spPr>
              <a:solidFill>
                <a:srgbClr val="AEABAB"/>
              </a:solidFill>
            </c:spPr>
          </c:dPt>
          <c:dPt>
            <c:idx val="897"/>
            <c:spPr>
              <a:solidFill>
                <a:srgbClr val="AEABAB"/>
              </a:solidFill>
            </c:spPr>
          </c:dPt>
          <c:dPt>
            <c:idx val="898"/>
            <c:spPr>
              <a:solidFill>
                <a:srgbClr val="AEABAB"/>
              </a:solidFill>
            </c:spPr>
          </c:dPt>
          <c:dPt>
            <c:idx val="899"/>
            <c:spPr>
              <a:solidFill>
                <a:srgbClr val="AEABAB"/>
              </a:solidFill>
            </c:spPr>
          </c:dPt>
          <c:dPt>
            <c:idx val="900"/>
            <c:spPr>
              <a:solidFill>
                <a:srgbClr val="AEABAB"/>
              </a:solidFill>
            </c:spPr>
          </c:dPt>
          <c:dPt>
            <c:idx val="901"/>
            <c:spPr>
              <a:solidFill>
                <a:srgbClr val="AEABAB"/>
              </a:solidFill>
            </c:spPr>
          </c:dPt>
          <c:dPt>
            <c:idx val="902"/>
            <c:spPr>
              <a:solidFill>
                <a:srgbClr val="AEABAB"/>
              </a:solidFill>
            </c:spPr>
          </c:dPt>
          <c:dPt>
            <c:idx val="903"/>
            <c:spPr>
              <a:solidFill>
                <a:srgbClr val="AEABAB"/>
              </a:solidFill>
            </c:spPr>
          </c:dPt>
          <c:dPt>
            <c:idx val="904"/>
            <c:spPr>
              <a:solidFill>
                <a:srgbClr val="AEABAB"/>
              </a:solidFill>
            </c:spPr>
          </c:dPt>
          <c:dPt>
            <c:idx val="905"/>
            <c:spPr>
              <a:solidFill>
                <a:srgbClr val="AEABAB"/>
              </a:solidFill>
            </c:spPr>
          </c:dPt>
          <c:dPt>
            <c:idx val="906"/>
            <c:spPr>
              <a:solidFill>
                <a:srgbClr val="AEABAB"/>
              </a:solidFill>
            </c:spPr>
          </c:dPt>
          <c:dPt>
            <c:idx val="907"/>
            <c:spPr>
              <a:solidFill>
                <a:srgbClr val="AEABAB"/>
              </a:solidFill>
            </c:spPr>
          </c:dPt>
          <c:dPt>
            <c:idx val="908"/>
            <c:spPr>
              <a:solidFill>
                <a:srgbClr val="AEABAB"/>
              </a:solidFill>
            </c:spPr>
          </c:dPt>
          <c:dPt>
            <c:idx val="909"/>
            <c:spPr>
              <a:solidFill>
                <a:srgbClr val="AEABAB"/>
              </a:solidFill>
            </c:spPr>
          </c:dPt>
          <c:dPt>
            <c:idx val="910"/>
            <c:spPr>
              <a:solidFill>
                <a:srgbClr val="AEABAB"/>
              </a:solidFill>
            </c:spPr>
          </c:dPt>
          <c:dPt>
            <c:idx val="911"/>
            <c:spPr>
              <a:solidFill>
                <a:srgbClr val="AEABAB"/>
              </a:solidFill>
            </c:spPr>
          </c:dPt>
          <c:dPt>
            <c:idx val="912"/>
            <c:spPr>
              <a:solidFill>
                <a:srgbClr val="AEABAB"/>
              </a:solidFill>
            </c:spPr>
          </c:dPt>
          <c:dPt>
            <c:idx val="913"/>
            <c:spPr>
              <a:solidFill>
                <a:srgbClr val="AEABAB"/>
              </a:solidFill>
            </c:spPr>
          </c:dPt>
          <c:dPt>
            <c:idx val="914"/>
            <c:spPr>
              <a:solidFill>
                <a:srgbClr val="AEABAB"/>
              </a:solidFill>
            </c:spPr>
          </c:dPt>
          <c:dPt>
            <c:idx val="915"/>
            <c:spPr>
              <a:solidFill>
                <a:srgbClr val="AEABAB"/>
              </a:solidFill>
            </c:spPr>
          </c:dPt>
          <c:dPt>
            <c:idx val="916"/>
            <c:spPr>
              <a:solidFill>
                <a:srgbClr val="AEABAB"/>
              </a:solidFill>
            </c:spPr>
          </c:dPt>
          <c:dPt>
            <c:idx val="917"/>
            <c:spPr>
              <a:solidFill>
                <a:srgbClr val="AEABAB"/>
              </a:solidFill>
            </c:spPr>
          </c:dPt>
          <c:dPt>
            <c:idx val="918"/>
            <c:spPr>
              <a:solidFill>
                <a:srgbClr val="AEABAB"/>
              </a:solidFill>
            </c:spPr>
          </c:dPt>
          <c:dPt>
            <c:idx val="919"/>
            <c:spPr>
              <a:solidFill>
                <a:srgbClr val="AEABAB"/>
              </a:solidFill>
            </c:spPr>
          </c:dPt>
          <c:dPt>
            <c:idx val="920"/>
            <c:spPr>
              <a:solidFill>
                <a:srgbClr val="AEABAB"/>
              </a:solidFill>
            </c:spPr>
          </c:dPt>
          <c:dPt>
            <c:idx val="921"/>
            <c:spPr>
              <a:solidFill>
                <a:srgbClr val="AEABAB"/>
              </a:solidFill>
            </c:spPr>
          </c:dPt>
          <c:dPt>
            <c:idx val="922"/>
            <c:spPr>
              <a:solidFill>
                <a:srgbClr val="AEABAB"/>
              </a:solidFill>
            </c:spPr>
          </c:dPt>
          <c:dPt>
            <c:idx val="923"/>
            <c:spPr>
              <a:solidFill>
                <a:srgbClr val="AEABAB"/>
              </a:solidFill>
            </c:spPr>
          </c:dPt>
          <c:dPt>
            <c:idx val="924"/>
            <c:spPr>
              <a:solidFill>
                <a:srgbClr val="AEABAB"/>
              </a:solidFill>
            </c:spPr>
          </c:dPt>
          <c:dPt>
            <c:idx val="925"/>
            <c:spPr>
              <a:solidFill>
                <a:srgbClr val="AEABAB"/>
              </a:solidFill>
            </c:spPr>
          </c:dPt>
          <c:dPt>
            <c:idx val="926"/>
            <c:spPr>
              <a:solidFill>
                <a:srgbClr val="AEABAB"/>
              </a:solidFill>
            </c:spPr>
          </c:dPt>
          <c:dPt>
            <c:idx val="927"/>
            <c:spPr>
              <a:solidFill>
                <a:srgbClr val="AEABAB"/>
              </a:solidFill>
            </c:spPr>
          </c:dPt>
          <c:dPt>
            <c:idx val="928"/>
            <c:spPr>
              <a:solidFill>
                <a:srgbClr val="AEABAB"/>
              </a:solidFill>
            </c:spPr>
          </c:dPt>
          <c:dPt>
            <c:idx val="929"/>
            <c:spPr>
              <a:solidFill>
                <a:srgbClr val="AEABAB"/>
              </a:solidFill>
            </c:spPr>
          </c:dPt>
          <c:dPt>
            <c:idx val="930"/>
            <c:spPr>
              <a:solidFill>
                <a:srgbClr val="AEABAB"/>
              </a:solidFill>
            </c:spPr>
          </c:dPt>
          <c:dPt>
            <c:idx val="931"/>
            <c:spPr>
              <a:solidFill>
                <a:srgbClr val="AEABAB"/>
              </a:solidFill>
            </c:spPr>
          </c:dPt>
          <c:dPt>
            <c:idx val="932"/>
            <c:spPr>
              <a:solidFill>
                <a:srgbClr val="AEABAB"/>
              </a:solidFill>
            </c:spPr>
          </c:dPt>
          <c:dPt>
            <c:idx val="933"/>
            <c:spPr>
              <a:solidFill>
                <a:srgbClr val="AEABAB"/>
              </a:solidFill>
            </c:spPr>
          </c:dPt>
          <c:dPt>
            <c:idx val="934"/>
            <c:spPr>
              <a:solidFill>
                <a:srgbClr val="AEABAB"/>
              </a:solidFill>
            </c:spPr>
          </c:dPt>
          <c:dPt>
            <c:idx val="935"/>
            <c:spPr>
              <a:solidFill>
                <a:srgbClr val="AEABAB"/>
              </a:solidFill>
            </c:spPr>
          </c:dPt>
          <c:dPt>
            <c:idx val="936"/>
            <c:spPr>
              <a:solidFill>
                <a:srgbClr val="AEABAB"/>
              </a:solidFill>
            </c:spPr>
          </c:dPt>
          <c:dPt>
            <c:idx val="937"/>
            <c:spPr>
              <a:solidFill>
                <a:srgbClr val="AEABAB"/>
              </a:solidFill>
            </c:spPr>
          </c:dPt>
          <c:dPt>
            <c:idx val="938"/>
            <c:spPr>
              <a:solidFill>
                <a:srgbClr val="AEABAB"/>
              </a:solidFill>
            </c:spPr>
          </c:dPt>
          <c:dPt>
            <c:idx val="939"/>
            <c:spPr>
              <a:solidFill>
                <a:srgbClr val="AEABAB"/>
              </a:solidFill>
            </c:spPr>
          </c:dPt>
          <c:dPt>
            <c:idx val="940"/>
            <c:spPr>
              <a:solidFill>
                <a:srgbClr val="AEABAB"/>
              </a:solidFill>
            </c:spPr>
          </c:dPt>
          <c:dPt>
            <c:idx val="941"/>
            <c:spPr>
              <a:solidFill>
                <a:srgbClr val="AEABAB"/>
              </a:solidFill>
            </c:spPr>
          </c:dPt>
          <c:dPt>
            <c:idx val="942"/>
            <c:spPr>
              <a:solidFill>
                <a:srgbClr val="AEABAB"/>
              </a:solidFill>
            </c:spPr>
          </c:dPt>
          <c:dPt>
            <c:idx val="943"/>
            <c:spPr>
              <a:solidFill>
                <a:srgbClr val="AEABAB"/>
              </a:solidFill>
            </c:spPr>
          </c:dPt>
          <c:dPt>
            <c:idx val="944"/>
            <c:spPr>
              <a:solidFill>
                <a:srgbClr val="AEABAB"/>
              </a:solidFill>
            </c:spPr>
          </c:dPt>
          <c:dPt>
            <c:idx val="945"/>
            <c:spPr>
              <a:solidFill>
                <a:srgbClr val="AEABAB"/>
              </a:solidFill>
            </c:spPr>
          </c:dPt>
          <c:dPt>
            <c:idx val="946"/>
            <c:spPr>
              <a:solidFill>
                <a:srgbClr val="AEABAB"/>
              </a:solidFill>
            </c:spPr>
          </c:dPt>
          <c:dPt>
            <c:idx val="947"/>
            <c:spPr>
              <a:solidFill>
                <a:srgbClr val="AEABAB"/>
              </a:solidFill>
            </c:spPr>
          </c:dPt>
          <c:dPt>
            <c:idx val="948"/>
            <c:spPr>
              <a:solidFill>
                <a:srgbClr val="AEABAB"/>
              </a:solidFill>
            </c:spPr>
          </c:dPt>
          <c:dPt>
            <c:idx val="949"/>
            <c:spPr>
              <a:solidFill>
                <a:srgbClr val="AEABAB"/>
              </a:solidFill>
            </c:spPr>
          </c:dPt>
          <c:dPt>
            <c:idx val="950"/>
            <c:spPr>
              <a:solidFill>
                <a:srgbClr val="AEABAB"/>
              </a:solidFill>
            </c:spPr>
          </c:dPt>
          <c:dPt>
            <c:idx val="951"/>
            <c:spPr>
              <a:solidFill>
                <a:srgbClr val="AEABAB"/>
              </a:solidFill>
            </c:spPr>
          </c:dPt>
          <c:dPt>
            <c:idx val="952"/>
            <c:spPr>
              <a:solidFill>
                <a:srgbClr val="AEABAB"/>
              </a:solidFill>
            </c:spPr>
          </c:dPt>
          <c:dPt>
            <c:idx val="953"/>
            <c:spPr>
              <a:solidFill>
                <a:srgbClr val="AEABAB"/>
              </a:solidFill>
            </c:spPr>
          </c:dPt>
          <c:dPt>
            <c:idx val="954"/>
            <c:spPr>
              <a:solidFill>
                <a:srgbClr val="AEABAB"/>
              </a:solidFill>
            </c:spPr>
          </c:dPt>
          <c:dPt>
            <c:idx val="955"/>
            <c:spPr>
              <a:solidFill>
                <a:srgbClr val="AEABAB"/>
              </a:solidFill>
            </c:spPr>
          </c:dPt>
          <c:dPt>
            <c:idx val="956"/>
            <c:spPr>
              <a:solidFill>
                <a:srgbClr val="AEABAB"/>
              </a:solidFill>
            </c:spPr>
          </c:dPt>
          <c:dPt>
            <c:idx val="957"/>
            <c:spPr>
              <a:solidFill>
                <a:srgbClr val="AEABAB"/>
              </a:solidFill>
            </c:spPr>
          </c:dPt>
          <c:dPt>
            <c:idx val="958"/>
            <c:spPr>
              <a:solidFill>
                <a:srgbClr val="AEABAB"/>
              </a:solidFill>
            </c:spPr>
          </c:dPt>
          <c:dPt>
            <c:idx val="959"/>
            <c:spPr>
              <a:solidFill>
                <a:srgbClr val="AEABAB"/>
              </a:solidFill>
            </c:spPr>
          </c:dPt>
          <c:dPt>
            <c:idx val="960"/>
            <c:spPr>
              <a:solidFill>
                <a:srgbClr val="AEABAB"/>
              </a:solidFill>
            </c:spPr>
          </c:dPt>
          <c:dPt>
            <c:idx val="961"/>
            <c:spPr>
              <a:solidFill>
                <a:srgbClr val="AEABAB"/>
              </a:solidFill>
            </c:spPr>
          </c:dPt>
          <c:dPt>
            <c:idx val="962"/>
            <c:spPr>
              <a:solidFill>
                <a:srgbClr val="AEABAB"/>
              </a:solidFill>
            </c:spPr>
          </c:dPt>
          <c:dPt>
            <c:idx val="963"/>
            <c:spPr>
              <a:solidFill>
                <a:srgbClr val="AEABAB"/>
              </a:solidFill>
            </c:spPr>
          </c:dPt>
          <c:dPt>
            <c:idx val="964"/>
            <c:spPr>
              <a:solidFill>
                <a:srgbClr val="AEABAB"/>
              </a:solidFill>
            </c:spPr>
          </c:dPt>
          <c:dPt>
            <c:idx val="965"/>
            <c:spPr>
              <a:solidFill>
                <a:srgbClr val="AEABAB"/>
              </a:solidFill>
            </c:spPr>
          </c:dPt>
          <c:dPt>
            <c:idx val="966"/>
            <c:spPr>
              <a:solidFill>
                <a:srgbClr val="AEABAB"/>
              </a:solidFill>
            </c:spPr>
          </c:dPt>
          <c:dPt>
            <c:idx val="967"/>
            <c:spPr>
              <a:solidFill>
                <a:srgbClr val="AEABAB"/>
              </a:solidFill>
            </c:spPr>
          </c:dPt>
          <c:dPt>
            <c:idx val="968"/>
            <c:spPr>
              <a:solidFill>
                <a:srgbClr val="AEABAB"/>
              </a:solidFill>
            </c:spPr>
          </c:dPt>
          <c:dPt>
            <c:idx val="969"/>
            <c:spPr>
              <a:solidFill>
                <a:srgbClr val="AEABAB"/>
              </a:solidFill>
            </c:spPr>
          </c:dPt>
          <c:dPt>
            <c:idx val="970"/>
            <c:spPr>
              <a:solidFill>
                <a:srgbClr val="AEABAB"/>
              </a:solidFill>
            </c:spPr>
          </c:dPt>
          <c:dPt>
            <c:idx val="971"/>
            <c:spPr>
              <a:solidFill>
                <a:srgbClr val="AEABAB"/>
              </a:solidFill>
            </c:spPr>
          </c:dPt>
          <c:dPt>
            <c:idx val="972"/>
            <c:spPr>
              <a:solidFill>
                <a:srgbClr val="AEABAB"/>
              </a:solidFill>
            </c:spPr>
          </c:dPt>
          <c:dPt>
            <c:idx val="973"/>
            <c:spPr>
              <a:solidFill>
                <a:srgbClr val="AEABAB"/>
              </a:solidFill>
            </c:spPr>
          </c:dPt>
          <c:dPt>
            <c:idx val="974"/>
            <c:spPr>
              <a:solidFill>
                <a:srgbClr val="AEABAB"/>
              </a:solidFill>
            </c:spPr>
          </c:dPt>
          <c:dPt>
            <c:idx val="975"/>
            <c:spPr>
              <a:solidFill>
                <a:srgbClr val="AEABAB"/>
              </a:solidFill>
            </c:spPr>
          </c:dPt>
          <c:dPt>
            <c:idx val="976"/>
            <c:spPr>
              <a:solidFill>
                <a:srgbClr val="AEABAB"/>
              </a:solidFill>
            </c:spPr>
          </c:dPt>
          <c:dPt>
            <c:idx val="977"/>
            <c:spPr>
              <a:solidFill>
                <a:srgbClr val="AEABAB"/>
              </a:solidFill>
            </c:spPr>
          </c:dPt>
          <c:dPt>
            <c:idx val="978"/>
            <c:spPr>
              <a:solidFill>
                <a:srgbClr val="AEABAB"/>
              </a:solidFill>
            </c:spPr>
          </c:dPt>
          <c:dPt>
            <c:idx val="979"/>
            <c:spPr>
              <a:solidFill>
                <a:srgbClr val="AEABAB"/>
              </a:solidFill>
            </c:spPr>
          </c:dPt>
          <c:dPt>
            <c:idx val="980"/>
            <c:spPr>
              <a:solidFill>
                <a:srgbClr val="AEABAB"/>
              </a:solidFill>
            </c:spPr>
          </c:dPt>
          <c:dPt>
            <c:idx val="981"/>
            <c:spPr>
              <a:solidFill>
                <a:srgbClr val="AEABAB"/>
              </a:solidFill>
            </c:spPr>
          </c:dPt>
          <c:dPt>
            <c:idx val="982"/>
            <c:spPr>
              <a:solidFill>
                <a:srgbClr val="AEABAB"/>
              </a:solidFill>
            </c:spPr>
          </c:dPt>
          <c:dPt>
            <c:idx val="983"/>
            <c:spPr>
              <a:solidFill>
                <a:srgbClr val="AEABAB"/>
              </a:solidFill>
            </c:spPr>
          </c:dPt>
          <c:dPt>
            <c:idx val="984"/>
            <c:spPr>
              <a:solidFill>
                <a:srgbClr val="AEABAB"/>
              </a:solidFill>
            </c:spPr>
          </c:dPt>
          <c:dPt>
            <c:idx val="985"/>
            <c:spPr>
              <a:solidFill>
                <a:srgbClr val="AEABAB"/>
              </a:solidFill>
            </c:spPr>
          </c:dPt>
          <c:dPt>
            <c:idx val="986"/>
            <c:spPr>
              <a:solidFill>
                <a:srgbClr val="AEABAB"/>
              </a:solidFill>
            </c:spPr>
          </c:dPt>
          <c:dPt>
            <c:idx val="987"/>
            <c:spPr>
              <a:solidFill>
                <a:srgbClr val="AEABAB"/>
              </a:solidFill>
            </c:spPr>
          </c:dPt>
          <c:dPt>
            <c:idx val="988"/>
            <c:spPr>
              <a:solidFill>
                <a:srgbClr val="AEABAB"/>
              </a:solidFill>
            </c:spPr>
          </c:dPt>
          <c:dPt>
            <c:idx val="989"/>
            <c:spPr>
              <a:solidFill>
                <a:srgbClr val="AEABAB"/>
              </a:solidFill>
            </c:spPr>
          </c:dPt>
          <c:dPt>
            <c:idx val="990"/>
            <c:spPr>
              <a:solidFill>
                <a:srgbClr val="AEABAB"/>
              </a:solidFill>
            </c:spPr>
          </c:dPt>
          <c:dPt>
            <c:idx val="991"/>
            <c:spPr>
              <a:solidFill>
                <a:srgbClr val="AEABAB"/>
              </a:solidFill>
            </c:spPr>
          </c:dPt>
          <c:dPt>
            <c:idx val="992"/>
            <c:spPr>
              <a:solidFill>
                <a:srgbClr val="AEABAB"/>
              </a:solidFill>
            </c:spPr>
          </c:dPt>
          <c:dPt>
            <c:idx val="993"/>
            <c:spPr>
              <a:solidFill>
                <a:srgbClr val="AEABAB"/>
              </a:solidFill>
            </c:spPr>
          </c:dPt>
          <c:dPt>
            <c:idx val="994"/>
            <c:spPr>
              <a:solidFill>
                <a:srgbClr val="AEABAB"/>
              </a:solidFill>
            </c:spPr>
          </c:dPt>
          <c:dPt>
            <c:idx val="995"/>
            <c:spPr>
              <a:solidFill>
                <a:srgbClr val="AEABAB"/>
              </a:solidFill>
            </c:spPr>
          </c:dPt>
          <c:dPt>
            <c:idx val="996"/>
            <c:spPr>
              <a:solidFill>
                <a:srgbClr val="AEABAB"/>
              </a:solidFill>
            </c:spPr>
          </c:dPt>
          <c:dPt>
            <c:idx val="997"/>
            <c:spPr>
              <a:solidFill>
                <a:srgbClr val="AEABAB"/>
              </a:solidFill>
            </c:spPr>
          </c:dPt>
          <c:dPt>
            <c:idx val="998"/>
            <c:spPr>
              <a:solidFill>
                <a:srgbClr val="AEABAB"/>
              </a:solidFill>
            </c:spPr>
          </c:dPt>
          <c:dPt>
            <c:idx val="999"/>
            <c:spPr>
              <a:solidFill>
                <a:srgbClr val="AEABAB"/>
              </a:solidFill>
            </c:spPr>
          </c:dPt>
          <c:dPt>
            <c:idx val="1000"/>
            <c:spPr>
              <a:solidFill>
                <a:srgbClr val="AEABAB"/>
              </a:solidFill>
            </c:spPr>
          </c:dPt>
          <c:dPt>
            <c:idx val="1001"/>
            <c:spPr>
              <a:solidFill>
                <a:srgbClr val="AEABAB"/>
              </a:solidFill>
            </c:spPr>
          </c:dPt>
          <c:dPt>
            <c:idx val="1002"/>
            <c:spPr>
              <a:solidFill>
                <a:srgbClr val="AEABAB"/>
              </a:solidFill>
            </c:spPr>
          </c:dPt>
          <c:dPt>
            <c:idx val="1003"/>
            <c:spPr>
              <a:solidFill>
                <a:srgbClr val="AEABAB"/>
              </a:solidFill>
            </c:spPr>
          </c:dPt>
          <c:dPt>
            <c:idx val="1004"/>
            <c:spPr>
              <a:solidFill>
                <a:srgbClr val="AEABAB"/>
              </a:solidFill>
            </c:spPr>
          </c:dPt>
          <c:dPt>
            <c:idx val="1005"/>
            <c:spPr>
              <a:solidFill>
                <a:srgbClr val="AEABAB"/>
              </a:solidFill>
            </c:spPr>
          </c:dPt>
          <c:dPt>
            <c:idx val="1006"/>
            <c:spPr>
              <a:solidFill>
                <a:srgbClr val="AEABAB"/>
              </a:solidFill>
            </c:spPr>
          </c:dPt>
          <c:dPt>
            <c:idx val="1007"/>
            <c:spPr>
              <a:solidFill>
                <a:srgbClr val="AEABAB"/>
              </a:solidFill>
            </c:spPr>
          </c:dPt>
          <c:dPt>
            <c:idx val="1008"/>
            <c:spPr>
              <a:solidFill>
                <a:srgbClr val="AEABAB"/>
              </a:solidFill>
            </c:spPr>
          </c:dPt>
          <c:dPt>
            <c:idx val="1009"/>
            <c:spPr>
              <a:solidFill>
                <a:srgbClr val="AEABAB"/>
              </a:solidFill>
            </c:spPr>
          </c:dPt>
          <c:dPt>
            <c:idx val="1010"/>
            <c:spPr>
              <a:solidFill>
                <a:srgbClr val="AEABAB"/>
              </a:solidFill>
            </c:spPr>
          </c:dPt>
          <c:dPt>
            <c:idx val="1011"/>
            <c:spPr>
              <a:solidFill>
                <a:srgbClr val="AEABAB"/>
              </a:solidFill>
            </c:spPr>
          </c:dPt>
          <c:dPt>
            <c:idx val="1012"/>
            <c:spPr>
              <a:solidFill>
                <a:srgbClr val="AEABAB"/>
              </a:solidFill>
            </c:spPr>
          </c:dPt>
          <c:dPt>
            <c:idx val="1013"/>
            <c:spPr>
              <a:solidFill>
                <a:srgbClr val="AEABAB"/>
              </a:solidFill>
            </c:spPr>
          </c:dPt>
          <c:dPt>
            <c:idx val="1014"/>
            <c:spPr>
              <a:solidFill>
                <a:srgbClr val="AEABAB"/>
              </a:solidFill>
            </c:spPr>
          </c:dPt>
          <c:dPt>
            <c:idx val="1015"/>
            <c:spPr>
              <a:solidFill>
                <a:srgbClr val="AEABAB"/>
              </a:solidFill>
            </c:spPr>
          </c:dPt>
          <c:dPt>
            <c:idx val="1016"/>
            <c:spPr>
              <a:solidFill>
                <a:srgbClr val="AEABAB"/>
              </a:solidFill>
            </c:spPr>
          </c:dPt>
          <c:dPt>
            <c:idx val="1017"/>
            <c:spPr>
              <a:solidFill>
                <a:srgbClr val="AEABAB"/>
              </a:solidFill>
            </c:spPr>
          </c:dPt>
          <c:dPt>
            <c:idx val="1018"/>
            <c:spPr>
              <a:solidFill>
                <a:srgbClr val="AEABAB"/>
              </a:solidFill>
            </c:spPr>
          </c:dPt>
          <c:dPt>
            <c:idx val="1019"/>
            <c:spPr>
              <a:solidFill>
                <a:srgbClr val="AEABAB"/>
              </a:solidFill>
            </c:spPr>
          </c:dPt>
          <c:dPt>
            <c:idx val="1020"/>
            <c:spPr>
              <a:solidFill>
                <a:srgbClr val="AEABAB"/>
              </a:solidFill>
            </c:spPr>
          </c:dPt>
          <c:dPt>
            <c:idx val="1021"/>
            <c:spPr>
              <a:solidFill>
                <a:srgbClr val="AEABAB"/>
              </a:solidFill>
            </c:spPr>
          </c:dPt>
          <c:dPt>
            <c:idx val="1022"/>
            <c:spPr>
              <a:solidFill>
                <a:srgbClr val="AEABAB"/>
              </a:solidFill>
            </c:spPr>
          </c:dPt>
          <c:dPt>
            <c:idx val="1023"/>
            <c:spPr>
              <a:solidFill>
                <a:srgbClr val="AEABAB"/>
              </a:solidFill>
            </c:spPr>
          </c:dPt>
          <c:dPt>
            <c:idx val="1024"/>
            <c:spPr>
              <a:solidFill>
                <a:srgbClr val="AEABAB"/>
              </a:solidFill>
            </c:spPr>
          </c:dPt>
          <c:dPt>
            <c:idx val="1025"/>
            <c:spPr>
              <a:solidFill>
                <a:srgbClr val="AEABAB"/>
              </a:solidFill>
            </c:spPr>
          </c:dPt>
          <c:dPt>
            <c:idx val="1026"/>
            <c:spPr>
              <a:solidFill>
                <a:srgbClr val="AEABAB"/>
              </a:solidFill>
            </c:spPr>
          </c:dPt>
          <c:dPt>
            <c:idx val="1027"/>
            <c:spPr>
              <a:solidFill>
                <a:srgbClr val="AEABAB"/>
              </a:solidFill>
            </c:spPr>
          </c:dPt>
          <c:dPt>
            <c:idx val="1028"/>
            <c:spPr>
              <a:solidFill>
                <a:srgbClr val="AEABAB"/>
              </a:solidFill>
            </c:spPr>
          </c:dPt>
          <c:dPt>
            <c:idx val="1029"/>
            <c:spPr>
              <a:solidFill>
                <a:srgbClr val="AEABAB"/>
              </a:solidFill>
            </c:spPr>
          </c:dPt>
          <c:dPt>
            <c:idx val="1030"/>
            <c:spPr>
              <a:solidFill>
                <a:srgbClr val="AEABAB"/>
              </a:solidFill>
            </c:spPr>
          </c:dPt>
          <c:dPt>
            <c:idx val="1031"/>
            <c:spPr>
              <a:solidFill>
                <a:srgbClr val="AEABAB"/>
              </a:solidFill>
            </c:spPr>
          </c:dPt>
          <c:dPt>
            <c:idx val="1032"/>
            <c:spPr>
              <a:solidFill>
                <a:srgbClr val="AEABAB"/>
              </a:solidFill>
            </c:spPr>
          </c:dPt>
          <c:dPt>
            <c:idx val="1033"/>
            <c:spPr>
              <a:solidFill>
                <a:srgbClr val="AEABAB"/>
              </a:solidFill>
            </c:spPr>
          </c:dPt>
          <c:dPt>
            <c:idx val="1034"/>
            <c:spPr>
              <a:solidFill>
                <a:srgbClr val="AEABAB"/>
              </a:solidFill>
            </c:spPr>
          </c:dPt>
          <c:dPt>
            <c:idx val="1035"/>
            <c:spPr>
              <a:solidFill>
                <a:srgbClr val="AEABAB"/>
              </a:solidFill>
            </c:spPr>
          </c:dPt>
          <c:dPt>
            <c:idx val="1036"/>
            <c:spPr>
              <a:solidFill>
                <a:srgbClr val="AEABAB"/>
              </a:solidFill>
            </c:spPr>
          </c:dPt>
          <c:dPt>
            <c:idx val="1037"/>
            <c:spPr>
              <a:solidFill>
                <a:srgbClr val="AEABAB"/>
              </a:solidFill>
            </c:spPr>
          </c:dPt>
          <c:dPt>
            <c:idx val="1038"/>
            <c:spPr>
              <a:solidFill>
                <a:srgbClr val="AEABAB"/>
              </a:solidFill>
            </c:spPr>
          </c:dPt>
          <c:dPt>
            <c:idx val="1039"/>
            <c:spPr>
              <a:solidFill>
                <a:srgbClr val="AEABAB"/>
              </a:solidFill>
            </c:spPr>
          </c:dPt>
          <c:dPt>
            <c:idx val="1040"/>
            <c:spPr>
              <a:solidFill>
                <a:srgbClr val="AEABAB"/>
              </a:solidFill>
            </c:spPr>
          </c:dPt>
          <c:dPt>
            <c:idx val="1041"/>
            <c:spPr>
              <a:solidFill>
                <a:srgbClr val="AEABAB"/>
              </a:solidFill>
            </c:spPr>
          </c:dPt>
          <c:dPt>
            <c:idx val="1042"/>
            <c:spPr>
              <a:solidFill>
                <a:srgbClr val="AEABAB"/>
              </a:solidFill>
            </c:spPr>
          </c:dPt>
          <c:dPt>
            <c:idx val="1043"/>
            <c:spPr>
              <a:solidFill>
                <a:srgbClr val="AEABAB"/>
              </a:solidFill>
            </c:spPr>
          </c:dPt>
          <c:dPt>
            <c:idx val="1044"/>
            <c:spPr>
              <a:solidFill>
                <a:srgbClr val="AEABAB"/>
              </a:solidFill>
            </c:spPr>
          </c:dPt>
          <c:dPt>
            <c:idx val="1045"/>
            <c:spPr>
              <a:solidFill>
                <a:srgbClr val="AEABAB"/>
              </a:solidFill>
            </c:spPr>
          </c:dPt>
          <c:dPt>
            <c:idx val="1046"/>
            <c:spPr>
              <a:solidFill>
                <a:srgbClr val="AEABAB"/>
              </a:solidFill>
            </c:spPr>
          </c:dPt>
          <c:dPt>
            <c:idx val="1047"/>
            <c:spPr>
              <a:solidFill>
                <a:srgbClr val="AEABAB"/>
              </a:solidFill>
            </c:spPr>
          </c:dPt>
          <c:dPt>
            <c:idx val="1048"/>
            <c:spPr>
              <a:solidFill>
                <a:srgbClr val="AEABAB"/>
              </a:solidFill>
            </c:spPr>
          </c:dPt>
          <c:dPt>
            <c:idx val="1049"/>
            <c:spPr>
              <a:solidFill>
                <a:srgbClr val="AEABAB"/>
              </a:solidFill>
            </c:spPr>
          </c:dPt>
          <c:dPt>
            <c:idx val="1050"/>
            <c:spPr>
              <a:solidFill>
                <a:srgbClr val="AEABAB"/>
              </a:solidFill>
            </c:spPr>
          </c:dPt>
          <c:dPt>
            <c:idx val="1051"/>
            <c:spPr>
              <a:solidFill>
                <a:srgbClr val="AEABAB"/>
              </a:solidFill>
            </c:spPr>
          </c:dPt>
          <c:dPt>
            <c:idx val="1052"/>
            <c:spPr>
              <a:solidFill>
                <a:srgbClr val="AEABAB"/>
              </a:solidFill>
            </c:spPr>
          </c:dPt>
          <c:dPt>
            <c:idx val="1053"/>
            <c:spPr>
              <a:solidFill>
                <a:srgbClr val="AEABAB"/>
              </a:solidFill>
            </c:spPr>
          </c:dPt>
          <c:dPt>
            <c:idx val="1054"/>
            <c:spPr>
              <a:solidFill>
                <a:srgbClr val="AEABAB"/>
              </a:solidFill>
            </c:spPr>
          </c:dPt>
          <c:dPt>
            <c:idx val="1055"/>
            <c:spPr>
              <a:solidFill>
                <a:srgbClr val="AEABAB"/>
              </a:solidFill>
            </c:spPr>
          </c:dPt>
          <c:dPt>
            <c:idx val="1056"/>
            <c:spPr>
              <a:solidFill>
                <a:srgbClr val="AEABAB"/>
              </a:solidFill>
            </c:spPr>
          </c:dPt>
          <c:dPt>
            <c:idx val="1057"/>
            <c:spPr>
              <a:solidFill>
                <a:srgbClr val="AEABAB"/>
              </a:solidFill>
            </c:spPr>
          </c:dPt>
          <c:dPt>
            <c:idx val="1058"/>
            <c:spPr>
              <a:solidFill>
                <a:srgbClr val="AEABAB"/>
              </a:solidFill>
            </c:spPr>
          </c:dPt>
          <c:dPt>
            <c:idx val="1059"/>
            <c:spPr>
              <a:solidFill>
                <a:srgbClr val="AEABAB"/>
              </a:solidFill>
            </c:spPr>
          </c:dPt>
          <c:dPt>
            <c:idx val="1060"/>
            <c:spPr>
              <a:solidFill>
                <a:srgbClr val="AEABAB"/>
              </a:solidFill>
            </c:spPr>
          </c:dPt>
          <c:dPt>
            <c:idx val="1061"/>
            <c:spPr>
              <a:solidFill>
                <a:srgbClr val="AEABAB"/>
              </a:solidFill>
            </c:spPr>
          </c:dPt>
          <c:dPt>
            <c:idx val="1062"/>
            <c:spPr>
              <a:solidFill>
                <a:srgbClr val="AEABAB"/>
              </a:solidFill>
            </c:spPr>
          </c:dPt>
          <c:dPt>
            <c:idx val="1063"/>
            <c:spPr>
              <a:solidFill>
                <a:srgbClr val="AEABAB"/>
              </a:solidFill>
            </c:spPr>
          </c:dPt>
          <c:dPt>
            <c:idx val="1064"/>
            <c:spPr>
              <a:solidFill>
                <a:srgbClr val="AEABAB"/>
              </a:solidFill>
            </c:spPr>
          </c:dPt>
          <c:dPt>
            <c:idx val="1065"/>
            <c:spPr>
              <a:solidFill>
                <a:srgbClr val="AEABAB"/>
              </a:solidFill>
            </c:spPr>
          </c:dPt>
          <c:dPt>
            <c:idx val="1066"/>
            <c:spPr>
              <a:solidFill>
                <a:srgbClr val="AEABAB"/>
              </a:solidFill>
            </c:spPr>
          </c:dPt>
          <c:dPt>
            <c:idx val="1067"/>
            <c:spPr>
              <a:solidFill>
                <a:srgbClr val="AEABAB"/>
              </a:solidFill>
            </c:spPr>
          </c:dPt>
          <c:dPt>
            <c:idx val="1068"/>
            <c:spPr>
              <a:solidFill>
                <a:srgbClr val="AEABAB"/>
              </a:solidFill>
            </c:spPr>
          </c:dPt>
          <c:dPt>
            <c:idx val="1069"/>
            <c:spPr>
              <a:solidFill>
                <a:srgbClr val="AEABAB"/>
              </a:solidFill>
            </c:spPr>
          </c:dPt>
          <c:dPt>
            <c:idx val="1070"/>
            <c:spPr>
              <a:solidFill>
                <a:srgbClr val="AEABAB"/>
              </a:solidFill>
            </c:spPr>
          </c:dPt>
          <c:dPt>
            <c:idx val="1071"/>
            <c:spPr>
              <a:solidFill>
                <a:srgbClr val="AEABAB"/>
              </a:solidFill>
            </c:spPr>
          </c:dPt>
          <c:dPt>
            <c:idx val="1072"/>
            <c:spPr>
              <a:solidFill>
                <a:srgbClr val="AEABAB"/>
              </a:solidFill>
            </c:spPr>
          </c:dPt>
          <c:dPt>
            <c:idx val="1073"/>
            <c:spPr>
              <a:solidFill>
                <a:srgbClr val="AEABAB"/>
              </a:solidFill>
            </c:spPr>
          </c:dPt>
          <c:dPt>
            <c:idx val="1074"/>
            <c:spPr>
              <a:solidFill>
                <a:srgbClr val="AEABAB"/>
              </a:solidFill>
            </c:spPr>
          </c:dPt>
          <c:dPt>
            <c:idx val="1075"/>
            <c:spPr>
              <a:solidFill>
                <a:srgbClr val="AEABAB"/>
              </a:solidFill>
            </c:spPr>
          </c:dPt>
          <c:dPt>
            <c:idx val="1076"/>
            <c:spPr>
              <a:solidFill>
                <a:srgbClr val="AEABAB"/>
              </a:solidFill>
            </c:spPr>
          </c:dPt>
          <c:dPt>
            <c:idx val="1077"/>
            <c:spPr>
              <a:solidFill>
                <a:srgbClr val="AEABAB"/>
              </a:solidFill>
            </c:spPr>
          </c:dPt>
          <c:dPt>
            <c:idx val="1078"/>
            <c:spPr>
              <a:solidFill>
                <a:srgbClr val="AEABAB"/>
              </a:solidFill>
            </c:spPr>
          </c:dPt>
          <c:dPt>
            <c:idx val="1079"/>
            <c:spPr>
              <a:solidFill>
                <a:srgbClr val="AEABAB"/>
              </a:solidFill>
            </c:spPr>
          </c:dPt>
          <c:dPt>
            <c:idx val="1080"/>
            <c:spPr>
              <a:solidFill>
                <a:srgbClr val="AEABAB"/>
              </a:solidFill>
            </c:spPr>
          </c:dPt>
          <c:dPt>
            <c:idx val="1081"/>
            <c:spPr>
              <a:solidFill>
                <a:srgbClr val="AEABAB"/>
              </a:solidFill>
            </c:spPr>
          </c:dPt>
          <c:dPt>
            <c:idx val="1082"/>
            <c:spPr>
              <a:solidFill>
                <a:srgbClr val="AEABAB"/>
              </a:solidFill>
            </c:spPr>
          </c:dPt>
          <c:dPt>
            <c:idx val="1083"/>
            <c:spPr>
              <a:solidFill>
                <a:srgbClr val="AEABAB"/>
              </a:solidFill>
            </c:spPr>
          </c:dPt>
          <c:dPt>
            <c:idx val="1084"/>
            <c:spPr>
              <a:solidFill>
                <a:srgbClr val="AEABAB"/>
              </a:solidFill>
            </c:spPr>
          </c:dPt>
          <c:dPt>
            <c:idx val="1085"/>
            <c:spPr>
              <a:solidFill>
                <a:srgbClr val="AEABAB"/>
              </a:solidFill>
            </c:spPr>
          </c:dPt>
          <c:dPt>
            <c:idx val="1086"/>
            <c:spPr>
              <a:solidFill>
                <a:srgbClr val="AEABAB"/>
              </a:solidFill>
            </c:spPr>
          </c:dPt>
          <c:dPt>
            <c:idx val="1087"/>
            <c:spPr>
              <a:solidFill>
                <a:srgbClr val="AEABAB"/>
              </a:solidFill>
            </c:spPr>
          </c:dPt>
          <c:dPt>
            <c:idx val="1088"/>
            <c:spPr>
              <a:solidFill>
                <a:srgbClr val="AEABAB"/>
              </a:solidFill>
            </c:spPr>
          </c:dPt>
          <c:dPt>
            <c:idx val="1089"/>
            <c:spPr>
              <a:solidFill>
                <a:srgbClr val="AEABAB"/>
              </a:solidFill>
            </c:spPr>
          </c:dPt>
          <c:dPt>
            <c:idx val="1090"/>
            <c:spPr>
              <a:solidFill>
                <a:srgbClr val="AEABAB"/>
              </a:solidFill>
            </c:spPr>
          </c:dPt>
          <c:dPt>
            <c:idx val="1091"/>
            <c:spPr>
              <a:solidFill>
                <a:srgbClr val="AEABAB"/>
              </a:solidFill>
            </c:spPr>
          </c:dPt>
          <c:dPt>
            <c:idx val="1092"/>
            <c:spPr>
              <a:solidFill>
                <a:srgbClr val="AEABAB"/>
              </a:solidFill>
            </c:spPr>
          </c:dPt>
          <c:dPt>
            <c:idx val="1093"/>
            <c:spPr>
              <a:solidFill>
                <a:srgbClr val="AEABAB"/>
              </a:solidFill>
            </c:spPr>
          </c:dPt>
          <c:dPt>
            <c:idx val="1094"/>
            <c:spPr>
              <a:solidFill>
                <a:srgbClr val="AEABAB"/>
              </a:solidFill>
            </c:spPr>
          </c:dPt>
          <c:dPt>
            <c:idx val="1095"/>
            <c:spPr>
              <a:solidFill>
                <a:srgbClr val="AEABAB"/>
              </a:solidFill>
            </c:spPr>
          </c:dPt>
          <c:dPt>
            <c:idx val="1096"/>
            <c:spPr>
              <a:solidFill>
                <a:srgbClr val="AEABAB"/>
              </a:solidFill>
            </c:spPr>
          </c:dPt>
          <c:dPt>
            <c:idx val="1097"/>
            <c:spPr>
              <a:solidFill>
                <a:srgbClr val="AEABAB"/>
              </a:solidFill>
            </c:spPr>
          </c:dPt>
          <c:dPt>
            <c:idx val="1098"/>
            <c:spPr>
              <a:solidFill>
                <a:srgbClr val="AEABAB"/>
              </a:solidFill>
            </c:spPr>
          </c:dPt>
          <c:dPt>
            <c:idx val="1099"/>
            <c:spPr>
              <a:solidFill>
                <a:srgbClr val="AEABAB"/>
              </a:solidFill>
            </c:spPr>
          </c:dPt>
          <c:dPt>
            <c:idx val="1100"/>
            <c:spPr>
              <a:solidFill>
                <a:srgbClr val="AEABAB"/>
              </a:solidFill>
            </c:spPr>
          </c:dPt>
          <c:dPt>
            <c:idx val="1101"/>
            <c:spPr>
              <a:solidFill>
                <a:srgbClr val="AEABAB"/>
              </a:solidFill>
            </c:spPr>
          </c:dPt>
          <c:dPt>
            <c:idx val="1102"/>
            <c:spPr>
              <a:solidFill>
                <a:srgbClr val="AEABAB"/>
              </a:solidFill>
            </c:spPr>
          </c:dPt>
          <c:dPt>
            <c:idx val="1103"/>
            <c:spPr>
              <a:solidFill>
                <a:srgbClr val="AEABAB"/>
              </a:solidFill>
            </c:spPr>
          </c:dPt>
          <c:dPt>
            <c:idx val="1104"/>
            <c:spPr>
              <a:solidFill>
                <a:srgbClr val="AEABAB"/>
              </a:solidFill>
            </c:spPr>
          </c:dPt>
          <c:dPt>
            <c:idx val="1105"/>
            <c:spPr>
              <a:solidFill>
                <a:srgbClr val="AEABAB"/>
              </a:solidFill>
            </c:spPr>
          </c:dPt>
          <c:dPt>
            <c:idx val="1106"/>
            <c:spPr>
              <a:solidFill>
                <a:srgbClr val="AEABAB"/>
              </a:solidFill>
            </c:spPr>
          </c:dPt>
          <c:dPt>
            <c:idx val="1107"/>
            <c:spPr>
              <a:solidFill>
                <a:srgbClr val="AEABAB"/>
              </a:solidFill>
            </c:spPr>
          </c:dPt>
          <c:dPt>
            <c:idx val="1108"/>
            <c:spPr>
              <a:solidFill>
                <a:srgbClr val="AEABAB"/>
              </a:solidFill>
            </c:spPr>
          </c:dPt>
          <c:dPt>
            <c:idx val="1109"/>
            <c:spPr>
              <a:solidFill>
                <a:srgbClr val="AEABAB"/>
              </a:solidFill>
            </c:spPr>
          </c:dPt>
          <c:dPt>
            <c:idx val="1110"/>
            <c:spPr>
              <a:solidFill>
                <a:srgbClr val="AEABAB"/>
              </a:solidFill>
            </c:spPr>
          </c:dPt>
          <c:dPt>
            <c:idx val="1111"/>
            <c:spPr>
              <a:solidFill>
                <a:srgbClr val="AEABAB"/>
              </a:solidFill>
            </c:spPr>
          </c:dPt>
          <c:dPt>
            <c:idx val="1112"/>
            <c:spPr>
              <a:solidFill>
                <a:srgbClr val="AEABAB"/>
              </a:solidFill>
            </c:spPr>
          </c:dPt>
          <c:dPt>
            <c:idx val="1113"/>
            <c:spPr>
              <a:solidFill>
                <a:srgbClr val="AEABAB"/>
              </a:solidFill>
            </c:spPr>
          </c:dPt>
          <c:dPt>
            <c:idx val="1114"/>
            <c:spPr>
              <a:solidFill>
                <a:srgbClr val="AEABAB"/>
              </a:solidFill>
            </c:spPr>
          </c:dPt>
          <c:dPt>
            <c:idx val="1115"/>
            <c:spPr>
              <a:solidFill>
                <a:srgbClr val="AEABAB"/>
              </a:solidFill>
            </c:spPr>
          </c:dPt>
          <c:dPt>
            <c:idx val="1116"/>
            <c:spPr>
              <a:solidFill>
                <a:srgbClr val="AEABAB"/>
              </a:solidFill>
            </c:spPr>
          </c:dPt>
          <c:dPt>
            <c:idx val="1117"/>
            <c:spPr>
              <a:solidFill>
                <a:srgbClr val="AEABAB"/>
              </a:solidFill>
            </c:spPr>
          </c:dPt>
          <c:dPt>
            <c:idx val="1118"/>
            <c:spPr>
              <a:solidFill>
                <a:srgbClr val="AEABAB"/>
              </a:solidFill>
            </c:spPr>
          </c:dPt>
          <c:dPt>
            <c:idx val="1119"/>
            <c:spPr>
              <a:solidFill>
                <a:srgbClr val="AEABAB"/>
              </a:solidFill>
            </c:spPr>
          </c:dPt>
          <c:dPt>
            <c:idx val="1120"/>
            <c:spPr>
              <a:solidFill>
                <a:srgbClr val="AEABAB"/>
              </a:solidFill>
            </c:spPr>
          </c:dPt>
          <c:dPt>
            <c:idx val="1121"/>
            <c:spPr>
              <a:solidFill>
                <a:srgbClr val="AEABAB"/>
              </a:solidFill>
            </c:spPr>
          </c:dPt>
          <c:dPt>
            <c:idx val="1122"/>
            <c:spPr>
              <a:solidFill>
                <a:srgbClr val="AEABAB"/>
              </a:solidFill>
            </c:spPr>
          </c:dPt>
          <c:dPt>
            <c:idx val="1123"/>
            <c:spPr>
              <a:solidFill>
                <a:srgbClr val="AEABAB"/>
              </a:solidFill>
            </c:spPr>
          </c:dPt>
          <c:dPt>
            <c:idx val="1124"/>
            <c:spPr>
              <a:solidFill>
                <a:srgbClr val="AEABAB"/>
              </a:solidFill>
            </c:spPr>
          </c:dPt>
          <c:dPt>
            <c:idx val="1125"/>
            <c:spPr>
              <a:solidFill>
                <a:srgbClr val="AEABAB"/>
              </a:solidFill>
            </c:spPr>
          </c:dPt>
          <c:dPt>
            <c:idx val="1126"/>
            <c:spPr>
              <a:solidFill>
                <a:srgbClr val="AEABAB"/>
              </a:solidFill>
            </c:spPr>
          </c:dPt>
          <c:dPt>
            <c:idx val="1127"/>
            <c:spPr>
              <a:solidFill>
                <a:srgbClr val="AEABAB"/>
              </a:solidFill>
            </c:spPr>
          </c:dPt>
          <c:dPt>
            <c:idx val="1128"/>
            <c:spPr>
              <a:solidFill>
                <a:srgbClr val="AEABAB"/>
              </a:solidFill>
            </c:spPr>
          </c:dPt>
          <c:dPt>
            <c:idx val="1129"/>
            <c:spPr>
              <a:solidFill>
                <a:srgbClr val="AEABAB"/>
              </a:solidFill>
            </c:spPr>
          </c:dPt>
          <c:dPt>
            <c:idx val="1130"/>
            <c:spPr>
              <a:solidFill>
                <a:srgbClr val="AEABAB"/>
              </a:solidFill>
            </c:spPr>
          </c:dPt>
          <c:dPt>
            <c:idx val="1131"/>
            <c:spPr>
              <a:solidFill>
                <a:srgbClr val="AEABAB"/>
              </a:solidFill>
            </c:spPr>
          </c:dPt>
          <c:dPt>
            <c:idx val="1132"/>
            <c:spPr>
              <a:solidFill>
                <a:srgbClr val="AEABAB"/>
              </a:solidFill>
            </c:spPr>
          </c:dPt>
          <c:dPt>
            <c:idx val="1133"/>
            <c:spPr>
              <a:solidFill>
                <a:srgbClr val="AEABAB"/>
              </a:solidFill>
            </c:spPr>
          </c:dPt>
          <c:dPt>
            <c:idx val="1134"/>
            <c:spPr>
              <a:solidFill>
                <a:srgbClr val="AEABAB"/>
              </a:solidFill>
            </c:spPr>
          </c:dPt>
          <c:dPt>
            <c:idx val="1135"/>
            <c:spPr>
              <a:solidFill>
                <a:srgbClr val="AEABAB"/>
              </a:solidFill>
            </c:spPr>
          </c:dPt>
          <c:dPt>
            <c:idx val="1136"/>
            <c:spPr>
              <a:solidFill>
                <a:srgbClr val="AEABAB"/>
              </a:solidFill>
            </c:spPr>
          </c:dPt>
          <c:dPt>
            <c:idx val="1137"/>
            <c:spPr>
              <a:solidFill>
                <a:srgbClr val="AEABAB"/>
              </a:solidFill>
            </c:spPr>
          </c:dPt>
          <c:dPt>
            <c:idx val="1138"/>
            <c:spPr>
              <a:solidFill>
                <a:srgbClr val="AEABAB"/>
              </a:solidFill>
            </c:spPr>
          </c:dPt>
          <c:dPt>
            <c:idx val="1139"/>
            <c:spPr>
              <a:solidFill>
                <a:srgbClr val="AEABAB"/>
              </a:solidFill>
            </c:spPr>
          </c:dPt>
          <c:dPt>
            <c:idx val="1140"/>
            <c:spPr>
              <a:solidFill>
                <a:srgbClr val="AEABAB"/>
              </a:solidFill>
            </c:spPr>
          </c:dPt>
          <c:dPt>
            <c:idx val="1141"/>
            <c:spPr>
              <a:solidFill>
                <a:srgbClr val="AEABAB"/>
              </a:solidFill>
            </c:spPr>
          </c:dPt>
          <c:dPt>
            <c:idx val="1142"/>
            <c:spPr>
              <a:solidFill>
                <a:srgbClr val="AEABAB"/>
              </a:solidFill>
            </c:spPr>
          </c:dPt>
          <c:dPt>
            <c:idx val="1143"/>
            <c:spPr>
              <a:solidFill>
                <a:srgbClr val="AEABAB"/>
              </a:solidFill>
            </c:spPr>
          </c:dPt>
          <c:dPt>
            <c:idx val="1144"/>
            <c:spPr>
              <a:solidFill>
                <a:srgbClr val="AEABAB"/>
              </a:solidFill>
            </c:spPr>
          </c:dPt>
          <c:dPt>
            <c:idx val="1145"/>
            <c:spPr>
              <a:solidFill>
                <a:srgbClr val="AEABAB"/>
              </a:solidFill>
            </c:spPr>
          </c:dPt>
          <c:dPt>
            <c:idx val="1146"/>
            <c:spPr>
              <a:solidFill>
                <a:srgbClr val="AEABAB"/>
              </a:solidFill>
            </c:spPr>
          </c:dPt>
          <c:dPt>
            <c:idx val="1147"/>
            <c:spPr>
              <a:solidFill>
                <a:srgbClr val="AEABAB"/>
              </a:solidFill>
            </c:spPr>
          </c:dPt>
          <c:dPt>
            <c:idx val="1148"/>
            <c:spPr>
              <a:solidFill>
                <a:srgbClr val="AEABAB"/>
              </a:solidFill>
            </c:spPr>
          </c:dPt>
          <c:dPt>
            <c:idx val="1149"/>
            <c:spPr>
              <a:solidFill>
                <a:srgbClr val="AEABAB"/>
              </a:solidFill>
            </c:spPr>
          </c:dPt>
          <c:dPt>
            <c:idx val="1150"/>
            <c:spPr>
              <a:solidFill>
                <a:srgbClr val="AEABAB"/>
              </a:solidFill>
            </c:spPr>
          </c:dPt>
          <c:dPt>
            <c:idx val="1151"/>
            <c:spPr>
              <a:solidFill>
                <a:srgbClr val="AEABAB"/>
              </a:solidFill>
            </c:spPr>
          </c:dPt>
          <c:dPt>
            <c:idx val="1152"/>
            <c:spPr>
              <a:solidFill>
                <a:srgbClr val="AEABAB"/>
              </a:solidFill>
            </c:spPr>
          </c:dPt>
          <c:dPt>
            <c:idx val="1153"/>
            <c:spPr>
              <a:solidFill>
                <a:srgbClr val="AEABAB"/>
              </a:solidFill>
            </c:spPr>
          </c:dPt>
          <c:dPt>
            <c:idx val="1154"/>
            <c:spPr>
              <a:solidFill>
                <a:srgbClr val="AEABAB"/>
              </a:solidFill>
            </c:spPr>
          </c:dPt>
          <c:dPt>
            <c:idx val="1155"/>
            <c:spPr>
              <a:solidFill>
                <a:srgbClr val="AEABAB"/>
              </a:solidFill>
            </c:spPr>
          </c:dPt>
          <c:dPt>
            <c:idx val="1156"/>
            <c:spPr>
              <a:solidFill>
                <a:srgbClr val="AEABAB"/>
              </a:solidFill>
            </c:spPr>
          </c:dPt>
          <c:dPt>
            <c:idx val="1157"/>
            <c:spPr>
              <a:solidFill>
                <a:srgbClr val="AEABAB"/>
              </a:solidFill>
            </c:spPr>
          </c:dPt>
          <c:dPt>
            <c:idx val="1158"/>
            <c:spPr>
              <a:solidFill>
                <a:srgbClr val="AEABAB"/>
              </a:solidFill>
            </c:spPr>
          </c:dPt>
          <c:dPt>
            <c:idx val="1159"/>
            <c:spPr>
              <a:solidFill>
                <a:srgbClr val="AEABAB"/>
              </a:solidFill>
            </c:spPr>
          </c:dPt>
          <c:dPt>
            <c:idx val="1160"/>
            <c:spPr>
              <a:solidFill>
                <a:srgbClr val="AEABAB"/>
              </a:solidFill>
            </c:spPr>
          </c:dPt>
          <c:dPt>
            <c:idx val="1161"/>
            <c:spPr>
              <a:solidFill>
                <a:srgbClr val="AEABAB"/>
              </a:solidFill>
            </c:spPr>
          </c:dPt>
          <c:dPt>
            <c:idx val="1162"/>
            <c:spPr>
              <a:solidFill>
                <a:srgbClr val="AEABAB"/>
              </a:solidFill>
            </c:spPr>
          </c:dPt>
          <c:dPt>
            <c:idx val="1163"/>
            <c:spPr>
              <a:solidFill>
                <a:srgbClr val="AEABAB"/>
              </a:solidFill>
            </c:spPr>
          </c:dPt>
          <c:dPt>
            <c:idx val="1164"/>
            <c:spPr>
              <a:solidFill>
                <a:srgbClr val="AEABAB"/>
              </a:solidFill>
            </c:spPr>
          </c:dPt>
          <c:dPt>
            <c:idx val="1165"/>
            <c:spPr>
              <a:solidFill>
                <a:srgbClr val="AEABAB"/>
              </a:solidFill>
            </c:spPr>
          </c:dPt>
          <c:dPt>
            <c:idx val="1166"/>
            <c:spPr>
              <a:solidFill>
                <a:srgbClr val="AEABAB"/>
              </a:solidFill>
            </c:spPr>
          </c:dPt>
          <c:dPt>
            <c:idx val="1167"/>
            <c:spPr>
              <a:solidFill>
                <a:srgbClr val="AEABAB"/>
              </a:solidFill>
            </c:spPr>
          </c:dPt>
          <c:dPt>
            <c:idx val="1168"/>
            <c:spPr>
              <a:solidFill>
                <a:srgbClr val="AEABAB"/>
              </a:solidFill>
            </c:spPr>
          </c:dPt>
          <c:dPt>
            <c:idx val="1169"/>
            <c:spPr>
              <a:solidFill>
                <a:srgbClr val="AEABAB"/>
              </a:solidFill>
            </c:spPr>
          </c:dPt>
          <c:dPt>
            <c:idx val="1170"/>
            <c:spPr>
              <a:solidFill>
                <a:srgbClr val="AEABAB"/>
              </a:solidFill>
            </c:spPr>
          </c:dPt>
          <c:dPt>
            <c:idx val="1171"/>
            <c:spPr>
              <a:solidFill>
                <a:srgbClr val="AEABAB"/>
              </a:solidFill>
            </c:spPr>
          </c:dPt>
          <c:dPt>
            <c:idx val="1172"/>
            <c:spPr>
              <a:solidFill>
                <a:srgbClr val="AEABAB"/>
              </a:solidFill>
            </c:spPr>
          </c:dPt>
          <c:dPt>
            <c:idx val="1173"/>
            <c:spPr>
              <a:solidFill>
                <a:srgbClr val="AEABAB"/>
              </a:solidFill>
            </c:spPr>
          </c:dPt>
          <c:dPt>
            <c:idx val="1174"/>
            <c:spPr>
              <a:solidFill>
                <a:srgbClr val="AEABAB"/>
              </a:solidFill>
            </c:spPr>
          </c:dPt>
          <c:dPt>
            <c:idx val="1175"/>
            <c:spPr>
              <a:solidFill>
                <a:srgbClr val="AEABAB"/>
              </a:solidFill>
            </c:spPr>
          </c:dPt>
          <c:dPt>
            <c:idx val="1176"/>
            <c:spPr>
              <a:solidFill>
                <a:srgbClr val="AEABAB"/>
              </a:solidFill>
            </c:spPr>
          </c:dPt>
          <c:dPt>
            <c:idx val="1177"/>
            <c:spPr>
              <a:solidFill>
                <a:srgbClr val="AEABAB"/>
              </a:solidFill>
            </c:spPr>
          </c:dPt>
          <c:dPt>
            <c:idx val="1178"/>
            <c:spPr>
              <a:solidFill>
                <a:srgbClr val="AEABAB"/>
              </a:solidFill>
            </c:spPr>
          </c:dPt>
          <c:dPt>
            <c:idx val="1179"/>
            <c:spPr>
              <a:solidFill>
                <a:srgbClr val="AEABAB"/>
              </a:solidFill>
            </c:spPr>
          </c:dPt>
          <c:dPt>
            <c:idx val="1180"/>
            <c:spPr>
              <a:solidFill>
                <a:srgbClr val="AEABAB"/>
              </a:solidFill>
            </c:spPr>
          </c:dPt>
          <c:dPt>
            <c:idx val="1181"/>
            <c:spPr>
              <a:solidFill>
                <a:srgbClr val="AEABAB"/>
              </a:solidFill>
            </c:spPr>
          </c:dPt>
          <c:dPt>
            <c:idx val="1182"/>
            <c:spPr>
              <a:solidFill>
                <a:srgbClr val="AEABAB"/>
              </a:solidFill>
            </c:spPr>
          </c:dPt>
          <c:dPt>
            <c:idx val="1183"/>
            <c:spPr>
              <a:solidFill>
                <a:srgbClr val="AEABAB"/>
              </a:solidFill>
            </c:spPr>
          </c:dPt>
          <c:dPt>
            <c:idx val="1184"/>
            <c:spPr>
              <a:solidFill>
                <a:srgbClr val="AEABAB"/>
              </a:solidFill>
            </c:spPr>
          </c:dPt>
          <c:dPt>
            <c:idx val="1185"/>
            <c:spPr>
              <a:solidFill>
                <a:srgbClr val="AEABAB"/>
              </a:solidFill>
            </c:spPr>
          </c:dPt>
          <c:dPt>
            <c:idx val="1186"/>
            <c:spPr>
              <a:solidFill>
                <a:srgbClr val="AEABAB"/>
              </a:solidFill>
            </c:spPr>
          </c:dPt>
          <c:dPt>
            <c:idx val="1187"/>
            <c:spPr>
              <a:solidFill>
                <a:srgbClr val="AEABAB"/>
              </a:solidFill>
            </c:spPr>
          </c:dPt>
          <c:dPt>
            <c:idx val="1188"/>
            <c:spPr>
              <a:solidFill>
                <a:srgbClr val="AEABAB"/>
              </a:solidFill>
            </c:spPr>
          </c:dPt>
          <c:dPt>
            <c:idx val="1189"/>
            <c:spPr>
              <a:solidFill>
                <a:srgbClr val="AEABAB"/>
              </a:solidFill>
            </c:spPr>
          </c:dPt>
          <c:dPt>
            <c:idx val="1190"/>
            <c:spPr>
              <a:solidFill>
                <a:srgbClr val="AEABAB"/>
              </a:solidFill>
            </c:spPr>
          </c:dPt>
          <c:dPt>
            <c:idx val="1191"/>
            <c:spPr>
              <a:solidFill>
                <a:srgbClr val="AEABAB"/>
              </a:solidFill>
            </c:spPr>
          </c:dPt>
          <c:dPt>
            <c:idx val="1192"/>
            <c:spPr>
              <a:solidFill>
                <a:srgbClr val="AEABAB"/>
              </a:solidFill>
            </c:spPr>
          </c:dPt>
          <c:dPt>
            <c:idx val="1193"/>
            <c:spPr>
              <a:solidFill>
                <a:srgbClr val="AEABAB"/>
              </a:solidFill>
            </c:spPr>
          </c:dPt>
          <c:dPt>
            <c:idx val="1194"/>
            <c:spPr>
              <a:solidFill>
                <a:srgbClr val="AEABAB"/>
              </a:solidFill>
            </c:spPr>
          </c:dPt>
          <c:dPt>
            <c:idx val="1195"/>
            <c:spPr>
              <a:solidFill>
                <a:srgbClr val="AEABAB"/>
              </a:solidFill>
            </c:spPr>
          </c:dPt>
          <c:dPt>
            <c:idx val="1196"/>
            <c:spPr>
              <a:solidFill>
                <a:srgbClr val="AEABAB"/>
              </a:solidFill>
            </c:spPr>
          </c:dPt>
          <c:dPt>
            <c:idx val="1197"/>
            <c:spPr>
              <a:solidFill>
                <a:srgbClr val="AEABAB"/>
              </a:solidFill>
            </c:spPr>
          </c:dPt>
          <c:dPt>
            <c:idx val="1198"/>
            <c:spPr>
              <a:solidFill>
                <a:srgbClr val="AEABAB"/>
              </a:solidFill>
            </c:spPr>
          </c:dPt>
          <c:dPt>
            <c:idx val="1199"/>
            <c:spPr>
              <a:solidFill>
                <a:srgbClr val="AEABAB"/>
              </a:solidFill>
            </c:spPr>
          </c:dPt>
          <c:dPt>
            <c:idx val="1200"/>
            <c:spPr>
              <a:solidFill>
                <a:srgbClr val="AEABAB"/>
              </a:solidFill>
            </c:spPr>
          </c:dPt>
          <c:dPt>
            <c:idx val="1201"/>
            <c:spPr>
              <a:solidFill>
                <a:srgbClr val="AEABAB"/>
              </a:solidFill>
            </c:spPr>
          </c:dPt>
          <c:dPt>
            <c:idx val="1202"/>
            <c:spPr>
              <a:solidFill>
                <a:srgbClr val="AEABAB"/>
              </a:solidFill>
            </c:spPr>
          </c:dPt>
          <c:dPt>
            <c:idx val="1203"/>
            <c:spPr>
              <a:solidFill>
                <a:srgbClr val="AEABAB"/>
              </a:solidFill>
            </c:spPr>
          </c:dPt>
          <c:dPt>
            <c:idx val="1204"/>
            <c:spPr>
              <a:solidFill>
                <a:srgbClr val="AEABAB"/>
              </a:solidFill>
            </c:spPr>
          </c:dPt>
          <c:dPt>
            <c:idx val="1205"/>
            <c:spPr>
              <a:solidFill>
                <a:srgbClr val="AEABAB"/>
              </a:solidFill>
            </c:spPr>
          </c:dPt>
          <c:dPt>
            <c:idx val="1206"/>
            <c:spPr>
              <a:solidFill>
                <a:srgbClr val="AEABAB"/>
              </a:solidFill>
            </c:spPr>
          </c:dPt>
          <c:dPt>
            <c:idx val="1207"/>
            <c:spPr>
              <a:solidFill>
                <a:srgbClr val="AEABAB"/>
              </a:solidFill>
            </c:spPr>
          </c:dPt>
          <c:dPt>
            <c:idx val="1208"/>
            <c:spPr>
              <a:solidFill>
                <a:srgbClr val="AEABAB"/>
              </a:solidFill>
            </c:spPr>
          </c:dPt>
          <c:dPt>
            <c:idx val="1209"/>
            <c:spPr>
              <a:solidFill>
                <a:srgbClr val="AEABAB"/>
              </a:solidFill>
            </c:spPr>
          </c:dPt>
          <c:dPt>
            <c:idx val="1210"/>
            <c:spPr>
              <a:solidFill>
                <a:srgbClr val="AEABAB"/>
              </a:solidFill>
            </c:spPr>
          </c:dPt>
          <c:dPt>
            <c:idx val="1211"/>
            <c:spPr>
              <a:solidFill>
                <a:srgbClr val="AEABAB"/>
              </a:solidFill>
            </c:spPr>
          </c:dPt>
          <c:dPt>
            <c:idx val="1212"/>
            <c:spPr>
              <a:solidFill>
                <a:srgbClr val="AEABAB"/>
              </a:solidFill>
            </c:spPr>
          </c:dPt>
          <c:dPt>
            <c:idx val="1213"/>
            <c:spPr>
              <a:solidFill>
                <a:srgbClr val="AEABAB"/>
              </a:solidFill>
            </c:spPr>
          </c:dPt>
          <c:dPt>
            <c:idx val="1214"/>
            <c:spPr>
              <a:solidFill>
                <a:srgbClr val="AEABAB"/>
              </a:solidFill>
            </c:spPr>
          </c:dPt>
          <c:dPt>
            <c:idx val="1215"/>
            <c:spPr>
              <a:solidFill>
                <a:srgbClr val="AEABAB"/>
              </a:solidFill>
            </c:spPr>
          </c:dPt>
          <c:dPt>
            <c:idx val="1216"/>
            <c:spPr>
              <a:solidFill>
                <a:srgbClr val="AEABAB"/>
              </a:solidFill>
            </c:spPr>
          </c:dPt>
          <c:dPt>
            <c:idx val="1217"/>
            <c:spPr>
              <a:solidFill>
                <a:srgbClr val="AEABAB"/>
              </a:solidFill>
            </c:spPr>
          </c:dPt>
          <c:dPt>
            <c:idx val="1218"/>
            <c:spPr>
              <a:solidFill>
                <a:srgbClr val="AEABAB"/>
              </a:solidFill>
            </c:spPr>
          </c:dPt>
          <c:dPt>
            <c:idx val="1219"/>
            <c:spPr>
              <a:solidFill>
                <a:srgbClr val="AEABAB"/>
              </a:solidFill>
            </c:spPr>
          </c:dPt>
          <c:dPt>
            <c:idx val="1220"/>
            <c:spPr>
              <a:solidFill>
                <a:srgbClr val="AEABAB"/>
              </a:solidFill>
            </c:spPr>
          </c:dPt>
          <c:dPt>
            <c:idx val="1221"/>
            <c:spPr>
              <a:solidFill>
                <a:srgbClr val="AEABAB"/>
              </a:solidFill>
            </c:spPr>
          </c:dPt>
          <c:dPt>
            <c:idx val="1222"/>
            <c:spPr>
              <a:solidFill>
                <a:srgbClr val="AEABAB"/>
              </a:solidFill>
            </c:spPr>
          </c:dPt>
          <c:dPt>
            <c:idx val="1223"/>
            <c:spPr>
              <a:solidFill>
                <a:srgbClr val="AEABAB"/>
              </a:solidFill>
            </c:spPr>
          </c:dPt>
          <c:dPt>
            <c:idx val="1224"/>
            <c:spPr>
              <a:solidFill>
                <a:srgbClr val="AEABAB"/>
              </a:solidFill>
            </c:spPr>
          </c:dPt>
          <c:dPt>
            <c:idx val="1225"/>
            <c:spPr>
              <a:solidFill>
                <a:srgbClr val="AEABAB"/>
              </a:solidFill>
            </c:spPr>
          </c:dPt>
          <c:dPt>
            <c:idx val="1226"/>
            <c:spPr>
              <a:solidFill>
                <a:srgbClr val="AEABAB"/>
              </a:solidFill>
            </c:spPr>
          </c:dPt>
          <c:dPt>
            <c:idx val="1227"/>
            <c:spPr>
              <a:solidFill>
                <a:srgbClr val="AEABAB"/>
              </a:solidFill>
            </c:spPr>
          </c:dPt>
          <c:dPt>
            <c:idx val="1228"/>
            <c:spPr>
              <a:solidFill>
                <a:srgbClr val="AEABAB"/>
              </a:solidFill>
            </c:spPr>
          </c:dPt>
          <c:dPt>
            <c:idx val="1229"/>
            <c:spPr>
              <a:solidFill>
                <a:srgbClr val="AEABAB"/>
              </a:solidFill>
            </c:spPr>
          </c:dPt>
          <c:dPt>
            <c:idx val="1230"/>
            <c:spPr>
              <a:solidFill>
                <a:srgbClr val="AEABAB"/>
              </a:solidFill>
            </c:spPr>
          </c:dPt>
          <c:dPt>
            <c:idx val="1231"/>
            <c:spPr>
              <a:solidFill>
                <a:srgbClr val="AEABAB"/>
              </a:solidFill>
            </c:spPr>
          </c:dPt>
          <c:dPt>
            <c:idx val="1232"/>
            <c:spPr>
              <a:solidFill>
                <a:srgbClr val="AEABAB"/>
              </a:solidFill>
            </c:spPr>
          </c:dPt>
          <c:dPt>
            <c:idx val="1233"/>
            <c:spPr>
              <a:solidFill>
                <a:srgbClr val="AEABAB"/>
              </a:solidFill>
            </c:spPr>
          </c:dPt>
          <c:dPt>
            <c:idx val="1234"/>
            <c:spPr>
              <a:solidFill>
                <a:srgbClr val="AEABAB"/>
              </a:solidFill>
            </c:spPr>
          </c:dPt>
          <c:dPt>
            <c:idx val="1235"/>
            <c:spPr>
              <a:solidFill>
                <a:srgbClr val="AEABAB"/>
              </a:solidFill>
            </c:spPr>
          </c:dPt>
          <c:dPt>
            <c:idx val="1236"/>
            <c:spPr>
              <a:solidFill>
                <a:srgbClr val="AEABAB"/>
              </a:solidFill>
            </c:spPr>
          </c:dPt>
          <c:dPt>
            <c:idx val="1237"/>
            <c:spPr>
              <a:solidFill>
                <a:srgbClr val="AEABAB"/>
              </a:solidFill>
            </c:spPr>
          </c:dPt>
          <c:dPt>
            <c:idx val="1238"/>
            <c:spPr>
              <a:solidFill>
                <a:srgbClr val="AEABAB"/>
              </a:solidFill>
            </c:spPr>
          </c:dPt>
          <c:dPt>
            <c:idx val="1239"/>
            <c:spPr>
              <a:solidFill>
                <a:srgbClr val="AEABAB"/>
              </a:solidFill>
            </c:spPr>
          </c:dPt>
          <c:dPt>
            <c:idx val="1240"/>
            <c:spPr>
              <a:solidFill>
                <a:srgbClr val="AEABAB"/>
              </a:solidFill>
            </c:spPr>
          </c:dPt>
          <c:dPt>
            <c:idx val="1241"/>
            <c:spPr>
              <a:solidFill>
                <a:srgbClr val="AEABAB"/>
              </a:solidFill>
            </c:spPr>
          </c:dPt>
          <c:dPt>
            <c:idx val="1242"/>
            <c:spPr>
              <a:solidFill>
                <a:srgbClr val="AEABAB"/>
              </a:solidFill>
            </c:spPr>
          </c:dPt>
          <c:dPt>
            <c:idx val="1243"/>
            <c:spPr>
              <a:solidFill>
                <a:srgbClr val="AEABAB"/>
              </a:solidFill>
            </c:spPr>
          </c:dPt>
          <c:dPt>
            <c:idx val="1244"/>
            <c:spPr>
              <a:solidFill>
                <a:srgbClr val="AEABAB"/>
              </a:solidFill>
            </c:spPr>
          </c:dPt>
          <c:dPt>
            <c:idx val="1245"/>
            <c:spPr>
              <a:solidFill>
                <a:srgbClr val="AEABAB"/>
              </a:solidFill>
            </c:spPr>
          </c:dPt>
          <c:dPt>
            <c:idx val="1246"/>
            <c:spPr>
              <a:solidFill>
                <a:srgbClr val="AEABAB"/>
              </a:solidFill>
            </c:spPr>
          </c:dPt>
          <c:dPt>
            <c:idx val="1247"/>
            <c:spPr>
              <a:solidFill>
                <a:srgbClr val="AEABAB"/>
              </a:solidFill>
            </c:spPr>
          </c:dPt>
          <c:dPt>
            <c:idx val="1248"/>
            <c:spPr>
              <a:solidFill>
                <a:srgbClr val="AEABAB"/>
              </a:solidFill>
            </c:spPr>
          </c:dPt>
          <c:dPt>
            <c:idx val="1249"/>
            <c:spPr>
              <a:solidFill>
                <a:srgbClr val="AEABAB"/>
              </a:solidFill>
            </c:spPr>
          </c:dPt>
          <c:dPt>
            <c:idx val="1250"/>
            <c:spPr>
              <a:solidFill>
                <a:srgbClr val="AEABAB"/>
              </a:solidFill>
            </c:spPr>
          </c:dPt>
          <c:dPt>
            <c:idx val="1251"/>
            <c:spPr>
              <a:solidFill>
                <a:srgbClr val="AEABAB"/>
              </a:solidFill>
            </c:spPr>
          </c:dPt>
          <c:dPt>
            <c:idx val="1252"/>
            <c:spPr>
              <a:solidFill>
                <a:srgbClr val="AEABAB"/>
              </a:solidFill>
            </c:spPr>
          </c:dPt>
          <c:dPt>
            <c:idx val="1253"/>
            <c:spPr>
              <a:solidFill>
                <a:srgbClr val="AEABAB"/>
              </a:solidFill>
            </c:spPr>
          </c:dPt>
          <c:dPt>
            <c:idx val="1254"/>
            <c:spPr>
              <a:solidFill>
                <a:srgbClr val="AEABAB"/>
              </a:solidFill>
            </c:spPr>
          </c:dPt>
          <c:dPt>
            <c:idx val="1255"/>
            <c:spPr>
              <a:solidFill>
                <a:srgbClr val="AEABAB"/>
              </a:solidFill>
            </c:spPr>
          </c:dPt>
          <c:dPt>
            <c:idx val="1256"/>
            <c:spPr>
              <a:solidFill>
                <a:srgbClr val="AEABAB"/>
              </a:solidFill>
            </c:spPr>
          </c:dPt>
          <c:dPt>
            <c:idx val="1257"/>
            <c:spPr>
              <a:solidFill>
                <a:srgbClr val="AEABAB"/>
              </a:solidFill>
            </c:spPr>
          </c:dPt>
          <c:dPt>
            <c:idx val="1258"/>
            <c:spPr>
              <a:solidFill>
                <a:srgbClr val="AEABAB"/>
              </a:solidFill>
            </c:spPr>
          </c:dPt>
          <c:dPt>
            <c:idx val="1259"/>
            <c:spPr>
              <a:solidFill>
                <a:srgbClr val="AEABAB"/>
              </a:solidFill>
            </c:spPr>
          </c:dPt>
          <c:dPt>
            <c:idx val="1260"/>
            <c:spPr>
              <a:solidFill>
                <a:srgbClr val="AEABAB"/>
              </a:solidFill>
            </c:spPr>
          </c:dPt>
          <c:dPt>
            <c:idx val="1261"/>
            <c:spPr>
              <a:solidFill>
                <a:srgbClr val="AEABAB"/>
              </a:solidFill>
            </c:spPr>
          </c:dPt>
          <c:dPt>
            <c:idx val="1262"/>
            <c:spPr>
              <a:solidFill>
                <a:srgbClr val="AEABAB"/>
              </a:solidFill>
            </c:spPr>
          </c:dPt>
          <c:dPt>
            <c:idx val="1263"/>
            <c:spPr>
              <a:solidFill>
                <a:srgbClr val="AEABAB"/>
              </a:solidFill>
            </c:spPr>
          </c:dPt>
          <c:dPt>
            <c:idx val="1264"/>
            <c:spPr>
              <a:solidFill>
                <a:srgbClr val="AEABAB"/>
              </a:solidFill>
            </c:spPr>
          </c:dPt>
          <c:dPt>
            <c:idx val="1265"/>
            <c:spPr>
              <a:solidFill>
                <a:srgbClr val="AEABAB"/>
              </a:solidFill>
            </c:spPr>
          </c:dPt>
          <c:dPt>
            <c:idx val="1266"/>
            <c:spPr>
              <a:solidFill>
                <a:srgbClr val="AEABAB"/>
              </a:solidFill>
            </c:spPr>
          </c:dPt>
          <c:dPt>
            <c:idx val="1267"/>
            <c:spPr>
              <a:solidFill>
                <a:srgbClr val="AEABAB"/>
              </a:solidFill>
            </c:spPr>
          </c:dPt>
          <c:dPt>
            <c:idx val="1268"/>
            <c:spPr>
              <a:solidFill>
                <a:srgbClr val="AEABAB"/>
              </a:solidFill>
            </c:spPr>
          </c:dPt>
          <c:dPt>
            <c:idx val="1269"/>
            <c:spPr>
              <a:solidFill>
                <a:srgbClr val="AEABAB"/>
              </a:solidFill>
            </c:spPr>
          </c:dPt>
          <c:dPt>
            <c:idx val="1270"/>
            <c:spPr>
              <a:solidFill>
                <a:srgbClr val="AEABAB"/>
              </a:solidFill>
            </c:spPr>
          </c:dPt>
          <c:dPt>
            <c:idx val="1271"/>
            <c:spPr>
              <a:solidFill>
                <a:srgbClr val="AEABAB"/>
              </a:solidFill>
            </c:spPr>
          </c:dPt>
          <c:dPt>
            <c:idx val="1272"/>
            <c:spPr>
              <a:solidFill>
                <a:srgbClr val="AEABAB"/>
              </a:solidFill>
            </c:spPr>
          </c:dPt>
          <c:dPt>
            <c:idx val="1273"/>
            <c:spPr>
              <a:solidFill>
                <a:srgbClr val="AEABAB"/>
              </a:solidFill>
            </c:spPr>
          </c:dPt>
          <c:dPt>
            <c:idx val="1274"/>
            <c:spPr>
              <a:solidFill>
                <a:srgbClr val="AEABAB"/>
              </a:solidFill>
            </c:spPr>
          </c:dPt>
          <c:dPt>
            <c:idx val="1275"/>
            <c:spPr>
              <a:solidFill>
                <a:srgbClr val="AEABAB"/>
              </a:solidFill>
            </c:spPr>
          </c:dPt>
          <c:dPt>
            <c:idx val="1276"/>
            <c:spPr>
              <a:solidFill>
                <a:srgbClr val="AEABAB"/>
              </a:solidFill>
            </c:spPr>
          </c:dPt>
          <c:dPt>
            <c:idx val="1277"/>
            <c:spPr>
              <a:solidFill>
                <a:srgbClr val="AEABAB"/>
              </a:solidFill>
            </c:spPr>
          </c:dPt>
          <c:dPt>
            <c:idx val="1278"/>
            <c:spPr>
              <a:solidFill>
                <a:srgbClr val="AEABAB"/>
              </a:solidFill>
            </c:spPr>
          </c:dPt>
          <c:dPt>
            <c:idx val="1279"/>
            <c:spPr>
              <a:solidFill>
                <a:srgbClr val="AEABAB"/>
              </a:solidFill>
            </c:spPr>
          </c:dPt>
          <c:dPt>
            <c:idx val="1280"/>
            <c:spPr>
              <a:solidFill>
                <a:srgbClr val="AEABAB"/>
              </a:solidFill>
            </c:spPr>
          </c:dPt>
          <c:dPt>
            <c:idx val="1281"/>
            <c:spPr>
              <a:solidFill>
                <a:srgbClr val="AEABAB"/>
              </a:solidFill>
            </c:spPr>
          </c:dPt>
          <c:dPt>
            <c:idx val="1282"/>
            <c:spPr>
              <a:solidFill>
                <a:srgbClr val="AEABAB"/>
              </a:solidFill>
            </c:spPr>
          </c:dPt>
          <c:dPt>
            <c:idx val="1283"/>
            <c:spPr>
              <a:solidFill>
                <a:srgbClr val="AEABAB"/>
              </a:solidFill>
            </c:spPr>
          </c:dPt>
          <c:dPt>
            <c:idx val="1284"/>
            <c:spPr>
              <a:solidFill>
                <a:srgbClr val="AEABAB"/>
              </a:solidFill>
            </c:spPr>
          </c:dPt>
          <c:dPt>
            <c:idx val="1285"/>
            <c:spPr>
              <a:solidFill>
                <a:srgbClr val="AEABAB"/>
              </a:solidFill>
            </c:spPr>
          </c:dPt>
          <c:dPt>
            <c:idx val="1286"/>
            <c:spPr>
              <a:solidFill>
                <a:srgbClr val="AEABAB"/>
              </a:solidFill>
            </c:spPr>
          </c:dPt>
          <c:dPt>
            <c:idx val="1287"/>
            <c:spPr>
              <a:solidFill>
                <a:srgbClr val="AEABAB"/>
              </a:solidFill>
            </c:spPr>
          </c:dPt>
          <c:dPt>
            <c:idx val="1288"/>
            <c:spPr>
              <a:solidFill>
                <a:srgbClr val="AEABAB"/>
              </a:solidFill>
            </c:spPr>
          </c:dPt>
          <c:dPt>
            <c:idx val="1289"/>
            <c:spPr>
              <a:solidFill>
                <a:srgbClr val="AEABAB"/>
              </a:solidFill>
            </c:spPr>
          </c:dPt>
          <c:dPt>
            <c:idx val="1290"/>
            <c:spPr>
              <a:solidFill>
                <a:srgbClr val="AEABAB"/>
              </a:solidFill>
            </c:spPr>
          </c:dPt>
          <c:dPt>
            <c:idx val="1291"/>
            <c:spPr>
              <a:solidFill>
                <a:srgbClr val="AEABAB"/>
              </a:solidFill>
            </c:spPr>
          </c:dPt>
          <c:dPt>
            <c:idx val="1292"/>
            <c:spPr>
              <a:solidFill>
                <a:srgbClr val="AEABAB"/>
              </a:solidFill>
            </c:spPr>
          </c:dPt>
          <c:dPt>
            <c:idx val="1293"/>
            <c:spPr>
              <a:solidFill>
                <a:srgbClr val="AEABAB"/>
              </a:solidFill>
            </c:spPr>
          </c:dPt>
          <c:dPt>
            <c:idx val="1294"/>
            <c:spPr>
              <a:solidFill>
                <a:srgbClr val="AEABAB"/>
              </a:solidFill>
            </c:spPr>
          </c:dPt>
          <c:dPt>
            <c:idx val="1295"/>
            <c:spPr>
              <a:solidFill>
                <a:srgbClr val="AEABAB"/>
              </a:solidFill>
            </c:spPr>
          </c:dPt>
          <c:dPt>
            <c:idx val="1296"/>
            <c:spPr>
              <a:solidFill>
                <a:srgbClr val="AEABAB"/>
              </a:solidFill>
            </c:spPr>
          </c:dPt>
          <c:dPt>
            <c:idx val="1297"/>
            <c:spPr>
              <a:solidFill>
                <a:srgbClr val="AEABAB"/>
              </a:solidFill>
            </c:spPr>
          </c:dPt>
          <c:dPt>
            <c:idx val="1298"/>
            <c:spPr>
              <a:solidFill>
                <a:srgbClr val="AEABAB"/>
              </a:solidFill>
            </c:spPr>
          </c:dPt>
          <c:dPt>
            <c:idx val="1299"/>
            <c:spPr>
              <a:solidFill>
                <a:srgbClr val="AEABAB"/>
              </a:solidFill>
            </c:spPr>
          </c:dPt>
          <c:dPt>
            <c:idx val="1300"/>
            <c:spPr>
              <a:solidFill>
                <a:srgbClr val="AEABAB"/>
              </a:solidFill>
            </c:spPr>
          </c:dPt>
          <c:dPt>
            <c:idx val="1301"/>
            <c:spPr>
              <a:solidFill>
                <a:srgbClr val="AEABAB"/>
              </a:solidFill>
            </c:spPr>
          </c:dPt>
          <c:dPt>
            <c:idx val="1302"/>
            <c:spPr>
              <a:solidFill>
                <a:srgbClr val="AEABAB"/>
              </a:solidFill>
            </c:spPr>
          </c:dPt>
          <c:dPt>
            <c:idx val="1303"/>
            <c:spPr>
              <a:solidFill>
                <a:srgbClr val="AEABAB"/>
              </a:solidFill>
            </c:spPr>
          </c:dPt>
          <c:dPt>
            <c:idx val="1304"/>
            <c:spPr>
              <a:solidFill>
                <a:srgbClr val="AEABAB"/>
              </a:solidFill>
            </c:spPr>
          </c:dPt>
          <c:dPt>
            <c:idx val="1305"/>
            <c:spPr>
              <a:solidFill>
                <a:srgbClr val="AEABAB"/>
              </a:solidFill>
            </c:spPr>
          </c:dPt>
          <c:dPt>
            <c:idx val="1306"/>
            <c:spPr>
              <a:solidFill>
                <a:srgbClr val="AEABAB"/>
              </a:solidFill>
            </c:spPr>
          </c:dPt>
          <c:dPt>
            <c:idx val="1307"/>
            <c:spPr>
              <a:solidFill>
                <a:srgbClr val="AEABAB"/>
              </a:solidFill>
            </c:spPr>
          </c:dPt>
          <c:dPt>
            <c:idx val="1308"/>
            <c:spPr>
              <a:solidFill>
                <a:srgbClr val="AEABAB"/>
              </a:solidFill>
            </c:spPr>
          </c:dPt>
          <c:dPt>
            <c:idx val="1309"/>
            <c:spPr>
              <a:solidFill>
                <a:srgbClr val="AEABAB"/>
              </a:solidFill>
            </c:spPr>
          </c:dPt>
          <c:dPt>
            <c:idx val="1310"/>
            <c:spPr>
              <a:solidFill>
                <a:srgbClr val="AEABAB"/>
              </a:solidFill>
            </c:spPr>
          </c:dPt>
          <c:dPt>
            <c:idx val="1311"/>
            <c:spPr>
              <a:solidFill>
                <a:srgbClr val="AEABAB"/>
              </a:solidFill>
            </c:spPr>
          </c:dPt>
          <c:dPt>
            <c:idx val="1312"/>
            <c:spPr>
              <a:solidFill>
                <a:srgbClr val="AEABAB"/>
              </a:solidFill>
            </c:spPr>
          </c:dPt>
          <c:dPt>
            <c:idx val="1313"/>
            <c:spPr>
              <a:solidFill>
                <a:srgbClr val="AEABAB"/>
              </a:solidFill>
            </c:spPr>
          </c:dPt>
          <c:dPt>
            <c:idx val="1314"/>
            <c:spPr>
              <a:solidFill>
                <a:srgbClr val="AEABAB"/>
              </a:solidFill>
            </c:spPr>
          </c:dPt>
          <c:dPt>
            <c:idx val="1315"/>
            <c:spPr>
              <a:solidFill>
                <a:srgbClr val="AEABAB"/>
              </a:solidFill>
            </c:spPr>
          </c:dPt>
          <c:dPt>
            <c:idx val="1316"/>
            <c:spPr>
              <a:solidFill>
                <a:srgbClr val="AEABAB"/>
              </a:solidFill>
            </c:spPr>
          </c:dPt>
          <c:dPt>
            <c:idx val="1317"/>
            <c:spPr>
              <a:solidFill>
                <a:srgbClr val="AEABAB"/>
              </a:solidFill>
            </c:spPr>
          </c:dPt>
          <c:dPt>
            <c:idx val="1318"/>
            <c:spPr>
              <a:solidFill>
                <a:srgbClr val="AEABAB"/>
              </a:solidFill>
            </c:spPr>
          </c:dPt>
          <c:dPt>
            <c:idx val="1319"/>
            <c:spPr>
              <a:solidFill>
                <a:srgbClr val="AEABAB"/>
              </a:solidFill>
            </c:spPr>
          </c:dPt>
          <c:dPt>
            <c:idx val="1320"/>
            <c:spPr>
              <a:solidFill>
                <a:srgbClr val="AEABAB"/>
              </a:solidFill>
            </c:spPr>
          </c:dPt>
          <c:dPt>
            <c:idx val="1321"/>
            <c:spPr>
              <a:solidFill>
                <a:srgbClr val="AEABAB"/>
              </a:solidFill>
            </c:spPr>
          </c:dPt>
          <c:dPt>
            <c:idx val="1322"/>
            <c:spPr>
              <a:solidFill>
                <a:srgbClr val="AEABAB"/>
              </a:solidFill>
            </c:spPr>
          </c:dPt>
          <c:dPt>
            <c:idx val="1323"/>
            <c:spPr>
              <a:solidFill>
                <a:srgbClr val="AEABAB"/>
              </a:solidFill>
            </c:spPr>
          </c:dPt>
          <c:dPt>
            <c:idx val="1324"/>
            <c:spPr>
              <a:solidFill>
                <a:srgbClr val="AEABAB"/>
              </a:solidFill>
            </c:spPr>
          </c:dPt>
          <c:dPt>
            <c:idx val="1325"/>
            <c:spPr>
              <a:solidFill>
                <a:srgbClr val="AEABAB"/>
              </a:solidFill>
            </c:spPr>
          </c:dPt>
          <c:dPt>
            <c:idx val="1326"/>
            <c:spPr>
              <a:solidFill>
                <a:srgbClr val="AEABAB"/>
              </a:solidFill>
            </c:spPr>
          </c:dPt>
          <c:dPt>
            <c:idx val="1327"/>
            <c:spPr>
              <a:solidFill>
                <a:srgbClr val="AEABAB"/>
              </a:solidFill>
            </c:spPr>
          </c:dPt>
          <c:dPt>
            <c:idx val="1328"/>
            <c:spPr>
              <a:solidFill>
                <a:srgbClr val="AEABAB"/>
              </a:solidFill>
            </c:spPr>
          </c:dPt>
          <c:dPt>
            <c:idx val="1329"/>
            <c:spPr>
              <a:solidFill>
                <a:srgbClr val="AEABAB"/>
              </a:solidFill>
            </c:spPr>
          </c:dPt>
          <c:dPt>
            <c:idx val="1330"/>
            <c:spPr>
              <a:solidFill>
                <a:srgbClr val="AEABAB"/>
              </a:solidFill>
            </c:spPr>
          </c:dPt>
          <c:dPt>
            <c:idx val="1331"/>
            <c:spPr>
              <a:solidFill>
                <a:srgbClr val="AEABAB"/>
              </a:solidFill>
            </c:spPr>
          </c:dPt>
          <c:dPt>
            <c:idx val="1332"/>
            <c:spPr>
              <a:solidFill>
                <a:srgbClr val="AEABAB"/>
              </a:solidFill>
            </c:spPr>
          </c:dPt>
          <c:dPt>
            <c:idx val="1333"/>
            <c:spPr>
              <a:solidFill>
                <a:srgbClr val="AEABAB"/>
              </a:solidFill>
            </c:spPr>
          </c:dPt>
          <c:dPt>
            <c:idx val="1334"/>
            <c:spPr>
              <a:solidFill>
                <a:srgbClr val="AEABAB"/>
              </a:solidFill>
            </c:spPr>
          </c:dPt>
          <c:dPt>
            <c:idx val="1335"/>
            <c:spPr>
              <a:solidFill>
                <a:srgbClr val="AEABAB"/>
              </a:solidFill>
            </c:spPr>
          </c:dPt>
          <c:dPt>
            <c:idx val="1336"/>
            <c:spPr>
              <a:solidFill>
                <a:srgbClr val="AEABAB"/>
              </a:solidFill>
            </c:spPr>
          </c:dPt>
          <c:dPt>
            <c:idx val="1337"/>
            <c:spPr>
              <a:solidFill>
                <a:srgbClr val="AEABAB"/>
              </a:solidFill>
            </c:spPr>
          </c:dPt>
          <c:dPt>
            <c:idx val="1338"/>
            <c:spPr>
              <a:solidFill>
                <a:srgbClr val="AEABAB"/>
              </a:solidFill>
            </c:spPr>
          </c:dPt>
          <c:dPt>
            <c:idx val="1339"/>
            <c:spPr>
              <a:solidFill>
                <a:srgbClr val="AEABAB"/>
              </a:solidFill>
            </c:spPr>
          </c:dPt>
          <c:dPt>
            <c:idx val="1340"/>
            <c:spPr>
              <a:solidFill>
                <a:srgbClr val="AEABAB"/>
              </a:solidFill>
            </c:spPr>
          </c:dPt>
          <c:dPt>
            <c:idx val="1341"/>
            <c:spPr>
              <a:solidFill>
                <a:srgbClr val="AEABAB"/>
              </a:solidFill>
            </c:spPr>
          </c:dPt>
          <c:dPt>
            <c:idx val="1342"/>
            <c:spPr>
              <a:solidFill>
                <a:srgbClr val="AEABAB"/>
              </a:solidFill>
            </c:spPr>
          </c:dPt>
          <c:dPt>
            <c:idx val="1343"/>
            <c:spPr>
              <a:solidFill>
                <a:srgbClr val="AEABAB"/>
              </a:solidFill>
            </c:spPr>
          </c:dPt>
          <c:dPt>
            <c:idx val="1344"/>
            <c:spPr>
              <a:solidFill>
                <a:srgbClr val="AEABAB"/>
              </a:solidFill>
            </c:spPr>
          </c:dPt>
          <c:dPt>
            <c:idx val="1345"/>
            <c:spPr>
              <a:solidFill>
                <a:srgbClr val="AEABAB"/>
              </a:solidFill>
            </c:spPr>
          </c:dPt>
          <c:dPt>
            <c:idx val="1346"/>
            <c:spPr>
              <a:solidFill>
                <a:srgbClr val="AEABAB"/>
              </a:solidFill>
            </c:spPr>
          </c:dPt>
          <c:dPt>
            <c:idx val="1347"/>
            <c:spPr>
              <a:solidFill>
                <a:srgbClr val="AEABAB"/>
              </a:solidFill>
            </c:spPr>
          </c:dPt>
          <c:dPt>
            <c:idx val="1348"/>
            <c:spPr>
              <a:solidFill>
                <a:srgbClr val="AEABAB"/>
              </a:solidFill>
            </c:spPr>
          </c:dPt>
          <c:dPt>
            <c:idx val="1349"/>
            <c:spPr>
              <a:solidFill>
                <a:srgbClr val="AEABAB"/>
              </a:solidFill>
            </c:spPr>
          </c:dPt>
          <c:dPt>
            <c:idx val="1350"/>
            <c:spPr>
              <a:solidFill>
                <a:srgbClr val="AEABAB"/>
              </a:solidFill>
            </c:spPr>
          </c:dPt>
          <c:dPt>
            <c:idx val="1351"/>
            <c:spPr>
              <a:solidFill>
                <a:srgbClr val="AEABAB"/>
              </a:solidFill>
            </c:spPr>
          </c:dPt>
          <c:dPt>
            <c:idx val="1352"/>
            <c:spPr>
              <a:solidFill>
                <a:srgbClr val="AEABAB"/>
              </a:solidFill>
            </c:spPr>
          </c:dPt>
          <c:dPt>
            <c:idx val="1353"/>
            <c:spPr>
              <a:solidFill>
                <a:srgbClr val="AEABAB"/>
              </a:solidFill>
            </c:spPr>
          </c:dPt>
          <c:dPt>
            <c:idx val="1354"/>
            <c:spPr>
              <a:solidFill>
                <a:srgbClr val="AEABAB"/>
              </a:solidFill>
            </c:spPr>
          </c:dPt>
          <c:dPt>
            <c:idx val="1355"/>
            <c:spPr>
              <a:solidFill>
                <a:srgbClr val="AEABAB"/>
              </a:solidFill>
            </c:spPr>
          </c:dPt>
          <c:dPt>
            <c:idx val="1356"/>
            <c:spPr>
              <a:solidFill>
                <a:srgbClr val="AEABAB"/>
              </a:solidFill>
            </c:spPr>
          </c:dPt>
          <c:dPt>
            <c:idx val="1357"/>
            <c:spPr>
              <a:solidFill>
                <a:srgbClr val="AEABAB"/>
              </a:solidFill>
            </c:spPr>
          </c:dPt>
          <c:dPt>
            <c:idx val="1358"/>
            <c:spPr>
              <a:solidFill>
                <a:srgbClr val="AEABAB"/>
              </a:solidFill>
            </c:spPr>
          </c:dPt>
          <c:dPt>
            <c:idx val="1359"/>
            <c:spPr>
              <a:solidFill>
                <a:srgbClr val="AEABAB"/>
              </a:solidFill>
            </c:spPr>
          </c:dPt>
          <c:dPt>
            <c:idx val="1360"/>
            <c:spPr>
              <a:solidFill>
                <a:srgbClr val="AEABAB"/>
              </a:solidFill>
            </c:spPr>
          </c:dPt>
          <c:dPt>
            <c:idx val="1361"/>
            <c:spPr>
              <a:solidFill>
                <a:srgbClr val="AEABAB"/>
              </a:solidFill>
            </c:spPr>
          </c:dPt>
          <c:dPt>
            <c:idx val="1362"/>
            <c:spPr>
              <a:solidFill>
                <a:srgbClr val="AEABAB"/>
              </a:solidFill>
            </c:spPr>
          </c:dPt>
          <c:dPt>
            <c:idx val="1363"/>
            <c:spPr>
              <a:solidFill>
                <a:srgbClr val="AEABAB"/>
              </a:solidFill>
            </c:spPr>
          </c:dPt>
          <c:dPt>
            <c:idx val="1364"/>
            <c:spPr>
              <a:solidFill>
                <a:srgbClr val="AEABAB"/>
              </a:solidFill>
            </c:spPr>
          </c:dPt>
          <c:dPt>
            <c:idx val="1365"/>
            <c:spPr>
              <a:solidFill>
                <a:srgbClr val="AEABAB"/>
              </a:solidFill>
            </c:spPr>
          </c:dPt>
          <c:dPt>
            <c:idx val="1366"/>
            <c:spPr>
              <a:solidFill>
                <a:srgbClr val="AEABAB"/>
              </a:solidFill>
            </c:spPr>
          </c:dPt>
          <c:dPt>
            <c:idx val="1367"/>
            <c:spPr>
              <a:solidFill>
                <a:srgbClr val="AEABAB"/>
              </a:solidFill>
            </c:spPr>
          </c:dPt>
          <c:dPt>
            <c:idx val="1368"/>
            <c:spPr>
              <a:solidFill>
                <a:srgbClr val="AEABAB"/>
              </a:solidFill>
            </c:spPr>
          </c:dPt>
          <c:dPt>
            <c:idx val="1369"/>
            <c:spPr>
              <a:solidFill>
                <a:srgbClr val="AEABAB"/>
              </a:solidFill>
            </c:spPr>
          </c:dPt>
          <c:dPt>
            <c:idx val="1370"/>
            <c:spPr>
              <a:solidFill>
                <a:srgbClr val="AEABAB"/>
              </a:solidFill>
            </c:spPr>
          </c:dPt>
          <c:dPt>
            <c:idx val="1371"/>
            <c:spPr>
              <a:solidFill>
                <a:srgbClr val="AEABAB"/>
              </a:solidFill>
            </c:spPr>
          </c:dPt>
          <c:dPt>
            <c:idx val="1372"/>
            <c:spPr>
              <a:solidFill>
                <a:srgbClr val="AEABAB"/>
              </a:solidFill>
            </c:spPr>
          </c:dPt>
          <c:dPt>
            <c:idx val="1373"/>
            <c:spPr>
              <a:solidFill>
                <a:srgbClr val="AEABAB"/>
              </a:solidFill>
            </c:spPr>
          </c:dPt>
          <c:dPt>
            <c:idx val="1374"/>
            <c:spPr>
              <a:solidFill>
                <a:srgbClr val="AEABAB"/>
              </a:solidFill>
            </c:spPr>
          </c:dPt>
          <c:dPt>
            <c:idx val="1375"/>
            <c:spPr>
              <a:solidFill>
                <a:srgbClr val="AEABAB"/>
              </a:solidFill>
            </c:spPr>
          </c:dPt>
          <c:dPt>
            <c:idx val="1376"/>
            <c:spPr>
              <a:solidFill>
                <a:srgbClr val="AEABAB"/>
              </a:solidFill>
            </c:spPr>
          </c:dPt>
          <c:dPt>
            <c:idx val="1377"/>
            <c:spPr>
              <a:solidFill>
                <a:srgbClr val="AEABAB"/>
              </a:solidFill>
            </c:spPr>
          </c:dPt>
          <c:dPt>
            <c:idx val="1378"/>
            <c:spPr>
              <a:solidFill>
                <a:srgbClr val="AEABAB"/>
              </a:solidFill>
            </c:spPr>
          </c:dPt>
          <c:dPt>
            <c:idx val="1379"/>
            <c:spPr>
              <a:solidFill>
                <a:srgbClr val="AEABAB"/>
              </a:solidFill>
            </c:spPr>
          </c:dPt>
          <c:dPt>
            <c:idx val="1380"/>
            <c:spPr>
              <a:solidFill>
                <a:srgbClr val="AEABAB"/>
              </a:solidFill>
            </c:spPr>
          </c:dPt>
          <c:dPt>
            <c:idx val="1381"/>
            <c:spPr>
              <a:solidFill>
                <a:srgbClr val="AEABAB"/>
              </a:solidFill>
            </c:spPr>
          </c:dPt>
          <c:dPt>
            <c:idx val="1382"/>
            <c:spPr>
              <a:solidFill>
                <a:srgbClr val="AEABAB"/>
              </a:solidFill>
            </c:spPr>
          </c:dPt>
          <c:dPt>
            <c:idx val="1383"/>
            <c:spPr>
              <a:solidFill>
                <a:srgbClr val="AEABAB"/>
              </a:solidFill>
            </c:spPr>
          </c:dPt>
          <c:dPt>
            <c:idx val="1384"/>
            <c:spPr>
              <a:solidFill>
                <a:srgbClr val="AEABAB"/>
              </a:solidFill>
            </c:spPr>
          </c:dPt>
          <c:dPt>
            <c:idx val="1385"/>
            <c:spPr>
              <a:solidFill>
                <a:srgbClr val="AEABAB"/>
              </a:solidFill>
            </c:spPr>
          </c:dPt>
          <c:dPt>
            <c:idx val="1386"/>
            <c:spPr>
              <a:solidFill>
                <a:srgbClr val="AEABAB"/>
              </a:solidFill>
            </c:spPr>
          </c:dPt>
          <c:dPt>
            <c:idx val="1387"/>
            <c:spPr>
              <a:solidFill>
                <a:srgbClr val="AEABAB"/>
              </a:solidFill>
            </c:spPr>
          </c:dPt>
          <c:dPt>
            <c:idx val="1388"/>
            <c:spPr>
              <a:solidFill>
                <a:srgbClr val="AEABAB"/>
              </a:solidFill>
            </c:spPr>
          </c:dPt>
          <c:dPt>
            <c:idx val="1389"/>
            <c:spPr>
              <a:solidFill>
                <a:srgbClr val="AEABAB"/>
              </a:solidFill>
            </c:spPr>
          </c:dPt>
          <c:dPt>
            <c:idx val="1390"/>
            <c:spPr>
              <a:solidFill>
                <a:srgbClr val="AEABAB"/>
              </a:solidFill>
            </c:spPr>
          </c:dPt>
          <c:dPt>
            <c:idx val="1391"/>
            <c:spPr>
              <a:solidFill>
                <a:srgbClr val="AEABAB"/>
              </a:solidFill>
            </c:spPr>
          </c:dPt>
          <c:dPt>
            <c:idx val="1392"/>
            <c:spPr>
              <a:solidFill>
                <a:srgbClr val="AEABAB"/>
              </a:solidFill>
            </c:spPr>
          </c:dPt>
          <c:dPt>
            <c:idx val="1393"/>
            <c:spPr>
              <a:solidFill>
                <a:srgbClr val="AEABAB"/>
              </a:solidFill>
            </c:spPr>
          </c:dPt>
          <c:dPt>
            <c:idx val="1394"/>
            <c:spPr>
              <a:solidFill>
                <a:srgbClr val="AEABAB"/>
              </a:solidFill>
            </c:spPr>
          </c:dPt>
          <c:dPt>
            <c:idx val="1395"/>
            <c:spPr>
              <a:solidFill>
                <a:srgbClr val="AEABAB"/>
              </a:solidFill>
            </c:spPr>
          </c:dPt>
          <c:dPt>
            <c:idx val="1396"/>
            <c:spPr>
              <a:solidFill>
                <a:srgbClr val="AEABAB"/>
              </a:solidFill>
            </c:spPr>
          </c:dPt>
          <c:dPt>
            <c:idx val="1397"/>
            <c:spPr>
              <a:solidFill>
                <a:srgbClr val="AEABAB"/>
              </a:solidFill>
            </c:spPr>
          </c:dPt>
          <c:dPt>
            <c:idx val="1398"/>
            <c:spPr>
              <a:solidFill>
                <a:srgbClr val="AEABAB"/>
              </a:solidFill>
            </c:spPr>
          </c:dPt>
          <c:dPt>
            <c:idx val="1399"/>
            <c:spPr>
              <a:solidFill>
                <a:srgbClr val="AEABAB"/>
              </a:solidFill>
            </c:spPr>
          </c:dPt>
          <c:dPt>
            <c:idx val="1400"/>
            <c:spPr>
              <a:solidFill>
                <a:srgbClr val="AEABAB"/>
              </a:solidFill>
            </c:spPr>
          </c:dPt>
          <c:dPt>
            <c:idx val="1401"/>
            <c:spPr>
              <a:solidFill>
                <a:srgbClr val="AEABAB"/>
              </a:solidFill>
            </c:spPr>
          </c:dPt>
          <c:dPt>
            <c:idx val="1402"/>
            <c:spPr>
              <a:solidFill>
                <a:srgbClr val="AEABAB"/>
              </a:solidFill>
            </c:spPr>
          </c:dPt>
          <c:dPt>
            <c:idx val="1403"/>
            <c:spPr>
              <a:solidFill>
                <a:srgbClr val="AEABAB"/>
              </a:solidFill>
            </c:spPr>
          </c:dPt>
          <c:dPt>
            <c:idx val="1404"/>
            <c:spPr>
              <a:solidFill>
                <a:srgbClr val="AEABAB"/>
              </a:solidFill>
            </c:spPr>
          </c:dPt>
          <c:dPt>
            <c:idx val="1405"/>
            <c:spPr>
              <a:solidFill>
                <a:srgbClr val="AEABAB"/>
              </a:solidFill>
            </c:spPr>
          </c:dPt>
          <c:dPt>
            <c:idx val="1406"/>
            <c:spPr>
              <a:solidFill>
                <a:srgbClr val="AEABAB"/>
              </a:solidFill>
            </c:spPr>
          </c:dPt>
          <c:dPt>
            <c:idx val="1407"/>
            <c:spPr>
              <a:solidFill>
                <a:srgbClr val="AEABAB"/>
              </a:solidFill>
            </c:spPr>
          </c:dPt>
          <c:dPt>
            <c:idx val="1408"/>
            <c:spPr>
              <a:solidFill>
                <a:srgbClr val="AEABAB"/>
              </a:solidFill>
            </c:spPr>
          </c:dPt>
          <c:dPt>
            <c:idx val="1409"/>
            <c:spPr>
              <a:solidFill>
                <a:srgbClr val="AEABAB"/>
              </a:solidFill>
            </c:spPr>
          </c:dPt>
          <c:dPt>
            <c:idx val="1410"/>
            <c:spPr>
              <a:solidFill>
                <a:srgbClr val="AEABAB"/>
              </a:solidFill>
            </c:spPr>
          </c:dPt>
          <c:dPt>
            <c:idx val="1411"/>
            <c:spPr>
              <a:solidFill>
                <a:srgbClr val="AEABAB"/>
              </a:solidFill>
            </c:spPr>
          </c:dPt>
          <c:dPt>
            <c:idx val="1412"/>
            <c:spPr>
              <a:solidFill>
                <a:srgbClr val="AEABAB"/>
              </a:solidFill>
            </c:spPr>
          </c:dPt>
          <c:dPt>
            <c:idx val="1413"/>
            <c:spPr>
              <a:solidFill>
                <a:srgbClr val="AEABAB"/>
              </a:solidFill>
            </c:spPr>
          </c:dPt>
          <c:dPt>
            <c:idx val="1414"/>
            <c:spPr>
              <a:solidFill>
                <a:srgbClr val="AEABAB"/>
              </a:solidFill>
            </c:spPr>
          </c:dPt>
          <c:dPt>
            <c:idx val="1415"/>
            <c:spPr>
              <a:solidFill>
                <a:srgbClr val="AEABAB"/>
              </a:solidFill>
            </c:spPr>
          </c:dPt>
          <c:dPt>
            <c:idx val="1416"/>
            <c:spPr>
              <a:solidFill>
                <a:srgbClr val="AEABAB"/>
              </a:solidFill>
            </c:spPr>
          </c:dPt>
          <c:dPt>
            <c:idx val="1417"/>
            <c:spPr>
              <a:solidFill>
                <a:srgbClr val="AEABAB"/>
              </a:solidFill>
            </c:spPr>
          </c:dPt>
          <c:dPt>
            <c:idx val="1418"/>
            <c:spPr>
              <a:solidFill>
                <a:srgbClr val="AEABAB"/>
              </a:solidFill>
            </c:spPr>
          </c:dPt>
          <c:dPt>
            <c:idx val="1419"/>
            <c:spPr>
              <a:solidFill>
                <a:srgbClr val="AEABAB"/>
              </a:solidFill>
            </c:spPr>
          </c:dPt>
          <c:dPt>
            <c:idx val="1420"/>
            <c:spPr>
              <a:solidFill>
                <a:srgbClr val="AEABAB"/>
              </a:solidFill>
            </c:spPr>
          </c:dPt>
          <c:dPt>
            <c:idx val="1421"/>
            <c:spPr>
              <a:solidFill>
                <a:srgbClr val="AEABAB"/>
              </a:solidFill>
            </c:spPr>
          </c:dPt>
          <c:dPt>
            <c:idx val="1422"/>
            <c:spPr>
              <a:solidFill>
                <a:srgbClr val="AEABAB"/>
              </a:solidFill>
            </c:spPr>
          </c:dPt>
          <c:dPt>
            <c:idx val="1423"/>
            <c:spPr>
              <a:solidFill>
                <a:srgbClr val="AEABAB"/>
              </a:solidFill>
            </c:spPr>
          </c:dPt>
          <c:dPt>
            <c:idx val="1424"/>
            <c:spPr>
              <a:solidFill>
                <a:srgbClr val="AEABAB"/>
              </a:solidFill>
            </c:spPr>
          </c:dPt>
          <c:dPt>
            <c:idx val="1425"/>
            <c:spPr>
              <a:solidFill>
                <a:srgbClr val="AEABAB"/>
              </a:solidFill>
            </c:spPr>
          </c:dPt>
          <c:dPt>
            <c:idx val="1426"/>
            <c:spPr>
              <a:solidFill>
                <a:srgbClr val="AEABAB"/>
              </a:solidFill>
            </c:spPr>
          </c:dPt>
          <c:dPt>
            <c:idx val="1427"/>
            <c:spPr>
              <a:solidFill>
                <a:srgbClr val="AEABAB"/>
              </a:solidFill>
            </c:spPr>
          </c:dPt>
          <c:dPt>
            <c:idx val="1428"/>
            <c:spPr>
              <a:solidFill>
                <a:srgbClr val="AEABAB"/>
              </a:solidFill>
            </c:spPr>
          </c:dPt>
          <c:dPt>
            <c:idx val="1429"/>
            <c:spPr>
              <a:solidFill>
                <a:srgbClr val="AEABAB"/>
              </a:solidFill>
            </c:spPr>
          </c:dPt>
          <c:dPt>
            <c:idx val="1430"/>
            <c:spPr>
              <a:solidFill>
                <a:srgbClr val="AEABAB"/>
              </a:solidFill>
            </c:spPr>
          </c:dPt>
          <c:dPt>
            <c:idx val="1431"/>
            <c:spPr>
              <a:solidFill>
                <a:srgbClr val="AEABAB"/>
              </a:solidFill>
            </c:spPr>
          </c:dPt>
          <c:dPt>
            <c:idx val="1432"/>
            <c:spPr>
              <a:solidFill>
                <a:srgbClr val="AEABAB"/>
              </a:solidFill>
            </c:spPr>
          </c:dPt>
          <c:dPt>
            <c:idx val="1433"/>
            <c:spPr>
              <a:solidFill>
                <a:srgbClr val="AEABAB"/>
              </a:solidFill>
            </c:spPr>
          </c:dPt>
          <c:dPt>
            <c:idx val="1434"/>
            <c:spPr>
              <a:solidFill>
                <a:srgbClr val="AEABAB"/>
              </a:solidFill>
            </c:spPr>
          </c:dPt>
          <c:dPt>
            <c:idx val="1435"/>
            <c:spPr>
              <a:solidFill>
                <a:srgbClr val="AEABAB"/>
              </a:solidFill>
            </c:spPr>
          </c:dPt>
          <c:dPt>
            <c:idx val="1436"/>
            <c:spPr>
              <a:solidFill>
                <a:srgbClr val="AEABAB"/>
              </a:solidFill>
            </c:spPr>
          </c:dPt>
          <c:dPt>
            <c:idx val="1437"/>
            <c:spPr>
              <a:solidFill>
                <a:srgbClr val="AEABAB"/>
              </a:solidFill>
            </c:spPr>
          </c:dPt>
          <c:dPt>
            <c:idx val="1438"/>
            <c:spPr>
              <a:solidFill>
                <a:srgbClr val="AEABAB"/>
              </a:solidFill>
            </c:spPr>
          </c:dPt>
          <c:dPt>
            <c:idx val="1439"/>
            <c:spPr>
              <a:solidFill>
                <a:srgbClr val="AEABAB"/>
              </a:solidFill>
            </c:spPr>
          </c:dPt>
          <c:dPt>
            <c:idx val="1440"/>
            <c:spPr>
              <a:solidFill>
                <a:srgbClr val="AEABAB"/>
              </a:solidFill>
            </c:spPr>
          </c:dPt>
          <c:dPt>
            <c:idx val="1441"/>
            <c:spPr>
              <a:solidFill>
                <a:srgbClr val="AEABAB"/>
              </a:solidFill>
            </c:spPr>
          </c:dPt>
          <c:dPt>
            <c:idx val="1442"/>
            <c:spPr>
              <a:solidFill>
                <a:srgbClr val="AEABAB"/>
              </a:solidFill>
            </c:spPr>
          </c:dPt>
          <c:dPt>
            <c:idx val="1443"/>
            <c:spPr>
              <a:solidFill>
                <a:srgbClr val="AEABAB"/>
              </a:solidFill>
            </c:spPr>
          </c:dPt>
          <c:dPt>
            <c:idx val="1444"/>
            <c:spPr>
              <a:solidFill>
                <a:srgbClr val="AEABAB"/>
              </a:solidFill>
            </c:spPr>
          </c:dPt>
          <c:dPt>
            <c:idx val="1445"/>
            <c:spPr>
              <a:solidFill>
                <a:srgbClr val="AEABAB"/>
              </a:solidFill>
            </c:spPr>
          </c:dPt>
          <c:dPt>
            <c:idx val="1446"/>
            <c:spPr>
              <a:solidFill>
                <a:srgbClr val="AEABAB"/>
              </a:solidFill>
            </c:spPr>
          </c:dPt>
          <c:dPt>
            <c:idx val="1447"/>
            <c:spPr>
              <a:solidFill>
                <a:srgbClr val="AEABAB"/>
              </a:solidFill>
            </c:spPr>
          </c:dPt>
          <c:dPt>
            <c:idx val="1448"/>
            <c:spPr>
              <a:solidFill>
                <a:srgbClr val="AEABAB"/>
              </a:solidFill>
            </c:spPr>
          </c:dPt>
          <c:dPt>
            <c:idx val="1449"/>
            <c:spPr>
              <a:solidFill>
                <a:srgbClr val="AEABAB"/>
              </a:solidFill>
            </c:spPr>
          </c:dPt>
          <c:dPt>
            <c:idx val="1450"/>
            <c:spPr>
              <a:solidFill>
                <a:srgbClr val="AEABAB"/>
              </a:solidFill>
            </c:spPr>
          </c:dPt>
          <c:dPt>
            <c:idx val="1451"/>
            <c:spPr>
              <a:solidFill>
                <a:srgbClr val="AEABAB"/>
              </a:solidFill>
            </c:spPr>
          </c:dPt>
          <c:dPt>
            <c:idx val="1452"/>
            <c:spPr>
              <a:solidFill>
                <a:srgbClr val="AEABAB"/>
              </a:solidFill>
            </c:spPr>
          </c:dPt>
          <c:dPt>
            <c:idx val="1453"/>
            <c:spPr>
              <a:solidFill>
                <a:srgbClr val="AEABAB"/>
              </a:solidFill>
            </c:spPr>
          </c:dPt>
          <c:dPt>
            <c:idx val="1454"/>
            <c:spPr>
              <a:solidFill>
                <a:srgbClr val="AEABAB"/>
              </a:solidFill>
            </c:spPr>
          </c:dPt>
          <c:dPt>
            <c:idx val="1455"/>
            <c:spPr>
              <a:solidFill>
                <a:srgbClr val="AEABAB"/>
              </a:solidFill>
            </c:spPr>
          </c:dPt>
          <c:dPt>
            <c:idx val="1456"/>
            <c:spPr>
              <a:solidFill>
                <a:srgbClr val="AEABAB"/>
              </a:solidFill>
            </c:spPr>
          </c:dPt>
          <c:dPt>
            <c:idx val="1457"/>
            <c:spPr>
              <a:solidFill>
                <a:srgbClr val="AEABAB"/>
              </a:solidFill>
            </c:spPr>
          </c:dPt>
          <c:dPt>
            <c:idx val="1458"/>
            <c:spPr>
              <a:solidFill>
                <a:srgbClr val="AEABAB"/>
              </a:solidFill>
            </c:spPr>
          </c:dPt>
          <c:dPt>
            <c:idx val="1459"/>
            <c:spPr>
              <a:solidFill>
                <a:srgbClr val="AEABAB"/>
              </a:solidFill>
            </c:spPr>
          </c:dPt>
          <c:dPt>
            <c:idx val="1460"/>
            <c:spPr>
              <a:solidFill>
                <a:srgbClr val="AEABAB"/>
              </a:solidFill>
            </c:spPr>
          </c:dPt>
          <c:dPt>
            <c:idx val="1461"/>
            <c:spPr>
              <a:solidFill>
                <a:srgbClr val="AEABAB"/>
              </a:solidFill>
            </c:spPr>
          </c:dPt>
          <c:dPt>
            <c:idx val="1462"/>
            <c:spPr>
              <a:solidFill>
                <a:srgbClr val="AEABAB"/>
              </a:solidFill>
            </c:spPr>
          </c:dPt>
          <c:dPt>
            <c:idx val="1463"/>
            <c:spPr>
              <a:solidFill>
                <a:srgbClr val="AEABAB"/>
              </a:solidFill>
            </c:spPr>
          </c:dPt>
          <c:dPt>
            <c:idx val="1464"/>
            <c:spPr>
              <a:solidFill>
                <a:srgbClr val="AEABAB"/>
              </a:solidFill>
            </c:spPr>
          </c:dPt>
          <c:dPt>
            <c:idx val="1465"/>
            <c:spPr>
              <a:solidFill>
                <a:srgbClr val="AEABAB"/>
              </a:solidFill>
            </c:spPr>
          </c:dPt>
          <c:dPt>
            <c:idx val="1466"/>
            <c:spPr>
              <a:solidFill>
                <a:srgbClr val="AEABAB"/>
              </a:solidFill>
            </c:spPr>
          </c:dPt>
          <c:dPt>
            <c:idx val="1467"/>
            <c:spPr>
              <a:solidFill>
                <a:srgbClr val="AEABAB"/>
              </a:solidFill>
            </c:spPr>
          </c:dPt>
          <c:dPt>
            <c:idx val="1468"/>
            <c:spPr>
              <a:solidFill>
                <a:srgbClr val="AEABAB"/>
              </a:solidFill>
            </c:spPr>
          </c:dPt>
          <c:dPt>
            <c:idx val="1469"/>
            <c:spPr>
              <a:solidFill>
                <a:srgbClr val="AEABAB"/>
              </a:solidFill>
            </c:spPr>
          </c:dPt>
          <c:dPt>
            <c:idx val="1470"/>
            <c:spPr>
              <a:solidFill>
                <a:srgbClr val="AEABAB"/>
              </a:solidFill>
            </c:spPr>
          </c:dPt>
          <c:dPt>
            <c:idx val="1471"/>
            <c:spPr>
              <a:solidFill>
                <a:srgbClr val="AEABAB"/>
              </a:solidFill>
            </c:spPr>
          </c:dPt>
          <c:dPt>
            <c:idx val="1472"/>
            <c:spPr>
              <a:solidFill>
                <a:srgbClr val="AEABAB"/>
              </a:solidFill>
            </c:spPr>
          </c:dPt>
          <c:dPt>
            <c:idx val="1473"/>
            <c:spPr>
              <a:solidFill>
                <a:srgbClr val="AEABAB"/>
              </a:solidFill>
            </c:spPr>
          </c:dPt>
          <c:cat>
            <c:strRef>
              <c:f>Sheet1!$A$2:$A$1475</c:f>
              <c:strCache>
                <c:ptCount val="1474"/>
                <c:pt idx="0">
                  <c:v>Caprice Des</c:v>
                </c:pt>
                <c:pt idx="1">
                  <c:v>La Vache Qu</c:v>
                </c:pt>
                <c:pt idx="2">
                  <c:v>Private Lab</c:v>
                </c:pt>
                <c:pt idx="3">
                  <c:v>Mini Babybe</c:v>
                </c:pt>
                <c:pt idx="4">
                  <c:v>Kiri</c:v>
                </c:pt>
                <c:pt idx="5">
                  <c:v>Coeur De Li</c:v>
                </c:pt>
                <c:pt idx="6">
                  <c:v>Caprice Des</c:v>
                </c:pt>
                <c:pt idx="7">
                  <c:v>President</c:v>
                </c:pt>
                <c:pt idx="8">
                  <c:v>Soignon</c:v>
                </c:pt>
                <c:pt idx="9">
                  <c:v>Soignon</c:v>
                </c:pt>
                <c:pt idx="10">
                  <c:v>Private Lab</c:v>
                </c:pt>
                <c:pt idx="11">
                  <c:v>La Vache Qu</c:v>
                </c:pt>
                <c:pt idx="12">
                  <c:v>Tartare</c:v>
                </c:pt>
                <c:pt idx="13">
                  <c:v>Coeur De Li</c:v>
                </c:pt>
                <c:pt idx="14">
                  <c:v>President</c:v>
                </c:pt>
                <c:pt idx="15">
                  <c:v>President</c:v>
                </c:pt>
                <c:pt idx="16">
                  <c:v>Le Rustique</c:v>
                </c:pt>
                <c:pt idx="17">
                  <c:v>Galbani</c:v>
                </c:pt>
                <c:pt idx="18">
                  <c:v>Ficello</c:v>
                </c:pt>
                <c:pt idx="19">
                  <c:v>Soignon</c:v>
                </c:pt>
                <c:pt idx="20">
                  <c:v>St Moret</c:v>
                </c:pt>
                <c:pt idx="21">
                  <c:v>Private Lab</c:v>
                </c:pt>
                <c:pt idx="22">
                  <c:v>St Moret</c:v>
                </c:pt>
                <c:pt idx="23">
                  <c:v>President</c:v>
                </c:pt>
                <c:pt idx="24">
                  <c:v>Mini Babybe</c:v>
                </c:pt>
                <c:pt idx="25">
                  <c:v>Kiri</c:v>
                </c:pt>
                <c:pt idx="26">
                  <c:v>St Moret</c:v>
                </c:pt>
                <c:pt idx="27">
                  <c:v>Private Lab</c:v>
                </c:pt>
                <c:pt idx="28">
                  <c:v>La Vache Qu</c:v>
                </c:pt>
                <c:pt idx="29">
                  <c:v>Private Lab</c:v>
                </c:pt>
                <c:pt idx="30">
                  <c:v>All Others</c:v>
                </c:pt>
                <c:pt idx="31">
                  <c:v>St Moret</c:v>
                </c:pt>
                <c:pt idx="32">
                  <c:v>Salakis</c:v>
                </c:pt>
                <c:pt idx="33">
                  <c:v>Carre Frais</c:v>
                </c:pt>
                <c:pt idx="34">
                  <c:v>Coeur De Li</c:v>
                </c:pt>
                <c:pt idx="35">
                  <c:v>St Moret</c:v>
                </c:pt>
                <c:pt idx="36">
                  <c:v>Paysan Bret</c:v>
                </c:pt>
                <c:pt idx="37">
                  <c:v>President</c:v>
                </c:pt>
                <c:pt idx="38">
                  <c:v>Galbani</c:v>
                </c:pt>
                <c:pt idx="39">
                  <c:v>Philadelphi</c:v>
                </c:pt>
                <c:pt idx="40">
                  <c:v>Kiri</c:v>
                </c:pt>
                <c:pt idx="41">
                  <c:v>Boursin</c:v>
                </c:pt>
                <c:pt idx="42">
                  <c:v>Carre Frais</c:v>
                </c:pt>
                <c:pt idx="43">
                  <c:v>Private Lab</c:v>
                </c:pt>
                <c:pt idx="44">
                  <c:v>Private Lab</c:v>
                </c:pt>
                <c:pt idx="45">
                  <c:v>Paysan Bret</c:v>
                </c:pt>
                <c:pt idx="46">
                  <c:v>Islos</c:v>
                </c:pt>
                <c:pt idx="47">
                  <c:v>St Moret</c:v>
                </c:pt>
                <c:pt idx="48">
                  <c:v>Private Lab</c:v>
                </c:pt>
                <c:pt idx="49">
                  <c:v>Paysan Bret</c:v>
                </c:pt>
                <c:pt idx="50">
                  <c:v>Galbani</c:v>
                </c:pt>
                <c:pt idx="51">
                  <c:v>Salakis</c:v>
                </c:pt>
                <c:pt idx="52">
                  <c:v>Tartare</c:v>
                </c:pt>
                <c:pt idx="53">
                  <c:v>Kiri</c:v>
                </c:pt>
                <c:pt idx="54">
                  <c:v>Lepetit</c:v>
                </c:pt>
                <c:pt idx="55">
                  <c:v>Istara</c:v>
                </c:pt>
                <c:pt idx="56">
                  <c:v>Coeur De Li</c:v>
                </c:pt>
                <c:pt idx="57">
                  <c:v>Casa Azzurr</c:v>
                </c:pt>
                <c:pt idx="58">
                  <c:v>Boursin</c:v>
                </c:pt>
                <c:pt idx="59">
                  <c:v>Private Lab</c:v>
                </c:pt>
                <c:pt idx="60">
                  <c:v>Private Lab</c:v>
                </c:pt>
                <c:pt idx="61">
                  <c:v>All Others</c:v>
                </c:pt>
                <c:pt idx="62">
                  <c:v>Kiri</c:v>
                </c:pt>
                <c:pt idx="63">
                  <c:v>All Others</c:v>
                </c:pt>
                <c:pt idx="64">
                  <c:v>Petit Billy</c:v>
                </c:pt>
                <c:pt idx="65">
                  <c:v>Lou Perac</c:v>
                </c:pt>
                <c:pt idx="66">
                  <c:v>Mini Babybe</c:v>
                </c:pt>
                <c:pt idx="67">
                  <c:v>Carre Frais</c:v>
                </c:pt>
                <c:pt idx="68">
                  <c:v>Mini Babybe</c:v>
                </c:pt>
                <c:pt idx="69">
                  <c:v>Boursin</c:v>
                </c:pt>
                <c:pt idx="70">
                  <c:v>All Others</c:v>
                </c:pt>
                <c:pt idx="71">
                  <c:v>Private Lab</c:v>
                </c:pt>
                <c:pt idx="72">
                  <c:v>Galbani</c:v>
                </c:pt>
                <c:pt idx="73">
                  <c:v>La Vache Qu</c:v>
                </c:pt>
                <c:pt idx="74">
                  <c:v>All Others</c:v>
                </c:pt>
                <c:pt idx="75">
                  <c:v>Private Lab</c:v>
                </c:pt>
                <c:pt idx="76">
                  <c:v>Private Lab</c:v>
                </c:pt>
                <c:pt idx="77">
                  <c:v>St Moret</c:v>
                </c:pt>
                <c:pt idx="78">
                  <c:v>President</c:v>
                </c:pt>
                <c:pt idx="79">
                  <c:v>St Moret</c:v>
                </c:pt>
                <c:pt idx="80">
                  <c:v>Private Lab</c:v>
                </c:pt>
                <c:pt idx="81">
                  <c:v>Caprice Des</c:v>
                </c:pt>
                <c:pt idx="82">
                  <c:v>Philadelphi</c:v>
                </c:pt>
                <c:pt idx="83">
                  <c:v>President</c:v>
                </c:pt>
                <c:pt idx="84">
                  <c:v>Private Lab</c:v>
                </c:pt>
                <c:pt idx="85">
                  <c:v>Philadelphi</c:v>
                </c:pt>
                <c:pt idx="86">
                  <c:v>Private Lab</c:v>
                </c:pt>
                <c:pt idx="87">
                  <c:v>Casa Azzurr</c:v>
                </c:pt>
                <c:pt idx="88">
                  <c:v>Salakis</c:v>
                </c:pt>
                <c:pt idx="89">
                  <c:v>Kiri</c:v>
                </c:pt>
                <c:pt idx="90">
                  <c:v>Istara</c:v>
                </c:pt>
                <c:pt idx="91">
                  <c:v>La Vache Qu</c:v>
                </c:pt>
                <c:pt idx="92">
                  <c:v>Ficello</c:v>
                </c:pt>
                <c:pt idx="93">
                  <c:v>Private Lab</c:v>
                </c:pt>
                <c:pt idx="94">
                  <c:v>Mini Babybe</c:v>
                </c:pt>
                <c:pt idx="95">
                  <c:v>Laita: All </c:v>
                </c:pt>
                <c:pt idx="96">
                  <c:v>La Vache Qu</c:v>
                </c:pt>
                <c:pt idx="97">
                  <c:v>Le Rustique</c:v>
                </c:pt>
                <c:pt idx="98">
                  <c:v>Private Lab</c:v>
                </c:pt>
                <c:pt idx="99">
                  <c:v>All Others</c:v>
                </c:pt>
                <c:pt idx="100">
                  <c:v>Etorki</c:v>
                </c:pt>
                <c:pt idx="101">
                  <c:v>Private Lab</c:v>
                </c:pt>
                <c:pt idx="102">
                  <c:v>Lactalis: A</c:v>
                </c:pt>
                <c:pt idx="103">
                  <c:v>Soignon</c:v>
                </c:pt>
                <c:pt idx="104">
                  <c:v>Private Lab</c:v>
                </c:pt>
                <c:pt idx="105">
                  <c:v>All Others</c:v>
                </c:pt>
                <c:pt idx="106">
                  <c:v>Coeur De Li</c:v>
                </c:pt>
                <c:pt idx="107">
                  <c:v>Caprice Des</c:v>
                </c:pt>
                <c:pt idx="108">
                  <c:v>Tartare</c:v>
                </c:pt>
                <c:pt idx="109">
                  <c:v>All Others</c:v>
                </c:pt>
                <c:pt idx="110">
                  <c:v>Salakis</c:v>
                </c:pt>
                <c:pt idx="111">
                  <c:v>Boursin</c:v>
                </c:pt>
                <c:pt idx="112">
                  <c:v>St Moret</c:v>
                </c:pt>
                <c:pt idx="113">
                  <c:v>Soignon</c:v>
                </c:pt>
                <c:pt idx="114">
                  <c:v>President</c:v>
                </c:pt>
                <c:pt idx="115">
                  <c:v>All Others</c:v>
                </c:pt>
                <c:pt idx="116">
                  <c:v>Private Lab</c:v>
                </c:pt>
                <c:pt idx="117">
                  <c:v>Private Lab</c:v>
                </c:pt>
                <c:pt idx="118">
                  <c:v>Private Lab</c:v>
                </c:pt>
                <c:pt idx="119">
                  <c:v>President</c:v>
                </c:pt>
                <c:pt idx="120">
                  <c:v>Private Lab</c:v>
                </c:pt>
                <c:pt idx="121">
                  <c:v>Soignon</c:v>
                </c:pt>
                <c:pt idx="122">
                  <c:v>Mini Babybe</c:v>
                </c:pt>
                <c:pt idx="123">
                  <c:v>Le Rustique</c:v>
                </c:pt>
                <c:pt idx="124">
                  <c:v>Soignon</c:v>
                </c:pt>
                <c:pt idx="125">
                  <c:v>Galbani</c:v>
                </c:pt>
                <c:pt idx="126">
                  <c:v>President</c:v>
                </c:pt>
                <c:pt idx="127">
                  <c:v>Lactalis: A</c:v>
                </c:pt>
                <c:pt idx="128">
                  <c:v>Caprice Des</c:v>
                </c:pt>
                <c:pt idx="129">
                  <c:v>Casa Azzurr</c:v>
                </c:pt>
                <c:pt idx="130">
                  <c:v>All Others</c:v>
                </c:pt>
                <c:pt idx="131">
                  <c:v>Casa Azzurr</c:v>
                </c:pt>
                <c:pt idx="132">
                  <c:v>Paysan Bret</c:v>
                </c:pt>
                <c:pt idx="133">
                  <c:v>Casa Azzurr</c:v>
                </c:pt>
                <c:pt idx="134">
                  <c:v>All Others</c:v>
                </c:pt>
                <c:pt idx="135">
                  <c:v>Paysan Bret</c:v>
                </c:pt>
                <c:pt idx="136">
                  <c:v>Salakis</c:v>
                </c:pt>
                <c:pt idx="137">
                  <c:v>Le Brebiou</c:v>
                </c:pt>
                <c:pt idx="138">
                  <c:v>Lactalis: A</c:v>
                </c:pt>
                <c:pt idx="139">
                  <c:v>Private Lab</c:v>
                </c:pt>
                <c:pt idx="140">
                  <c:v>Coeur De Li</c:v>
                </c:pt>
                <c:pt idx="141">
                  <c:v>Galbani</c:v>
                </c:pt>
                <c:pt idx="142">
                  <c:v>Savencia: A</c:v>
                </c:pt>
                <c:pt idx="143">
                  <c:v>Private Lab</c:v>
                </c:pt>
                <c:pt idx="144">
                  <c:v>Chavroux</c:v>
                </c:pt>
                <c:pt idx="145">
                  <c:v>Chavroux</c:v>
                </c:pt>
                <c:pt idx="146">
                  <c:v>Paysan Bret</c:v>
                </c:pt>
                <c:pt idx="147">
                  <c:v>All Others</c:v>
                </c:pt>
                <c:pt idx="148">
                  <c:v>Casa Azzurr</c:v>
                </c:pt>
                <c:pt idx="149">
                  <c:v>All Others</c:v>
                </c:pt>
                <c:pt idx="150">
                  <c:v>All Others</c:v>
                </c:pt>
                <c:pt idx="151">
                  <c:v>Private Lab</c:v>
                </c:pt>
                <c:pt idx="152">
                  <c:v>All Others</c:v>
                </c:pt>
                <c:pt idx="153">
                  <c:v>President</c:v>
                </c:pt>
                <c:pt idx="154">
                  <c:v>Casa Azzurr</c:v>
                </c:pt>
                <c:pt idx="155">
                  <c:v>Paysan Bret</c:v>
                </c:pt>
                <c:pt idx="156">
                  <c:v>Salakis</c:v>
                </c:pt>
                <c:pt idx="157">
                  <c:v>All Others</c:v>
                </c:pt>
                <c:pt idx="158">
                  <c:v>Lactalis: A</c:v>
                </c:pt>
                <c:pt idx="159">
                  <c:v>La Vache Qu</c:v>
                </c:pt>
                <c:pt idx="160">
                  <c:v>President</c:v>
                </c:pt>
                <c:pt idx="161">
                  <c:v>Le Rustique</c:v>
                </c:pt>
                <c:pt idx="162">
                  <c:v>Private Lab</c:v>
                </c:pt>
                <c:pt idx="163">
                  <c:v>Boursin</c:v>
                </c:pt>
                <c:pt idx="164">
                  <c:v>Private Lab</c:v>
                </c:pt>
                <c:pt idx="165">
                  <c:v>Lou Perac</c:v>
                </c:pt>
                <c:pt idx="166">
                  <c:v>Casa Azzurr</c:v>
                </c:pt>
                <c:pt idx="167">
                  <c:v>Soignon</c:v>
                </c:pt>
                <c:pt idx="168">
                  <c:v>Chavroux</c:v>
                </c:pt>
                <c:pt idx="169">
                  <c:v>All Others</c:v>
                </c:pt>
                <c:pt idx="170">
                  <c:v>Soignon</c:v>
                </c:pt>
                <c:pt idx="171">
                  <c:v>Etorki</c:v>
                </c:pt>
                <c:pt idx="172">
                  <c:v>All Others</c:v>
                </c:pt>
                <c:pt idx="173">
                  <c:v>President</c:v>
                </c:pt>
                <c:pt idx="174">
                  <c:v>Private Lab</c:v>
                </c:pt>
                <c:pt idx="175">
                  <c:v>Rondele</c:v>
                </c:pt>
                <c:pt idx="176">
                  <c:v>Soignon</c:v>
                </c:pt>
                <c:pt idx="177">
                  <c:v>P'Tit Louis</c:v>
                </c:pt>
                <c:pt idx="178">
                  <c:v>Galbani</c:v>
                </c:pt>
                <c:pt idx="179">
                  <c:v>Private Lab</c:v>
                </c:pt>
                <c:pt idx="180">
                  <c:v>All Others</c:v>
                </c:pt>
                <c:pt idx="181">
                  <c:v>Boursin</c:v>
                </c:pt>
                <c:pt idx="182">
                  <c:v>Caprice Des</c:v>
                </c:pt>
                <c:pt idx="183">
                  <c:v>Private Lab</c:v>
                </c:pt>
                <c:pt idx="184">
                  <c:v>Private Lab</c:v>
                </c:pt>
                <c:pt idx="185">
                  <c:v>All Others</c:v>
                </c:pt>
                <c:pt idx="186">
                  <c:v>Private Lab</c:v>
                </c:pt>
                <c:pt idx="187">
                  <c:v>Ficello</c:v>
                </c:pt>
                <c:pt idx="188">
                  <c:v>Casa Azzurr</c:v>
                </c:pt>
                <c:pt idx="189">
                  <c:v>All Others</c:v>
                </c:pt>
                <c:pt idx="190">
                  <c:v>Soignon</c:v>
                </c:pt>
                <c:pt idx="191">
                  <c:v>Private Lab</c:v>
                </c:pt>
                <c:pt idx="192">
                  <c:v>Private Lab</c:v>
                </c:pt>
                <c:pt idx="193">
                  <c:v>Soignon</c:v>
                </c:pt>
                <c:pt idx="194">
                  <c:v>P'Tit Louis</c:v>
                </c:pt>
                <c:pt idx="195">
                  <c:v>Tartare</c:v>
                </c:pt>
                <c:pt idx="196">
                  <c:v>Lactalis: A</c:v>
                </c:pt>
                <c:pt idx="197">
                  <c:v>All Others</c:v>
                </c:pt>
                <c:pt idx="198">
                  <c:v>Soignon</c:v>
                </c:pt>
                <c:pt idx="199">
                  <c:v>Galbani</c:v>
                </c:pt>
                <c:pt idx="200">
                  <c:v>Caprice Des</c:v>
                </c:pt>
                <c:pt idx="201">
                  <c:v>Private Lab</c:v>
                </c:pt>
                <c:pt idx="202">
                  <c:v>Kiri</c:v>
                </c:pt>
                <c:pt idx="203">
                  <c:v>Galbani</c:v>
                </c:pt>
                <c:pt idx="204">
                  <c:v>Boursin</c:v>
                </c:pt>
                <c:pt idx="205">
                  <c:v>All Others</c:v>
                </c:pt>
                <c:pt idx="206">
                  <c:v>All Others</c:v>
                </c:pt>
                <c:pt idx="207">
                  <c:v>Salakis</c:v>
                </c:pt>
                <c:pt idx="208">
                  <c:v>All Others</c:v>
                </c:pt>
                <c:pt idx="209">
                  <c:v>All Others</c:v>
                </c:pt>
                <c:pt idx="210">
                  <c:v>All Others</c:v>
                </c:pt>
                <c:pt idx="211">
                  <c:v>All Others</c:v>
                </c:pt>
                <c:pt idx="212">
                  <c:v>Caprice Des</c:v>
                </c:pt>
                <c:pt idx="213">
                  <c:v>Mini Babybe</c:v>
                </c:pt>
                <c:pt idx="214">
                  <c:v>Casa Azzurr</c:v>
                </c:pt>
                <c:pt idx="215">
                  <c:v>Private Lab</c:v>
                </c:pt>
                <c:pt idx="216">
                  <c:v>Paysan Bret</c:v>
                </c:pt>
                <c:pt idx="217">
                  <c:v>Tartare</c:v>
                </c:pt>
                <c:pt idx="218">
                  <c:v>Private Lab</c:v>
                </c:pt>
                <c:pt idx="219">
                  <c:v>Pave D'Affi</c:v>
                </c:pt>
                <c:pt idx="220">
                  <c:v>P'Tit Louis</c:v>
                </c:pt>
                <c:pt idx="221">
                  <c:v>Private Lab</c:v>
                </c:pt>
                <c:pt idx="222">
                  <c:v>All Others</c:v>
                </c:pt>
                <c:pt idx="223">
                  <c:v>Casa Azzurr</c:v>
                </c:pt>
                <c:pt idx="224">
                  <c:v>Boursin</c:v>
                </c:pt>
                <c:pt idx="225">
                  <c:v>Mini Babybe</c:v>
                </c:pt>
                <c:pt idx="226">
                  <c:v>La Vache Qu</c:v>
                </c:pt>
                <c:pt idx="227">
                  <c:v>Private Lab</c:v>
                </c:pt>
                <c:pt idx="228">
                  <c:v>Boursin</c:v>
                </c:pt>
                <c:pt idx="229">
                  <c:v>Tartare</c:v>
                </c:pt>
                <c:pt idx="230">
                  <c:v>All Others</c:v>
                </c:pt>
                <c:pt idx="231">
                  <c:v>All Others</c:v>
                </c:pt>
                <c:pt idx="232">
                  <c:v>All Others</c:v>
                </c:pt>
                <c:pt idx="233">
                  <c:v>Private Lab</c:v>
                </c:pt>
                <c:pt idx="234">
                  <c:v>Lactalis: A</c:v>
                </c:pt>
                <c:pt idx="235">
                  <c:v>Lou Perac</c:v>
                </c:pt>
                <c:pt idx="236">
                  <c:v>All Others</c:v>
                </c:pt>
                <c:pt idx="237">
                  <c:v>All Others</c:v>
                </c:pt>
                <c:pt idx="238">
                  <c:v>All Others</c:v>
                </c:pt>
                <c:pt idx="239">
                  <c:v>Lactalis: A</c:v>
                </c:pt>
                <c:pt idx="240">
                  <c:v>St Moret</c:v>
                </c:pt>
                <c:pt idx="241">
                  <c:v>All Others</c:v>
                </c:pt>
                <c:pt idx="242">
                  <c:v>Philadelphi</c:v>
                </c:pt>
                <c:pt idx="243">
                  <c:v>Casa Azzurr</c:v>
                </c:pt>
                <c:pt idx="244">
                  <c:v>Private Lab</c:v>
                </c:pt>
                <c:pt idx="245">
                  <c:v>All Others</c:v>
                </c:pt>
                <c:pt idx="246">
                  <c:v>Private Lab</c:v>
                </c:pt>
                <c:pt idx="247">
                  <c:v>Tartare</c:v>
                </c:pt>
                <c:pt idx="248">
                  <c:v>Private Lab</c:v>
                </c:pt>
                <c:pt idx="249">
                  <c:v>President</c:v>
                </c:pt>
                <c:pt idx="250">
                  <c:v>Private Lab</c:v>
                </c:pt>
                <c:pt idx="251">
                  <c:v>All Others</c:v>
                </c:pt>
                <c:pt idx="252">
                  <c:v>Corsica</c:v>
                </c:pt>
                <c:pt idx="253">
                  <c:v>Kiri</c:v>
                </c:pt>
                <c:pt idx="254">
                  <c:v>Ficello</c:v>
                </c:pt>
                <c:pt idx="255">
                  <c:v>Lou Perac</c:v>
                </c:pt>
                <c:pt idx="256">
                  <c:v>Private Lab</c:v>
                </c:pt>
                <c:pt idx="257">
                  <c:v>Private Lab</c:v>
                </c:pt>
                <c:pt idx="258">
                  <c:v>Istara</c:v>
                </c:pt>
                <c:pt idx="259">
                  <c:v>All Others</c:v>
                </c:pt>
                <c:pt idx="260">
                  <c:v>All Others</c:v>
                </c:pt>
                <c:pt idx="261">
                  <c:v>All Others</c:v>
                </c:pt>
                <c:pt idx="262">
                  <c:v>Paysan Bret</c:v>
                </c:pt>
                <c:pt idx="263">
                  <c:v>All Others</c:v>
                </c:pt>
                <c:pt idx="264">
                  <c:v>All Others</c:v>
                </c:pt>
                <c:pt idx="265">
                  <c:v>All Others</c:v>
                </c:pt>
                <c:pt idx="266">
                  <c:v>Savencia: A</c:v>
                </c:pt>
                <c:pt idx="267">
                  <c:v>All Others</c:v>
                </c:pt>
                <c:pt idx="268">
                  <c:v>Galbani</c:v>
                </c:pt>
                <c:pt idx="269">
                  <c:v>All Others</c:v>
                </c:pt>
                <c:pt idx="270">
                  <c:v>All Others</c:v>
                </c:pt>
                <c:pt idx="271">
                  <c:v>Galbani</c:v>
                </c:pt>
                <c:pt idx="272">
                  <c:v>All Others</c:v>
                </c:pt>
                <c:pt idx="273">
                  <c:v>President</c:v>
                </c:pt>
                <c:pt idx="274">
                  <c:v>Private Lab</c:v>
                </c:pt>
                <c:pt idx="275">
                  <c:v>Corsica</c:v>
                </c:pt>
                <c:pt idx="276">
                  <c:v>All Others</c:v>
                </c:pt>
                <c:pt idx="277">
                  <c:v>Triballat N</c:v>
                </c:pt>
                <c:pt idx="278">
                  <c:v>Private Lab</c:v>
                </c:pt>
                <c:pt idx="279">
                  <c:v>Private Lab</c:v>
                </c:pt>
                <c:pt idx="280">
                  <c:v>Private Lab</c:v>
                </c:pt>
                <c:pt idx="281">
                  <c:v>All Others</c:v>
                </c:pt>
                <c:pt idx="282">
                  <c:v>Savencia: A</c:v>
                </c:pt>
                <c:pt idx="283">
                  <c:v>All Others</c:v>
                </c:pt>
                <c:pt idx="284">
                  <c:v>Private Lab</c:v>
                </c:pt>
                <c:pt idx="285">
                  <c:v>Private Lab</c:v>
                </c:pt>
                <c:pt idx="286">
                  <c:v>Private Lab</c:v>
                </c:pt>
                <c:pt idx="287">
                  <c:v>Private Lab</c:v>
                </c:pt>
                <c:pt idx="288">
                  <c:v>All Others</c:v>
                </c:pt>
                <c:pt idx="289">
                  <c:v>Private Lab</c:v>
                </c:pt>
                <c:pt idx="290">
                  <c:v>All Others</c:v>
                </c:pt>
                <c:pt idx="291">
                  <c:v>Private Lab</c:v>
                </c:pt>
                <c:pt idx="292">
                  <c:v>Private Lab</c:v>
                </c:pt>
                <c:pt idx="293">
                  <c:v>All Others</c:v>
                </c:pt>
                <c:pt idx="294">
                  <c:v>Private Lab</c:v>
                </c:pt>
                <c:pt idx="295">
                  <c:v>All Others</c:v>
                </c:pt>
                <c:pt idx="296">
                  <c:v>Boursin</c:v>
                </c:pt>
                <c:pt idx="297">
                  <c:v>All Others</c:v>
                </c:pt>
                <c:pt idx="298">
                  <c:v>Islos</c:v>
                </c:pt>
                <c:pt idx="299">
                  <c:v>All Others</c:v>
                </c:pt>
                <c:pt idx="300">
                  <c:v>Mini Babybe</c:v>
                </c:pt>
                <c:pt idx="301">
                  <c:v>All Others</c:v>
                </c:pt>
                <c:pt idx="302">
                  <c:v>Private Lab</c:v>
                </c:pt>
                <c:pt idx="303">
                  <c:v>Casa Azzurr</c:v>
                </c:pt>
                <c:pt idx="304">
                  <c:v>Galbani</c:v>
                </c:pt>
                <c:pt idx="305">
                  <c:v>Casa Azzurr</c:v>
                </c:pt>
                <c:pt idx="306">
                  <c:v>Private Lab</c:v>
                </c:pt>
                <c:pt idx="307">
                  <c:v>All Others</c:v>
                </c:pt>
                <c:pt idx="308">
                  <c:v>All Others</c:v>
                </c:pt>
                <c:pt idx="309">
                  <c:v>All Others</c:v>
                </c:pt>
                <c:pt idx="310">
                  <c:v>Kiri</c:v>
                </c:pt>
                <c:pt idx="311">
                  <c:v>Rondele</c:v>
                </c:pt>
                <c:pt idx="312">
                  <c:v>Ficello</c:v>
                </c:pt>
                <c:pt idx="313">
                  <c:v>All Others</c:v>
                </c:pt>
                <c:pt idx="314">
                  <c:v>Private Lab</c:v>
                </c:pt>
                <c:pt idx="315">
                  <c:v>Casa Azzurr</c:v>
                </c:pt>
                <c:pt idx="316">
                  <c:v>Private Lab</c:v>
                </c:pt>
                <c:pt idx="317">
                  <c:v>All Others</c:v>
                </c:pt>
                <c:pt idx="318">
                  <c:v>All Others</c:v>
                </c:pt>
                <c:pt idx="319">
                  <c:v>All Others</c:v>
                </c:pt>
                <c:pt idx="320">
                  <c:v>All Others</c:v>
                </c:pt>
                <c:pt idx="321">
                  <c:v>President</c:v>
                </c:pt>
                <c:pt idx="322">
                  <c:v>All Others</c:v>
                </c:pt>
                <c:pt idx="323">
                  <c:v>All Others</c:v>
                </c:pt>
                <c:pt idx="324">
                  <c:v>All Others</c:v>
                </c:pt>
                <c:pt idx="325">
                  <c:v>Private Lab</c:v>
                </c:pt>
                <c:pt idx="326">
                  <c:v>Private Lab</c:v>
                </c:pt>
                <c:pt idx="327">
                  <c:v>Galbani</c:v>
                </c:pt>
                <c:pt idx="328">
                  <c:v>Etoile Du Q</c:v>
                </c:pt>
                <c:pt idx="329">
                  <c:v>Eurial Autr</c:v>
                </c:pt>
                <c:pt idx="330">
                  <c:v>All Others</c:v>
                </c:pt>
                <c:pt idx="331">
                  <c:v>Private Lab</c:v>
                </c:pt>
                <c:pt idx="332">
                  <c:v>All Others</c:v>
                </c:pt>
                <c:pt idx="333">
                  <c:v>All Others</c:v>
                </c:pt>
                <c:pt idx="334">
                  <c:v>Boursin</c:v>
                </c:pt>
                <c:pt idx="335">
                  <c:v>Kiri</c:v>
                </c:pt>
                <c:pt idx="336">
                  <c:v>Lou Perac</c:v>
                </c:pt>
                <c:pt idx="337">
                  <c:v>Saint Agur</c:v>
                </c:pt>
                <c:pt idx="338">
                  <c:v>All Others</c:v>
                </c:pt>
                <c:pt idx="339">
                  <c:v>All Others</c:v>
                </c:pt>
                <c:pt idx="340">
                  <c:v>All Others</c:v>
                </c:pt>
                <c:pt idx="341">
                  <c:v>All Others</c:v>
                </c:pt>
                <c:pt idx="342">
                  <c:v>Boursin</c:v>
                </c:pt>
                <c:pt idx="343">
                  <c:v>Salakis</c:v>
                </c:pt>
                <c:pt idx="344">
                  <c:v>All Others</c:v>
                </c:pt>
                <c:pt idx="345">
                  <c:v>All Others</c:v>
                </c:pt>
                <c:pt idx="346">
                  <c:v>All Others</c:v>
                </c:pt>
                <c:pt idx="347">
                  <c:v>All Others</c:v>
                </c:pt>
                <c:pt idx="348">
                  <c:v>Mini Babybe</c:v>
                </c:pt>
                <c:pt idx="349">
                  <c:v>Private Lab</c:v>
                </c:pt>
                <c:pt idx="350">
                  <c:v>Etoile Du V</c:v>
                </c:pt>
                <c:pt idx="351">
                  <c:v>All Others</c:v>
                </c:pt>
                <c:pt idx="352">
                  <c:v>All Others</c:v>
                </c:pt>
                <c:pt idx="353">
                  <c:v>All Others</c:v>
                </c:pt>
                <c:pt idx="354">
                  <c:v>All Others</c:v>
                </c:pt>
                <c:pt idx="355">
                  <c:v>Rondele</c:v>
                </c:pt>
                <c:pt idx="356">
                  <c:v>All Others</c:v>
                </c:pt>
                <c:pt idx="357">
                  <c:v>Savencia: A</c:v>
                </c:pt>
                <c:pt idx="358">
                  <c:v>All Others</c:v>
                </c:pt>
                <c:pt idx="359">
                  <c:v>Private Lab</c:v>
                </c:pt>
                <c:pt idx="360">
                  <c:v>Private Lab</c:v>
                </c:pt>
                <c:pt idx="361">
                  <c:v>All Others</c:v>
                </c:pt>
                <c:pt idx="362">
                  <c:v>All Others</c:v>
                </c:pt>
                <c:pt idx="363">
                  <c:v>All Others</c:v>
                </c:pt>
                <c:pt idx="364">
                  <c:v>Private Lab</c:v>
                </c:pt>
                <c:pt idx="365">
                  <c:v>Soignon</c:v>
                </c:pt>
                <c:pt idx="366">
                  <c:v>All Others</c:v>
                </c:pt>
                <c:pt idx="367">
                  <c:v>Milleret: A</c:v>
                </c:pt>
                <c:pt idx="368">
                  <c:v>All Others</c:v>
                </c:pt>
                <c:pt idx="369">
                  <c:v>Triballat R</c:v>
                </c:pt>
                <c:pt idx="370">
                  <c:v>Mini Babybe</c:v>
                </c:pt>
                <c:pt idx="371">
                  <c:v>All Others</c:v>
                </c:pt>
                <c:pt idx="372">
                  <c:v>Salakis</c:v>
                </c:pt>
                <c:pt idx="373">
                  <c:v>Private Lab</c:v>
                </c:pt>
                <c:pt idx="374">
                  <c:v>All Others</c:v>
                </c:pt>
                <c:pt idx="375">
                  <c:v>All Others</c:v>
                </c:pt>
                <c:pt idx="376">
                  <c:v>Boursin</c:v>
                </c:pt>
                <c:pt idx="377">
                  <c:v>Private Lab</c:v>
                </c:pt>
                <c:pt idx="378">
                  <c:v>Savencia: A</c:v>
                </c:pt>
                <c:pt idx="379">
                  <c:v>All Others</c:v>
                </c:pt>
                <c:pt idx="380">
                  <c:v>All Others</c:v>
                </c:pt>
                <c:pt idx="381">
                  <c:v>Mini Babybe</c:v>
                </c:pt>
                <c:pt idx="382">
                  <c:v>St Moret</c:v>
                </c:pt>
                <c:pt idx="383">
                  <c:v>President</c:v>
                </c:pt>
                <c:pt idx="384">
                  <c:v>Saint Agur</c:v>
                </c:pt>
                <c:pt idx="385">
                  <c:v>Etoile Du V</c:v>
                </c:pt>
                <c:pt idx="386">
                  <c:v>All Others</c:v>
                </c:pt>
                <c:pt idx="387">
                  <c:v>All Others</c:v>
                </c:pt>
                <c:pt idx="388">
                  <c:v>Private Lab</c:v>
                </c:pt>
                <c:pt idx="389">
                  <c:v>La Vache Qu</c:v>
                </c:pt>
                <c:pt idx="390">
                  <c:v>All Others</c:v>
                </c:pt>
                <c:pt idx="391">
                  <c:v>Private Lab</c:v>
                </c:pt>
                <c:pt idx="392">
                  <c:v>All Others</c:v>
                </c:pt>
                <c:pt idx="393">
                  <c:v>All Others</c:v>
                </c:pt>
                <c:pt idx="394">
                  <c:v>Boursin</c:v>
                </c:pt>
                <c:pt idx="395">
                  <c:v>Triballat R</c:v>
                </c:pt>
                <c:pt idx="396">
                  <c:v>All Others</c:v>
                </c:pt>
                <c:pt idx="397">
                  <c:v>All Others</c:v>
                </c:pt>
                <c:pt idx="398">
                  <c:v>All Others</c:v>
                </c:pt>
                <c:pt idx="399">
                  <c:v>All Others</c:v>
                </c:pt>
                <c:pt idx="400">
                  <c:v>All Others</c:v>
                </c:pt>
                <c:pt idx="401">
                  <c:v>Savencia: A</c:v>
                </c:pt>
                <c:pt idx="402">
                  <c:v>Private Lab</c:v>
                </c:pt>
                <c:pt idx="403">
                  <c:v>All Others</c:v>
                </c:pt>
                <c:pt idx="404">
                  <c:v>St Moret</c:v>
                </c:pt>
                <c:pt idx="405">
                  <c:v>Islos</c:v>
                </c:pt>
                <c:pt idx="406">
                  <c:v>Triballat N</c:v>
                </c:pt>
                <c:pt idx="407">
                  <c:v>Private Lab</c:v>
                </c:pt>
                <c:pt idx="408">
                  <c:v>President</c:v>
                </c:pt>
                <c:pt idx="409">
                  <c:v>All Others</c:v>
                </c:pt>
                <c:pt idx="410">
                  <c:v>All Others</c:v>
                </c:pt>
                <c:pt idx="411">
                  <c:v>All Others</c:v>
                </c:pt>
                <c:pt idx="412">
                  <c:v>Etorki</c:v>
                </c:pt>
                <c:pt idx="413">
                  <c:v>Private Lab</c:v>
                </c:pt>
                <c:pt idx="414">
                  <c:v>Boursin</c:v>
                </c:pt>
                <c:pt idx="415">
                  <c:v>Etoile Du Q</c:v>
                </c:pt>
                <c:pt idx="416">
                  <c:v>Tartare</c:v>
                </c:pt>
                <c:pt idx="417">
                  <c:v>All Others</c:v>
                </c:pt>
                <c:pt idx="418">
                  <c:v>All Others</c:v>
                </c:pt>
                <c:pt idx="419">
                  <c:v>All Others</c:v>
                </c:pt>
                <c:pt idx="420">
                  <c:v>Eurial Autr</c:v>
                </c:pt>
                <c:pt idx="421">
                  <c:v>All Others</c:v>
                </c:pt>
                <c:pt idx="422">
                  <c:v>Lactalis: A</c:v>
                </c:pt>
                <c:pt idx="423">
                  <c:v>Private Lab</c:v>
                </c:pt>
                <c:pt idx="424">
                  <c:v>All Others</c:v>
                </c:pt>
                <c:pt idx="425">
                  <c:v>All Others</c:v>
                </c:pt>
                <c:pt idx="426">
                  <c:v>All Others</c:v>
                </c:pt>
                <c:pt idx="427">
                  <c:v>Private Lab</c:v>
                </c:pt>
                <c:pt idx="428">
                  <c:v>All Others</c:v>
                </c:pt>
                <c:pt idx="429">
                  <c:v>All Others</c:v>
                </c:pt>
                <c:pt idx="430">
                  <c:v>All Others</c:v>
                </c:pt>
                <c:pt idx="431">
                  <c:v>All Others</c:v>
                </c:pt>
                <c:pt idx="432">
                  <c:v>Casa Azzurr</c:v>
                </c:pt>
                <c:pt idx="433">
                  <c:v>Boursin</c:v>
                </c:pt>
                <c:pt idx="434">
                  <c:v>All Others</c:v>
                </c:pt>
                <c:pt idx="435">
                  <c:v>All Others</c:v>
                </c:pt>
                <c:pt idx="436">
                  <c:v>Private Lab</c:v>
                </c:pt>
                <c:pt idx="437">
                  <c:v>All Others</c:v>
                </c:pt>
                <c:pt idx="438">
                  <c:v>All Others</c:v>
                </c:pt>
                <c:pt idx="439">
                  <c:v>Etoile Du Q</c:v>
                </c:pt>
                <c:pt idx="440">
                  <c:v>Boursin</c:v>
                </c:pt>
                <c:pt idx="441">
                  <c:v>All Others</c:v>
                </c:pt>
                <c:pt idx="442">
                  <c:v>All Others</c:v>
                </c:pt>
                <c:pt idx="443">
                  <c:v>Private Lab</c:v>
                </c:pt>
                <c:pt idx="444">
                  <c:v>Soignon</c:v>
                </c:pt>
                <c:pt idx="445">
                  <c:v>All Others</c:v>
                </c:pt>
                <c:pt idx="446">
                  <c:v>All Others</c:v>
                </c:pt>
                <c:pt idx="447">
                  <c:v>Lactalis: A</c:v>
                </c:pt>
                <c:pt idx="448">
                  <c:v>All Others</c:v>
                </c:pt>
                <c:pt idx="449">
                  <c:v>Soignon</c:v>
                </c:pt>
                <c:pt idx="450">
                  <c:v>All Others</c:v>
                </c:pt>
                <c:pt idx="451">
                  <c:v>Triballat N</c:v>
                </c:pt>
                <c:pt idx="452">
                  <c:v>Boursin</c:v>
                </c:pt>
                <c:pt idx="453">
                  <c:v>All Others</c:v>
                </c:pt>
                <c:pt idx="454">
                  <c:v>Le Brebiou</c:v>
                </c:pt>
                <c:pt idx="455">
                  <c:v>Savencia: A</c:v>
                </c:pt>
                <c:pt idx="456">
                  <c:v>All Others</c:v>
                </c:pt>
                <c:pt idx="457">
                  <c:v>All Others</c:v>
                </c:pt>
                <c:pt idx="458">
                  <c:v>Private Lab</c:v>
                </c:pt>
                <c:pt idx="459">
                  <c:v>All Others</c:v>
                </c:pt>
                <c:pt idx="460">
                  <c:v>All Others</c:v>
                </c:pt>
                <c:pt idx="461">
                  <c:v>Lactalis: A</c:v>
                </c:pt>
                <c:pt idx="462">
                  <c:v>All Others</c:v>
                </c:pt>
                <c:pt idx="463">
                  <c:v>Private Lab</c:v>
                </c:pt>
                <c:pt idx="464">
                  <c:v>All Others</c:v>
                </c:pt>
                <c:pt idx="465">
                  <c:v>All Others</c:v>
                </c:pt>
                <c:pt idx="466">
                  <c:v>Chavroux</c:v>
                </c:pt>
                <c:pt idx="467">
                  <c:v>Coeur De Li</c:v>
                </c:pt>
                <c:pt idx="468">
                  <c:v>Salakis</c:v>
                </c:pt>
                <c:pt idx="469">
                  <c:v>Private Lab</c:v>
                </c:pt>
                <c:pt idx="470">
                  <c:v>All Others</c:v>
                </c:pt>
                <c:pt idx="471">
                  <c:v>All Others</c:v>
                </c:pt>
                <c:pt idx="472">
                  <c:v>Etoile Du V</c:v>
                </c:pt>
                <c:pt idx="473">
                  <c:v>Milleret: A</c:v>
                </c:pt>
                <c:pt idx="474">
                  <c:v>Paysan Bret</c:v>
                </c:pt>
                <c:pt idx="475">
                  <c:v>Etoile Du V</c:v>
                </c:pt>
                <c:pt idx="476">
                  <c:v>All Others</c:v>
                </c:pt>
                <c:pt idx="477">
                  <c:v>Lactalis: A</c:v>
                </c:pt>
                <c:pt idx="478">
                  <c:v>Casa Azzurr</c:v>
                </c:pt>
                <c:pt idx="479">
                  <c:v>All Others</c:v>
                </c:pt>
                <c:pt idx="480">
                  <c:v>All Others</c:v>
                </c:pt>
                <c:pt idx="481">
                  <c:v>All Others</c:v>
                </c:pt>
                <c:pt idx="482">
                  <c:v>All Others</c:v>
                </c:pt>
                <c:pt idx="483">
                  <c:v>All Others</c:v>
                </c:pt>
                <c:pt idx="484">
                  <c:v>Carre Frais</c:v>
                </c:pt>
                <c:pt idx="485">
                  <c:v>All Others</c:v>
                </c:pt>
                <c:pt idx="486">
                  <c:v>Triballat R</c:v>
                </c:pt>
                <c:pt idx="487">
                  <c:v>All Others</c:v>
                </c:pt>
                <c:pt idx="488">
                  <c:v>Tartare</c:v>
                </c:pt>
                <c:pt idx="489">
                  <c:v>All Others</c:v>
                </c:pt>
                <c:pt idx="490">
                  <c:v>Casa Azzurr</c:v>
                </c:pt>
                <c:pt idx="491">
                  <c:v>Paysan Bret</c:v>
                </c:pt>
                <c:pt idx="492">
                  <c:v>All Others</c:v>
                </c:pt>
                <c:pt idx="493">
                  <c:v>All Others</c:v>
                </c:pt>
                <c:pt idx="494">
                  <c:v>Private Lab</c:v>
                </c:pt>
                <c:pt idx="495">
                  <c:v>Etoile Du V</c:v>
                </c:pt>
                <c:pt idx="496">
                  <c:v>Etoile Du Q</c:v>
                </c:pt>
                <c:pt idx="497">
                  <c:v>All Others</c:v>
                </c:pt>
                <c:pt idx="498">
                  <c:v>All Others</c:v>
                </c:pt>
                <c:pt idx="499">
                  <c:v>All Others</c:v>
                </c:pt>
                <c:pt idx="500">
                  <c:v>Private Lab</c:v>
                </c:pt>
                <c:pt idx="501">
                  <c:v>All Others</c:v>
                </c:pt>
                <c:pt idx="502">
                  <c:v>All Others</c:v>
                </c:pt>
                <c:pt idx="503">
                  <c:v>Private Lab</c:v>
                </c:pt>
                <c:pt idx="504">
                  <c:v>All Others</c:v>
                </c:pt>
                <c:pt idx="505">
                  <c:v>All Others</c:v>
                </c:pt>
                <c:pt idx="506">
                  <c:v>All Others</c:v>
                </c:pt>
                <c:pt idx="507">
                  <c:v>Milleret: A</c:v>
                </c:pt>
                <c:pt idx="508">
                  <c:v>Etoile Du V</c:v>
                </c:pt>
                <c:pt idx="509">
                  <c:v>All Others</c:v>
                </c:pt>
                <c:pt idx="510">
                  <c:v>Corsica</c:v>
                </c:pt>
                <c:pt idx="511">
                  <c:v>All Others</c:v>
                </c:pt>
                <c:pt idx="512">
                  <c:v>All Others</c:v>
                </c:pt>
                <c:pt idx="513">
                  <c:v>All Others</c:v>
                </c:pt>
                <c:pt idx="514">
                  <c:v>All Others</c:v>
                </c:pt>
                <c:pt idx="515">
                  <c:v>All Others</c:v>
                </c:pt>
                <c:pt idx="516">
                  <c:v>All Others</c:v>
                </c:pt>
                <c:pt idx="517">
                  <c:v>All Others</c:v>
                </c:pt>
                <c:pt idx="518">
                  <c:v>All Others</c:v>
                </c:pt>
                <c:pt idx="519">
                  <c:v>All Others</c:v>
                </c:pt>
                <c:pt idx="520">
                  <c:v>Lactalis: A</c:v>
                </c:pt>
                <c:pt idx="521">
                  <c:v>All Others</c:v>
                </c:pt>
                <c:pt idx="522">
                  <c:v>All Others</c:v>
                </c:pt>
                <c:pt idx="523">
                  <c:v>All Others</c:v>
                </c:pt>
                <c:pt idx="524">
                  <c:v>Private Lab</c:v>
                </c:pt>
                <c:pt idx="525">
                  <c:v>Private Lab</c:v>
                </c:pt>
                <c:pt idx="526">
                  <c:v>Mini Babybe</c:v>
                </c:pt>
                <c:pt idx="527">
                  <c:v>All Others</c:v>
                </c:pt>
                <c:pt idx="528">
                  <c:v>All Others</c:v>
                </c:pt>
                <c:pt idx="529">
                  <c:v>All Others</c:v>
                </c:pt>
                <c:pt idx="530">
                  <c:v>All Others</c:v>
                </c:pt>
                <c:pt idx="531">
                  <c:v>All Others</c:v>
                </c:pt>
                <c:pt idx="532">
                  <c:v>All Others</c:v>
                </c:pt>
                <c:pt idx="533">
                  <c:v>P'Tit Louis</c:v>
                </c:pt>
                <c:pt idx="534">
                  <c:v>All Others</c:v>
                </c:pt>
                <c:pt idx="535">
                  <c:v>All Others</c:v>
                </c:pt>
                <c:pt idx="536">
                  <c:v>All Others</c:v>
                </c:pt>
                <c:pt idx="537">
                  <c:v>All Others</c:v>
                </c:pt>
                <c:pt idx="538">
                  <c:v>Boursin</c:v>
                </c:pt>
                <c:pt idx="539">
                  <c:v>Private Lab</c:v>
                </c:pt>
                <c:pt idx="540">
                  <c:v>All Others</c:v>
                </c:pt>
                <c:pt idx="541">
                  <c:v>All Others</c:v>
                </c:pt>
                <c:pt idx="542">
                  <c:v>All Others</c:v>
                </c:pt>
                <c:pt idx="543">
                  <c:v>All Others</c:v>
                </c:pt>
                <c:pt idx="544">
                  <c:v>All Others</c:v>
                </c:pt>
                <c:pt idx="545">
                  <c:v>All Others</c:v>
                </c:pt>
                <c:pt idx="546">
                  <c:v>Triballat N</c:v>
                </c:pt>
                <c:pt idx="547">
                  <c:v>All Others</c:v>
                </c:pt>
                <c:pt idx="548">
                  <c:v>Petit Billy</c:v>
                </c:pt>
                <c:pt idx="549">
                  <c:v>La Vache Qu</c:v>
                </c:pt>
                <c:pt idx="550">
                  <c:v>Private Lab</c:v>
                </c:pt>
                <c:pt idx="551">
                  <c:v>All Others</c:v>
                </c:pt>
                <c:pt idx="552">
                  <c:v>Galbani</c:v>
                </c:pt>
                <c:pt idx="553">
                  <c:v>All Others</c:v>
                </c:pt>
                <c:pt idx="554">
                  <c:v>Lactalis: A</c:v>
                </c:pt>
                <c:pt idx="555">
                  <c:v>All Others</c:v>
                </c:pt>
                <c:pt idx="556">
                  <c:v>St Moret</c:v>
                </c:pt>
                <c:pt idx="557">
                  <c:v>All Others</c:v>
                </c:pt>
                <c:pt idx="558">
                  <c:v>All Others</c:v>
                </c:pt>
                <c:pt idx="559">
                  <c:v>Boursin</c:v>
                </c:pt>
                <c:pt idx="560">
                  <c:v>All Others</c:v>
                </c:pt>
                <c:pt idx="561">
                  <c:v>All Others</c:v>
                </c:pt>
                <c:pt idx="562">
                  <c:v>All Others</c:v>
                </c:pt>
                <c:pt idx="563">
                  <c:v>All Others</c:v>
                </c:pt>
                <c:pt idx="564">
                  <c:v>All Others</c:v>
                </c:pt>
                <c:pt idx="565">
                  <c:v>All Others</c:v>
                </c:pt>
                <c:pt idx="566">
                  <c:v>Savencia: A</c:v>
                </c:pt>
                <c:pt idx="567">
                  <c:v>All Others</c:v>
                </c:pt>
                <c:pt idx="568">
                  <c:v>All Others</c:v>
                </c:pt>
                <c:pt idx="569">
                  <c:v>All Others</c:v>
                </c:pt>
                <c:pt idx="570">
                  <c:v>Triballat N</c:v>
                </c:pt>
                <c:pt idx="571">
                  <c:v>All Others</c:v>
                </c:pt>
                <c:pt idx="572">
                  <c:v>All Others</c:v>
                </c:pt>
                <c:pt idx="573">
                  <c:v>Boursin</c:v>
                </c:pt>
                <c:pt idx="574">
                  <c:v>All Others</c:v>
                </c:pt>
                <c:pt idx="575">
                  <c:v>Savencia: A</c:v>
                </c:pt>
                <c:pt idx="576">
                  <c:v>Lactalis: A</c:v>
                </c:pt>
                <c:pt idx="577">
                  <c:v>All Others</c:v>
                </c:pt>
                <c:pt idx="578">
                  <c:v>All Others</c:v>
                </c:pt>
                <c:pt idx="579">
                  <c:v>All Others</c:v>
                </c:pt>
                <c:pt idx="580">
                  <c:v>Private Lab</c:v>
                </c:pt>
                <c:pt idx="581">
                  <c:v>Private Lab</c:v>
                </c:pt>
                <c:pt idx="582">
                  <c:v>All Others</c:v>
                </c:pt>
                <c:pt idx="583">
                  <c:v>Private Lab</c:v>
                </c:pt>
                <c:pt idx="584">
                  <c:v>All Others</c:v>
                </c:pt>
                <c:pt idx="585">
                  <c:v>All Others</c:v>
                </c:pt>
                <c:pt idx="586">
                  <c:v>Salakis</c:v>
                </c:pt>
                <c:pt idx="587">
                  <c:v>All Others</c:v>
                </c:pt>
                <c:pt idx="588">
                  <c:v>All Others</c:v>
                </c:pt>
                <c:pt idx="589">
                  <c:v>Triballat N</c:v>
                </c:pt>
                <c:pt idx="590">
                  <c:v>All Others</c:v>
                </c:pt>
                <c:pt idx="591">
                  <c:v>All Others</c:v>
                </c:pt>
                <c:pt idx="592">
                  <c:v>Private Lab</c:v>
                </c:pt>
                <c:pt idx="593">
                  <c:v>All Others</c:v>
                </c:pt>
                <c:pt idx="594">
                  <c:v>Savencia: A</c:v>
                </c:pt>
                <c:pt idx="595">
                  <c:v>Petit Billy</c:v>
                </c:pt>
                <c:pt idx="596">
                  <c:v>Salakis</c:v>
                </c:pt>
                <c:pt idx="597">
                  <c:v>All Others</c:v>
                </c:pt>
                <c:pt idx="598">
                  <c:v>All Others</c:v>
                </c:pt>
                <c:pt idx="599">
                  <c:v>All Others</c:v>
                </c:pt>
                <c:pt idx="600">
                  <c:v>Private Lab</c:v>
                </c:pt>
                <c:pt idx="601">
                  <c:v>All Others</c:v>
                </c:pt>
                <c:pt idx="602">
                  <c:v>Tartare</c:v>
                </c:pt>
                <c:pt idx="603">
                  <c:v>All Others</c:v>
                </c:pt>
                <c:pt idx="604">
                  <c:v>All Others</c:v>
                </c:pt>
                <c:pt idx="605">
                  <c:v>All Others</c:v>
                </c:pt>
                <c:pt idx="606">
                  <c:v>All Others</c:v>
                </c:pt>
                <c:pt idx="607">
                  <c:v>All Others</c:v>
                </c:pt>
                <c:pt idx="608">
                  <c:v>All Others</c:v>
                </c:pt>
                <c:pt idx="609">
                  <c:v>Islos</c:v>
                </c:pt>
                <c:pt idx="610">
                  <c:v>All Others</c:v>
                </c:pt>
                <c:pt idx="611">
                  <c:v>All Others</c:v>
                </c:pt>
                <c:pt idx="612">
                  <c:v>All Others</c:v>
                </c:pt>
                <c:pt idx="613">
                  <c:v>Philadelphi</c:v>
                </c:pt>
                <c:pt idx="614">
                  <c:v>All Others</c:v>
                </c:pt>
                <c:pt idx="615">
                  <c:v>All Others</c:v>
                </c:pt>
                <c:pt idx="616">
                  <c:v>All Others</c:v>
                </c:pt>
                <c:pt idx="617">
                  <c:v>All Others</c:v>
                </c:pt>
                <c:pt idx="618">
                  <c:v>All Others</c:v>
                </c:pt>
                <c:pt idx="619">
                  <c:v>All Others</c:v>
                </c:pt>
                <c:pt idx="620">
                  <c:v>All Others</c:v>
                </c:pt>
                <c:pt idx="621">
                  <c:v>All Others</c:v>
                </c:pt>
                <c:pt idx="622">
                  <c:v>All Others</c:v>
                </c:pt>
                <c:pt idx="623">
                  <c:v>All Others</c:v>
                </c:pt>
                <c:pt idx="624">
                  <c:v>All Others</c:v>
                </c:pt>
                <c:pt idx="625">
                  <c:v>All Others</c:v>
                </c:pt>
                <c:pt idx="626">
                  <c:v>All Others</c:v>
                </c:pt>
                <c:pt idx="627">
                  <c:v>Private Lab</c:v>
                </c:pt>
                <c:pt idx="628">
                  <c:v>All Others</c:v>
                </c:pt>
                <c:pt idx="629">
                  <c:v>Private Lab</c:v>
                </c:pt>
                <c:pt idx="630">
                  <c:v>Private Lab</c:v>
                </c:pt>
                <c:pt idx="631">
                  <c:v>All Others</c:v>
                </c:pt>
                <c:pt idx="632">
                  <c:v>All Others</c:v>
                </c:pt>
                <c:pt idx="633">
                  <c:v>All Others</c:v>
                </c:pt>
                <c:pt idx="634">
                  <c:v>Private Lab</c:v>
                </c:pt>
                <c:pt idx="635">
                  <c:v>All Others</c:v>
                </c:pt>
                <c:pt idx="636">
                  <c:v>Private Lab</c:v>
                </c:pt>
                <c:pt idx="637">
                  <c:v>All Others</c:v>
                </c:pt>
                <c:pt idx="638">
                  <c:v>All Others</c:v>
                </c:pt>
                <c:pt idx="639">
                  <c:v>All Others</c:v>
                </c:pt>
                <c:pt idx="640">
                  <c:v>All Others</c:v>
                </c:pt>
                <c:pt idx="641">
                  <c:v>All Others</c:v>
                </c:pt>
                <c:pt idx="642">
                  <c:v>All Others</c:v>
                </c:pt>
                <c:pt idx="643">
                  <c:v>All Others</c:v>
                </c:pt>
                <c:pt idx="644">
                  <c:v>Private Lab</c:v>
                </c:pt>
                <c:pt idx="645">
                  <c:v>All Others</c:v>
                </c:pt>
                <c:pt idx="646">
                  <c:v>All Others</c:v>
                </c:pt>
                <c:pt idx="647">
                  <c:v>All Others</c:v>
                </c:pt>
                <c:pt idx="648">
                  <c:v>All Others</c:v>
                </c:pt>
                <c:pt idx="649">
                  <c:v>All Others</c:v>
                </c:pt>
                <c:pt idx="650">
                  <c:v>All Others</c:v>
                </c:pt>
                <c:pt idx="651">
                  <c:v>All Others</c:v>
                </c:pt>
                <c:pt idx="652">
                  <c:v>All Others</c:v>
                </c:pt>
                <c:pt idx="653">
                  <c:v>All Others</c:v>
                </c:pt>
                <c:pt idx="654">
                  <c:v>All Others</c:v>
                </c:pt>
                <c:pt idx="655">
                  <c:v>All Others</c:v>
                </c:pt>
                <c:pt idx="656">
                  <c:v>All Others</c:v>
                </c:pt>
                <c:pt idx="657">
                  <c:v>Private Lab</c:v>
                </c:pt>
                <c:pt idx="658">
                  <c:v>Boursin</c:v>
                </c:pt>
                <c:pt idx="659">
                  <c:v>All Others</c:v>
                </c:pt>
                <c:pt idx="660">
                  <c:v>Private Lab</c:v>
                </c:pt>
                <c:pt idx="661">
                  <c:v>All Others</c:v>
                </c:pt>
                <c:pt idx="662">
                  <c:v>All Others</c:v>
                </c:pt>
                <c:pt idx="663">
                  <c:v>All Others</c:v>
                </c:pt>
                <c:pt idx="664">
                  <c:v>All Others</c:v>
                </c:pt>
                <c:pt idx="665">
                  <c:v>All Others</c:v>
                </c:pt>
                <c:pt idx="666">
                  <c:v>Triballat R</c:v>
                </c:pt>
                <c:pt idx="667">
                  <c:v>Eurial Autr</c:v>
                </c:pt>
                <c:pt idx="668">
                  <c:v>All Others</c:v>
                </c:pt>
                <c:pt idx="669">
                  <c:v>Kiri</c:v>
                </c:pt>
                <c:pt idx="670">
                  <c:v>Triballat R</c:v>
                </c:pt>
                <c:pt idx="671">
                  <c:v>All Others</c:v>
                </c:pt>
                <c:pt idx="672">
                  <c:v>All Others</c:v>
                </c:pt>
                <c:pt idx="673">
                  <c:v>All Others</c:v>
                </c:pt>
                <c:pt idx="674">
                  <c:v>All Others</c:v>
                </c:pt>
                <c:pt idx="675">
                  <c:v>All Others</c:v>
                </c:pt>
                <c:pt idx="676">
                  <c:v>All Others</c:v>
                </c:pt>
                <c:pt idx="677">
                  <c:v>All Others</c:v>
                </c:pt>
                <c:pt idx="678">
                  <c:v>All Others</c:v>
                </c:pt>
                <c:pt idx="679">
                  <c:v>All Others</c:v>
                </c:pt>
                <c:pt idx="680">
                  <c:v>Private Lab</c:v>
                </c:pt>
                <c:pt idx="681">
                  <c:v>All Others</c:v>
                </c:pt>
                <c:pt idx="682">
                  <c:v>All Others</c:v>
                </c:pt>
                <c:pt idx="683">
                  <c:v>All Others</c:v>
                </c:pt>
                <c:pt idx="684">
                  <c:v>All Others</c:v>
                </c:pt>
                <c:pt idx="685">
                  <c:v>Eurial Autr</c:v>
                </c:pt>
                <c:pt idx="686">
                  <c:v>All Others</c:v>
                </c:pt>
                <c:pt idx="687">
                  <c:v>All Others</c:v>
                </c:pt>
                <c:pt idx="688">
                  <c:v>All Others</c:v>
                </c:pt>
                <c:pt idx="689">
                  <c:v>All Others</c:v>
                </c:pt>
                <c:pt idx="690">
                  <c:v>Boursin</c:v>
                </c:pt>
                <c:pt idx="691">
                  <c:v>All Others</c:v>
                </c:pt>
                <c:pt idx="692">
                  <c:v>All Others</c:v>
                </c:pt>
                <c:pt idx="693">
                  <c:v>Lactalis: A</c:v>
                </c:pt>
                <c:pt idx="694">
                  <c:v>All Others</c:v>
                </c:pt>
                <c:pt idx="695">
                  <c:v>All Others</c:v>
                </c:pt>
                <c:pt idx="696">
                  <c:v>All Others</c:v>
                </c:pt>
                <c:pt idx="697">
                  <c:v>All Others</c:v>
                </c:pt>
                <c:pt idx="698">
                  <c:v>All Others</c:v>
                </c:pt>
                <c:pt idx="699">
                  <c:v>All Others</c:v>
                </c:pt>
                <c:pt idx="700">
                  <c:v>All Others</c:v>
                </c:pt>
                <c:pt idx="701">
                  <c:v>All Others</c:v>
                </c:pt>
                <c:pt idx="702">
                  <c:v>All Others</c:v>
                </c:pt>
                <c:pt idx="703">
                  <c:v>All Others</c:v>
                </c:pt>
                <c:pt idx="704">
                  <c:v>President</c:v>
                </c:pt>
                <c:pt idx="705">
                  <c:v>All Others</c:v>
                </c:pt>
                <c:pt idx="706">
                  <c:v>All Others</c:v>
                </c:pt>
                <c:pt idx="707">
                  <c:v>All Others</c:v>
                </c:pt>
                <c:pt idx="708">
                  <c:v>All Others</c:v>
                </c:pt>
                <c:pt idx="709">
                  <c:v>All Others</c:v>
                </c:pt>
                <c:pt idx="710">
                  <c:v>All Others</c:v>
                </c:pt>
                <c:pt idx="711">
                  <c:v>All Others</c:v>
                </c:pt>
                <c:pt idx="712">
                  <c:v>All Others</c:v>
                </c:pt>
                <c:pt idx="713">
                  <c:v>Tartare</c:v>
                </c:pt>
                <c:pt idx="714">
                  <c:v>All Others</c:v>
                </c:pt>
                <c:pt idx="715">
                  <c:v>All Others</c:v>
                </c:pt>
                <c:pt idx="716">
                  <c:v>All Others</c:v>
                </c:pt>
                <c:pt idx="717">
                  <c:v>All Others</c:v>
                </c:pt>
                <c:pt idx="718">
                  <c:v>All Others</c:v>
                </c:pt>
                <c:pt idx="719">
                  <c:v>All Others</c:v>
                </c:pt>
                <c:pt idx="720">
                  <c:v>All Others</c:v>
                </c:pt>
                <c:pt idx="721">
                  <c:v>Private Lab</c:v>
                </c:pt>
                <c:pt idx="722">
                  <c:v>Private Lab</c:v>
                </c:pt>
                <c:pt idx="723">
                  <c:v>All Others</c:v>
                </c:pt>
                <c:pt idx="724">
                  <c:v>All Others</c:v>
                </c:pt>
                <c:pt idx="725">
                  <c:v>All Others</c:v>
                </c:pt>
                <c:pt idx="726">
                  <c:v>All Others</c:v>
                </c:pt>
                <c:pt idx="727">
                  <c:v>Mini Babybe</c:v>
                </c:pt>
                <c:pt idx="728">
                  <c:v>All Others</c:v>
                </c:pt>
                <c:pt idx="729">
                  <c:v>President</c:v>
                </c:pt>
                <c:pt idx="730">
                  <c:v>Soignon</c:v>
                </c:pt>
                <c:pt idx="731">
                  <c:v>Lactalis: A</c:v>
                </c:pt>
                <c:pt idx="732">
                  <c:v>All Others</c:v>
                </c:pt>
                <c:pt idx="733">
                  <c:v>All Others</c:v>
                </c:pt>
                <c:pt idx="734">
                  <c:v>All Others</c:v>
                </c:pt>
                <c:pt idx="735">
                  <c:v>All Others</c:v>
                </c:pt>
                <c:pt idx="736">
                  <c:v>Private Lab</c:v>
                </c:pt>
                <c:pt idx="737">
                  <c:v>All Others</c:v>
                </c:pt>
                <c:pt idx="738">
                  <c:v>Mini Babybe</c:v>
                </c:pt>
                <c:pt idx="739">
                  <c:v>All Others</c:v>
                </c:pt>
                <c:pt idx="740">
                  <c:v>All Others</c:v>
                </c:pt>
                <c:pt idx="741">
                  <c:v>All Others</c:v>
                </c:pt>
                <c:pt idx="742">
                  <c:v>Eurial Autr</c:v>
                </c:pt>
                <c:pt idx="743">
                  <c:v>All Others</c:v>
                </c:pt>
                <c:pt idx="744">
                  <c:v>All Others</c:v>
                </c:pt>
                <c:pt idx="745">
                  <c:v>All Others</c:v>
                </c:pt>
                <c:pt idx="746">
                  <c:v>All Others</c:v>
                </c:pt>
                <c:pt idx="747">
                  <c:v>All Others</c:v>
                </c:pt>
                <c:pt idx="748">
                  <c:v>All Others</c:v>
                </c:pt>
                <c:pt idx="749">
                  <c:v>St Moret</c:v>
                </c:pt>
                <c:pt idx="750">
                  <c:v>Carre Frais</c:v>
                </c:pt>
                <c:pt idx="751">
                  <c:v>Private Lab</c:v>
                </c:pt>
                <c:pt idx="752">
                  <c:v>Private Lab</c:v>
                </c:pt>
                <c:pt idx="753">
                  <c:v>All Others</c:v>
                </c:pt>
                <c:pt idx="754">
                  <c:v>All Others</c:v>
                </c:pt>
                <c:pt idx="755">
                  <c:v>All Others</c:v>
                </c:pt>
                <c:pt idx="756">
                  <c:v>All Others</c:v>
                </c:pt>
                <c:pt idx="757">
                  <c:v>All Others</c:v>
                </c:pt>
                <c:pt idx="758">
                  <c:v>All Others</c:v>
                </c:pt>
                <c:pt idx="759">
                  <c:v>All Others</c:v>
                </c:pt>
                <c:pt idx="760">
                  <c:v>All Others</c:v>
                </c:pt>
                <c:pt idx="761">
                  <c:v>All Others</c:v>
                </c:pt>
                <c:pt idx="762">
                  <c:v>All Others</c:v>
                </c:pt>
                <c:pt idx="763">
                  <c:v>All Others</c:v>
                </c:pt>
                <c:pt idx="764">
                  <c:v>All Others</c:v>
                </c:pt>
                <c:pt idx="765">
                  <c:v>All Others</c:v>
                </c:pt>
                <c:pt idx="766">
                  <c:v>All Others</c:v>
                </c:pt>
                <c:pt idx="767">
                  <c:v>All Others</c:v>
                </c:pt>
                <c:pt idx="768">
                  <c:v>Lactalis: A</c:v>
                </c:pt>
                <c:pt idx="769">
                  <c:v>All Others</c:v>
                </c:pt>
                <c:pt idx="770">
                  <c:v>All Others</c:v>
                </c:pt>
                <c:pt idx="771">
                  <c:v>Savencia: A</c:v>
                </c:pt>
                <c:pt idx="772">
                  <c:v>All Others</c:v>
                </c:pt>
                <c:pt idx="773">
                  <c:v>All Others</c:v>
                </c:pt>
                <c:pt idx="774">
                  <c:v>Eurial Autr</c:v>
                </c:pt>
                <c:pt idx="775">
                  <c:v>Etoile Du Q</c:v>
                </c:pt>
                <c:pt idx="776">
                  <c:v>Private Lab</c:v>
                </c:pt>
                <c:pt idx="777">
                  <c:v>All Others</c:v>
                </c:pt>
                <c:pt idx="778">
                  <c:v>All Others</c:v>
                </c:pt>
                <c:pt idx="779">
                  <c:v>All Others</c:v>
                </c:pt>
                <c:pt idx="780">
                  <c:v>All Others</c:v>
                </c:pt>
                <c:pt idx="781">
                  <c:v>Eurial Autr</c:v>
                </c:pt>
                <c:pt idx="782">
                  <c:v>All Others</c:v>
                </c:pt>
                <c:pt idx="783">
                  <c:v>Lou Perac</c:v>
                </c:pt>
                <c:pt idx="784">
                  <c:v>All Others</c:v>
                </c:pt>
                <c:pt idx="785">
                  <c:v>All Others</c:v>
                </c:pt>
                <c:pt idx="786">
                  <c:v>All Others</c:v>
                </c:pt>
                <c:pt idx="787">
                  <c:v>All Others</c:v>
                </c:pt>
                <c:pt idx="788">
                  <c:v>All Others</c:v>
                </c:pt>
                <c:pt idx="789">
                  <c:v>All Others</c:v>
                </c:pt>
                <c:pt idx="790">
                  <c:v>All Others</c:v>
                </c:pt>
                <c:pt idx="791">
                  <c:v>All Others</c:v>
                </c:pt>
                <c:pt idx="792">
                  <c:v>All Others</c:v>
                </c:pt>
                <c:pt idx="793">
                  <c:v>All Others</c:v>
                </c:pt>
                <c:pt idx="794">
                  <c:v>All Others</c:v>
                </c:pt>
                <c:pt idx="795">
                  <c:v>All Others</c:v>
                </c:pt>
                <c:pt idx="796">
                  <c:v>All Others</c:v>
                </c:pt>
                <c:pt idx="797">
                  <c:v>All Others</c:v>
                </c:pt>
                <c:pt idx="798">
                  <c:v>All Others</c:v>
                </c:pt>
                <c:pt idx="799">
                  <c:v>All Others</c:v>
                </c:pt>
                <c:pt idx="800">
                  <c:v>All Others</c:v>
                </c:pt>
                <c:pt idx="801">
                  <c:v>All Others</c:v>
                </c:pt>
                <c:pt idx="802">
                  <c:v>All Others</c:v>
                </c:pt>
                <c:pt idx="803">
                  <c:v>All Others</c:v>
                </c:pt>
                <c:pt idx="804">
                  <c:v>All Others</c:v>
                </c:pt>
                <c:pt idx="805">
                  <c:v>All Others</c:v>
                </c:pt>
                <c:pt idx="806">
                  <c:v>All Others</c:v>
                </c:pt>
                <c:pt idx="807">
                  <c:v>All Others</c:v>
                </c:pt>
                <c:pt idx="808">
                  <c:v>All Others</c:v>
                </c:pt>
                <c:pt idx="809">
                  <c:v>Lactalis: A</c:v>
                </c:pt>
                <c:pt idx="810">
                  <c:v>Lactalis: A</c:v>
                </c:pt>
                <c:pt idx="811">
                  <c:v>All Others</c:v>
                </c:pt>
                <c:pt idx="812">
                  <c:v>All Others</c:v>
                </c:pt>
                <c:pt idx="813">
                  <c:v>All Others</c:v>
                </c:pt>
                <c:pt idx="814">
                  <c:v>All Others</c:v>
                </c:pt>
                <c:pt idx="815">
                  <c:v>All Others</c:v>
                </c:pt>
                <c:pt idx="816">
                  <c:v>All Others</c:v>
                </c:pt>
                <c:pt idx="817">
                  <c:v>All Others</c:v>
                </c:pt>
                <c:pt idx="818">
                  <c:v>All Others</c:v>
                </c:pt>
                <c:pt idx="819">
                  <c:v>All Others</c:v>
                </c:pt>
                <c:pt idx="820">
                  <c:v>All Others</c:v>
                </c:pt>
                <c:pt idx="821">
                  <c:v>All Others</c:v>
                </c:pt>
                <c:pt idx="822">
                  <c:v>All Others</c:v>
                </c:pt>
                <c:pt idx="823">
                  <c:v>All Others</c:v>
                </c:pt>
                <c:pt idx="824">
                  <c:v>All Others</c:v>
                </c:pt>
                <c:pt idx="825">
                  <c:v>All Others</c:v>
                </c:pt>
                <c:pt idx="826">
                  <c:v>All Others</c:v>
                </c:pt>
                <c:pt idx="827">
                  <c:v>Triballat R</c:v>
                </c:pt>
                <c:pt idx="828">
                  <c:v>Savencia: A</c:v>
                </c:pt>
                <c:pt idx="829">
                  <c:v>Savencia: A</c:v>
                </c:pt>
                <c:pt idx="830">
                  <c:v>All Others</c:v>
                </c:pt>
                <c:pt idx="831">
                  <c:v>All Others</c:v>
                </c:pt>
                <c:pt idx="832">
                  <c:v>All Others</c:v>
                </c:pt>
                <c:pt idx="833">
                  <c:v>All Others</c:v>
                </c:pt>
                <c:pt idx="834">
                  <c:v>All Others</c:v>
                </c:pt>
                <c:pt idx="835">
                  <c:v>All Others</c:v>
                </c:pt>
                <c:pt idx="836">
                  <c:v>All Others</c:v>
                </c:pt>
                <c:pt idx="837">
                  <c:v>All Others</c:v>
                </c:pt>
                <c:pt idx="838">
                  <c:v>All Others</c:v>
                </c:pt>
                <c:pt idx="839">
                  <c:v>All Others</c:v>
                </c:pt>
                <c:pt idx="840">
                  <c:v>All Others</c:v>
                </c:pt>
                <c:pt idx="841">
                  <c:v>All Others</c:v>
                </c:pt>
                <c:pt idx="842">
                  <c:v>All Others</c:v>
                </c:pt>
                <c:pt idx="843">
                  <c:v>All Others</c:v>
                </c:pt>
                <c:pt idx="844">
                  <c:v>All Others</c:v>
                </c:pt>
                <c:pt idx="845">
                  <c:v>All Others</c:v>
                </c:pt>
                <c:pt idx="846">
                  <c:v>All Others</c:v>
                </c:pt>
                <c:pt idx="847">
                  <c:v>All Others</c:v>
                </c:pt>
                <c:pt idx="848">
                  <c:v>All Others</c:v>
                </c:pt>
                <c:pt idx="849">
                  <c:v>All Others</c:v>
                </c:pt>
                <c:pt idx="850">
                  <c:v>Lou Perac</c:v>
                </c:pt>
                <c:pt idx="851">
                  <c:v>All Others</c:v>
                </c:pt>
                <c:pt idx="852">
                  <c:v>All Others</c:v>
                </c:pt>
                <c:pt idx="853">
                  <c:v>All Others</c:v>
                </c:pt>
                <c:pt idx="854">
                  <c:v>All Others</c:v>
                </c:pt>
                <c:pt idx="855">
                  <c:v>All Others</c:v>
                </c:pt>
                <c:pt idx="856">
                  <c:v>All Others</c:v>
                </c:pt>
                <c:pt idx="857">
                  <c:v>All Others</c:v>
                </c:pt>
                <c:pt idx="858">
                  <c:v>All Others</c:v>
                </c:pt>
                <c:pt idx="859">
                  <c:v>All Others</c:v>
                </c:pt>
                <c:pt idx="860">
                  <c:v>All Others</c:v>
                </c:pt>
                <c:pt idx="861">
                  <c:v>All Others</c:v>
                </c:pt>
                <c:pt idx="862">
                  <c:v>All Others</c:v>
                </c:pt>
                <c:pt idx="863">
                  <c:v>All Others</c:v>
                </c:pt>
                <c:pt idx="864">
                  <c:v>All Others</c:v>
                </c:pt>
                <c:pt idx="865">
                  <c:v>All Others</c:v>
                </c:pt>
                <c:pt idx="866">
                  <c:v>All Others</c:v>
                </c:pt>
                <c:pt idx="867">
                  <c:v>Soignon</c:v>
                </c:pt>
                <c:pt idx="868">
                  <c:v>All Others</c:v>
                </c:pt>
                <c:pt idx="869">
                  <c:v>All Others</c:v>
                </c:pt>
                <c:pt idx="870">
                  <c:v>All Others</c:v>
                </c:pt>
                <c:pt idx="871">
                  <c:v>All Others</c:v>
                </c:pt>
                <c:pt idx="872">
                  <c:v>All Others</c:v>
                </c:pt>
                <c:pt idx="873">
                  <c:v>All Others</c:v>
                </c:pt>
                <c:pt idx="874">
                  <c:v>All Others</c:v>
                </c:pt>
                <c:pt idx="875">
                  <c:v>All Others</c:v>
                </c:pt>
                <c:pt idx="876">
                  <c:v>All Others</c:v>
                </c:pt>
                <c:pt idx="877">
                  <c:v>All Others</c:v>
                </c:pt>
                <c:pt idx="878">
                  <c:v>All Others</c:v>
                </c:pt>
                <c:pt idx="879">
                  <c:v>All Others</c:v>
                </c:pt>
                <c:pt idx="880">
                  <c:v>All Others</c:v>
                </c:pt>
                <c:pt idx="881">
                  <c:v>All Others</c:v>
                </c:pt>
                <c:pt idx="882">
                  <c:v>All Others</c:v>
                </c:pt>
                <c:pt idx="883">
                  <c:v>All Others</c:v>
                </c:pt>
                <c:pt idx="884">
                  <c:v>All Others</c:v>
                </c:pt>
                <c:pt idx="885">
                  <c:v>All Others</c:v>
                </c:pt>
                <c:pt idx="886">
                  <c:v>All Others</c:v>
                </c:pt>
                <c:pt idx="887">
                  <c:v>All Others</c:v>
                </c:pt>
                <c:pt idx="888">
                  <c:v>All Others</c:v>
                </c:pt>
                <c:pt idx="889">
                  <c:v>Triballat R</c:v>
                </c:pt>
                <c:pt idx="890">
                  <c:v>All Others</c:v>
                </c:pt>
                <c:pt idx="891">
                  <c:v>All Others</c:v>
                </c:pt>
                <c:pt idx="892">
                  <c:v>All Others</c:v>
                </c:pt>
                <c:pt idx="893">
                  <c:v>Triballat R</c:v>
                </c:pt>
                <c:pt idx="894">
                  <c:v>All Others</c:v>
                </c:pt>
                <c:pt idx="895">
                  <c:v>All Others</c:v>
                </c:pt>
                <c:pt idx="896">
                  <c:v>All Others</c:v>
                </c:pt>
                <c:pt idx="897">
                  <c:v>All Others</c:v>
                </c:pt>
                <c:pt idx="898">
                  <c:v>All Others</c:v>
                </c:pt>
                <c:pt idx="899">
                  <c:v>Private Lab</c:v>
                </c:pt>
                <c:pt idx="900">
                  <c:v>All Others</c:v>
                </c:pt>
                <c:pt idx="901">
                  <c:v>All Others</c:v>
                </c:pt>
                <c:pt idx="902">
                  <c:v>All Others</c:v>
                </c:pt>
                <c:pt idx="903">
                  <c:v>All Others</c:v>
                </c:pt>
                <c:pt idx="904">
                  <c:v>All Others</c:v>
                </c:pt>
                <c:pt idx="905">
                  <c:v>All Others</c:v>
                </c:pt>
                <c:pt idx="906">
                  <c:v>All Others</c:v>
                </c:pt>
                <c:pt idx="907">
                  <c:v>All Others</c:v>
                </c:pt>
                <c:pt idx="908">
                  <c:v>All Others</c:v>
                </c:pt>
                <c:pt idx="909">
                  <c:v>All Others</c:v>
                </c:pt>
                <c:pt idx="910">
                  <c:v>All Others</c:v>
                </c:pt>
                <c:pt idx="911">
                  <c:v>All Others</c:v>
                </c:pt>
                <c:pt idx="912">
                  <c:v>All Others</c:v>
                </c:pt>
                <c:pt idx="913">
                  <c:v>All Others</c:v>
                </c:pt>
                <c:pt idx="914">
                  <c:v>All Others</c:v>
                </c:pt>
                <c:pt idx="915">
                  <c:v>All Others</c:v>
                </c:pt>
                <c:pt idx="916">
                  <c:v>All Others</c:v>
                </c:pt>
                <c:pt idx="917">
                  <c:v>All Others</c:v>
                </c:pt>
                <c:pt idx="918">
                  <c:v>Caprice Des</c:v>
                </c:pt>
                <c:pt idx="919">
                  <c:v>All Others</c:v>
                </c:pt>
                <c:pt idx="920">
                  <c:v>All Others</c:v>
                </c:pt>
                <c:pt idx="921">
                  <c:v>Private Lab</c:v>
                </c:pt>
                <c:pt idx="922">
                  <c:v>All Others</c:v>
                </c:pt>
                <c:pt idx="923">
                  <c:v>All Others</c:v>
                </c:pt>
                <c:pt idx="924">
                  <c:v>All Others</c:v>
                </c:pt>
                <c:pt idx="925">
                  <c:v>All Others</c:v>
                </c:pt>
                <c:pt idx="926">
                  <c:v>All Others</c:v>
                </c:pt>
                <c:pt idx="927">
                  <c:v>All Others</c:v>
                </c:pt>
                <c:pt idx="928">
                  <c:v>All Others</c:v>
                </c:pt>
                <c:pt idx="929">
                  <c:v>All Others</c:v>
                </c:pt>
                <c:pt idx="930">
                  <c:v>All Others</c:v>
                </c:pt>
                <c:pt idx="931">
                  <c:v>All Others</c:v>
                </c:pt>
                <c:pt idx="932">
                  <c:v>All Others</c:v>
                </c:pt>
                <c:pt idx="933">
                  <c:v>All Others</c:v>
                </c:pt>
                <c:pt idx="934">
                  <c:v>All Others</c:v>
                </c:pt>
                <c:pt idx="935">
                  <c:v>Mini Babybe</c:v>
                </c:pt>
                <c:pt idx="936">
                  <c:v>All Others</c:v>
                </c:pt>
                <c:pt idx="937">
                  <c:v>All Others</c:v>
                </c:pt>
                <c:pt idx="938">
                  <c:v>All Others</c:v>
                </c:pt>
                <c:pt idx="939">
                  <c:v>Lactalis: A</c:v>
                </c:pt>
                <c:pt idx="940">
                  <c:v>All Others</c:v>
                </c:pt>
                <c:pt idx="941">
                  <c:v>All Others</c:v>
                </c:pt>
                <c:pt idx="942">
                  <c:v>All Others</c:v>
                </c:pt>
                <c:pt idx="943">
                  <c:v>All Others</c:v>
                </c:pt>
                <c:pt idx="944">
                  <c:v>All Others</c:v>
                </c:pt>
                <c:pt idx="945">
                  <c:v>All Others</c:v>
                </c:pt>
                <c:pt idx="946">
                  <c:v>All Others</c:v>
                </c:pt>
                <c:pt idx="947">
                  <c:v>All Others</c:v>
                </c:pt>
                <c:pt idx="948">
                  <c:v>All Others</c:v>
                </c:pt>
                <c:pt idx="949">
                  <c:v>All Others</c:v>
                </c:pt>
                <c:pt idx="950">
                  <c:v>Private Lab</c:v>
                </c:pt>
                <c:pt idx="951">
                  <c:v>All Others</c:v>
                </c:pt>
                <c:pt idx="952">
                  <c:v>All Others</c:v>
                </c:pt>
                <c:pt idx="953">
                  <c:v>All Others</c:v>
                </c:pt>
                <c:pt idx="954">
                  <c:v>All Others</c:v>
                </c:pt>
                <c:pt idx="955">
                  <c:v>All Others</c:v>
                </c:pt>
                <c:pt idx="956">
                  <c:v>All Others</c:v>
                </c:pt>
                <c:pt idx="957">
                  <c:v>All Others</c:v>
                </c:pt>
                <c:pt idx="958">
                  <c:v>All Others</c:v>
                </c:pt>
                <c:pt idx="959">
                  <c:v>All Others</c:v>
                </c:pt>
                <c:pt idx="960">
                  <c:v>Eurial Autr</c:v>
                </c:pt>
                <c:pt idx="961">
                  <c:v>All Others</c:v>
                </c:pt>
                <c:pt idx="962">
                  <c:v>All Others</c:v>
                </c:pt>
                <c:pt idx="963">
                  <c:v>All Others</c:v>
                </c:pt>
                <c:pt idx="964">
                  <c:v>All Others</c:v>
                </c:pt>
                <c:pt idx="965">
                  <c:v>All Others</c:v>
                </c:pt>
                <c:pt idx="966">
                  <c:v>All Others</c:v>
                </c:pt>
                <c:pt idx="967">
                  <c:v>All Others</c:v>
                </c:pt>
                <c:pt idx="968">
                  <c:v>All Others</c:v>
                </c:pt>
                <c:pt idx="969">
                  <c:v>All Others</c:v>
                </c:pt>
                <c:pt idx="970">
                  <c:v>All Others</c:v>
                </c:pt>
                <c:pt idx="971">
                  <c:v>All Others</c:v>
                </c:pt>
                <c:pt idx="972">
                  <c:v>All Others</c:v>
                </c:pt>
                <c:pt idx="973">
                  <c:v>All Others</c:v>
                </c:pt>
                <c:pt idx="974">
                  <c:v>All Others</c:v>
                </c:pt>
                <c:pt idx="975">
                  <c:v>All Others</c:v>
                </c:pt>
                <c:pt idx="976">
                  <c:v>All Others</c:v>
                </c:pt>
                <c:pt idx="977">
                  <c:v>All Others</c:v>
                </c:pt>
                <c:pt idx="978">
                  <c:v>All Others</c:v>
                </c:pt>
                <c:pt idx="979">
                  <c:v>All Others</c:v>
                </c:pt>
                <c:pt idx="980">
                  <c:v>All Others</c:v>
                </c:pt>
                <c:pt idx="981">
                  <c:v>All Others</c:v>
                </c:pt>
                <c:pt idx="982">
                  <c:v>Eurial Autr</c:v>
                </c:pt>
                <c:pt idx="983">
                  <c:v>All Others</c:v>
                </c:pt>
                <c:pt idx="984">
                  <c:v>All Others</c:v>
                </c:pt>
                <c:pt idx="985">
                  <c:v>All Others</c:v>
                </c:pt>
                <c:pt idx="986">
                  <c:v>All Others</c:v>
                </c:pt>
                <c:pt idx="987">
                  <c:v>All Others</c:v>
                </c:pt>
                <c:pt idx="988">
                  <c:v>All Others</c:v>
                </c:pt>
                <c:pt idx="989">
                  <c:v>All Others</c:v>
                </c:pt>
                <c:pt idx="990">
                  <c:v>All Others</c:v>
                </c:pt>
                <c:pt idx="991">
                  <c:v>All Others</c:v>
                </c:pt>
                <c:pt idx="992">
                  <c:v>All Others</c:v>
                </c:pt>
                <c:pt idx="993">
                  <c:v>All Others</c:v>
                </c:pt>
                <c:pt idx="994">
                  <c:v>All Others</c:v>
                </c:pt>
                <c:pt idx="995">
                  <c:v>All Others</c:v>
                </c:pt>
                <c:pt idx="996">
                  <c:v>All Others</c:v>
                </c:pt>
                <c:pt idx="997">
                  <c:v>All Others</c:v>
                </c:pt>
                <c:pt idx="998">
                  <c:v>All Others</c:v>
                </c:pt>
                <c:pt idx="999">
                  <c:v>All Others</c:v>
                </c:pt>
                <c:pt idx="1000">
                  <c:v>All Others</c:v>
                </c:pt>
                <c:pt idx="1001">
                  <c:v>All Others</c:v>
                </c:pt>
                <c:pt idx="1002">
                  <c:v>All Others</c:v>
                </c:pt>
                <c:pt idx="1003">
                  <c:v>All Others</c:v>
                </c:pt>
                <c:pt idx="1004">
                  <c:v>All Others</c:v>
                </c:pt>
                <c:pt idx="1005">
                  <c:v>Private Lab</c:v>
                </c:pt>
                <c:pt idx="1006">
                  <c:v>All Others</c:v>
                </c:pt>
                <c:pt idx="1007">
                  <c:v>All Others</c:v>
                </c:pt>
                <c:pt idx="1008">
                  <c:v>All Others</c:v>
                </c:pt>
                <c:pt idx="1009">
                  <c:v>All Others</c:v>
                </c:pt>
                <c:pt idx="1010">
                  <c:v>All Others</c:v>
                </c:pt>
                <c:pt idx="1011">
                  <c:v>All Others</c:v>
                </c:pt>
                <c:pt idx="1012">
                  <c:v>All Others</c:v>
                </c:pt>
                <c:pt idx="1013">
                  <c:v>All Others</c:v>
                </c:pt>
                <c:pt idx="1014">
                  <c:v>All Others</c:v>
                </c:pt>
                <c:pt idx="1015">
                  <c:v>All Others</c:v>
                </c:pt>
                <c:pt idx="1016">
                  <c:v>All Others</c:v>
                </c:pt>
                <c:pt idx="1017">
                  <c:v>All Others</c:v>
                </c:pt>
                <c:pt idx="1018">
                  <c:v>Lactalis: A</c:v>
                </c:pt>
                <c:pt idx="1019">
                  <c:v>Private Lab</c:v>
                </c:pt>
                <c:pt idx="1020">
                  <c:v>All Others</c:v>
                </c:pt>
                <c:pt idx="1021">
                  <c:v>All Others</c:v>
                </c:pt>
                <c:pt idx="1022">
                  <c:v>All Others</c:v>
                </c:pt>
                <c:pt idx="1023">
                  <c:v>All Others</c:v>
                </c:pt>
                <c:pt idx="1024">
                  <c:v>All Others</c:v>
                </c:pt>
                <c:pt idx="1025">
                  <c:v>All Others</c:v>
                </c:pt>
                <c:pt idx="1026">
                  <c:v>All Others</c:v>
                </c:pt>
                <c:pt idx="1027">
                  <c:v>All Others</c:v>
                </c:pt>
                <c:pt idx="1028">
                  <c:v>All Others</c:v>
                </c:pt>
                <c:pt idx="1029">
                  <c:v>All Others</c:v>
                </c:pt>
                <c:pt idx="1030">
                  <c:v>All Others</c:v>
                </c:pt>
                <c:pt idx="1031">
                  <c:v>All Others</c:v>
                </c:pt>
                <c:pt idx="1032">
                  <c:v>All Others</c:v>
                </c:pt>
                <c:pt idx="1033">
                  <c:v>All Others</c:v>
                </c:pt>
                <c:pt idx="1034">
                  <c:v>All Others</c:v>
                </c:pt>
                <c:pt idx="1035">
                  <c:v>All Others</c:v>
                </c:pt>
                <c:pt idx="1036">
                  <c:v>All Others</c:v>
                </c:pt>
                <c:pt idx="1037">
                  <c:v>All Others</c:v>
                </c:pt>
                <c:pt idx="1038">
                  <c:v>All Others</c:v>
                </c:pt>
                <c:pt idx="1039">
                  <c:v>All Others</c:v>
                </c:pt>
                <c:pt idx="1040">
                  <c:v>All Others</c:v>
                </c:pt>
                <c:pt idx="1041">
                  <c:v>All Others</c:v>
                </c:pt>
                <c:pt idx="1042">
                  <c:v>President</c:v>
                </c:pt>
                <c:pt idx="1043">
                  <c:v>All Others</c:v>
                </c:pt>
                <c:pt idx="1044">
                  <c:v>All Others</c:v>
                </c:pt>
                <c:pt idx="1045">
                  <c:v>All Others</c:v>
                </c:pt>
                <c:pt idx="1046">
                  <c:v>All Others</c:v>
                </c:pt>
                <c:pt idx="1047">
                  <c:v>All Others</c:v>
                </c:pt>
                <c:pt idx="1048">
                  <c:v>All Others</c:v>
                </c:pt>
                <c:pt idx="1049">
                  <c:v>All Others</c:v>
                </c:pt>
                <c:pt idx="1050">
                  <c:v>Rondele</c:v>
                </c:pt>
                <c:pt idx="1051">
                  <c:v>All Others</c:v>
                </c:pt>
                <c:pt idx="1052">
                  <c:v>Lactalis: A</c:v>
                </c:pt>
                <c:pt idx="1053">
                  <c:v>All Others</c:v>
                </c:pt>
                <c:pt idx="1054">
                  <c:v>All Others</c:v>
                </c:pt>
                <c:pt idx="1055">
                  <c:v>All Others</c:v>
                </c:pt>
                <c:pt idx="1056">
                  <c:v>All Others</c:v>
                </c:pt>
                <c:pt idx="1057">
                  <c:v>All Others</c:v>
                </c:pt>
                <c:pt idx="1058">
                  <c:v>All Others</c:v>
                </c:pt>
                <c:pt idx="1059">
                  <c:v>All Others</c:v>
                </c:pt>
                <c:pt idx="1060">
                  <c:v>All Others</c:v>
                </c:pt>
                <c:pt idx="1061">
                  <c:v>All Others</c:v>
                </c:pt>
                <c:pt idx="1062">
                  <c:v>All Others</c:v>
                </c:pt>
                <c:pt idx="1063">
                  <c:v>All Others</c:v>
                </c:pt>
                <c:pt idx="1064">
                  <c:v>All Others</c:v>
                </c:pt>
                <c:pt idx="1065">
                  <c:v>All Others</c:v>
                </c:pt>
                <c:pt idx="1066">
                  <c:v>All Others</c:v>
                </c:pt>
                <c:pt idx="1067">
                  <c:v>All Others</c:v>
                </c:pt>
                <c:pt idx="1068">
                  <c:v>Rondele</c:v>
                </c:pt>
                <c:pt idx="1069">
                  <c:v>All Others</c:v>
                </c:pt>
                <c:pt idx="1070">
                  <c:v>All Others</c:v>
                </c:pt>
                <c:pt idx="1071">
                  <c:v>All Others</c:v>
                </c:pt>
                <c:pt idx="1072">
                  <c:v>All Others</c:v>
                </c:pt>
                <c:pt idx="1073">
                  <c:v>Private Lab</c:v>
                </c:pt>
                <c:pt idx="1074">
                  <c:v>All Others</c:v>
                </c:pt>
                <c:pt idx="1075">
                  <c:v>All Others</c:v>
                </c:pt>
                <c:pt idx="1076">
                  <c:v>All Others</c:v>
                </c:pt>
                <c:pt idx="1077">
                  <c:v>All Others</c:v>
                </c:pt>
                <c:pt idx="1078">
                  <c:v>All Others</c:v>
                </c:pt>
                <c:pt idx="1079">
                  <c:v>All Others</c:v>
                </c:pt>
                <c:pt idx="1080">
                  <c:v>All Others</c:v>
                </c:pt>
                <c:pt idx="1081">
                  <c:v>All Others</c:v>
                </c:pt>
                <c:pt idx="1082">
                  <c:v>All Others</c:v>
                </c:pt>
                <c:pt idx="1083">
                  <c:v>All Others</c:v>
                </c:pt>
                <c:pt idx="1084">
                  <c:v>Soignon</c:v>
                </c:pt>
                <c:pt idx="1085">
                  <c:v>All Others</c:v>
                </c:pt>
                <c:pt idx="1086">
                  <c:v>All Others</c:v>
                </c:pt>
                <c:pt idx="1087">
                  <c:v>All Others</c:v>
                </c:pt>
                <c:pt idx="1088">
                  <c:v>All Others</c:v>
                </c:pt>
                <c:pt idx="1089">
                  <c:v>All Others</c:v>
                </c:pt>
                <c:pt idx="1090">
                  <c:v>All Others</c:v>
                </c:pt>
                <c:pt idx="1091">
                  <c:v>Lactalis: A</c:v>
                </c:pt>
                <c:pt idx="1092">
                  <c:v>All Others</c:v>
                </c:pt>
                <c:pt idx="1093">
                  <c:v>All Others</c:v>
                </c:pt>
                <c:pt idx="1094">
                  <c:v>All Others</c:v>
                </c:pt>
                <c:pt idx="1095">
                  <c:v>Rondele</c:v>
                </c:pt>
                <c:pt idx="1096">
                  <c:v>All Others</c:v>
                </c:pt>
                <c:pt idx="1097">
                  <c:v>All Others</c:v>
                </c:pt>
                <c:pt idx="1098">
                  <c:v>All Others</c:v>
                </c:pt>
                <c:pt idx="1099">
                  <c:v>All Others</c:v>
                </c:pt>
                <c:pt idx="1100">
                  <c:v>All Others</c:v>
                </c:pt>
                <c:pt idx="1101">
                  <c:v>All Others</c:v>
                </c:pt>
                <c:pt idx="1102">
                  <c:v>All Others</c:v>
                </c:pt>
                <c:pt idx="1103">
                  <c:v>All Others</c:v>
                </c:pt>
                <c:pt idx="1104">
                  <c:v>All Others</c:v>
                </c:pt>
                <c:pt idx="1105">
                  <c:v>Petit Billy</c:v>
                </c:pt>
                <c:pt idx="1106">
                  <c:v>All Others</c:v>
                </c:pt>
                <c:pt idx="1107">
                  <c:v>All Others</c:v>
                </c:pt>
                <c:pt idx="1108">
                  <c:v>All Others</c:v>
                </c:pt>
                <c:pt idx="1109">
                  <c:v>All Others</c:v>
                </c:pt>
                <c:pt idx="1110">
                  <c:v>All Others</c:v>
                </c:pt>
                <c:pt idx="1111">
                  <c:v>All Others</c:v>
                </c:pt>
                <c:pt idx="1112">
                  <c:v>Lactalis: A</c:v>
                </c:pt>
                <c:pt idx="1113">
                  <c:v>All Others</c:v>
                </c:pt>
                <c:pt idx="1114">
                  <c:v>All Others</c:v>
                </c:pt>
                <c:pt idx="1115">
                  <c:v>All Others</c:v>
                </c:pt>
                <c:pt idx="1116">
                  <c:v>All Others</c:v>
                </c:pt>
                <c:pt idx="1117">
                  <c:v>All Others</c:v>
                </c:pt>
                <c:pt idx="1118">
                  <c:v>All Others</c:v>
                </c:pt>
                <c:pt idx="1119">
                  <c:v>All Others</c:v>
                </c:pt>
                <c:pt idx="1120">
                  <c:v>All Others</c:v>
                </c:pt>
                <c:pt idx="1121">
                  <c:v>Savencia: A</c:v>
                </c:pt>
                <c:pt idx="1122">
                  <c:v>All Others</c:v>
                </c:pt>
                <c:pt idx="1123">
                  <c:v>All Others</c:v>
                </c:pt>
                <c:pt idx="1124">
                  <c:v>All Others</c:v>
                </c:pt>
                <c:pt idx="1125">
                  <c:v>All Others</c:v>
                </c:pt>
                <c:pt idx="1126">
                  <c:v>All Others</c:v>
                </c:pt>
                <c:pt idx="1127">
                  <c:v>All Others</c:v>
                </c:pt>
                <c:pt idx="1128">
                  <c:v>All Others</c:v>
                </c:pt>
                <c:pt idx="1129">
                  <c:v>All Others</c:v>
                </c:pt>
                <c:pt idx="1130">
                  <c:v>All Others</c:v>
                </c:pt>
                <c:pt idx="1131">
                  <c:v>Savencia: A</c:v>
                </c:pt>
                <c:pt idx="1132">
                  <c:v>All Others</c:v>
                </c:pt>
                <c:pt idx="1133">
                  <c:v>All Others</c:v>
                </c:pt>
                <c:pt idx="1134">
                  <c:v>All Others</c:v>
                </c:pt>
                <c:pt idx="1135">
                  <c:v>All Others</c:v>
                </c:pt>
                <c:pt idx="1136">
                  <c:v>All Others</c:v>
                </c:pt>
                <c:pt idx="1137">
                  <c:v>All Others</c:v>
                </c:pt>
                <c:pt idx="1138">
                  <c:v>All Others</c:v>
                </c:pt>
                <c:pt idx="1139">
                  <c:v>All Others</c:v>
                </c:pt>
                <c:pt idx="1140">
                  <c:v>All Others</c:v>
                </c:pt>
                <c:pt idx="1141">
                  <c:v>All Others</c:v>
                </c:pt>
                <c:pt idx="1142">
                  <c:v>All Others</c:v>
                </c:pt>
                <c:pt idx="1143">
                  <c:v>All Others</c:v>
                </c:pt>
                <c:pt idx="1144">
                  <c:v>All Others</c:v>
                </c:pt>
                <c:pt idx="1145">
                  <c:v>All Others</c:v>
                </c:pt>
                <c:pt idx="1146">
                  <c:v>All Others</c:v>
                </c:pt>
                <c:pt idx="1147">
                  <c:v>All Others</c:v>
                </c:pt>
                <c:pt idx="1148">
                  <c:v>All Others</c:v>
                </c:pt>
                <c:pt idx="1149">
                  <c:v>All Others</c:v>
                </c:pt>
                <c:pt idx="1150">
                  <c:v>All Others</c:v>
                </c:pt>
                <c:pt idx="1151">
                  <c:v>Private Lab</c:v>
                </c:pt>
                <c:pt idx="1152">
                  <c:v>All Others</c:v>
                </c:pt>
                <c:pt idx="1153">
                  <c:v>All Others</c:v>
                </c:pt>
                <c:pt idx="1154">
                  <c:v>All Others</c:v>
                </c:pt>
                <c:pt idx="1155">
                  <c:v>All Others</c:v>
                </c:pt>
                <c:pt idx="1156">
                  <c:v>All Others</c:v>
                </c:pt>
                <c:pt idx="1157">
                  <c:v>All Others</c:v>
                </c:pt>
                <c:pt idx="1158">
                  <c:v>Private Lab</c:v>
                </c:pt>
                <c:pt idx="1159">
                  <c:v>All Others</c:v>
                </c:pt>
                <c:pt idx="1160">
                  <c:v>All Others</c:v>
                </c:pt>
                <c:pt idx="1161">
                  <c:v>All Others</c:v>
                </c:pt>
                <c:pt idx="1162">
                  <c:v>All Others</c:v>
                </c:pt>
                <c:pt idx="1163">
                  <c:v>All Others</c:v>
                </c:pt>
                <c:pt idx="1164">
                  <c:v>All Others</c:v>
                </c:pt>
                <c:pt idx="1165">
                  <c:v>All Others</c:v>
                </c:pt>
                <c:pt idx="1166">
                  <c:v>All Others</c:v>
                </c:pt>
                <c:pt idx="1167">
                  <c:v>All Others</c:v>
                </c:pt>
                <c:pt idx="1168">
                  <c:v>All Others</c:v>
                </c:pt>
                <c:pt idx="1169">
                  <c:v>All Others</c:v>
                </c:pt>
                <c:pt idx="1170">
                  <c:v>All Others</c:v>
                </c:pt>
                <c:pt idx="1171">
                  <c:v>All Others</c:v>
                </c:pt>
                <c:pt idx="1172">
                  <c:v>All Others</c:v>
                </c:pt>
                <c:pt idx="1173">
                  <c:v>All Others</c:v>
                </c:pt>
                <c:pt idx="1174">
                  <c:v>All Others</c:v>
                </c:pt>
                <c:pt idx="1175">
                  <c:v>All Others</c:v>
                </c:pt>
                <c:pt idx="1176">
                  <c:v>All Others</c:v>
                </c:pt>
                <c:pt idx="1177">
                  <c:v>All Others</c:v>
                </c:pt>
                <c:pt idx="1178">
                  <c:v>All Others</c:v>
                </c:pt>
                <c:pt idx="1179">
                  <c:v>All Others</c:v>
                </c:pt>
                <c:pt idx="1180">
                  <c:v>All Others</c:v>
                </c:pt>
                <c:pt idx="1181">
                  <c:v>All Others</c:v>
                </c:pt>
                <c:pt idx="1182">
                  <c:v>All Others</c:v>
                </c:pt>
                <c:pt idx="1183">
                  <c:v>All Others</c:v>
                </c:pt>
                <c:pt idx="1184">
                  <c:v>All Others</c:v>
                </c:pt>
                <c:pt idx="1185">
                  <c:v>All Others</c:v>
                </c:pt>
                <c:pt idx="1186">
                  <c:v>All Others</c:v>
                </c:pt>
                <c:pt idx="1187">
                  <c:v>All Others</c:v>
                </c:pt>
                <c:pt idx="1188">
                  <c:v>All Others</c:v>
                </c:pt>
                <c:pt idx="1189">
                  <c:v>All Others</c:v>
                </c:pt>
                <c:pt idx="1190">
                  <c:v>All Others</c:v>
                </c:pt>
                <c:pt idx="1191">
                  <c:v>All Others</c:v>
                </c:pt>
                <c:pt idx="1192">
                  <c:v>All Others</c:v>
                </c:pt>
                <c:pt idx="1193">
                  <c:v>All Others</c:v>
                </c:pt>
                <c:pt idx="1194">
                  <c:v>All Others</c:v>
                </c:pt>
                <c:pt idx="1195">
                  <c:v>All Others</c:v>
                </c:pt>
                <c:pt idx="1196">
                  <c:v>All Others</c:v>
                </c:pt>
                <c:pt idx="1197">
                  <c:v>All Others</c:v>
                </c:pt>
                <c:pt idx="1198">
                  <c:v>All Others</c:v>
                </c:pt>
                <c:pt idx="1199">
                  <c:v>All Others</c:v>
                </c:pt>
                <c:pt idx="1200">
                  <c:v>All Others</c:v>
                </c:pt>
                <c:pt idx="1201">
                  <c:v>All Others</c:v>
                </c:pt>
                <c:pt idx="1202">
                  <c:v>All Others</c:v>
                </c:pt>
                <c:pt idx="1203">
                  <c:v>All Others</c:v>
                </c:pt>
                <c:pt idx="1204">
                  <c:v>All Others</c:v>
                </c:pt>
                <c:pt idx="1205">
                  <c:v>All Others</c:v>
                </c:pt>
                <c:pt idx="1206">
                  <c:v>Private Lab</c:v>
                </c:pt>
                <c:pt idx="1207">
                  <c:v>All Others</c:v>
                </c:pt>
                <c:pt idx="1208">
                  <c:v>Private Lab</c:v>
                </c:pt>
                <c:pt idx="1209">
                  <c:v>All Others</c:v>
                </c:pt>
                <c:pt idx="1210">
                  <c:v>All Others</c:v>
                </c:pt>
                <c:pt idx="1211">
                  <c:v>All Others</c:v>
                </c:pt>
                <c:pt idx="1212">
                  <c:v>All Others</c:v>
                </c:pt>
                <c:pt idx="1213">
                  <c:v>All Others</c:v>
                </c:pt>
                <c:pt idx="1214">
                  <c:v>All Others</c:v>
                </c:pt>
                <c:pt idx="1215">
                  <c:v>All Others</c:v>
                </c:pt>
                <c:pt idx="1216">
                  <c:v>All Others</c:v>
                </c:pt>
                <c:pt idx="1217">
                  <c:v>All Others</c:v>
                </c:pt>
                <c:pt idx="1218">
                  <c:v>All Others</c:v>
                </c:pt>
                <c:pt idx="1219">
                  <c:v>All Others</c:v>
                </c:pt>
                <c:pt idx="1220">
                  <c:v>All Others</c:v>
                </c:pt>
                <c:pt idx="1221">
                  <c:v>All Others</c:v>
                </c:pt>
                <c:pt idx="1222">
                  <c:v>All Others</c:v>
                </c:pt>
                <c:pt idx="1223">
                  <c:v>All Others</c:v>
                </c:pt>
                <c:pt idx="1224">
                  <c:v>All Others</c:v>
                </c:pt>
                <c:pt idx="1225">
                  <c:v>All Others</c:v>
                </c:pt>
                <c:pt idx="1226">
                  <c:v>All Others</c:v>
                </c:pt>
                <c:pt idx="1227">
                  <c:v>All Others</c:v>
                </c:pt>
                <c:pt idx="1228">
                  <c:v>Private Lab</c:v>
                </c:pt>
                <c:pt idx="1229">
                  <c:v>All Others</c:v>
                </c:pt>
                <c:pt idx="1230">
                  <c:v>All Others</c:v>
                </c:pt>
                <c:pt idx="1231">
                  <c:v>All Others</c:v>
                </c:pt>
                <c:pt idx="1232">
                  <c:v>All Others</c:v>
                </c:pt>
                <c:pt idx="1233">
                  <c:v>All Others</c:v>
                </c:pt>
                <c:pt idx="1234">
                  <c:v>All Others</c:v>
                </c:pt>
                <c:pt idx="1235">
                  <c:v>All Others</c:v>
                </c:pt>
                <c:pt idx="1236">
                  <c:v>Savencia: A</c:v>
                </c:pt>
                <c:pt idx="1237">
                  <c:v>All Others</c:v>
                </c:pt>
                <c:pt idx="1238">
                  <c:v>All Others</c:v>
                </c:pt>
                <c:pt idx="1239">
                  <c:v>Istara</c:v>
                </c:pt>
                <c:pt idx="1240">
                  <c:v>All Others</c:v>
                </c:pt>
                <c:pt idx="1241">
                  <c:v>All Others</c:v>
                </c:pt>
                <c:pt idx="1242">
                  <c:v>All Others</c:v>
                </c:pt>
                <c:pt idx="1243">
                  <c:v>All Others</c:v>
                </c:pt>
                <c:pt idx="1244">
                  <c:v>All Others</c:v>
                </c:pt>
                <c:pt idx="1245">
                  <c:v>All Others</c:v>
                </c:pt>
                <c:pt idx="1246">
                  <c:v>All Others</c:v>
                </c:pt>
                <c:pt idx="1247">
                  <c:v>Private Lab</c:v>
                </c:pt>
                <c:pt idx="1248">
                  <c:v>All Others</c:v>
                </c:pt>
                <c:pt idx="1249">
                  <c:v>All Others</c:v>
                </c:pt>
                <c:pt idx="1250">
                  <c:v>All Others</c:v>
                </c:pt>
                <c:pt idx="1251">
                  <c:v>All Others</c:v>
                </c:pt>
                <c:pt idx="1252">
                  <c:v>All Others</c:v>
                </c:pt>
                <c:pt idx="1253">
                  <c:v>All Others</c:v>
                </c:pt>
                <c:pt idx="1254">
                  <c:v>All Others</c:v>
                </c:pt>
                <c:pt idx="1255">
                  <c:v>All Others</c:v>
                </c:pt>
                <c:pt idx="1256">
                  <c:v>All Others</c:v>
                </c:pt>
                <c:pt idx="1257">
                  <c:v>All Others</c:v>
                </c:pt>
                <c:pt idx="1258">
                  <c:v>All Others</c:v>
                </c:pt>
                <c:pt idx="1259">
                  <c:v>Salakis</c:v>
                </c:pt>
                <c:pt idx="1260">
                  <c:v>Societe</c:v>
                </c:pt>
                <c:pt idx="1261">
                  <c:v>All Others</c:v>
                </c:pt>
                <c:pt idx="1262">
                  <c:v>All Others</c:v>
                </c:pt>
                <c:pt idx="1263">
                  <c:v>All Others</c:v>
                </c:pt>
                <c:pt idx="1264">
                  <c:v>Lactalis: A</c:v>
                </c:pt>
                <c:pt idx="1265">
                  <c:v>All Others</c:v>
                </c:pt>
                <c:pt idx="1266">
                  <c:v>All Others</c:v>
                </c:pt>
                <c:pt idx="1267">
                  <c:v>All Others</c:v>
                </c:pt>
                <c:pt idx="1268">
                  <c:v>All Others</c:v>
                </c:pt>
                <c:pt idx="1269">
                  <c:v>All Others</c:v>
                </c:pt>
                <c:pt idx="1270">
                  <c:v>All Others</c:v>
                </c:pt>
                <c:pt idx="1271">
                  <c:v>All Others</c:v>
                </c:pt>
                <c:pt idx="1272">
                  <c:v>All Others</c:v>
                </c:pt>
                <c:pt idx="1273">
                  <c:v>All Others</c:v>
                </c:pt>
                <c:pt idx="1274">
                  <c:v>Limiano</c:v>
                </c:pt>
                <c:pt idx="1275">
                  <c:v>All Others</c:v>
                </c:pt>
                <c:pt idx="1276">
                  <c:v>All Others</c:v>
                </c:pt>
                <c:pt idx="1277">
                  <c:v>All Others</c:v>
                </c:pt>
                <c:pt idx="1278">
                  <c:v>All Others</c:v>
                </c:pt>
                <c:pt idx="1279">
                  <c:v>All Others</c:v>
                </c:pt>
                <c:pt idx="1280">
                  <c:v>All Others</c:v>
                </c:pt>
                <c:pt idx="1281">
                  <c:v>All Others</c:v>
                </c:pt>
                <c:pt idx="1282">
                  <c:v>All Others</c:v>
                </c:pt>
                <c:pt idx="1283">
                  <c:v>All Others</c:v>
                </c:pt>
                <c:pt idx="1284">
                  <c:v>All Others</c:v>
                </c:pt>
                <c:pt idx="1285">
                  <c:v>Private Lab</c:v>
                </c:pt>
                <c:pt idx="1286">
                  <c:v>All Others</c:v>
                </c:pt>
                <c:pt idx="1287">
                  <c:v>All Others</c:v>
                </c:pt>
                <c:pt idx="1288">
                  <c:v>All Others</c:v>
                </c:pt>
                <c:pt idx="1289">
                  <c:v>All Others</c:v>
                </c:pt>
                <c:pt idx="1290">
                  <c:v>All Others</c:v>
                </c:pt>
                <c:pt idx="1291">
                  <c:v>All Others</c:v>
                </c:pt>
                <c:pt idx="1292">
                  <c:v>All Others</c:v>
                </c:pt>
                <c:pt idx="1293">
                  <c:v>All Others</c:v>
                </c:pt>
                <c:pt idx="1294">
                  <c:v>All Others</c:v>
                </c:pt>
                <c:pt idx="1295">
                  <c:v>All Others</c:v>
                </c:pt>
                <c:pt idx="1296">
                  <c:v>All Others</c:v>
                </c:pt>
                <c:pt idx="1297">
                  <c:v>All Others</c:v>
                </c:pt>
                <c:pt idx="1298">
                  <c:v>All Others</c:v>
                </c:pt>
                <c:pt idx="1299">
                  <c:v>Private Lab</c:v>
                </c:pt>
                <c:pt idx="1300">
                  <c:v>All Others</c:v>
                </c:pt>
                <c:pt idx="1301">
                  <c:v>All Others</c:v>
                </c:pt>
                <c:pt idx="1302">
                  <c:v>All Others</c:v>
                </c:pt>
                <c:pt idx="1303">
                  <c:v>All Others</c:v>
                </c:pt>
                <c:pt idx="1304">
                  <c:v>All Others</c:v>
                </c:pt>
                <c:pt idx="1305">
                  <c:v>All Others</c:v>
                </c:pt>
                <c:pt idx="1306">
                  <c:v>All Others</c:v>
                </c:pt>
                <c:pt idx="1307">
                  <c:v>All Others</c:v>
                </c:pt>
                <c:pt idx="1308">
                  <c:v>All Others</c:v>
                </c:pt>
                <c:pt idx="1309">
                  <c:v>All Others</c:v>
                </c:pt>
                <c:pt idx="1310">
                  <c:v>All Others</c:v>
                </c:pt>
                <c:pt idx="1311">
                  <c:v>All Others</c:v>
                </c:pt>
                <c:pt idx="1312">
                  <c:v>All Others</c:v>
                </c:pt>
                <c:pt idx="1313">
                  <c:v>All Others</c:v>
                </c:pt>
                <c:pt idx="1314">
                  <c:v>All Others</c:v>
                </c:pt>
                <c:pt idx="1315">
                  <c:v>All Others</c:v>
                </c:pt>
                <c:pt idx="1316">
                  <c:v>All Others</c:v>
                </c:pt>
                <c:pt idx="1317">
                  <c:v>All Others</c:v>
                </c:pt>
                <c:pt idx="1318">
                  <c:v>All Others</c:v>
                </c:pt>
                <c:pt idx="1319">
                  <c:v>All Others</c:v>
                </c:pt>
                <c:pt idx="1320">
                  <c:v>All Others</c:v>
                </c:pt>
                <c:pt idx="1321">
                  <c:v>All Others</c:v>
                </c:pt>
                <c:pt idx="1322">
                  <c:v>All Others</c:v>
                </c:pt>
                <c:pt idx="1323">
                  <c:v>All Others</c:v>
                </c:pt>
                <c:pt idx="1324">
                  <c:v>All Others</c:v>
                </c:pt>
                <c:pt idx="1325">
                  <c:v>All Others</c:v>
                </c:pt>
                <c:pt idx="1326">
                  <c:v>All Others</c:v>
                </c:pt>
                <c:pt idx="1327">
                  <c:v>All Others</c:v>
                </c:pt>
                <c:pt idx="1328">
                  <c:v>All Others</c:v>
                </c:pt>
                <c:pt idx="1329">
                  <c:v>All Others</c:v>
                </c:pt>
                <c:pt idx="1330">
                  <c:v>All Others</c:v>
                </c:pt>
                <c:pt idx="1331">
                  <c:v>All Others</c:v>
                </c:pt>
                <c:pt idx="1332">
                  <c:v>All Others</c:v>
                </c:pt>
                <c:pt idx="1333">
                  <c:v>All Others</c:v>
                </c:pt>
                <c:pt idx="1334">
                  <c:v>All Others</c:v>
                </c:pt>
                <c:pt idx="1335">
                  <c:v>All Others</c:v>
                </c:pt>
                <c:pt idx="1336">
                  <c:v>All Others</c:v>
                </c:pt>
                <c:pt idx="1337">
                  <c:v>All Others</c:v>
                </c:pt>
                <c:pt idx="1338">
                  <c:v>All Others</c:v>
                </c:pt>
                <c:pt idx="1339">
                  <c:v>All Others</c:v>
                </c:pt>
                <c:pt idx="1340">
                  <c:v>All Others</c:v>
                </c:pt>
                <c:pt idx="1341">
                  <c:v>All Others</c:v>
                </c:pt>
                <c:pt idx="1342">
                  <c:v>All Others</c:v>
                </c:pt>
                <c:pt idx="1343">
                  <c:v>All Others</c:v>
                </c:pt>
                <c:pt idx="1344">
                  <c:v>All Others</c:v>
                </c:pt>
                <c:pt idx="1345">
                  <c:v>All Others</c:v>
                </c:pt>
                <c:pt idx="1346">
                  <c:v>All Others</c:v>
                </c:pt>
                <c:pt idx="1347">
                  <c:v>All Others</c:v>
                </c:pt>
                <c:pt idx="1348">
                  <c:v>All Others</c:v>
                </c:pt>
                <c:pt idx="1349">
                  <c:v>All Others</c:v>
                </c:pt>
                <c:pt idx="1350">
                  <c:v>All Others</c:v>
                </c:pt>
                <c:pt idx="1351">
                  <c:v>All Others</c:v>
                </c:pt>
                <c:pt idx="1352">
                  <c:v>All Others</c:v>
                </c:pt>
                <c:pt idx="1353">
                  <c:v>All Others</c:v>
                </c:pt>
                <c:pt idx="1354">
                  <c:v>All Others</c:v>
                </c:pt>
                <c:pt idx="1355">
                  <c:v>All Others</c:v>
                </c:pt>
                <c:pt idx="1356">
                  <c:v>All Others</c:v>
                </c:pt>
                <c:pt idx="1357">
                  <c:v>All Others</c:v>
                </c:pt>
                <c:pt idx="1358">
                  <c:v>All Others</c:v>
                </c:pt>
                <c:pt idx="1359">
                  <c:v>All Others</c:v>
                </c:pt>
                <c:pt idx="1360">
                  <c:v>Private Lab</c:v>
                </c:pt>
                <c:pt idx="1361">
                  <c:v>All Others</c:v>
                </c:pt>
                <c:pt idx="1362">
                  <c:v>All Others</c:v>
                </c:pt>
                <c:pt idx="1363">
                  <c:v>All Others</c:v>
                </c:pt>
                <c:pt idx="1364">
                  <c:v>All Others</c:v>
                </c:pt>
                <c:pt idx="1365">
                  <c:v>All Others</c:v>
                </c:pt>
                <c:pt idx="1366">
                  <c:v>All Others</c:v>
                </c:pt>
                <c:pt idx="1367">
                  <c:v>All Others</c:v>
                </c:pt>
                <c:pt idx="1368">
                  <c:v>All Others</c:v>
                </c:pt>
                <c:pt idx="1369">
                  <c:v>All Others</c:v>
                </c:pt>
                <c:pt idx="1370">
                  <c:v>All Others</c:v>
                </c:pt>
                <c:pt idx="1371">
                  <c:v>All Others</c:v>
                </c:pt>
                <c:pt idx="1372">
                  <c:v>All Others</c:v>
                </c:pt>
                <c:pt idx="1373">
                  <c:v>All Others</c:v>
                </c:pt>
                <c:pt idx="1374">
                  <c:v>All Others</c:v>
                </c:pt>
                <c:pt idx="1375">
                  <c:v>All Others</c:v>
                </c:pt>
                <c:pt idx="1376">
                  <c:v>Private Lab</c:v>
                </c:pt>
                <c:pt idx="1377">
                  <c:v>All Others</c:v>
                </c:pt>
                <c:pt idx="1378">
                  <c:v>All Others</c:v>
                </c:pt>
                <c:pt idx="1379">
                  <c:v>Private Lab</c:v>
                </c:pt>
                <c:pt idx="1380">
                  <c:v>All Others</c:v>
                </c:pt>
                <c:pt idx="1381">
                  <c:v>All Others</c:v>
                </c:pt>
                <c:pt idx="1382">
                  <c:v>All Others</c:v>
                </c:pt>
                <c:pt idx="1383">
                  <c:v>All Others</c:v>
                </c:pt>
                <c:pt idx="1384">
                  <c:v>All Others</c:v>
                </c:pt>
                <c:pt idx="1385">
                  <c:v>All Others</c:v>
                </c:pt>
                <c:pt idx="1386">
                  <c:v>All Others</c:v>
                </c:pt>
                <c:pt idx="1387">
                  <c:v>All Others</c:v>
                </c:pt>
                <c:pt idx="1388">
                  <c:v>Lactalis: A</c:v>
                </c:pt>
                <c:pt idx="1389">
                  <c:v>All Others</c:v>
                </c:pt>
                <c:pt idx="1390">
                  <c:v>All Others</c:v>
                </c:pt>
                <c:pt idx="1391">
                  <c:v>All Others</c:v>
                </c:pt>
                <c:pt idx="1392">
                  <c:v>All Others</c:v>
                </c:pt>
                <c:pt idx="1393">
                  <c:v>Private Lab</c:v>
                </c:pt>
                <c:pt idx="1394">
                  <c:v>All Others</c:v>
                </c:pt>
                <c:pt idx="1395">
                  <c:v>All Others</c:v>
                </c:pt>
                <c:pt idx="1396">
                  <c:v>All Others</c:v>
                </c:pt>
                <c:pt idx="1397">
                  <c:v>Milleret: A</c:v>
                </c:pt>
                <c:pt idx="1398">
                  <c:v>All Others</c:v>
                </c:pt>
                <c:pt idx="1399">
                  <c:v>All Others</c:v>
                </c:pt>
                <c:pt idx="1400">
                  <c:v>All Others</c:v>
                </c:pt>
                <c:pt idx="1401">
                  <c:v>All Others</c:v>
                </c:pt>
                <c:pt idx="1402">
                  <c:v>All Others</c:v>
                </c:pt>
                <c:pt idx="1403">
                  <c:v>All Others</c:v>
                </c:pt>
                <c:pt idx="1404">
                  <c:v>All Others</c:v>
                </c:pt>
                <c:pt idx="1405">
                  <c:v>All Others</c:v>
                </c:pt>
                <c:pt idx="1406">
                  <c:v>All Others</c:v>
                </c:pt>
                <c:pt idx="1407">
                  <c:v>All Others</c:v>
                </c:pt>
                <c:pt idx="1408">
                  <c:v>All Others</c:v>
                </c:pt>
                <c:pt idx="1409">
                  <c:v>All Others</c:v>
                </c:pt>
                <c:pt idx="1410">
                  <c:v>All Others</c:v>
                </c:pt>
                <c:pt idx="1411">
                  <c:v>All Others</c:v>
                </c:pt>
                <c:pt idx="1412">
                  <c:v>All Others</c:v>
                </c:pt>
                <c:pt idx="1413">
                  <c:v>Private Lab</c:v>
                </c:pt>
                <c:pt idx="1414">
                  <c:v>All Others</c:v>
                </c:pt>
                <c:pt idx="1415">
                  <c:v>All Others</c:v>
                </c:pt>
                <c:pt idx="1416">
                  <c:v>All Others</c:v>
                </c:pt>
                <c:pt idx="1417">
                  <c:v>All Others</c:v>
                </c:pt>
                <c:pt idx="1418">
                  <c:v>All Others</c:v>
                </c:pt>
                <c:pt idx="1419">
                  <c:v>All Others</c:v>
                </c:pt>
                <c:pt idx="1420">
                  <c:v>All Others</c:v>
                </c:pt>
                <c:pt idx="1421">
                  <c:v>All Others</c:v>
                </c:pt>
                <c:pt idx="1422">
                  <c:v>Private Lab</c:v>
                </c:pt>
                <c:pt idx="1423">
                  <c:v>All Others</c:v>
                </c:pt>
                <c:pt idx="1424">
                  <c:v>All Others</c:v>
                </c:pt>
                <c:pt idx="1425">
                  <c:v>All Others</c:v>
                </c:pt>
                <c:pt idx="1426">
                  <c:v>All Others</c:v>
                </c:pt>
                <c:pt idx="1427">
                  <c:v>All Others</c:v>
                </c:pt>
                <c:pt idx="1428">
                  <c:v>All Others</c:v>
                </c:pt>
                <c:pt idx="1429">
                  <c:v>All Others</c:v>
                </c:pt>
                <c:pt idx="1430">
                  <c:v>All Others</c:v>
                </c:pt>
                <c:pt idx="1431">
                  <c:v>All Others</c:v>
                </c:pt>
                <c:pt idx="1432">
                  <c:v>All Others</c:v>
                </c:pt>
                <c:pt idx="1433">
                  <c:v>All Others</c:v>
                </c:pt>
                <c:pt idx="1434">
                  <c:v>Lactalis: A</c:v>
                </c:pt>
                <c:pt idx="1435">
                  <c:v>Private Lab</c:v>
                </c:pt>
                <c:pt idx="1436">
                  <c:v>All Others</c:v>
                </c:pt>
                <c:pt idx="1437">
                  <c:v>All Others</c:v>
                </c:pt>
                <c:pt idx="1438">
                  <c:v>All Others</c:v>
                </c:pt>
                <c:pt idx="1439">
                  <c:v>All Others</c:v>
                </c:pt>
                <c:pt idx="1440">
                  <c:v>All Others</c:v>
                </c:pt>
                <c:pt idx="1441">
                  <c:v>All Others</c:v>
                </c:pt>
                <c:pt idx="1442">
                  <c:v>All Others</c:v>
                </c:pt>
                <c:pt idx="1443">
                  <c:v>All Others</c:v>
                </c:pt>
                <c:pt idx="1444">
                  <c:v>All Others</c:v>
                </c:pt>
                <c:pt idx="1445">
                  <c:v>All Others</c:v>
                </c:pt>
                <c:pt idx="1446">
                  <c:v>All Others</c:v>
                </c:pt>
                <c:pt idx="1447">
                  <c:v>All Others</c:v>
                </c:pt>
                <c:pt idx="1448">
                  <c:v>All Others</c:v>
                </c:pt>
                <c:pt idx="1449">
                  <c:v>All Others</c:v>
                </c:pt>
                <c:pt idx="1450">
                  <c:v>All Others</c:v>
                </c:pt>
                <c:pt idx="1451">
                  <c:v>All Others</c:v>
                </c:pt>
                <c:pt idx="1452">
                  <c:v>All Others</c:v>
                </c:pt>
                <c:pt idx="1453">
                  <c:v>Ficello</c:v>
                </c:pt>
                <c:pt idx="1454">
                  <c:v>Private Lab</c:v>
                </c:pt>
                <c:pt idx="1455">
                  <c:v>Private Lab</c:v>
                </c:pt>
                <c:pt idx="1456">
                  <c:v>All Others</c:v>
                </c:pt>
                <c:pt idx="1457">
                  <c:v>Mini Babybe</c:v>
                </c:pt>
                <c:pt idx="1458">
                  <c:v>All Others</c:v>
                </c:pt>
                <c:pt idx="1459">
                  <c:v>All Others</c:v>
                </c:pt>
                <c:pt idx="1460">
                  <c:v>All Others</c:v>
                </c:pt>
                <c:pt idx="1461">
                  <c:v>All Others</c:v>
                </c:pt>
                <c:pt idx="1462">
                  <c:v>All Others</c:v>
                </c:pt>
                <c:pt idx="1463">
                  <c:v>All Others</c:v>
                </c:pt>
                <c:pt idx="1464">
                  <c:v>All Others</c:v>
                </c:pt>
                <c:pt idx="1465">
                  <c:v>All Others</c:v>
                </c:pt>
                <c:pt idx="1466">
                  <c:v>All Others</c:v>
                </c:pt>
                <c:pt idx="1467">
                  <c:v>All Others</c:v>
                </c:pt>
                <c:pt idx="1468">
                  <c:v>All Others</c:v>
                </c:pt>
                <c:pt idx="1469">
                  <c:v>Private Lab</c:v>
                </c:pt>
                <c:pt idx="1470">
                  <c:v>All Others</c:v>
                </c:pt>
                <c:pt idx="1471">
                  <c:v>All Others</c:v>
                </c:pt>
                <c:pt idx="1472">
                  <c:v>All Others</c:v>
                </c:pt>
                <c:pt idx="1473">
                  <c:v>All Others</c:v>
                </c:pt>
              </c:strCache>
            </c:strRef>
          </c:cat>
          <c:val>
            <c:numRef>
              <c:f>Sheet1!$C$2:$C$1475</c:f>
              <c:numCache>
                <c:formatCode>General</c:formatCode>
                <c:ptCount val="1474"/>
                <c:pt idx="0">
                  <c:v>0.026312377716913544</c:v>
                </c:pt>
                <c:pt idx="1">
                  <c:v>0.05130840333274596</c:v>
                </c:pt>
                <c:pt idx="2">
                  <c:v>0.10716453519510302</c:v>
                </c:pt>
                <c:pt idx="3">
                  <c:v>0.1214543377681139</c:v>
                </c:pt>
                <c:pt idx="4">
                  <c:v>0.13524866227569868</c:v>
                </c:pt>
                <c:pt idx="5">
                  <c:v>0.1487300942875366</c:v>
                </c:pt>
                <c:pt idx="6">
                  <c:v>0.16152776870852237</c:v>
                </c:pt>
                <c:pt idx="7">
                  <c:v>0.1733314979011141</c:v>
                </c:pt>
                <c:pt idx="8">
                  <c:v>0.1842881357996526</c:v>
                </c:pt>
                <c:pt idx="9">
                  <c:v>0.21349758780898098</c:v>
                </c:pt>
                <c:pt idx="10">
                  <c:v>0.22269674943741627</c:v>
                </c:pt>
                <c:pt idx="11">
                  <c:v>0.23162541607634157</c:v>
                </c:pt>
                <c:pt idx="12">
                  <c:v>0.24873940847440634</c:v>
                </c:pt>
                <c:pt idx="13">
                  <c:v>0.25675516254662</c:v>
                </c:pt>
                <c:pt idx="14">
                  <c:v>0.2641866152888274</c:v>
                </c:pt>
                <c:pt idx="15">
                  <c:v>0.2715430196771099</c:v>
                </c:pt>
                <c:pt idx="16">
                  <c:v>0.2784990072482712</c:v>
                </c:pt>
                <c:pt idx="17">
                  <c:v>0.2853890910256763</c:v>
                </c:pt>
                <c:pt idx="18">
                  <c:v>0.2921610626614634</c:v>
                </c:pt>
                <c:pt idx="19">
                  <c:v>0.2988769046690758</c:v>
                </c:pt>
                <c:pt idx="20">
                  <c:v>0.3121971638079397</c:v>
                </c:pt>
                <c:pt idx="21">
                  <c:v>0.3187689209224923</c:v>
                </c:pt>
                <c:pt idx="22">
                  <c:v>0.32513767002383376</c:v>
                </c:pt>
                <c:pt idx="23">
                  <c:v>0.33147066609547804</c:v>
                </c:pt>
                <c:pt idx="24">
                  <c:v>0.3377715278403796</c:v>
                </c:pt>
                <c:pt idx="25">
                  <c:v>0.3499604105033403</c:v>
                </c:pt>
                <c:pt idx="26">
                  <c:v>0.36144813890550215</c:v>
                </c:pt>
                <c:pt idx="27">
                  <c:v>0.37230360899450005</c:v>
                </c:pt>
                <c:pt idx="28">
                  <c:v>0.3774081990609373</c:v>
                </c:pt>
                <c:pt idx="29">
                  <c:v>0.3875215660866161</c:v>
                </c:pt>
                <c:pt idx="30">
                  <c:v>0.3925528071224753</c:v>
                </c:pt>
                <c:pt idx="31">
                  <c:v>0.3975344682602539</c:v>
                </c:pt>
                <c:pt idx="32">
                  <c:v>0.40250486679635405</c:v>
                </c:pt>
                <c:pt idx="33">
                  <c:v>0.41237355265444303</c:v>
                </c:pt>
                <c:pt idx="34">
                  <c:v>0.4172066513655231</c:v>
                </c:pt>
                <c:pt idx="35">
                  <c:v>0.4219835501526784</c:v>
                </c:pt>
                <c:pt idx="36">
                  <c:v>0.43146140080999945</c:v>
                </c:pt>
                <c:pt idx="37">
                  <c:v>0.44088215603666797</c:v>
                </c:pt>
                <c:pt idx="38">
                  <c:v>0.4455190012392069</c:v>
                </c:pt>
                <c:pt idx="39">
                  <c:v>0.4501338591536931</c:v>
                </c:pt>
                <c:pt idx="40">
                  <c:v>0.4546911662433205</c:v>
                </c:pt>
                <c:pt idx="41">
                  <c:v>0.4590522259370807</c:v>
                </c:pt>
                <c:pt idx="42">
                  <c:v>0.46338099237457664</c:v>
                </c:pt>
                <c:pt idx="43">
                  <c:v>0.46762923655866157</c:v>
                </c:pt>
                <c:pt idx="44">
                  <c:v>0.4717715817235999</c:v>
                </c:pt>
                <c:pt idx="45">
                  <c:v>0.4757308125725658</c:v>
                </c:pt>
                <c:pt idx="46">
                  <c:v>0.47965927527740776</c:v>
                </c:pt>
                <c:pt idx="47">
                  <c:v>0.48355404492366016</c:v>
                </c:pt>
                <c:pt idx="48">
                  <c:v>0.49122130323094065</c:v>
                </c:pt>
                <c:pt idx="49">
                  <c:v>0.49502503376832063</c:v>
                </c:pt>
                <c:pt idx="50">
                  <c:v>0.5024860076691744</c:v>
                </c:pt>
                <c:pt idx="51">
                  <c:v>0.5061942918597931</c:v>
                </c:pt>
                <c:pt idx="52">
                  <c:v>0.5098532834480051</c:v>
                </c:pt>
                <c:pt idx="53">
                  <c:v>0.5134580647876498</c:v>
                </c:pt>
                <c:pt idx="54">
                  <c:v>0.5206566491045977</c:v>
                </c:pt>
                <c:pt idx="55">
                  <c:v>0.5242517051800524</c:v>
                </c:pt>
                <c:pt idx="56">
                  <c:v>0.527814843928688</c:v>
                </c:pt>
                <c:pt idx="57">
                  <c:v>0.5313551762909671</c:v>
                </c:pt>
                <c:pt idx="58">
                  <c:v>0.5348736466750085</c:v>
                </c:pt>
                <c:pt idx="59">
                  <c:v>0.5417943366106788</c:v>
                </c:pt>
                <c:pt idx="60">
                  <c:v>0.5451988973164151</c:v>
                </c:pt>
                <c:pt idx="61">
                  <c:v>0.548582736057598</c:v>
                </c:pt>
                <c:pt idx="62">
                  <c:v>0.5519489397345517</c:v>
                </c:pt>
                <c:pt idx="63">
                  <c:v>0.5616395206129372</c:v>
                </c:pt>
                <c:pt idx="64">
                  <c:v>0.5647030827482904</c:v>
                </c:pt>
                <c:pt idx="65">
                  <c:v>0.5677613360263531</c:v>
                </c:pt>
                <c:pt idx="66">
                  <c:v>0.5738610510672489</c:v>
                </c:pt>
                <c:pt idx="67">
                  <c:v>0.5769028398581362</c:v>
                </c:pt>
                <c:pt idx="68">
                  <c:v>0.5798878082886969</c:v>
                </c:pt>
                <c:pt idx="69">
                  <c:v>0.5828594663718195</c:v>
                </c:pt>
                <c:pt idx="70">
                  <c:v>0.5887240299037506</c:v>
                </c:pt>
                <c:pt idx="71">
                  <c:v>0.5915974939931896</c:v>
                </c:pt>
                <c:pt idx="72">
                  <c:v>0.6001587002963773</c:v>
                </c:pt>
                <c:pt idx="73">
                  <c:v>0.6029882601054608</c:v>
                </c:pt>
                <c:pt idx="74">
                  <c:v>0.6057739339722105</c:v>
                </c:pt>
                <c:pt idx="75">
                  <c:v>0.6085439532810776</c:v>
                </c:pt>
                <c:pt idx="76">
                  <c:v>0.6112979390462799</c:v>
                </c:pt>
                <c:pt idx="77">
                  <c:v>0.6140476734467781</c:v>
                </c:pt>
                <c:pt idx="78">
                  <c:v>0.6222285277849527</c:v>
                </c:pt>
                <c:pt idx="79">
                  <c:v>0.6249306047233149</c:v>
                </c:pt>
                <c:pt idx="80">
                  <c:v>0.6276072315438544</c:v>
                </c:pt>
                <c:pt idx="81">
                  <c:v>0.6302737724524432</c:v>
                </c:pt>
                <c:pt idx="82">
                  <c:v>0.6354823146513868</c:v>
                </c:pt>
                <c:pt idx="83">
                  <c:v>0.6380625812804157</c:v>
                </c:pt>
                <c:pt idx="84">
                  <c:v>0.6406356043908618</c:v>
                </c:pt>
                <c:pt idx="85">
                  <c:v>0.6431912736200784</c:v>
                </c:pt>
                <c:pt idx="86">
                  <c:v>0.6457405398233749</c:v>
                </c:pt>
                <c:pt idx="87">
                  <c:v>0.6482323438355843</c:v>
                </c:pt>
                <c:pt idx="88">
                  <c:v>0.6507092879375195</c:v>
                </c:pt>
                <c:pt idx="89">
                  <c:v>0.6531768460286665</c:v>
                </c:pt>
                <c:pt idx="90">
                  <c:v>0.655584276802902</c:v>
                </c:pt>
                <c:pt idx="91">
                  <c:v>0.6579438392277515</c:v>
                </c:pt>
                <c:pt idx="92">
                  <c:v>0.6602586415978979</c:v>
                </c:pt>
                <c:pt idx="93">
                  <c:v>0.6625542226649358</c:v>
                </c:pt>
                <c:pt idx="94">
                  <c:v>0.6670410231173531</c:v>
                </c:pt>
                <c:pt idx="95">
                  <c:v>0.6692646794068339</c:v>
                </c:pt>
                <c:pt idx="96">
                  <c:v>0.6714779930520596</c:v>
                </c:pt>
                <c:pt idx="97">
                  <c:v>0.6736500797681021</c:v>
                </c:pt>
                <c:pt idx="98">
                  <c:v>0.6758182727108641</c:v>
                </c:pt>
                <c:pt idx="99">
                  <c:v>0.6801484175563266</c:v>
                </c:pt>
                <c:pt idx="100">
                  <c:v>0.6823104764308204</c:v>
                </c:pt>
                <c:pt idx="101">
                  <c:v>0.6844458962724163</c:v>
                </c:pt>
                <c:pt idx="102">
                  <c:v>0.6865757596934283</c:v>
                </c:pt>
                <c:pt idx="103">
                  <c:v>0.6886934313863277</c:v>
                </c:pt>
                <c:pt idx="104">
                  <c:v>0.6907870649890776</c:v>
                </c:pt>
                <c:pt idx="105">
                  <c:v>0.6928688155537474</c:v>
                </c:pt>
                <c:pt idx="106">
                  <c:v>0.6949176004680226</c:v>
                </c:pt>
                <c:pt idx="107">
                  <c:v>0.6969656885374723</c:v>
                </c:pt>
                <c:pt idx="108">
                  <c:v>0.6990004479214621</c:v>
                </c:pt>
                <c:pt idx="109">
                  <c:v>0.7010290121104445</c:v>
                </c:pt>
                <c:pt idx="110">
                  <c:v>0.7030288467320519</c:v>
                </c:pt>
                <c:pt idx="111">
                  <c:v>0.7050285804945398</c:v>
                </c:pt>
                <c:pt idx="112">
                  <c:v>0.7069996427600547</c:v>
                </c:pt>
                <c:pt idx="113">
                  <c:v>0.7089534856231663</c:v>
                </c:pt>
                <c:pt idx="114">
                  <c:v>0.710869601062908</c:v>
                </c:pt>
                <c:pt idx="115">
                  <c:v>0.712780957786011</c:v>
                </c:pt>
                <c:pt idx="116">
                  <c:v>0.714689215383442</c:v>
                </c:pt>
                <c:pt idx="117">
                  <c:v>0.7165903211523987</c:v>
                </c:pt>
                <c:pt idx="118">
                  <c:v>0.7184720925337794</c:v>
                </c:pt>
                <c:pt idx="119">
                  <c:v>0.7203441325382961</c:v>
                </c:pt>
                <c:pt idx="120">
                  <c:v>0.7222061233069054</c:v>
                </c:pt>
                <c:pt idx="121">
                  <c:v>0.7240500450114379</c:v>
                </c:pt>
                <c:pt idx="122">
                  <c:v>0.72589237130808</c:v>
                </c:pt>
                <c:pt idx="123">
                  <c:v>0.7277277750015196</c:v>
                </c:pt>
                <c:pt idx="124">
                  <c:v>0.7295481445734786</c:v>
                </c:pt>
                <c:pt idx="125">
                  <c:v>0.7313668728924928</c:v>
                </c:pt>
                <c:pt idx="126">
                  <c:v>0.7331764169189579</c:v>
                </c:pt>
                <c:pt idx="127">
                  <c:v>0.7349747380761249</c:v>
                </c:pt>
                <c:pt idx="128">
                  <c:v>0.7367540365920854</c:v>
                </c:pt>
                <c:pt idx="129">
                  <c:v>0.7385259020965718</c:v>
                </c:pt>
                <c:pt idx="130">
                  <c:v>0.7402907869274534</c:v>
                </c:pt>
                <c:pt idx="131">
                  <c:v>0.7438156358867195</c:v>
                </c:pt>
                <c:pt idx="132">
                  <c:v>0.7455619962593182</c:v>
                </c:pt>
                <c:pt idx="133">
                  <c:v>0.7472931727499255</c:v>
                </c:pt>
                <c:pt idx="134">
                  <c:v>0.7490218858329472</c:v>
                </c:pt>
                <c:pt idx="135">
                  <c:v>0.7507416407923544</c:v>
                </c:pt>
                <c:pt idx="136">
                  <c:v>0.7541677547862959</c:v>
                </c:pt>
                <c:pt idx="137">
                  <c:v>0.7558739548913086</c:v>
                </c:pt>
                <c:pt idx="138">
                  <c:v>0.7575790669403654</c:v>
                </c:pt>
                <c:pt idx="139">
                  <c:v>0.7609154040925968</c:v>
                </c:pt>
                <c:pt idx="140">
                  <c:v>0.7625648327386743</c:v>
                </c:pt>
                <c:pt idx="141">
                  <c:v>0.7658182300749635</c:v>
                </c:pt>
                <c:pt idx="142">
                  <c:v>0.7674026718283712</c:v>
                </c:pt>
                <c:pt idx="143">
                  <c:v>0.768984268132074</c:v>
                </c:pt>
                <c:pt idx="144">
                  <c:v>0.7705443844996585</c:v>
                </c:pt>
                <c:pt idx="145">
                  <c:v>0.7721033364028631</c:v>
                </c:pt>
                <c:pt idx="146">
                  <c:v>0.7736622699680461</c:v>
                </c:pt>
                <c:pt idx="147">
                  <c:v>0.7752001239772519</c:v>
                </c:pt>
                <c:pt idx="148">
                  <c:v>0.7766905589186041</c:v>
                </c:pt>
                <c:pt idx="149">
                  <c:v>0.779654692300144</c:v>
                </c:pt>
                <c:pt idx="150">
                  <c:v>0.781125664487768</c:v>
                </c:pt>
                <c:pt idx="151">
                  <c:v>0.7825928009725138</c:v>
                </c:pt>
                <c:pt idx="152">
                  <c:v>0.7840548486562299</c:v>
                </c:pt>
                <c:pt idx="153">
                  <c:v>0.7855154873686098</c:v>
                </c:pt>
                <c:pt idx="154">
                  <c:v>0.7869678495205161</c:v>
                </c:pt>
                <c:pt idx="155">
                  <c:v>0.7884183534195539</c:v>
                </c:pt>
                <c:pt idx="156">
                  <c:v>0.7912917961146343</c:v>
                </c:pt>
                <c:pt idx="157">
                  <c:v>0.7927243470903996</c:v>
                </c:pt>
                <c:pt idx="158">
                  <c:v>0.7955190463201767</c:v>
                </c:pt>
                <c:pt idx="159">
                  <c:v>0.7982465061369484</c:v>
                </c:pt>
                <c:pt idx="160">
                  <c:v>0.7995778556834666</c:v>
                </c:pt>
                <c:pt idx="161">
                  <c:v>0.8008992813038927</c:v>
                </c:pt>
                <c:pt idx="162">
                  <c:v>0.8022090469988362</c:v>
                </c:pt>
                <c:pt idx="163">
                  <c:v>0.8035162086946943</c:v>
                </c:pt>
                <c:pt idx="164">
                  <c:v>0.8048058453544537</c:v>
                </c:pt>
                <c:pt idx="165">
                  <c:v>0.8060849896094472</c:v>
                </c:pt>
                <c:pt idx="166">
                  <c:v>0.807339035225368</c:v>
                </c:pt>
                <c:pt idx="167">
                  <c:v>0.8085681503007485</c:v>
                </c:pt>
                <c:pt idx="168">
                  <c:v>0.8097955202077278</c:v>
                </c:pt>
                <c:pt idx="169">
                  <c:v>0.811004170050859</c:v>
                </c:pt>
                <c:pt idx="170">
                  <c:v>0.8122071503889391</c:v>
                </c:pt>
                <c:pt idx="171">
                  <c:v>0.8134080646432377</c:v>
                </c:pt>
                <c:pt idx="172">
                  <c:v>0.8146082820527106</c:v>
                </c:pt>
                <c:pt idx="173">
                  <c:v>0.8158015585209593</c:v>
                </c:pt>
                <c:pt idx="174">
                  <c:v>0.8169901679626779</c:v>
                </c:pt>
                <c:pt idx="175">
                  <c:v>0.8181747705466488</c:v>
                </c:pt>
                <c:pt idx="176">
                  <c:v>0.8193381132507621</c:v>
                </c:pt>
                <c:pt idx="177">
                  <c:v>0.8204952760415529</c:v>
                </c:pt>
                <c:pt idx="178">
                  <c:v>0.821640992850448</c:v>
                </c:pt>
                <c:pt idx="179">
                  <c:v>0.8227811532387593</c:v>
                </c:pt>
                <c:pt idx="180">
                  <c:v>0.8239119337289563</c:v>
                </c:pt>
                <c:pt idx="181">
                  <c:v>0.8250420265433385</c:v>
                </c:pt>
                <c:pt idx="182">
                  <c:v>0.8261625285723565</c:v>
                </c:pt>
                <c:pt idx="183">
                  <c:v>0.8272667831141228</c:v>
                </c:pt>
                <c:pt idx="184">
                  <c:v>0.8283650288974361</c:v>
                </c:pt>
                <c:pt idx="185">
                  <c:v>0.8294450772505205</c:v>
                </c:pt>
                <c:pt idx="186">
                  <c:v>0.8305209384219769</c:v>
                </c:pt>
                <c:pt idx="187">
                  <c:v>0.8315954089601189</c:v>
                </c:pt>
                <c:pt idx="188">
                  <c:v>0.8337368375601678</c:v>
                </c:pt>
                <c:pt idx="189">
                  <c:v>0.8348058036354542</c:v>
                </c:pt>
                <c:pt idx="190">
                  <c:v>0.8358718142329052</c:v>
                </c:pt>
                <c:pt idx="191">
                  <c:v>0.836935749577564</c:v>
                </c:pt>
                <c:pt idx="192">
                  <c:v>0.8379988352605493</c:v>
                </c:pt>
                <c:pt idx="193">
                  <c:v>0.8390531003550831</c:v>
                </c:pt>
                <c:pt idx="194">
                  <c:v>0.8401073409989213</c:v>
                </c:pt>
                <c:pt idx="195">
                  <c:v>0.8411548821521545</c:v>
                </c:pt>
                <c:pt idx="196">
                  <c:v>0.8432419476867885</c:v>
                </c:pt>
                <c:pt idx="197">
                  <c:v>0.8442642434967752</c:v>
                </c:pt>
                <c:pt idx="198">
                  <c:v>0.8452859708280883</c:v>
                </c:pt>
                <c:pt idx="199">
                  <c:v>0.8463064725682825</c:v>
                </c:pt>
                <c:pt idx="200">
                  <c:v>0.8473225792959357</c:v>
                </c:pt>
                <c:pt idx="201">
                  <c:v>0.848330767054539</c:v>
                </c:pt>
                <c:pt idx="202">
                  <c:v>0.8493374969404149</c:v>
                </c:pt>
                <c:pt idx="203">
                  <c:v>0.8503435911082042</c:v>
                </c:pt>
                <c:pt idx="204">
                  <c:v>0.8513354519147951</c:v>
                </c:pt>
                <c:pt idx="205">
                  <c:v>0.8533079965037332</c:v>
                </c:pt>
                <c:pt idx="206">
                  <c:v>0.8542914646090463</c:v>
                </c:pt>
                <c:pt idx="207">
                  <c:v>0.8562214252551932</c:v>
                </c:pt>
                <c:pt idx="208">
                  <c:v>0.8571761974128377</c:v>
                </c:pt>
                <c:pt idx="209">
                  <c:v>0.8581241692207577</c:v>
                </c:pt>
                <c:pt idx="210">
                  <c:v>0.8590699343533964</c:v>
                </c:pt>
                <c:pt idx="211">
                  <c:v>0.8600050664897694</c:v>
                </c:pt>
                <c:pt idx="212">
                  <c:v>0.8609271664053672</c:v>
                </c:pt>
                <c:pt idx="213">
                  <c:v>0.861837364944863</c:v>
                </c:pt>
                <c:pt idx="214">
                  <c:v>0.86274686969587</c:v>
                </c:pt>
                <c:pt idx="215">
                  <c:v>0.8636546567855085</c:v>
                </c:pt>
                <c:pt idx="216">
                  <c:v>0.8645587793271381</c:v>
                </c:pt>
                <c:pt idx="217">
                  <c:v>0.8654626115167571</c:v>
                </c:pt>
                <c:pt idx="218">
                  <c:v>0.8663589067794455</c:v>
                </c:pt>
                <c:pt idx="219">
                  <c:v>0.8672438569193577</c:v>
                </c:pt>
                <c:pt idx="220">
                  <c:v>0.8681054444195875</c:v>
                </c:pt>
                <c:pt idx="221">
                  <c:v>0.8689487550248276</c:v>
                </c:pt>
                <c:pt idx="222">
                  <c:v>0.8697888839832978</c:v>
                </c:pt>
                <c:pt idx="223">
                  <c:v>0.870628808167192</c:v>
                </c:pt>
                <c:pt idx="224">
                  <c:v>0.8714668221404895</c:v>
                </c:pt>
                <c:pt idx="225">
                  <c:v>0.8731276509234083</c:v>
                </c:pt>
                <c:pt idx="226">
                  <c:v>0.8739471679454553</c:v>
                </c:pt>
                <c:pt idx="227">
                  <c:v>0.8747540164508248</c:v>
                </c:pt>
                <c:pt idx="228">
                  <c:v>0.8755582915204784</c:v>
                </c:pt>
                <c:pt idx="229">
                  <c:v>0.8763623068014907</c:v>
                </c:pt>
                <c:pt idx="230">
                  <c:v>0.8771622296473206</c:v>
                </c:pt>
                <c:pt idx="231">
                  <c:v>0.8779608932823252</c:v>
                </c:pt>
                <c:pt idx="232">
                  <c:v>0.8787515126384647</c:v>
                </c:pt>
                <c:pt idx="233">
                  <c:v>0.8795329843780986</c:v>
                </c:pt>
                <c:pt idx="234">
                  <c:v>0.8802984103487197</c:v>
                </c:pt>
                <c:pt idx="235">
                  <c:v>0.8810610183766685</c:v>
                </c:pt>
                <c:pt idx="236">
                  <c:v>0.8818159733368826</c:v>
                </c:pt>
                <c:pt idx="237">
                  <c:v>0.8825680431150112</c:v>
                </c:pt>
                <c:pt idx="238">
                  <c:v>0.8833108094034496</c:v>
                </c:pt>
                <c:pt idx="239">
                  <c:v>0.8840522492416496</c:v>
                </c:pt>
                <c:pt idx="240">
                  <c:v>0.8847936524038061</c:v>
                </c:pt>
                <c:pt idx="241">
                  <c:v>0.8855290193004769</c:v>
                </c:pt>
                <c:pt idx="242">
                  <c:v>0.8862632064510831</c:v>
                </c:pt>
                <c:pt idx="243">
                  <c:v>0.8869948109969625</c:v>
                </c:pt>
                <c:pt idx="244">
                  <c:v>0.8877090524926018</c:v>
                </c:pt>
                <c:pt idx="245">
                  <c:v>0.8884200970597863</c:v>
                </c:pt>
                <c:pt idx="246">
                  <c:v>0.8898238145527202</c:v>
                </c:pt>
                <c:pt idx="247">
                  <c:v>0.8905184954918488</c:v>
                </c:pt>
                <c:pt idx="248">
                  <c:v>0.8912097502772511</c:v>
                </c:pt>
                <c:pt idx="249">
                  <c:v>0.8925803554156169</c:v>
                </c:pt>
                <c:pt idx="250">
                  <c:v>0.8932625664999699</c:v>
                </c:pt>
                <c:pt idx="251">
                  <c:v>0.8939445453027144</c:v>
                </c:pt>
                <c:pt idx="252">
                  <c:v>0.8946165146019319</c:v>
                </c:pt>
                <c:pt idx="253">
                  <c:v>0.8952833859311089</c:v>
                </c:pt>
                <c:pt idx="254">
                  <c:v>0.8959347157868708</c:v>
                </c:pt>
                <c:pt idx="255">
                  <c:v>0.8965847680937855</c:v>
                </c:pt>
                <c:pt idx="256">
                  <c:v>0.8978750129645988</c:v>
                </c:pt>
                <c:pt idx="257">
                  <c:v>0.8985193988227994</c:v>
                </c:pt>
                <c:pt idx="258">
                  <c:v>0.8991609056115886</c:v>
                </c:pt>
                <c:pt idx="259">
                  <c:v>0.8997987509087059</c:v>
                </c:pt>
                <c:pt idx="260">
                  <c:v>0.900433160883086</c:v>
                </c:pt>
                <c:pt idx="261">
                  <c:v>0.901057234325885</c:v>
                </c:pt>
                <c:pt idx="262">
                  <c:v>0.9016770380659582</c:v>
                </c:pt>
                <c:pt idx="263">
                  <c:v>0.9022918049627299</c:v>
                </c:pt>
                <c:pt idx="264">
                  <c:v>0.902899982397027</c:v>
                </c:pt>
                <c:pt idx="265">
                  <c:v>0.903507087057053</c:v>
                </c:pt>
                <c:pt idx="266">
                  <c:v>0.9041127369006885</c:v>
                </c:pt>
                <c:pt idx="267">
                  <c:v>0.904706494537233</c:v>
                </c:pt>
                <c:pt idx="268">
                  <c:v>0.9052999098640384</c:v>
                </c:pt>
                <c:pt idx="269">
                  <c:v>0.9058846268558706</c:v>
                </c:pt>
                <c:pt idx="270">
                  <c:v>0.907611998206969</c:v>
                </c:pt>
                <c:pt idx="271">
                  <c:v>0.9081727351790538</c:v>
                </c:pt>
                <c:pt idx="272">
                  <c:v>0.9087233556758183</c:v>
                </c:pt>
                <c:pt idx="273">
                  <c:v>0.9092721943281381</c:v>
                </c:pt>
                <c:pt idx="274">
                  <c:v>0.9098152045458852</c:v>
                </c:pt>
                <c:pt idx="275">
                  <c:v>0.9103569708344916</c:v>
                </c:pt>
                <c:pt idx="276">
                  <c:v>0.9108954637862194</c:v>
                </c:pt>
                <c:pt idx="277">
                  <c:v>0.9114229203052036</c:v>
                </c:pt>
                <c:pt idx="278">
                  <c:v>0.9119481670925693</c:v>
                </c:pt>
                <c:pt idx="279">
                  <c:v>0.9124729829364245</c:v>
                </c:pt>
                <c:pt idx="280">
                  <c:v>0.9129870679812314</c:v>
                </c:pt>
                <c:pt idx="281">
                  <c:v>0.9134975709991273</c:v>
                </c:pt>
                <c:pt idx="282">
                  <c:v>0.9140056167221116</c:v>
                </c:pt>
                <c:pt idx="283">
                  <c:v>0.9145080846301533</c:v>
                </c:pt>
                <c:pt idx="284">
                  <c:v>0.915006160581991</c:v>
                </c:pt>
                <c:pt idx="285">
                  <c:v>0.9155024088443298</c:v>
                </c:pt>
                <c:pt idx="286">
                  <c:v>0.9159954846289095</c:v>
                </c:pt>
                <c:pt idx="287">
                  <c:v>0.916487955258772</c:v>
                </c:pt>
                <c:pt idx="288">
                  <c:v>0.9169778677346034</c:v>
                </c:pt>
                <c:pt idx="289">
                  <c:v>0.9174675876612067</c:v>
                </c:pt>
                <c:pt idx="290">
                  <c:v>0.9179544499127573</c:v>
                </c:pt>
                <c:pt idx="291">
                  <c:v>0.9184392399678525</c:v>
                </c:pt>
                <c:pt idx="292">
                  <c:v>0.9189228747275788</c:v>
                </c:pt>
                <c:pt idx="293">
                  <c:v>0.919405910445262</c:v>
                </c:pt>
                <c:pt idx="294">
                  <c:v>0.9198881545716738</c:v>
                </c:pt>
                <c:pt idx="295">
                  <c:v>0.9203690753041843</c:v>
                </c:pt>
                <c:pt idx="296">
                  <c:v>0.9213245504193284</c:v>
                </c:pt>
                <c:pt idx="297">
                  <c:v>0.9217959781692572</c:v>
                </c:pt>
                <c:pt idx="298">
                  <c:v>0.9222671277925232</c:v>
                </c:pt>
                <c:pt idx="299">
                  <c:v>0.9227322992207055</c:v>
                </c:pt>
                <c:pt idx="300">
                  <c:v>0.9231949522272372</c:v>
                </c:pt>
                <c:pt idx="301">
                  <c:v>0.9236445669003197</c:v>
                </c:pt>
                <c:pt idx="302">
                  <c:v>0.924093924841098</c:v>
                </c:pt>
                <c:pt idx="303">
                  <c:v>0.9245428059933113</c:v>
                </c:pt>
                <c:pt idx="304">
                  <c:v>0.9249884565973634</c:v>
                </c:pt>
                <c:pt idx="305">
                  <c:v>0.9254308766532543</c:v>
                </c:pt>
                <c:pt idx="306">
                  <c:v>0.9258724164841022</c:v>
                </c:pt>
                <c:pt idx="307">
                  <c:v>0.9263086199506271</c:v>
                </c:pt>
                <c:pt idx="308">
                  <c:v>0.9267444291496848</c:v>
                </c:pt>
                <c:pt idx="309">
                  <c:v>0.9271796087433298</c:v>
                </c:pt>
                <c:pt idx="310">
                  <c:v>0.9276131593093779</c:v>
                </c:pt>
                <c:pt idx="311">
                  <c:v>0.9284781362872906</c:v>
                </c:pt>
                <c:pt idx="312">
                  <c:v>0.9289047275740927</c:v>
                </c:pt>
                <c:pt idx="313">
                  <c:v>0.9293285253689181</c:v>
                </c:pt>
                <c:pt idx="314">
                  <c:v>0.9297521581215479</c:v>
                </c:pt>
                <c:pt idx="315">
                  <c:v>0.9301737309030702</c:v>
                </c:pt>
                <c:pt idx="316">
                  <c:v>0.9305951600367556</c:v>
                </c:pt>
                <c:pt idx="317">
                  <c:v>0.9310143702698118</c:v>
                </c:pt>
                <c:pt idx="318">
                  <c:v>0.9314334613057268</c:v>
                </c:pt>
                <c:pt idx="319">
                  <c:v>0.9318518127080987</c:v>
                </c:pt>
                <c:pt idx="320">
                  <c:v>0.9322682691815587</c:v>
                </c:pt>
                <c:pt idx="321">
                  <c:v>0.932684701204323</c:v>
                </c:pt>
                <c:pt idx="322">
                  <c:v>0.9330922881879402</c:v>
                </c:pt>
                <c:pt idx="323">
                  <c:v>0.933498955214134</c:v>
                </c:pt>
                <c:pt idx="324">
                  <c:v>0.933903644790318</c:v>
                </c:pt>
                <c:pt idx="325">
                  <c:v>0.9343026067910487</c:v>
                </c:pt>
                <c:pt idx="326">
                  <c:v>0.934699093158846</c:v>
                </c:pt>
                <c:pt idx="327">
                  <c:v>0.9350932475415469</c:v>
                </c:pt>
                <c:pt idx="328">
                  <c:v>0.9354870657271827</c:v>
                </c:pt>
                <c:pt idx="329">
                  <c:v>0.9358795207865367</c:v>
                </c:pt>
                <c:pt idx="330">
                  <c:v>0.9362707166350653</c:v>
                </c:pt>
                <c:pt idx="331">
                  <c:v>0.936658999794476</c:v>
                </c:pt>
                <c:pt idx="332">
                  <c:v>0.937046387447159</c:v>
                </c:pt>
                <c:pt idx="333">
                  <c:v>0.9374323997482122</c:v>
                </c:pt>
                <c:pt idx="334">
                  <c:v>0.937818042232494</c:v>
                </c:pt>
                <c:pt idx="335">
                  <c:v>0.9381995800562455</c:v>
                </c:pt>
                <c:pt idx="336">
                  <c:v>0.9385786728104332</c:v>
                </c:pt>
                <c:pt idx="337">
                  <c:v>0.9389574629872622</c:v>
                </c:pt>
                <c:pt idx="338">
                  <c:v>0.9393342726577446</c:v>
                </c:pt>
                <c:pt idx="339">
                  <c:v>0.9397087350614457</c:v>
                </c:pt>
                <c:pt idx="340">
                  <c:v>0.9400816540149847</c:v>
                </c:pt>
                <c:pt idx="341">
                  <c:v>0.9408187355166872</c:v>
                </c:pt>
                <c:pt idx="342">
                  <c:v>0.9411867673874355</c:v>
                </c:pt>
                <c:pt idx="343">
                  <c:v>0.941554102413358</c:v>
                </c:pt>
                <c:pt idx="344">
                  <c:v>0.9419206978057375</c:v>
                </c:pt>
                <c:pt idx="345">
                  <c:v>0.9422862815505849</c:v>
                </c:pt>
                <c:pt idx="346">
                  <c:v>0.9426495791553902</c:v>
                </c:pt>
                <c:pt idx="347">
                  <c:v>0.9430067518609381</c:v>
                </c:pt>
                <c:pt idx="348">
                  <c:v>0.9433595815116732</c:v>
                </c:pt>
                <c:pt idx="349">
                  <c:v>0.9437103603603116</c:v>
                </c:pt>
                <c:pt idx="350">
                  <c:v>0.9440606777020699</c:v>
                </c:pt>
                <c:pt idx="351">
                  <c:v>0.9444099864526331</c:v>
                </c:pt>
                <c:pt idx="352">
                  <c:v>0.9447571527109909</c:v>
                </c:pt>
                <c:pt idx="353">
                  <c:v>0.945103090321893</c:v>
                </c:pt>
                <c:pt idx="354">
                  <c:v>0.9454425515547878</c:v>
                </c:pt>
                <c:pt idx="355">
                  <c:v>0.9457795463237602</c:v>
                </c:pt>
                <c:pt idx="356">
                  <c:v>0.9461115959395396</c:v>
                </c:pt>
                <c:pt idx="357">
                  <c:v>0.9464413471899291</c:v>
                </c:pt>
                <c:pt idx="358">
                  <c:v>0.9474221685074392</c:v>
                </c:pt>
                <c:pt idx="359">
                  <c:v>0.9477472160552552</c:v>
                </c:pt>
                <c:pt idx="360">
                  <c:v>0.9480617222969142</c:v>
                </c:pt>
                <c:pt idx="361">
                  <c:v>0.9486841728247902</c:v>
                </c:pt>
                <c:pt idx="362">
                  <c:v>0.9489902649708126</c:v>
                </c:pt>
                <c:pt idx="363">
                  <c:v>0.949294263526021</c:v>
                </c:pt>
                <c:pt idx="364">
                  <c:v>0.9495948267584922</c:v>
                </c:pt>
                <c:pt idx="365">
                  <c:v>0.9498916673725525</c:v>
                </c:pt>
                <c:pt idx="366">
                  <c:v>0.9501860568043751</c:v>
                </c:pt>
                <c:pt idx="367">
                  <c:v>0.9504783832087531</c:v>
                </c:pt>
                <c:pt idx="368">
                  <c:v>0.9507702114302076</c:v>
                </c:pt>
                <c:pt idx="369">
                  <c:v>0.951062039651662</c:v>
                </c:pt>
                <c:pt idx="370">
                  <c:v>0.9513504080996836</c:v>
                </c:pt>
                <c:pt idx="371">
                  <c:v>0.9516375845762929</c:v>
                </c:pt>
                <c:pt idx="372">
                  <c:v>0.9519196447448398</c:v>
                </c:pt>
                <c:pt idx="373">
                  <c:v>0.9522003509561158</c:v>
                </c:pt>
                <c:pt idx="374">
                  <c:v>0.9524756810706883</c:v>
                </c:pt>
                <c:pt idx="375">
                  <c:v>0.9527460965954374</c:v>
                </c:pt>
                <c:pt idx="376">
                  <c:v>0.9530121660090368</c:v>
                </c:pt>
                <c:pt idx="377">
                  <c:v>0.953278055098756</c:v>
                </c:pt>
                <c:pt idx="378">
                  <c:v>0.9535431312028451</c:v>
                </c:pt>
                <c:pt idx="379">
                  <c:v>0.9538074187719998</c:v>
                </c:pt>
                <c:pt idx="380">
                  <c:v>0.9540694721588406</c:v>
                </c:pt>
                <c:pt idx="381">
                  <c:v>0.9543284569833789</c:v>
                </c:pt>
                <c:pt idx="382">
                  <c:v>0.9545865738082219</c:v>
                </c:pt>
                <c:pt idx="383">
                  <c:v>0.954843743168609</c:v>
                </c:pt>
                <c:pt idx="384">
                  <c:v>0.9551000873180182</c:v>
                </c:pt>
                <c:pt idx="385">
                  <c:v>0.9553538855387441</c:v>
                </c:pt>
                <c:pt idx="386">
                  <c:v>0.9556072680976442</c:v>
                </c:pt>
                <c:pt idx="387">
                  <c:v>0.9558606292621856</c:v>
                </c:pt>
                <c:pt idx="388">
                  <c:v>0.9561112519488155</c:v>
                </c:pt>
                <c:pt idx="389">
                  <c:v>0.9563618043396954</c:v>
                </c:pt>
                <c:pt idx="390">
                  <c:v>0.9566122405897711</c:v>
                </c:pt>
                <c:pt idx="391">
                  <c:v>0.9568604059814894</c:v>
                </c:pt>
                <c:pt idx="392">
                  <c:v>0.9571065358527957</c:v>
                </c:pt>
                <c:pt idx="393">
                  <c:v>0.9573520055553199</c:v>
                </c:pt>
                <c:pt idx="394">
                  <c:v>0.9575972460325723</c:v>
                </c:pt>
                <c:pt idx="395">
                  <c:v>0.9578413342707929</c:v>
                </c:pt>
                <c:pt idx="396">
                  <c:v>0.9580852605231548</c:v>
                </c:pt>
                <c:pt idx="397">
                  <c:v>0.9585720555352923</c:v>
                </c:pt>
                <c:pt idx="398">
                  <c:v>0.9588131882956776</c:v>
                </c:pt>
                <c:pt idx="399">
                  <c:v>0.9590499046491633</c:v>
                </c:pt>
                <c:pt idx="400">
                  <c:v>0.9592826997223359</c:v>
                </c:pt>
                <c:pt idx="401">
                  <c:v>0.9595130375005969</c:v>
                </c:pt>
                <c:pt idx="402">
                  <c:v>0.9597413611528046</c:v>
                </c:pt>
                <c:pt idx="403">
                  <c:v>0.9599670960876117</c:v>
                </c:pt>
                <c:pt idx="404">
                  <c:v>0.9601899977980616</c:v>
                </c:pt>
                <c:pt idx="405">
                  <c:v>0.96041171670611</c:v>
                </c:pt>
                <c:pt idx="406">
                  <c:v>0.9606299299956713</c:v>
                </c:pt>
                <c:pt idx="407">
                  <c:v>0.9608465692717009</c:v>
                </c:pt>
                <c:pt idx="408">
                  <c:v>0.9610626675760895</c:v>
                </c:pt>
                <c:pt idx="409">
                  <c:v>0.9612776319794678</c:v>
                </c:pt>
                <c:pt idx="410">
                  <c:v>0.9614913921860859</c:v>
                </c:pt>
                <c:pt idx="411">
                  <c:v>0.9617045166746175</c:v>
                </c:pt>
                <c:pt idx="412">
                  <c:v>0.9619142272347706</c:v>
                </c:pt>
                <c:pt idx="413">
                  <c:v>0.9621239347385867</c:v>
                </c:pt>
                <c:pt idx="414">
                  <c:v>0.9623317473134908</c:v>
                </c:pt>
                <c:pt idx="415">
                  <c:v>0.9625377383115699</c:v>
                </c:pt>
                <c:pt idx="416">
                  <c:v>0.9627422561552367</c:v>
                </c:pt>
                <c:pt idx="417">
                  <c:v>0.9629422231131779</c:v>
                </c:pt>
                <c:pt idx="418">
                  <c:v>0.9631421014373474</c:v>
                </c:pt>
                <c:pt idx="419">
                  <c:v>0.9633407694520828</c:v>
                </c:pt>
                <c:pt idx="420">
                  <c:v>0.9635389026078511</c:v>
                </c:pt>
                <c:pt idx="421">
                  <c:v>0.9637358682429027</c:v>
                </c:pt>
                <c:pt idx="422">
                  <c:v>0.9639317366529875</c:v>
                </c:pt>
                <c:pt idx="423">
                  <c:v>0.9641274461335506</c:v>
                </c:pt>
                <c:pt idx="424">
                  <c:v>0.9643218750089297</c:v>
                </c:pt>
                <c:pt idx="425">
                  <c:v>0.9645149682650596</c:v>
                </c:pt>
                <c:pt idx="426">
                  <c:v>0.9647061849302991</c:v>
                </c:pt>
                <c:pt idx="427">
                  <c:v>0.9648971632012563</c:v>
                </c:pt>
                <c:pt idx="428">
                  <c:v>0.9650873162612357</c:v>
                </c:pt>
                <c:pt idx="429">
                  <c:v>0.9652758097302485</c:v>
                </c:pt>
                <c:pt idx="430">
                  <c:v>0.9654634351995662</c:v>
                </c:pt>
                <c:pt idx="431">
                  <c:v>0.9656497556130043</c:v>
                </c:pt>
                <c:pt idx="432">
                  <c:v>0.9658351652380298</c:v>
                </c:pt>
                <c:pt idx="433">
                  <c:v>0.9660200491730991</c:v>
                </c:pt>
                <c:pt idx="434">
                  <c:v>0.9662041354042232</c:v>
                </c:pt>
                <c:pt idx="435">
                  <c:v>0.9663879404523474</c:v>
                </c:pt>
                <c:pt idx="436">
                  <c:v>0.9665717393877977</c:v>
                </c:pt>
                <c:pt idx="437">
                  <c:v>0.9667550462529984</c:v>
                </c:pt>
                <c:pt idx="438">
                  <c:v>0.9669365712737543</c:v>
                </c:pt>
                <c:pt idx="439">
                  <c:v>0.9671167881822936</c:v>
                </c:pt>
                <c:pt idx="440">
                  <c:v>0.9672952874294644</c:v>
                </c:pt>
                <c:pt idx="441">
                  <c:v>0.9674735299443309</c:v>
                </c:pt>
                <c:pt idx="442">
                  <c:v>0.9676496788683834</c:v>
                </c:pt>
                <c:pt idx="443">
                  <c:v>0.9678244463281322</c:v>
                </c:pt>
                <c:pt idx="444">
                  <c:v>0.9679991862808486</c:v>
                </c:pt>
                <c:pt idx="445">
                  <c:v>0.9681738987265324</c:v>
                </c:pt>
                <c:pt idx="446">
                  <c:v>0.9685210772102381</c:v>
                </c:pt>
                <c:pt idx="447">
                  <c:v>0.9686932681779341</c:v>
                </c:pt>
                <c:pt idx="448">
                  <c:v>0.9688651382302499</c:v>
                </c:pt>
                <c:pt idx="449">
                  <c:v>0.9690369013107722</c:v>
                </c:pt>
                <c:pt idx="450">
                  <c:v>0.9692083526449252</c:v>
                </c:pt>
                <c:pt idx="451">
                  <c:v>0.9693791713173285</c:v>
                </c:pt>
                <c:pt idx="452">
                  <c:v>0.9695497821588189</c:v>
                </c:pt>
                <c:pt idx="453">
                  <c:v>0.9697200659722551</c:v>
                </c:pt>
                <c:pt idx="454">
                  <c:v>0.9698891058565507</c:v>
                </c:pt>
                <c:pt idx="455">
                  <c:v>0.9700572716284773</c:v>
                </c:pt>
                <c:pt idx="456">
                  <c:v>0.970220972092113</c:v>
                </c:pt>
                <c:pt idx="457">
                  <c:v>0.9703840337813251</c:v>
                </c:pt>
                <c:pt idx="458">
                  <c:v>0.9705470190621133</c:v>
                </c:pt>
                <c:pt idx="459">
                  <c:v>0.9707094664275975</c:v>
                </c:pt>
                <c:pt idx="460">
                  <c:v>0.9708705017654086</c:v>
                </c:pt>
                <c:pt idx="461">
                  <c:v>0.97103150653985</c:v>
                </c:pt>
                <c:pt idx="462">
                  <c:v>0.9711918847652158</c:v>
                </c:pt>
                <c:pt idx="463">
                  <c:v>0.9713522507652337</c:v>
                </c:pt>
                <c:pt idx="464">
                  <c:v>0.9715113361600676</c:v>
                </c:pt>
                <c:pt idx="465">
                  <c:v>0.9716679948233593</c:v>
                </c:pt>
                <c:pt idx="466">
                  <c:v>0.971822297050859</c:v>
                </c:pt>
                <c:pt idx="467">
                  <c:v>0.9719747685325227</c:v>
                </c:pt>
                <c:pt idx="468">
                  <c:v>0.9721268854790996</c:v>
                </c:pt>
                <c:pt idx="469">
                  <c:v>0.9722781527640032</c:v>
                </c:pt>
                <c:pt idx="470">
                  <c:v>0.972428927978657</c:v>
                </c:pt>
                <c:pt idx="471">
                  <c:v>0.9725787648978657</c:v>
                </c:pt>
                <c:pt idx="472">
                  <c:v>0.9728712930204827</c:v>
                </c:pt>
                <c:pt idx="473">
                  <c:v>0.9730173156311718</c:v>
                </c:pt>
                <c:pt idx="474">
                  <c:v>0.9731633137911653</c:v>
                </c:pt>
                <c:pt idx="475">
                  <c:v>0.973307603458801</c:v>
                </c:pt>
                <c:pt idx="476">
                  <c:v>0.9734504780424267</c:v>
                </c:pt>
                <c:pt idx="477">
                  <c:v>0.9735902351623584</c:v>
                </c:pt>
                <c:pt idx="478">
                  <c:v>0.9740066824668075</c:v>
                </c:pt>
                <c:pt idx="479">
                  <c:v>0.9741433435174042</c:v>
                </c:pt>
                <c:pt idx="480">
                  <c:v>0.9742799464975986</c:v>
                </c:pt>
                <c:pt idx="481">
                  <c:v>0.9744158893090108</c:v>
                </c:pt>
                <c:pt idx="482">
                  <c:v>0.9745515906698036</c:v>
                </c:pt>
                <c:pt idx="483">
                  <c:v>0.9746870719743356</c:v>
                </c:pt>
                <c:pt idx="484">
                  <c:v>0.9748223057155743</c:v>
                </c:pt>
                <c:pt idx="485">
                  <c:v>0.9749567570345525</c:v>
                </c:pt>
                <c:pt idx="486">
                  <c:v>0.9750886410304888</c:v>
                </c:pt>
                <c:pt idx="487">
                  <c:v>0.9752202132800556</c:v>
                </c:pt>
                <c:pt idx="488">
                  <c:v>0.9753513545861118</c:v>
                </c:pt>
                <c:pt idx="489">
                  <c:v>0.9754819121318097</c:v>
                </c:pt>
                <c:pt idx="490">
                  <c:v>0.9756114794243341</c:v>
                </c:pt>
                <c:pt idx="491">
                  <c:v>0.9757405607592828</c:v>
                </c:pt>
                <c:pt idx="492">
                  <c:v>0.9758664146024073</c:v>
                </c:pt>
                <c:pt idx="493">
                  <c:v>0.9759918588963797</c:v>
                </c:pt>
                <c:pt idx="494">
                  <c:v>0.9761169608806133</c:v>
                </c:pt>
                <c:pt idx="495">
                  <c:v>0.9763660615114397</c:v>
                </c:pt>
                <c:pt idx="496">
                  <c:v>0.9764900448763477</c:v>
                </c:pt>
                <c:pt idx="497">
                  <c:v>0.976613817354006</c:v>
                </c:pt>
                <c:pt idx="498">
                  <c:v>0.9767358049308826</c:v>
                </c:pt>
                <c:pt idx="499">
                  <c:v>0.9768566708320968</c:v>
                </c:pt>
                <c:pt idx="500">
                  <c:v>0.9769770477193983</c:v>
                </c:pt>
                <c:pt idx="501">
                  <c:v>0.9770972931842107</c:v>
                </c:pt>
                <c:pt idx="502">
                  <c:v>0.9772150721851005</c:v>
                </c:pt>
                <c:pt idx="503">
                  <c:v>0.9773309440317306</c:v>
                </c:pt>
                <c:pt idx="504">
                  <c:v>0.9774464919066435</c:v>
                </c:pt>
                <c:pt idx="505">
                  <c:v>0.977561587443687</c:v>
                </c:pt>
                <c:pt idx="506">
                  <c:v>0.9776764201357525</c:v>
                </c:pt>
                <c:pt idx="507">
                  <c:v>0.9777910694476006</c:v>
                </c:pt>
                <c:pt idx="508">
                  <c:v>0.9779048813231231</c:v>
                </c:pt>
                <c:pt idx="509">
                  <c:v>0.9780183508889068</c:v>
                </c:pt>
                <c:pt idx="510">
                  <c:v>0.9781312733703754</c:v>
                </c:pt>
                <c:pt idx="511">
                  <c:v>0.9783530442361521</c:v>
                </c:pt>
                <c:pt idx="512">
                  <c:v>0.9784618590007536</c:v>
                </c:pt>
                <c:pt idx="513">
                  <c:v>0.9785704353710726</c:v>
                </c:pt>
                <c:pt idx="514">
                  <c:v>0.9786781406853594</c:v>
                </c:pt>
                <c:pt idx="515">
                  <c:v>0.9787857818165703</c:v>
                </c:pt>
                <c:pt idx="516">
                  <c:v>0.978893291525292</c:v>
                </c:pt>
                <c:pt idx="517">
                  <c:v>0.9790003061074272</c:v>
                </c:pt>
                <c:pt idx="518">
                  <c:v>0.9791067766615843</c:v>
                </c:pt>
                <c:pt idx="519">
                  <c:v>0.979213213596035</c:v>
                </c:pt>
                <c:pt idx="520">
                  <c:v>0.9793195160516596</c:v>
                </c:pt>
                <c:pt idx="521">
                  <c:v>0.9794247457330131</c:v>
                </c:pt>
                <c:pt idx="522">
                  <c:v>0.9795289912738672</c:v>
                </c:pt>
                <c:pt idx="523">
                  <c:v>0.9796328608852758</c:v>
                </c:pt>
                <c:pt idx="524">
                  <c:v>0.9797365043277497</c:v>
                </c:pt>
                <c:pt idx="525">
                  <c:v>0.9798400102350607</c:v>
                </c:pt>
                <c:pt idx="526">
                  <c:v>0.9799434061142414</c:v>
                </c:pt>
                <c:pt idx="527">
                  <c:v>0.9800461143176071</c:v>
                </c:pt>
                <c:pt idx="528">
                  <c:v>0.9801469612117675</c:v>
                </c:pt>
                <c:pt idx="529">
                  <c:v>0.9802476889087866</c:v>
                </c:pt>
                <c:pt idx="530">
                  <c:v>0.9803480742960667</c:v>
                </c:pt>
                <c:pt idx="531">
                  <c:v>0.980448047077858</c:v>
                </c:pt>
                <c:pt idx="532">
                  <c:v>0.9805478211977472</c:v>
                </c:pt>
                <c:pt idx="533">
                  <c:v>0.9806467364869521</c:v>
                </c:pt>
                <c:pt idx="534">
                  <c:v>0.9807454470015811</c:v>
                </c:pt>
                <c:pt idx="535">
                  <c:v>0.9808439863613405</c:v>
                </c:pt>
                <c:pt idx="536">
                  <c:v>0.9809414223834593</c:v>
                </c:pt>
                <c:pt idx="537">
                  <c:v>0.9810387117014042</c:v>
                </c:pt>
                <c:pt idx="538">
                  <c:v>0.9811355547941537</c:v>
                </c:pt>
                <c:pt idx="539">
                  <c:v>0.9812317591124797</c:v>
                </c:pt>
                <c:pt idx="540">
                  <c:v>0.9813271779522084</c:v>
                </c:pt>
                <c:pt idx="541">
                  <c:v>0.9814225142708392</c:v>
                </c:pt>
                <c:pt idx="542">
                  <c:v>0.9815175969135027</c:v>
                </c:pt>
                <c:pt idx="543">
                  <c:v>0.9816117382043842</c:v>
                </c:pt>
                <c:pt idx="544">
                  <c:v>0.9817057480727767</c:v>
                </c:pt>
                <c:pt idx="545">
                  <c:v>0.981799632631354</c:v>
                </c:pt>
                <c:pt idx="546">
                  <c:v>0.9818928661901599</c:v>
                </c:pt>
                <c:pt idx="547">
                  <c:v>0.9819851583971838</c:v>
                </c:pt>
                <c:pt idx="548">
                  <c:v>0.9820770166043601</c:v>
                </c:pt>
                <c:pt idx="549">
                  <c:v>0.9821688473045038</c:v>
                </c:pt>
                <c:pt idx="550">
                  <c:v>0.9822606657792997</c:v>
                </c:pt>
                <c:pt idx="551">
                  <c:v>0.9823524781414217</c:v>
                </c:pt>
                <c:pt idx="552">
                  <c:v>0.9824434011094898</c:v>
                </c:pt>
                <c:pt idx="553">
                  <c:v>0.9825337831059169</c:v>
                </c:pt>
                <c:pt idx="554">
                  <c:v>0.9826240000601484</c:v>
                </c:pt>
                <c:pt idx="555">
                  <c:v>0.9827120378461311</c:v>
                </c:pt>
                <c:pt idx="556">
                  <c:v>0.9827995071534403</c:v>
                </c:pt>
                <c:pt idx="557">
                  <c:v>0.9828868389255866</c:v>
                </c:pt>
                <c:pt idx="558">
                  <c:v>0.9829737672612547</c:v>
                </c:pt>
                <c:pt idx="559">
                  <c:v>0.9831472663411674</c:v>
                </c:pt>
                <c:pt idx="560">
                  <c:v>0.9832335956347925</c:v>
                </c:pt>
                <c:pt idx="561">
                  <c:v>0.983319014140005</c:v>
                </c:pt>
                <c:pt idx="562">
                  <c:v>0.9834038244341635</c:v>
                </c:pt>
                <c:pt idx="563">
                  <c:v>0.9834882618552135</c:v>
                </c:pt>
                <c:pt idx="564">
                  <c:v>0.9835722683327529</c:v>
                </c:pt>
                <c:pt idx="565">
                  <c:v>0.9836561250497815</c:v>
                </c:pt>
                <c:pt idx="566">
                  <c:v>0.9837394346824953</c:v>
                </c:pt>
                <c:pt idx="567">
                  <c:v>0.9838222553012962</c:v>
                </c:pt>
                <c:pt idx="568">
                  <c:v>0.9839049720046407</c:v>
                </c:pt>
                <c:pt idx="569">
                  <c:v>0.9839867779195727</c:v>
                </c:pt>
                <c:pt idx="570">
                  <c:v>0.9840679297783963</c:v>
                </c:pt>
                <c:pt idx="571">
                  <c:v>0.9841488157359048</c:v>
                </c:pt>
                <c:pt idx="572">
                  <c:v>0.9842283385671315</c:v>
                </c:pt>
                <c:pt idx="573">
                  <c:v>0.9843069506099458</c:v>
                </c:pt>
                <c:pt idx="574">
                  <c:v>0.9843851775543037</c:v>
                </c:pt>
                <c:pt idx="575">
                  <c:v>0.9844624570342055</c:v>
                </c:pt>
                <c:pt idx="576">
                  <c:v>0.9845393972607055</c:v>
                </c:pt>
                <c:pt idx="577">
                  <c:v>0.9846157384451623</c:v>
                </c:pt>
                <c:pt idx="578">
                  <c:v>0.9846918228973148</c:v>
                </c:pt>
                <c:pt idx="579">
                  <c:v>0.984767867617087</c:v>
                </c:pt>
                <c:pt idx="580">
                  <c:v>0.9848438145340767</c:v>
                </c:pt>
                <c:pt idx="581">
                  <c:v>0.9849191257329797</c:v>
                </c:pt>
                <c:pt idx="582">
                  <c:v>0.9849940212700569</c:v>
                </c:pt>
                <c:pt idx="583">
                  <c:v>0.9850687395395906</c:v>
                </c:pt>
                <c:pt idx="584">
                  <c:v>0.9851430757670051</c:v>
                </c:pt>
                <c:pt idx="585">
                  <c:v>0.9852170544029959</c:v>
                </c:pt>
                <c:pt idx="586">
                  <c:v>0.9852905104053674</c:v>
                </c:pt>
                <c:pt idx="587">
                  <c:v>0.9853639450133802</c:v>
                </c:pt>
                <c:pt idx="588">
                  <c:v>0.9854373735087191</c:v>
                </c:pt>
                <c:pt idx="589">
                  <c:v>0.9855108020040579</c:v>
                </c:pt>
                <c:pt idx="590">
                  <c:v>0.985583613119332</c:v>
                </c:pt>
                <c:pt idx="591">
                  <c:v>0.9856563019811277</c:v>
                </c:pt>
                <c:pt idx="592">
                  <c:v>0.9857275665899027</c:v>
                </c:pt>
                <c:pt idx="593">
                  <c:v>0.9857987364522319</c:v>
                </c:pt>
                <c:pt idx="594">
                  <c:v>0.9858696954273113</c:v>
                </c:pt>
                <c:pt idx="595">
                  <c:v>0.985939214867685</c:v>
                </c:pt>
                <c:pt idx="596">
                  <c:v>0.9860086762376565</c:v>
                </c:pt>
                <c:pt idx="597">
                  <c:v>0.986077266551596</c:v>
                </c:pt>
                <c:pt idx="598">
                  <c:v>0.9861451019503076</c:v>
                </c:pt>
                <c:pt idx="599">
                  <c:v>0.9862123749830195</c:v>
                </c:pt>
                <c:pt idx="600">
                  <c:v>0.9862792079032099</c:v>
                </c:pt>
                <c:pt idx="601">
                  <c:v>0.9863459613586395</c:v>
                </c:pt>
                <c:pt idx="602">
                  <c:v>0.986412448912754</c:v>
                </c:pt>
                <c:pt idx="603">
                  <c:v>0.9864788600584448</c:v>
                </c:pt>
                <c:pt idx="604">
                  <c:v>0.9865451642323421</c:v>
                </c:pt>
                <c:pt idx="605">
                  <c:v>0.9866105667868377</c:v>
                </c:pt>
                <c:pt idx="606">
                  <c:v>0.9866759662849963</c:v>
                </c:pt>
                <c:pt idx="607">
                  <c:v>0.9867402960652207</c:v>
                </c:pt>
                <c:pt idx="608">
                  <c:v>0.9868044149581953</c:v>
                </c:pt>
                <c:pt idx="609">
                  <c:v>0.9868683993723438</c:v>
                </c:pt>
                <c:pt idx="610">
                  <c:v>0.9869321239978512</c:v>
                </c:pt>
                <c:pt idx="611">
                  <c:v>0.986995763045924</c:v>
                </c:pt>
                <c:pt idx="612">
                  <c:v>0.9870592553898228</c:v>
                </c:pt>
                <c:pt idx="613">
                  <c:v>0.9871225643535043</c:v>
                </c:pt>
                <c:pt idx="614">
                  <c:v>0.987185659373599</c:v>
                </c:pt>
                <c:pt idx="615">
                  <c:v>0.9872485129430744</c:v>
                </c:pt>
                <c:pt idx="616">
                  <c:v>0.9873110822732128</c:v>
                </c:pt>
                <c:pt idx="617">
                  <c:v>0.9873733581950037</c:v>
                </c:pt>
                <c:pt idx="618">
                  <c:v>0.9874973507289228</c:v>
                </c:pt>
                <c:pt idx="619">
                  <c:v>0.9875592232142356</c:v>
                </c:pt>
                <c:pt idx="620">
                  <c:v>0.9876207014320812</c:v>
                </c:pt>
                <c:pt idx="621">
                  <c:v>0.9876819137486118</c:v>
                </c:pt>
                <c:pt idx="622">
                  <c:v>0.9877428907271969</c:v>
                </c:pt>
                <c:pt idx="623">
                  <c:v>0.9878038218607277</c:v>
                </c:pt>
                <c:pt idx="624">
                  <c:v>0.9878641661775631</c:v>
                </c:pt>
                <c:pt idx="625">
                  <c:v>0.9879244585366703</c:v>
                </c:pt>
                <c:pt idx="626">
                  <c:v>0.9879845950225928</c:v>
                </c:pt>
                <c:pt idx="627">
                  <c:v>0.9880447070578197</c:v>
                </c:pt>
                <c:pt idx="628">
                  <c:v>0.9881037860511558</c:v>
                </c:pt>
                <c:pt idx="629">
                  <c:v>0.9881626144248616</c:v>
                </c:pt>
                <c:pt idx="630">
                  <c:v>0.9882213358267741</c:v>
                </c:pt>
                <c:pt idx="631">
                  <c:v>0.9882799196935236</c:v>
                </c:pt>
                <c:pt idx="632">
                  <c:v>0.9883381520815232</c:v>
                </c:pt>
                <c:pt idx="633">
                  <c:v>0.9883961185682077</c:v>
                </c:pt>
                <c:pt idx="634">
                  <c:v>0.9884534829565123</c:v>
                </c:pt>
                <c:pt idx="635">
                  <c:v>0.9885106089505342</c:v>
                </c:pt>
                <c:pt idx="636">
                  <c:v>0.9885676768741541</c:v>
                </c:pt>
                <c:pt idx="637">
                  <c:v>0.9886239654318506</c:v>
                </c:pt>
                <c:pt idx="638">
                  <c:v>0.9886802448205362</c:v>
                </c:pt>
                <c:pt idx="639">
                  <c:v>0.9887917736123536</c:v>
                </c:pt>
                <c:pt idx="640">
                  <c:v>0.9888467907338768</c:v>
                </c:pt>
                <c:pt idx="641">
                  <c:v>0.9889017834047044</c:v>
                </c:pt>
                <c:pt idx="642">
                  <c:v>0.9889564123714343</c:v>
                </c:pt>
                <c:pt idx="643">
                  <c:v>0.9890109771550882</c:v>
                </c:pt>
                <c:pt idx="644">
                  <c:v>0.9890654288542748</c:v>
                </c:pt>
                <c:pt idx="645">
                  <c:v>0.9891198530464288</c:v>
                </c:pt>
                <c:pt idx="646">
                  <c:v>0.9891736659711918</c:v>
                </c:pt>
                <c:pt idx="647">
                  <c:v>0.9892273749804984</c:v>
                </c:pt>
                <c:pt idx="648">
                  <c:v>0.9892808669898812</c:v>
                </c:pt>
                <c:pt idx="649">
                  <c:v>0.9893343100978726</c:v>
                </c:pt>
                <c:pt idx="650">
                  <c:v>0.9893871297131254</c:v>
                </c:pt>
                <c:pt idx="651">
                  <c:v>0.9894396375820087</c:v>
                </c:pt>
                <c:pt idx="652">
                  <c:v>0.9894920507044465</c:v>
                </c:pt>
                <c:pt idx="653">
                  <c:v>0.9895443843621233</c:v>
                </c:pt>
                <c:pt idx="654">
                  <c:v>0.9895964521184851</c:v>
                </c:pt>
                <c:pt idx="655">
                  <c:v>0.9896480553116298</c:v>
                </c:pt>
                <c:pt idx="656">
                  <c:v>0.989699355927416</c:v>
                </c:pt>
                <c:pt idx="657">
                  <c:v>0.989749586825268</c:v>
                </c:pt>
                <c:pt idx="658">
                  <c:v>0.9897993073148486</c:v>
                </c:pt>
                <c:pt idx="659">
                  <c:v>0.9898485724102228</c:v>
                </c:pt>
                <c:pt idx="660">
                  <c:v>0.9898976755197385</c:v>
                </c:pt>
                <c:pt idx="661">
                  <c:v>0.989946720558852</c:v>
                </c:pt>
                <c:pt idx="662">
                  <c:v>0.9899952307389985</c:v>
                </c:pt>
                <c:pt idx="663">
                  <c:v>0.9900433099756344</c:v>
                </c:pt>
                <c:pt idx="664">
                  <c:v>0.9901383131535372</c:v>
                </c:pt>
                <c:pt idx="665">
                  <c:v>0.9901854418693801</c:v>
                </c:pt>
                <c:pt idx="666">
                  <c:v>0.9902322680078645</c:v>
                </c:pt>
                <c:pt idx="667">
                  <c:v>0.990324242355845</c:v>
                </c:pt>
                <c:pt idx="668">
                  <c:v>0.9903697695511237</c:v>
                </c:pt>
                <c:pt idx="669">
                  <c:v>0.9904151592112392</c:v>
                </c:pt>
                <c:pt idx="670">
                  <c:v>0.9904604113361919</c:v>
                </c:pt>
                <c:pt idx="671">
                  <c:v>0.9905054525738947</c:v>
                </c:pt>
                <c:pt idx="672">
                  <c:v>0.9905497388963695</c:v>
                </c:pt>
                <c:pt idx="673">
                  <c:v>0.9905937562611925</c:v>
                </c:pt>
                <c:pt idx="674">
                  <c:v>0.9906377522316567</c:v>
                </c:pt>
                <c:pt idx="675">
                  <c:v>0.9906813355966321</c:v>
                </c:pt>
                <c:pt idx="676">
                  <c:v>0.9907247844827815</c:v>
                </c:pt>
                <c:pt idx="677">
                  <c:v>0.9907679705239527</c:v>
                </c:pt>
                <c:pt idx="678">
                  <c:v>0.9908111076637326</c:v>
                </c:pt>
                <c:pt idx="679">
                  <c:v>0.9908542356345017</c:v>
                </c:pt>
                <c:pt idx="680">
                  <c:v>0.9908972627461513</c:v>
                </c:pt>
                <c:pt idx="681">
                  <c:v>0.9909401095339205</c:v>
                </c:pt>
                <c:pt idx="682">
                  <c:v>0.9909828890822767</c:v>
                </c:pt>
                <c:pt idx="683">
                  <c:v>0.9910252346307854</c:v>
                </c:pt>
                <c:pt idx="684">
                  <c:v>0.9910673417850115</c:v>
                </c:pt>
                <c:pt idx="685">
                  <c:v>0.9911091952632705</c:v>
                </c:pt>
                <c:pt idx="686">
                  <c:v>0.9911091952632705</c:v>
                </c:pt>
                <c:pt idx="687">
                  <c:v>0.9911510395725185</c:v>
                </c:pt>
                <c:pt idx="688">
                  <c:v>0.9911926271494623</c:v>
                </c:pt>
                <c:pt idx="689">
                  <c:v>0.9912340985856019</c:v>
                </c:pt>
                <c:pt idx="690">
                  <c:v>0.9912753621908285</c:v>
                </c:pt>
                <c:pt idx="691">
                  <c:v>0.9913165188242616</c:v>
                </c:pt>
                <c:pt idx="692">
                  <c:v>0.991357669345021</c:v>
                </c:pt>
                <c:pt idx="693">
                  <c:v>0.9913986731616065</c:v>
                </c:pt>
                <c:pt idx="694">
                  <c:v>0.9914396616965072</c:v>
                </c:pt>
                <c:pt idx="695">
                  <c:v>0.991520468189255</c:v>
                </c:pt>
                <c:pt idx="696">
                  <c:v>0.9915605520484171</c:v>
                </c:pt>
                <c:pt idx="697">
                  <c:v>0.9916004280766663</c:v>
                </c:pt>
                <c:pt idx="698">
                  <c:v>0.9916401054430134</c:v>
                </c:pt>
                <c:pt idx="699">
                  <c:v>0.9916796391615237</c:v>
                </c:pt>
                <c:pt idx="700">
                  <c:v>0.9917187877815776</c:v>
                </c:pt>
                <c:pt idx="701">
                  <c:v>0.991757639936947</c:v>
                </c:pt>
                <c:pt idx="702">
                  <c:v>0.9917962659233817</c:v>
                </c:pt>
                <c:pt idx="703">
                  <c:v>0.9918348032760447</c:v>
                </c:pt>
                <c:pt idx="704">
                  <c:v>0.9918733375723707</c:v>
                </c:pt>
                <c:pt idx="705">
                  <c:v>0.9919118718686968</c:v>
                </c:pt>
                <c:pt idx="706">
                  <c:v>0.9919500363482513</c:v>
                </c:pt>
                <c:pt idx="707">
                  <c:v>0.9919879013067843</c:v>
                </c:pt>
                <c:pt idx="708">
                  <c:v>0.9920255125893499</c:v>
                </c:pt>
                <c:pt idx="709">
                  <c:v>0.9920630902522091</c:v>
                </c:pt>
                <c:pt idx="710">
                  <c:v>0.9921006342953618</c:v>
                </c:pt>
                <c:pt idx="711">
                  <c:v>0.9921381324934602</c:v>
                </c:pt>
                <c:pt idx="712">
                  <c:v>0.9921754014662869</c:v>
                </c:pt>
                <c:pt idx="713">
                  <c:v>0.9922126643264397</c:v>
                </c:pt>
                <c:pt idx="714">
                  <c:v>0.9922498110457882</c:v>
                </c:pt>
                <c:pt idx="715">
                  <c:v>0.9922867560468978</c:v>
                </c:pt>
                <c:pt idx="716">
                  <c:v>0.9923236613156269</c:v>
                </c:pt>
                <c:pt idx="717">
                  <c:v>0.9923605360209864</c:v>
                </c:pt>
                <c:pt idx="718">
                  <c:v>0.9923962554309771</c:v>
                </c:pt>
                <c:pt idx="719">
                  <c:v>0.9924318250804569</c:v>
                </c:pt>
                <c:pt idx="720">
                  <c:v>0.9924672663637847</c:v>
                </c:pt>
                <c:pt idx="721">
                  <c:v>0.9925025028725365</c:v>
                </c:pt>
                <c:pt idx="722">
                  <c:v>0.992537556001071</c:v>
                </c:pt>
                <c:pt idx="723">
                  <c:v>0.9925725235521707</c:v>
                </c:pt>
                <c:pt idx="724">
                  <c:v>0.9926071610188794</c:v>
                </c:pt>
                <c:pt idx="725">
                  <c:v>0.9926413278096969</c:v>
                </c:pt>
                <c:pt idx="726">
                  <c:v>0.9926754212484277</c:v>
                </c:pt>
                <c:pt idx="727">
                  <c:v>0.9927095085744845</c:v>
                </c:pt>
                <c:pt idx="728">
                  <c:v>0.9927435745061826</c:v>
                </c:pt>
                <c:pt idx="729">
                  <c:v>0.992776943593055</c:v>
                </c:pt>
                <c:pt idx="730">
                  <c:v>0.9928101720884275</c:v>
                </c:pt>
                <c:pt idx="731">
                  <c:v>0.9928433853021152</c:v>
                </c:pt>
                <c:pt idx="732">
                  <c:v>0.9928760972765424</c:v>
                </c:pt>
                <c:pt idx="733">
                  <c:v>0.9929082805046763</c:v>
                </c:pt>
                <c:pt idx="734">
                  <c:v>0.9929403873243864</c:v>
                </c:pt>
                <c:pt idx="735">
                  <c:v>0.9929723413272488</c:v>
                </c:pt>
                <c:pt idx="736">
                  <c:v>0.9930041364005895</c:v>
                </c:pt>
                <c:pt idx="737">
                  <c:v>0.9930359284175932</c:v>
                </c:pt>
                <c:pt idx="738">
                  <c:v>0.9930675615050754</c:v>
                </c:pt>
                <c:pt idx="739">
                  <c:v>0.9930989653672858</c:v>
                </c:pt>
                <c:pt idx="740">
                  <c:v>0.9931615010777178</c:v>
                </c:pt>
                <c:pt idx="741">
                  <c:v>0.9931927123907002</c:v>
                </c:pt>
                <c:pt idx="742">
                  <c:v>0.9932234530277915</c:v>
                </c:pt>
                <c:pt idx="743">
                  <c:v>0.9932541936648828</c:v>
                </c:pt>
                <c:pt idx="744">
                  <c:v>0.9932848456682024</c:v>
                </c:pt>
                <c:pt idx="745">
                  <c:v>0.9933154854461742</c:v>
                </c:pt>
                <c:pt idx="746">
                  <c:v>0.9933460182523526</c:v>
                </c:pt>
                <c:pt idx="747">
                  <c:v>0.9933762576501833</c:v>
                </c:pt>
                <c:pt idx="748">
                  <c:v>0.9934064878790032</c:v>
                </c:pt>
                <c:pt idx="749">
                  <c:v>0.9934367058824752</c:v>
                </c:pt>
                <c:pt idx="750">
                  <c:v>0.9934668933225778</c:v>
                </c:pt>
                <c:pt idx="751">
                  <c:v>0.993496692607887</c:v>
                </c:pt>
                <c:pt idx="752">
                  <c:v>0.9935261893158377</c:v>
                </c:pt>
                <c:pt idx="753">
                  <c:v>0.9935554537421798</c:v>
                </c:pt>
                <c:pt idx="754">
                  <c:v>0.9936137594822664</c:v>
                </c:pt>
                <c:pt idx="755">
                  <c:v>0.9936427518946196</c:v>
                </c:pt>
                <c:pt idx="756">
                  <c:v>0.9936716709548858</c:v>
                </c:pt>
                <c:pt idx="757">
                  <c:v>0.9937005869588151</c:v>
                </c:pt>
                <c:pt idx="758">
                  <c:v>0.9937294418360053</c:v>
                </c:pt>
                <c:pt idx="759">
                  <c:v>0.9937579696851413</c:v>
                </c:pt>
                <c:pt idx="760">
                  <c:v>0.993814374383642</c:v>
                </c:pt>
                <c:pt idx="761">
                  <c:v>0.9938420709091262</c:v>
                </c:pt>
                <c:pt idx="762">
                  <c:v>0.9938695076459694</c:v>
                </c:pt>
                <c:pt idx="763">
                  <c:v>0.9938967671152692</c:v>
                </c:pt>
                <c:pt idx="764">
                  <c:v>0.9939237270635474</c:v>
                </c:pt>
                <c:pt idx="765">
                  <c:v>0.9939506503357821</c:v>
                </c:pt>
                <c:pt idx="766">
                  <c:v>0.9939775338756365</c:v>
                </c:pt>
                <c:pt idx="767">
                  <c:v>0.994004405190143</c:v>
                </c:pt>
                <c:pt idx="768">
                  <c:v>0.9940312337159322</c:v>
                </c:pt>
                <c:pt idx="769">
                  <c:v>0.9940580530727104</c:v>
                </c:pt>
                <c:pt idx="770">
                  <c:v>0.9941114564483216</c:v>
                </c:pt>
                <c:pt idx="771">
                  <c:v>0.9941380007347739</c:v>
                </c:pt>
                <c:pt idx="772">
                  <c:v>0.9941644563874545</c:v>
                </c:pt>
                <c:pt idx="773">
                  <c:v>0.9941909028711243</c:v>
                </c:pt>
                <c:pt idx="774">
                  <c:v>0.9942173187914246</c:v>
                </c:pt>
                <c:pt idx="775">
                  <c:v>0.9942436949793445</c:v>
                </c:pt>
                <c:pt idx="776">
                  <c:v>0.9942695760406777</c:v>
                </c:pt>
                <c:pt idx="777">
                  <c:v>0.9942953898625978</c:v>
                </c:pt>
                <c:pt idx="778">
                  <c:v>0.9943206810508987</c:v>
                </c:pt>
                <c:pt idx="779">
                  <c:v>0.9943459569575148</c:v>
                </c:pt>
                <c:pt idx="780">
                  <c:v>0.9943710342022289</c:v>
                </c:pt>
                <c:pt idx="781">
                  <c:v>0.9943960931089213</c:v>
                </c:pt>
                <c:pt idx="782">
                  <c:v>0.994420996142429</c:v>
                </c:pt>
                <c:pt idx="783">
                  <c:v>0.9944458441618714</c:v>
                </c:pt>
                <c:pt idx="784">
                  <c:v>0.9944703743222706</c:v>
                </c:pt>
                <c:pt idx="785">
                  <c:v>0.9944947180461156</c:v>
                </c:pt>
                <c:pt idx="786">
                  <c:v>0.994567290767107</c:v>
                </c:pt>
                <c:pt idx="787">
                  <c:v>0.9945911790967457</c:v>
                </c:pt>
                <c:pt idx="788">
                  <c:v>0.994614813750417</c:v>
                </c:pt>
                <c:pt idx="789">
                  <c:v>0.9946383230942734</c:v>
                </c:pt>
                <c:pt idx="790">
                  <c:v>0.994661670452271</c:v>
                </c:pt>
                <c:pt idx="791">
                  <c:v>0.99468492612016</c:v>
                </c:pt>
                <c:pt idx="792">
                  <c:v>0.9947081726190382</c:v>
                </c:pt>
                <c:pt idx="793">
                  <c:v>0.994731376329199</c:v>
                </c:pt>
                <c:pt idx="794">
                  <c:v>0.9947544149971642</c:v>
                </c:pt>
                <c:pt idx="795">
                  <c:v>0.9947774536651295</c:v>
                </c:pt>
                <c:pt idx="796">
                  <c:v>0.9948004250936817</c:v>
                </c:pt>
                <c:pt idx="797">
                  <c:v>0.994823194803995</c:v>
                </c:pt>
                <c:pt idx="798">
                  <c:v>0.9948459431199494</c:v>
                </c:pt>
                <c:pt idx="799">
                  <c:v>0.9948685233373714</c:v>
                </c:pt>
                <c:pt idx="800">
                  <c:v>0.9948908865548697</c:v>
                </c:pt>
                <c:pt idx="801">
                  <c:v>0.994913243659694</c:v>
                </c:pt>
                <c:pt idx="802">
                  <c:v>0.9949353990462794</c:v>
                </c:pt>
                <c:pt idx="803">
                  <c:v>0.9949575147004842</c:v>
                </c:pt>
                <c:pt idx="804">
                  <c:v>0.9949795570026022</c:v>
                </c:pt>
                <c:pt idx="805">
                  <c:v>0.9950015993047202</c:v>
                </c:pt>
                <c:pt idx="806">
                  <c:v>0.9950236018744577</c:v>
                </c:pt>
                <c:pt idx="807">
                  <c:v>0.995045421063978</c:v>
                </c:pt>
                <c:pt idx="808">
                  <c:v>0.9950889922036055</c:v>
                </c:pt>
                <c:pt idx="809">
                  <c:v>0.9951107166466802</c:v>
                </c:pt>
                <c:pt idx="810">
                  <c:v>0.9951323769066788</c:v>
                </c:pt>
                <c:pt idx="811">
                  <c:v>0.9951537651526884</c:v>
                </c:pt>
                <c:pt idx="812">
                  <c:v>0.9951751044973067</c:v>
                </c:pt>
                <c:pt idx="813">
                  <c:v>0.9951964102222186</c:v>
                </c:pt>
                <c:pt idx="814">
                  <c:v>0.9952175936936523</c:v>
                </c:pt>
                <c:pt idx="815">
                  <c:v>0.9952386977003251</c:v>
                </c:pt>
                <c:pt idx="816">
                  <c:v>0.9952596091577698</c:v>
                </c:pt>
                <c:pt idx="817">
                  <c:v>0.9952804350377797</c:v>
                </c:pt>
                <c:pt idx="818">
                  <c:v>0.9953012272980832</c:v>
                </c:pt>
                <c:pt idx="819">
                  <c:v>0.9953219003612455</c:v>
                </c:pt>
                <c:pt idx="820">
                  <c:v>0.9953425092413316</c:v>
                </c:pt>
                <c:pt idx="821">
                  <c:v>0.9953631089524069</c:v>
                </c:pt>
                <c:pt idx="822">
                  <c:v>0.9953832288185803</c:v>
                </c:pt>
                <c:pt idx="823">
                  <c:v>0.9954032233749386</c:v>
                </c:pt>
                <c:pt idx="824">
                  <c:v>0.995423208762286</c:v>
                </c:pt>
                <c:pt idx="825">
                  <c:v>0.9954431177412095</c:v>
                </c:pt>
                <c:pt idx="826">
                  <c:v>0.9954630083821113</c:v>
                </c:pt>
                <c:pt idx="827">
                  <c:v>0.9954828837413283</c:v>
                </c:pt>
                <c:pt idx="828">
                  <c:v>0.9955224510795451</c:v>
                </c:pt>
                <c:pt idx="829">
                  <c:v>0.9955421675092404</c:v>
                </c:pt>
                <c:pt idx="830">
                  <c:v>0.995561804474175</c:v>
                </c:pt>
                <c:pt idx="831">
                  <c:v>0.9955814200447508</c:v>
                </c:pt>
                <c:pt idx="832">
                  <c:v>0.9956010325589897</c:v>
                </c:pt>
                <c:pt idx="833">
                  <c:v>0.9956205747774787</c:v>
                </c:pt>
                <c:pt idx="834">
                  <c:v>0.9956400772635872</c:v>
                </c:pt>
                <c:pt idx="835">
                  <c:v>0.9956595033412718</c:v>
                </c:pt>
                <c:pt idx="836">
                  <c:v>0.9956789080245978</c:v>
                </c:pt>
                <c:pt idx="837">
                  <c:v>0.9956982913135651</c:v>
                </c:pt>
                <c:pt idx="838">
                  <c:v>0.9957176073631194</c:v>
                </c:pt>
                <c:pt idx="839">
                  <c:v>0.9957368317225651</c:v>
                </c:pt>
                <c:pt idx="840">
                  <c:v>0.9957558604764456</c:v>
                </c:pt>
                <c:pt idx="841">
                  <c:v>0.9957747914275435</c:v>
                </c:pt>
                <c:pt idx="842">
                  <c:v>0.9957937040406198</c:v>
                </c:pt>
                <c:pt idx="843">
                  <c:v>0.9958125127382397</c:v>
                </c:pt>
                <c:pt idx="844">
                  <c:v>0.9958311930697074</c:v>
                </c:pt>
                <c:pt idx="845">
                  <c:v>0.9958498306124577</c:v>
                </c:pt>
                <c:pt idx="846">
                  <c:v>0.9958684223101537</c:v>
                </c:pt>
                <c:pt idx="847">
                  <c:v>0.9958869865008171</c:v>
                </c:pt>
                <c:pt idx="848">
                  <c:v>0.9959236044738724</c:v>
                </c:pt>
                <c:pt idx="849">
                  <c:v>0.9959416368619056</c:v>
                </c:pt>
                <c:pt idx="850">
                  <c:v>0.9959595622781455</c:v>
                </c:pt>
                <c:pt idx="851">
                  <c:v>0.9959774785253745</c:v>
                </c:pt>
                <c:pt idx="852">
                  <c:v>0.9959953061388318</c:v>
                </c:pt>
                <c:pt idx="853">
                  <c:v>0.9960130114988109</c:v>
                </c:pt>
                <c:pt idx="854">
                  <c:v>0.9960307046334422</c:v>
                </c:pt>
                <c:pt idx="855">
                  <c:v>0.9960483885990626</c:v>
                </c:pt>
                <c:pt idx="856">
                  <c:v>0.9960659564238787</c:v>
                </c:pt>
                <c:pt idx="857">
                  <c:v>0.9961010401157828</c:v>
                </c:pt>
                <c:pt idx="858">
                  <c:v>0.9961183634336426</c:v>
                </c:pt>
                <c:pt idx="859">
                  <c:v>0.9961354605825676</c:v>
                </c:pt>
                <c:pt idx="860">
                  <c:v>0.9961865717054625</c:v>
                </c:pt>
                <c:pt idx="861">
                  <c:v>0.9962035557699204</c:v>
                </c:pt>
                <c:pt idx="862">
                  <c:v>0.9962205276090303</c:v>
                </c:pt>
                <c:pt idx="863">
                  <c:v>0.9962374413777382</c:v>
                </c:pt>
                <c:pt idx="864">
                  <c:v>0.9962541870479135</c:v>
                </c:pt>
                <c:pt idx="865">
                  <c:v>0.9962708440843171</c:v>
                </c:pt>
                <c:pt idx="866">
                  <c:v>0.9963040939740483</c:v>
                </c:pt>
                <c:pt idx="867">
                  <c:v>0.996320671545691</c:v>
                </c:pt>
                <c:pt idx="868">
                  <c:v>0.9963372154976273</c:v>
                </c:pt>
                <c:pt idx="869">
                  <c:v>0.9963537411115418</c:v>
                </c:pt>
                <c:pt idx="870">
                  <c:v>0.9963702300494129</c:v>
                </c:pt>
                <c:pt idx="871">
                  <c:v>0.9963864775366646</c:v>
                </c:pt>
                <c:pt idx="872">
                  <c:v>0.9964027219675794</c:v>
                </c:pt>
                <c:pt idx="873">
                  <c:v>0.9964187646802551</c:v>
                </c:pt>
                <c:pt idx="874">
                  <c:v>0.9964347126464852</c:v>
                </c:pt>
                <c:pt idx="875">
                  <c:v>0.9964664435367498</c:v>
                </c:pt>
                <c:pt idx="876">
                  <c:v>0.9964821989537518</c:v>
                </c:pt>
                <c:pt idx="877">
                  <c:v>0.9964978993566885</c:v>
                </c:pt>
                <c:pt idx="878">
                  <c:v>0.9965135294638754</c:v>
                </c:pt>
                <c:pt idx="879">
                  <c:v>0.9965291351203666</c:v>
                </c:pt>
                <c:pt idx="880">
                  <c:v>0.9965447346641838</c:v>
                </c:pt>
                <c:pt idx="881">
                  <c:v>0.9965603189263162</c:v>
                </c:pt>
                <c:pt idx="882">
                  <c:v>0.9965757656532858</c:v>
                </c:pt>
                <c:pt idx="883">
                  <c:v>0.9965911879295597</c:v>
                </c:pt>
                <c:pt idx="884">
                  <c:v>0.9966216657216729</c:v>
                </c:pt>
                <c:pt idx="885">
                  <c:v>0.9966367884769252</c:v>
                </c:pt>
                <c:pt idx="886">
                  <c:v>0.9966519112321774</c:v>
                </c:pt>
                <c:pt idx="887">
                  <c:v>0.9966669850860385</c:v>
                </c:pt>
                <c:pt idx="888">
                  <c:v>0.9966820436582147</c:v>
                </c:pt>
                <c:pt idx="889">
                  <c:v>0.9967120140983933</c:v>
                </c:pt>
                <c:pt idx="890">
                  <c:v>0.9967418072710286</c:v>
                </c:pt>
                <c:pt idx="891">
                  <c:v>0.9967566641249658</c:v>
                </c:pt>
                <c:pt idx="892">
                  <c:v>0.9968003514053976</c:v>
                </c:pt>
                <c:pt idx="893">
                  <c:v>0.9968147161890851</c:v>
                </c:pt>
                <c:pt idx="894">
                  <c:v>0.9968290198460336</c:v>
                </c:pt>
                <c:pt idx="895">
                  <c:v>0.996843253207232</c:v>
                </c:pt>
                <c:pt idx="896">
                  <c:v>0.9968573337515827</c:v>
                </c:pt>
                <c:pt idx="897">
                  <c:v>0.9968713592818682</c:v>
                </c:pt>
                <c:pt idx="898">
                  <c:v>0.9968853664741321</c:v>
                </c:pt>
                <c:pt idx="899">
                  <c:v>0.9968993553283741</c:v>
                </c:pt>
                <c:pt idx="900">
                  <c:v>0.9969272413467496</c:v>
                </c:pt>
                <c:pt idx="901">
                  <c:v>0.9969410926658288</c:v>
                </c:pt>
                <c:pt idx="902">
                  <c:v>0.996954934815897</c:v>
                </c:pt>
                <c:pt idx="903">
                  <c:v>0.9969687066702153</c:v>
                </c:pt>
                <c:pt idx="904">
                  <c:v>0.996982457130175</c:v>
                </c:pt>
                <c:pt idx="905">
                  <c:v>0.9969961678577541</c:v>
                </c:pt>
                <c:pt idx="906">
                  <c:v>0.9970098235712681</c:v>
                </c:pt>
                <c:pt idx="907">
                  <c:v>0.9970234640030974</c:v>
                </c:pt>
                <c:pt idx="908">
                  <c:v>0.9970370922095788</c:v>
                </c:pt>
                <c:pt idx="909">
                  <c:v>0.9970506959653646</c:v>
                </c:pt>
                <c:pt idx="910">
                  <c:v>0.9970642049747047</c:v>
                </c:pt>
                <c:pt idx="911">
                  <c:v>0.9970777109277079</c:v>
                </c:pt>
                <c:pt idx="912">
                  <c:v>0.9970911985426895</c:v>
                </c:pt>
                <c:pt idx="913">
                  <c:v>0.9971046372562797</c:v>
                </c:pt>
                <c:pt idx="914">
                  <c:v>0.9971179965051091</c:v>
                </c:pt>
                <c:pt idx="915">
                  <c:v>0.997131257951156</c:v>
                </c:pt>
                <c:pt idx="916">
                  <c:v>0.9971575118855976</c:v>
                </c:pt>
                <c:pt idx="917">
                  <c:v>0.9971836191158654</c:v>
                </c:pt>
                <c:pt idx="918">
                  <c:v>0.9972223765247892</c:v>
                </c:pt>
                <c:pt idx="919">
                  <c:v>0.9972352070273254</c:v>
                </c:pt>
                <c:pt idx="920">
                  <c:v>0.9972478296989487</c:v>
                </c:pt>
                <c:pt idx="921">
                  <c:v>0.9972604370888871</c:v>
                </c:pt>
                <c:pt idx="922">
                  <c:v>0.9972730353098148</c:v>
                </c:pt>
                <c:pt idx="923">
                  <c:v>0.9972855876856881</c:v>
                </c:pt>
                <c:pt idx="924">
                  <c:v>0.9972981308925506</c:v>
                </c:pt>
                <c:pt idx="925">
                  <c:v>0.9973106710430761</c:v>
                </c:pt>
                <c:pt idx="926">
                  <c:v>0.9973231959119169</c:v>
                </c:pt>
                <c:pt idx="927">
                  <c:v>0.9973354182033991</c:v>
                </c:pt>
                <c:pt idx="928">
                  <c:v>0.9973476313258705</c:v>
                </c:pt>
                <c:pt idx="929">
                  <c:v>0.9973718191765307</c:v>
                </c:pt>
                <c:pt idx="930">
                  <c:v>0.9973836013554914</c:v>
                </c:pt>
                <c:pt idx="931">
                  <c:v>0.9973953315767239</c:v>
                </c:pt>
                <c:pt idx="932">
                  <c:v>0.9974070128965651</c:v>
                </c:pt>
                <c:pt idx="933">
                  <c:v>0.9974186116953085</c:v>
                </c:pt>
                <c:pt idx="934">
                  <c:v>0.9974415861801977</c:v>
                </c:pt>
                <c:pt idx="935">
                  <c:v>0.9974642305806958</c:v>
                </c:pt>
                <c:pt idx="936">
                  <c:v>0.9974754870697002</c:v>
                </c:pt>
                <c:pt idx="937">
                  <c:v>0.9974867038263243</c:v>
                </c:pt>
                <c:pt idx="938">
                  <c:v>0.9974978594562093</c:v>
                </c:pt>
                <c:pt idx="939">
                  <c:v>0.9975089386776704</c:v>
                </c:pt>
                <c:pt idx="940">
                  <c:v>0.9975199537160555</c:v>
                </c:pt>
                <c:pt idx="941">
                  <c:v>0.9975309595854297</c:v>
                </c:pt>
                <c:pt idx="942">
                  <c:v>0.997541953229456</c:v>
                </c:pt>
                <c:pt idx="943">
                  <c:v>0.9975529285354607</c:v>
                </c:pt>
                <c:pt idx="944">
                  <c:v>0.9975748485841005</c:v>
                </c:pt>
                <c:pt idx="945">
                  <c:v>0.9975857872140617</c:v>
                </c:pt>
                <c:pt idx="946">
                  <c:v>0.9975966830553055</c:v>
                </c:pt>
                <c:pt idx="947">
                  <c:v>0.9976075666712014</c:v>
                </c:pt>
                <c:pt idx="948">
                  <c:v>0.9976184319490757</c:v>
                </c:pt>
                <c:pt idx="949">
                  <c:v>0.9976292605509066</c:v>
                </c:pt>
                <c:pt idx="950">
                  <c:v>0.99764004636402</c:v>
                </c:pt>
                <c:pt idx="951">
                  <c:v>0.9976508168954488</c:v>
                </c:pt>
                <c:pt idx="952">
                  <c:v>0.9976615690888557</c:v>
                </c:pt>
                <c:pt idx="953">
                  <c:v>0.9976722876625562</c:v>
                </c:pt>
                <c:pt idx="954">
                  <c:v>0.9976829665038762</c:v>
                </c:pt>
                <c:pt idx="955">
                  <c:v>0.9976935872747942</c:v>
                </c:pt>
                <c:pt idx="956">
                  <c:v>0.9977040277218318</c:v>
                </c:pt>
                <c:pt idx="957">
                  <c:v>0.9977144651125324</c:v>
                </c:pt>
                <c:pt idx="958">
                  <c:v>0.9977352940488793</c:v>
                </c:pt>
                <c:pt idx="959">
                  <c:v>0.9977456611438299</c:v>
                </c:pt>
                <c:pt idx="960">
                  <c:v>0.997755994619074</c:v>
                </c:pt>
                <c:pt idx="961">
                  <c:v>0.99776627613659</c:v>
                </c:pt>
                <c:pt idx="962">
                  <c:v>0.9977764384569646</c:v>
                </c:pt>
                <c:pt idx="963">
                  <c:v>0.9977865763266437</c:v>
                </c:pt>
                <c:pt idx="964">
                  <c:v>0.9977967111399858</c:v>
                </c:pt>
                <c:pt idx="965">
                  <c:v>0.9978068031646106</c:v>
                </c:pt>
                <c:pt idx="966">
                  <c:v>0.9978168248934853</c:v>
                </c:pt>
                <c:pt idx="967">
                  <c:v>0.9978268343970123</c:v>
                </c:pt>
                <c:pt idx="968">
                  <c:v>0.9978368347315283</c:v>
                </c:pt>
                <c:pt idx="969">
                  <c:v>0.9978468197843596</c:v>
                </c:pt>
                <c:pt idx="970">
                  <c:v>0.997856804837191</c:v>
                </c:pt>
                <c:pt idx="971">
                  <c:v>0.9978667501576418</c:v>
                </c:pt>
                <c:pt idx="972">
                  <c:v>0.9978766435203644</c:v>
                </c:pt>
                <c:pt idx="973">
                  <c:v>0.9978864482493154</c:v>
                </c:pt>
                <c:pt idx="974">
                  <c:v>0.9978962499219294</c:v>
                </c:pt>
                <c:pt idx="975">
                  <c:v>0.9979059751861196</c:v>
                </c:pt>
                <c:pt idx="976">
                  <c:v>0.9979156851686249</c:v>
                </c:pt>
                <c:pt idx="977">
                  <c:v>0.9979253554187499</c:v>
                </c:pt>
                <c:pt idx="978">
                  <c:v>0.9979349064717337</c:v>
                </c:pt>
                <c:pt idx="979">
                  <c:v>0.9979444422430326</c:v>
                </c:pt>
                <c:pt idx="980">
                  <c:v>0.9979539413382881</c:v>
                </c:pt>
                <c:pt idx="981">
                  <c:v>0.9979634098701741</c:v>
                </c:pt>
                <c:pt idx="982">
                  <c:v>0.9979822644128482</c:v>
                </c:pt>
                <c:pt idx="983">
                  <c:v>0.9979916412546255</c:v>
                </c:pt>
                <c:pt idx="984">
                  <c:v>0.998010190163604</c:v>
                </c:pt>
                <c:pt idx="985">
                  <c:v>0.9980194050195227</c:v>
                </c:pt>
                <c:pt idx="986">
                  <c:v>0.9980285984810827</c:v>
                </c:pt>
                <c:pt idx="987">
                  <c:v>0.9980377399849145</c:v>
                </c:pt>
                <c:pt idx="988">
                  <c:v>0.9980468662070615</c:v>
                </c:pt>
                <c:pt idx="989">
                  <c:v>0.9980559435278172</c:v>
                </c:pt>
                <c:pt idx="990">
                  <c:v>0.9980649994542142</c:v>
                </c:pt>
                <c:pt idx="991">
                  <c:v>0.9980740462116005</c:v>
                </c:pt>
                <c:pt idx="992">
                  <c:v>0.9980830501802692</c:v>
                </c:pt>
                <c:pt idx="993">
                  <c:v>0.9981099092694279</c:v>
                </c:pt>
                <c:pt idx="994">
                  <c:v>0.9981188154353141</c:v>
                </c:pt>
                <c:pt idx="995">
                  <c:v>0.99812768186882</c:v>
                </c:pt>
                <c:pt idx="996">
                  <c:v>0.9981365391333149</c:v>
                </c:pt>
                <c:pt idx="997">
                  <c:v>0.9981453933414729</c:v>
                </c:pt>
                <c:pt idx="998">
                  <c:v>0.9981542292116092</c:v>
                </c:pt>
                <c:pt idx="999">
                  <c:v>0.9981630498000608</c:v>
                </c:pt>
                <c:pt idx="1000">
                  <c:v>0.9981718367688058</c:v>
                </c:pt>
                <c:pt idx="1001">
                  <c:v>0.9981805259347684</c:v>
                </c:pt>
                <c:pt idx="1002">
                  <c:v>0.998189202875383</c:v>
                </c:pt>
                <c:pt idx="1003">
                  <c:v>0.9981978737033238</c:v>
                </c:pt>
                <c:pt idx="1004">
                  <c:v>0.9982064925735363</c:v>
                </c:pt>
                <c:pt idx="1005">
                  <c:v>0.9982151053310749</c:v>
                </c:pt>
                <c:pt idx="1006">
                  <c:v>0.998223690581581</c:v>
                </c:pt>
                <c:pt idx="1007">
                  <c:v>0.9982322391560435</c:v>
                </c:pt>
                <c:pt idx="1008">
                  <c:v>0.9982407755051582</c:v>
                </c:pt>
                <c:pt idx="1009">
                  <c:v>0.9982492904599143</c:v>
                </c:pt>
                <c:pt idx="1010">
                  <c:v>0.9982575884147465</c:v>
                </c:pt>
                <c:pt idx="1011">
                  <c:v>0.9982741109723241</c:v>
                </c:pt>
                <c:pt idx="1012">
                  <c:v>0.9982823111243738</c:v>
                </c:pt>
                <c:pt idx="1013">
                  <c:v>0.9982904959947387</c:v>
                </c:pt>
                <c:pt idx="1014">
                  <c:v>0.9982986411327233</c:v>
                </c:pt>
                <c:pt idx="1015">
                  <c:v>0.9983066731862404</c:v>
                </c:pt>
                <c:pt idx="1016">
                  <c:v>0.9983146991270837</c:v>
                </c:pt>
                <c:pt idx="1017">
                  <c:v>0.9983227097862423</c:v>
                </c:pt>
                <c:pt idx="1018">
                  <c:v>0.9983306532059878</c:v>
                </c:pt>
                <c:pt idx="1019">
                  <c:v>0.9983385385553312</c:v>
                </c:pt>
                <c:pt idx="1020">
                  <c:v>0.9983464055666528</c:v>
                </c:pt>
                <c:pt idx="1021">
                  <c:v>0.9983619073076875</c:v>
                </c:pt>
                <c:pt idx="1022">
                  <c:v>0.9983696306711722</c:v>
                </c:pt>
                <c:pt idx="1023">
                  <c:v>0.998384924581294</c:v>
                </c:pt>
                <c:pt idx="1024">
                  <c:v>0.9984001237449702</c:v>
                </c:pt>
                <c:pt idx="1025">
                  <c:v>0.9984076881789333</c:v>
                </c:pt>
                <c:pt idx="1026">
                  <c:v>0.9984152373312116</c:v>
                </c:pt>
                <c:pt idx="1027">
                  <c:v>0.998422783427153</c:v>
                </c:pt>
                <c:pt idx="1028">
                  <c:v>0.9984453269685316</c:v>
                </c:pt>
                <c:pt idx="1029">
                  <c:v>0.9984527630363427</c:v>
                </c:pt>
                <c:pt idx="1030">
                  <c:v>0.9984601379774146</c:v>
                </c:pt>
                <c:pt idx="1031">
                  <c:v>0.9984674945804648</c:v>
                </c:pt>
                <c:pt idx="1032">
                  <c:v>0.998474851183515</c:v>
                </c:pt>
                <c:pt idx="1033">
                  <c:v>0.9984822016738912</c:v>
                </c:pt>
                <c:pt idx="1034">
                  <c:v>0.9984895429952566</c:v>
                </c:pt>
                <c:pt idx="1035">
                  <c:v>0.9984968445842416</c:v>
                </c:pt>
                <c:pt idx="1036">
                  <c:v>0.9985113132833856</c:v>
                </c:pt>
                <c:pt idx="1037">
                  <c:v>0.9985184742808707</c:v>
                </c:pt>
                <c:pt idx="1038">
                  <c:v>0.9985255986023123</c:v>
                </c:pt>
                <c:pt idx="1039">
                  <c:v>0.9985326770786995</c:v>
                </c:pt>
                <c:pt idx="1040">
                  <c:v>0.998539743329739</c:v>
                </c:pt>
                <c:pt idx="1041">
                  <c:v>0.9985468034681046</c:v>
                </c:pt>
                <c:pt idx="1042">
                  <c:v>0.9985538513811224</c:v>
                </c:pt>
                <c:pt idx="1043">
                  <c:v>0.9985608778997814</c:v>
                </c:pt>
                <c:pt idx="1044">
                  <c:v>0.9985678555170492</c:v>
                </c:pt>
                <c:pt idx="1045">
                  <c:v>0.9985747781202517</c:v>
                </c:pt>
                <c:pt idx="1046">
                  <c:v>0.9985816793290957</c:v>
                </c:pt>
                <c:pt idx="1047">
                  <c:v>0.9985885683125918</c:v>
                </c:pt>
                <c:pt idx="1048">
                  <c:v>0.9985954389580661</c:v>
                </c:pt>
                <c:pt idx="1049">
                  <c:v>0.9986022912655188</c:v>
                </c:pt>
                <c:pt idx="1050">
                  <c:v>0.9986091130096019</c:v>
                </c:pt>
                <c:pt idx="1051">
                  <c:v>0.998615931697348</c:v>
                </c:pt>
                <c:pt idx="1052">
                  <c:v>0.9986227473287571</c:v>
                </c:pt>
                <c:pt idx="1053">
                  <c:v>0.9986363388591951</c:v>
                </c:pt>
                <c:pt idx="1054">
                  <c:v>0.9986498662065569</c:v>
                </c:pt>
                <c:pt idx="1055">
                  <c:v>0.9986566115422162</c:v>
                </c:pt>
                <c:pt idx="1056">
                  <c:v>0.9986700961008608</c:v>
                </c:pt>
                <c:pt idx="1057">
                  <c:v>0.9986768230984983</c:v>
                </c:pt>
                <c:pt idx="1058">
                  <c:v>0.9986835348144509</c:v>
                </c:pt>
                <c:pt idx="1059">
                  <c:v>0.998696918513976</c:v>
                </c:pt>
                <c:pt idx="1060">
                  <c:v>0.9987168305492365</c:v>
                </c:pt>
                <c:pt idx="1061">
                  <c:v>0.998723432237059</c:v>
                </c:pt>
                <c:pt idx="1062">
                  <c:v>0.9987430722583305</c:v>
                </c:pt>
                <c:pt idx="1063">
                  <c:v>0.9987495608616855</c:v>
                </c:pt>
                <c:pt idx="1064">
                  <c:v>0.9987560341833558</c:v>
                </c:pt>
                <c:pt idx="1065">
                  <c:v>0.9987624861106673</c:v>
                </c:pt>
                <c:pt idx="1066">
                  <c:v>0.9987689349816419</c:v>
                </c:pt>
                <c:pt idx="1067">
                  <c:v>0.9987753716272687</c:v>
                </c:pt>
                <c:pt idx="1068">
                  <c:v>0.9987817807658629</c:v>
                </c:pt>
                <c:pt idx="1069">
                  <c:v>0.9987945684796817</c:v>
                </c:pt>
                <c:pt idx="1070">
                  <c:v>0.9988009348295586</c:v>
                </c:pt>
                <c:pt idx="1071">
                  <c:v>0.9988072950667615</c:v>
                </c:pt>
                <c:pt idx="1072">
                  <c:v>0.9988136216842579</c:v>
                </c:pt>
                <c:pt idx="1073">
                  <c:v>0.9988199330200696</c:v>
                </c:pt>
                <c:pt idx="1074">
                  <c:v>0.9988324273255407</c:v>
                </c:pt>
                <c:pt idx="1075">
                  <c:v>0.9988386714219393</c:v>
                </c:pt>
                <c:pt idx="1076">
                  <c:v>0.9988448329972401</c:v>
                </c:pt>
                <c:pt idx="1077">
                  <c:v>0.9988509854035301</c:v>
                </c:pt>
                <c:pt idx="1078">
                  <c:v>0.9988571041901136</c:v>
                </c:pt>
                <c:pt idx="1079">
                  <c:v>0.9988631771316429</c:v>
                </c:pt>
                <c:pt idx="1080">
                  <c:v>0.9988692347914873</c:v>
                </c:pt>
                <c:pt idx="1081">
                  <c:v>0.9988752893949947</c:v>
                </c:pt>
                <c:pt idx="1082">
                  <c:v>0.9988813256604804</c:v>
                </c:pt>
                <c:pt idx="1083">
                  <c:v>0.9988873558132921</c:v>
                </c:pt>
                <c:pt idx="1084">
                  <c:v>0.9988992999781116</c:v>
                </c:pt>
                <c:pt idx="1085">
                  <c:v>0.99890522315913</c:v>
                </c:pt>
                <c:pt idx="1086">
                  <c:v>0.9989111280021267</c:v>
                </c:pt>
                <c:pt idx="1087">
                  <c:v>0.998916990056406</c:v>
                </c:pt>
                <c:pt idx="1088">
                  <c:v>0.9989228337726636</c:v>
                </c:pt>
                <c:pt idx="1089">
                  <c:v>0.9989344723037874</c:v>
                </c:pt>
                <c:pt idx="1090">
                  <c:v>0.9989402701749907</c:v>
                </c:pt>
                <c:pt idx="1091">
                  <c:v>0.9989460344264874</c:v>
                </c:pt>
                <c:pt idx="1092">
                  <c:v>0.9989688744325507</c:v>
                </c:pt>
                <c:pt idx="1093">
                  <c:v>0.9989799567103488</c:v>
                </c:pt>
                <c:pt idx="1094">
                  <c:v>0.9989909442417013</c:v>
                </c:pt>
                <c:pt idx="1095">
                  <c:v>0.9989963356200896</c:v>
                </c:pt>
                <c:pt idx="1096">
                  <c:v>0.9990123752764284</c:v>
                </c:pt>
                <c:pt idx="1097">
                  <c:v>0.9990176566266863</c:v>
                </c:pt>
                <c:pt idx="1098">
                  <c:v>0.9990229318642703</c:v>
                </c:pt>
                <c:pt idx="1099">
                  <c:v>0.9990281490314521</c:v>
                </c:pt>
                <c:pt idx="1100">
                  <c:v>0.9990333661986339</c:v>
                </c:pt>
                <c:pt idx="1101">
                  <c:v>0.9990385772531418</c:v>
                </c:pt>
                <c:pt idx="1102">
                  <c:v>0.9990437883076497</c:v>
                </c:pt>
                <c:pt idx="1103">
                  <c:v>0.9990489901931467</c:v>
                </c:pt>
                <c:pt idx="1104">
                  <c:v>0.9990541523462634</c:v>
                </c:pt>
                <c:pt idx="1105">
                  <c:v>0.999059311443043</c:v>
                </c:pt>
                <c:pt idx="1106">
                  <c:v>0.9990644002440727</c:v>
                </c:pt>
                <c:pt idx="1107">
                  <c:v>0.9990745381137518</c:v>
                </c:pt>
                <c:pt idx="1108">
                  <c:v>0.9990795382810098</c:v>
                </c:pt>
                <c:pt idx="1109">
                  <c:v>0.9990845201102462</c:v>
                </c:pt>
                <c:pt idx="1110">
                  <c:v>0.9990894927704717</c:v>
                </c:pt>
                <c:pt idx="1111">
                  <c:v>0.9990944623743602</c:v>
                </c:pt>
                <c:pt idx="1112">
                  <c:v>0.9990994258655748</c:v>
                </c:pt>
                <c:pt idx="1113">
                  <c:v>0.9991043771314415</c:v>
                </c:pt>
                <c:pt idx="1114">
                  <c:v>0.9991141757477185</c:v>
                </c:pt>
                <c:pt idx="1115">
                  <c:v>0.9991190292108028</c:v>
                </c:pt>
                <c:pt idx="1116">
                  <c:v>0.9991238704485391</c:v>
                </c:pt>
                <c:pt idx="1117">
                  <c:v>0.9991286994609276</c:v>
                </c:pt>
                <c:pt idx="1118">
                  <c:v>0.9991335070789575</c:v>
                </c:pt>
                <c:pt idx="1119">
                  <c:v>0.9991383116406505</c:v>
                </c:pt>
                <c:pt idx="1120">
                  <c:v>0.9991430734136261</c:v>
                </c:pt>
                <c:pt idx="1121">
                  <c:v>0.9991525755652185</c:v>
                </c:pt>
                <c:pt idx="1122">
                  <c:v>0.9991572914931398</c:v>
                </c:pt>
                <c:pt idx="1123">
                  <c:v>0.9991620013083872</c:v>
                </c:pt>
                <c:pt idx="1124">
                  <c:v>0.9991666836166019</c:v>
                </c:pt>
                <c:pt idx="1125">
                  <c:v>0.9991759320922271</c:v>
                </c:pt>
                <c:pt idx="1126">
                  <c:v>0.9991850430326894</c:v>
                </c:pt>
                <c:pt idx="1127">
                  <c:v>0.9991895847494042</c:v>
                </c:pt>
                <c:pt idx="1128">
                  <c:v>0.9991941203534451</c:v>
                </c:pt>
                <c:pt idx="1129">
                  <c:v>0.9991986376194643</c:v>
                </c:pt>
                <c:pt idx="1130">
                  <c:v>0.9992031518291465</c:v>
                </c:pt>
                <c:pt idx="1131">
                  <c:v>0.999207653813481</c:v>
                </c:pt>
                <c:pt idx="1132">
                  <c:v>0.9992121191217719</c:v>
                </c:pt>
                <c:pt idx="1133">
                  <c:v>0.9992165813737259</c:v>
                </c:pt>
                <c:pt idx="1134">
                  <c:v>0.9992210314003321</c:v>
                </c:pt>
                <c:pt idx="1135">
                  <c:v>0.9992254416945578</c:v>
                </c:pt>
                <c:pt idx="1136">
                  <c:v>0.9992298122564032</c:v>
                </c:pt>
                <c:pt idx="1137">
                  <c:v>0.9992341644802268</c:v>
                </c:pt>
                <c:pt idx="1138">
                  <c:v>0.9992427986321242</c:v>
                </c:pt>
                <c:pt idx="1139">
                  <c:v>0.9992470927855457</c:v>
                </c:pt>
                <c:pt idx="1140">
                  <c:v>0.9992513624882715</c:v>
                </c:pt>
                <c:pt idx="1141">
                  <c:v>0.9992556046839648</c:v>
                </c:pt>
                <c:pt idx="1142">
                  <c:v>0.9992639484838514</c:v>
                </c:pt>
                <c:pt idx="1143">
                  <c:v>0.9992681051021098</c:v>
                </c:pt>
                <c:pt idx="1144">
                  <c:v>0.9992722556076944</c:v>
                </c:pt>
                <c:pt idx="1145">
                  <c:v>0.9992763816625834</c:v>
                </c:pt>
                <c:pt idx="1146">
                  <c:v>0.9992804893794506</c:v>
                </c:pt>
                <c:pt idx="1147">
                  <c:v>0.9992845604202744</c:v>
                </c:pt>
                <c:pt idx="1148">
                  <c:v>0.9992885917287178</c:v>
                </c:pt>
                <c:pt idx="1149">
                  <c:v>0.9992926108118133</c:v>
                </c:pt>
                <c:pt idx="1150">
                  <c:v>0.9992966085005501</c:v>
                </c:pt>
                <c:pt idx="1151">
                  <c:v>0.9993005847949283</c:v>
                </c:pt>
                <c:pt idx="1152">
                  <c:v>0.9993044388358283</c:v>
                </c:pt>
                <c:pt idx="1153">
                  <c:v>0.9993120491148457</c:v>
                </c:pt>
                <c:pt idx="1154">
                  <c:v>0.9993158420290066</c:v>
                </c:pt>
                <c:pt idx="1155">
                  <c:v>0.9993196196614827</c:v>
                </c:pt>
                <c:pt idx="1156">
                  <c:v>0.9993233758996002</c:v>
                </c:pt>
                <c:pt idx="1157">
                  <c:v>0.9993308394744438</c:v>
                </c:pt>
                <c:pt idx="1158">
                  <c:v>0.9993345498675069</c:v>
                </c:pt>
                <c:pt idx="1159">
                  <c:v>0.9993382327535374</c:v>
                </c:pt>
                <c:pt idx="1160">
                  <c:v>0.9993419095268941</c:v>
                </c:pt>
                <c:pt idx="1161">
                  <c:v>0.9993455435115333</c:v>
                </c:pt>
                <c:pt idx="1162">
                  <c:v>0.9993491622144878</c:v>
                </c:pt>
                <c:pt idx="1163">
                  <c:v>0.9993527625794205</c:v>
                </c:pt>
                <c:pt idx="1164">
                  <c:v>0.9993563598880163</c:v>
                </c:pt>
                <c:pt idx="1165">
                  <c:v>0.9993599449712642</c:v>
                </c:pt>
                <c:pt idx="1166">
                  <c:v>0.9993635269981752</c:v>
                </c:pt>
                <c:pt idx="1167">
                  <c:v>0.9993706727139756</c:v>
                </c:pt>
                <c:pt idx="1168">
                  <c:v>0.999374230290191</c:v>
                </c:pt>
                <c:pt idx="1169">
                  <c:v>0.9993777725847216</c:v>
                </c:pt>
                <c:pt idx="1170">
                  <c:v>0.9993848296667501</c:v>
                </c:pt>
                <c:pt idx="1171">
                  <c:v>0.9993883291725634</c:v>
                </c:pt>
                <c:pt idx="1172">
                  <c:v>0.9993952884518094</c:v>
                </c:pt>
                <c:pt idx="1173">
                  <c:v>0.9993987635069269</c:v>
                </c:pt>
                <c:pt idx="1174">
                  <c:v>0.9994022324493707</c:v>
                </c:pt>
                <c:pt idx="1175">
                  <c:v>0.9994091214328668</c:v>
                </c:pt>
                <c:pt idx="1176">
                  <c:v>0.999412547586593</c:v>
                </c:pt>
                <c:pt idx="1177">
                  <c:v>0.9994159584586346</c:v>
                </c:pt>
                <c:pt idx="1178">
                  <c:v>0.9994193693306762</c:v>
                </c:pt>
                <c:pt idx="1179">
                  <c:v>0.999422764921033</c:v>
                </c:pt>
                <c:pt idx="1180">
                  <c:v>0.9994295347073878</c:v>
                </c:pt>
                <c:pt idx="1181">
                  <c:v>0.999436142507884</c:v>
                </c:pt>
                <c:pt idx="1182">
                  <c:v>0.9994394250137735</c:v>
                </c:pt>
                <c:pt idx="1183">
                  <c:v>0.999442701406989</c:v>
                </c:pt>
                <c:pt idx="1184">
                  <c:v>0.9994492083483657</c:v>
                </c:pt>
                <c:pt idx="1185">
                  <c:v>0.9994524480655378</c:v>
                </c:pt>
                <c:pt idx="1186">
                  <c:v>0.999458921387208</c:v>
                </c:pt>
                <c:pt idx="1187">
                  <c:v>0.9994653152441174</c:v>
                </c:pt>
                <c:pt idx="1188">
                  <c:v>0.99946845410217</c:v>
                </c:pt>
                <c:pt idx="1189">
                  <c:v>0.9994747043112425</c:v>
                </c:pt>
                <c:pt idx="1190">
                  <c:v>0.99948089950625</c:v>
                </c:pt>
                <c:pt idx="1191">
                  <c:v>0.9994839772375634</c:v>
                </c:pt>
                <c:pt idx="1192">
                  <c:v>0.9994870305181812</c:v>
                </c:pt>
                <c:pt idx="1193">
                  <c:v>0.9994900776861252</c:v>
                </c:pt>
                <c:pt idx="1194">
                  <c:v>0.9994991122181635</c:v>
                </c:pt>
                <c:pt idx="1195">
                  <c:v>0.9995021104847162</c:v>
                </c:pt>
                <c:pt idx="1196">
                  <c:v>0.9995050873569101</c:v>
                </c:pt>
                <c:pt idx="1197">
                  <c:v>0.9995109708055481</c:v>
                </c:pt>
                <c:pt idx="1198">
                  <c:v>0.9995138896073399</c:v>
                </c:pt>
                <c:pt idx="1199">
                  <c:v>0.9995225145902262</c:v>
                </c:pt>
                <c:pt idx="1200">
                  <c:v>0.9995253600399311</c:v>
                </c:pt>
                <c:pt idx="1201">
                  <c:v>0.9995309867562648</c:v>
                </c:pt>
                <c:pt idx="1202">
                  <c:v>0.99953652178249</c:v>
                </c:pt>
                <c:pt idx="1203">
                  <c:v>0.9995392541477276</c:v>
                </c:pt>
                <c:pt idx="1204">
                  <c:v>0.9995419865129652</c:v>
                </c:pt>
                <c:pt idx="1205">
                  <c:v>0.999544703596518</c:v>
                </c:pt>
                <c:pt idx="1206">
                  <c:v>0.9995500582988628</c:v>
                </c:pt>
                <c:pt idx="1207">
                  <c:v>0.9995527173120135</c:v>
                </c:pt>
                <c:pt idx="1208">
                  <c:v>0.9995553763251641</c:v>
                </c:pt>
                <c:pt idx="1209">
                  <c:v>0.9995580047749453</c:v>
                </c:pt>
                <c:pt idx="1210">
                  <c:v>0.9995606240557156</c:v>
                </c:pt>
                <c:pt idx="1211">
                  <c:v>0.9995657831524952</c:v>
                </c:pt>
                <c:pt idx="1212">
                  <c:v>0.999568304630483</c:v>
                </c:pt>
                <c:pt idx="1213">
                  <c:v>0.9995732895160562</c:v>
                </c:pt>
                <c:pt idx="1214">
                  <c:v>0.9995782285565752</c:v>
                </c:pt>
                <c:pt idx="1215">
                  <c:v>0.9995854292864407</c:v>
                </c:pt>
                <c:pt idx="1216">
                  <c:v>0.9995877673842111</c:v>
                </c:pt>
                <c:pt idx="1217">
                  <c:v>0.9995901024256445</c:v>
                </c:pt>
                <c:pt idx="1218">
                  <c:v>0.9995970189161733</c:v>
                </c:pt>
                <c:pt idx="1219">
                  <c:v>0.9995993142252263</c:v>
                </c:pt>
                <c:pt idx="1220">
                  <c:v>0.9996061512509941</c:v>
                </c:pt>
                <c:pt idx="1221">
                  <c:v>0.9996084190530146</c:v>
                </c:pt>
                <c:pt idx="1222">
                  <c:v>0.9996106807423611</c:v>
                </c:pt>
                <c:pt idx="1223">
                  <c:v>0.9996174383033682</c:v>
                </c:pt>
                <c:pt idx="1224">
                  <c:v>0.999624085836245</c:v>
                </c:pt>
                <c:pt idx="1225">
                  <c:v>0.9996262741735046</c:v>
                </c:pt>
                <c:pt idx="1226">
                  <c:v>0.9996284625107642</c:v>
                </c:pt>
                <c:pt idx="1227">
                  <c:v>0.9996327627768596</c:v>
                </c:pt>
                <c:pt idx="1228">
                  <c:v>0.9996370049725528</c:v>
                </c:pt>
                <c:pt idx="1229">
                  <c:v>0.9996433010266798</c:v>
                </c:pt>
                <c:pt idx="1230">
                  <c:v>0.9996474423632535</c:v>
                </c:pt>
                <c:pt idx="1231">
                  <c:v>0.9996514858970447</c:v>
                </c:pt>
                <c:pt idx="1232">
                  <c:v>0.9996535030794348</c:v>
                </c:pt>
                <c:pt idx="1233">
                  <c:v>0.9996554927547924</c:v>
                </c:pt>
                <c:pt idx="1234">
                  <c:v>0.9996594629364967</c:v>
                </c:pt>
                <c:pt idx="1235">
                  <c:v>0.9996634025548313</c:v>
                </c:pt>
                <c:pt idx="1236">
                  <c:v>0.9996653616668193</c:v>
                </c:pt>
                <c:pt idx="1237">
                  <c:v>0.9996692707217846</c:v>
                </c:pt>
                <c:pt idx="1238">
                  <c:v>0.9996712206647618</c:v>
                </c:pt>
                <c:pt idx="1239">
                  <c:v>0.9996731614387281</c:v>
                </c:pt>
                <c:pt idx="1240">
                  <c:v>0.9996808542388433</c:v>
                </c:pt>
                <c:pt idx="1241">
                  <c:v>0.9996846104769608</c:v>
                </c:pt>
                <c:pt idx="1242">
                  <c:v>0.9996864778988401</c:v>
                </c:pt>
                <c:pt idx="1243">
                  <c:v>0.9996883422643825</c:v>
                </c:pt>
                <c:pt idx="1244">
                  <c:v>0.9996938986849663</c:v>
                </c:pt>
                <c:pt idx="1245">
                  <c:v>0.9996957202617913</c:v>
                </c:pt>
                <c:pt idx="1246">
                  <c:v>0.9996975235005946</c:v>
                </c:pt>
                <c:pt idx="1247">
                  <c:v>0.9997011146965166</c:v>
                </c:pt>
                <c:pt idx="1248">
                  <c:v>0.9997029087663091</c:v>
                </c:pt>
                <c:pt idx="1249">
                  <c:v>0.9997064877368832</c:v>
                </c:pt>
                <c:pt idx="1250">
                  <c:v>0.9997118118758584</c:v>
                </c:pt>
                <c:pt idx="1251">
                  <c:v>0.9997135662132705</c:v>
                </c:pt>
                <c:pt idx="1252">
                  <c:v>0.9997153205506825</c:v>
                </c:pt>
                <c:pt idx="1253">
                  <c:v>0.9997187436480718</c:v>
                </c:pt>
                <c:pt idx="1254">
                  <c:v>0.9997204490840925</c:v>
                </c:pt>
                <c:pt idx="1255">
                  <c:v>0.9997221422947655</c:v>
                </c:pt>
                <c:pt idx="1256">
                  <c:v>0.9997238324491016</c:v>
                </c:pt>
                <c:pt idx="1257">
                  <c:v>0.9997288723487401</c:v>
                </c:pt>
                <c:pt idx="1258">
                  <c:v>0.9997305349960435</c:v>
                </c:pt>
                <c:pt idx="1259">
                  <c:v>0.9997321915306729</c:v>
                </c:pt>
                <c:pt idx="1260">
                  <c:v>0.9997338450089654</c:v>
                </c:pt>
                <c:pt idx="1261">
                  <c:v>0.999735492374584</c:v>
                </c:pt>
                <c:pt idx="1262">
                  <c:v>0.9997387626551257</c:v>
                </c:pt>
                <c:pt idx="1263">
                  <c:v>0.9997436589069274</c:v>
                </c:pt>
                <c:pt idx="1264">
                  <c:v>0.9997452818218504</c:v>
                </c:pt>
                <c:pt idx="1265">
                  <c:v>0.9997469016804365</c:v>
                </c:pt>
                <c:pt idx="1266">
                  <c:v>0.9997485184826855</c:v>
                </c:pt>
                <c:pt idx="1267">
                  <c:v>0.9997501047215651</c:v>
                </c:pt>
                <c:pt idx="1268">
                  <c:v>0.9997516848477708</c:v>
                </c:pt>
                <c:pt idx="1269">
                  <c:v>0.9997532405232807</c:v>
                </c:pt>
                <c:pt idx="1270">
                  <c:v>0.9997547961987907</c:v>
                </c:pt>
                <c:pt idx="1271">
                  <c:v>0.9997579044934737</c:v>
                </c:pt>
                <c:pt idx="1272">
                  <c:v>0.9997594448872988</c:v>
                </c:pt>
                <c:pt idx="1273">
                  <c:v>0.9997609761121132</c:v>
                </c:pt>
                <c:pt idx="1274">
                  <c:v>0.9997670368282946</c:v>
                </c:pt>
                <c:pt idx="1275">
                  <c:v>0.9997714960239117</c:v>
                </c:pt>
                <c:pt idx="1276">
                  <c:v>0.9997729447276282</c:v>
                </c:pt>
                <c:pt idx="1277">
                  <c:v>0.9997743781496601</c:v>
                </c:pt>
                <c:pt idx="1278">
                  <c:v>0.9997758115716919</c:v>
                </c:pt>
                <c:pt idx="1279">
                  <c:v>0.999778647852386</c:v>
                </c:pt>
                <c:pt idx="1280">
                  <c:v>0.9997800629363961</c:v>
                </c:pt>
                <c:pt idx="1281">
                  <c:v>0.9997842470616871</c:v>
                </c:pt>
                <c:pt idx="1282">
                  <c:v>0.9997870130466312</c:v>
                </c:pt>
                <c:pt idx="1283">
                  <c:v>0.9997883853419239</c:v>
                </c:pt>
                <c:pt idx="1284">
                  <c:v>0.9997897545808797</c:v>
                </c:pt>
                <c:pt idx="1285">
                  <c:v>0.9997924716644325</c:v>
                </c:pt>
                <c:pt idx="1286">
                  <c:v>0.9997951153958984</c:v>
                </c:pt>
                <c:pt idx="1287">
                  <c:v>0.9997990061128418</c:v>
                </c:pt>
                <c:pt idx="1288">
                  <c:v>0.9998015673232099</c:v>
                </c:pt>
                <c:pt idx="1289">
                  <c:v>0.9998028387593831</c:v>
                </c:pt>
                <c:pt idx="1290">
                  <c:v>0.9998041071392194</c:v>
                </c:pt>
                <c:pt idx="1291">
                  <c:v>0.9998053694063818</c:v>
                </c:pt>
                <c:pt idx="1292">
                  <c:v>0.9998091470388579</c:v>
                </c:pt>
                <c:pt idx="1293">
                  <c:v>0.9998141258117572</c:v>
                </c:pt>
                <c:pt idx="1294">
                  <c:v>0.9998153605718869</c:v>
                </c:pt>
                <c:pt idx="1295">
                  <c:v>0.9998177995287769</c:v>
                </c:pt>
                <c:pt idx="1296">
                  <c:v>0.9998190037255371</c:v>
                </c:pt>
                <c:pt idx="1297">
                  <c:v>0.9998201926406125</c:v>
                </c:pt>
                <c:pt idx="1298">
                  <c:v>0.9998225490764047</c:v>
                </c:pt>
                <c:pt idx="1299">
                  <c:v>0.9998248810615012</c:v>
                </c:pt>
                <c:pt idx="1300">
                  <c:v>0.9998260180188484</c:v>
                </c:pt>
                <c:pt idx="1301">
                  <c:v>0.9998305200031828</c:v>
                </c:pt>
                <c:pt idx="1302">
                  <c:v>0.9998316294534975</c:v>
                </c:pt>
                <c:pt idx="1303">
                  <c:v>0.9998338391851158</c:v>
                </c:pt>
                <c:pt idx="1304">
                  <c:v>0.9998360397477233</c:v>
                </c:pt>
                <c:pt idx="1305">
                  <c:v>0.9998371278036792</c:v>
                </c:pt>
                <c:pt idx="1306">
                  <c:v>0.9998382097469611</c:v>
                </c:pt>
                <c:pt idx="1307">
                  <c:v>0.9998403277884709</c:v>
                </c:pt>
                <c:pt idx="1308">
                  <c:v>0.9998413730557094</c:v>
                </c:pt>
                <c:pt idx="1309">
                  <c:v>0.999842412210274</c:v>
                </c:pt>
                <c:pt idx="1310">
                  <c:v>0.9998434391394908</c:v>
                </c:pt>
                <c:pt idx="1311">
                  <c:v>0.9998444599560337</c:v>
                </c:pt>
                <c:pt idx="1312">
                  <c:v>0.9998464740820869</c:v>
                </c:pt>
                <c:pt idx="1313">
                  <c:v>0.9998474796169451</c:v>
                </c:pt>
                <c:pt idx="1314">
                  <c:v>0.9998484820954663</c:v>
                </c:pt>
                <c:pt idx="1315">
                  <c:v>0.9998494815176505</c:v>
                </c:pt>
                <c:pt idx="1316">
                  <c:v>0.9998504778834978</c:v>
                </c:pt>
                <c:pt idx="1317">
                  <c:v>0.9998514650803342</c:v>
                </c:pt>
                <c:pt idx="1318">
                  <c:v>0.9998524400518227</c:v>
                </c:pt>
                <c:pt idx="1319">
                  <c:v>0.9998562574166794</c:v>
                </c:pt>
                <c:pt idx="1320">
                  <c:v>0.9998581126132109</c:v>
                </c:pt>
                <c:pt idx="1321">
                  <c:v>0.9998590295142973</c:v>
                </c:pt>
                <c:pt idx="1322">
                  <c:v>0.9998608541474593</c:v>
                </c:pt>
                <c:pt idx="1323">
                  <c:v>0.9998644545123921</c:v>
                </c:pt>
                <c:pt idx="1324">
                  <c:v>0.999865346962783</c:v>
                </c:pt>
                <c:pt idx="1325">
                  <c:v>0.9998671257508907</c:v>
                </c:pt>
                <c:pt idx="1326">
                  <c:v>0.9998688770319657</c:v>
                </c:pt>
                <c:pt idx="1327">
                  <c:v>0.999870603862345</c:v>
                </c:pt>
                <c:pt idx="1328">
                  <c:v>0.9998714565803555</c:v>
                </c:pt>
                <c:pt idx="1329">
                  <c:v>0.9998739780583432</c:v>
                </c:pt>
                <c:pt idx="1330">
                  <c:v>0.9998748093819949</c:v>
                </c:pt>
                <c:pt idx="1331">
                  <c:v>0.9998764598039505</c:v>
                </c:pt>
                <c:pt idx="1332">
                  <c:v>0.9998772819585913</c:v>
                </c:pt>
                <c:pt idx="1333">
                  <c:v>0.999879720915481</c:v>
                </c:pt>
                <c:pt idx="1334">
                  <c:v>0.9998813285487194</c:v>
                </c:pt>
                <c:pt idx="1335">
                  <c:v>0.9998821293090016</c:v>
                </c:pt>
                <c:pt idx="1336">
                  <c:v>0.9998829239566098</c:v>
                </c:pt>
                <c:pt idx="1337">
                  <c:v>0.9998837155478811</c:v>
                </c:pt>
                <c:pt idx="1338">
                  <c:v>0.9998845040828155</c:v>
                </c:pt>
                <c:pt idx="1339">
                  <c:v>0.9998860750400103</c:v>
                </c:pt>
                <c:pt idx="1340">
                  <c:v>0.9998868482932598</c:v>
                </c:pt>
                <c:pt idx="1341">
                  <c:v>0.9998876215465093</c:v>
                </c:pt>
                <c:pt idx="1342">
                  <c:v>0.9998891558276606</c:v>
                </c:pt>
                <c:pt idx="1343">
                  <c:v>0.9998899199118992</c:v>
                </c:pt>
                <c:pt idx="1344">
                  <c:v>0.9998906656581162</c:v>
                </c:pt>
                <c:pt idx="1345">
                  <c:v>0.9998950515016464</c:v>
                </c:pt>
                <c:pt idx="1346">
                  <c:v>0.9998964849236781</c:v>
                </c:pt>
                <c:pt idx="1347">
                  <c:v>0.9998986121341986</c:v>
                </c:pt>
                <c:pt idx="1348">
                  <c:v>0.9998993150916983</c:v>
                </c:pt>
                <c:pt idx="1349">
                  <c:v>0.9999000180491979</c:v>
                </c:pt>
                <c:pt idx="1350">
                  <c:v>0.9999007179503606</c:v>
                </c:pt>
                <c:pt idx="1351">
                  <c:v>0.9999028023721639</c:v>
                </c:pt>
                <c:pt idx="1352">
                  <c:v>0.9999034900479787</c:v>
                </c:pt>
                <c:pt idx="1353">
                  <c:v>0.9999055133430428</c:v>
                </c:pt>
                <c:pt idx="1354">
                  <c:v>0.9999061796244989</c:v>
                </c:pt>
                <c:pt idx="1355">
                  <c:v>0.9999068428496181</c:v>
                </c:pt>
                <c:pt idx="1356">
                  <c:v>0.9999081601308455</c:v>
                </c:pt>
                <c:pt idx="1357">
                  <c:v>0.9999094621303882</c:v>
                </c:pt>
                <c:pt idx="1358">
                  <c:v>0.9999101039611488</c:v>
                </c:pt>
                <c:pt idx="1359">
                  <c:v>0.9999113876226698</c:v>
                </c:pt>
                <c:pt idx="1360">
                  <c:v>0.9999151805368308</c:v>
                </c:pt>
                <c:pt idx="1361">
                  <c:v>0.9999158040295696</c:v>
                </c:pt>
                <c:pt idx="1362">
                  <c:v>0.9999164275223084</c:v>
                </c:pt>
                <c:pt idx="1363">
                  <c:v>0.999917665338775</c:v>
                </c:pt>
                <c:pt idx="1364">
                  <c:v>0.9999189000989047</c:v>
                </c:pt>
                <c:pt idx="1365">
                  <c:v>0.9999195144226326</c:v>
                </c:pt>
                <c:pt idx="1366">
                  <c:v>0.9999201256900235</c:v>
                </c:pt>
                <c:pt idx="1367">
                  <c:v>0.9999219350415008</c:v>
                </c:pt>
                <c:pt idx="1368">
                  <c:v>0.9999242884209562</c:v>
                </c:pt>
                <c:pt idx="1369">
                  <c:v>0.999925446772662</c:v>
                </c:pt>
                <c:pt idx="1370">
                  <c:v>0.9999260213640095</c:v>
                </c:pt>
                <c:pt idx="1371">
                  <c:v>0.9999265928990201</c:v>
                </c:pt>
                <c:pt idx="1372">
                  <c:v>0.9999277298563672</c:v>
                </c:pt>
                <c:pt idx="1373">
                  <c:v>0.9999282922223669</c:v>
                </c:pt>
                <c:pt idx="1374">
                  <c:v>0.9999310490383001</c:v>
                </c:pt>
                <c:pt idx="1375">
                  <c:v>0.9999315930662781</c:v>
                </c:pt>
                <c:pt idx="1376">
                  <c:v>0.9999321340379191</c:v>
                </c:pt>
                <c:pt idx="1377">
                  <c:v>0.999935334022711</c:v>
                </c:pt>
                <c:pt idx="1378">
                  <c:v>0.9999399521478495</c:v>
                </c:pt>
                <c:pt idx="1379">
                  <c:v>0.9999414253022618</c:v>
                </c:pt>
                <c:pt idx="1380">
                  <c:v>0.9999424002737505</c:v>
                </c:pt>
                <c:pt idx="1381">
                  <c:v>0.9999433599635543</c:v>
                </c:pt>
                <c:pt idx="1382">
                  <c:v>0.9999438336957823</c:v>
                </c:pt>
                <c:pt idx="1383">
                  <c:v>0.9999447597658796</c:v>
                </c:pt>
                <c:pt idx="1384">
                  <c:v>0.9999452182164228</c:v>
                </c:pt>
                <c:pt idx="1385">
                  <c:v>0.999945676666966</c:v>
                </c:pt>
                <c:pt idx="1386">
                  <c:v>0.9999465843990415</c:v>
                </c:pt>
                <c:pt idx="1387">
                  <c:v>0.9999479352999754</c:v>
                </c:pt>
                <c:pt idx="1388">
                  <c:v>0.9999483845815077</c:v>
                </c:pt>
                <c:pt idx="1389">
                  <c:v>0.9999501480879308</c:v>
                </c:pt>
                <c:pt idx="1390">
                  <c:v>0.9999518688056365</c:v>
                </c:pt>
                <c:pt idx="1391">
                  <c:v>0.9999551849312324</c:v>
                </c:pt>
                <c:pt idx="1392">
                  <c:v>0.9999563860716555</c:v>
                </c:pt>
                <c:pt idx="1393">
                  <c:v>0.9999579356344916</c:v>
                </c:pt>
                <c:pt idx="1394">
                  <c:v>0.9999586936060565</c:v>
                </c:pt>
                <c:pt idx="1395">
                  <c:v>0.9999594362959365</c:v>
                </c:pt>
                <c:pt idx="1396">
                  <c:v>0.9999598000000341</c:v>
                </c:pt>
                <c:pt idx="1397">
                  <c:v>0.9999612334220659</c:v>
                </c:pt>
                <c:pt idx="1398">
                  <c:v>0.999962639337065</c:v>
                </c:pt>
                <c:pt idx="1399">
                  <c:v>0.9999646901391613</c:v>
                </c:pt>
                <c:pt idx="1400">
                  <c:v>0.9999663558428019</c:v>
                </c:pt>
                <c:pt idx="1401">
                  <c:v>0.9999666859271931</c:v>
                </c:pt>
                <c:pt idx="1402">
                  <c:v>0.9999670068425733</c:v>
                </c:pt>
                <c:pt idx="1403">
                  <c:v>0.9999679634760402</c:v>
                </c:pt>
                <c:pt idx="1404">
                  <c:v>0.9999682813350835</c:v>
                </c:pt>
                <c:pt idx="1405">
                  <c:v>0.999968590025116</c:v>
                </c:pt>
                <c:pt idx="1406">
                  <c:v>0.9999688987151484</c:v>
                </c:pt>
                <c:pt idx="1407">
                  <c:v>0.9999692043488438</c:v>
                </c:pt>
                <c:pt idx="1408">
                  <c:v>0.9999704207709518</c:v>
                </c:pt>
                <c:pt idx="1409">
                  <c:v>0.9999727649813958</c:v>
                </c:pt>
                <c:pt idx="1410">
                  <c:v>0.9999747302060579</c:v>
                </c:pt>
                <c:pt idx="1411">
                  <c:v>0.9999763684026658</c:v>
                </c:pt>
                <c:pt idx="1412">
                  <c:v>0.9999766373603178</c:v>
                </c:pt>
                <c:pt idx="1413">
                  <c:v>0.999977169162948</c:v>
                </c:pt>
                <c:pt idx="1414">
                  <c:v>0.9999784558808059</c:v>
                </c:pt>
                <c:pt idx="1415">
                  <c:v>0.9999791924580119</c:v>
                </c:pt>
                <c:pt idx="1416">
                  <c:v>0.9999794369649683</c:v>
                </c:pt>
                <c:pt idx="1417">
                  <c:v>0.9999810996122717</c:v>
                </c:pt>
                <c:pt idx="1418">
                  <c:v>0.999981555006478</c:v>
                </c:pt>
                <c:pt idx="1419">
                  <c:v>0.9999820012316735</c:v>
                </c:pt>
                <c:pt idx="1420">
                  <c:v>0.999982441344195</c:v>
                </c:pt>
                <c:pt idx="1421">
                  <c:v>0.9999830923439664</c:v>
                </c:pt>
                <c:pt idx="1422">
                  <c:v>0.9999835202311401</c:v>
                </c:pt>
                <c:pt idx="1423">
                  <c:v>0.999983728062053</c:v>
                </c:pt>
                <c:pt idx="1424">
                  <c:v>0.9999841406675419</c:v>
                </c:pt>
                <c:pt idx="1425">
                  <c:v>0.9999851462024</c:v>
                </c:pt>
                <c:pt idx="1426">
                  <c:v>0.999985344864302</c:v>
                </c:pt>
                <c:pt idx="1427">
                  <c:v>0.9999861150612145</c:v>
                </c:pt>
                <c:pt idx="1428">
                  <c:v>0.9999862984414317</c:v>
                </c:pt>
                <c:pt idx="1429">
                  <c:v>0.999987025849627</c:v>
                </c:pt>
                <c:pt idx="1430">
                  <c:v>0.9999872061735073</c:v>
                </c:pt>
                <c:pt idx="1431">
                  <c:v>0.9999875668212681</c:v>
                </c:pt>
                <c:pt idx="1432">
                  <c:v>0.9999877440888115</c:v>
                </c:pt>
                <c:pt idx="1433">
                  <c:v>0.9999884470463113</c:v>
                </c:pt>
                <c:pt idx="1434">
                  <c:v>0.9999886212575178</c:v>
                </c:pt>
                <c:pt idx="1435">
                  <c:v>0.9999889635672568</c:v>
                </c:pt>
                <c:pt idx="1436">
                  <c:v>0.9999894709191913</c:v>
                </c:pt>
                <c:pt idx="1437">
                  <c:v>0.9999905620314842</c:v>
                </c:pt>
                <c:pt idx="1438">
                  <c:v>0.9999913077777011</c:v>
                </c:pt>
                <c:pt idx="1439">
                  <c:v>0.9999914514255379</c:v>
                </c:pt>
                <c:pt idx="1440">
                  <c:v>0.9999915920170378</c:v>
                </c:pt>
                <c:pt idx="1441">
                  <c:v>0.9999917326085377</c:v>
                </c:pt>
                <c:pt idx="1442">
                  <c:v>0.9999922949745372</c:v>
                </c:pt>
                <c:pt idx="1443">
                  <c:v>0.999992710636363</c:v>
                </c:pt>
                <c:pt idx="1444">
                  <c:v>0.999994040142938</c:v>
                </c:pt>
                <c:pt idx="1445">
                  <c:v>0.9999944069033727</c:v>
                </c:pt>
                <c:pt idx="1446">
                  <c:v>0.9999947583821226</c:v>
                </c:pt>
                <c:pt idx="1447">
                  <c:v>0.9999951068045355</c:v>
                </c:pt>
                <c:pt idx="1448">
                  <c:v>0.9999952198890029</c:v>
                </c:pt>
                <c:pt idx="1449">
                  <c:v>0.9999962682125784</c:v>
                </c:pt>
                <c:pt idx="1450">
                  <c:v>0.9999963660153609</c:v>
                </c:pt>
                <c:pt idx="1451">
                  <c:v>0.9999966594237085</c:v>
                </c:pt>
                <c:pt idx="1452">
                  <c:v>0.9999970414658278</c:v>
                </c:pt>
                <c:pt idx="1453">
                  <c:v>0.9999973104234797</c:v>
                </c:pt>
                <c:pt idx="1454">
                  <c:v>0.9999973990572514</c:v>
                </c:pt>
                <c:pt idx="1455">
                  <c:v>0.9999974846346861</c:v>
                </c:pt>
                <c:pt idx="1456">
                  <c:v>0.9999976557895555</c:v>
                </c:pt>
                <c:pt idx="1457">
                  <c:v>0.9999977413669902</c:v>
                </c:pt>
                <c:pt idx="1458">
                  <c:v>0.9999978238880879</c:v>
                </c:pt>
                <c:pt idx="1459">
                  <c:v>0.9999979889302834</c:v>
                </c:pt>
                <c:pt idx="1460">
                  <c:v>0.999998144803468</c:v>
                </c:pt>
                <c:pt idx="1461">
                  <c:v>0.9999982976203159</c:v>
                </c:pt>
                <c:pt idx="1462">
                  <c:v>0.9999984443244898</c:v>
                </c:pt>
                <c:pt idx="1463">
                  <c:v>0.9999985910286637</c:v>
                </c:pt>
                <c:pt idx="1464">
                  <c:v>0.9999986613244137</c:v>
                </c:pt>
                <c:pt idx="1465">
                  <c:v>0.9999988630426528</c:v>
                </c:pt>
                <c:pt idx="1466">
                  <c:v>0.9999989272257289</c:v>
                </c:pt>
                <c:pt idx="1467">
                  <c:v>0.999998991408805</c:v>
                </c:pt>
                <c:pt idx="1468">
                  <c:v>0.9999991197749571</c:v>
                </c:pt>
                <c:pt idx="1469">
                  <c:v>0.9999992389720984</c:v>
                </c:pt>
                <c:pt idx="1470">
                  <c:v>0.9999992970425006</c:v>
                </c:pt>
                <c:pt idx="1471">
                  <c:v>0.9999995751691635</c:v>
                </c:pt>
                <c:pt idx="1472">
                  <c:v>0.9999998471831524</c:v>
                </c:pt>
                <c:pt idx="1473">
                  <c:v>0.9999999877746522</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946</c:f>
              <c:strCache>
                <c:ptCount val="945"/>
                <c:pt idx="0">
                  <c:v>Caprice Des</c:v>
                </c:pt>
                <c:pt idx="1">
                  <c:v>Private Lab</c:v>
                </c:pt>
                <c:pt idx="2">
                  <c:v>Coeur De Li</c:v>
                </c:pt>
                <c:pt idx="3">
                  <c:v>President</c:v>
                </c:pt>
                <c:pt idx="4">
                  <c:v>La Vache Qu</c:v>
                </c:pt>
                <c:pt idx="5">
                  <c:v>Mini Babybe</c:v>
                </c:pt>
                <c:pt idx="6">
                  <c:v>Caprice Des</c:v>
                </c:pt>
                <c:pt idx="7">
                  <c:v>Soignon</c:v>
                </c:pt>
                <c:pt idx="8">
                  <c:v>Private Lab</c:v>
                </c:pt>
                <c:pt idx="9">
                  <c:v>Coeur De Li</c:v>
                </c:pt>
                <c:pt idx="10">
                  <c:v>Galbani</c:v>
                </c:pt>
                <c:pt idx="11">
                  <c:v>Soignon</c:v>
                </c:pt>
                <c:pt idx="12">
                  <c:v>Le Rustique</c:v>
                </c:pt>
                <c:pt idx="13">
                  <c:v>St Moret</c:v>
                </c:pt>
                <c:pt idx="14">
                  <c:v>Private Lab</c:v>
                </c:pt>
                <c:pt idx="15">
                  <c:v>La Vache Qu</c:v>
                </c:pt>
                <c:pt idx="16">
                  <c:v>Soignon</c:v>
                </c:pt>
                <c:pt idx="17">
                  <c:v>President</c:v>
                </c:pt>
                <c:pt idx="18">
                  <c:v>Tartare</c:v>
                </c:pt>
                <c:pt idx="19">
                  <c:v>All Others</c:v>
                </c:pt>
                <c:pt idx="20">
                  <c:v>Salakis</c:v>
                </c:pt>
                <c:pt idx="21">
                  <c:v>President</c:v>
                </c:pt>
                <c:pt idx="22">
                  <c:v>Ficello</c:v>
                </c:pt>
                <c:pt idx="23">
                  <c:v>Private Lab</c:v>
                </c:pt>
                <c:pt idx="24">
                  <c:v>La Vache Qu</c:v>
                </c:pt>
                <c:pt idx="25">
                  <c:v>Mini Babybe</c:v>
                </c:pt>
                <c:pt idx="26">
                  <c:v>St Moret</c:v>
                </c:pt>
                <c:pt idx="27">
                  <c:v>All Others</c:v>
                </c:pt>
                <c:pt idx="28">
                  <c:v>Kiri</c:v>
                </c:pt>
                <c:pt idx="29">
                  <c:v>Paysan Bret</c:v>
                </c:pt>
                <c:pt idx="30">
                  <c:v>St Moret</c:v>
                </c:pt>
                <c:pt idx="31">
                  <c:v>Islos</c:v>
                </c:pt>
                <c:pt idx="32">
                  <c:v>Carre Frais</c:v>
                </c:pt>
                <c:pt idx="33">
                  <c:v>Kiri</c:v>
                </c:pt>
                <c:pt idx="34">
                  <c:v>Private Lab</c:v>
                </c:pt>
                <c:pt idx="35">
                  <c:v>Philadelphi</c:v>
                </c:pt>
                <c:pt idx="36">
                  <c:v>Paysan Bret</c:v>
                </c:pt>
                <c:pt idx="37">
                  <c:v>Private Lab</c:v>
                </c:pt>
                <c:pt idx="38">
                  <c:v>Lepetit</c:v>
                </c:pt>
                <c:pt idx="39">
                  <c:v>St Moret</c:v>
                </c:pt>
                <c:pt idx="40">
                  <c:v>Coeur De Li</c:v>
                </c:pt>
                <c:pt idx="41">
                  <c:v>Carre Frais</c:v>
                </c:pt>
                <c:pt idx="42">
                  <c:v>Caprice Des</c:v>
                </c:pt>
                <c:pt idx="43">
                  <c:v>Tartare</c:v>
                </c:pt>
                <c:pt idx="44">
                  <c:v>Private Lab</c:v>
                </c:pt>
                <c:pt idx="45">
                  <c:v>Boursin</c:v>
                </c:pt>
                <c:pt idx="46">
                  <c:v>Kiri</c:v>
                </c:pt>
                <c:pt idx="47">
                  <c:v>Casa Azzurr</c:v>
                </c:pt>
                <c:pt idx="48">
                  <c:v>Istara</c:v>
                </c:pt>
                <c:pt idx="49">
                  <c:v>Casa Azzurr</c:v>
                </c:pt>
                <c:pt idx="50">
                  <c:v>Private Lab</c:v>
                </c:pt>
                <c:pt idx="51">
                  <c:v>St Moret</c:v>
                </c:pt>
                <c:pt idx="52">
                  <c:v>Galbani</c:v>
                </c:pt>
                <c:pt idx="53">
                  <c:v>Private Lab</c:v>
                </c:pt>
                <c:pt idx="54">
                  <c:v>Boursin</c:v>
                </c:pt>
                <c:pt idx="55">
                  <c:v>Private Lab</c:v>
                </c:pt>
                <c:pt idx="56">
                  <c:v>All Others</c:v>
                </c:pt>
                <c:pt idx="57">
                  <c:v>President</c:v>
                </c:pt>
                <c:pt idx="58">
                  <c:v>President</c:v>
                </c:pt>
                <c:pt idx="59">
                  <c:v>Petit Billy</c:v>
                </c:pt>
                <c:pt idx="60">
                  <c:v>Lou Perac</c:v>
                </c:pt>
                <c:pt idx="61">
                  <c:v>Private Lab</c:v>
                </c:pt>
                <c:pt idx="62">
                  <c:v>Private Lab</c:v>
                </c:pt>
                <c:pt idx="63">
                  <c:v>Philadelphi</c:v>
                </c:pt>
                <c:pt idx="64">
                  <c:v>Private Lab</c:v>
                </c:pt>
                <c:pt idx="65">
                  <c:v>Private Lab</c:v>
                </c:pt>
                <c:pt idx="66">
                  <c:v>Boursin</c:v>
                </c:pt>
                <c:pt idx="67">
                  <c:v>President</c:v>
                </c:pt>
                <c:pt idx="68">
                  <c:v>St Moret</c:v>
                </c:pt>
                <c:pt idx="69">
                  <c:v>President</c:v>
                </c:pt>
                <c:pt idx="70">
                  <c:v>Private Lab</c:v>
                </c:pt>
                <c:pt idx="71">
                  <c:v>Kiri</c:v>
                </c:pt>
                <c:pt idx="72">
                  <c:v>St Moret</c:v>
                </c:pt>
                <c:pt idx="73">
                  <c:v>Coeur De Li</c:v>
                </c:pt>
                <c:pt idx="74">
                  <c:v>Salakis</c:v>
                </c:pt>
                <c:pt idx="75">
                  <c:v>Private Lab</c:v>
                </c:pt>
                <c:pt idx="76">
                  <c:v>Galbani</c:v>
                </c:pt>
                <c:pt idx="77">
                  <c:v>Private Lab</c:v>
                </c:pt>
                <c:pt idx="78">
                  <c:v>Casa Azzurr</c:v>
                </c:pt>
                <c:pt idx="79">
                  <c:v>Galbani</c:v>
                </c:pt>
                <c:pt idx="80">
                  <c:v>Le Rustique</c:v>
                </c:pt>
                <c:pt idx="81">
                  <c:v>All Others</c:v>
                </c:pt>
                <c:pt idx="82">
                  <c:v>President</c:v>
                </c:pt>
                <c:pt idx="83">
                  <c:v>Casa Azzurr</c:v>
                </c:pt>
                <c:pt idx="84">
                  <c:v>Private Lab</c:v>
                </c:pt>
                <c:pt idx="85">
                  <c:v>All Others</c:v>
                </c:pt>
                <c:pt idx="86">
                  <c:v>Mini Babybe</c:v>
                </c:pt>
                <c:pt idx="87">
                  <c:v>Ficello</c:v>
                </c:pt>
                <c:pt idx="88">
                  <c:v>Boursin</c:v>
                </c:pt>
                <c:pt idx="89">
                  <c:v>Mini Babybe</c:v>
                </c:pt>
                <c:pt idx="90">
                  <c:v>Le Brebiou</c:v>
                </c:pt>
                <c:pt idx="91">
                  <c:v>St Moret</c:v>
                </c:pt>
                <c:pt idx="92">
                  <c:v>Soignon</c:v>
                </c:pt>
                <c:pt idx="93">
                  <c:v>Salakis</c:v>
                </c:pt>
                <c:pt idx="94">
                  <c:v>Paysan Bret</c:v>
                </c:pt>
                <c:pt idx="95">
                  <c:v>Le Rustique</c:v>
                </c:pt>
                <c:pt idx="96">
                  <c:v>Coeur De Li</c:v>
                </c:pt>
                <c:pt idx="97">
                  <c:v>Kiri</c:v>
                </c:pt>
                <c:pt idx="98">
                  <c:v>President</c:v>
                </c:pt>
                <c:pt idx="99">
                  <c:v>Lactalis: A</c:v>
                </c:pt>
                <c:pt idx="100">
                  <c:v>Private Lab</c:v>
                </c:pt>
                <c:pt idx="101">
                  <c:v>Private Lab</c:v>
                </c:pt>
                <c:pt idx="102">
                  <c:v>Private Lab</c:v>
                </c:pt>
                <c:pt idx="103">
                  <c:v>Private Lab</c:v>
                </c:pt>
                <c:pt idx="104">
                  <c:v>Soignon</c:v>
                </c:pt>
                <c:pt idx="105">
                  <c:v>Casa Azzurr</c:v>
                </c:pt>
                <c:pt idx="106">
                  <c:v>Etorki</c:v>
                </c:pt>
                <c:pt idx="107">
                  <c:v>All Others</c:v>
                </c:pt>
                <c:pt idx="108">
                  <c:v>Lou Perac</c:v>
                </c:pt>
                <c:pt idx="109">
                  <c:v>Casa Azzurr</c:v>
                </c:pt>
                <c:pt idx="110">
                  <c:v>La Vache Qu</c:v>
                </c:pt>
                <c:pt idx="111">
                  <c:v>Chavroux</c:v>
                </c:pt>
                <c:pt idx="112">
                  <c:v>Soignon</c:v>
                </c:pt>
                <c:pt idx="113">
                  <c:v>Caprice Des</c:v>
                </c:pt>
                <c:pt idx="114">
                  <c:v>La Vache Qu</c:v>
                </c:pt>
                <c:pt idx="115">
                  <c:v>Private Lab</c:v>
                </c:pt>
                <c:pt idx="116">
                  <c:v>Galbani</c:v>
                </c:pt>
                <c:pt idx="117">
                  <c:v>Rondele</c:v>
                </c:pt>
                <c:pt idx="118">
                  <c:v>Private Lab</c:v>
                </c:pt>
                <c:pt idx="119">
                  <c:v>All Others</c:v>
                </c:pt>
                <c:pt idx="120">
                  <c:v>Private Lab</c:v>
                </c:pt>
                <c:pt idx="121">
                  <c:v>Private Lab</c:v>
                </c:pt>
                <c:pt idx="122">
                  <c:v>Lactalis: A</c:v>
                </c:pt>
                <c:pt idx="123">
                  <c:v>All Others</c:v>
                </c:pt>
                <c:pt idx="124">
                  <c:v>Paysan Bret</c:v>
                </c:pt>
                <c:pt idx="125">
                  <c:v>President</c:v>
                </c:pt>
                <c:pt idx="126">
                  <c:v>Private Lab</c:v>
                </c:pt>
                <c:pt idx="127">
                  <c:v>Private Lab</c:v>
                </c:pt>
                <c:pt idx="128">
                  <c:v>Tartare</c:v>
                </c:pt>
                <c:pt idx="129">
                  <c:v>Istara</c:v>
                </c:pt>
                <c:pt idx="130">
                  <c:v>Private Lab</c:v>
                </c:pt>
                <c:pt idx="131">
                  <c:v>Casa Azzurr</c:v>
                </c:pt>
                <c:pt idx="132">
                  <c:v>Boursin</c:v>
                </c:pt>
                <c:pt idx="133">
                  <c:v>All Others</c:v>
                </c:pt>
                <c:pt idx="134">
                  <c:v>Lactalis: A</c:v>
                </c:pt>
                <c:pt idx="135">
                  <c:v>P'Tit Louis</c:v>
                </c:pt>
                <c:pt idx="136">
                  <c:v>Private Lab</c:v>
                </c:pt>
                <c:pt idx="137">
                  <c:v>Soignon</c:v>
                </c:pt>
                <c:pt idx="138">
                  <c:v>La Vache Qu</c:v>
                </c:pt>
                <c:pt idx="139">
                  <c:v>All Others</c:v>
                </c:pt>
                <c:pt idx="140">
                  <c:v>Soignon</c:v>
                </c:pt>
                <c:pt idx="141">
                  <c:v>Private Lab</c:v>
                </c:pt>
                <c:pt idx="142">
                  <c:v>Soignon</c:v>
                </c:pt>
                <c:pt idx="143">
                  <c:v>Chavroux</c:v>
                </c:pt>
                <c:pt idx="144">
                  <c:v>Private Lab</c:v>
                </c:pt>
                <c:pt idx="145">
                  <c:v>Paysan Bret</c:v>
                </c:pt>
                <c:pt idx="146">
                  <c:v>Private Lab</c:v>
                </c:pt>
                <c:pt idx="147">
                  <c:v>Galbani</c:v>
                </c:pt>
                <c:pt idx="148">
                  <c:v>President</c:v>
                </c:pt>
                <c:pt idx="149">
                  <c:v>President</c:v>
                </c:pt>
                <c:pt idx="150">
                  <c:v>All Others</c:v>
                </c:pt>
                <c:pt idx="151">
                  <c:v>Caprice Des</c:v>
                </c:pt>
                <c:pt idx="152">
                  <c:v>All Others</c:v>
                </c:pt>
                <c:pt idx="153">
                  <c:v>All Others</c:v>
                </c:pt>
                <c:pt idx="154">
                  <c:v>Paysan Bret</c:v>
                </c:pt>
                <c:pt idx="155">
                  <c:v>All Others</c:v>
                </c:pt>
                <c:pt idx="156">
                  <c:v>Le Rustique</c:v>
                </c:pt>
                <c:pt idx="157">
                  <c:v>All Others</c:v>
                </c:pt>
                <c:pt idx="158">
                  <c:v>All Others</c:v>
                </c:pt>
                <c:pt idx="159">
                  <c:v>Lactalis: A</c:v>
                </c:pt>
                <c:pt idx="160">
                  <c:v>Private Lab</c:v>
                </c:pt>
                <c:pt idx="161">
                  <c:v>All Others</c:v>
                </c:pt>
                <c:pt idx="162">
                  <c:v>All Others</c:v>
                </c:pt>
                <c:pt idx="163">
                  <c:v>Casa Azzurr</c:v>
                </c:pt>
                <c:pt idx="164">
                  <c:v>Kiri</c:v>
                </c:pt>
                <c:pt idx="165">
                  <c:v>Soignon</c:v>
                </c:pt>
                <c:pt idx="166">
                  <c:v>Soignon</c:v>
                </c:pt>
                <c:pt idx="167">
                  <c:v>Salakis</c:v>
                </c:pt>
                <c:pt idx="168">
                  <c:v>All Others</c:v>
                </c:pt>
                <c:pt idx="169">
                  <c:v>Casa Azzurr</c:v>
                </c:pt>
                <c:pt idx="170">
                  <c:v>Private Lab</c:v>
                </c:pt>
                <c:pt idx="171">
                  <c:v>Private Lab</c:v>
                </c:pt>
                <c:pt idx="172">
                  <c:v>All Others</c:v>
                </c:pt>
                <c:pt idx="173">
                  <c:v>Salakis</c:v>
                </c:pt>
                <c:pt idx="174">
                  <c:v>Tartare</c:v>
                </c:pt>
                <c:pt idx="175">
                  <c:v>Paysan Bret</c:v>
                </c:pt>
                <c:pt idx="176">
                  <c:v>Boursin</c:v>
                </c:pt>
                <c:pt idx="177">
                  <c:v>All Others</c:v>
                </c:pt>
                <c:pt idx="178">
                  <c:v>Salakis</c:v>
                </c:pt>
                <c:pt idx="179">
                  <c:v>All Others</c:v>
                </c:pt>
                <c:pt idx="180">
                  <c:v>Private Lab</c:v>
                </c:pt>
                <c:pt idx="181">
                  <c:v>Galbani</c:v>
                </c:pt>
                <c:pt idx="182">
                  <c:v>All Others</c:v>
                </c:pt>
                <c:pt idx="183">
                  <c:v>Boursin</c:v>
                </c:pt>
                <c:pt idx="184">
                  <c:v>Private Lab</c:v>
                </c:pt>
                <c:pt idx="185">
                  <c:v>Private Lab</c:v>
                </c:pt>
                <c:pt idx="186">
                  <c:v>Private Lab</c:v>
                </c:pt>
                <c:pt idx="187">
                  <c:v>Savencia: A</c:v>
                </c:pt>
                <c:pt idx="188">
                  <c:v>All Others</c:v>
                </c:pt>
                <c:pt idx="189">
                  <c:v>Private Lab</c:v>
                </c:pt>
                <c:pt idx="190">
                  <c:v>Private Lab</c:v>
                </c:pt>
                <c:pt idx="191">
                  <c:v>Lou Perac</c:v>
                </c:pt>
                <c:pt idx="192">
                  <c:v>Chavroux</c:v>
                </c:pt>
                <c:pt idx="193">
                  <c:v>Etoile Du Q</c:v>
                </c:pt>
                <c:pt idx="194">
                  <c:v>All Others</c:v>
                </c:pt>
                <c:pt idx="195">
                  <c:v>All Others</c:v>
                </c:pt>
                <c:pt idx="196">
                  <c:v>Galbani</c:v>
                </c:pt>
                <c:pt idx="197">
                  <c:v>Casa Azzurr</c:v>
                </c:pt>
                <c:pt idx="198">
                  <c:v>All Others</c:v>
                </c:pt>
                <c:pt idx="199">
                  <c:v>Private Lab</c:v>
                </c:pt>
                <c:pt idx="200">
                  <c:v>All Others</c:v>
                </c:pt>
                <c:pt idx="201">
                  <c:v>President</c:v>
                </c:pt>
                <c:pt idx="202">
                  <c:v>Mini Babybe</c:v>
                </c:pt>
                <c:pt idx="203">
                  <c:v>Mini Babybe</c:v>
                </c:pt>
                <c:pt idx="204">
                  <c:v>Soignon</c:v>
                </c:pt>
                <c:pt idx="205">
                  <c:v>All Others</c:v>
                </c:pt>
                <c:pt idx="206">
                  <c:v>Triballat N</c:v>
                </c:pt>
                <c:pt idx="207">
                  <c:v>All Others</c:v>
                </c:pt>
                <c:pt idx="208">
                  <c:v>Private Lab</c:v>
                </c:pt>
                <c:pt idx="209">
                  <c:v>All Others</c:v>
                </c:pt>
                <c:pt idx="210">
                  <c:v>Private Lab</c:v>
                </c:pt>
                <c:pt idx="211">
                  <c:v>All Others</c:v>
                </c:pt>
                <c:pt idx="212">
                  <c:v>All Others</c:v>
                </c:pt>
                <c:pt idx="213">
                  <c:v>Pave D'Affi</c:v>
                </c:pt>
                <c:pt idx="214">
                  <c:v>All Others</c:v>
                </c:pt>
                <c:pt idx="215">
                  <c:v>Private Lab</c:v>
                </c:pt>
                <c:pt idx="216">
                  <c:v>Casa Azzurr</c:v>
                </c:pt>
                <c:pt idx="217">
                  <c:v>Private Lab</c:v>
                </c:pt>
                <c:pt idx="218">
                  <c:v>All Others</c:v>
                </c:pt>
                <c:pt idx="219">
                  <c:v>All Others</c:v>
                </c:pt>
                <c:pt idx="220">
                  <c:v>Savencia: A</c:v>
                </c:pt>
                <c:pt idx="221">
                  <c:v>All Others</c:v>
                </c:pt>
                <c:pt idx="222">
                  <c:v>Private Lab</c:v>
                </c:pt>
                <c:pt idx="223">
                  <c:v>Ficello</c:v>
                </c:pt>
                <c:pt idx="224">
                  <c:v>Savencia: A</c:v>
                </c:pt>
                <c:pt idx="225">
                  <c:v>All Others</c:v>
                </c:pt>
                <c:pt idx="226">
                  <c:v>St Moret</c:v>
                </c:pt>
                <c:pt idx="227">
                  <c:v>Galbani</c:v>
                </c:pt>
                <c:pt idx="228">
                  <c:v>Private Lab</c:v>
                </c:pt>
                <c:pt idx="229">
                  <c:v>Private Lab</c:v>
                </c:pt>
                <c:pt idx="230">
                  <c:v>Private Lab</c:v>
                </c:pt>
                <c:pt idx="231">
                  <c:v>Boursin</c:v>
                </c:pt>
                <c:pt idx="232">
                  <c:v>Private Lab</c:v>
                </c:pt>
                <c:pt idx="233">
                  <c:v>Galbani</c:v>
                </c:pt>
                <c:pt idx="234">
                  <c:v>All Others</c:v>
                </c:pt>
                <c:pt idx="235">
                  <c:v>Lou Perac</c:v>
                </c:pt>
                <c:pt idx="236">
                  <c:v>All Others</c:v>
                </c:pt>
                <c:pt idx="237">
                  <c:v>Boursin</c:v>
                </c:pt>
                <c:pt idx="238">
                  <c:v>All Others</c:v>
                </c:pt>
                <c:pt idx="239">
                  <c:v>All Others</c:v>
                </c:pt>
                <c:pt idx="240">
                  <c:v>St Moret</c:v>
                </c:pt>
                <c:pt idx="241">
                  <c:v>All Others</c:v>
                </c:pt>
                <c:pt idx="242">
                  <c:v>Private Lab</c:v>
                </c:pt>
                <c:pt idx="243">
                  <c:v>Mini Babybe</c:v>
                </c:pt>
                <c:pt idx="244">
                  <c:v>All Others</c:v>
                </c:pt>
                <c:pt idx="245">
                  <c:v>All Others</c:v>
                </c:pt>
                <c:pt idx="246">
                  <c:v>Tartare</c:v>
                </c:pt>
                <c:pt idx="247">
                  <c:v>All Others</c:v>
                </c:pt>
                <c:pt idx="248">
                  <c:v>All Others</c:v>
                </c:pt>
                <c:pt idx="249">
                  <c:v>All Others</c:v>
                </c:pt>
                <c:pt idx="250">
                  <c:v>Kiri</c:v>
                </c:pt>
                <c:pt idx="251">
                  <c:v>All Others</c:v>
                </c:pt>
                <c:pt idx="252">
                  <c:v>Soignon</c:v>
                </c:pt>
                <c:pt idx="253">
                  <c:v>President</c:v>
                </c:pt>
                <c:pt idx="254">
                  <c:v>Philadelphi</c:v>
                </c:pt>
                <c:pt idx="255">
                  <c:v>All Others</c:v>
                </c:pt>
                <c:pt idx="256">
                  <c:v>Etoile Du V</c:v>
                </c:pt>
                <c:pt idx="257">
                  <c:v>Kiri</c:v>
                </c:pt>
                <c:pt idx="258">
                  <c:v>Kiri</c:v>
                </c:pt>
                <c:pt idx="259">
                  <c:v>Islos</c:v>
                </c:pt>
                <c:pt idx="260">
                  <c:v>Casa Azzurr</c:v>
                </c:pt>
                <c:pt idx="261">
                  <c:v>Kiri</c:v>
                </c:pt>
                <c:pt idx="262">
                  <c:v>All Others</c:v>
                </c:pt>
                <c:pt idx="263">
                  <c:v>Rondele</c:v>
                </c:pt>
                <c:pt idx="264">
                  <c:v>Rondele</c:v>
                </c:pt>
                <c:pt idx="265">
                  <c:v>All Others</c:v>
                </c:pt>
                <c:pt idx="266">
                  <c:v>Casa Azzurr</c:v>
                </c:pt>
                <c:pt idx="267">
                  <c:v>All Others</c:v>
                </c:pt>
                <c:pt idx="268">
                  <c:v>Private Lab</c:v>
                </c:pt>
                <c:pt idx="269">
                  <c:v>All Others</c:v>
                </c:pt>
                <c:pt idx="270">
                  <c:v>All Others</c:v>
                </c:pt>
                <c:pt idx="271">
                  <c:v>All Others</c:v>
                </c:pt>
                <c:pt idx="272">
                  <c:v>All Others</c:v>
                </c:pt>
                <c:pt idx="273">
                  <c:v>Triballat R</c:v>
                </c:pt>
                <c:pt idx="274">
                  <c:v>Corsica</c:v>
                </c:pt>
                <c:pt idx="275">
                  <c:v>All Others</c:v>
                </c:pt>
                <c:pt idx="276">
                  <c:v>Le Brebiou</c:v>
                </c:pt>
                <c:pt idx="277">
                  <c:v>Saint Agur</c:v>
                </c:pt>
                <c:pt idx="278">
                  <c:v>All Others</c:v>
                </c:pt>
                <c:pt idx="279">
                  <c:v>All Others</c:v>
                </c:pt>
                <c:pt idx="280">
                  <c:v>All Others</c:v>
                </c:pt>
                <c:pt idx="281">
                  <c:v>All Others</c:v>
                </c:pt>
                <c:pt idx="282">
                  <c:v>All Others</c:v>
                </c:pt>
                <c:pt idx="283">
                  <c:v>All Others</c:v>
                </c:pt>
                <c:pt idx="284">
                  <c:v>All Others</c:v>
                </c:pt>
                <c:pt idx="285">
                  <c:v>All Others</c:v>
                </c:pt>
                <c:pt idx="286">
                  <c:v>All Others</c:v>
                </c:pt>
                <c:pt idx="287">
                  <c:v>Ficello</c:v>
                </c:pt>
                <c:pt idx="288">
                  <c:v>Savencia: A</c:v>
                </c:pt>
                <c:pt idx="289">
                  <c:v>P'Tit Louis</c:v>
                </c:pt>
                <c:pt idx="290">
                  <c:v>All Others</c:v>
                </c:pt>
                <c:pt idx="291">
                  <c:v>All Others</c:v>
                </c:pt>
                <c:pt idx="292">
                  <c:v>All Others</c:v>
                </c:pt>
                <c:pt idx="293">
                  <c:v>Lou Perac</c:v>
                </c:pt>
                <c:pt idx="294">
                  <c:v>All Others</c:v>
                </c:pt>
                <c:pt idx="295">
                  <c:v>Lactalis: A</c:v>
                </c:pt>
                <c:pt idx="296">
                  <c:v>President</c:v>
                </c:pt>
                <c:pt idx="297">
                  <c:v>Eurial Autr</c:v>
                </c:pt>
                <c:pt idx="298">
                  <c:v>Mini Babybe</c:v>
                </c:pt>
                <c:pt idx="299">
                  <c:v>All Others</c:v>
                </c:pt>
                <c:pt idx="300">
                  <c:v>Private Lab</c:v>
                </c:pt>
                <c:pt idx="301">
                  <c:v>Soignon</c:v>
                </c:pt>
                <c:pt idx="302">
                  <c:v>Galbani</c:v>
                </c:pt>
                <c:pt idx="303">
                  <c:v>All Others</c:v>
                </c:pt>
                <c:pt idx="304">
                  <c:v>All Others</c:v>
                </c:pt>
                <c:pt idx="305">
                  <c:v>All Others</c:v>
                </c:pt>
                <c:pt idx="306">
                  <c:v>La Vache Qu</c:v>
                </c:pt>
                <c:pt idx="307">
                  <c:v>Private Lab</c:v>
                </c:pt>
                <c:pt idx="308">
                  <c:v>All Others</c:v>
                </c:pt>
                <c:pt idx="309">
                  <c:v>Private Lab</c:v>
                </c:pt>
                <c:pt idx="310">
                  <c:v>All Others</c:v>
                </c:pt>
                <c:pt idx="311">
                  <c:v>Boursin</c:v>
                </c:pt>
                <c:pt idx="312">
                  <c:v>All Others</c:v>
                </c:pt>
                <c:pt idx="313">
                  <c:v>Triballat R</c:v>
                </c:pt>
                <c:pt idx="314">
                  <c:v>Private Lab</c:v>
                </c:pt>
                <c:pt idx="315">
                  <c:v>All Others</c:v>
                </c:pt>
                <c:pt idx="316">
                  <c:v>All Others</c:v>
                </c:pt>
                <c:pt idx="317">
                  <c:v>All Others</c:v>
                </c:pt>
                <c:pt idx="318">
                  <c:v>All Others</c:v>
                </c:pt>
                <c:pt idx="319">
                  <c:v>P'Tit Louis</c:v>
                </c:pt>
                <c:pt idx="320">
                  <c:v>All Others</c:v>
                </c:pt>
                <c:pt idx="321">
                  <c:v>Casa Azzurr</c:v>
                </c:pt>
                <c:pt idx="322">
                  <c:v>All Others</c:v>
                </c:pt>
                <c:pt idx="323">
                  <c:v>All Others</c:v>
                </c:pt>
                <c:pt idx="324">
                  <c:v>All Others</c:v>
                </c:pt>
                <c:pt idx="325">
                  <c:v>Salakis</c:v>
                </c:pt>
                <c:pt idx="326">
                  <c:v>All Others</c:v>
                </c:pt>
                <c:pt idx="327">
                  <c:v>All Others</c:v>
                </c:pt>
                <c:pt idx="328">
                  <c:v>Galbani</c:v>
                </c:pt>
                <c:pt idx="329">
                  <c:v>All Others</c:v>
                </c:pt>
                <c:pt idx="330">
                  <c:v>All Others</c:v>
                </c:pt>
                <c:pt idx="331">
                  <c:v>Lactalis: A</c:v>
                </c:pt>
                <c:pt idx="332">
                  <c:v>Boursin</c:v>
                </c:pt>
                <c:pt idx="333">
                  <c:v>Philadelphi</c:v>
                </c:pt>
                <c:pt idx="334">
                  <c:v>All Others</c:v>
                </c:pt>
                <c:pt idx="335">
                  <c:v>All Others</c:v>
                </c:pt>
                <c:pt idx="336">
                  <c:v>Paysan Bret</c:v>
                </c:pt>
                <c:pt idx="337">
                  <c:v>All Others</c:v>
                </c:pt>
                <c:pt idx="338">
                  <c:v>Triballat R</c:v>
                </c:pt>
                <c:pt idx="339">
                  <c:v>All Others</c:v>
                </c:pt>
                <c:pt idx="340">
                  <c:v>All Others</c:v>
                </c:pt>
                <c:pt idx="341">
                  <c:v>Savencia: A</c:v>
                </c:pt>
                <c:pt idx="342">
                  <c:v>All Others</c:v>
                </c:pt>
                <c:pt idx="343">
                  <c:v>Private Lab</c:v>
                </c:pt>
                <c:pt idx="344">
                  <c:v>All Others</c:v>
                </c:pt>
                <c:pt idx="345">
                  <c:v>Private Lab</c:v>
                </c:pt>
                <c:pt idx="346">
                  <c:v>Tartare</c:v>
                </c:pt>
                <c:pt idx="347">
                  <c:v>All Others</c:v>
                </c:pt>
                <c:pt idx="348">
                  <c:v>All Others</c:v>
                </c:pt>
                <c:pt idx="349">
                  <c:v>All Others</c:v>
                </c:pt>
                <c:pt idx="350">
                  <c:v>Etoile Du Q</c:v>
                </c:pt>
                <c:pt idx="351">
                  <c:v>All Others</c:v>
                </c:pt>
                <c:pt idx="352">
                  <c:v>Boursin</c:v>
                </c:pt>
                <c:pt idx="353">
                  <c:v>All Others</c:v>
                </c:pt>
                <c:pt idx="354">
                  <c:v>St Moret</c:v>
                </c:pt>
                <c:pt idx="355">
                  <c:v>All Others</c:v>
                </c:pt>
                <c:pt idx="356">
                  <c:v>All Others</c:v>
                </c:pt>
                <c:pt idx="357">
                  <c:v>All Others</c:v>
                </c:pt>
                <c:pt idx="358">
                  <c:v>Boursin</c:v>
                </c:pt>
                <c:pt idx="359">
                  <c:v>All Others</c:v>
                </c:pt>
                <c:pt idx="360">
                  <c:v>All Others</c:v>
                </c:pt>
                <c:pt idx="361">
                  <c:v>Lactalis: A</c:v>
                </c:pt>
                <c:pt idx="362">
                  <c:v>Caprice Des</c:v>
                </c:pt>
                <c:pt idx="363">
                  <c:v>All Others</c:v>
                </c:pt>
                <c:pt idx="364">
                  <c:v>Mini Babybe</c:v>
                </c:pt>
                <c:pt idx="365">
                  <c:v>Petit Billy</c:v>
                </c:pt>
                <c:pt idx="366">
                  <c:v>All Others</c:v>
                </c:pt>
                <c:pt idx="367">
                  <c:v>All Others</c:v>
                </c:pt>
                <c:pt idx="368">
                  <c:v>All Others</c:v>
                </c:pt>
                <c:pt idx="369">
                  <c:v>Corsica</c:v>
                </c:pt>
                <c:pt idx="370">
                  <c:v>Istara</c:v>
                </c:pt>
                <c:pt idx="371">
                  <c:v>All Others</c:v>
                </c:pt>
                <c:pt idx="372">
                  <c:v>All Others</c:v>
                </c:pt>
                <c:pt idx="373">
                  <c:v>All Others</c:v>
                </c:pt>
                <c:pt idx="374">
                  <c:v>Paysan Bret</c:v>
                </c:pt>
                <c:pt idx="375">
                  <c:v>All Others</c:v>
                </c:pt>
                <c:pt idx="376">
                  <c:v>All Others</c:v>
                </c:pt>
                <c:pt idx="377">
                  <c:v>All Others</c:v>
                </c:pt>
                <c:pt idx="378">
                  <c:v>All Others</c:v>
                </c:pt>
                <c:pt idx="379">
                  <c:v>Galbani</c:v>
                </c:pt>
                <c:pt idx="380">
                  <c:v>All Others</c:v>
                </c:pt>
                <c:pt idx="381">
                  <c:v>All Others</c:v>
                </c:pt>
                <c:pt idx="382">
                  <c:v>All Others</c:v>
                </c:pt>
                <c:pt idx="383">
                  <c:v>Private Lab</c:v>
                </c:pt>
                <c:pt idx="384">
                  <c:v>Lactalis: A</c:v>
                </c:pt>
                <c:pt idx="385">
                  <c:v>All Others</c:v>
                </c:pt>
                <c:pt idx="386">
                  <c:v>All Others</c:v>
                </c:pt>
                <c:pt idx="387">
                  <c:v>Paysan Bret</c:v>
                </c:pt>
                <c:pt idx="388">
                  <c:v>La Vache Qu</c:v>
                </c:pt>
                <c:pt idx="389">
                  <c:v>All Others</c:v>
                </c:pt>
                <c:pt idx="390">
                  <c:v>St Moret</c:v>
                </c:pt>
                <c:pt idx="391">
                  <c:v>All Others</c:v>
                </c:pt>
                <c:pt idx="392">
                  <c:v>All Others</c:v>
                </c:pt>
                <c:pt idx="393">
                  <c:v>All Others</c:v>
                </c:pt>
                <c:pt idx="394">
                  <c:v>All Others</c:v>
                </c:pt>
                <c:pt idx="395">
                  <c:v>All Others</c:v>
                </c:pt>
                <c:pt idx="396">
                  <c:v>All Others</c:v>
                </c:pt>
                <c:pt idx="397">
                  <c:v>Salakis</c:v>
                </c:pt>
                <c:pt idx="398">
                  <c:v>All Others</c:v>
                </c:pt>
                <c:pt idx="399">
                  <c:v>All Others</c:v>
                </c:pt>
                <c:pt idx="400">
                  <c:v>Caprice Des</c:v>
                </c:pt>
                <c:pt idx="401">
                  <c:v>All Others</c:v>
                </c:pt>
                <c:pt idx="402">
                  <c:v>All Others</c:v>
                </c:pt>
                <c:pt idx="403">
                  <c:v>Milleret: A</c:v>
                </c:pt>
                <c:pt idx="404">
                  <c:v>Saint Agur</c:v>
                </c:pt>
                <c:pt idx="405">
                  <c:v>All Others</c:v>
                </c:pt>
                <c:pt idx="406">
                  <c:v>Private Lab</c:v>
                </c:pt>
                <c:pt idx="407">
                  <c:v>Tartare</c:v>
                </c:pt>
                <c:pt idx="408">
                  <c:v>All Others</c:v>
                </c:pt>
                <c:pt idx="409">
                  <c:v>All Others</c:v>
                </c:pt>
                <c:pt idx="410">
                  <c:v>Private Lab</c:v>
                </c:pt>
                <c:pt idx="411">
                  <c:v>Savencia: A</c:v>
                </c:pt>
                <c:pt idx="412">
                  <c:v>All Others</c:v>
                </c:pt>
                <c:pt idx="413">
                  <c:v>Etoile Du V</c:v>
                </c:pt>
                <c:pt idx="414">
                  <c:v>Lactalis: A</c:v>
                </c:pt>
                <c:pt idx="415">
                  <c:v>Savencia: A</c:v>
                </c:pt>
                <c:pt idx="416">
                  <c:v>All Others</c:v>
                </c:pt>
                <c:pt idx="417">
                  <c:v>Boursin</c:v>
                </c:pt>
                <c:pt idx="418">
                  <c:v>Paysan Bret</c:v>
                </c:pt>
                <c:pt idx="419">
                  <c:v>All Others</c:v>
                </c:pt>
                <c:pt idx="420">
                  <c:v>All Others</c:v>
                </c:pt>
                <c:pt idx="421">
                  <c:v>All Others</c:v>
                </c:pt>
                <c:pt idx="422">
                  <c:v>All Others</c:v>
                </c:pt>
                <c:pt idx="423">
                  <c:v>All Others</c:v>
                </c:pt>
                <c:pt idx="424">
                  <c:v>All Others</c:v>
                </c:pt>
                <c:pt idx="425">
                  <c:v>Chavroux</c:v>
                </c:pt>
                <c:pt idx="426">
                  <c:v>All Others</c:v>
                </c:pt>
                <c:pt idx="427">
                  <c:v>Etorki</c:v>
                </c:pt>
                <c:pt idx="428">
                  <c:v>All Others</c:v>
                </c:pt>
                <c:pt idx="429">
                  <c:v>All Others</c:v>
                </c:pt>
                <c:pt idx="430">
                  <c:v>All Others</c:v>
                </c:pt>
                <c:pt idx="431">
                  <c:v>Salakis</c:v>
                </c:pt>
                <c:pt idx="432">
                  <c:v>All Others</c:v>
                </c:pt>
                <c:pt idx="433">
                  <c:v>All Others</c:v>
                </c:pt>
                <c:pt idx="434">
                  <c:v>All Others</c:v>
                </c:pt>
                <c:pt idx="435">
                  <c:v>All Others</c:v>
                </c:pt>
                <c:pt idx="436">
                  <c:v>All Others</c:v>
                </c:pt>
                <c:pt idx="437">
                  <c:v>All Others</c:v>
                </c:pt>
                <c:pt idx="438">
                  <c:v>Private Lab</c:v>
                </c:pt>
                <c:pt idx="439">
                  <c:v>Private Lab</c:v>
                </c:pt>
                <c:pt idx="440">
                  <c:v>All Others</c:v>
                </c:pt>
                <c:pt idx="441">
                  <c:v>Tartare</c:v>
                </c:pt>
                <c:pt idx="442">
                  <c:v>Private Lab</c:v>
                </c:pt>
                <c:pt idx="443">
                  <c:v>Private Lab</c:v>
                </c:pt>
                <c:pt idx="444">
                  <c:v>All Others</c:v>
                </c:pt>
                <c:pt idx="445">
                  <c:v>Private Lab</c:v>
                </c:pt>
                <c:pt idx="446">
                  <c:v>All Others</c:v>
                </c:pt>
                <c:pt idx="447">
                  <c:v>Tartare</c:v>
                </c:pt>
                <c:pt idx="448">
                  <c:v>All Others</c:v>
                </c:pt>
                <c:pt idx="449">
                  <c:v>All Others</c:v>
                </c:pt>
                <c:pt idx="450">
                  <c:v>All Others</c:v>
                </c:pt>
                <c:pt idx="451">
                  <c:v>All Others</c:v>
                </c:pt>
                <c:pt idx="452">
                  <c:v>All Others</c:v>
                </c:pt>
                <c:pt idx="453">
                  <c:v>All Others</c:v>
                </c:pt>
                <c:pt idx="454">
                  <c:v>P'Tit Louis</c:v>
                </c:pt>
                <c:pt idx="455">
                  <c:v>All Others</c:v>
                </c:pt>
                <c:pt idx="456">
                  <c:v>Private Lab</c:v>
                </c:pt>
                <c:pt idx="457">
                  <c:v>All Others</c:v>
                </c:pt>
                <c:pt idx="458">
                  <c:v>All Others</c:v>
                </c:pt>
                <c:pt idx="459">
                  <c:v>All Others</c:v>
                </c:pt>
                <c:pt idx="460">
                  <c:v>Private Lab</c:v>
                </c:pt>
                <c:pt idx="461">
                  <c:v>All Others</c:v>
                </c:pt>
                <c:pt idx="462">
                  <c:v>All Others</c:v>
                </c:pt>
                <c:pt idx="463">
                  <c:v>Private Lab</c:v>
                </c:pt>
                <c:pt idx="464">
                  <c:v>Private Lab</c:v>
                </c:pt>
                <c:pt idx="465">
                  <c:v>All Others</c:v>
                </c:pt>
                <c:pt idx="466">
                  <c:v>All Others</c:v>
                </c:pt>
                <c:pt idx="467">
                  <c:v>All Others</c:v>
                </c:pt>
                <c:pt idx="468">
                  <c:v>All Others</c:v>
                </c:pt>
                <c:pt idx="469">
                  <c:v>All Others</c:v>
                </c:pt>
                <c:pt idx="470">
                  <c:v>All Others</c:v>
                </c:pt>
                <c:pt idx="471">
                  <c:v>Islos</c:v>
                </c:pt>
                <c:pt idx="472">
                  <c:v>Tartare</c:v>
                </c:pt>
                <c:pt idx="473">
                  <c:v>Private Lab</c:v>
                </c:pt>
                <c:pt idx="474">
                  <c:v>All Others</c:v>
                </c:pt>
                <c:pt idx="475">
                  <c:v>All Others</c:v>
                </c:pt>
                <c:pt idx="476">
                  <c:v>All Others</c:v>
                </c:pt>
                <c:pt idx="477">
                  <c:v>All Others</c:v>
                </c:pt>
                <c:pt idx="478">
                  <c:v>Lactalis: A</c:v>
                </c:pt>
                <c:pt idx="479">
                  <c:v>All Others</c:v>
                </c:pt>
                <c:pt idx="480">
                  <c:v>All Others</c:v>
                </c:pt>
                <c:pt idx="481">
                  <c:v>Philadelphi</c:v>
                </c:pt>
                <c:pt idx="482">
                  <c:v>Triballat R</c:v>
                </c:pt>
                <c:pt idx="483">
                  <c:v>All Others</c:v>
                </c:pt>
                <c:pt idx="484">
                  <c:v>All Others</c:v>
                </c:pt>
                <c:pt idx="485">
                  <c:v>All Others</c:v>
                </c:pt>
                <c:pt idx="486">
                  <c:v>All Others</c:v>
                </c:pt>
                <c:pt idx="487">
                  <c:v>All Others</c:v>
                </c:pt>
                <c:pt idx="488">
                  <c:v>All Others</c:v>
                </c:pt>
                <c:pt idx="489">
                  <c:v>Private Lab</c:v>
                </c:pt>
                <c:pt idx="490">
                  <c:v>Boursin</c:v>
                </c:pt>
                <c:pt idx="491">
                  <c:v>Boursin</c:v>
                </c:pt>
                <c:pt idx="492">
                  <c:v>All Others</c:v>
                </c:pt>
                <c:pt idx="493">
                  <c:v>All Others</c:v>
                </c:pt>
                <c:pt idx="494">
                  <c:v>All Others</c:v>
                </c:pt>
                <c:pt idx="495">
                  <c:v>All Others</c:v>
                </c:pt>
                <c:pt idx="496">
                  <c:v>All Others</c:v>
                </c:pt>
                <c:pt idx="497">
                  <c:v>All Others</c:v>
                </c:pt>
                <c:pt idx="498">
                  <c:v>All Others</c:v>
                </c:pt>
                <c:pt idx="499">
                  <c:v>All Others</c:v>
                </c:pt>
                <c:pt idx="500">
                  <c:v>Private Lab</c:v>
                </c:pt>
                <c:pt idx="501">
                  <c:v>Private Lab</c:v>
                </c:pt>
                <c:pt idx="502">
                  <c:v>All Others</c:v>
                </c:pt>
                <c:pt idx="503">
                  <c:v>Triballat N</c:v>
                </c:pt>
                <c:pt idx="504">
                  <c:v>All Others</c:v>
                </c:pt>
                <c:pt idx="505">
                  <c:v>All Others</c:v>
                </c:pt>
                <c:pt idx="506">
                  <c:v>All Others</c:v>
                </c:pt>
                <c:pt idx="507">
                  <c:v>All Others</c:v>
                </c:pt>
                <c:pt idx="508">
                  <c:v>All Others</c:v>
                </c:pt>
                <c:pt idx="509">
                  <c:v>All Others</c:v>
                </c:pt>
                <c:pt idx="510">
                  <c:v>All Others</c:v>
                </c:pt>
                <c:pt idx="511">
                  <c:v>All Others</c:v>
                </c:pt>
                <c:pt idx="512">
                  <c:v>All Others</c:v>
                </c:pt>
                <c:pt idx="513">
                  <c:v>All Others</c:v>
                </c:pt>
                <c:pt idx="514">
                  <c:v>Lactalis: A</c:v>
                </c:pt>
                <c:pt idx="515">
                  <c:v>Laita: All </c:v>
                </c:pt>
                <c:pt idx="516">
                  <c:v>All Others</c:v>
                </c:pt>
                <c:pt idx="517">
                  <c:v>All Others</c:v>
                </c:pt>
                <c:pt idx="518">
                  <c:v>All Others</c:v>
                </c:pt>
                <c:pt idx="519">
                  <c:v>All Others</c:v>
                </c:pt>
                <c:pt idx="520">
                  <c:v>All Others</c:v>
                </c:pt>
                <c:pt idx="521">
                  <c:v>All Others</c:v>
                </c:pt>
                <c:pt idx="522">
                  <c:v>All Others</c:v>
                </c:pt>
                <c:pt idx="523">
                  <c:v>All Others</c:v>
                </c:pt>
                <c:pt idx="524">
                  <c:v>All Others</c:v>
                </c:pt>
                <c:pt idx="525">
                  <c:v>All Others</c:v>
                </c:pt>
                <c:pt idx="526">
                  <c:v>All Others</c:v>
                </c:pt>
                <c:pt idx="527">
                  <c:v>All Others</c:v>
                </c:pt>
                <c:pt idx="528">
                  <c:v>Private Lab</c:v>
                </c:pt>
                <c:pt idx="529">
                  <c:v>All Others</c:v>
                </c:pt>
                <c:pt idx="530">
                  <c:v>All Others</c:v>
                </c:pt>
                <c:pt idx="531">
                  <c:v>All Others</c:v>
                </c:pt>
                <c:pt idx="532">
                  <c:v>All Others</c:v>
                </c:pt>
                <c:pt idx="533">
                  <c:v>All Others</c:v>
                </c:pt>
                <c:pt idx="534">
                  <c:v>All Others</c:v>
                </c:pt>
                <c:pt idx="535">
                  <c:v>All Others</c:v>
                </c:pt>
                <c:pt idx="536">
                  <c:v>All Others</c:v>
                </c:pt>
                <c:pt idx="537">
                  <c:v>All Others</c:v>
                </c:pt>
                <c:pt idx="538">
                  <c:v>All Others</c:v>
                </c:pt>
                <c:pt idx="539">
                  <c:v>Savencia: A</c:v>
                </c:pt>
                <c:pt idx="540">
                  <c:v>All Others</c:v>
                </c:pt>
                <c:pt idx="541">
                  <c:v>All Others</c:v>
                </c:pt>
                <c:pt idx="542">
                  <c:v>All Others</c:v>
                </c:pt>
                <c:pt idx="543">
                  <c:v>All Others</c:v>
                </c:pt>
                <c:pt idx="544">
                  <c:v>All Others</c:v>
                </c:pt>
                <c:pt idx="545">
                  <c:v>All Others</c:v>
                </c:pt>
                <c:pt idx="546">
                  <c:v>All Others</c:v>
                </c:pt>
                <c:pt idx="547">
                  <c:v>Boursin</c:v>
                </c:pt>
                <c:pt idx="548">
                  <c:v>All Others</c:v>
                </c:pt>
                <c:pt idx="549">
                  <c:v>All Others</c:v>
                </c:pt>
                <c:pt idx="550">
                  <c:v>Private Lab</c:v>
                </c:pt>
                <c:pt idx="551">
                  <c:v>All Others</c:v>
                </c:pt>
                <c:pt idx="552">
                  <c:v>All Others</c:v>
                </c:pt>
                <c:pt idx="553">
                  <c:v>All Others</c:v>
                </c:pt>
                <c:pt idx="554">
                  <c:v>All Others</c:v>
                </c:pt>
                <c:pt idx="555">
                  <c:v>All Others</c:v>
                </c:pt>
                <c:pt idx="556">
                  <c:v>All Others</c:v>
                </c:pt>
                <c:pt idx="557">
                  <c:v>All Others</c:v>
                </c:pt>
                <c:pt idx="558">
                  <c:v>All Others</c:v>
                </c:pt>
                <c:pt idx="559">
                  <c:v>All Others</c:v>
                </c:pt>
                <c:pt idx="560">
                  <c:v>All Others</c:v>
                </c:pt>
                <c:pt idx="561">
                  <c:v>All Others</c:v>
                </c:pt>
                <c:pt idx="562">
                  <c:v>All Others</c:v>
                </c:pt>
                <c:pt idx="563">
                  <c:v>All Others</c:v>
                </c:pt>
                <c:pt idx="564">
                  <c:v>Milleret: A</c:v>
                </c:pt>
                <c:pt idx="565">
                  <c:v>Triballat R</c:v>
                </c:pt>
                <c:pt idx="566">
                  <c:v>All Others</c:v>
                </c:pt>
                <c:pt idx="567">
                  <c:v>All Others</c:v>
                </c:pt>
                <c:pt idx="568">
                  <c:v>All Others</c:v>
                </c:pt>
                <c:pt idx="569">
                  <c:v>All Others</c:v>
                </c:pt>
                <c:pt idx="570">
                  <c:v>All Others</c:v>
                </c:pt>
                <c:pt idx="571">
                  <c:v>All Others</c:v>
                </c:pt>
                <c:pt idx="572">
                  <c:v>All Others</c:v>
                </c:pt>
                <c:pt idx="573">
                  <c:v>All Others</c:v>
                </c:pt>
                <c:pt idx="574">
                  <c:v>All Others</c:v>
                </c:pt>
                <c:pt idx="575">
                  <c:v>All Others</c:v>
                </c:pt>
                <c:pt idx="576">
                  <c:v>All Others</c:v>
                </c:pt>
                <c:pt idx="577">
                  <c:v>Istara</c:v>
                </c:pt>
                <c:pt idx="578">
                  <c:v>All Others</c:v>
                </c:pt>
                <c:pt idx="579">
                  <c:v>Private Lab</c:v>
                </c:pt>
                <c:pt idx="580">
                  <c:v>All Others</c:v>
                </c:pt>
                <c:pt idx="581">
                  <c:v>All Others</c:v>
                </c:pt>
                <c:pt idx="582">
                  <c:v>All Others</c:v>
                </c:pt>
                <c:pt idx="583">
                  <c:v>Eurial Autr</c:v>
                </c:pt>
                <c:pt idx="584">
                  <c:v>All Others</c:v>
                </c:pt>
                <c:pt idx="585">
                  <c:v>All Others</c:v>
                </c:pt>
                <c:pt idx="586">
                  <c:v>All Others</c:v>
                </c:pt>
                <c:pt idx="587">
                  <c:v>All Others</c:v>
                </c:pt>
                <c:pt idx="588">
                  <c:v>All Others</c:v>
                </c:pt>
                <c:pt idx="589">
                  <c:v>All Others</c:v>
                </c:pt>
                <c:pt idx="590">
                  <c:v>All Others</c:v>
                </c:pt>
                <c:pt idx="591">
                  <c:v>All Others</c:v>
                </c:pt>
                <c:pt idx="592">
                  <c:v>All Others</c:v>
                </c:pt>
                <c:pt idx="593">
                  <c:v>All Others</c:v>
                </c:pt>
                <c:pt idx="594">
                  <c:v>All Others</c:v>
                </c:pt>
                <c:pt idx="595">
                  <c:v>All Others</c:v>
                </c:pt>
                <c:pt idx="596">
                  <c:v>All Others</c:v>
                </c:pt>
                <c:pt idx="597">
                  <c:v>All Others</c:v>
                </c:pt>
                <c:pt idx="598">
                  <c:v>All Others</c:v>
                </c:pt>
                <c:pt idx="599">
                  <c:v>All Others</c:v>
                </c:pt>
                <c:pt idx="600">
                  <c:v>All Others</c:v>
                </c:pt>
                <c:pt idx="601">
                  <c:v>All Others</c:v>
                </c:pt>
                <c:pt idx="602">
                  <c:v>All Others</c:v>
                </c:pt>
                <c:pt idx="603">
                  <c:v>All Others</c:v>
                </c:pt>
                <c:pt idx="604">
                  <c:v>All Others</c:v>
                </c:pt>
                <c:pt idx="605">
                  <c:v>All Others</c:v>
                </c:pt>
                <c:pt idx="606">
                  <c:v>All Others</c:v>
                </c:pt>
                <c:pt idx="607">
                  <c:v>All Others</c:v>
                </c:pt>
                <c:pt idx="608">
                  <c:v>All Others</c:v>
                </c:pt>
                <c:pt idx="609">
                  <c:v>All Others</c:v>
                </c:pt>
                <c:pt idx="610">
                  <c:v>All Others</c:v>
                </c:pt>
                <c:pt idx="611">
                  <c:v>All Others</c:v>
                </c:pt>
                <c:pt idx="612">
                  <c:v>All Others</c:v>
                </c:pt>
                <c:pt idx="613">
                  <c:v>All Others</c:v>
                </c:pt>
                <c:pt idx="614">
                  <c:v>Eurial Autr</c:v>
                </c:pt>
                <c:pt idx="615">
                  <c:v>Carre Frais</c:v>
                </c:pt>
                <c:pt idx="616">
                  <c:v>All Others</c:v>
                </c:pt>
                <c:pt idx="617">
                  <c:v>Private Lab</c:v>
                </c:pt>
                <c:pt idx="618">
                  <c:v>All Others</c:v>
                </c:pt>
                <c:pt idx="619">
                  <c:v>All Others</c:v>
                </c:pt>
                <c:pt idx="620">
                  <c:v>All Others</c:v>
                </c:pt>
                <c:pt idx="621">
                  <c:v>All Others</c:v>
                </c:pt>
                <c:pt idx="622">
                  <c:v>All Others</c:v>
                </c:pt>
                <c:pt idx="623">
                  <c:v>All Others</c:v>
                </c:pt>
                <c:pt idx="624">
                  <c:v>All Others</c:v>
                </c:pt>
                <c:pt idx="625">
                  <c:v>All Others</c:v>
                </c:pt>
                <c:pt idx="626">
                  <c:v>All Others</c:v>
                </c:pt>
                <c:pt idx="627">
                  <c:v>All Others</c:v>
                </c:pt>
                <c:pt idx="628">
                  <c:v>All Others</c:v>
                </c:pt>
                <c:pt idx="629">
                  <c:v>All Others</c:v>
                </c:pt>
                <c:pt idx="630">
                  <c:v>All Others</c:v>
                </c:pt>
                <c:pt idx="631">
                  <c:v>Lactalis: A</c:v>
                </c:pt>
                <c:pt idx="632">
                  <c:v>All Others</c:v>
                </c:pt>
                <c:pt idx="633">
                  <c:v>All Others</c:v>
                </c:pt>
                <c:pt idx="634">
                  <c:v>All Others</c:v>
                </c:pt>
                <c:pt idx="635">
                  <c:v>All Others</c:v>
                </c:pt>
                <c:pt idx="636">
                  <c:v>All Others</c:v>
                </c:pt>
                <c:pt idx="637">
                  <c:v>All Others</c:v>
                </c:pt>
                <c:pt idx="638">
                  <c:v>All Others</c:v>
                </c:pt>
                <c:pt idx="639">
                  <c:v>All Others</c:v>
                </c:pt>
                <c:pt idx="640">
                  <c:v>All Others</c:v>
                </c:pt>
                <c:pt idx="641">
                  <c:v>All Others</c:v>
                </c:pt>
                <c:pt idx="642">
                  <c:v>All Others</c:v>
                </c:pt>
                <c:pt idx="643">
                  <c:v>All Others</c:v>
                </c:pt>
                <c:pt idx="644">
                  <c:v>All Others</c:v>
                </c:pt>
                <c:pt idx="645">
                  <c:v>All Others</c:v>
                </c:pt>
                <c:pt idx="646">
                  <c:v>All Others</c:v>
                </c:pt>
                <c:pt idx="647">
                  <c:v>Mini Babybe</c:v>
                </c:pt>
                <c:pt idx="648">
                  <c:v>All Others</c:v>
                </c:pt>
                <c:pt idx="649">
                  <c:v>All Others</c:v>
                </c:pt>
                <c:pt idx="650">
                  <c:v>All Others</c:v>
                </c:pt>
                <c:pt idx="651">
                  <c:v>All Others</c:v>
                </c:pt>
                <c:pt idx="652">
                  <c:v>All Others</c:v>
                </c:pt>
                <c:pt idx="653">
                  <c:v>All Others</c:v>
                </c:pt>
                <c:pt idx="654">
                  <c:v>All Others</c:v>
                </c:pt>
                <c:pt idx="655">
                  <c:v>All Others</c:v>
                </c:pt>
                <c:pt idx="656">
                  <c:v>All Others</c:v>
                </c:pt>
                <c:pt idx="657">
                  <c:v>All Others</c:v>
                </c:pt>
                <c:pt idx="658">
                  <c:v>All Others</c:v>
                </c:pt>
                <c:pt idx="659">
                  <c:v>Triballat N</c:v>
                </c:pt>
                <c:pt idx="660">
                  <c:v>All Others</c:v>
                </c:pt>
                <c:pt idx="661">
                  <c:v>All Others</c:v>
                </c:pt>
                <c:pt idx="662">
                  <c:v>All Others</c:v>
                </c:pt>
                <c:pt idx="663">
                  <c:v>All Others</c:v>
                </c:pt>
                <c:pt idx="664">
                  <c:v>All Others</c:v>
                </c:pt>
                <c:pt idx="665">
                  <c:v>All Others</c:v>
                </c:pt>
                <c:pt idx="666">
                  <c:v>All Others</c:v>
                </c:pt>
                <c:pt idx="667">
                  <c:v>All Others</c:v>
                </c:pt>
                <c:pt idx="668">
                  <c:v>All Others</c:v>
                </c:pt>
                <c:pt idx="669">
                  <c:v>All Others</c:v>
                </c:pt>
                <c:pt idx="670">
                  <c:v>All Others</c:v>
                </c:pt>
                <c:pt idx="671">
                  <c:v>Private Lab</c:v>
                </c:pt>
                <c:pt idx="672">
                  <c:v>All Others</c:v>
                </c:pt>
                <c:pt idx="673">
                  <c:v>All Others</c:v>
                </c:pt>
                <c:pt idx="674">
                  <c:v>Triballat R</c:v>
                </c:pt>
                <c:pt idx="675">
                  <c:v>All Others</c:v>
                </c:pt>
                <c:pt idx="676">
                  <c:v>All Others</c:v>
                </c:pt>
                <c:pt idx="677">
                  <c:v>All Others</c:v>
                </c:pt>
                <c:pt idx="678">
                  <c:v>All Others</c:v>
                </c:pt>
                <c:pt idx="679">
                  <c:v>All Others</c:v>
                </c:pt>
                <c:pt idx="680">
                  <c:v>All Others</c:v>
                </c:pt>
                <c:pt idx="681">
                  <c:v>All Others</c:v>
                </c:pt>
                <c:pt idx="682">
                  <c:v>Private Lab</c:v>
                </c:pt>
                <c:pt idx="683">
                  <c:v>All Others</c:v>
                </c:pt>
                <c:pt idx="684">
                  <c:v>All Others</c:v>
                </c:pt>
                <c:pt idx="685">
                  <c:v>All Others</c:v>
                </c:pt>
                <c:pt idx="686">
                  <c:v>All Others</c:v>
                </c:pt>
                <c:pt idx="687">
                  <c:v>All Others</c:v>
                </c:pt>
                <c:pt idx="688">
                  <c:v>All Others</c:v>
                </c:pt>
                <c:pt idx="689">
                  <c:v>All Others</c:v>
                </c:pt>
                <c:pt idx="690">
                  <c:v>All Others</c:v>
                </c:pt>
                <c:pt idx="691">
                  <c:v>All Others</c:v>
                </c:pt>
                <c:pt idx="692">
                  <c:v>All Others</c:v>
                </c:pt>
                <c:pt idx="693">
                  <c:v>Etoile Du Q</c:v>
                </c:pt>
                <c:pt idx="694">
                  <c:v>All Others</c:v>
                </c:pt>
                <c:pt idx="695">
                  <c:v>All Others</c:v>
                </c:pt>
                <c:pt idx="696">
                  <c:v>All Others</c:v>
                </c:pt>
                <c:pt idx="697">
                  <c:v>Eurial Autr</c:v>
                </c:pt>
                <c:pt idx="698">
                  <c:v>All Others</c:v>
                </c:pt>
                <c:pt idx="699">
                  <c:v>All Others</c:v>
                </c:pt>
                <c:pt idx="700">
                  <c:v>All Others</c:v>
                </c:pt>
                <c:pt idx="701">
                  <c:v>All Others</c:v>
                </c:pt>
                <c:pt idx="702">
                  <c:v>All Others</c:v>
                </c:pt>
                <c:pt idx="703">
                  <c:v>Private Lab</c:v>
                </c:pt>
                <c:pt idx="704">
                  <c:v>Soignon</c:v>
                </c:pt>
                <c:pt idx="705">
                  <c:v>All Others</c:v>
                </c:pt>
                <c:pt idx="706">
                  <c:v>All Others</c:v>
                </c:pt>
                <c:pt idx="707">
                  <c:v>All Others</c:v>
                </c:pt>
                <c:pt idx="708">
                  <c:v>All Others</c:v>
                </c:pt>
                <c:pt idx="709">
                  <c:v>All Others</c:v>
                </c:pt>
                <c:pt idx="710">
                  <c:v>All Others</c:v>
                </c:pt>
                <c:pt idx="711">
                  <c:v>All Others</c:v>
                </c:pt>
                <c:pt idx="712">
                  <c:v>All Others</c:v>
                </c:pt>
                <c:pt idx="713">
                  <c:v>All Others</c:v>
                </c:pt>
                <c:pt idx="714">
                  <c:v>All Others</c:v>
                </c:pt>
                <c:pt idx="715">
                  <c:v>All Others</c:v>
                </c:pt>
                <c:pt idx="716">
                  <c:v>All Others</c:v>
                </c:pt>
                <c:pt idx="717">
                  <c:v>All Others</c:v>
                </c:pt>
                <c:pt idx="718">
                  <c:v>All Others</c:v>
                </c:pt>
                <c:pt idx="719">
                  <c:v>All Others</c:v>
                </c:pt>
                <c:pt idx="720">
                  <c:v>All Others</c:v>
                </c:pt>
                <c:pt idx="721">
                  <c:v>Lactalis: A</c:v>
                </c:pt>
                <c:pt idx="722">
                  <c:v>All Others</c:v>
                </c:pt>
                <c:pt idx="723">
                  <c:v>All Others</c:v>
                </c:pt>
                <c:pt idx="724">
                  <c:v>All Others</c:v>
                </c:pt>
                <c:pt idx="725">
                  <c:v>All Others</c:v>
                </c:pt>
                <c:pt idx="726">
                  <c:v>All Others</c:v>
                </c:pt>
                <c:pt idx="727">
                  <c:v>Private Lab</c:v>
                </c:pt>
                <c:pt idx="728">
                  <c:v>All Others</c:v>
                </c:pt>
                <c:pt idx="729">
                  <c:v>Private Lab</c:v>
                </c:pt>
                <c:pt idx="730">
                  <c:v>All Others</c:v>
                </c:pt>
                <c:pt idx="731">
                  <c:v>All Others</c:v>
                </c:pt>
                <c:pt idx="732">
                  <c:v>Private Lab</c:v>
                </c:pt>
                <c:pt idx="733">
                  <c:v>All Others</c:v>
                </c:pt>
                <c:pt idx="734">
                  <c:v>All Others</c:v>
                </c:pt>
                <c:pt idx="735">
                  <c:v>All Others</c:v>
                </c:pt>
                <c:pt idx="736">
                  <c:v>All Others</c:v>
                </c:pt>
                <c:pt idx="737">
                  <c:v>All Others</c:v>
                </c:pt>
                <c:pt idx="738">
                  <c:v>All Others</c:v>
                </c:pt>
                <c:pt idx="739">
                  <c:v>All Others</c:v>
                </c:pt>
                <c:pt idx="740">
                  <c:v>All Others</c:v>
                </c:pt>
                <c:pt idx="741">
                  <c:v>All Others</c:v>
                </c:pt>
                <c:pt idx="742">
                  <c:v>Private Lab</c:v>
                </c:pt>
                <c:pt idx="743">
                  <c:v>All Others</c:v>
                </c:pt>
                <c:pt idx="744">
                  <c:v>All Others</c:v>
                </c:pt>
                <c:pt idx="745">
                  <c:v>All Others</c:v>
                </c:pt>
                <c:pt idx="746">
                  <c:v>All Others</c:v>
                </c:pt>
                <c:pt idx="747">
                  <c:v>All Others</c:v>
                </c:pt>
                <c:pt idx="748">
                  <c:v>All Others</c:v>
                </c:pt>
                <c:pt idx="749">
                  <c:v>All Others</c:v>
                </c:pt>
                <c:pt idx="750">
                  <c:v>All Others</c:v>
                </c:pt>
                <c:pt idx="751">
                  <c:v>All Others</c:v>
                </c:pt>
                <c:pt idx="752">
                  <c:v>All Others</c:v>
                </c:pt>
                <c:pt idx="753">
                  <c:v>All Others</c:v>
                </c:pt>
                <c:pt idx="754">
                  <c:v>All Others</c:v>
                </c:pt>
                <c:pt idx="755">
                  <c:v>All Others</c:v>
                </c:pt>
                <c:pt idx="756">
                  <c:v>All Others</c:v>
                </c:pt>
                <c:pt idx="757">
                  <c:v>All Others</c:v>
                </c:pt>
                <c:pt idx="758">
                  <c:v>Lactalis: A</c:v>
                </c:pt>
                <c:pt idx="759">
                  <c:v>All Others</c:v>
                </c:pt>
                <c:pt idx="760">
                  <c:v>All Others</c:v>
                </c:pt>
                <c:pt idx="761">
                  <c:v>All Others</c:v>
                </c:pt>
                <c:pt idx="762">
                  <c:v>All Others</c:v>
                </c:pt>
                <c:pt idx="763">
                  <c:v>All Others</c:v>
                </c:pt>
                <c:pt idx="764">
                  <c:v>Boursin</c:v>
                </c:pt>
                <c:pt idx="765">
                  <c:v>All Others</c:v>
                </c:pt>
                <c:pt idx="766">
                  <c:v>All Others</c:v>
                </c:pt>
                <c:pt idx="767">
                  <c:v>All Others</c:v>
                </c:pt>
                <c:pt idx="768">
                  <c:v>All Others</c:v>
                </c:pt>
                <c:pt idx="769">
                  <c:v>Private Lab</c:v>
                </c:pt>
                <c:pt idx="770">
                  <c:v>All Others</c:v>
                </c:pt>
                <c:pt idx="771">
                  <c:v>Lactalis: A</c:v>
                </c:pt>
                <c:pt idx="772">
                  <c:v>Private Lab</c:v>
                </c:pt>
                <c:pt idx="773">
                  <c:v>All Others</c:v>
                </c:pt>
                <c:pt idx="774">
                  <c:v>All Others</c:v>
                </c:pt>
                <c:pt idx="775">
                  <c:v>All Others</c:v>
                </c:pt>
                <c:pt idx="776">
                  <c:v>All Others</c:v>
                </c:pt>
                <c:pt idx="777">
                  <c:v>All Others</c:v>
                </c:pt>
                <c:pt idx="778">
                  <c:v>All Others</c:v>
                </c:pt>
                <c:pt idx="779">
                  <c:v>All Others</c:v>
                </c:pt>
                <c:pt idx="780">
                  <c:v>All Others</c:v>
                </c:pt>
                <c:pt idx="781">
                  <c:v>All Others</c:v>
                </c:pt>
                <c:pt idx="782">
                  <c:v>All Others</c:v>
                </c:pt>
                <c:pt idx="783">
                  <c:v>All Others</c:v>
                </c:pt>
                <c:pt idx="784">
                  <c:v>All Others</c:v>
                </c:pt>
                <c:pt idx="785">
                  <c:v>All Others</c:v>
                </c:pt>
                <c:pt idx="786">
                  <c:v>All Others</c:v>
                </c:pt>
                <c:pt idx="787">
                  <c:v>All Others</c:v>
                </c:pt>
                <c:pt idx="788">
                  <c:v>All Others</c:v>
                </c:pt>
                <c:pt idx="789">
                  <c:v>Lactalis: A</c:v>
                </c:pt>
                <c:pt idx="790">
                  <c:v>All Others</c:v>
                </c:pt>
                <c:pt idx="791">
                  <c:v>All Others</c:v>
                </c:pt>
                <c:pt idx="792">
                  <c:v>All Others</c:v>
                </c:pt>
                <c:pt idx="793">
                  <c:v>All Others</c:v>
                </c:pt>
                <c:pt idx="794">
                  <c:v>All Others</c:v>
                </c:pt>
                <c:pt idx="795">
                  <c:v>All Others</c:v>
                </c:pt>
                <c:pt idx="796">
                  <c:v>All Others</c:v>
                </c:pt>
                <c:pt idx="797">
                  <c:v>All Others</c:v>
                </c:pt>
                <c:pt idx="798">
                  <c:v>All Others</c:v>
                </c:pt>
                <c:pt idx="799">
                  <c:v>All Others</c:v>
                </c:pt>
                <c:pt idx="800">
                  <c:v>All Others</c:v>
                </c:pt>
                <c:pt idx="801">
                  <c:v>All Others</c:v>
                </c:pt>
                <c:pt idx="802">
                  <c:v>All Others</c:v>
                </c:pt>
                <c:pt idx="803">
                  <c:v>All Others</c:v>
                </c:pt>
                <c:pt idx="804">
                  <c:v>All Others</c:v>
                </c:pt>
                <c:pt idx="805">
                  <c:v>All Others</c:v>
                </c:pt>
                <c:pt idx="806">
                  <c:v>All Others</c:v>
                </c:pt>
                <c:pt idx="807">
                  <c:v>All Others</c:v>
                </c:pt>
                <c:pt idx="808">
                  <c:v>All Others</c:v>
                </c:pt>
                <c:pt idx="809">
                  <c:v>All Others</c:v>
                </c:pt>
                <c:pt idx="810">
                  <c:v>All Others</c:v>
                </c:pt>
                <c:pt idx="811">
                  <c:v>All Others</c:v>
                </c:pt>
                <c:pt idx="812">
                  <c:v>Kiri</c:v>
                </c:pt>
                <c:pt idx="813">
                  <c:v>All Others</c:v>
                </c:pt>
                <c:pt idx="814">
                  <c:v>All Others</c:v>
                </c:pt>
                <c:pt idx="815">
                  <c:v>All Others</c:v>
                </c:pt>
                <c:pt idx="816">
                  <c:v>All Others</c:v>
                </c:pt>
                <c:pt idx="817">
                  <c:v>All Others</c:v>
                </c:pt>
                <c:pt idx="818">
                  <c:v>All Others</c:v>
                </c:pt>
                <c:pt idx="819">
                  <c:v>All Others</c:v>
                </c:pt>
                <c:pt idx="820">
                  <c:v>All Others</c:v>
                </c:pt>
                <c:pt idx="821">
                  <c:v>All Others</c:v>
                </c:pt>
                <c:pt idx="822">
                  <c:v>All Others</c:v>
                </c:pt>
                <c:pt idx="823">
                  <c:v>All Others</c:v>
                </c:pt>
                <c:pt idx="824">
                  <c:v>All Others</c:v>
                </c:pt>
                <c:pt idx="825">
                  <c:v>All Others</c:v>
                </c:pt>
                <c:pt idx="826">
                  <c:v>All Others</c:v>
                </c:pt>
                <c:pt idx="827">
                  <c:v>All Others</c:v>
                </c:pt>
                <c:pt idx="828">
                  <c:v>All Others</c:v>
                </c:pt>
                <c:pt idx="829">
                  <c:v>Lactalis: A</c:v>
                </c:pt>
                <c:pt idx="830">
                  <c:v>All Others</c:v>
                </c:pt>
                <c:pt idx="831">
                  <c:v>All Others</c:v>
                </c:pt>
                <c:pt idx="832">
                  <c:v>Soignon</c:v>
                </c:pt>
                <c:pt idx="833">
                  <c:v>All Others</c:v>
                </c:pt>
                <c:pt idx="834">
                  <c:v>Private Lab</c:v>
                </c:pt>
                <c:pt idx="835">
                  <c:v>Eurial Autr</c:v>
                </c:pt>
                <c:pt idx="836">
                  <c:v>All Others</c:v>
                </c:pt>
                <c:pt idx="837">
                  <c:v>Private Lab</c:v>
                </c:pt>
                <c:pt idx="838">
                  <c:v>All Others</c:v>
                </c:pt>
                <c:pt idx="839">
                  <c:v>All Others</c:v>
                </c:pt>
                <c:pt idx="840">
                  <c:v>All Others</c:v>
                </c:pt>
                <c:pt idx="841">
                  <c:v>All Others</c:v>
                </c:pt>
                <c:pt idx="842">
                  <c:v>Lactalis: A</c:v>
                </c:pt>
                <c:pt idx="843">
                  <c:v>All Others</c:v>
                </c:pt>
                <c:pt idx="844">
                  <c:v>All Others</c:v>
                </c:pt>
                <c:pt idx="845">
                  <c:v>All Others</c:v>
                </c:pt>
                <c:pt idx="846">
                  <c:v>All Others</c:v>
                </c:pt>
                <c:pt idx="847">
                  <c:v>All Others</c:v>
                </c:pt>
                <c:pt idx="848">
                  <c:v>All Others</c:v>
                </c:pt>
                <c:pt idx="849">
                  <c:v>All Others</c:v>
                </c:pt>
                <c:pt idx="850">
                  <c:v>All Others</c:v>
                </c:pt>
                <c:pt idx="851">
                  <c:v>All Others</c:v>
                </c:pt>
                <c:pt idx="852">
                  <c:v>All Others</c:v>
                </c:pt>
                <c:pt idx="853">
                  <c:v>All Others</c:v>
                </c:pt>
                <c:pt idx="854">
                  <c:v>All Others</c:v>
                </c:pt>
                <c:pt idx="855">
                  <c:v>All Others</c:v>
                </c:pt>
                <c:pt idx="856">
                  <c:v>All Others</c:v>
                </c:pt>
                <c:pt idx="857">
                  <c:v>All Others</c:v>
                </c:pt>
                <c:pt idx="858">
                  <c:v>All Others</c:v>
                </c:pt>
                <c:pt idx="859">
                  <c:v>All Others</c:v>
                </c:pt>
                <c:pt idx="860">
                  <c:v>All Others</c:v>
                </c:pt>
                <c:pt idx="861">
                  <c:v>All Others</c:v>
                </c:pt>
                <c:pt idx="862">
                  <c:v>Eurial Autr</c:v>
                </c:pt>
                <c:pt idx="863">
                  <c:v>All Others</c:v>
                </c:pt>
                <c:pt idx="864">
                  <c:v>All Others</c:v>
                </c:pt>
                <c:pt idx="865">
                  <c:v>All Others</c:v>
                </c:pt>
                <c:pt idx="866">
                  <c:v>All Others</c:v>
                </c:pt>
                <c:pt idx="867">
                  <c:v>All Others</c:v>
                </c:pt>
                <c:pt idx="868">
                  <c:v>All Others</c:v>
                </c:pt>
                <c:pt idx="869">
                  <c:v>All Others</c:v>
                </c:pt>
                <c:pt idx="870">
                  <c:v>Soignon</c:v>
                </c:pt>
                <c:pt idx="871">
                  <c:v>All Others</c:v>
                </c:pt>
                <c:pt idx="872">
                  <c:v>Private Lab</c:v>
                </c:pt>
                <c:pt idx="873">
                  <c:v>All Others</c:v>
                </c:pt>
                <c:pt idx="874">
                  <c:v>All Others</c:v>
                </c:pt>
                <c:pt idx="875">
                  <c:v>All Others</c:v>
                </c:pt>
                <c:pt idx="876">
                  <c:v>All Others</c:v>
                </c:pt>
                <c:pt idx="877">
                  <c:v>All Others</c:v>
                </c:pt>
                <c:pt idx="878">
                  <c:v>All Others</c:v>
                </c:pt>
                <c:pt idx="879">
                  <c:v>Galbani</c:v>
                </c:pt>
                <c:pt idx="880">
                  <c:v>All Others</c:v>
                </c:pt>
                <c:pt idx="881">
                  <c:v>All Others</c:v>
                </c:pt>
                <c:pt idx="882">
                  <c:v>All Others</c:v>
                </c:pt>
                <c:pt idx="883">
                  <c:v>Eurial Autr</c:v>
                </c:pt>
                <c:pt idx="884">
                  <c:v>Private Lab</c:v>
                </c:pt>
                <c:pt idx="885">
                  <c:v>All Others</c:v>
                </c:pt>
                <c:pt idx="886">
                  <c:v>All Others</c:v>
                </c:pt>
                <c:pt idx="887">
                  <c:v>All Others</c:v>
                </c:pt>
                <c:pt idx="888">
                  <c:v>All Others</c:v>
                </c:pt>
                <c:pt idx="889">
                  <c:v>All Others</c:v>
                </c:pt>
                <c:pt idx="890">
                  <c:v>All Others</c:v>
                </c:pt>
                <c:pt idx="891">
                  <c:v>All Others</c:v>
                </c:pt>
                <c:pt idx="892">
                  <c:v>All Others</c:v>
                </c:pt>
                <c:pt idx="893">
                  <c:v>All Others</c:v>
                </c:pt>
                <c:pt idx="894">
                  <c:v>All Others</c:v>
                </c:pt>
                <c:pt idx="895">
                  <c:v>All Others</c:v>
                </c:pt>
                <c:pt idx="896">
                  <c:v>All Others</c:v>
                </c:pt>
                <c:pt idx="897">
                  <c:v>All Others</c:v>
                </c:pt>
                <c:pt idx="898">
                  <c:v>All Others</c:v>
                </c:pt>
                <c:pt idx="899">
                  <c:v>Triballat R</c:v>
                </c:pt>
                <c:pt idx="900">
                  <c:v>Private Lab</c:v>
                </c:pt>
                <c:pt idx="901">
                  <c:v>All Others</c:v>
                </c:pt>
                <c:pt idx="902">
                  <c:v>All Others</c:v>
                </c:pt>
                <c:pt idx="903">
                  <c:v>All Others</c:v>
                </c:pt>
                <c:pt idx="904">
                  <c:v>All Others</c:v>
                </c:pt>
                <c:pt idx="905">
                  <c:v>All Others</c:v>
                </c:pt>
                <c:pt idx="906">
                  <c:v>All Others</c:v>
                </c:pt>
                <c:pt idx="907">
                  <c:v>All Others</c:v>
                </c:pt>
                <c:pt idx="908">
                  <c:v>Islos</c:v>
                </c:pt>
                <c:pt idx="909">
                  <c:v>All Others</c:v>
                </c:pt>
                <c:pt idx="910">
                  <c:v>President</c:v>
                </c:pt>
                <c:pt idx="911">
                  <c:v>All Others</c:v>
                </c:pt>
                <c:pt idx="912">
                  <c:v>All Others</c:v>
                </c:pt>
                <c:pt idx="913">
                  <c:v>All Others</c:v>
                </c:pt>
                <c:pt idx="914">
                  <c:v>All Others</c:v>
                </c:pt>
                <c:pt idx="915">
                  <c:v>All Others</c:v>
                </c:pt>
                <c:pt idx="916">
                  <c:v>All Others</c:v>
                </c:pt>
                <c:pt idx="917">
                  <c:v>All Others</c:v>
                </c:pt>
                <c:pt idx="918">
                  <c:v>All Others</c:v>
                </c:pt>
                <c:pt idx="919">
                  <c:v>All Others</c:v>
                </c:pt>
                <c:pt idx="920">
                  <c:v>All Others</c:v>
                </c:pt>
                <c:pt idx="921">
                  <c:v>All Others</c:v>
                </c:pt>
                <c:pt idx="922">
                  <c:v>All Others</c:v>
                </c:pt>
                <c:pt idx="923">
                  <c:v>All Others</c:v>
                </c:pt>
                <c:pt idx="924">
                  <c:v>All Others</c:v>
                </c:pt>
                <c:pt idx="925">
                  <c:v>All Others</c:v>
                </c:pt>
                <c:pt idx="926">
                  <c:v>All Others</c:v>
                </c:pt>
                <c:pt idx="927">
                  <c:v>All Others</c:v>
                </c:pt>
                <c:pt idx="928">
                  <c:v>All Others</c:v>
                </c:pt>
                <c:pt idx="929">
                  <c:v>Boursin</c:v>
                </c:pt>
                <c:pt idx="930">
                  <c:v>All Others</c:v>
                </c:pt>
                <c:pt idx="931">
                  <c:v>All Others</c:v>
                </c:pt>
                <c:pt idx="932">
                  <c:v>All Others</c:v>
                </c:pt>
                <c:pt idx="933">
                  <c:v>All Others</c:v>
                </c:pt>
                <c:pt idx="934">
                  <c:v>All Others</c:v>
                </c:pt>
                <c:pt idx="935">
                  <c:v>All Others</c:v>
                </c:pt>
                <c:pt idx="936">
                  <c:v>Caprice Des</c:v>
                </c:pt>
                <c:pt idx="937">
                  <c:v>Private Lab</c:v>
                </c:pt>
                <c:pt idx="938">
                  <c:v>All Others</c:v>
                </c:pt>
                <c:pt idx="939">
                  <c:v>Private Lab</c:v>
                </c:pt>
                <c:pt idx="940">
                  <c:v>All Others</c:v>
                </c:pt>
                <c:pt idx="941">
                  <c:v>All Others</c:v>
                </c:pt>
                <c:pt idx="942">
                  <c:v>All Others</c:v>
                </c:pt>
                <c:pt idx="943">
                  <c:v>Private Lab</c:v>
                </c:pt>
                <c:pt idx="944">
                  <c:v>Savencia: A</c:v>
                </c:pt>
              </c:strCache>
            </c:strRef>
          </c:cat>
          <c:val>
            <c:numRef>
              <c:f>Sheet1!$B$2:$B$946</c:f>
              <c:numCache>
                <c:formatCode>General</c:formatCode>
                <c:ptCount val="945"/>
                <c:pt idx="0">
                  <c:v>0.99</c:v>
                </c:pt>
                <c:pt idx="1">
                  <c:v>0.35</c:v>
                </c:pt>
                <c:pt idx="2">
                  <c:v>1.0</c:v>
                </c:pt>
                <c:pt idx="3">
                  <c:v>1.0</c:v>
                </c:pt>
                <c:pt idx="4">
                  <c:v>0.99</c:v>
                </c:pt>
                <c:pt idx="5">
                  <c:v>1.0</c:v>
                </c:pt>
                <c:pt idx="6">
                  <c:v>0.99</c:v>
                </c:pt>
                <c:pt idx="7">
                  <c:v>1.0</c:v>
                </c:pt>
                <c:pt idx="8">
                  <c:v>1.0</c:v>
                </c:pt>
                <c:pt idx="9">
                  <c:v>1.0</c:v>
                </c:pt>
                <c:pt idx="10">
                  <c:v>0.99</c:v>
                </c:pt>
                <c:pt idx="11">
                  <c:v>1.0</c:v>
                </c:pt>
                <c:pt idx="12">
                  <c:v>1.0</c:v>
                </c:pt>
                <c:pt idx="13">
                  <c:v>0.96</c:v>
                </c:pt>
                <c:pt idx="14">
                  <c:v>1.0</c:v>
                </c:pt>
                <c:pt idx="15">
                  <c:v>0.96</c:v>
                </c:pt>
                <c:pt idx="16">
                  <c:v>0.98</c:v>
                </c:pt>
                <c:pt idx="17">
                  <c:v>1.0</c:v>
                </c:pt>
                <c:pt idx="18">
                  <c:v>1.0</c:v>
                </c:pt>
                <c:pt idx="19">
                  <c:v>0.89</c:v>
                </c:pt>
                <c:pt idx="20">
                  <c:v>0.99</c:v>
                </c:pt>
                <c:pt idx="21">
                  <c:v>0.99</c:v>
                </c:pt>
                <c:pt idx="22">
                  <c:v>0.99</c:v>
                </c:pt>
                <c:pt idx="23">
                  <c:v>1.0</c:v>
                </c:pt>
                <c:pt idx="24">
                  <c:v>0.99</c:v>
                </c:pt>
                <c:pt idx="25">
                  <c:v>0.99</c:v>
                </c:pt>
                <c:pt idx="26">
                  <c:v>0.99</c:v>
                </c:pt>
                <c:pt idx="27">
                  <c:v>0.95</c:v>
                </c:pt>
                <c:pt idx="28">
                  <c:v>0.86</c:v>
                </c:pt>
                <c:pt idx="29">
                  <c:v>0.95</c:v>
                </c:pt>
                <c:pt idx="30">
                  <c:v>1.0</c:v>
                </c:pt>
                <c:pt idx="31">
                  <c:v>0.95</c:v>
                </c:pt>
                <c:pt idx="32">
                  <c:v>0.98</c:v>
                </c:pt>
                <c:pt idx="33">
                  <c:v>0.97</c:v>
                </c:pt>
                <c:pt idx="34">
                  <c:v>1.0</c:v>
                </c:pt>
                <c:pt idx="35">
                  <c:v>0.97</c:v>
                </c:pt>
                <c:pt idx="36">
                  <c:v>1.0</c:v>
                </c:pt>
                <c:pt idx="37">
                  <c:v>1.0</c:v>
                </c:pt>
                <c:pt idx="38">
                  <c:v>0.99</c:v>
                </c:pt>
                <c:pt idx="39">
                  <c:v>0.88</c:v>
                </c:pt>
                <c:pt idx="40">
                  <c:v>0.95</c:v>
                </c:pt>
                <c:pt idx="41">
                  <c:v>0.99</c:v>
                </c:pt>
                <c:pt idx="42">
                  <c:v>0.95</c:v>
                </c:pt>
                <c:pt idx="43">
                  <c:v>0.99</c:v>
                </c:pt>
                <c:pt idx="44">
                  <c:v>1.0</c:v>
                </c:pt>
                <c:pt idx="45">
                  <c:v>0.98</c:v>
                </c:pt>
                <c:pt idx="46">
                  <c:v>0.99</c:v>
                </c:pt>
                <c:pt idx="47">
                  <c:v>0.93</c:v>
                </c:pt>
                <c:pt idx="48">
                  <c:v>0.97</c:v>
                </c:pt>
                <c:pt idx="49">
                  <c:v>0.95</c:v>
                </c:pt>
                <c:pt idx="50">
                  <c:v>0.98</c:v>
                </c:pt>
                <c:pt idx="51">
                  <c:v>0.98</c:v>
                </c:pt>
                <c:pt idx="52">
                  <c:v>0.95</c:v>
                </c:pt>
                <c:pt idx="53">
                  <c:v>0.98</c:v>
                </c:pt>
                <c:pt idx="54">
                  <c:v>0.99</c:v>
                </c:pt>
                <c:pt idx="55">
                  <c:v>1.0</c:v>
                </c:pt>
                <c:pt idx="56">
                  <c:v>0.97</c:v>
                </c:pt>
                <c:pt idx="57">
                  <c:v>0.98</c:v>
                </c:pt>
                <c:pt idx="58">
                  <c:v>0.89</c:v>
                </c:pt>
                <c:pt idx="59">
                  <c:v>0.98</c:v>
                </c:pt>
                <c:pt idx="60">
                  <c:v>0.98</c:v>
                </c:pt>
                <c:pt idx="61">
                  <c:v>0.99</c:v>
                </c:pt>
                <c:pt idx="62">
                  <c:v>1.0</c:v>
                </c:pt>
                <c:pt idx="63">
                  <c:v>0.99</c:v>
                </c:pt>
                <c:pt idx="64">
                  <c:v>0.99</c:v>
                </c:pt>
                <c:pt idx="65">
                  <c:v>0.98</c:v>
                </c:pt>
                <c:pt idx="66">
                  <c:v>0.95</c:v>
                </c:pt>
                <c:pt idx="67">
                  <c:v>0.91</c:v>
                </c:pt>
                <c:pt idx="68">
                  <c:v>0.98</c:v>
                </c:pt>
                <c:pt idx="69">
                  <c:v>0.91</c:v>
                </c:pt>
                <c:pt idx="70">
                  <c:v>1.0</c:v>
                </c:pt>
                <c:pt idx="71">
                  <c:v>0.99</c:v>
                </c:pt>
                <c:pt idx="72">
                  <c:v>0.93</c:v>
                </c:pt>
                <c:pt idx="73">
                  <c:v>0.97</c:v>
                </c:pt>
                <c:pt idx="74">
                  <c:v>0.96</c:v>
                </c:pt>
                <c:pt idx="75">
                  <c:v>0.99</c:v>
                </c:pt>
                <c:pt idx="76">
                  <c:v>0.94</c:v>
                </c:pt>
                <c:pt idx="77">
                  <c:v>1.0</c:v>
                </c:pt>
                <c:pt idx="78">
                  <c:v>0.94</c:v>
                </c:pt>
                <c:pt idx="79">
                  <c:v>0.98</c:v>
                </c:pt>
                <c:pt idx="80">
                  <c:v>0.93</c:v>
                </c:pt>
                <c:pt idx="81">
                  <c:v>0.85</c:v>
                </c:pt>
                <c:pt idx="82">
                  <c:v>0.91</c:v>
                </c:pt>
                <c:pt idx="83">
                  <c:v>0.92</c:v>
                </c:pt>
                <c:pt idx="84">
                  <c:v>1.0</c:v>
                </c:pt>
                <c:pt idx="85">
                  <c:v>0.89</c:v>
                </c:pt>
                <c:pt idx="86">
                  <c:v>0.94</c:v>
                </c:pt>
                <c:pt idx="87">
                  <c:v>0.93</c:v>
                </c:pt>
                <c:pt idx="88">
                  <c:v>0.99</c:v>
                </c:pt>
                <c:pt idx="89">
                  <c:v>0.96</c:v>
                </c:pt>
                <c:pt idx="90">
                  <c:v>0.97</c:v>
                </c:pt>
                <c:pt idx="91">
                  <c:v>0.83</c:v>
                </c:pt>
                <c:pt idx="92">
                  <c:v>0.97</c:v>
                </c:pt>
                <c:pt idx="93">
                  <c:v>0.91</c:v>
                </c:pt>
                <c:pt idx="94">
                  <c:v>0.95</c:v>
                </c:pt>
                <c:pt idx="95">
                  <c:v>0.93</c:v>
                </c:pt>
                <c:pt idx="96">
                  <c:v>0.92</c:v>
                </c:pt>
                <c:pt idx="97">
                  <c:v>0.73</c:v>
                </c:pt>
                <c:pt idx="98">
                  <c:v>0.99</c:v>
                </c:pt>
                <c:pt idx="99">
                  <c:v>0.88</c:v>
                </c:pt>
                <c:pt idx="100">
                  <c:v>0.95</c:v>
                </c:pt>
                <c:pt idx="101">
                  <c:v>1.0</c:v>
                </c:pt>
                <c:pt idx="102">
                  <c:v>0.96</c:v>
                </c:pt>
                <c:pt idx="103">
                  <c:v>0.99</c:v>
                </c:pt>
                <c:pt idx="104">
                  <c:v>0.92</c:v>
                </c:pt>
                <c:pt idx="105">
                  <c:v>0.86</c:v>
                </c:pt>
                <c:pt idx="106">
                  <c:v>0.91</c:v>
                </c:pt>
                <c:pt idx="107">
                  <c:v>0.82</c:v>
                </c:pt>
                <c:pt idx="108">
                  <c:v>0.67</c:v>
                </c:pt>
                <c:pt idx="109">
                  <c:v>0.83</c:v>
                </c:pt>
                <c:pt idx="110">
                  <c:v>0.66</c:v>
                </c:pt>
                <c:pt idx="111">
                  <c:v>0.98</c:v>
                </c:pt>
                <c:pt idx="112">
                  <c:v>0.94</c:v>
                </c:pt>
                <c:pt idx="113">
                  <c:v>0.75</c:v>
                </c:pt>
                <c:pt idx="114">
                  <c:v>0.97</c:v>
                </c:pt>
                <c:pt idx="115">
                  <c:v>1.0</c:v>
                </c:pt>
                <c:pt idx="116">
                  <c:v>0.92</c:v>
                </c:pt>
                <c:pt idx="117">
                  <c:v>0.96</c:v>
                </c:pt>
                <c:pt idx="118">
                  <c:v>0.99</c:v>
                </c:pt>
                <c:pt idx="119">
                  <c:v>0.72</c:v>
                </c:pt>
                <c:pt idx="120">
                  <c:v>0.96</c:v>
                </c:pt>
                <c:pt idx="121">
                  <c:v>0.98</c:v>
                </c:pt>
                <c:pt idx="122">
                  <c:v>0.84</c:v>
                </c:pt>
                <c:pt idx="123">
                  <c:v>0.61</c:v>
                </c:pt>
                <c:pt idx="124">
                  <c:v>0.46</c:v>
                </c:pt>
                <c:pt idx="125">
                  <c:v>0.91</c:v>
                </c:pt>
                <c:pt idx="126">
                  <c:v>0.99</c:v>
                </c:pt>
                <c:pt idx="127">
                  <c:v>0.94</c:v>
                </c:pt>
                <c:pt idx="128">
                  <c:v>0.79</c:v>
                </c:pt>
                <c:pt idx="129">
                  <c:v>0.68</c:v>
                </c:pt>
                <c:pt idx="130">
                  <c:v>0.89</c:v>
                </c:pt>
                <c:pt idx="131">
                  <c:v>0.69</c:v>
                </c:pt>
                <c:pt idx="132">
                  <c:v>0.91</c:v>
                </c:pt>
                <c:pt idx="133">
                  <c:v>0.77</c:v>
                </c:pt>
                <c:pt idx="134">
                  <c:v>0.87</c:v>
                </c:pt>
                <c:pt idx="135">
                  <c:v>0.94</c:v>
                </c:pt>
                <c:pt idx="136">
                  <c:v>0.95</c:v>
                </c:pt>
                <c:pt idx="137">
                  <c:v>0.86</c:v>
                </c:pt>
                <c:pt idx="138">
                  <c:v>0.78</c:v>
                </c:pt>
                <c:pt idx="139">
                  <c:v>0.67</c:v>
                </c:pt>
                <c:pt idx="140">
                  <c:v>0.73</c:v>
                </c:pt>
                <c:pt idx="141">
                  <c:v>1.0</c:v>
                </c:pt>
                <c:pt idx="142">
                  <c:v>0.71</c:v>
                </c:pt>
                <c:pt idx="143">
                  <c:v>0.81</c:v>
                </c:pt>
                <c:pt idx="144">
                  <c:v>0.94</c:v>
                </c:pt>
                <c:pt idx="145">
                  <c:v>0.79</c:v>
                </c:pt>
                <c:pt idx="146">
                  <c:v>0.99</c:v>
                </c:pt>
                <c:pt idx="147">
                  <c:v>0.84</c:v>
                </c:pt>
                <c:pt idx="148">
                  <c:v>0.89</c:v>
                </c:pt>
                <c:pt idx="149">
                  <c:v>0.75</c:v>
                </c:pt>
                <c:pt idx="150">
                  <c:v>0.71</c:v>
                </c:pt>
                <c:pt idx="151">
                  <c:v>0.96</c:v>
                </c:pt>
                <c:pt idx="152">
                  <c:v>0.71</c:v>
                </c:pt>
                <c:pt idx="153">
                  <c:v>0.87</c:v>
                </c:pt>
                <c:pt idx="154">
                  <c:v>0.81</c:v>
                </c:pt>
                <c:pt idx="155">
                  <c:v>0.75</c:v>
                </c:pt>
                <c:pt idx="156">
                  <c:v>0.65</c:v>
                </c:pt>
                <c:pt idx="157">
                  <c:v>0.75</c:v>
                </c:pt>
                <c:pt idx="158">
                  <c:v>0.52</c:v>
                </c:pt>
                <c:pt idx="159">
                  <c:v>0.6</c:v>
                </c:pt>
                <c:pt idx="160">
                  <c:v>0.74</c:v>
                </c:pt>
                <c:pt idx="161">
                  <c:v>0.6</c:v>
                </c:pt>
                <c:pt idx="162">
                  <c:v>0.27</c:v>
                </c:pt>
                <c:pt idx="163">
                  <c:v>0.58</c:v>
                </c:pt>
                <c:pt idx="164">
                  <c:v>0.71</c:v>
                </c:pt>
                <c:pt idx="165">
                  <c:v>0.76</c:v>
                </c:pt>
                <c:pt idx="166">
                  <c:v>0.92</c:v>
                </c:pt>
                <c:pt idx="167">
                  <c:v>0.55</c:v>
                </c:pt>
                <c:pt idx="168">
                  <c:v>0.68</c:v>
                </c:pt>
                <c:pt idx="169">
                  <c:v>0.6</c:v>
                </c:pt>
                <c:pt idx="170">
                  <c:v>1.0</c:v>
                </c:pt>
                <c:pt idx="171">
                  <c:v>0.99</c:v>
                </c:pt>
                <c:pt idx="172">
                  <c:v>0.8</c:v>
                </c:pt>
                <c:pt idx="173">
                  <c:v>0.8</c:v>
                </c:pt>
                <c:pt idx="174">
                  <c:v>0.75</c:v>
                </c:pt>
                <c:pt idx="175">
                  <c:v>0.87</c:v>
                </c:pt>
                <c:pt idx="176">
                  <c:v>0.85</c:v>
                </c:pt>
                <c:pt idx="177">
                  <c:v>0.64</c:v>
                </c:pt>
                <c:pt idx="178">
                  <c:v>0.59</c:v>
                </c:pt>
                <c:pt idx="179">
                  <c:v>0.64</c:v>
                </c:pt>
                <c:pt idx="180">
                  <c:v>0.97</c:v>
                </c:pt>
                <c:pt idx="181">
                  <c:v>0.67</c:v>
                </c:pt>
                <c:pt idx="182">
                  <c:v>0.56</c:v>
                </c:pt>
                <c:pt idx="183">
                  <c:v>0.89</c:v>
                </c:pt>
                <c:pt idx="184">
                  <c:v>0.92</c:v>
                </c:pt>
                <c:pt idx="185">
                  <c:v>0.98</c:v>
                </c:pt>
                <c:pt idx="186">
                  <c:v>0.79</c:v>
                </c:pt>
                <c:pt idx="187">
                  <c:v>0.77</c:v>
                </c:pt>
                <c:pt idx="188">
                  <c:v>0.8</c:v>
                </c:pt>
                <c:pt idx="189">
                  <c:v>0.92</c:v>
                </c:pt>
                <c:pt idx="190">
                  <c:v>0.99</c:v>
                </c:pt>
                <c:pt idx="191">
                  <c:v>0.69</c:v>
                </c:pt>
                <c:pt idx="192">
                  <c:v>0.56</c:v>
                </c:pt>
                <c:pt idx="193">
                  <c:v>0.4</c:v>
                </c:pt>
                <c:pt idx="194">
                  <c:v>0.41</c:v>
                </c:pt>
                <c:pt idx="195">
                  <c:v>0.61</c:v>
                </c:pt>
                <c:pt idx="196">
                  <c:v>0.79</c:v>
                </c:pt>
                <c:pt idx="197">
                  <c:v>0.81</c:v>
                </c:pt>
                <c:pt idx="198">
                  <c:v>0.73</c:v>
                </c:pt>
                <c:pt idx="199">
                  <c:v>0.9</c:v>
                </c:pt>
                <c:pt idx="200">
                  <c:v>0.67</c:v>
                </c:pt>
                <c:pt idx="201">
                  <c:v>0.6</c:v>
                </c:pt>
                <c:pt idx="202">
                  <c:v>0.67</c:v>
                </c:pt>
                <c:pt idx="203">
                  <c:v>0.81</c:v>
                </c:pt>
                <c:pt idx="204">
                  <c:v>0.61</c:v>
                </c:pt>
                <c:pt idx="205">
                  <c:v>0.31</c:v>
                </c:pt>
                <c:pt idx="206">
                  <c:v>0.32</c:v>
                </c:pt>
                <c:pt idx="207">
                  <c:v>0.39</c:v>
                </c:pt>
                <c:pt idx="208">
                  <c:v>0.85</c:v>
                </c:pt>
                <c:pt idx="209">
                  <c:v>0.42</c:v>
                </c:pt>
                <c:pt idx="210">
                  <c:v>0.9</c:v>
                </c:pt>
                <c:pt idx="211">
                  <c:v>0.62</c:v>
                </c:pt>
                <c:pt idx="212">
                  <c:v>0.55</c:v>
                </c:pt>
                <c:pt idx="213">
                  <c:v>0.58</c:v>
                </c:pt>
                <c:pt idx="214">
                  <c:v>0.5</c:v>
                </c:pt>
                <c:pt idx="215">
                  <c:v>0.84</c:v>
                </c:pt>
                <c:pt idx="216">
                  <c:v>0.82</c:v>
                </c:pt>
                <c:pt idx="217">
                  <c:v>0.02</c:v>
                </c:pt>
                <c:pt idx="218">
                  <c:v>0.74</c:v>
                </c:pt>
                <c:pt idx="219">
                  <c:v>0.78</c:v>
                </c:pt>
                <c:pt idx="220">
                  <c:v>0.64</c:v>
                </c:pt>
                <c:pt idx="221">
                  <c:v>0.62</c:v>
                </c:pt>
                <c:pt idx="222">
                  <c:v>0.64</c:v>
                </c:pt>
                <c:pt idx="223">
                  <c:v>0.5</c:v>
                </c:pt>
                <c:pt idx="224">
                  <c:v>0.36</c:v>
                </c:pt>
                <c:pt idx="225">
                  <c:v>0.67</c:v>
                </c:pt>
                <c:pt idx="226">
                  <c:v>0.58</c:v>
                </c:pt>
                <c:pt idx="227">
                  <c:v>0.45</c:v>
                </c:pt>
                <c:pt idx="228">
                  <c:v>0.72</c:v>
                </c:pt>
                <c:pt idx="229">
                  <c:v>0.75</c:v>
                </c:pt>
                <c:pt idx="230">
                  <c:v>0.94</c:v>
                </c:pt>
                <c:pt idx="231">
                  <c:v>0.91</c:v>
                </c:pt>
                <c:pt idx="232">
                  <c:v>0.97</c:v>
                </c:pt>
                <c:pt idx="233">
                  <c:v>0.93</c:v>
                </c:pt>
                <c:pt idx="234">
                  <c:v>0.56</c:v>
                </c:pt>
                <c:pt idx="235">
                  <c:v>0.51</c:v>
                </c:pt>
                <c:pt idx="236">
                  <c:v>0.4</c:v>
                </c:pt>
                <c:pt idx="237">
                  <c:v>0.95</c:v>
                </c:pt>
                <c:pt idx="238">
                  <c:v>0.11</c:v>
                </c:pt>
                <c:pt idx="239">
                  <c:v>0.61</c:v>
                </c:pt>
                <c:pt idx="240">
                  <c:v>0.39</c:v>
                </c:pt>
                <c:pt idx="241">
                  <c:v>0.52</c:v>
                </c:pt>
                <c:pt idx="242">
                  <c:v>0.81</c:v>
                </c:pt>
                <c:pt idx="243">
                  <c:v>0.45</c:v>
                </c:pt>
                <c:pt idx="244">
                  <c:v>0.63</c:v>
                </c:pt>
                <c:pt idx="245">
                  <c:v>0.5</c:v>
                </c:pt>
                <c:pt idx="246">
                  <c:v>0.65</c:v>
                </c:pt>
                <c:pt idx="247">
                  <c:v>0.72</c:v>
                </c:pt>
                <c:pt idx="248">
                  <c:v>0.74</c:v>
                </c:pt>
                <c:pt idx="249">
                  <c:v>0.58</c:v>
                </c:pt>
                <c:pt idx="250">
                  <c:v>0.42</c:v>
                </c:pt>
                <c:pt idx="251">
                  <c:v>0.14</c:v>
                </c:pt>
                <c:pt idx="252">
                  <c:v>0.48</c:v>
                </c:pt>
                <c:pt idx="253">
                  <c:v>0.81</c:v>
                </c:pt>
                <c:pt idx="254">
                  <c:v>0.67</c:v>
                </c:pt>
                <c:pt idx="255">
                  <c:v>0.35</c:v>
                </c:pt>
                <c:pt idx="256">
                  <c:v>0.52</c:v>
                </c:pt>
                <c:pt idx="257">
                  <c:v>0.63</c:v>
                </c:pt>
                <c:pt idx="258">
                  <c:v>0.54</c:v>
                </c:pt>
                <c:pt idx="259">
                  <c:v>0.86</c:v>
                </c:pt>
                <c:pt idx="260">
                  <c:v>0.51</c:v>
                </c:pt>
                <c:pt idx="261">
                  <c:v>0.62</c:v>
                </c:pt>
                <c:pt idx="262">
                  <c:v>0.46</c:v>
                </c:pt>
                <c:pt idx="263">
                  <c:v>0.83</c:v>
                </c:pt>
                <c:pt idx="264">
                  <c:v>0.85</c:v>
                </c:pt>
                <c:pt idx="265">
                  <c:v>0.35</c:v>
                </c:pt>
                <c:pt idx="266">
                  <c:v>0.49</c:v>
                </c:pt>
                <c:pt idx="267">
                  <c:v>0.56</c:v>
                </c:pt>
                <c:pt idx="268">
                  <c:v>0.55</c:v>
                </c:pt>
                <c:pt idx="269">
                  <c:v>0.56</c:v>
                </c:pt>
                <c:pt idx="270">
                  <c:v>0.79</c:v>
                </c:pt>
                <c:pt idx="271">
                  <c:v>0.08</c:v>
                </c:pt>
                <c:pt idx="272">
                  <c:v>0.15</c:v>
                </c:pt>
                <c:pt idx="273">
                  <c:v>0.45</c:v>
                </c:pt>
                <c:pt idx="274">
                  <c:v>0.25</c:v>
                </c:pt>
                <c:pt idx="275">
                  <c:v>0.56</c:v>
                </c:pt>
                <c:pt idx="276">
                  <c:v>0.69</c:v>
                </c:pt>
                <c:pt idx="277">
                  <c:v>0.39</c:v>
                </c:pt>
                <c:pt idx="278">
                  <c:v>0.66</c:v>
                </c:pt>
                <c:pt idx="279">
                  <c:v>0.07</c:v>
                </c:pt>
                <c:pt idx="280">
                  <c:v>0.6</c:v>
                </c:pt>
                <c:pt idx="281">
                  <c:v>0.56</c:v>
                </c:pt>
                <c:pt idx="282">
                  <c:v>0.71</c:v>
                </c:pt>
                <c:pt idx="283">
                  <c:v>0.48</c:v>
                </c:pt>
                <c:pt idx="284">
                  <c:v>0.61</c:v>
                </c:pt>
                <c:pt idx="285">
                  <c:v>0.03</c:v>
                </c:pt>
                <c:pt idx="286">
                  <c:v>0.44</c:v>
                </c:pt>
                <c:pt idx="287">
                  <c:v>0.58</c:v>
                </c:pt>
                <c:pt idx="288">
                  <c:v>0.5</c:v>
                </c:pt>
                <c:pt idx="289">
                  <c:v>0.39</c:v>
                </c:pt>
                <c:pt idx="290">
                  <c:v>0.21</c:v>
                </c:pt>
                <c:pt idx="291">
                  <c:v>0.48</c:v>
                </c:pt>
                <c:pt idx="292">
                  <c:v>0.44</c:v>
                </c:pt>
                <c:pt idx="293">
                  <c:v>0.29</c:v>
                </c:pt>
                <c:pt idx="294">
                  <c:v>0.68</c:v>
                </c:pt>
                <c:pt idx="295">
                  <c:v>0.24</c:v>
                </c:pt>
                <c:pt idx="296">
                  <c:v>0.6</c:v>
                </c:pt>
                <c:pt idx="297">
                  <c:v>0.17</c:v>
                </c:pt>
                <c:pt idx="298">
                  <c:v>0.66</c:v>
                </c:pt>
                <c:pt idx="299">
                  <c:v>0.19</c:v>
                </c:pt>
                <c:pt idx="300">
                  <c:v>0.63</c:v>
                </c:pt>
                <c:pt idx="301">
                  <c:v>0.59</c:v>
                </c:pt>
                <c:pt idx="302">
                  <c:v>0.64</c:v>
                </c:pt>
                <c:pt idx="303">
                  <c:v>0.49</c:v>
                </c:pt>
                <c:pt idx="304">
                  <c:v>0.64</c:v>
                </c:pt>
                <c:pt idx="305">
                  <c:v>0.11</c:v>
                </c:pt>
                <c:pt idx="306">
                  <c:v>0.27</c:v>
                </c:pt>
                <c:pt idx="307">
                  <c:v>0.49</c:v>
                </c:pt>
                <c:pt idx="308">
                  <c:v>0.55</c:v>
                </c:pt>
                <c:pt idx="309">
                  <c:v>0.5</c:v>
                </c:pt>
                <c:pt idx="310">
                  <c:v>0.42</c:v>
                </c:pt>
                <c:pt idx="311">
                  <c:v>0.72</c:v>
                </c:pt>
                <c:pt idx="312">
                  <c:v>0.02</c:v>
                </c:pt>
                <c:pt idx="313">
                  <c:v>0.17</c:v>
                </c:pt>
                <c:pt idx="314">
                  <c:v>0.51</c:v>
                </c:pt>
                <c:pt idx="315">
                  <c:v>0.4</c:v>
                </c:pt>
                <c:pt idx="316">
                  <c:v>0.43</c:v>
                </c:pt>
                <c:pt idx="317">
                  <c:v>0.49</c:v>
                </c:pt>
                <c:pt idx="318">
                  <c:v>0.23</c:v>
                </c:pt>
                <c:pt idx="319">
                  <c:v>0.71</c:v>
                </c:pt>
                <c:pt idx="320">
                  <c:v>0.72</c:v>
                </c:pt>
                <c:pt idx="321">
                  <c:v>0.53</c:v>
                </c:pt>
                <c:pt idx="322">
                  <c:v>0.04</c:v>
                </c:pt>
                <c:pt idx="323">
                  <c:v>0.19</c:v>
                </c:pt>
                <c:pt idx="324">
                  <c:v>0.5</c:v>
                </c:pt>
                <c:pt idx="325">
                  <c:v>0.76</c:v>
                </c:pt>
                <c:pt idx="326">
                  <c:v>0.3</c:v>
                </c:pt>
                <c:pt idx="327">
                  <c:v>0.35</c:v>
                </c:pt>
                <c:pt idx="328">
                  <c:v>0.5</c:v>
                </c:pt>
                <c:pt idx="329">
                  <c:v>0.02</c:v>
                </c:pt>
                <c:pt idx="330">
                  <c:v>0.45</c:v>
                </c:pt>
                <c:pt idx="331">
                  <c:v>0.66</c:v>
                </c:pt>
                <c:pt idx="332">
                  <c:v>0.65</c:v>
                </c:pt>
                <c:pt idx="333">
                  <c:v>0.59</c:v>
                </c:pt>
                <c:pt idx="334">
                  <c:v>0.36</c:v>
                </c:pt>
                <c:pt idx="335">
                  <c:v>0.18</c:v>
                </c:pt>
                <c:pt idx="336">
                  <c:v>0.78</c:v>
                </c:pt>
                <c:pt idx="337">
                  <c:v>0.07</c:v>
                </c:pt>
                <c:pt idx="338">
                  <c:v>0.21</c:v>
                </c:pt>
                <c:pt idx="339">
                  <c:v>0.01</c:v>
                </c:pt>
                <c:pt idx="340">
                  <c:v>0.01</c:v>
                </c:pt>
                <c:pt idx="341">
                  <c:v>0.14</c:v>
                </c:pt>
                <c:pt idx="342">
                  <c:v>0.19</c:v>
                </c:pt>
                <c:pt idx="343">
                  <c:v>0.84</c:v>
                </c:pt>
                <c:pt idx="344">
                  <c:v>0.01</c:v>
                </c:pt>
                <c:pt idx="345">
                  <c:v>0.72</c:v>
                </c:pt>
                <c:pt idx="346">
                  <c:v>0.28</c:v>
                </c:pt>
                <c:pt idx="347">
                  <c:v>0.02</c:v>
                </c:pt>
                <c:pt idx="348">
                  <c:v>0.43</c:v>
                </c:pt>
                <c:pt idx="349">
                  <c:v>0.05</c:v>
                </c:pt>
                <c:pt idx="350">
                  <c:v>0.15</c:v>
                </c:pt>
                <c:pt idx="351">
                  <c:v>0.03</c:v>
                </c:pt>
                <c:pt idx="352">
                  <c:v>0.71</c:v>
                </c:pt>
                <c:pt idx="353">
                  <c:v>0.01</c:v>
                </c:pt>
                <c:pt idx="354">
                  <c:v>0.67</c:v>
                </c:pt>
                <c:pt idx="355">
                  <c:v>0.3</c:v>
                </c:pt>
                <c:pt idx="356">
                  <c:v>0.12</c:v>
                </c:pt>
                <c:pt idx="357">
                  <c:v>0.48</c:v>
                </c:pt>
                <c:pt idx="358">
                  <c:v>0.79</c:v>
                </c:pt>
                <c:pt idx="359">
                  <c:v>0.15</c:v>
                </c:pt>
                <c:pt idx="360">
                  <c:v>0.02</c:v>
                </c:pt>
                <c:pt idx="361">
                  <c:v>0.71</c:v>
                </c:pt>
                <c:pt idx="362">
                  <c:v>0.63</c:v>
                </c:pt>
                <c:pt idx="363">
                  <c:v>0.06</c:v>
                </c:pt>
                <c:pt idx="364">
                  <c:v>0.57</c:v>
                </c:pt>
                <c:pt idx="365">
                  <c:v>0.69</c:v>
                </c:pt>
                <c:pt idx="366">
                  <c:v>0.38</c:v>
                </c:pt>
                <c:pt idx="367">
                  <c:v>0.17</c:v>
                </c:pt>
                <c:pt idx="368">
                  <c:v>0.29</c:v>
                </c:pt>
                <c:pt idx="369">
                  <c:v>0.14</c:v>
                </c:pt>
                <c:pt idx="370">
                  <c:v>0.22</c:v>
                </c:pt>
                <c:pt idx="371">
                  <c:v>0.5</c:v>
                </c:pt>
                <c:pt idx="372">
                  <c:v>0.14</c:v>
                </c:pt>
                <c:pt idx="373">
                  <c:v>0.07</c:v>
                </c:pt>
                <c:pt idx="374">
                  <c:v>0.04</c:v>
                </c:pt>
                <c:pt idx="375">
                  <c:v>0.05</c:v>
                </c:pt>
                <c:pt idx="376">
                  <c:v>0.02</c:v>
                </c:pt>
                <c:pt idx="377">
                  <c:v>0.03</c:v>
                </c:pt>
                <c:pt idx="378">
                  <c:v>0.16</c:v>
                </c:pt>
                <c:pt idx="379">
                  <c:v>0.42</c:v>
                </c:pt>
                <c:pt idx="380">
                  <c:v>0.42</c:v>
                </c:pt>
                <c:pt idx="381">
                  <c:v>0.07</c:v>
                </c:pt>
                <c:pt idx="382">
                  <c:v>0.09</c:v>
                </c:pt>
                <c:pt idx="383">
                  <c:v>0.27</c:v>
                </c:pt>
                <c:pt idx="384">
                  <c:v>0.15</c:v>
                </c:pt>
                <c:pt idx="385">
                  <c:v>0.57</c:v>
                </c:pt>
                <c:pt idx="386">
                  <c:v>0.64</c:v>
                </c:pt>
                <c:pt idx="387">
                  <c:v>0.09</c:v>
                </c:pt>
                <c:pt idx="388">
                  <c:v>0.25</c:v>
                </c:pt>
                <c:pt idx="389">
                  <c:v>0.51</c:v>
                </c:pt>
                <c:pt idx="390">
                  <c:v>0.6</c:v>
                </c:pt>
                <c:pt idx="391">
                  <c:v>0.02</c:v>
                </c:pt>
                <c:pt idx="392">
                  <c:v>0.09</c:v>
                </c:pt>
                <c:pt idx="393">
                  <c:v>0.31</c:v>
                </c:pt>
                <c:pt idx="394">
                  <c:v>0.41</c:v>
                </c:pt>
                <c:pt idx="395">
                  <c:v>0.06</c:v>
                </c:pt>
                <c:pt idx="396">
                  <c:v>0.13</c:v>
                </c:pt>
                <c:pt idx="397">
                  <c:v>0.37</c:v>
                </c:pt>
                <c:pt idx="398">
                  <c:v>0.04</c:v>
                </c:pt>
                <c:pt idx="399">
                  <c:v>0.16</c:v>
                </c:pt>
                <c:pt idx="400">
                  <c:v>0.36</c:v>
                </c:pt>
                <c:pt idx="401">
                  <c:v>0.52</c:v>
                </c:pt>
                <c:pt idx="402">
                  <c:v>0.1</c:v>
                </c:pt>
                <c:pt idx="403">
                  <c:v>0.11</c:v>
                </c:pt>
                <c:pt idx="404">
                  <c:v>0.35</c:v>
                </c:pt>
                <c:pt idx="405">
                  <c:v>0.06</c:v>
                </c:pt>
                <c:pt idx="406">
                  <c:v>0.16</c:v>
                </c:pt>
                <c:pt idx="407">
                  <c:v>0.31</c:v>
                </c:pt>
                <c:pt idx="408">
                  <c:v>0.07</c:v>
                </c:pt>
                <c:pt idx="409">
                  <c:v>0.09</c:v>
                </c:pt>
                <c:pt idx="410">
                  <c:v>0.64</c:v>
                </c:pt>
                <c:pt idx="411">
                  <c:v>0.01</c:v>
                </c:pt>
                <c:pt idx="412">
                  <c:v>0.04</c:v>
                </c:pt>
                <c:pt idx="413">
                  <c:v>0.12</c:v>
                </c:pt>
                <c:pt idx="414">
                  <c:v>0.25</c:v>
                </c:pt>
                <c:pt idx="415">
                  <c:v>0.39</c:v>
                </c:pt>
                <c:pt idx="416">
                  <c:v>0.56</c:v>
                </c:pt>
                <c:pt idx="417">
                  <c:v>0.61</c:v>
                </c:pt>
                <c:pt idx="418">
                  <c:v>0.03</c:v>
                </c:pt>
                <c:pt idx="419">
                  <c:v>0.22</c:v>
                </c:pt>
                <c:pt idx="420">
                  <c:v>0.34</c:v>
                </c:pt>
                <c:pt idx="421">
                  <c:v>0.03</c:v>
                </c:pt>
                <c:pt idx="422">
                  <c:v>0.02</c:v>
                </c:pt>
                <c:pt idx="423">
                  <c:v>0.09</c:v>
                </c:pt>
                <c:pt idx="424">
                  <c:v>0.72</c:v>
                </c:pt>
                <c:pt idx="425">
                  <c:v>0.5</c:v>
                </c:pt>
                <c:pt idx="426">
                  <c:v>0.1</c:v>
                </c:pt>
                <c:pt idx="427">
                  <c:v>0.24</c:v>
                </c:pt>
                <c:pt idx="428">
                  <c:v>0.34</c:v>
                </c:pt>
                <c:pt idx="429">
                  <c:v>0.05</c:v>
                </c:pt>
                <c:pt idx="430">
                  <c:v>0.01</c:v>
                </c:pt>
                <c:pt idx="431">
                  <c:v>0.53</c:v>
                </c:pt>
                <c:pt idx="432">
                  <c:v>0.08</c:v>
                </c:pt>
                <c:pt idx="433">
                  <c:v>0.47</c:v>
                </c:pt>
                <c:pt idx="434">
                  <c:v>0.09</c:v>
                </c:pt>
                <c:pt idx="435">
                  <c:v>0.05</c:v>
                </c:pt>
                <c:pt idx="436">
                  <c:v>0.5</c:v>
                </c:pt>
                <c:pt idx="437">
                  <c:v>0.02</c:v>
                </c:pt>
                <c:pt idx="438">
                  <c:v>0.81</c:v>
                </c:pt>
                <c:pt idx="439">
                  <c:v>0.32</c:v>
                </c:pt>
                <c:pt idx="440">
                  <c:v>0.01</c:v>
                </c:pt>
                <c:pt idx="441">
                  <c:v>0.36</c:v>
                </c:pt>
                <c:pt idx="442">
                  <c:v>0.28</c:v>
                </c:pt>
                <c:pt idx="443">
                  <c:v>0.24</c:v>
                </c:pt>
                <c:pt idx="444">
                  <c:v>0.09</c:v>
                </c:pt>
                <c:pt idx="445">
                  <c:v>0.74</c:v>
                </c:pt>
                <c:pt idx="446">
                  <c:v>0.24</c:v>
                </c:pt>
                <c:pt idx="447">
                  <c:v>0.34</c:v>
                </c:pt>
                <c:pt idx="448">
                  <c:v>0.17</c:v>
                </c:pt>
                <c:pt idx="449">
                  <c:v>0.01</c:v>
                </c:pt>
                <c:pt idx="450">
                  <c:v>0.01</c:v>
                </c:pt>
                <c:pt idx="451">
                  <c:v>0.3</c:v>
                </c:pt>
                <c:pt idx="452">
                  <c:v>0.08</c:v>
                </c:pt>
                <c:pt idx="453">
                  <c:v>0.39</c:v>
                </c:pt>
                <c:pt idx="454">
                  <c:v>0.64</c:v>
                </c:pt>
                <c:pt idx="455">
                  <c:v>0.01</c:v>
                </c:pt>
                <c:pt idx="456">
                  <c:v>0.48</c:v>
                </c:pt>
                <c:pt idx="457">
                  <c:v>0.05</c:v>
                </c:pt>
                <c:pt idx="458">
                  <c:v>0.02</c:v>
                </c:pt>
                <c:pt idx="459">
                  <c:v>0.02</c:v>
                </c:pt>
                <c:pt idx="460">
                  <c:v>0.23</c:v>
                </c:pt>
                <c:pt idx="461">
                  <c:v>0.38</c:v>
                </c:pt>
                <c:pt idx="462">
                  <c:v>0.09</c:v>
                </c:pt>
                <c:pt idx="463">
                  <c:v>0.54</c:v>
                </c:pt>
                <c:pt idx="464">
                  <c:v>0.48</c:v>
                </c:pt>
                <c:pt idx="465">
                  <c:v>0.03</c:v>
                </c:pt>
                <c:pt idx="466">
                  <c:v>0.05</c:v>
                </c:pt>
                <c:pt idx="467">
                  <c:v>0.22</c:v>
                </c:pt>
                <c:pt idx="468">
                  <c:v>0.04</c:v>
                </c:pt>
                <c:pt idx="469">
                  <c:v>0.02</c:v>
                </c:pt>
                <c:pt idx="470">
                  <c:v>0.08</c:v>
                </c:pt>
                <c:pt idx="471">
                  <c:v>0.32</c:v>
                </c:pt>
                <c:pt idx="472">
                  <c:v>0.3</c:v>
                </c:pt>
                <c:pt idx="473">
                  <c:v>0.53</c:v>
                </c:pt>
                <c:pt idx="474">
                  <c:v>0.09</c:v>
                </c:pt>
                <c:pt idx="475">
                  <c:v>0.13</c:v>
                </c:pt>
                <c:pt idx="476">
                  <c:v>0.56</c:v>
                </c:pt>
                <c:pt idx="477">
                  <c:v>0.04</c:v>
                </c:pt>
                <c:pt idx="478">
                  <c:v>0.42</c:v>
                </c:pt>
                <c:pt idx="479">
                  <c:v>0.02</c:v>
                </c:pt>
                <c:pt idx="480">
                  <c:v>0.03</c:v>
                </c:pt>
                <c:pt idx="481">
                  <c:v>0.36</c:v>
                </c:pt>
                <c:pt idx="482">
                  <c:v>0.05</c:v>
                </c:pt>
                <c:pt idx="483">
                  <c:v>0.05</c:v>
                </c:pt>
                <c:pt idx="484">
                  <c:v>0.04</c:v>
                </c:pt>
                <c:pt idx="485">
                  <c:v>0.01</c:v>
                </c:pt>
                <c:pt idx="486">
                  <c:v>0.22</c:v>
                </c:pt>
                <c:pt idx="487">
                  <c:v>0.07</c:v>
                </c:pt>
                <c:pt idx="488">
                  <c:v>0.08</c:v>
                </c:pt>
                <c:pt idx="489">
                  <c:v>0.29</c:v>
                </c:pt>
                <c:pt idx="490">
                  <c:v>0.41</c:v>
                </c:pt>
                <c:pt idx="491">
                  <c:v>0.37</c:v>
                </c:pt>
                <c:pt idx="492">
                  <c:v>0.01</c:v>
                </c:pt>
                <c:pt idx="493">
                  <c:v>0.06</c:v>
                </c:pt>
                <c:pt idx="494">
                  <c:v>0.42</c:v>
                </c:pt>
                <c:pt idx="495">
                  <c:v>0.06</c:v>
                </c:pt>
                <c:pt idx="496">
                  <c:v>0.01</c:v>
                </c:pt>
                <c:pt idx="497">
                  <c:v>0.02</c:v>
                </c:pt>
                <c:pt idx="498">
                  <c:v>0.23</c:v>
                </c:pt>
                <c:pt idx="499">
                  <c:v>0.03</c:v>
                </c:pt>
                <c:pt idx="500">
                  <c:v>0.07</c:v>
                </c:pt>
                <c:pt idx="501">
                  <c:v>0.14</c:v>
                </c:pt>
                <c:pt idx="502">
                  <c:v>0.02</c:v>
                </c:pt>
                <c:pt idx="503">
                  <c:v>0.19</c:v>
                </c:pt>
                <c:pt idx="504">
                  <c:v>0.08</c:v>
                </c:pt>
                <c:pt idx="505">
                  <c:v>0.01</c:v>
                </c:pt>
                <c:pt idx="506">
                  <c:v>0.6</c:v>
                </c:pt>
                <c:pt idx="507">
                  <c:v>0.05</c:v>
                </c:pt>
                <c:pt idx="508">
                  <c:v>0.14</c:v>
                </c:pt>
                <c:pt idx="509">
                  <c:v>0.03</c:v>
                </c:pt>
                <c:pt idx="510">
                  <c:v>0.01</c:v>
                </c:pt>
                <c:pt idx="511">
                  <c:v>0.03</c:v>
                </c:pt>
                <c:pt idx="512">
                  <c:v>0.01</c:v>
                </c:pt>
                <c:pt idx="513">
                  <c:v>0.02</c:v>
                </c:pt>
                <c:pt idx="514">
                  <c:v>0.04</c:v>
                </c:pt>
                <c:pt idx="515">
                  <c:v>0.02</c:v>
                </c:pt>
                <c:pt idx="516">
                  <c:v>0.13</c:v>
                </c:pt>
                <c:pt idx="517">
                  <c:v>0.02</c:v>
                </c:pt>
                <c:pt idx="518">
                  <c:v>0.03</c:v>
                </c:pt>
                <c:pt idx="519">
                  <c:v>0.07</c:v>
                </c:pt>
                <c:pt idx="520">
                  <c:v>0.03</c:v>
                </c:pt>
                <c:pt idx="521">
                  <c:v>0.01</c:v>
                </c:pt>
                <c:pt idx="522">
                  <c:v>0.01</c:v>
                </c:pt>
                <c:pt idx="523">
                  <c:v>0.03</c:v>
                </c:pt>
                <c:pt idx="524">
                  <c:v>0.04</c:v>
                </c:pt>
                <c:pt idx="525">
                  <c:v>0.02</c:v>
                </c:pt>
                <c:pt idx="526">
                  <c:v>0.01</c:v>
                </c:pt>
                <c:pt idx="527">
                  <c:v>0.01</c:v>
                </c:pt>
                <c:pt idx="528">
                  <c:v>0.52</c:v>
                </c:pt>
                <c:pt idx="529">
                  <c:v>0.02</c:v>
                </c:pt>
                <c:pt idx="530">
                  <c:v>0.01</c:v>
                </c:pt>
                <c:pt idx="531">
                  <c:v>0.2</c:v>
                </c:pt>
                <c:pt idx="532">
                  <c:v>0.02</c:v>
                </c:pt>
                <c:pt idx="533">
                  <c:v>0.02</c:v>
                </c:pt>
                <c:pt idx="534">
                  <c:v>0.01</c:v>
                </c:pt>
                <c:pt idx="535">
                  <c:v>0.01</c:v>
                </c:pt>
                <c:pt idx="536">
                  <c:v>0.02</c:v>
                </c:pt>
                <c:pt idx="537">
                  <c:v>0.02</c:v>
                </c:pt>
                <c:pt idx="538">
                  <c:v>0.39</c:v>
                </c:pt>
                <c:pt idx="539">
                  <c:v>0.01</c:v>
                </c:pt>
                <c:pt idx="540">
                  <c:v>0.02</c:v>
                </c:pt>
                <c:pt idx="541">
                  <c:v>0.01</c:v>
                </c:pt>
                <c:pt idx="542">
                  <c:v>0.03</c:v>
                </c:pt>
                <c:pt idx="543">
                  <c:v>0.01</c:v>
                </c:pt>
                <c:pt idx="544">
                  <c:v>0.01</c:v>
                </c:pt>
                <c:pt idx="545">
                  <c:v>0.03</c:v>
                </c:pt>
                <c:pt idx="546">
                  <c:v>0.01</c:v>
                </c:pt>
                <c:pt idx="547">
                  <c:v>0.51</c:v>
                </c:pt>
                <c:pt idx="548">
                  <c:v>0.02</c:v>
                </c:pt>
                <c:pt idx="549">
                  <c:v>0.01</c:v>
                </c:pt>
                <c:pt idx="550">
                  <c:v>0.04</c:v>
                </c:pt>
                <c:pt idx="551">
                  <c:v>0.02</c:v>
                </c:pt>
                <c:pt idx="552">
                  <c:v>0.01</c:v>
                </c:pt>
                <c:pt idx="553">
                  <c:v>0.52</c:v>
                </c:pt>
                <c:pt idx="554">
                  <c:v>0.02</c:v>
                </c:pt>
                <c:pt idx="555">
                  <c:v>0.02</c:v>
                </c:pt>
                <c:pt idx="556">
                  <c:v>0.01</c:v>
                </c:pt>
                <c:pt idx="557">
                  <c:v>0.03</c:v>
                </c:pt>
                <c:pt idx="558">
                  <c:v>0.01</c:v>
                </c:pt>
                <c:pt idx="559">
                  <c:v>0.33</c:v>
                </c:pt>
                <c:pt idx="560">
                  <c:v>0.01</c:v>
                </c:pt>
                <c:pt idx="561">
                  <c:v>0.04</c:v>
                </c:pt>
                <c:pt idx="562">
                  <c:v>0.02</c:v>
                </c:pt>
                <c:pt idx="563">
                  <c:v>0.01</c:v>
                </c:pt>
                <c:pt idx="564">
                  <c:v>0.02</c:v>
                </c:pt>
                <c:pt idx="565">
                  <c:v>0.02</c:v>
                </c:pt>
                <c:pt idx="566">
                  <c:v>0.04</c:v>
                </c:pt>
                <c:pt idx="567">
                  <c:v>0.03</c:v>
                </c:pt>
                <c:pt idx="568">
                  <c:v>0.01</c:v>
                </c:pt>
                <c:pt idx="569">
                  <c:v>0.01</c:v>
                </c:pt>
                <c:pt idx="570">
                  <c:v>0.01</c:v>
                </c:pt>
                <c:pt idx="571">
                  <c:v>0.01</c:v>
                </c:pt>
                <c:pt idx="572">
                  <c:v>0.22</c:v>
                </c:pt>
                <c:pt idx="573">
                  <c:v>0.01</c:v>
                </c:pt>
                <c:pt idx="574">
                  <c:v>0.01</c:v>
                </c:pt>
                <c:pt idx="575">
                  <c:v>0.01</c:v>
                </c:pt>
                <c:pt idx="576">
                  <c:v>0.01</c:v>
                </c:pt>
                <c:pt idx="577">
                  <c:v>0.03</c:v>
                </c:pt>
                <c:pt idx="578">
                  <c:v>0.01</c:v>
                </c:pt>
                <c:pt idx="579">
                  <c:v>0.51</c:v>
                </c:pt>
                <c:pt idx="580">
                  <c:v>0.01</c:v>
                </c:pt>
                <c:pt idx="581">
                  <c:v>0.01</c:v>
                </c:pt>
                <c:pt idx="582">
                  <c:v>0.01</c:v>
                </c:pt>
                <c:pt idx="583">
                  <c:v>0.02</c:v>
                </c:pt>
                <c:pt idx="584">
                  <c:v>0.01</c:v>
                </c:pt>
                <c:pt idx="585">
                  <c:v>0.02</c:v>
                </c:pt>
                <c:pt idx="586">
                  <c:v>0.01</c:v>
                </c:pt>
                <c:pt idx="587">
                  <c:v>0.02</c:v>
                </c:pt>
                <c:pt idx="588">
                  <c:v>0.02</c:v>
                </c:pt>
                <c:pt idx="589">
                  <c:v>0.04</c:v>
                </c:pt>
                <c:pt idx="590">
                  <c:v>0.03</c:v>
                </c:pt>
                <c:pt idx="591">
                  <c:v>0.02</c:v>
                </c:pt>
                <c:pt idx="592">
                  <c:v>0.01</c:v>
                </c:pt>
                <c:pt idx="593">
                  <c:v>0.02</c:v>
                </c:pt>
                <c:pt idx="594">
                  <c:v>0.01</c:v>
                </c:pt>
                <c:pt idx="595">
                  <c:v>0.02</c:v>
                </c:pt>
                <c:pt idx="596">
                  <c:v>0.01</c:v>
                </c:pt>
                <c:pt idx="597">
                  <c:v>0.01</c:v>
                </c:pt>
                <c:pt idx="598">
                  <c:v>0.01</c:v>
                </c:pt>
                <c:pt idx="599">
                  <c:v>0.02</c:v>
                </c:pt>
                <c:pt idx="600">
                  <c:v>0.01</c:v>
                </c:pt>
                <c:pt idx="601">
                  <c:v>0.01</c:v>
                </c:pt>
                <c:pt idx="602">
                  <c:v>0.02</c:v>
                </c:pt>
                <c:pt idx="603">
                  <c:v>0.01</c:v>
                </c:pt>
                <c:pt idx="604">
                  <c:v>0.04</c:v>
                </c:pt>
                <c:pt idx="605">
                  <c:v>0.02</c:v>
                </c:pt>
                <c:pt idx="606">
                  <c:v>0.04</c:v>
                </c:pt>
                <c:pt idx="607">
                  <c:v>0.04</c:v>
                </c:pt>
                <c:pt idx="608">
                  <c:v>0.05</c:v>
                </c:pt>
                <c:pt idx="609">
                  <c:v>0.04</c:v>
                </c:pt>
                <c:pt idx="610">
                  <c:v>0.01</c:v>
                </c:pt>
                <c:pt idx="611">
                  <c:v>0.04</c:v>
                </c:pt>
                <c:pt idx="612">
                  <c:v>0.01</c:v>
                </c:pt>
                <c:pt idx="613">
                  <c:v>0.04</c:v>
                </c:pt>
                <c:pt idx="614">
                  <c:v>0.02</c:v>
                </c:pt>
                <c:pt idx="615">
                  <c:v>0.25</c:v>
                </c:pt>
                <c:pt idx="616">
                  <c:v>0.01</c:v>
                </c:pt>
                <c:pt idx="617">
                  <c:v>0.48</c:v>
                </c:pt>
                <c:pt idx="618">
                  <c:v>0.01</c:v>
                </c:pt>
                <c:pt idx="619">
                  <c:v>0.03</c:v>
                </c:pt>
                <c:pt idx="620">
                  <c:v>0.23</c:v>
                </c:pt>
                <c:pt idx="621">
                  <c:v>0.01</c:v>
                </c:pt>
                <c:pt idx="622">
                  <c:v>0.01</c:v>
                </c:pt>
                <c:pt idx="623">
                  <c:v>0.02</c:v>
                </c:pt>
                <c:pt idx="624">
                  <c:v>0.02</c:v>
                </c:pt>
                <c:pt idx="625">
                  <c:v>0.37</c:v>
                </c:pt>
                <c:pt idx="626">
                  <c:v>0.03</c:v>
                </c:pt>
                <c:pt idx="627">
                  <c:v>0.01</c:v>
                </c:pt>
                <c:pt idx="628">
                  <c:v>0.01</c:v>
                </c:pt>
                <c:pt idx="629">
                  <c:v>0.02</c:v>
                </c:pt>
                <c:pt idx="630">
                  <c:v>0.01</c:v>
                </c:pt>
                <c:pt idx="631">
                  <c:v>0.41</c:v>
                </c:pt>
                <c:pt idx="632">
                  <c:v>0.01</c:v>
                </c:pt>
                <c:pt idx="633">
                  <c:v>0.01</c:v>
                </c:pt>
                <c:pt idx="634">
                  <c:v>0.06</c:v>
                </c:pt>
                <c:pt idx="635">
                  <c:v>0.02</c:v>
                </c:pt>
                <c:pt idx="636">
                  <c:v>0.02</c:v>
                </c:pt>
                <c:pt idx="637">
                  <c:v>0.02</c:v>
                </c:pt>
                <c:pt idx="638">
                  <c:v>0.35</c:v>
                </c:pt>
                <c:pt idx="639">
                  <c:v>0.02</c:v>
                </c:pt>
                <c:pt idx="640">
                  <c:v>0.02</c:v>
                </c:pt>
                <c:pt idx="641">
                  <c:v>0.02</c:v>
                </c:pt>
                <c:pt idx="642">
                  <c:v>0.11</c:v>
                </c:pt>
                <c:pt idx="643">
                  <c:v>0.02</c:v>
                </c:pt>
                <c:pt idx="644">
                  <c:v>0.03</c:v>
                </c:pt>
                <c:pt idx="645">
                  <c:v>0.05</c:v>
                </c:pt>
                <c:pt idx="646">
                  <c:v>0.01</c:v>
                </c:pt>
                <c:pt idx="647">
                  <c:v>0.06</c:v>
                </c:pt>
                <c:pt idx="648">
                  <c:v>0.01</c:v>
                </c:pt>
                <c:pt idx="649">
                  <c:v>0.02</c:v>
                </c:pt>
                <c:pt idx="650">
                  <c:v>0.02</c:v>
                </c:pt>
                <c:pt idx="651">
                  <c:v>0.01</c:v>
                </c:pt>
                <c:pt idx="652">
                  <c:v>0.05</c:v>
                </c:pt>
                <c:pt idx="653">
                  <c:v>0.01</c:v>
                </c:pt>
                <c:pt idx="654">
                  <c:v>0.01</c:v>
                </c:pt>
                <c:pt idx="655">
                  <c:v>0.01</c:v>
                </c:pt>
                <c:pt idx="656">
                  <c:v>0.02</c:v>
                </c:pt>
                <c:pt idx="657">
                  <c:v>0.01</c:v>
                </c:pt>
                <c:pt idx="658">
                  <c:v>0.01</c:v>
                </c:pt>
                <c:pt idx="659">
                  <c:v>0.12</c:v>
                </c:pt>
                <c:pt idx="660">
                  <c:v>0.03</c:v>
                </c:pt>
                <c:pt idx="661">
                  <c:v>0.01</c:v>
                </c:pt>
                <c:pt idx="662">
                  <c:v>0.02</c:v>
                </c:pt>
                <c:pt idx="663">
                  <c:v>0.01</c:v>
                </c:pt>
                <c:pt idx="664">
                  <c:v>0.02</c:v>
                </c:pt>
                <c:pt idx="665">
                  <c:v>0.01</c:v>
                </c:pt>
                <c:pt idx="666">
                  <c:v>0.01</c:v>
                </c:pt>
                <c:pt idx="667">
                  <c:v>0.01</c:v>
                </c:pt>
                <c:pt idx="668">
                  <c:v>0.01</c:v>
                </c:pt>
                <c:pt idx="669">
                  <c:v>0.02</c:v>
                </c:pt>
                <c:pt idx="670">
                  <c:v>0.08</c:v>
                </c:pt>
                <c:pt idx="671">
                  <c:v>0.19</c:v>
                </c:pt>
                <c:pt idx="672">
                  <c:v>0.06</c:v>
                </c:pt>
                <c:pt idx="673">
                  <c:v>0.34</c:v>
                </c:pt>
                <c:pt idx="674">
                  <c:v>0.11</c:v>
                </c:pt>
                <c:pt idx="675">
                  <c:v>0.01</c:v>
                </c:pt>
                <c:pt idx="676">
                  <c:v>0.01</c:v>
                </c:pt>
                <c:pt idx="677">
                  <c:v>0.01</c:v>
                </c:pt>
                <c:pt idx="678">
                  <c:v>0.01</c:v>
                </c:pt>
                <c:pt idx="679">
                  <c:v>0.01</c:v>
                </c:pt>
                <c:pt idx="680">
                  <c:v>0.01</c:v>
                </c:pt>
                <c:pt idx="681">
                  <c:v>0.02</c:v>
                </c:pt>
                <c:pt idx="682">
                  <c:v>0.02</c:v>
                </c:pt>
                <c:pt idx="683">
                  <c:v>0.02</c:v>
                </c:pt>
                <c:pt idx="684">
                  <c:v>0.01</c:v>
                </c:pt>
                <c:pt idx="685">
                  <c:v>0.01</c:v>
                </c:pt>
                <c:pt idx="686">
                  <c:v>0.02</c:v>
                </c:pt>
                <c:pt idx="687">
                  <c:v>0.01</c:v>
                </c:pt>
                <c:pt idx="688">
                  <c:v>0.09</c:v>
                </c:pt>
                <c:pt idx="689">
                  <c:v>0.01</c:v>
                </c:pt>
                <c:pt idx="690">
                  <c:v>0.01</c:v>
                </c:pt>
                <c:pt idx="691">
                  <c:v>0.01</c:v>
                </c:pt>
                <c:pt idx="692">
                  <c:v>0.03</c:v>
                </c:pt>
                <c:pt idx="693">
                  <c:v>0.04</c:v>
                </c:pt>
                <c:pt idx="694">
                  <c:v>0.01</c:v>
                </c:pt>
                <c:pt idx="695">
                  <c:v>0.01</c:v>
                </c:pt>
                <c:pt idx="696">
                  <c:v>0.01</c:v>
                </c:pt>
                <c:pt idx="697">
                  <c:v>0.01</c:v>
                </c:pt>
                <c:pt idx="698">
                  <c:v>0.02</c:v>
                </c:pt>
                <c:pt idx="699">
                  <c:v>0.01</c:v>
                </c:pt>
                <c:pt idx="700">
                  <c:v>0.02</c:v>
                </c:pt>
                <c:pt idx="701">
                  <c:v>0.01</c:v>
                </c:pt>
                <c:pt idx="702">
                  <c:v>0.01</c:v>
                </c:pt>
                <c:pt idx="703">
                  <c:v>0.02</c:v>
                </c:pt>
                <c:pt idx="704">
                  <c:v>0.01</c:v>
                </c:pt>
                <c:pt idx="705">
                  <c:v>0.02</c:v>
                </c:pt>
                <c:pt idx="706">
                  <c:v>0.01</c:v>
                </c:pt>
                <c:pt idx="707">
                  <c:v>0.02</c:v>
                </c:pt>
                <c:pt idx="708">
                  <c:v>0.01</c:v>
                </c:pt>
                <c:pt idx="709">
                  <c:v>0.02</c:v>
                </c:pt>
                <c:pt idx="710">
                  <c:v>0.01</c:v>
                </c:pt>
                <c:pt idx="711">
                  <c:v>0.04</c:v>
                </c:pt>
                <c:pt idx="712">
                  <c:v>0.01</c:v>
                </c:pt>
                <c:pt idx="713">
                  <c:v>0.02</c:v>
                </c:pt>
                <c:pt idx="714">
                  <c:v>0.01</c:v>
                </c:pt>
                <c:pt idx="715">
                  <c:v>0.04</c:v>
                </c:pt>
                <c:pt idx="716">
                  <c:v>0.01</c:v>
                </c:pt>
                <c:pt idx="717">
                  <c:v>0.01</c:v>
                </c:pt>
                <c:pt idx="718">
                  <c:v>0.01</c:v>
                </c:pt>
                <c:pt idx="719">
                  <c:v>0.06</c:v>
                </c:pt>
                <c:pt idx="720">
                  <c:v>0.01</c:v>
                </c:pt>
                <c:pt idx="721">
                  <c:v>0.03</c:v>
                </c:pt>
                <c:pt idx="722">
                  <c:v>0.07</c:v>
                </c:pt>
                <c:pt idx="723">
                  <c:v>0.02</c:v>
                </c:pt>
                <c:pt idx="724">
                  <c:v>0.01</c:v>
                </c:pt>
                <c:pt idx="725">
                  <c:v>0.01</c:v>
                </c:pt>
                <c:pt idx="726">
                  <c:v>0.05</c:v>
                </c:pt>
                <c:pt idx="727">
                  <c:v>0.01</c:v>
                </c:pt>
                <c:pt idx="728">
                  <c:v>0.01</c:v>
                </c:pt>
                <c:pt idx="729">
                  <c:v>0.02</c:v>
                </c:pt>
                <c:pt idx="730">
                  <c:v>0.01</c:v>
                </c:pt>
                <c:pt idx="731">
                  <c:v>0.01</c:v>
                </c:pt>
                <c:pt idx="732">
                  <c:v>0.01</c:v>
                </c:pt>
                <c:pt idx="733">
                  <c:v>0.01</c:v>
                </c:pt>
                <c:pt idx="734">
                  <c:v>0.01</c:v>
                </c:pt>
                <c:pt idx="735">
                  <c:v>0.01</c:v>
                </c:pt>
                <c:pt idx="736">
                  <c:v>0.02</c:v>
                </c:pt>
                <c:pt idx="737">
                  <c:v>0.04</c:v>
                </c:pt>
                <c:pt idx="738">
                  <c:v>0.06</c:v>
                </c:pt>
                <c:pt idx="739">
                  <c:v>0.01</c:v>
                </c:pt>
                <c:pt idx="740">
                  <c:v>0.01</c:v>
                </c:pt>
                <c:pt idx="741">
                  <c:v>0.01</c:v>
                </c:pt>
                <c:pt idx="742">
                  <c:v>0.02</c:v>
                </c:pt>
                <c:pt idx="743">
                  <c:v>0.01</c:v>
                </c:pt>
                <c:pt idx="744">
                  <c:v>0.01</c:v>
                </c:pt>
                <c:pt idx="745">
                  <c:v>0.01</c:v>
                </c:pt>
                <c:pt idx="746">
                  <c:v>0.01</c:v>
                </c:pt>
                <c:pt idx="747">
                  <c:v>0.01</c:v>
                </c:pt>
                <c:pt idx="748">
                  <c:v>0.01</c:v>
                </c:pt>
                <c:pt idx="749">
                  <c:v>0.02</c:v>
                </c:pt>
                <c:pt idx="750">
                  <c:v>0.01</c:v>
                </c:pt>
                <c:pt idx="751">
                  <c:v>0.06</c:v>
                </c:pt>
                <c:pt idx="752">
                  <c:v>0.01</c:v>
                </c:pt>
                <c:pt idx="753">
                  <c:v>0.01</c:v>
                </c:pt>
                <c:pt idx="754">
                  <c:v>0.02</c:v>
                </c:pt>
                <c:pt idx="755">
                  <c:v>0.01</c:v>
                </c:pt>
                <c:pt idx="756">
                  <c:v>0.01</c:v>
                </c:pt>
                <c:pt idx="757">
                  <c:v>0.01</c:v>
                </c:pt>
                <c:pt idx="758">
                  <c:v>0.02</c:v>
                </c:pt>
                <c:pt idx="759">
                  <c:v>0.02</c:v>
                </c:pt>
                <c:pt idx="760">
                  <c:v>0.01</c:v>
                </c:pt>
                <c:pt idx="761">
                  <c:v>0.01</c:v>
                </c:pt>
                <c:pt idx="762">
                  <c:v>0.03</c:v>
                </c:pt>
                <c:pt idx="763">
                  <c:v>0.01</c:v>
                </c:pt>
                <c:pt idx="764">
                  <c:v>0.03</c:v>
                </c:pt>
                <c:pt idx="765">
                  <c:v>0.01</c:v>
                </c:pt>
                <c:pt idx="766">
                  <c:v>0.02</c:v>
                </c:pt>
                <c:pt idx="767">
                  <c:v>0.01</c:v>
                </c:pt>
                <c:pt idx="768">
                  <c:v>0.02</c:v>
                </c:pt>
                <c:pt idx="769">
                  <c:v>0.01</c:v>
                </c:pt>
                <c:pt idx="770">
                  <c:v>0.01</c:v>
                </c:pt>
                <c:pt idx="771">
                  <c:v>0.01</c:v>
                </c:pt>
                <c:pt idx="772">
                  <c:v>0.01</c:v>
                </c:pt>
                <c:pt idx="773">
                  <c:v>0.01</c:v>
                </c:pt>
                <c:pt idx="774">
                  <c:v>0.01</c:v>
                </c:pt>
                <c:pt idx="775">
                  <c:v>0.01</c:v>
                </c:pt>
                <c:pt idx="776">
                  <c:v>0.01</c:v>
                </c:pt>
                <c:pt idx="777">
                  <c:v>0.01</c:v>
                </c:pt>
                <c:pt idx="778">
                  <c:v>0.01</c:v>
                </c:pt>
                <c:pt idx="779">
                  <c:v>0.01</c:v>
                </c:pt>
                <c:pt idx="780">
                  <c:v>0.02</c:v>
                </c:pt>
                <c:pt idx="781">
                  <c:v>0.01</c:v>
                </c:pt>
                <c:pt idx="782">
                  <c:v>0.03</c:v>
                </c:pt>
                <c:pt idx="783">
                  <c:v>0.01</c:v>
                </c:pt>
                <c:pt idx="784">
                  <c:v>0.01</c:v>
                </c:pt>
                <c:pt idx="785">
                  <c:v>0.01</c:v>
                </c:pt>
                <c:pt idx="786">
                  <c:v>0.01</c:v>
                </c:pt>
                <c:pt idx="787">
                  <c:v>0.01</c:v>
                </c:pt>
                <c:pt idx="788">
                  <c:v>0.01</c:v>
                </c:pt>
                <c:pt idx="789">
                  <c:v>0.03</c:v>
                </c:pt>
                <c:pt idx="790">
                  <c:v>0.01</c:v>
                </c:pt>
                <c:pt idx="791">
                  <c:v>0.02</c:v>
                </c:pt>
                <c:pt idx="792">
                  <c:v>0.01</c:v>
                </c:pt>
                <c:pt idx="793">
                  <c:v>0.01</c:v>
                </c:pt>
                <c:pt idx="794">
                  <c:v>0.01</c:v>
                </c:pt>
                <c:pt idx="795">
                  <c:v>0.02</c:v>
                </c:pt>
                <c:pt idx="796">
                  <c:v>0.01</c:v>
                </c:pt>
                <c:pt idx="797">
                  <c:v>0.04</c:v>
                </c:pt>
                <c:pt idx="798">
                  <c:v>0.01</c:v>
                </c:pt>
                <c:pt idx="799">
                  <c:v>0.07</c:v>
                </c:pt>
                <c:pt idx="800">
                  <c:v>0.01</c:v>
                </c:pt>
                <c:pt idx="801">
                  <c:v>0.01</c:v>
                </c:pt>
                <c:pt idx="802">
                  <c:v>0.02</c:v>
                </c:pt>
                <c:pt idx="803">
                  <c:v>0.05</c:v>
                </c:pt>
                <c:pt idx="804">
                  <c:v>0.08</c:v>
                </c:pt>
                <c:pt idx="805">
                  <c:v>0.01</c:v>
                </c:pt>
                <c:pt idx="806">
                  <c:v>0.02</c:v>
                </c:pt>
                <c:pt idx="807">
                  <c:v>0.01</c:v>
                </c:pt>
                <c:pt idx="808">
                  <c:v>0.01</c:v>
                </c:pt>
                <c:pt idx="809">
                  <c:v>0.03</c:v>
                </c:pt>
                <c:pt idx="810">
                  <c:v>0.01</c:v>
                </c:pt>
                <c:pt idx="811">
                  <c:v>0.01</c:v>
                </c:pt>
                <c:pt idx="812">
                  <c:v>0.03</c:v>
                </c:pt>
                <c:pt idx="813">
                  <c:v>0.01</c:v>
                </c:pt>
                <c:pt idx="814">
                  <c:v>0.01</c:v>
                </c:pt>
                <c:pt idx="815">
                  <c:v>0.01</c:v>
                </c:pt>
                <c:pt idx="816">
                  <c:v>0.03</c:v>
                </c:pt>
                <c:pt idx="817">
                  <c:v>0.03</c:v>
                </c:pt>
                <c:pt idx="818">
                  <c:v>0.01</c:v>
                </c:pt>
                <c:pt idx="819">
                  <c:v>0.01</c:v>
                </c:pt>
                <c:pt idx="820">
                  <c:v>0.01</c:v>
                </c:pt>
                <c:pt idx="821">
                  <c:v>0.01</c:v>
                </c:pt>
                <c:pt idx="822">
                  <c:v>0.01</c:v>
                </c:pt>
                <c:pt idx="823">
                  <c:v>0.03</c:v>
                </c:pt>
                <c:pt idx="824">
                  <c:v>0.03</c:v>
                </c:pt>
                <c:pt idx="825">
                  <c:v>0.03</c:v>
                </c:pt>
                <c:pt idx="826">
                  <c:v>0.01</c:v>
                </c:pt>
                <c:pt idx="827">
                  <c:v>0.01</c:v>
                </c:pt>
                <c:pt idx="828">
                  <c:v>0.01</c:v>
                </c:pt>
                <c:pt idx="829">
                  <c:v>0.01</c:v>
                </c:pt>
                <c:pt idx="830">
                  <c:v>0.01</c:v>
                </c:pt>
                <c:pt idx="831">
                  <c:v>0.01</c:v>
                </c:pt>
                <c:pt idx="832">
                  <c:v>0.01</c:v>
                </c:pt>
                <c:pt idx="833">
                  <c:v>0.01</c:v>
                </c:pt>
                <c:pt idx="834">
                  <c:v>0.01</c:v>
                </c:pt>
                <c:pt idx="835">
                  <c:v>0.02</c:v>
                </c:pt>
                <c:pt idx="836">
                  <c:v>0.01</c:v>
                </c:pt>
                <c:pt idx="837">
                  <c:v>0.04</c:v>
                </c:pt>
                <c:pt idx="838">
                  <c:v>0.01</c:v>
                </c:pt>
                <c:pt idx="839">
                  <c:v>0.01</c:v>
                </c:pt>
                <c:pt idx="840">
                  <c:v>0.01</c:v>
                </c:pt>
                <c:pt idx="841">
                  <c:v>0.02</c:v>
                </c:pt>
                <c:pt idx="842">
                  <c:v>0.01</c:v>
                </c:pt>
                <c:pt idx="843">
                  <c:v>0.01</c:v>
                </c:pt>
                <c:pt idx="844">
                  <c:v>0.01</c:v>
                </c:pt>
                <c:pt idx="845">
                  <c:v>0.04</c:v>
                </c:pt>
                <c:pt idx="846">
                  <c:v>0.01</c:v>
                </c:pt>
                <c:pt idx="847">
                  <c:v>0.01</c:v>
                </c:pt>
                <c:pt idx="848">
                  <c:v>0.02</c:v>
                </c:pt>
                <c:pt idx="849">
                  <c:v>0.01</c:v>
                </c:pt>
                <c:pt idx="850">
                  <c:v>0.02</c:v>
                </c:pt>
                <c:pt idx="851">
                  <c:v>0.01</c:v>
                </c:pt>
                <c:pt idx="852">
                  <c:v>0.03</c:v>
                </c:pt>
                <c:pt idx="853">
                  <c:v>0.03</c:v>
                </c:pt>
                <c:pt idx="854">
                  <c:v>0.01</c:v>
                </c:pt>
                <c:pt idx="855">
                  <c:v>0.01</c:v>
                </c:pt>
                <c:pt idx="856">
                  <c:v>0.01</c:v>
                </c:pt>
                <c:pt idx="857">
                  <c:v>0.01</c:v>
                </c:pt>
                <c:pt idx="858">
                  <c:v>0.03</c:v>
                </c:pt>
                <c:pt idx="859">
                  <c:v>0.01</c:v>
                </c:pt>
                <c:pt idx="860">
                  <c:v>0.01</c:v>
                </c:pt>
                <c:pt idx="861">
                  <c:v>0.01</c:v>
                </c:pt>
                <c:pt idx="862">
                  <c:v>0.01</c:v>
                </c:pt>
                <c:pt idx="863">
                  <c:v>0.01</c:v>
                </c:pt>
                <c:pt idx="864">
                  <c:v>0.01</c:v>
                </c:pt>
                <c:pt idx="865">
                  <c:v>0.01</c:v>
                </c:pt>
                <c:pt idx="866">
                  <c:v>0.01</c:v>
                </c:pt>
                <c:pt idx="867">
                  <c:v>0.01</c:v>
                </c:pt>
                <c:pt idx="868">
                  <c:v>0.03</c:v>
                </c:pt>
                <c:pt idx="869">
                  <c:v>0.05</c:v>
                </c:pt>
                <c:pt idx="870">
                  <c:v>0.01</c:v>
                </c:pt>
                <c:pt idx="871">
                  <c:v>0.01</c:v>
                </c:pt>
                <c:pt idx="872">
                  <c:v>0.01</c:v>
                </c:pt>
                <c:pt idx="873">
                  <c:v>0.01</c:v>
                </c:pt>
                <c:pt idx="874">
                  <c:v>0.02</c:v>
                </c:pt>
                <c:pt idx="875">
                  <c:v>0.01</c:v>
                </c:pt>
                <c:pt idx="876">
                  <c:v>0.01</c:v>
                </c:pt>
                <c:pt idx="877">
                  <c:v>0.01</c:v>
                </c:pt>
                <c:pt idx="878">
                  <c:v>0.01</c:v>
                </c:pt>
                <c:pt idx="879">
                  <c:v>0.01</c:v>
                </c:pt>
                <c:pt idx="880">
                  <c:v>0.01</c:v>
                </c:pt>
                <c:pt idx="881">
                  <c:v>0.01</c:v>
                </c:pt>
                <c:pt idx="882">
                  <c:v>0.01</c:v>
                </c:pt>
                <c:pt idx="883">
                  <c:v>0.02</c:v>
                </c:pt>
                <c:pt idx="884">
                  <c:v>0.01</c:v>
                </c:pt>
                <c:pt idx="885">
                  <c:v>0.01</c:v>
                </c:pt>
                <c:pt idx="886">
                  <c:v>0.01</c:v>
                </c:pt>
                <c:pt idx="887">
                  <c:v>0.01</c:v>
                </c:pt>
                <c:pt idx="888">
                  <c:v>0.01</c:v>
                </c:pt>
                <c:pt idx="889">
                  <c:v>0.03</c:v>
                </c:pt>
                <c:pt idx="890">
                  <c:v>0.01</c:v>
                </c:pt>
                <c:pt idx="891">
                  <c:v>0.01</c:v>
                </c:pt>
                <c:pt idx="892">
                  <c:v>0.01</c:v>
                </c:pt>
                <c:pt idx="893">
                  <c:v>0.01</c:v>
                </c:pt>
                <c:pt idx="894">
                  <c:v>0.01</c:v>
                </c:pt>
                <c:pt idx="895">
                  <c:v>0.05</c:v>
                </c:pt>
                <c:pt idx="896">
                  <c:v>0.01</c:v>
                </c:pt>
                <c:pt idx="897">
                  <c:v>0.01</c:v>
                </c:pt>
                <c:pt idx="898">
                  <c:v>0.01</c:v>
                </c:pt>
                <c:pt idx="899">
                  <c:v>0.02</c:v>
                </c:pt>
                <c:pt idx="900">
                  <c:v>0.01</c:v>
                </c:pt>
                <c:pt idx="901">
                  <c:v>0.01</c:v>
                </c:pt>
                <c:pt idx="902">
                  <c:v>0.01</c:v>
                </c:pt>
                <c:pt idx="903">
                  <c:v>0.01</c:v>
                </c:pt>
                <c:pt idx="904">
                  <c:v>0.01</c:v>
                </c:pt>
                <c:pt idx="905">
                  <c:v>0.01</c:v>
                </c:pt>
                <c:pt idx="906">
                  <c:v>0.01</c:v>
                </c:pt>
                <c:pt idx="907">
                  <c:v>0.01</c:v>
                </c:pt>
                <c:pt idx="908">
                  <c:v>0.02</c:v>
                </c:pt>
                <c:pt idx="909">
                  <c:v>0.01</c:v>
                </c:pt>
                <c:pt idx="910">
                  <c:v>0.02</c:v>
                </c:pt>
                <c:pt idx="911">
                  <c:v>0.01</c:v>
                </c:pt>
                <c:pt idx="912">
                  <c:v>0.01</c:v>
                </c:pt>
                <c:pt idx="913">
                  <c:v>0.01</c:v>
                </c:pt>
                <c:pt idx="914">
                  <c:v>0.01</c:v>
                </c:pt>
                <c:pt idx="915">
                  <c:v>0.01</c:v>
                </c:pt>
                <c:pt idx="916">
                  <c:v>0.02</c:v>
                </c:pt>
                <c:pt idx="917">
                  <c:v>0.02</c:v>
                </c:pt>
                <c:pt idx="918">
                  <c:v>0.01</c:v>
                </c:pt>
                <c:pt idx="919">
                  <c:v>0.01</c:v>
                </c:pt>
                <c:pt idx="920">
                  <c:v>0.01</c:v>
                </c:pt>
                <c:pt idx="921">
                  <c:v>0.01</c:v>
                </c:pt>
                <c:pt idx="922">
                  <c:v>0.01</c:v>
                </c:pt>
                <c:pt idx="923">
                  <c:v>0.02</c:v>
                </c:pt>
                <c:pt idx="924">
                  <c:v>0.01</c:v>
                </c:pt>
                <c:pt idx="925">
                  <c:v>0.01</c:v>
                </c:pt>
                <c:pt idx="926">
                  <c:v>0.01</c:v>
                </c:pt>
                <c:pt idx="927">
                  <c:v>0.01</c:v>
                </c:pt>
                <c:pt idx="928">
                  <c:v>0.01</c:v>
                </c:pt>
                <c:pt idx="929">
                  <c:v>0.03</c:v>
                </c:pt>
                <c:pt idx="930">
                  <c:v>0.01</c:v>
                </c:pt>
                <c:pt idx="931">
                  <c:v>0.01</c:v>
                </c:pt>
                <c:pt idx="932">
                  <c:v>0.01</c:v>
                </c:pt>
                <c:pt idx="933">
                  <c:v>0.02</c:v>
                </c:pt>
                <c:pt idx="934">
                  <c:v>0.01</c:v>
                </c:pt>
                <c:pt idx="935">
                  <c:v>0.01</c:v>
                </c:pt>
                <c:pt idx="936">
                  <c:v>0.04</c:v>
                </c:pt>
                <c:pt idx="937">
                  <c:v>0.04</c:v>
                </c:pt>
                <c:pt idx="938">
                  <c:v>0.01</c:v>
                </c:pt>
                <c:pt idx="939">
                  <c:v>0.01</c:v>
                </c:pt>
                <c:pt idx="940">
                  <c:v>0.01</c:v>
                </c:pt>
                <c:pt idx="941">
                  <c:v>0.01</c:v>
                </c:pt>
                <c:pt idx="942">
                  <c:v>0.01</c:v>
                </c:pt>
                <c:pt idx="943">
                  <c:v>0.01</c:v>
                </c:pt>
                <c:pt idx="944">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Item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00A097"/>
              </a:solidFill>
            </c:spPr>
            <c:extLst>
              <c:ext xmlns:c16="http://schemas.microsoft.com/office/drawing/2014/chart" uri="{C3380CC4-5D6E-409C-BE32-E72D297353CC}">
                <c16:uniqueId val="{000000EB-2993-41DE-A2CB-63102DE87051}"/>
              </c:ext>
            </c:extLst>
          </c:dPt>
          <c:dPt>
            <c:idx val="117"/>
            <c:invertIfNegative val="1"/>
            <c:bubble3D val="0"/>
            <c:spPr>
              <a:solidFill>
                <a:srgbClr val="00A097"/>
              </a:solidFill>
            </c:spPr>
            <c:extLst>
              <c:ext xmlns:c16="http://schemas.microsoft.com/office/drawing/2014/chart" uri="{C3380CC4-5D6E-409C-BE32-E72D297353CC}">
                <c16:uniqueId val="{000000ED-2993-41DE-A2CB-63102DE87051}"/>
              </c:ext>
            </c:extLst>
          </c:dPt>
          <c:dPt>
            <c:idx val="118"/>
            <c:invertIfNegative val="1"/>
            <c:bubble3D val="0"/>
            <c:spPr>
              <a:solidFill>
                <a:srgbClr val="00A097"/>
              </a:solidFill>
            </c:spPr>
            <c:extLst>
              <c:ext xmlns:c16="http://schemas.microsoft.com/office/drawing/2014/chart" uri="{C3380CC4-5D6E-409C-BE32-E72D297353CC}">
                <c16:uniqueId val="{000000EF-2993-41DE-A2CB-63102DE87051}"/>
              </c:ext>
            </c:extLst>
          </c:dPt>
          <c:dPt>
            <c:idx val="119"/>
            <c:invertIfNegative val="1"/>
            <c:bubble3D val="0"/>
            <c:spPr>
              <a:solidFill>
                <a:srgbClr val="00A097"/>
              </a:solidFill>
            </c:spPr>
            <c:extLst>
              <c:ext xmlns:c16="http://schemas.microsoft.com/office/drawing/2014/chart" uri="{C3380CC4-5D6E-409C-BE32-E72D297353CC}">
                <c16:uniqueId val="{000000F1-2993-41DE-A2CB-63102DE87051}"/>
              </c:ext>
            </c:extLst>
          </c:dPt>
          <c:dPt>
            <c:idx val="120"/>
            <c:invertIfNegative val="1"/>
            <c:bubble3D val="0"/>
            <c:spPr>
              <a:solidFill>
                <a:srgbClr val="00A097"/>
              </a:solidFill>
            </c:spPr>
            <c:extLst>
              <c:ext xmlns:c16="http://schemas.microsoft.com/office/drawing/2014/chart" uri="{C3380CC4-5D6E-409C-BE32-E72D297353CC}">
                <c16:uniqueId val="{000000F3-2993-41DE-A2CB-63102DE87051}"/>
              </c:ext>
            </c:extLst>
          </c:dPt>
          <c:dPt>
            <c:idx val="121"/>
            <c:invertIfNegative val="1"/>
            <c:bubble3D val="0"/>
            <c:spPr>
              <a:solidFill>
                <a:srgbClr val="00A097"/>
              </a:solidFill>
            </c:spPr>
            <c:extLst>
              <c:ext xmlns:c16="http://schemas.microsoft.com/office/drawing/2014/chart" uri="{C3380CC4-5D6E-409C-BE32-E72D297353CC}">
                <c16:uniqueId val="{000000F5-2993-41DE-A2CB-63102DE87051}"/>
              </c:ext>
            </c:extLst>
          </c:dPt>
          <c:dPt>
            <c:idx val="122"/>
            <c:invertIfNegative val="1"/>
            <c:bubble3D val="0"/>
            <c:spPr>
              <a:solidFill>
                <a:srgbClr val="00A097"/>
              </a:solidFill>
            </c:spPr>
            <c:extLst>
              <c:ext xmlns:c16="http://schemas.microsoft.com/office/drawing/2014/chart" uri="{C3380CC4-5D6E-409C-BE32-E72D297353CC}">
                <c16:uniqueId val="{000000F7-2993-41DE-A2CB-63102DE87051}"/>
              </c:ext>
            </c:extLst>
          </c:dPt>
          <c:dPt>
            <c:idx val="123"/>
            <c:invertIfNegative val="1"/>
            <c:bubble3D val="0"/>
            <c:spPr>
              <a:solidFill>
                <a:srgbClr val="00A097"/>
              </a:solidFill>
            </c:spPr>
            <c:extLst>
              <c:ext xmlns:c16="http://schemas.microsoft.com/office/drawing/2014/chart" uri="{C3380CC4-5D6E-409C-BE32-E72D297353CC}">
                <c16:uniqueId val="{000000F9-2993-41DE-A2CB-63102DE87051}"/>
              </c:ext>
            </c:extLst>
          </c:dPt>
          <c:dPt>
            <c:idx val="124"/>
            <c:invertIfNegative val="1"/>
            <c:bubble3D val="0"/>
            <c:spPr>
              <a:solidFill>
                <a:srgbClr val="00A097"/>
              </a:solidFill>
            </c:spPr>
            <c:extLst>
              <c:ext xmlns:c16="http://schemas.microsoft.com/office/drawing/2014/chart" uri="{C3380CC4-5D6E-409C-BE32-E72D297353CC}">
                <c16:uniqueId val="{000000FB-2993-41DE-A2CB-63102DE87051}"/>
              </c:ext>
            </c:extLst>
          </c:dPt>
          <c:dPt>
            <c:idx val="125"/>
            <c:invertIfNegative val="1"/>
            <c:bubble3D val="0"/>
            <c:spPr>
              <a:solidFill>
                <a:srgbClr val="00A097"/>
              </a:solidFill>
            </c:spPr>
            <c:extLst>
              <c:ext xmlns:c16="http://schemas.microsoft.com/office/drawing/2014/chart" uri="{C3380CC4-5D6E-409C-BE32-E72D297353CC}">
                <c16:uniqueId val="{000000FD-2993-41DE-A2CB-63102DE87051}"/>
              </c:ext>
            </c:extLst>
          </c:dPt>
          <c:dPt>
            <c:idx val="126"/>
            <c:invertIfNegative val="1"/>
            <c:bubble3D val="0"/>
            <c:spPr>
              <a:solidFill>
                <a:srgbClr val="00A097"/>
              </a:solidFill>
            </c:spPr>
            <c:extLst>
              <c:ext xmlns:c16="http://schemas.microsoft.com/office/drawing/2014/chart" uri="{C3380CC4-5D6E-409C-BE32-E72D297353CC}">
                <c16:uniqueId val="{000000FF-2993-41DE-A2CB-63102DE87051}"/>
              </c:ext>
            </c:extLst>
          </c:dPt>
          <c:dPt>
            <c:idx val="127"/>
            <c:invertIfNegative val="1"/>
            <c:bubble3D val="0"/>
            <c:spPr>
              <a:solidFill>
                <a:srgbClr val="00A097"/>
              </a:solidFill>
            </c:spPr>
            <c:extLst>
              <c:ext xmlns:c16="http://schemas.microsoft.com/office/drawing/2014/chart" uri="{C3380CC4-5D6E-409C-BE32-E72D297353CC}">
                <c16:uniqueId val="{00000101-2993-41DE-A2CB-63102DE87051}"/>
              </c:ext>
            </c:extLst>
          </c:dPt>
          <c:dPt>
            <c:idx val="128"/>
            <c:invertIfNegative val="1"/>
            <c:bubble3D val="0"/>
            <c:spPr>
              <a:solidFill>
                <a:srgbClr val="00A097"/>
              </a:solidFill>
            </c:spPr>
            <c:extLst>
              <c:ext xmlns:c16="http://schemas.microsoft.com/office/drawing/2014/chart" uri="{C3380CC4-5D6E-409C-BE32-E72D297353CC}">
                <c16:uniqueId val="{00000103-2993-41DE-A2CB-63102DE87051}"/>
              </c:ext>
            </c:extLst>
          </c:dPt>
          <c:dPt>
            <c:idx val="129"/>
            <c:invertIfNegative val="1"/>
            <c:bubble3D val="0"/>
            <c:spPr>
              <a:solidFill>
                <a:srgbClr val="00A097"/>
              </a:solidFill>
            </c:spPr>
            <c:extLst>
              <c:ext xmlns:c16="http://schemas.microsoft.com/office/drawing/2014/chart" uri="{C3380CC4-5D6E-409C-BE32-E72D297353CC}">
                <c16:uniqueId val="{00000105-2993-41DE-A2CB-63102DE87051}"/>
              </c:ext>
            </c:extLst>
          </c:dPt>
          <c:dPt>
            <c:idx val="130"/>
            <c:invertIfNegative val="1"/>
            <c:bubble3D val="0"/>
            <c:spPr>
              <a:solidFill>
                <a:srgbClr val="00A097"/>
              </a:solidFill>
            </c:spPr>
            <c:extLst>
              <c:ext xmlns:c16="http://schemas.microsoft.com/office/drawing/2014/chart" uri="{C3380CC4-5D6E-409C-BE32-E72D297353CC}">
                <c16:uniqueId val="{00000107-2993-41DE-A2CB-63102DE87051}"/>
              </c:ext>
            </c:extLst>
          </c:dPt>
          <c:dPt>
            <c:idx val="131"/>
            <c:invertIfNegative val="1"/>
            <c:bubble3D val="0"/>
            <c:spPr>
              <a:solidFill>
                <a:srgbClr val="00A097"/>
              </a:solidFill>
            </c:spPr>
            <c:extLst>
              <c:ext xmlns:c16="http://schemas.microsoft.com/office/drawing/2014/chart" uri="{C3380CC4-5D6E-409C-BE32-E72D297353CC}">
                <c16:uniqueId val="{00000109-2993-41DE-A2CB-63102DE87051}"/>
              </c:ext>
            </c:extLst>
          </c:dPt>
          <c:dPt>
            <c:idx val="132"/>
            <c:invertIfNegative val="1"/>
            <c:bubble3D val="0"/>
            <c:spPr>
              <a:solidFill>
                <a:srgbClr val="00A097"/>
              </a:solidFill>
            </c:spPr>
            <c:extLst>
              <c:ext xmlns:c16="http://schemas.microsoft.com/office/drawing/2014/chart" uri="{C3380CC4-5D6E-409C-BE32-E72D297353CC}">
                <c16:uniqueId val="{0000010B-2993-41DE-A2CB-63102DE87051}"/>
              </c:ext>
            </c:extLst>
          </c:dPt>
          <c:dPt>
            <c:idx val="133"/>
            <c:invertIfNegative val="1"/>
            <c:bubble3D val="0"/>
            <c:spPr>
              <a:solidFill>
                <a:srgbClr val="00A097"/>
              </a:solidFill>
            </c:spPr>
            <c:extLst>
              <c:ext xmlns:c16="http://schemas.microsoft.com/office/drawing/2014/chart" uri="{C3380CC4-5D6E-409C-BE32-E72D297353CC}">
                <c16:uniqueId val="{0000010D-2993-41DE-A2CB-63102DE87051}"/>
              </c:ext>
            </c:extLst>
          </c:dPt>
          <c:dPt>
            <c:idx val="134"/>
            <c:invertIfNegative val="1"/>
            <c:bubble3D val="0"/>
            <c:spPr>
              <a:solidFill>
                <a:srgbClr val="00A097"/>
              </a:solidFill>
            </c:spPr>
            <c:extLst>
              <c:ext xmlns:c16="http://schemas.microsoft.com/office/drawing/2014/chart" uri="{C3380CC4-5D6E-409C-BE32-E72D297353CC}">
                <c16:uniqueId val="{0000010F-2993-41DE-A2CB-63102DE87051}"/>
              </c:ext>
            </c:extLst>
          </c:dPt>
          <c:dPt>
            <c:idx val="135"/>
            <c:invertIfNegative val="1"/>
            <c:bubble3D val="0"/>
            <c:spPr>
              <a:solidFill>
                <a:srgbClr val="00A097"/>
              </a:solidFill>
            </c:spPr>
            <c:extLst>
              <c:ext xmlns:c16="http://schemas.microsoft.com/office/drawing/2014/chart" uri="{C3380CC4-5D6E-409C-BE32-E72D297353CC}">
                <c16:uniqueId val="{00000111-2993-41DE-A2CB-63102DE87051}"/>
              </c:ext>
            </c:extLst>
          </c:dPt>
          <c:dPt>
            <c:idx val="136"/>
            <c:invertIfNegative val="1"/>
            <c:bubble3D val="0"/>
            <c:spPr>
              <a:solidFill>
                <a:srgbClr val="00A097"/>
              </a:solidFill>
            </c:spPr>
            <c:extLst>
              <c:ext xmlns:c16="http://schemas.microsoft.com/office/drawing/2014/chart" uri="{C3380CC4-5D6E-409C-BE32-E72D297353CC}">
                <c16:uniqueId val="{00000113-2993-41DE-A2CB-63102DE87051}"/>
              </c:ext>
            </c:extLst>
          </c:dPt>
          <c:dPt>
            <c:idx val="137"/>
            <c:invertIfNegative val="1"/>
            <c:bubble3D val="0"/>
            <c:spPr>
              <a:solidFill>
                <a:srgbClr val="00A097"/>
              </a:solidFill>
            </c:spPr>
            <c:extLst>
              <c:ext xmlns:c16="http://schemas.microsoft.com/office/drawing/2014/chart" uri="{C3380CC4-5D6E-409C-BE32-E72D297353CC}">
                <c16:uniqueId val="{00000115-2993-41DE-A2CB-63102DE87051}"/>
              </c:ext>
            </c:extLst>
          </c:dPt>
          <c:dPt>
            <c:idx val="138"/>
            <c:invertIfNegative val="1"/>
            <c:bubble3D val="0"/>
            <c:spPr>
              <a:solidFill>
                <a:srgbClr val="00A097"/>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7ECAC4"/>
              </a:solidFill>
            </c:spPr>
            <c:extLst>
              <c:ext xmlns:c16="http://schemas.microsoft.com/office/drawing/2014/chart" uri="{C3380CC4-5D6E-409C-BE32-E72D297353CC}">
                <c16:uniqueId val="{0000015D-2993-41DE-A2CB-63102DE87051}"/>
              </c:ext>
            </c:extLst>
          </c:dPt>
          <c:dPt>
            <c:idx val="174"/>
            <c:invertIfNegative val="1"/>
            <c:bubble3D val="0"/>
            <c:spPr>
              <a:solidFill>
                <a:srgbClr val="7ECAC4"/>
              </a:solidFill>
            </c:spPr>
            <c:extLst>
              <c:ext xmlns:c16="http://schemas.microsoft.com/office/drawing/2014/chart" uri="{C3380CC4-5D6E-409C-BE32-E72D297353CC}">
                <c16:uniqueId val="{0000015F-2993-41DE-A2CB-63102DE87051}"/>
              </c:ext>
            </c:extLst>
          </c:dPt>
          <c:dPt>
            <c:idx val="175"/>
            <c:invertIfNegative val="1"/>
            <c:bubble3D val="0"/>
            <c:spPr>
              <a:solidFill>
                <a:srgbClr val="7ECAC4"/>
              </a:solidFill>
            </c:spPr>
            <c:extLst>
              <c:ext xmlns:c16="http://schemas.microsoft.com/office/drawing/2014/chart" uri="{C3380CC4-5D6E-409C-BE32-E72D297353CC}">
                <c16:uniqueId val="{00000161-2993-41DE-A2CB-63102DE87051}"/>
              </c:ext>
            </c:extLst>
          </c:dPt>
          <c:dPt>
            <c:idx val="176"/>
            <c:invertIfNegative val="1"/>
            <c:bubble3D val="0"/>
            <c:spPr>
              <a:solidFill>
                <a:srgbClr val="7ECAC4"/>
              </a:solidFill>
            </c:spPr>
            <c:extLst>
              <c:ext xmlns:c16="http://schemas.microsoft.com/office/drawing/2014/chart" uri="{C3380CC4-5D6E-409C-BE32-E72D297353CC}">
                <c16:uniqueId val="{00000163-2993-41DE-A2CB-63102DE87051}"/>
              </c:ext>
            </c:extLst>
          </c:dPt>
          <c:dPt>
            <c:idx val="177"/>
            <c:invertIfNegative val="1"/>
            <c:bubble3D val="0"/>
            <c:spPr>
              <a:solidFill>
                <a:srgbClr val="7ECAC4"/>
              </a:solidFill>
            </c:spPr>
            <c:extLst>
              <c:ext xmlns:c16="http://schemas.microsoft.com/office/drawing/2014/chart" uri="{C3380CC4-5D6E-409C-BE32-E72D297353CC}">
                <c16:uniqueId val="{00000165-2993-41DE-A2CB-63102DE87051}"/>
              </c:ext>
            </c:extLst>
          </c:dPt>
          <c:dPt>
            <c:idx val="178"/>
            <c:invertIfNegative val="1"/>
            <c:bubble3D val="0"/>
            <c:spPr>
              <a:solidFill>
                <a:srgbClr val="7ECAC4"/>
              </a:solidFill>
            </c:spPr>
            <c:extLst>
              <c:ext xmlns:c16="http://schemas.microsoft.com/office/drawing/2014/chart" uri="{C3380CC4-5D6E-409C-BE32-E72D297353CC}">
                <c16:uniqueId val="{00000167-2993-41DE-A2CB-63102DE87051}"/>
              </c:ext>
            </c:extLst>
          </c:dPt>
          <c:dPt>
            <c:idx val="179"/>
            <c:invertIfNegative val="1"/>
            <c:bubble3D val="0"/>
            <c:spPr>
              <a:solidFill>
                <a:srgbClr val="7ECAC4"/>
              </a:solidFill>
            </c:spPr>
            <c:extLst>
              <c:ext xmlns:c16="http://schemas.microsoft.com/office/drawing/2014/chart" uri="{C3380CC4-5D6E-409C-BE32-E72D297353CC}">
                <c16:uniqueId val="{00000169-2993-41DE-A2CB-63102DE87051}"/>
              </c:ext>
            </c:extLst>
          </c:dPt>
          <c:dPt>
            <c:idx val="180"/>
            <c:invertIfNegative val="1"/>
            <c:bubble3D val="0"/>
            <c:spPr>
              <a:solidFill>
                <a:srgbClr val="7ECAC4"/>
              </a:solidFill>
            </c:spPr>
            <c:extLst>
              <c:ext xmlns:c16="http://schemas.microsoft.com/office/drawing/2014/chart" uri="{C3380CC4-5D6E-409C-BE32-E72D297353CC}">
                <c16:uniqueId val="{0000016B-2993-41DE-A2CB-63102DE87051}"/>
              </c:ext>
            </c:extLst>
          </c:dPt>
          <c:dPt>
            <c:idx val="181"/>
            <c:invertIfNegative val="1"/>
            <c:bubble3D val="0"/>
            <c:spPr>
              <a:solidFill>
                <a:srgbClr val="7ECAC4"/>
              </a:solidFill>
            </c:spPr>
            <c:extLst>
              <c:ext xmlns:c16="http://schemas.microsoft.com/office/drawing/2014/chart" uri="{C3380CC4-5D6E-409C-BE32-E72D297353CC}">
                <c16:uniqueId val="{0000016D-2993-41DE-A2CB-63102DE87051}"/>
              </c:ext>
            </c:extLst>
          </c:dPt>
          <c:dPt>
            <c:idx val="182"/>
            <c:invertIfNegative val="1"/>
            <c:bubble3D val="0"/>
            <c:spPr>
              <a:solidFill>
                <a:srgbClr val="7ECAC4"/>
              </a:solidFill>
            </c:spPr>
            <c:extLst>
              <c:ext xmlns:c16="http://schemas.microsoft.com/office/drawing/2014/chart" uri="{C3380CC4-5D6E-409C-BE32-E72D297353CC}">
                <c16:uniqueId val="{0000016F-2993-41DE-A2CB-63102DE87051}"/>
              </c:ext>
            </c:extLst>
          </c:dPt>
          <c:dPt>
            <c:idx val="183"/>
            <c:invertIfNegative val="1"/>
            <c:bubble3D val="0"/>
            <c:spPr>
              <a:solidFill>
                <a:srgbClr val="7ECAC4"/>
              </a:solidFill>
            </c:spPr>
            <c:extLst>
              <c:ext xmlns:c16="http://schemas.microsoft.com/office/drawing/2014/chart" uri="{C3380CC4-5D6E-409C-BE32-E72D297353CC}">
                <c16:uniqueId val="{00000171-2993-41DE-A2CB-63102DE87051}"/>
              </c:ext>
            </c:extLst>
          </c:dPt>
          <c:dPt>
            <c:idx val="184"/>
            <c:invertIfNegative val="1"/>
            <c:bubble3D val="0"/>
            <c:spPr>
              <a:solidFill>
                <a:srgbClr val="7ECAC4"/>
              </a:solidFill>
            </c:spPr>
            <c:extLst>
              <c:ext xmlns:c16="http://schemas.microsoft.com/office/drawing/2014/chart" uri="{C3380CC4-5D6E-409C-BE32-E72D297353CC}">
                <c16:uniqueId val="{00000173-2993-41DE-A2CB-63102DE87051}"/>
              </c:ext>
            </c:extLst>
          </c:dPt>
          <c:dPt>
            <c:idx val="185"/>
            <c:invertIfNegative val="1"/>
            <c:bubble3D val="0"/>
            <c:spPr>
              <a:solidFill>
                <a:srgbClr val="7ECAC4"/>
              </a:solidFill>
            </c:spPr>
            <c:extLst>
              <c:ext xmlns:c16="http://schemas.microsoft.com/office/drawing/2014/chart" uri="{C3380CC4-5D6E-409C-BE32-E72D297353CC}">
                <c16:uniqueId val="{00000175-2993-41DE-A2CB-63102DE87051}"/>
              </c:ext>
            </c:extLst>
          </c:dPt>
          <c:dPt>
            <c:idx val="186"/>
            <c:invertIfNegative val="1"/>
            <c:bubble3D val="0"/>
            <c:spPr>
              <a:solidFill>
                <a:srgbClr val="7ECAC4"/>
              </a:solidFill>
            </c:spPr>
            <c:extLst>
              <c:ext xmlns:c16="http://schemas.microsoft.com/office/drawing/2014/chart" uri="{C3380CC4-5D6E-409C-BE32-E72D297353CC}">
                <c16:uniqueId val="{00000177-2993-41DE-A2CB-63102DE87051}"/>
              </c:ext>
            </c:extLst>
          </c:dPt>
          <c:dPt>
            <c:idx val="187"/>
            <c:invertIfNegative val="1"/>
            <c:bubble3D val="0"/>
            <c:spPr>
              <a:solidFill>
                <a:srgbClr val="7ECAC4"/>
              </a:solidFill>
            </c:spPr>
            <c:extLst>
              <c:ext xmlns:c16="http://schemas.microsoft.com/office/drawing/2014/chart" uri="{C3380CC4-5D6E-409C-BE32-E72D297353CC}">
                <c16:uniqueId val="{00000179-2993-41DE-A2CB-63102DE87051}"/>
              </c:ext>
            </c:extLst>
          </c:dPt>
          <c:dPt>
            <c:idx val="188"/>
            <c:invertIfNegative val="1"/>
            <c:bubble3D val="0"/>
            <c:spPr>
              <a:solidFill>
                <a:srgbClr val="7ECAC4"/>
              </a:solidFill>
            </c:spPr>
            <c:extLst>
              <c:ext xmlns:c16="http://schemas.microsoft.com/office/drawing/2014/chart" uri="{C3380CC4-5D6E-409C-BE32-E72D297353CC}">
                <c16:uniqueId val="{0000017B-2993-41DE-A2CB-63102DE87051}"/>
              </c:ext>
            </c:extLst>
          </c:dPt>
          <c:dPt>
            <c:idx val="189"/>
            <c:invertIfNegative val="1"/>
            <c:bubble3D val="0"/>
            <c:spPr>
              <a:solidFill>
                <a:srgbClr val="7ECAC4"/>
              </a:solidFill>
            </c:spPr>
            <c:extLst>
              <c:ext xmlns:c16="http://schemas.microsoft.com/office/drawing/2014/chart" uri="{C3380CC4-5D6E-409C-BE32-E72D297353CC}">
                <c16:uniqueId val="{0000017D-2993-41DE-A2CB-63102DE87051}"/>
              </c:ext>
            </c:extLst>
          </c:dPt>
          <c:dPt>
            <c:idx val="190"/>
            <c:invertIfNegative val="1"/>
            <c:bubble3D val="0"/>
            <c:spPr>
              <a:solidFill>
                <a:srgbClr val="7ECAC4"/>
              </a:solidFill>
            </c:spPr>
            <c:extLst>
              <c:ext xmlns:c16="http://schemas.microsoft.com/office/drawing/2014/chart" uri="{C3380CC4-5D6E-409C-BE32-E72D297353CC}">
                <c16:uniqueId val="{0000017F-2993-41DE-A2CB-63102DE87051}"/>
              </c:ext>
            </c:extLst>
          </c:dPt>
          <c:dPt>
            <c:idx val="191"/>
            <c:invertIfNegative val="1"/>
            <c:bubble3D val="0"/>
            <c:spPr>
              <a:solidFill>
                <a:srgbClr val="7ECAC4"/>
              </a:solidFill>
            </c:spPr>
            <c:extLst>
              <c:ext xmlns:c16="http://schemas.microsoft.com/office/drawing/2014/chart" uri="{C3380CC4-5D6E-409C-BE32-E72D297353CC}">
                <c16:uniqueId val="{00000181-2993-41DE-A2CB-63102DE87051}"/>
              </c:ext>
            </c:extLst>
          </c:dPt>
          <c:dPt>
            <c:idx val="192"/>
            <c:invertIfNegative val="1"/>
            <c:bubble3D val="0"/>
            <c:spPr>
              <a:solidFill>
                <a:srgbClr val="7ECAC4"/>
              </a:solidFill>
            </c:spPr>
            <c:extLst>
              <c:ext xmlns:c16="http://schemas.microsoft.com/office/drawing/2014/chart" uri="{C3380CC4-5D6E-409C-BE32-E72D297353CC}">
                <c16:uniqueId val="{00000183-2993-41DE-A2CB-63102DE87051}"/>
              </c:ext>
            </c:extLst>
          </c:dPt>
          <c:dPt>
            <c:idx val="193"/>
            <c:invertIfNegative val="1"/>
            <c:bubble3D val="0"/>
            <c:spPr>
              <a:solidFill>
                <a:srgbClr val="7ECAC4"/>
              </a:solidFill>
            </c:spPr>
            <c:extLst>
              <c:ext xmlns:c16="http://schemas.microsoft.com/office/drawing/2014/chart" uri="{C3380CC4-5D6E-409C-BE32-E72D297353CC}">
                <c16:uniqueId val="{00000185-2993-41DE-A2CB-63102DE87051}"/>
              </c:ext>
            </c:extLst>
          </c:dPt>
          <c:dPt>
            <c:idx val="194"/>
            <c:invertIfNegative val="1"/>
            <c:bubble3D val="0"/>
            <c:spPr>
              <a:solidFill>
                <a:srgbClr val="7ECAC4"/>
              </a:solidFill>
            </c:spPr>
            <c:extLst>
              <c:ext xmlns:c16="http://schemas.microsoft.com/office/drawing/2014/chart" uri="{C3380CC4-5D6E-409C-BE32-E72D297353CC}">
                <c16:uniqueId val="{00000187-2993-41DE-A2CB-63102DE87051}"/>
              </c:ext>
            </c:extLst>
          </c:dPt>
          <c:dPt>
            <c:idx val="195"/>
            <c:invertIfNegative val="1"/>
            <c:bubble3D val="0"/>
            <c:spPr>
              <a:solidFill>
                <a:srgbClr val="7ECAC4"/>
              </a:solidFill>
            </c:spPr>
            <c:extLst>
              <c:ext xmlns:c16="http://schemas.microsoft.com/office/drawing/2014/chart" uri="{C3380CC4-5D6E-409C-BE32-E72D297353CC}">
                <c16:uniqueId val="{00000189-2993-41DE-A2CB-63102DE87051}"/>
              </c:ext>
            </c:extLst>
          </c:dPt>
          <c:dPt>
            <c:idx val="196"/>
            <c:invertIfNegative val="1"/>
            <c:bubble3D val="0"/>
            <c:spPr>
              <a:solidFill>
                <a:srgbClr val="7ECAC4"/>
              </a:solidFill>
            </c:spPr>
            <c:extLst>
              <c:ext xmlns:c16="http://schemas.microsoft.com/office/drawing/2014/chart" uri="{C3380CC4-5D6E-409C-BE32-E72D297353CC}">
                <c16:uniqueId val="{0000018B-2993-41DE-A2CB-63102DE87051}"/>
              </c:ext>
            </c:extLst>
          </c:dPt>
          <c:dPt>
            <c:idx val="197"/>
            <c:invertIfNegative val="1"/>
            <c:bubble3D val="0"/>
            <c:spPr>
              <a:solidFill>
                <a:srgbClr val="7ECAC4"/>
              </a:solidFill>
            </c:spPr>
            <c:extLst>
              <c:ext xmlns:c16="http://schemas.microsoft.com/office/drawing/2014/chart" uri="{C3380CC4-5D6E-409C-BE32-E72D297353CC}">
                <c16:uniqueId val="{0000018D-2993-41DE-A2CB-63102DE87051}"/>
              </c:ext>
            </c:extLst>
          </c:dPt>
          <c:dPt>
            <c:idx val="198"/>
            <c:invertIfNegative val="1"/>
            <c:bubble3D val="0"/>
            <c:spPr>
              <a:solidFill>
                <a:srgbClr val="7ECAC4"/>
              </a:solidFill>
            </c:spPr>
            <c:extLst>
              <c:ext xmlns:c16="http://schemas.microsoft.com/office/drawing/2014/chart" uri="{C3380CC4-5D6E-409C-BE32-E72D297353CC}">
                <c16:uniqueId val="{0000018F-2993-41DE-A2CB-63102DE87051}"/>
              </c:ext>
            </c:extLst>
          </c:dPt>
          <c:dPt>
            <c:idx val="199"/>
            <c:invertIfNegative val="1"/>
            <c:bubble3D val="0"/>
            <c:spPr>
              <a:solidFill>
                <a:srgbClr val="7ECAC4"/>
              </a:solidFill>
            </c:spPr>
            <c:extLst>
              <c:ext xmlns:c16="http://schemas.microsoft.com/office/drawing/2014/chart" uri="{C3380CC4-5D6E-409C-BE32-E72D297353CC}">
                <c16:uniqueId val="{00000191-2993-41DE-A2CB-63102DE87051}"/>
              </c:ext>
            </c:extLst>
          </c:dPt>
          <c:dPt>
            <c:idx val="200"/>
            <c:invertIfNegative val="1"/>
            <c:bubble3D val="0"/>
            <c:spPr>
              <a:solidFill>
                <a:srgbClr val="7ECAC4"/>
              </a:solidFill>
            </c:spPr>
            <c:extLst>
              <c:ext xmlns:c16="http://schemas.microsoft.com/office/drawing/2014/chart" uri="{C3380CC4-5D6E-409C-BE32-E72D297353CC}">
                <c16:uniqueId val="{00000193-2993-41DE-A2CB-63102DE87051}"/>
              </c:ext>
            </c:extLst>
          </c:dPt>
          <c:dPt>
            <c:idx val="201"/>
            <c:invertIfNegative val="1"/>
            <c:bubble3D val="0"/>
            <c:spPr>
              <a:solidFill>
                <a:srgbClr val="7ECAC4"/>
              </a:solidFill>
            </c:spPr>
            <c:extLst>
              <c:ext xmlns:c16="http://schemas.microsoft.com/office/drawing/2014/chart" uri="{C3380CC4-5D6E-409C-BE32-E72D297353CC}">
                <c16:uniqueId val="{00000195-2993-41DE-A2CB-63102DE87051}"/>
              </c:ext>
            </c:extLst>
          </c:dPt>
          <c:dPt>
            <c:idx val="202"/>
            <c:invertIfNegative val="1"/>
            <c:bubble3D val="0"/>
            <c:spPr>
              <a:solidFill>
                <a:srgbClr val="7ECAC4"/>
              </a:solidFill>
            </c:spPr>
            <c:extLst>
              <c:ext xmlns:c16="http://schemas.microsoft.com/office/drawing/2014/chart" uri="{C3380CC4-5D6E-409C-BE32-E72D297353CC}">
                <c16:uniqueId val="{00000197-2993-41DE-A2CB-63102DE87051}"/>
              </c:ext>
            </c:extLst>
          </c:dPt>
          <c:dPt>
            <c:idx val="203"/>
            <c:invertIfNegative val="1"/>
            <c:bubble3D val="0"/>
            <c:spPr>
              <a:solidFill>
                <a:srgbClr val="7ECAC4"/>
              </a:solidFill>
            </c:spPr>
            <c:extLst>
              <c:ext xmlns:c16="http://schemas.microsoft.com/office/drawing/2014/chart" uri="{C3380CC4-5D6E-409C-BE32-E72D297353CC}">
                <c16:uniqueId val="{00000199-2993-41DE-A2CB-63102DE87051}"/>
              </c:ext>
            </c:extLst>
          </c:dPt>
          <c:dPt>
            <c:idx val="204"/>
            <c:invertIfNegative val="1"/>
            <c:bubble3D val="0"/>
            <c:spPr>
              <a:solidFill>
                <a:srgbClr val="7ECAC4"/>
              </a:solidFill>
            </c:spPr>
            <c:extLst>
              <c:ext xmlns:c16="http://schemas.microsoft.com/office/drawing/2014/chart" uri="{C3380CC4-5D6E-409C-BE32-E72D297353CC}">
                <c16:uniqueId val="{0000019B-2993-41DE-A2CB-63102DE87051}"/>
              </c:ext>
            </c:extLst>
          </c:dPt>
          <c:dPt>
            <c:idx val="205"/>
            <c:invertIfNegative val="1"/>
            <c:bubble3D val="0"/>
            <c:spPr>
              <a:solidFill>
                <a:srgbClr val="7ECAC4"/>
              </a:solidFill>
            </c:spPr>
            <c:extLst>
              <c:ext xmlns:c16="http://schemas.microsoft.com/office/drawing/2014/chart" uri="{C3380CC4-5D6E-409C-BE32-E72D297353CC}">
                <c16:uniqueId val="{0000019D-2993-41DE-A2CB-63102DE87051}"/>
              </c:ext>
            </c:extLst>
          </c:dPt>
          <c:dPt>
            <c:idx val="206"/>
            <c:invertIfNegative val="1"/>
            <c:bubble3D val="0"/>
            <c:spPr>
              <a:solidFill>
                <a:srgbClr val="7ECAC4"/>
              </a:solidFill>
            </c:spPr>
            <c:extLst>
              <c:ext xmlns:c16="http://schemas.microsoft.com/office/drawing/2014/chart" uri="{C3380CC4-5D6E-409C-BE32-E72D297353CC}">
                <c16:uniqueId val="{0000019F-2993-41DE-A2CB-63102DE87051}"/>
              </c:ext>
            </c:extLst>
          </c:dPt>
          <c:dPt>
            <c:idx val="207"/>
            <c:invertIfNegative val="1"/>
            <c:bubble3D val="0"/>
            <c:spPr>
              <a:solidFill>
                <a:srgbClr val="7ECAC4"/>
              </a:solidFill>
            </c:spPr>
            <c:extLst>
              <c:ext xmlns:c16="http://schemas.microsoft.com/office/drawing/2014/chart" uri="{C3380CC4-5D6E-409C-BE32-E72D297353CC}">
                <c16:uniqueId val="{000001A1-2993-41DE-A2CB-63102DE87051}"/>
              </c:ext>
            </c:extLst>
          </c:dPt>
          <c:dPt>
            <c:idx val="208"/>
            <c:invertIfNegative val="1"/>
            <c:bubble3D val="0"/>
            <c:spPr>
              <a:solidFill>
                <a:srgbClr val="7ECAC4"/>
              </a:solidFill>
            </c:spPr>
            <c:extLst>
              <c:ext xmlns:c16="http://schemas.microsoft.com/office/drawing/2014/chart" uri="{C3380CC4-5D6E-409C-BE32-E72D297353CC}">
                <c16:uniqueId val="{000001A3-2993-41DE-A2CB-63102DE87051}"/>
              </c:ext>
            </c:extLst>
          </c:dPt>
          <c:dPt>
            <c:idx val="209"/>
            <c:invertIfNegative val="1"/>
            <c:bubble3D val="0"/>
            <c:spPr>
              <a:solidFill>
                <a:srgbClr val="7ECAC4"/>
              </a:solidFill>
            </c:spPr>
            <c:extLst>
              <c:ext xmlns:c16="http://schemas.microsoft.com/office/drawing/2014/chart" uri="{C3380CC4-5D6E-409C-BE32-E72D297353CC}">
                <c16:uniqueId val="{000001A5-2993-41DE-A2CB-63102DE87051}"/>
              </c:ext>
            </c:extLst>
          </c:dPt>
          <c:dPt>
            <c:idx val="210"/>
            <c:spPr>
              <a:solidFill>
                <a:srgbClr val="7ECAC4"/>
              </a:solidFill>
            </c:spPr>
          </c:dPt>
          <c:dPt>
            <c:idx val="211"/>
            <c:spPr>
              <a:solidFill>
                <a:srgbClr val="7ECAC4"/>
              </a:solidFill>
            </c:spPr>
          </c:dPt>
          <c:dPt>
            <c:idx val="212"/>
            <c:spPr>
              <a:solidFill>
                <a:srgbClr val="7ECAC4"/>
              </a:solidFill>
            </c:spPr>
          </c:dPt>
          <c:dPt>
            <c:idx val="213"/>
            <c:spPr>
              <a:solidFill>
                <a:srgbClr val="7ECAC4"/>
              </a:solidFill>
            </c:spPr>
          </c:dPt>
          <c:dPt>
            <c:idx val="214"/>
            <c:spPr>
              <a:solidFill>
                <a:srgbClr val="7ECAC4"/>
              </a:solidFill>
            </c:spPr>
          </c:dPt>
          <c:dPt>
            <c:idx val="215"/>
            <c:spPr>
              <a:solidFill>
                <a:srgbClr val="7ECAC4"/>
              </a:solidFill>
            </c:spPr>
          </c:dPt>
          <c:dPt>
            <c:idx val="216"/>
            <c:spPr>
              <a:solidFill>
                <a:srgbClr val="7ECAC4"/>
              </a:solidFill>
            </c:spPr>
          </c:dPt>
          <c:dPt>
            <c:idx val="217"/>
            <c:spPr>
              <a:solidFill>
                <a:srgbClr val="7ECAC4"/>
              </a:solidFill>
            </c:spPr>
          </c:dPt>
          <c:dPt>
            <c:idx val="218"/>
            <c:spPr>
              <a:solidFill>
                <a:srgbClr val="7ECAC4"/>
              </a:solidFill>
            </c:spPr>
          </c:dPt>
          <c:dPt>
            <c:idx val="219"/>
            <c:spPr>
              <a:solidFill>
                <a:srgbClr val="7ECAC4"/>
              </a:solidFill>
            </c:spPr>
          </c:dPt>
          <c:dPt>
            <c:idx val="220"/>
            <c:spPr>
              <a:solidFill>
                <a:srgbClr val="7ECAC4"/>
              </a:solidFill>
            </c:spPr>
          </c:dPt>
          <c:dPt>
            <c:idx val="221"/>
            <c:spPr>
              <a:solidFill>
                <a:srgbClr val="7ECAC4"/>
              </a:solidFill>
            </c:spPr>
          </c:dPt>
          <c:dPt>
            <c:idx val="222"/>
            <c:spPr>
              <a:solidFill>
                <a:srgbClr val="7ECAC4"/>
              </a:solidFill>
            </c:spPr>
          </c:dPt>
          <c:dPt>
            <c:idx val="223"/>
            <c:spPr>
              <a:solidFill>
                <a:srgbClr val="7ECAC4"/>
              </a:solidFill>
            </c:spPr>
          </c:dPt>
          <c:dPt>
            <c:idx val="224"/>
            <c:spPr>
              <a:solidFill>
                <a:srgbClr val="7ECAC4"/>
              </a:solidFill>
            </c:spPr>
          </c:dPt>
          <c:dPt>
            <c:idx val="225"/>
            <c:spPr>
              <a:solidFill>
                <a:srgbClr val="7ECAC4"/>
              </a:solidFill>
            </c:spPr>
          </c:dPt>
          <c:dPt>
            <c:idx val="226"/>
            <c:spPr>
              <a:solidFill>
                <a:srgbClr val="7ECAC4"/>
              </a:solidFill>
            </c:spPr>
          </c:dPt>
          <c:dPt>
            <c:idx val="227"/>
            <c:spPr>
              <a:solidFill>
                <a:srgbClr val="7ECAC4"/>
              </a:solidFill>
            </c:spPr>
          </c:dPt>
          <c:dPt>
            <c:idx val="228"/>
            <c:spPr>
              <a:solidFill>
                <a:srgbClr val="7ECAC4"/>
              </a:solidFill>
            </c:spPr>
          </c:dPt>
          <c:dPt>
            <c:idx val="229"/>
            <c:spPr>
              <a:solidFill>
                <a:srgbClr val="7ECAC4"/>
              </a:solidFill>
            </c:spPr>
          </c:dPt>
          <c:dPt>
            <c:idx val="230"/>
            <c:spPr>
              <a:solidFill>
                <a:srgbClr val="7ECAC4"/>
              </a:solidFill>
            </c:spPr>
          </c:dPt>
          <c:dPt>
            <c:idx val="231"/>
            <c:spPr>
              <a:solidFill>
                <a:srgbClr val="7ECAC4"/>
              </a:solidFill>
            </c:spPr>
          </c:dPt>
          <c:dPt>
            <c:idx val="232"/>
            <c:spPr>
              <a:solidFill>
                <a:srgbClr val="7ECAC4"/>
              </a:solidFill>
            </c:spPr>
          </c:dPt>
          <c:dPt>
            <c:idx val="233"/>
            <c:spPr>
              <a:solidFill>
                <a:srgbClr val="7ECAC4"/>
              </a:solidFill>
            </c:spPr>
          </c:dPt>
          <c:dPt>
            <c:idx val="234"/>
            <c:spPr>
              <a:solidFill>
                <a:srgbClr val="7ECAC4"/>
              </a:solidFill>
            </c:spPr>
          </c:dPt>
          <c:dPt>
            <c:idx val="235"/>
            <c:spPr>
              <a:solidFill>
                <a:srgbClr val="7ECAC4"/>
              </a:solidFill>
            </c:spPr>
          </c:dPt>
          <c:dPt>
            <c:idx val="236"/>
            <c:spPr>
              <a:solidFill>
                <a:srgbClr val="7ECAC4"/>
              </a:solidFill>
            </c:spPr>
          </c:dPt>
          <c:dPt>
            <c:idx val="237"/>
            <c:spPr>
              <a:solidFill>
                <a:srgbClr val="7ECAC4"/>
              </a:solidFill>
            </c:spPr>
          </c:dPt>
          <c:dPt>
            <c:idx val="238"/>
            <c:spPr>
              <a:solidFill>
                <a:srgbClr val="7ECAC4"/>
              </a:solidFill>
            </c:spPr>
          </c:dPt>
          <c:dPt>
            <c:idx val="239"/>
            <c:spPr>
              <a:solidFill>
                <a:srgbClr val="7ECAC4"/>
              </a:solidFill>
            </c:spPr>
          </c:dPt>
          <c:dPt>
            <c:idx val="240"/>
            <c:spPr>
              <a:solidFill>
                <a:srgbClr val="7ECAC4"/>
              </a:solidFill>
            </c:spPr>
          </c:dPt>
          <c:dPt>
            <c:idx val="241"/>
            <c:spPr>
              <a:solidFill>
                <a:srgbClr val="7ECAC4"/>
              </a:solidFill>
            </c:spPr>
          </c:dPt>
          <c:dPt>
            <c:idx val="242"/>
            <c:spPr>
              <a:solidFill>
                <a:srgbClr val="7ECAC4"/>
              </a:solidFill>
            </c:spPr>
          </c:dPt>
          <c:dPt>
            <c:idx val="243"/>
            <c:spPr>
              <a:solidFill>
                <a:srgbClr val="7ECAC4"/>
              </a:solidFill>
            </c:spPr>
          </c:dPt>
          <c:dPt>
            <c:idx val="244"/>
            <c:spPr>
              <a:solidFill>
                <a:srgbClr val="7ECAC4"/>
              </a:solidFill>
            </c:spPr>
          </c:dPt>
          <c:dPt>
            <c:idx val="245"/>
            <c:spPr>
              <a:solidFill>
                <a:srgbClr val="7ECAC4"/>
              </a:solidFill>
            </c:spPr>
          </c:dPt>
          <c:dPt>
            <c:idx val="246"/>
            <c:spPr>
              <a:solidFill>
                <a:srgbClr val="7ECAC4"/>
              </a:solidFill>
            </c:spPr>
          </c:dPt>
          <c:dPt>
            <c:idx val="247"/>
            <c:spPr>
              <a:solidFill>
                <a:srgbClr val="7ECAC4"/>
              </a:solidFill>
            </c:spPr>
          </c:dPt>
          <c:dPt>
            <c:idx val="248"/>
            <c:spPr>
              <a:solidFill>
                <a:srgbClr val="7ECAC4"/>
              </a:solidFill>
            </c:spPr>
          </c:dPt>
          <c:dPt>
            <c:idx val="249"/>
            <c:spPr>
              <a:solidFill>
                <a:srgbClr val="7ECAC4"/>
              </a:solidFill>
            </c:spPr>
          </c:dPt>
          <c:dPt>
            <c:idx val="250"/>
            <c:spPr>
              <a:solidFill>
                <a:srgbClr val="7ECAC4"/>
              </a:solidFill>
            </c:spPr>
          </c:dPt>
          <c:dPt>
            <c:idx val="251"/>
            <c:spPr>
              <a:solidFill>
                <a:srgbClr val="7ECAC4"/>
              </a:solidFill>
            </c:spPr>
          </c:dPt>
          <c:dPt>
            <c:idx val="252"/>
            <c:spPr>
              <a:solidFill>
                <a:srgbClr val="7ECAC4"/>
              </a:solidFill>
            </c:spPr>
          </c:dPt>
          <c:dPt>
            <c:idx val="253"/>
            <c:spPr>
              <a:solidFill>
                <a:srgbClr val="7ECAC4"/>
              </a:solidFill>
            </c:spPr>
          </c:dPt>
          <c:dPt>
            <c:idx val="254"/>
            <c:spPr>
              <a:solidFill>
                <a:srgbClr val="7ECAC4"/>
              </a:solidFill>
            </c:spPr>
          </c:dPt>
          <c:dPt>
            <c:idx val="255"/>
            <c:spPr>
              <a:solidFill>
                <a:srgbClr val="7ECAC4"/>
              </a:solidFill>
            </c:spPr>
          </c:dPt>
          <c:dPt>
            <c:idx val="256"/>
            <c:spPr>
              <a:solidFill>
                <a:srgbClr val="7ECAC4"/>
              </a:solidFill>
            </c:spPr>
          </c:dPt>
          <c:dPt>
            <c:idx val="257"/>
            <c:spPr>
              <a:solidFill>
                <a:srgbClr val="7ECAC4"/>
              </a:solidFill>
            </c:spPr>
          </c:dPt>
          <c:dPt>
            <c:idx val="258"/>
            <c:spPr>
              <a:solidFill>
                <a:srgbClr val="7ECAC4"/>
              </a:solidFill>
            </c:spPr>
          </c:dPt>
          <c:dPt>
            <c:idx val="259"/>
            <c:spPr>
              <a:solidFill>
                <a:srgbClr val="7ECAC4"/>
              </a:solidFill>
            </c:spPr>
          </c:dPt>
          <c:dPt>
            <c:idx val="260"/>
            <c:spPr>
              <a:solidFill>
                <a:srgbClr val="7ECAC4"/>
              </a:solidFill>
            </c:spPr>
          </c:dPt>
          <c:dPt>
            <c:idx val="261"/>
            <c:spPr>
              <a:solidFill>
                <a:srgbClr val="7ECAC4"/>
              </a:solidFill>
            </c:spPr>
          </c:dPt>
          <c:dPt>
            <c:idx val="262"/>
            <c:spPr>
              <a:solidFill>
                <a:srgbClr val="7ECAC4"/>
              </a:solidFill>
            </c:spPr>
          </c:dPt>
          <c:dPt>
            <c:idx val="263"/>
            <c:spPr>
              <a:solidFill>
                <a:srgbClr val="7ECAC4"/>
              </a:solidFill>
            </c:spPr>
          </c:dPt>
          <c:dPt>
            <c:idx val="264"/>
            <c:spPr>
              <a:solidFill>
                <a:srgbClr val="7ECAC4"/>
              </a:solidFill>
            </c:spPr>
          </c:dPt>
          <c:dPt>
            <c:idx val="265"/>
            <c:spPr>
              <a:solidFill>
                <a:srgbClr val="7ECAC4"/>
              </a:solidFill>
            </c:spPr>
          </c:dPt>
          <c:dPt>
            <c:idx val="266"/>
            <c:spPr>
              <a:solidFill>
                <a:srgbClr val="7ECAC4"/>
              </a:solidFill>
            </c:spPr>
          </c:dPt>
          <c:dPt>
            <c:idx val="267"/>
            <c:spPr>
              <a:solidFill>
                <a:srgbClr val="7ECAC4"/>
              </a:solidFill>
            </c:spPr>
          </c:dPt>
          <c:dPt>
            <c:idx val="268"/>
            <c:spPr>
              <a:solidFill>
                <a:srgbClr val="7ECAC4"/>
              </a:solidFill>
            </c:spPr>
          </c:dPt>
          <c:dPt>
            <c:idx val="269"/>
            <c:spPr>
              <a:solidFill>
                <a:srgbClr val="7ECAC4"/>
              </a:solidFill>
            </c:spPr>
          </c:dPt>
          <c:dPt>
            <c:idx val="270"/>
            <c:spPr>
              <a:solidFill>
                <a:srgbClr val="7ECAC4"/>
              </a:solidFill>
            </c:spPr>
          </c:dPt>
          <c:dPt>
            <c:idx val="271"/>
            <c:spPr>
              <a:solidFill>
                <a:srgbClr val="7ECAC4"/>
              </a:solidFill>
            </c:spPr>
          </c:dPt>
          <c:dPt>
            <c:idx val="272"/>
            <c:spPr>
              <a:solidFill>
                <a:srgbClr val="7ECAC4"/>
              </a:solidFill>
            </c:spPr>
          </c:dPt>
          <c:dPt>
            <c:idx val="273"/>
            <c:spPr>
              <a:solidFill>
                <a:srgbClr val="7ECAC4"/>
              </a:solidFill>
            </c:spPr>
          </c:dPt>
          <c:dPt>
            <c:idx val="274"/>
            <c:spPr>
              <a:solidFill>
                <a:srgbClr val="7ECAC4"/>
              </a:solidFill>
            </c:spPr>
          </c:dPt>
          <c:dPt>
            <c:idx val="275"/>
            <c:spPr>
              <a:solidFill>
                <a:srgbClr val="7ECAC4"/>
              </a:solidFill>
            </c:spPr>
          </c:dPt>
          <c:dPt>
            <c:idx val="276"/>
            <c:spPr>
              <a:solidFill>
                <a:srgbClr val="7ECAC4"/>
              </a:solidFill>
            </c:spPr>
          </c:dPt>
          <c:dPt>
            <c:idx val="277"/>
            <c:spPr>
              <a:solidFill>
                <a:srgbClr val="7ECAC4"/>
              </a:solidFill>
            </c:spPr>
          </c:dPt>
          <c:dPt>
            <c:idx val="278"/>
            <c:spPr>
              <a:solidFill>
                <a:srgbClr val="7ECAC4"/>
              </a:solidFill>
            </c:spPr>
          </c:dPt>
          <c:dPt>
            <c:idx val="279"/>
            <c:spPr>
              <a:solidFill>
                <a:srgbClr val="7ECAC4"/>
              </a:solidFill>
            </c:spPr>
          </c:dPt>
          <c:dPt>
            <c:idx val="280"/>
            <c:spPr>
              <a:solidFill>
                <a:srgbClr val="7ECAC4"/>
              </a:solidFill>
            </c:spPr>
          </c:dPt>
          <c:dPt>
            <c:idx val="281"/>
            <c:spPr>
              <a:solidFill>
                <a:srgbClr val="7ECAC4"/>
              </a:solidFill>
            </c:spPr>
          </c:dPt>
          <c:dPt>
            <c:idx val="282"/>
            <c:spPr>
              <a:solidFill>
                <a:srgbClr val="7ECAC4"/>
              </a:solidFill>
            </c:spPr>
          </c:dPt>
          <c:dPt>
            <c:idx val="283"/>
            <c:spPr>
              <a:solidFill>
                <a:srgbClr val="7ECAC4"/>
              </a:solidFill>
            </c:spPr>
          </c:dPt>
          <c:dPt>
            <c:idx val="284"/>
            <c:spPr>
              <a:solidFill>
                <a:srgbClr val="7ECAC4"/>
              </a:solidFill>
            </c:spPr>
          </c:dPt>
          <c:dPt>
            <c:idx val="285"/>
            <c:spPr>
              <a:solidFill>
                <a:srgbClr val="7ECAC4"/>
              </a:solidFill>
            </c:spPr>
          </c:dPt>
          <c:dPt>
            <c:idx val="286"/>
            <c:spPr>
              <a:solidFill>
                <a:srgbClr val="7ECAC4"/>
              </a:solidFill>
            </c:spPr>
          </c:dPt>
          <c:dPt>
            <c:idx val="287"/>
            <c:spPr>
              <a:solidFill>
                <a:srgbClr val="7ECAC4"/>
              </a:solidFill>
            </c:spPr>
          </c:dPt>
          <c:dPt>
            <c:idx val="288"/>
            <c:spPr>
              <a:solidFill>
                <a:srgbClr val="7ECAC4"/>
              </a:solidFill>
            </c:spPr>
          </c:dPt>
          <c:dPt>
            <c:idx val="289"/>
            <c:spPr>
              <a:solidFill>
                <a:srgbClr val="7ECAC4"/>
              </a:solidFill>
            </c:spPr>
          </c:dPt>
          <c:dPt>
            <c:idx val="290"/>
            <c:spPr>
              <a:solidFill>
                <a:srgbClr val="7ECAC4"/>
              </a:solidFill>
            </c:spPr>
          </c:dPt>
          <c:dPt>
            <c:idx val="291"/>
            <c:spPr>
              <a:solidFill>
                <a:srgbClr val="7ECAC4"/>
              </a:solidFill>
            </c:spPr>
          </c:dPt>
          <c:dPt>
            <c:idx val="292"/>
            <c:spPr>
              <a:solidFill>
                <a:srgbClr val="7ECAC4"/>
              </a:solidFill>
            </c:spPr>
          </c:dPt>
          <c:dPt>
            <c:idx val="293"/>
            <c:spPr>
              <a:solidFill>
                <a:srgbClr val="7ECAC4"/>
              </a:solidFill>
            </c:spPr>
          </c:dPt>
          <c:dPt>
            <c:idx val="294"/>
            <c:spPr>
              <a:solidFill>
                <a:srgbClr val="7ECAC4"/>
              </a:solidFill>
            </c:spPr>
          </c:dPt>
          <c:dPt>
            <c:idx val="295"/>
            <c:spPr>
              <a:solidFill>
                <a:srgbClr val="7ECAC4"/>
              </a:solidFill>
            </c:spPr>
          </c:dPt>
          <c:dPt>
            <c:idx val="296"/>
            <c:spPr>
              <a:solidFill>
                <a:srgbClr val="7ECAC4"/>
              </a:solidFill>
            </c:spPr>
          </c:dPt>
          <c:dPt>
            <c:idx val="297"/>
            <c:spPr>
              <a:solidFill>
                <a:srgbClr val="AEABAB"/>
              </a:solidFill>
            </c:spPr>
          </c:dPt>
          <c:dPt>
            <c:idx val="298"/>
            <c:spPr>
              <a:solidFill>
                <a:srgbClr val="AEABAB"/>
              </a:solidFill>
            </c:spPr>
          </c:dPt>
          <c:dPt>
            <c:idx val="299"/>
            <c:spPr>
              <a:solidFill>
                <a:srgbClr val="AEABAB"/>
              </a:solidFill>
            </c:spPr>
          </c:dPt>
          <c:dPt>
            <c:idx val="300"/>
            <c:spPr>
              <a:solidFill>
                <a:srgbClr val="AEABAB"/>
              </a:solidFill>
            </c:spPr>
          </c:dPt>
          <c:dPt>
            <c:idx val="301"/>
            <c:spPr>
              <a:solidFill>
                <a:srgbClr val="AEABAB"/>
              </a:solidFill>
            </c:spPr>
          </c:dPt>
          <c:dPt>
            <c:idx val="302"/>
            <c:spPr>
              <a:solidFill>
                <a:srgbClr val="AEABAB"/>
              </a:solidFill>
            </c:spPr>
          </c:dPt>
          <c:dPt>
            <c:idx val="303"/>
            <c:spPr>
              <a:solidFill>
                <a:srgbClr val="AEABAB"/>
              </a:solidFill>
            </c:spPr>
          </c:dPt>
          <c:dPt>
            <c:idx val="304"/>
            <c:spPr>
              <a:solidFill>
                <a:srgbClr val="AEABAB"/>
              </a:solidFill>
            </c:spPr>
          </c:dPt>
          <c:dPt>
            <c:idx val="305"/>
            <c:spPr>
              <a:solidFill>
                <a:srgbClr val="AEABAB"/>
              </a:solidFill>
            </c:spPr>
          </c:dPt>
          <c:dPt>
            <c:idx val="306"/>
            <c:spPr>
              <a:solidFill>
                <a:srgbClr val="AEABAB"/>
              </a:solidFill>
            </c:spPr>
          </c:dPt>
          <c:dPt>
            <c:idx val="307"/>
            <c:spPr>
              <a:solidFill>
                <a:srgbClr val="AEABAB"/>
              </a:solidFill>
            </c:spPr>
          </c:dPt>
          <c:dPt>
            <c:idx val="308"/>
            <c:spPr>
              <a:solidFill>
                <a:srgbClr val="AEABAB"/>
              </a:solidFill>
            </c:spPr>
          </c:dPt>
          <c:dPt>
            <c:idx val="309"/>
            <c:spPr>
              <a:solidFill>
                <a:srgbClr val="AEABAB"/>
              </a:solidFill>
            </c:spPr>
          </c:dPt>
          <c:dPt>
            <c:idx val="310"/>
            <c:spPr>
              <a:solidFill>
                <a:srgbClr val="AEABAB"/>
              </a:solidFill>
            </c:spPr>
          </c:dPt>
          <c:dPt>
            <c:idx val="311"/>
            <c:spPr>
              <a:solidFill>
                <a:srgbClr val="AEABAB"/>
              </a:solidFill>
            </c:spPr>
          </c:dPt>
          <c:dPt>
            <c:idx val="312"/>
            <c:spPr>
              <a:solidFill>
                <a:srgbClr val="AEABAB"/>
              </a:solidFill>
            </c:spPr>
          </c:dPt>
          <c:dPt>
            <c:idx val="313"/>
            <c:spPr>
              <a:solidFill>
                <a:srgbClr val="AEABAB"/>
              </a:solidFill>
            </c:spPr>
          </c:dPt>
          <c:dPt>
            <c:idx val="314"/>
            <c:spPr>
              <a:solidFill>
                <a:srgbClr val="AEABAB"/>
              </a:solidFill>
            </c:spPr>
          </c:dPt>
          <c:dPt>
            <c:idx val="315"/>
            <c:spPr>
              <a:solidFill>
                <a:srgbClr val="AEABAB"/>
              </a:solidFill>
            </c:spPr>
          </c:dPt>
          <c:dPt>
            <c:idx val="316"/>
            <c:spPr>
              <a:solidFill>
                <a:srgbClr val="AEABAB"/>
              </a:solidFill>
            </c:spPr>
          </c:dPt>
          <c:dPt>
            <c:idx val="317"/>
            <c:spPr>
              <a:solidFill>
                <a:srgbClr val="AEABAB"/>
              </a:solidFill>
            </c:spPr>
          </c:dPt>
          <c:dPt>
            <c:idx val="318"/>
            <c:spPr>
              <a:solidFill>
                <a:srgbClr val="AEABAB"/>
              </a:solidFill>
            </c:spPr>
          </c:dPt>
          <c:dPt>
            <c:idx val="319"/>
            <c:spPr>
              <a:solidFill>
                <a:srgbClr val="AEABAB"/>
              </a:solidFill>
            </c:spPr>
          </c:dPt>
          <c:dPt>
            <c:idx val="320"/>
            <c:spPr>
              <a:solidFill>
                <a:srgbClr val="AEABAB"/>
              </a:solidFill>
            </c:spPr>
          </c:dPt>
          <c:dPt>
            <c:idx val="321"/>
            <c:spPr>
              <a:solidFill>
                <a:srgbClr val="AEABAB"/>
              </a:solidFill>
            </c:spPr>
          </c:dPt>
          <c:dPt>
            <c:idx val="322"/>
            <c:spPr>
              <a:solidFill>
                <a:srgbClr val="AEABAB"/>
              </a:solidFill>
            </c:spPr>
          </c:dPt>
          <c:dPt>
            <c:idx val="323"/>
            <c:spPr>
              <a:solidFill>
                <a:srgbClr val="AEABAB"/>
              </a:solidFill>
            </c:spPr>
          </c:dPt>
          <c:dPt>
            <c:idx val="324"/>
            <c:spPr>
              <a:solidFill>
                <a:srgbClr val="AEABAB"/>
              </a:solidFill>
            </c:spPr>
          </c:dPt>
          <c:dPt>
            <c:idx val="325"/>
            <c:spPr>
              <a:solidFill>
                <a:srgbClr val="AEABAB"/>
              </a:solidFill>
            </c:spPr>
          </c:dPt>
          <c:dPt>
            <c:idx val="326"/>
            <c:spPr>
              <a:solidFill>
                <a:srgbClr val="AEABAB"/>
              </a:solidFill>
            </c:spPr>
          </c:dPt>
          <c:dPt>
            <c:idx val="327"/>
            <c:spPr>
              <a:solidFill>
                <a:srgbClr val="AEABAB"/>
              </a:solidFill>
            </c:spPr>
          </c:dPt>
          <c:dPt>
            <c:idx val="328"/>
            <c:spPr>
              <a:solidFill>
                <a:srgbClr val="AEABAB"/>
              </a:solidFill>
            </c:spPr>
          </c:dPt>
          <c:dPt>
            <c:idx val="329"/>
            <c:spPr>
              <a:solidFill>
                <a:srgbClr val="AEABAB"/>
              </a:solidFill>
            </c:spPr>
          </c:dPt>
          <c:dPt>
            <c:idx val="330"/>
            <c:spPr>
              <a:solidFill>
                <a:srgbClr val="AEABAB"/>
              </a:solidFill>
            </c:spPr>
          </c:dPt>
          <c:dPt>
            <c:idx val="331"/>
            <c:spPr>
              <a:solidFill>
                <a:srgbClr val="AEABAB"/>
              </a:solidFill>
            </c:spPr>
          </c:dPt>
          <c:dPt>
            <c:idx val="332"/>
            <c:spPr>
              <a:solidFill>
                <a:srgbClr val="AEABAB"/>
              </a:solidFill>
            </c:spPr>
          </c:dPt>
          <c:dPt>
            <c:idx val="333"/>
            <c:spPr>
              <a:solidFill>
                <a:srgbClr val="AEABAB"/>
              </a:solidFill>
            </c:spPr>
          </c:dPt>
          <c:dPt>
            <c:idx val="334"/>
            <c:spPr>
              <a:solidFill>
                <a:srgbClr val="AEABAB"/>
              </a:solidFill>
            </c:spPr>
          </c:dPt>
          <c:dPt>
            <c:idx val="335"/>
            <c:spPr>
              <a:solidFill>
                <a:srgbClr val="AEABAB"/>
              </a:solidFill>
            </c:spPr>
          </c:dPt>
          <c:dPt>
            <c:idx val="336"/>
            <c:spPr>
              <a:solidFill>
                <a:srgbClr val="AEABAB"/>
              </a:solidFill>
            </c:spPr>
          </c:dPt>
          <c:dPt>
            <c:idx val="337"/>
            <c:spPr>
              <a:solidFill>
                <a:srgbClr val="AEABAB"/>
              </a:solidFill>
            </c:spPr>
          </c:dPt>
          <c:dPt>
            <c:idx val="338"/>
            <c:spPr>
              <a:solidFill>
                <a:srgbClr val="AEABAB"/>
              </a:solidFill>
            </c:spPr>
          </c:dPt>
          <c:dPt>
            <c:idx val="339"/>
            <c:spPr>
              <a:solidFill>
                <a:srgbClr val="AEABAB"/>
              </a:solidFill>
            </c:spPr>
          </c:dPt>
          <c:dPt>
            <c:idx val="340"/>
            <c:spPr>
              <a:solidFill>
                <a:srgbClr val="AEABAB"/>
              </a:solidFill>
            </c:spPr>
          </c:dPt>
          <c:dPt>
            <c:idx val="341"/>
            <c:spPr>
              <a:solidFill>
                <a:srgbClr val="AEABAB"/>
              </a:solidFill>
            </c:spPr>
          </c:dPt>
          <c:dPt>
            <c:idx val="342"/>
            <c:spPr>
              <a:solidFill>
                <a:srgbClr val="AEABAB"/>
              </a:solidFill>
            </c:spPr>
          </c:dPt>
          <c:dPt>
            <c:idx val="343"/>
            <c:spPr>
              <a:solidFill>
                <a:srgbClr val="AEABAB"/>
              </a:solidFill>
            </c:spPr>
          </c:dPt>
          <c:dPt>
            <c:idx val="344"/>
            <c:spPr>
              <a:solidFill>
                <a:srgbClr val="AEABAB"/>
              </a:solidFill>
            </c:spPr>
          </c:dPt>
          <c:dPt>
            <c:idx val="345"/>
            <c:spPr>
              <a:solidFill>
                <a:srgbClr val="AEABAB"/>
              </a:solidFill>
            </c:spPr>
          </c:dPt>
          <c:dPt>
            <c:idx val="346"/>
            <c:spPr>
              <a:solidFill>
                <a:srgbClr val="AEABAB"/>
              </a:solidFill>
            </c:spPr>
          </c:dPt>
          <c:dPt>
            <c:idx val="347"/>
            <c:spPr>
              <a:solidFill>
                <a:srgbClr val="AEABAB"/>
              </a:solidFill>
            </c:spPr>
          </c:dPt>
          <c:dPt>
            <c:idx val="348"/>
            <c:spPr>
              <a:solidFill>
                <a:srgbClr val="AEABAB"/>
              </a:solidFill>
            </c:spPr>
          </c:dPt>
          <c:dPt>
            <c:idx val="349"/>
            <c:spPr>
              <a:solidFill>
                <a:srgbClr val="AEABAB"/>
              </a:solidFill>
            </c:spPr>
          </c:dPt>
          <c:dPt>
            <c:idx val="350"/>
            <c:spPr>
              <a:solidFill>
                <a:srgbClr val="AEABAB"/>
              </a:solidFill>
            </c:spPr>
          </c:dPt>
          <c:dPt>
            <c:idx val="351"/>
            <c:spPr>
              <a:solidFill>
                <a:srgbClr val="AEABAB"/>
              </a:solidFill>
            </c:spPr>
          </c:dPt>
          <c:dPt>
            <c:idx val="352"/>
            <c:spPr>
              <a:solidFill>
                <a:srgbClr val="AEABAB"/>
              </a:solidFill>
            </c:spPr>
          </c:dPt>
          <c:dPt>
            <c:idx val="353"/>
            <c:spPr>
              <a:solidFill>
                <a:srgbClr val="AEABAB"/>
              </a:solidFill>
            </c:spPr>
          </c:dPt>
          <c:dPt>
            <c:idx val="354"/>
            <c:spPr>
              <a:solidFill>
                <a:srgbClr val="AEABAB"/>
              </a:solidFill>
            </c:spPr>
          </c:dPt>
          <c:dPt>
            <c:idx val="355"/>
            <c:spPr>
              <a:solidFill>
                <a:srgbClr val="AEABAB"/>
              </a:solidFill>
            </c:spPr>
          </c:dPt>
          <c:dPt>
            <c:idx val="356"/>
            <c:spPr>
              <a:solidFill>
                <a:srgbClr val="AEABAB"/>
              </a:solidFill>
            </c:spPr>
          </c:dPt>
          <c:dPt>
            <c:idx val="357"/>
            <c:spPr>
              <a:solidFill>
                <a:srgbClr val="AEABAB"/>
              </a:solidFill>
            </c:spPr>
          </c:dPt>
          <c:dPt>
            <c:idx val="358"/>
            <c:spPr>
              <a:solidFill>
                <a:srgbClr val="AEABAB"/>
              </a:solidFill>
            </c:spPr>
          </c:dPt>
          <c:dPt>
            <c:idx val="359"/>
            <c:spPr>
              <a:solidFill>
                <a:srgbClr val="AEABAB"/>
              </a:solidFill>
            </c:spPr>
          </c:dPt>
          <c:dPt>
            <c:idx val="360"/>
            <c:spPr>
              <a:solidFill>
                <a:srgbClr val="AEABAB"/>
              </a:solidFill>
            </c:spPr>
          </c:dPt>
          <c:dPt>
            <c:idx val="361"/>
            <c:spPr>
              <a:solidFill>
                <a:srgbClr val="AEABAB"/>
              </a:solidFill>
            </c:spPr>
          </c:dPt>
          <c:dPt>
            <c:idx val="362"/>
            <c:spPr>
              <a:solidFill>
                <a:srgbClr val="AEABAB"/>
              </a:solidFill>
            </c:spPr>
          </c:dPt>
          <c:dPt>
            <c:idx val="363"/>
            <c:spPr>
              <a:solidFill>
                <a:srgbClr val="AEABAB"/>
              </a:solidFill>
            </c:spPr>
          </c:dPt>
          <c:dPt>
            <c:idx val="364"/>
            <c:spPr>
              <a:solidFill>
                <a:srgbClr val="AEABAB"/>
              </a:solidFill>
            </c:spPr>
          </c:dPt>
          <c:dPt>
            <c:idx val="365"/>
            <c:spPr>
              <a:solidFill>
                <a:srgbClr val="AEABAB"/>
              </a:solidFill>
            </c:spPr>
          </c:dPt>
          <c:dPt>
            <c:idx val="366"/>
            <c:spPr>
              <a:solidFill>
                <a:srgbClr val="AEABAB"/>
              </a:solidFill>
            </c:spPr>
          </c:dPt>
          <c:dPt>
            <c:idx val="367"/>
            <c:spPr>
              <a:solidFill>
                <a:srgbClr val="AEABAB"/>
              </a:solidFill>
            </c:spPr>
          </c:dPt>
          <c:dPt>
            <c:idx val="368"/>
            <c:spPr>
              <a:solidFill>
                <a:srgbClr val="AEABAB"/>
              </a:solidFill>
            </c:spPr>
          </c:dPt>
          <c:dPt>
            <c:idx val="369"/>
            <c:spPr>
              <a:solidFill>
                <a:srgbClr val="AEABAB"/>
              </a:solidFill>
            </c:spPr>
          </c:dPt>
          <c:dPt>
            <c:idx val="370"/>
            <c:spPr>
              <a:solidFill>
                <a:srgbClr val="AEABAB"/>
              </a:solidFill>
            </c:spPr>
          </c:dPt>
          <c:dPt>
            <c:idx val="371"/>
            <c:spPr>
              <a:solidFill>
                <a:srgbClr val="AEABAB"/>
              </a:solidFill>
            </c:spPr>
          </c:dPt>
          <c:dPt>
            <c:idx val="372"/>
            <c:spPr>
              <a:solidFill>
                <a:srgbClr val="AEABAB"/>
              </a:solidFill>
            </c:spPr>
          </c:dPt>
          <c:dPt>
            <c:idx val="373"/>
            <c:spPr>
              <a:solidFill>
                <a:srgbClr val="AEABAB"/>
              </a:solidFill>
            </c:spPr>
          </c:dPt>
          <c:dPt>
            <c:idx val="374"/>
            <c:spPr>
              <a:solidFill>
                <a:srgbClr val="AEABAB"/>
              </a:solidFill>
            </c:spPr>
          </c:dPt>
          <c:dPt>
            <c:idx val="375"/>
            <c:spPr>
              <a:solidFill>
                <a:srgbClr val="AEABAB"/>
              </a:solidFill>
            </c:spPr>
          </c:dPt>
          <c:dPt>
            <c:idx val="376"/>
            <c:spPr>
              <a:solidFill>
                <a:srgbClr val="AEABAB"/>
              </a:solidFill>
            </c:spPr>
          </c:dPt>
          <c:dPt>
            <c:idx val="377"/>
            <c:spPr>
              <a:solidFill>
                <a:srgbClr val="AEABAB"/>
              </a:solidFill>
            </c:spPr>
          </c:dPt>
          <c:dPt>
            <c:idx val="378"/>
            <c:spPr>
              <a:solidFill>
                <a:srgbClr val="AEABAB"/>
              </a:solidFill>
            </c:spPr>
          </c:dPt>
          <c:dPt>
            <c:idx val="379"/>
            <c:spPr>
              <a:solidFill>
                <a:srgbClr val="AEABAB"/>
              </a:solidFill>
            </c:spPr>
          </c:dPt>
          <c:dPt>
            <c:idx val="380"/>
            <c:spPr>
              <a:solidFill>
                <a:srgbClr val="AEABAB"/>
              </a:solidFill>
            </c:spPr>
          </c:dPt>
          <c:dPt>
            <c:idx val="381"/>
            <c:spPr>
              <a:solidFill>
                <a:srgbClr val="AEABAB"/>
              </a:solidFill>
            </c:spPr>
          </c:dPt>
          <c:dPt>
            <c:idx val="382"/>
            <c:spPr>
              <a:solidFill>
                <a:srgbClr val="AEABAB"/>
              </a:solidFill>
            </c:spPr>
          </c:dPt>
          <c:dPt>
            <c:idx val="383"/>
            <c:spPr>
              <a:solidFill>
                <a:srgbClr val="AEABAB"/>
              </a:solidFill>
            </c:spPr>
          </c:dPt>
          <c:dPt>
            <c:idx val="384"/>
            <c:spPr>
              <a:solidFill>
                <a:srgbClr val="AEABAB"/>
              </a:solidFill>
            </c:spPr>
          </c:dPt>
          <c:dPt>
            <c:idx val="385"/>
            <c:spPr>
              <a:solidFill>
                <a:srgbClr val="AEABAB"/>
              </a:solidFill>
            </c:spPr>
          </c:dPt>
          <c:dPt>
            <c:idx val="386"/>
            <c:spPr>
              <a:solidFill>
                <a:srgbClr val="AEABAB"/>
              </a:solidFill>
            </c:spPr>
          </c:dPt>
          <c:dPt>
            <c:idx val="387"/>
            <c:spPr>
              <a:solidFill>
                <a:srgbClr val="AEABAB"/>
              </a:solidFill>
            </c:spPr>
          </c:dPt>
          <c:dPt>
            <c:idx val="388"/>
            <c:spPr>
              <a:solidFill>
                <a:srgbClr val="AEABAB"/>
              </a:solidFill>
            </c:spPr>
          </c:dPt>
          <c:dPt>
            <c:idx val="389"/>
            <c:spPr>
              <a:solidFill>
                <a:srgbClr val="AEABAB"/>
              </a:solidFill>
            </c:spPr>
          </c:dPt>
          <c:dPt>
            <c:idx val="390"/>
            <c:spPr>
              <a:solidFill>
                <a:srgbClr val="AEABAB"/>
              </a:solidFill>
            </c:spPr>
          </c:dPt>
          <c:dPt>
            <c:idx val="391"/>
            <c:spPr>
              <a:solidFill>
                <a:srgbClr val="AEABAB"/>
              </a:solidFill>
            </c:spPr>
          </c:dPt>
          <c:dPt>
            <c:idx val="392"/>
            <c:spPr>
              <a:solidFill>
                <a:srgbClr val="AEABAB"/>
              </a:solidFill>
            </c:spPr>
          </c:dPt>
          <c:dPt>
            <c:idx val="393"/>
            <c:spPr>
              <a:solidFill>
                <a:srgbClr val="AEABAB"/>
              </a:solidFill>
            </c:spPr>
          </c:dPt>
          <c:dPt>
            <c:idx val="394"/>
            <c:spPr>
              <a:solidFill>
                <a:srgbClr val="AEABAB"/>
              </a:solidFill>
            </c:spPr>
          </c:dPt>
          <c:dPt>
            <c:idx val="395"/>
            <c:spPr>
              <a:solidFill>
                <a:srgbClr val="AEABAB"/>
              </a:solidFill>
            </c:spPr>
          </c:dPt>
          <c:dPt>
            <c:idx val="396"/>
            <c:spPr>
              <a:solidFill>
                <a:srgbClr val="AEABAB"/>
              </a:solidFill>
            </c:spPr>
          </c:dPt>
          <c:dPt>
            <c:idx val="397"/>
            <c:spPr>
              <a:solidFill>
                <a:srgbClr val="AEABAB"/>
              </a:solidFill>
            </c:spPr>
          </c:dPt>
          <c:dPt>
            <c:idx val="398"/>
            <c:spPr>
              <a:solidFill>
                <a:srgbClr val="AEABAB"/>
              </a:solidFill>
            </c:spPr>
          </c:dPt>
          <c:dPt>
            <c:idx val="399"/>
            <c:spPr>
              <a:solidFill>
                <a:srgbClr val="AEABAB"/>
              </a:solidFill>
            </c:spPr>
          </c:dPt>
          <c:dPt>
            <c:idx val="400"/>
            <c:spPr>
              <a:solidFill>
                <a:srgbClr val="AEABAB"/>
              </a:solidFill>
            </c:spPr>
          </c:dPt>
          <c:dPt>
            <c:idx val="401"/>
            <c:spPr>
              <a:solidFill>
                <a:srgbClr val="AEABAB"/>
              </a:solidFill>
            </c:spPr>
          </c:dPt>
          <c:dPt>
            <c:idx val="402"/>
            <c:spPr>
              <a:solidFill>
                <a:srgbClr val="AEABAB"/>
              </a:solidFill>
            </c:spPr>
          </c:dPt>
          <c:dPt>
            <c:idx val="403"/>
            <c:spPr>
              <a:solidFill>
                <a:srgbClr val="AEABAB"/>
              </a:solidFill>
            </c:spPr>
          </c:dPt>
          <c:dPt>
            <c:idx val="404"/>
            <c:spPr>
              <a:solidFill>
                <a:srgbClr val="AEABAB"/>
              </a:solidFill>
            </c:spPr>
          </c:dPt>
          <c:dPt>
            <c:idx val="405"/>
            <c:spPr>
              <a:solidFill>
                <a:srgbClr val="AEABAB"/>
              </a:solidFill>
            </c:spPr>
          </c:dPt>
          <c:dPt>
            <c:idx val="406"/>
            <c:spPr>
              <a:solidFill>
                <a:srgbClr val="AEABAB"/>
              </a:solidFill>
            </c:spPr>
          </c:dPt>
          <c:dPt>
            <c:idx val="407"/>
            <c:spPr>
              <a:solidFill>
                <a:srgbClr val="AEABAB"/>
              </a:solidFill>
            </c:spPr>
          </c:dPt>
          <c:dPt>
            <c:idx val="408"/>
            <c:spPr>
              <a:solidFill>
                <a:srgbClr val="AEABAB"/>
              </a:solidFill>
            </c:spPr>
          </c:dPt>
          <c:dPt>
            <c:idx val="409"/>
            <c:spPr>
              <a:solidFill>
                <a:srgbClr val="AEABAB"/>
              </a:solidFill>
            </c:spPr>
          </c:dPt>
          <c:dPt>
            <c:idx val="410"/>
            <c:spPr>
              <a:solidFill>
                <a:srgbClr val="AEABAB"/>
              </a:solidFill>
            </c:spPr>
          </c:dPt>
          <c:dPt>
            <c:idx val="411"/>
            <c:spPr>
              <a:solidFill>
                <a:srgbClr val="AEABAB"/>
              </a:solidFill>
            </c:spPr>
          </c:dPt>
          <c:dPt>
            <c:idx val="412"/>
            <c:spPr>
              <a:solidFill>
                <a:srgbClr val="AEABAB"/>
              </a:solidFill>
            </c:spPr>
          </c:dPt>
          <c:dPt>
            <c:idx val="413"/>
            <c:spPr>
              <a:solidFill>
                <a:srgbClr val="AEABAB"/>
              </a:solidFill>
            </c:spPr>
          </c:dPt>
          <c:dPt>
            <c:idx val="414"/>
            <c:spPr>
              <a:solidFill>
                <a:srgbClr val="AEABAB"/>
              </a:solidFill>
            </c:spPr>
          </c:dPt>
          <c:dPt>
            <c:idx val="415"/>
            <c:spPr>
              <a:solidFill>
                <a:srgbClr val="AEABAB"/>
              </a:solidFill>
            </c:spPr>
          </c:dPt>
          <c:dPt>
            <c:idx val="416"/>
            <c:spPr>
              <a:solidFill>
                <a:srgbClr val="AEABAB"/>
              </a:solidFill>
            </c:spPr>
          </c:dPt>
          <c:dPt>
            <c:idx val="417"/>
            <c:spPr>
              <a:solidFill>
                <a:srgbClr val="AEABAB"/>
              </a:solidFill>
            </c:spPr>
          </c:dPt>
          <c:dPt>
            <c:idx val="418"/>
            <c:spPr>
              <a:solidFill>
                <a:srgbClr val="AEABAB"/>
              </a:solidFill>
            </c:spPr>
          </c:dPt>
          <c:dPt>
            <c:idx val="419"/>
            <c:spPr>
              <a:solidFill>
                <a:srgbClr val="AEABAB"/>
              </a:solidFill>
            </c:spPr>
          </c:dPt>
          <c:dPt>
            <c:idx val="420"/>
            <c:spPr>
              <a:solidFill>
                <a:srgbClr val="AEABAB"/>
              </a:solidFill>
            </c:spPr>
          </c:dPt>
          <c:dPt>
            <c:idx val="421"/>
            <c:spPr>
              <a:solidFill>
                <a:srgbClr val="AEABAB"/>
              </a:solidFill>
            </c:spPr>
          </c:dPt>
          <c:dPt>
            <c:idx val="422"/>
            <c:spPr>
              <a:solidFill>
                <a:srgbClr val="AEABAB"/>
              </a:solidFill>
            </c:spPr>
          </c:dPt>
          <c:dPt>
            <c:idx val="423"/>
            <c:spPr>
              <a:solidFill>
                <a:srgbClr val="AEABAB"/>
              </a:solidFill>
            </c:spPr>
          </c:dPt>
          <c:dPt>
            <c:idx val="424"/>
            <c:spPr>
              <a:solidFill>
                <a:srgbClr val="AEABAB"/>
              </a:solidFill>
            </c:spPr>
          </c:dPt>
          <c:dPt>
            <c:idx val="425"/>
            <c:spPr>
              <a:solidFill>
                <a:srgbClr val="AEABAB"/>
              </a:solidFill>
            </c:spPr>
          </c:dPt>
          <c:dPt>
            <c:idx val="426"/>
            <c:spPr>
              <a:solidFill>
                <a:srgbClr val="AEABAB"/>
              </a:solidFill>
            </c:spPr>
          </c:dPt>
          <c:dPt>
            <c:idx val="427"/>
            <c:spPr>
              <a:solidFill>
                <a:srgbClr val="AEABAB"/>
              </a:solidFill>
            </c:spPr>
          </c:dPt>
          <c:dPt>
            <c:idx val="428"/>
            <c:spPr>
              <a:solidFill>
                <a:srgbClr val="AEABAB"/>
              </a:solidFill>
            </c:spPr>
          </c:dPt>
          <c:dPt>
            <c:idx val="429"/>
            <c:spPr>
              <a:solidFill>
                <a:srgbClr val="AEABAB"/>
              </a:solidFill>
            </c:spPr>
          </c:dPt>
          <c:dPt>
            <c:idx val="430"/>
            <c:spPr>
              <a:solidFill>
                <a:srgbClr val="AEABAB"/>
              </a:solidFill>
            </c:spPr>
          </c:dPt>
          <c:dPt>
            <c:idx val="431"/>
            <c:spPr>
              <a:solidFill>
                <a:srgbClr val="AEABAB"/>
              </a:solidFill>
            </c:spPr>
          </c:dPt>
          <c:dPt>
            <c:idx val="432"/>
            <c:spPr>
              <a:solidFill>
                <a:srgbClr val="AEABAB"/>
              </a:solidFill>
            </c:spPr>
          </c:dPt>
          <c:dPt>
            <c:idx val="433"/>
            <c:spPr>
              <a:solidFill>
                <a:srgbClr val="AEABAB"/>
              </a:solidFill>
            </c:spPr>
          </c:dPt>
          <c:dPt>
            <c:idx val="434"/>
            <c:spPr>
              <a:solidFill>
                <a:srgbClr val="AEABAB"/>
              </a:solidFill>
            </c:spPr>
          </c:dPt>
          <c:dPt>
            <c:idx val="435"/>
            <c:spPr>
              <a:solidFill>
                <a:srgbClr val="AEABAB"/>
              </a:solidFill>
            </c:spPr>
          </c:dPt>
          <c:dPt>
            <c:idx val="436"/>
            <c:spPr>
              <a:solidFill>
                <a:srgbClr val="AEABAB"/>
              </a:solidFill>
            </c:spPr>
          </c:dPt>
          <c:dPt>
            <c:idx val="437"/>
            <c:spPr>
              <a:solidFill>
                <a:srgbClr val="AEABAB"/>
              </a:solidFill>
            </c:spPr>
          </c:dPt>
          <c:dPt>
            <c:idx val="438"/>
            <c:spPr>
              <a:solidFill>
                <a:srgbClr val="AEABAB"/>
              </a:solidFill>
            </c:spPr>
          </c:dPt>
          <c:dPt>
            <c:idx val="439"/>
            <c:spPr>
              <a:solidFill>
                <a:srgbClr val="AEABAB"/>
              </a:solidFill>
            </c:spPr>
          </c:dPt>
          <c:dPt>
            <c:idx val="440"/>
            <c:spPr>
              <a:solidFill>
                <a:srgbClr val="AEABAB"/>
              </a:solidFill>
            </c:spPr>
          </c:dPt>
          <c:dPt>
            <c:idx val="441"/>
            <c:spPr>
              <a:solidFill>
                <a:srgbClr val="AEABAB"/>
              </a:solidFill>
            </c:spPr>
          </c:dPt>
          <c:dPt>
            <c:idx val="442"/>
            <c:spPr>
              <a:solidFill>
                <a:srgbClr val="AEABAB"/>
              </a:solidFill>
            </c:spPr>
          </c:dPt>
          <c:dPt>
            <c:idx val="443"/>
            <c:spPr>
              <a:solidFill>
                <a:srgbClr val="AEABAB"/>
              </a:solidFill>
            </c:spPr>
          </c:dPt>
          <c:dPt>
            <c:idx val="444"/>
            <c:spPr>
              <a:solidFill>
                <a:srgbClr val="AEABAB"/>
              </a:solidFill>
            </c:spPr>
          </c:dPt>
          <c:dPt>
            <c:idx val="445"/>
            <c:spPr>
              <a:solidFill>
                <a:srgbClr val="AEABAB"/>
              </a:solidFill>
            </c:spPr>
          </c:dPt>
          <c:dPt>
            <c:idx val="446"/>
            <c:spPr>
              <a:solidFill>
                <a:srgbClr val="AEABAB"/>
              </a:solidFill>
            </c:spPr>
          </c:dPt>
          <c:dPt>
            <c:idx val="447"/>
            <c:spPr>
              <a:solidFill>
                <a:srgbClr val="AEABAB"/>
              </a:solidFill>
            </c:spPr>
          </c:dPt>
          <c:dPt>
            <c:idx val="448"/>
            <c:spPr>
              <a:solidFill>
                <a:srgbClr val="AEABAB"/>
              </a:solidFill>
            </c:spPr>
          </c:dPt>
          <c:dPt>
            <c:idx val="449"/>
            <c:spPr>
              <a:solidFill>
                <a:srgbClr val="AEABAB"/>
              </a:solidFill>
            </c:spPr>
          </c:dPt>
          <c:dPt>
            <c:idx val="450"/>
            <c:spPr>
              <a:solidFill>
                <a:srgbClr val="AEABAB"/>
              </a:solidFill>
            </c:spPr>
          </c:dPt>
          <c:dPt>
            <c:idx val="451"/>
            <c:spPr>
              <a:solidFill>
                <a:srgbClr val="AEABAB"/>
              </a:solidFill>
            </c:spPr>
          </c:dPt>
          <c:dPt>
            <c:idx val="452"/>
            <c:spPr>
              <a:solidFill>
                <a:srgbClr val="AEABAB"/>
              </a:solidFill>
            </c:spPr>
          </c:dPt>
          <c:dPt>
            <c:idx val="453"/>
            <c:spPr>
              <a:solidFill>
                <a:srgbClr val="AEABAB"/>
              </a:solidFill>
            </c:spPr>
          </c:dPt>
          <c:dPt>
            <c:idx val="454"/>
            <c:spPr>
              <a:solidFill>
                <a:srgbClr val="AEABAB"/>
              </a:solidFill>
            </c:spPr>
          </c:dPt>
          <c:dPt>
            <c:idx val="455"/>
            <c:spPr>
              <a:solidFill>
                <a:srgbClr val="AEABAB"/>
              </a:solidFill>
            </c:spPr>
          </c:dPt>
          <c:dPt>
            <c:idx val="456"/>
            <c:spPr>
              <a:solidFill>
                <a:srgbClr val="AEABAB"/>
              </a:solidFill>
            </c:spPr>
          </c:dPt>
          <c:dPt>
            <c:idx val="457"/>
            <c:spPr>
              <a:solidFill>
                <a:srgbClr val="AEABAB"/>
              </a:solidFill>
            </c:spPr>
          </c:dPt>
          <c:dPt>
            <c:idx val="458"/>
            <c:spPr>
              <a:solidFill>
                <a:srgbClr val="AEABAB"/>
              </a:solidFill>
            </c:spPr>
          </c:dPt>
          <c:dPt>
            <c:idx val="459"/>
            <c:spPr>
              <a:solidFill>
                <a:srgbClr val="AEABAB"/>
              </a:solidFill>
            </c:spPr>
          </c:dPt>
          <c:dPt>
            <c:idx val="460"/>
            <c:spPr>
              <a:solidFill>
                <a:srgbClr val="AEABAB"/>
              </a:solidFill>
            </c:spPr>
          </c:dPt>
          <c:dPt>
            <c:idx val="461"/>
            <c:spPr>
              <a:solidFill>
                <a:srgbClr val="AEABAB"/>
              </a:solidFill>
            </c:spPr>
          </c:dPt>
          <c:dPt>
            <c:idx val="462"/>
            <c:spPr>
              <a:solidFill>
                <a:srgbClr val="AEABAB"/>
              </a:solidFill>
            </c:spPr>
          </c:dPt>
          <c:dPt>
            <c:idx val="463"/>
            <c:spPr>
              <a:solidFill>
                <a:srgbClr val="AEABAB"/>
              </a:solidFill>
            </c:spPr>
          </c:dPt>
          <c:dPt>
            <c:idx val="464"/>
            <c:spPr>
              <a:solidFill>
                <a:srgbClr val="AEABAB"/>
              </a:solidFill>
            </c:spPr>
          </c:dPt>
          <c:dPt>
            <c:idx val="465"/>
            <c:spPr>
              <a:solidFill>
                <a:srgbClr val="AEABAB"/>
              </a:solidFill>
            </c:spPr>
          </c:dPt>
          <c:dPt>
            <c:idx val="466"/>
            <c:spPr>
              <a:solidFill>
                <a:srgbClr val="AEABAB"/>
              </a:solidFill>
            </c:spPr>
          </c:dPt>
          <c:dPt>
            <c:idx val="467"/>
            <c:spPr>
              <a:solidFill>
                <a:srgbClr val="AEABAB"/>
              </a:solidFill>
            </c:spPr>
          </c:dPt>
          <c:dPt>
            <c:idx val="468"/>
            <c:spPr>
              <a:solidFill>
                <a:srgbClr val="AEABAB"/>
              </a:solidFill>
            </c:spPr>
          </c:dPt>
          <c:dPt>
            <c:idx val="469"/>
            <c:spPr>
              <a:solidFill>
                <a:srgbClr val="AEABAB"/>
              </a:solidFill>
            </c:spPr>
          </c:dPt>
          <c:dPt>
            <c:idx val="470"/>
            <c:spPr>
              <a:solidFill>
                <a:srgbClr val="AEABAB"/>
              </a:solidFill>
            </c:spPr>
          </c:dPt>
          <c:dPt>
            <c:idx val="471"/>
            <c:spPr>
              <a:solidFill>
                <a:srgbClr val="AEABAB"/>
              </a:solidFill>
            </c:spPr>
          </c:dPt>
          <c:dPt>
            <c:idx val="472"/>
            <c:spPr>
              <a:solidFill>
                <a:srgbClr val="AEABAB"/>
              </a:solidFill>
            </c:spPr>
          </c:dPt>
          <c:dPt>
            <c:idx val="473"/>
            <c:spPr>
              <a:solidFill>
                <a:srgbClr val="AEABAB"/>
              </a:solidFill>
            </c:spPr>
          </c:dPt>
          <c:dPt>
            <c:idx val="474"/>
            <c:spPr>
              <a:solidFill>
                <a:srgbClr val="AEABAB"/>
              </a:solidFill>
            </c:spPr>
          </c:dPt>
          <c:dPt>
            <c:idx val="475"/>
            <c:spPr>
              <a:solidFill>
                <a:srgbClr val="AEABAB"/>
              </a:solidFill>
            </c:spPr>
          </c:dPt>
          <c:dPt>
            <c:idx val="476"/>
            <c:spPr>
              <a:solidFill>
                <a:srgbClr val="AEABAB"/>
              </a:solidFill>
            </c:spPr>
          </c:dPt>
          <c:dPt>
            <c:idx val="477"/>
            <c:spPr>
              <a:solidFill>
                <a:srgbClr val="AEABAB"/>
              </a:solidFill>
            </c:spPr>
          </c:dPt>
          <c:dPt>
            <c:idx val="478"/>
            <c:spPr>
              <a:solidFill>
                <a:srgbClr val="AEABAB"/>
              </a:solidFill>
            </c:spPr>
          </c:dPt>
          <c:dPt>
            <c:idx val="479"/>
            <c:spPr>
              <a:solidFill>
                <a:srgbClr val="AEABAB"/>
              </a:solidFill>
            </c:spPr>
          </c:dPt>
          <c:dPt>
            <c:idx val="480"/>
            <c:spPr>
              <a:solidFill>
                <a:srgbClr val="AEABAB"/>
              </a:solidFill>
            </c:spPr>
          </c:dPt>
          <c:dPt>
            <c:idx val="481"/>
            <c:spPr>
              <a:solidFill>
                <a:srgbClr val="AEABAB"/>
              </a:solidFill>
            </c:spPr>
          </c:dPt>
          <c:dPt>
            <c:idx val="482"/>
            <c:spPr>
              <a:solidFill>
                <a:srgbClr val="AEABAB"/>
              </a:solidFill>
            </c:spPr>
          </c:dPt>
          <c:dPt>
            <c:idx val="483"/>
            <c:spPr>
              <a:solidFill>
                <a:srgbClr val="AEABAB"/>
              </a:solidFill>
            </c:spPr>
          </c:dPt>
          <c:dPt>
            <c:idx val="484"/>
            <c:spPr>
              <a:solidFill>
                <a:srgbClr val="AEABAB"/>
              </a:solidFill>
            </c:spPr>
          </c:dPt>
          <c:dPt>
            <c:idx val="485"/>
            <c:spPr>
              <a:solidFill>
                <a:srgbClr val="AEABAB"/>
              </a:solidFill>
            </c:spPr>
          </c:dPt>
          <c:dPt>
            <c:idx val="486"/>
            <c:spPr>
              <a:solidFill>
                <a:srgbClr val="AEABAB"/>
              </a:solidFill>
            </c:spPr>
          </c:dPt>
          <c:dPt>
            <c:idx val="487"/>
            <c:spPr>
              <a:solidFill>
                <a:srgbClr val="AEABAB"/>
              </a:solidFill>
            </c:spPr>
          </c:dPt>
          <c:dPt>
            <c:idx val="488"/>
            <c:spPr>
              <a:solidFill>
                <a:srgbClr val="AEABAB"/>
              </a:solidFill>
            </c:spPr>
          </c:dPt>
          <c:dPt>
            <c:idx val="489"/>
            <c:spPr>
              <a:solidFill>
                <a:srgbClr val="AEABAB"/>
              </a:solidFill>
            </c:spPr>
          </c:dPt>
          <c:dPt>
            <c:idx val="490"/>
            <c:spPr>
              <a:solidFill>
                <a:srgbClr val="AEABAB"/>
              </a:solidFill>
            </c:spPr>
          </c:dPt>
          <c:dPt>
            <c:idx val="491"/>
            <c:spPr>
              <a:solidFill>
                <a:srgbClr val="AEABAB"/>
              </a:solidFill>
            </c:spPr>
          </c:dPt>
          <c:dPt>
            <c:idx val="492"/>
            <c:spPr>
              <a:solidFill>
                <a:srgbClr val="AEABAB"/>
              </a:solidFill>
            </c:spPr>
          </c:dPt>
          <c:dPt>
            <c:idx val="493"/>
            <c:spPr>
              <a:solidFill>
                <a:srgbClr val="AEABAB"/>
              </a:solidFill>
            </c:spPr>
          </c:dPt>
          <c:dPt>
            <c:idx val="494"/>
            <c:spPr>
              <a:solidFill>
                <a:srgbClr val="AEABAB"/>
              </a:solidFill>
            </c:spPr>
          </c:dPt>
          <c:dPt>
            <c:idx val="495"/>
            <c:spPr>
              <a:solidFill>
                <a:srgbClr val="AEABAB"/>
              </a:solidFill>
            </c:spPr>
          </c:dPt>
          <c:dPt>
            <c:idx val="496"/>
            <c:spPr>
              <a:solidFill>
                <a:srgbClr val="AEABAB"/>
              </a:solidFill>
            </c:spPr>
          </c:dPt>
          <c:dPt>
            <c:idx val="497"/>
            <c:spPr>
              <a:solidFill>
                <a:srgbClr val="AEABAB"/>
              </a:solidFill>
            </c:spPr>
          </c:dPt>
          <c:dPt>
            <c:idx val="498"/>
            <c:spPr>
              <a:solidFill>
                <a:srgbClr val="AEABAB"/>
              </a:solidFill>
            </c:spPr>
          </c:dPt>
          <c:dPt>
            <c:idx val="499"/>
            <c:spPr>
              <a:solidFill>
                <a:srgbClr val="AEABAB"/>
              </a:solidFill>
            </c:spPr>
          </c:dPt>
          <c:dPt>
            <c:idx val="500"/>
            <c:spPr>
              <a:solidFill>
                <a:srgbClr val="AEABAB"/>
              </a:solidFill>
            </c:spPr>
          </c:dPt>
          <c:dPt>
            <c:idx val="501"/>
            <c:spPr>
              <a:solidFill>
                <a:srgbClr val="AEABAB"/>
              </a:solidFill>
            </c:spPr>
          </c:dPt>
          <c:dPt>
            <c:idx val="502"/>
            <c:spPr>
              <a:solidFill>
                <a:srgbClr val="AEABAB"/>
              </a:solidFill>
            </c:spPr>
          </c:dPt>
          <c:dPt>
            <c:idx val="503"/>
            <c:spPr>
              <a:solidFill>
                <a:srgbClr val="AEABAB"/>
              </a:solidFill>
            </c:spPr>
          </c:dPt>
          <c:dPt>
            <c:idx val="504"/>
            <c:spPr>
              <a:solidFill>
                <a:srgbClr val="AEABAB"/>
              </a:solidFill>
            </c:spPr>
          </c:dPt>
          <c:dPt>
            <c:idx val="505"/>
            <c:spPr>
              <a:solidFill>
                <a:srgbClr val="AEABAB"/>
              </a:solidFill>
            </c:spPr>
          </c:dPt>
          <c:dPt>
            <c:idx val="506"/>
            <c:spPr>
              <a:solidFill>
                <a:srgbClr val="AEABAB"/>
              </a:solidFill>
            </c:spPr>
          </c:dPt>
          <c:dPt>
            <c:idx val="507"/>
            <c:spPr>
              <a:solidFill>
                <a:srgbClr val="AEABAB"/>
              </a:solidFill>
            </c:spPr>
          </c:dPt>
          <c:dPt>
            <c:idx val="508"/>
            <c:spPr>
              <a:solidFill>
                <a:srgbClr val="AEABAB"/>
              </a:solidFill>
            </c:spPr>
          </c:dPt>
          <c:dPt>
            <c:idx val="509"/>
            <c:spPr>
              <a:solidFill>
                <a:srgbClr val="AEABAB"/>
              </a:solidFill>
            </c:spPr>
          </c:dPt>
          <c:dPt>
            <c:idx val="510"/>
            <c:spPr>
              <a:solidFill>
                <a:srgbClr val="AEABAB"/>
              </a:solidFill>
            </c:spPr>
          </c:dPt>
          <c:dPt>
            <c:idx val="511"/>
            <c:spPr>
              <a:solidFill>
                <a:srgbClr val="AEABAB"/>
              </a:solidFill>
            </c:spPr>
          </c:dPt>
          <c:dPt>
            <c:idx val="512"/>
            <c:spPr>
              <a:solidFill>
                <a:srgbClr val="AEABAB"/>
              </a:solidFill>
            </c:spPr>
          </c:dPt>
          <c:dPt>
            <c:idx val="513"/>
            <c:spPr>
              <a:solidFill>
                <a:srgbClr val="AEABAB"/>
              </a:solidFill>
            </c:spPr>
          </c:dPt>
          <c:dPt>
            <c:idx val="514"/>
            <c:spPr>
              <a:solidFill>
                <a:srgbClr val="AEABAB"/>
              </a:solidFill>
            </c:spPr>
          </c:dPt>
          <c:dPt>
            <c:idx val="515"/>
            <c:spPr>
              <a:solidFill>
                <a:srgbClr val="AEABAB"/>
              </a:solidFill>
            </c:spPr>
          </c:dPt>
          <c:dPt>
            <c:idx val="516"/>
            <c:spPr>
              <a:solidFill>
                <a:srgbClr val="AEABAB"/>
              </a:solidFill>
            </c:spPr>
          </c:dPt>
          <c:dPt>
            <c:idx val="517"/>
            <c:spPr>
              <a:solidFill>
                <a:srgbClr val="AEABAB"/>
              </a:solidFill>
            </c:spPr>
          </c:dPt>
          <c:dPt>
            <c:idx val="518"/>
            <c:spPr>
              <a:solidFill>
                <a:srgbClr val="AEABAB"/>
              </a:solidFill>
            </c:spPr>
          </c:dPt>
          <c:dPt>
            <c:idx val="519"/>
            <c:spPr>
              <a:solidFill>
                <a:srgbClr val="AEABAB"/>
              </a:solidFill>
            </c:spPr>
          </c:dPt>
          <c:dPt>
            <c:idx val="520"/>
            <c:spPr>
              <a:solidFill>
                <a:srgbClr val="AEABAB"/>
              </a:solidFill>
            </c:spPr>
          </c:dPt>
          <c:dPt>
            <c:idx val="521"/>
            <c:spPr>
              <a:solidFill>
                <a:srgbClr val="AEABAB"/>
              </a:solidFill>
            </c:spPr>
          </c:dPt>
          <c:dPt>
            <c:idx val="522"/>
            <c:spPr>
              <a:solidFill>
                <a:srgbClr val="AEABAB"/>
              </a:solidFill>
            </c:spPr>
          </c:dPt>
          <c:dPt>
            <c:idx val="523"/>
            <c:spPr>
              <a:solidFill>
                <a:srgbClr val="AEABAB"/>
              </a:solidFill>
            </c:spPr>
          </c:dPt>
          <c:dPt>
            <c:idx val="524"/>
            <c:spPr>
              <a:solidFill>
                <a:srgbClr val="AEABAB"/>
              </a:solidFill>
            </c:spPr>
          </c:dPt>
          <c:dPt>
            <c:idx val="525"/>
            <c:spPr>
              <a:solidFill>
                <a:srgbClr val="AEABAB"/>
              </a:solidFill>
            </c:spPr>
          </c:dPt>
          <c:dPt>
            <c:idx val="526"/>
            <c:spPr>
              <a:solidFill>
                <a:srgbClr val="AEABAB"/>
              </a:solidFill>
            </c:spPr>
          </c:dPt>
          <c:dPt>
            <c:idx val="527"/>
            <c:spPr>
              <a:solidFill>
                <a:srgbClr val="AEABAB"/>
              </a:solidFill>
            </c:spPr>
          </c:dPt>
          <c:dPt>
            <c:idx val="528"/>
            <c:spPr>
              <a:solidFill>
                <a:srgbClr val="AEABAB"/>
              </a:solidFill>
            </c:spPr>
          </c:dPt>
          <c:dPt>
            <c:idx val="529"/>
            <c:spPr>
              <a:solidFill>
                <a:srgbClr val="AEABAB"/>
              </a:solidFill>
            </c:spPr>
          </c:dPt>
          <c:dPt>
            <c:idx val="530"/>
            <c:spPr>
              <a:solidFill>
                <a:srgbClr val="AEABAB"/>
              </a:solidFill>
            </c:spPr>
          </c:dPt>
          <c:dPt>
            <c:idx val="531"/>
            <c:spPr>
              <a:solidFill>
                <a:srgbClr val="AEABAB"/>
              </a:solidFill>
            </c:spPr>
          </c:dPt>
          <c:dPt>
            <c:idx val="532"/>
            <c:spPr>
              <a:solidFill>
                <a:srgbClr val="AEABAB"/>
              </a:solidFill>
            </c:spPr>
          </c:dPt>
          <c:dPt>
            <c:idx val="533"/>
            <c:spPr>
              <a:solidFill>
                <a:srgbClr val="AEABAB"/>
              </a:solidFill>
            </c:spPr>
          </c:dPt>
          <c:dPt>
            <c:idx val="534"/>
            <c:spPr>
              <a:solidFill>
                <a:srgbClr val="AEABAB"/>
              </a:solidFill>
            </c:spPr>
          </c:dPt>
          <c:dPt>
            <c:idx val="535"/>
            <c:spPr>
              <a:solidFill>
                <a:srgbClr val="AEABAB"/>
              </a:solidFill>
            </c:spPr>
          </c:dPt>
          <c:dPt>
            <c:idx val="536"/>
            <c:spPr>
              <a:solidFill>
                <a:srgbClr val="AEABAB"/>
              </a:solidFill>
            </c:spPr>
          </c:dPt>
          <c:dPt>
            <c:idx val="537"/>
            <c:spPr>
              <a:solidFill>
                <a:srgbClr val="AEABAB"/>
              </a:solidFill>
            </c:spPr>
          </c:dPt>
          <c:dPt>
            <c:idx val="538"/>
            <c:spPr>
              <a:solidFill>
                <a:srgbClr val="AEABAB"/>
              </a:solidFill>
            </c:spPr>
          </c:dPt>
          <c:dPt>
            <c:idx val="539"/>
            <c:spPr>
              <a:solidFill>
                <a:srgbClr val="AEABAB"/>
              </a:solidFill>
            </c:spPr>
          </c:dPt>
          <c:dPt>
            <c:idx val="540"/>
            <c:spPr>
              <a:solidFill>
                <a:srgbClr val="AEABAB"/>
              </a:solidFill>
            </c:spPr>
          </c:dPt>
          <c:dPt>
            <c:idx val="541"/>
            <c:spPr>
              <a:solidFill>
                <a:srgbClr val="AEABAB"/>
              </a:solidFill>
            </c:spPr>
          </c:dPt>
          <c:dPt>
            <c:idx val="542"/>
            <c:spPr>
              <a:solidFill>
                <a:srgbClr val="AEABAB"/>
              </a:solidFill>
            </c:spPr>
          </c:dPt>
          <c:dPt>
            <c:idx val="543"/>
            <c:spPr>
              <a:solidFill>
                <a:srgbClr val="AEABAB"/>
              </a:solidFill>
            </c:spPr>
          </c:dPt>
          <c:dPt>
            <c:idx val="544"/>
            <c:spPr>
              <a:solidFill>
                <a:srgbClr val="AEABAB"/>
              </a:solidFill>
            </c:spPr>
          </c:dPt>
          <c:dPt>
            <c:idx val="545"/>
            <c:spPr>
              <a:solidFill>
                <a:srgbClr val="AEABAB"/>
              </a:solidFill>
            </c:spPr>
          </c:dPt>
          <c:dPt>
            <c:idx val="546"/>
            <c:spPr>
              <a:solidFill>
                <a:srgbClr val="AEABAB"/>
              </a:solidFill>
            </c:spPr>
          </c:dPt>
          <c:dPt>
            <c:idx val="547"/>
            <c:spPr>
              <a:solidFill>
                <a:srgbClr val="AEABAB"/>
              </a:solidFill>
            </c:spPr>
          </c:dPt>
          <c:dPt>
            <c:idx val="548"/>
            <c:spPr>
              <a:solidFill>
                <a:srgbClr val="AEABAB"/>
              </a:solidFill>
            </c:spPr>
          </c:dPt>
          <c:dPt>
            <c:idx val="549"/>
            <c:spPr>
              <a:solidFill>
                <a:srgbClr val="AEABAB"/>
              </a:solidFill>
            </c:spPr>
          </c:dPt>
          <c:dPt>
            <c:idx val="550"/>
            <c:spPr>
              <a:solidFill>
                <a:srgbClr val="AEABAB"/>
              </a:solidFill>
            </c:spPr>
          </c:dPt>
          <c:dPt>
            <c:idx val="551"/>
            <c:spPr>
              <a:solidFill>
                <a:srgbClr val="AEABAB"/>
              </a:solidFill>
            </c:spPr>
          </c:dPt>
          <c:dPt>
            <c:idx val="552"/>
            <c:spPr>
              <a:solidFill>
                <a:srgbClr val="AEABAB"/>
              </a:solidFill>
            </c:spPr>
          </c:dPt>
          <c:dPt>
            <c:idx val="553"/>
            <c:spPr>
              <a:solidFill>
                <a:srgbClr val="AEABAB"/>
              </a:solidFill>
            </c:spPr>
          </c:dPt>
          <c:dPt>
            <c:idx val="554"/>
            <c:spPr>
              <a:solidFill>
                <a:srgbClr val="AEABAB"/>
              </a:solidFill>
            </c:spPr>
          </c:dPt>
          <c:dPt>
            <c:idx val="555"/>
            <c:spPr>
              <a:solidFill>
                <a:srgbClr val="AEABAB"/>
              </a:solidFill>
            </c:spPr>
          </c:dPt>
          <c:dPt>
            <c:idx val="556"/>
            <c:spPr>
              <a:solidFill>
                <a:srgbClr val="AEABAB"/>
              </a:solidFill>
            </c:spPr>
          </c:dPt>
          <c:dPt>
            <c:idx val="557"/>
            <c:spPr>
              <a:solidFill>
                <a:srgbClr val="AEABAB"/>
              </a:solidFill>
            </c:spPr>
          </c:dPt>
          <c:dPt>
            <c:idx val="558"/>
            <c:spPr>
              <a:solidFill>
                <a:srgbClr val="AEABAB"/>
              </a:solidFill>
            </c:spPr>
          </c:dPt>
          <c:dPt>
            <c:idx val="559"/>
            <c:spPr>
              <a:solidFill>
                <a:srgbClr val="AEABAB"/>
              </a:solidFill>
            </c:spPr>
          </c:dPt>
          <c:dPt>
            <c:idx val="560"/>
            <c:spPr>
              <a:solidFill>
                <a:srgbClr val="AEABAB"/>
              </a:solidFill>
            </c:spPr>
          </c:dPt>
          <c:dPt>
            <c:idx val="561"/>
            <c:spPr>
              <a:solidFill>
                <a:srgbClr val="AEABAB"/>
              </a:solidFill>
            </c:spPr>
          </c:dPt>
          <c:dPt>
            <c:idx val="562"/>
            <c:spPr>
              <a:solidFill>
                <a:srgbClr val="AEABAB"/>
              </a:solidFill>
            </c:spPr>
          </c:dPt>
          <c:dPt>
            <c:idx val="563"/>
            <c:spPr>
              <a:solidFill>
                <a:srgbClr val="AEABAB"/>
              </a:solidFill>
            </c:spPr>
          </c:dPt>
          <c:dPt>
            <c:idx val="564"/>
            <c:spPr>
              <a:solidFill>
                <a:srgbClr val="AEABAB"/>
              </a:solidFill>
            </c:spPr>
          </c:dPt>
          <c:dPt>
            <c:idx val="565"/>
            <c:spPr>
              <a:solidFill>
                <a:srgbClr val="AEABAB"/>
              </a:solidFill>
            </c:spPr>
          </c:dPt>
          <c:dPt>
            <c:idx val="566"/>
            <c:spPr>
              <a:solidFill>
                <a:srgbClr val="AEABAB"/>
              </a:solidFill>
            </c:spPr>
          </c:dPt>
          <c:dPt>
            <c:idx val="567"/>
            <c:spPr>
              <a:solidFill>
                <a:srgbClr val="AEABAB"/>
              </a:solidFill>
            </c:spPr>
          </c:dPt>
          <c:dPt>
            <c:idx val="568"/>
            <c:spPr>
              <a:solidFill>
                <a:srgbClr val="AEABAB"/>
              </a:solidFill>
            </c:spPr>
          </c:dPt>
          <c:dPt>
            <c:idx val="569"/>
            <c:spPr>
              <a:solidFill>
                <a:srgbClr val="AEABAB"/>
              </a:solidFill>
            </c:spPr>
          </c:dPt>
          <c:dPt>
            <c:idx val="570"/>
            <c:spPr>
              <a:solidFill>
                <a:srgbClr val="AEABAB"/>
              </a:solidFill>
            </c:spPr>
          </c:dPt>
          <c:dPt>
            <c:idx val="571"/>
            <c:spPr>
              <a:solidFill>
                <a:srgbClr val="AEABAB"/>
              </a:solidFill>
            </c:spPr>
          </c:dPt>
          <c:dPt>
            <c:idx val="572"/>
            <c:spPr>
              <a:solidFill>
                <a:srgbClr val="AEABAB"/>
              </a:solidFill>
            </c:spPr>
          </c:dPt>
          <c:dPt>
            <c:idx val="573"/>
            <c:spPr>
              <a:solidFill>
                <a:srgbClr val="AEABAB"/>
              </a:solidFill>
            </c:spPr>
          </c:dPt>
          <c:dPt>
            <c:idx val="574"/>
            <c:spPr>
              <a:solidFill>
                <a:srgbClr val="AEABAB"/>
              </a:solidFill>
            </c:spPr>
          </c:dPt>
          <c:dPt>
            <c:idx val="575"/>
            <c:spPr>
              <a:solidFill>
                <a:srgbClr val="AEABAB"/>
              </a:solidFill>
            </c:spPr>
          </c:dPt>
          <c:dPt>
            <c:idx val="576"/>
            <c:spPr>
              <a:solidFill>
                <a:srgbClr val="AEABAB"/>
              </a:solidFill>
            </c:spPr>
          </c:dPt>
          <c:dPt>
            <c:idx val="577"/>
            <c:spPr>
              <a:solidFill>
                <a:srgbClr val="AEABAB"/>
              </a:solidFill>
            </c:spPr>
          </c:dPt>
          <c:dPt>
            <c:idx val="578"/>
            <c:spPr>
              <a:solidFill>
                <a:srgbClr val="AEABAB"/>
              </a:solidFill>
            </c:spPr>
          </c:dPt>
          <c:dPt>
            <c:idx val="579"/>
            <c:spPr>
              <a:solidFill>
                <a:srgbClr val="AEABAB"/>
              </a:solidFill>
            </c:spPr>
          </c:dPt>
          <c:dPt>
            <c:idx val="580"/>
            <c:spPr>
              <a:solidFill>
                <a:srgbClr val="AEABAB"/>
              </a:solidFill>
            </c:spPr>
          </c:dPt>
          <c:dPt>
            <c:idx val="581"/>
            <c:spPr>
              <a:solidFill>
                <a:srgbClr val="AEABAB"/>
              </a:solidFill>
            </c:spPr>
          </c:dPt>
          <c:dPt>
            <c:idx val="582"/>
            <c:spPr>
              <a:solidFill>
                <a:srgbClr val="AEABAB"/>
              </a:solidFill>
            </c:spPr>
          </c:dPt>
          <c:dPt>
            <c:idx val="583"/>
            <c:spPr>
              <a:solidFill>
                <a:srgbClr val="AEABAB"/>
              </a:solidFill>
            </c:spPr>
          </c:dPt>
          <c:dPt>
            <c:idx val="584"/>
            <c:spPr>
              <a:solidFill>
                <a:srgbClr val="AEABAB"/>
              </a:solidFill>
            </c:spPr>
          </c:dPt>
          <c:dPt>
            <c:idx val="585"/>
            <c:spPr>
              <a:solidFill>
                <a:srgbClr val="AEABAB"/>
              </a:solidFill>
            </c:spPr>
          </c:dPt>
          <c:dPt>
            <c:idx val="586"/>
            <c:spPr>
              <a:solidFill>
                <a:srgbClr val="AEABAB"/>
              </a:solidFill>
            </c:spPr>
          </c:dPt>
          <c:dPt>
            <c:idx val="587"/>
            <c:spPr>
              <a:solidFill>
                <a:srgbClr val="AEABAB"/>
              </a:solidFill>
            </c:spPr>
          </c:dPt>
          <c:dPt>
            <c:idx val="588"/>
            <c:spPr>
              <a:solidFill>
                <a:srgbClr val="AEABAB"/>
              </a:solidFill>
            </c:spPr>
          </c:dPt>
          <c:dPt>
            <c:idx val="589"/>
            <c:spPr>
              <a:solidFill>
                <a:srgbClr val="AEABAB"/>
              </a:solidFill>
            </c:spPr>
          </c:dPt>
          <c:dPt>
            <c:idx val="590"/>
            <c:spPr>
              <a:solidFill>
                <a:srgbClr val="AEABAB"/>
              </a:solidFill>
            </c:spPr>
          </c:dPt>
          <c:dPt>
            <c:idx val="591"/>
            <c:spPr>
              <a:solidFill>
                <a:srgbClr val="AEABAB"/>
              </a:solidFill>
            </c:spPr>
          </c:dPt>
          <c:dPt>
            <c:idx val="592"/>
            <c:spPr>
              <a:solidFill>
                <a:srgbClr val="AEABAB"/>
              </a:solidFill>
            </c:spPr>
          </c:dPt>
          <c:dPt>
            <c:idx val="593"/>
            <c:spPr>
              <a:solidFill>
                <a:srgbClr val="AEABAB"/>
              </a:solidFill>
            </c:spPr>
          </c:dPt>
          <c:dPt>
            <c:idx val="594"/>
            <c:spPr>
              <a:solidFill>
                <a:srgbClr val="AEABAB"/>
              </a:solidFill>
            </c:spPr>
          </c:dPt>
          <c:dPt>
            <c:idx val="595"/>
            <c:spPr>
              <a:solidFill>
                <a:srgbClr val="AEABAB"/>
              </a:solidFill>
            </c:spPr>
          </c:dPt>
          <c:dPt>
            <c:idx val="596"/>
            <c:spPr>
              <a:solidFill>
                <a:srgbClr val="AEABAB"/>
              </a:solidFill>
            </c:spPr>
          </c:dPt>
          <c:dPt>
            <c:idx val="597"/>
            <c:spPr>
              <a:solidFill>
                <a:srgbClr val="AEABAB"/>
              </a:solidFill>
            </c:spPr>
          </c:dPt>
          <c:dPt>
            <c:idx val="598"/>
            <c:spPr>
              <a:solidFill>
                <a:srgbClr val="AEABAB"/>
              </a:solidFill>
            </c:spPr>
          </c:dPt>
          <c:dPt>
            <c:idx val="599"/>
            <c:spPr>
              <a:solidFill>
                <a:srgbClr val="AEABAB"/>
              </a:solidFill>
            </c:spPr>
          </c:dPt>
          <c:dPt>
            <c:idx val="600"/>
            <c:spPr>
              <a:solidFill>
                <a:srgbClr val="AEABAB"/>
              </a:solidFill>
            </c:spPr>
          </c:dPt>
          <c:dPt>
            <c:idx val="601"/>
            <c:spPr>
              <a:solidFill>
                <a:srgbClr val="AEABAB"/>
              </a:solidFill>
            </c:spPr>
          </c:dPt>
          <c:dPt>
            <c:idx val="602"/>
            <c:spPr>
              <a:solidFill>
                <a:srgbClr val="AEABAB"/>
              </a:solidFill>
            </c:spPr>
          </c:dPt>
          <c:dPt>
            <c:idx val="603"/>
            <c:spPr>
              <a:solidFill>
                <a:srgbClr val="AEABAB"/>
              </a:solidFill>
            </c:spPr>
          </c:dPt>
          <c:dPt>
            <c:idx val="604"/>
            <c:spPr>
              <a:solidFill>
                <a:srgbClr val="AEABAB"/>
              </a:solidFill>
            </c:spPr>
          </c:dPt>
          <c:dPt>
            <c:idx val="605"/>
            <c:spPr>
              <a:solidFill>
                <a:srgbClr val="AEABAB"/>
              </a:solidFill>
            </c:spPr>
          </c:dPt>
          <c:dPt>
            <c:idx val="606"/>
            <c:spPr>
              <a:solidFill>
                <a:srgbClr val="AEABAB"/>
              </a:solidFill>
            </c:spPr>
          </c:dPt>
          <c:dPt>
            <c:idx val="607"/>
            <c:spPr>
              <a:solidFill>
                <a:srgbClr val="AEABAB"/>
              </a:solidFill>
            </c:spPr>
          </c:dPt>
          <c:dPt>
            <c:idx val="608"/>
            <c:spPr>
              <a:solidFill>
                <a:srgbClr val="AEABAB"/>
              </a:solidFill>
            </c:spPr>
          </c:dPt>
          <c:dPt>
            <c:idx val="609"/>
            <c:spPr>
              <a:solidFill>
                <a:srgbClr val="AEABAB"/>
              </a:solidFill>
            </c:spPr>
          </c:dPt>
          <c:dPt>
            <c:idx val="610"/>
            <c:spPr>
              <a:solidFill>
                <a:srgbClr val="AEABAB"/>
              </a:solidFill>
            </c:spPr>
          </c:dPt>
          <c:dPt>
            <c:idx val="611"/>
            <c:spPr>
              <a:solidFill>
                <a:srgbClr val="AEABAB"/>
              </a:solidFill>
            </c:spPr>
          </c:dPt>
          <c:dPt>
            <c:idx val="612"/>
            <c:spPr>
              <a:solidFill>
                <a:srgbClr val="AEABAB"/>
              </a:solidFill>
            </c:spPr>
          </c:dPt>
          <c:dPt>
            <c:idx val="613"/>
            <c:spPr>
              <a:solidFill>
                <a:srgbClr val="AEABAB"/>
              </a:solidFill>
            </c:spPr>
          </c:dPt>
          <c:dPt>
            <c:idx val="614"/>
            <c:spPr>
              <a:solidFill>
                <a:srgbClr val="AEABAB"/>
              </a:solidFill>
            </c:spPr>
          </c:dPt>
          <c:dPt>
            <c:idx val="615"/>
            <c:spPr>
              <a:solidFill>
                <a:srgbClr val="AEABAB"/>
              </a:solidFill>
            </c:spPr>
          </c:dPt>
          <c:dPt>
            <c:idx val="616"/>
            <c:spPr>
              <a:solidFill>
                <a:srgbClr val="AEABAB"/>
              </a:solidFill>
            </c:spPr>
          </c:dPt>
          <c:dPt>
            <c:idx val="617"/>
            <c:spPr>
              <a:solidFill>
                <a:srgbClr val="AEABAB"/>
              </a:solidFill>
            </c:spPr>
          </c:dPt>
          <c:dPt>
            <c:idx val="618"/>
            <c:spPr>
              <a:solidFill>
                <a:srgbClr val="AEABAB"/>
              </a:solidFill>
            </c:spPr>
          </c:dPt>
          <c:dPt>
            <c:idx val="619"/>
            <c:spPr>
              <a:solidFill>
                <a:srgbClr val="AEABAB"/>
              </a:solidFill>
            </c:spPr>
          </c:dPt>
          <c:dPt>
            <c:idx val="620"/>
            <c:spPr>
              <a:solidFill>
                <a:srgbClr val="AEABAB"/>
              </a:solidFill>
            </c:spPr>
          </c:dPt>
          <c:dPt>
            <c:idx val="621"/>
            <c:spPr>
              <a:solidFill>
                <a:srgbClr val="AEABAB"/>
              </a:solidFill>
            </c:spPr>
          </c:dPt>
          <c:dPt>
            <c:idx val="622"/>
            <c:spPr>
              <a:solidFill>
                <a:srgbClr val="AEABAB"/>
              </a:solidFill>
            </c:spPr>
          </c:dPt>
          <c:dPt>
            <c:idx val="623"/>
            <c:spPr>
              <a:solidFill>
                <a:srgbClr val="AEABAB"/>
              </a:solidFill>
            </c:spPr>
          </c:dPt>
          <c:dPt>
            <c:idx val="624"/>
            <c:spPr>
              <a:solidFill>
                <a:srgbClr val="AEABAB"/>
              </a:solidFill>
            </c:spPr>
          </c:dPt>
          <c:dPt>
            <c:idx val="625"/>
            <c:spPr>
              <a:solidFill>
                <a:srgbClr val="AEABAB"/>
              </a:solidFill>
            </c:spPr>
          </c:dPt>
          <c:dPt>
            <c:idx val="626"/>
            <c:spPr>
              <a:solidFill>
                <a:srgbClr val="AEABAB"/>
              </a:solidFill>
            </c:spPr>
          </c:dPt>
          <c:dPt>
            <c:idx val="627"/>
            <c:spPr>
              <a:solidFill>
                <a:srgbClr val="AEABAB"/>
              </a:solidFill>
            </c:spPr>
          </c:dPt>
          <c:dPt>
            <c:idx val="628"/>
            <c:spPr>
              <a:solidFill>
                <a:srgbClr val="AEABAB"/>
              </a:solidFill>
            </c:spPr>
          </c:dPt>
          <c:dPt>
            <c:idx val="629"/>
            <c:spPr>
              <a:solidFill>
                <a:srgbClr val="AEABAB"/>
              </a:solidFill>
            </c:spPr>
          </c:dPt>
          <c:dPt>
            <c:idx val="630"/>
            <c:spPr>
              <a:solidFill>
                <a:srgbClr val="AEABAB"/>
              </a:solidFill>
            </c:spPr>
          </c:dPt>
          <c:dPt>
            <c:idx val="631"/>
            <c:spPr>
              <a:solidFill>
                <a:srgbClr val="AEABAB"/>
              </a:solidFill>
            </c:spPr>
          </c:dPt>
          <c:dPt>
            <c:idx val="632"/>
            <c:spPr>
              <a:solidFill>
                <a:srgbClr val="AEABAB"/>
              </a:solidFill>
            </c:spPr>
          </c:dPt>
          <c:dPt>
            <c:idx val="633"/>
            <c:spPr>
              <a:solidFill>
                <a:srgbClr val="AEABAB"/>
              </a:solidFill>
            </c:spPr>
          </c:dPt>
          <c:dPt>
            <c:idx val="634"/>
            <c:spPr>
              <a:solidFill>
                <a:srgbClr val="AEABAB"/>
              </a:solidFill>
            </c:spPr>
          </c:dPt>
          <c:dPt>
            <c:idx val="635"/>
            <c:spPr>
              <a:solidFill>
                <a:srgbClr val="AEABAB"/>
              </a:solidFill>
            </c:spPr>
          </c:dPt>
          <c:dPt>
            <c:idx val="636"/>
            <c:spPr>
              <a:solidFill>
                <a:srgbClr val="AEABAB"/>
              </a:solidFill>
            </c:spPr>
          </c:dPt>
          <c:dPt>
            <c:idx val="637"/>
            <c:spPr>
              <a:solidFill>
                <a:srgbClr val="AEABAB"/>
              </a:solidFill>
            </c:spPr>
          </c:dPt>
          <c:dPt>
            <c:idx val="638"/>
            <c:spPr>
              <a:solidFill>
                <a:srgbClr val="AEABAB"/>
              </a:solidFill>
            </c:spPr>
          </c:dPt>
          <c:dPt>
            <c:idx val="639"/>
            <c:spPr>
              <a:solidFill>
                <a:srgbClr val="AEABAB"/>
              </a:solidFill>
            </c:spPr>
          </c:dPt>
          <c:dPt>
            <c:idx val="640"/>
            <c:spPr>
              <a:solidFill>
                <a:srgbClr val="AEABAB"/>
              </a:solidFill>
            </c:spPr>
          </c:dPt>
          <c:dPt>
            <c:idx val="641"/>
            <c:spPr>
              <a:solidFill>
                <a:srgbClr val="AEABAB"/>
              </a:solidFill>
            </c:spPr>
          </c:dPt>
          <c:dPt>
            <c:idx val="642"/>
            <c:spPr>
              <a:solidFill>
                <a:srgbClr val="AEABAB"/>
              </a:solidFill>
            </c:spPr>
          </c:dPt>
          <c:dPt>
            <c:idx val="643"/>
            <c:spPr>
              <a:solidFill>
                <a:srgbClr val="AEABAB"/>
              </a:solidFill>
            </c:spPr>
          </c:dPt>
          <c:dPt>
            <c:idx val="644"/>
            <c:spPr>
              <a:solidFill>
                <a:srgbClr val="AEABAB"/>
              </a:solidFill>
            </c:spPr>
          </c:dPt>
          <c:dPt>
            <c:idx val="645"/>
            <c:spPr>
              <a:solidFill>
                <a:srgbClr val="AEABAB"/>
              </a:solidFill>
            </c:spPr>
          </c:dPt>
          <c:dPt>
            <c:idx val="646"/>
            <c:spPr>
              <a:solidFill>
                <a:srgbClr val="AEABAB"/>
              </a:solidFill>
            </c:spPr>
          </c:dPt>
          <c:dPt>
            <c:idx val="647"/>
            <c:spPr>
              <a:solidFill>
                <a:srgbClr val="AEABAB"/>
              </a:solidFill>
            </c:spPr>
          </c:dPt>
          <c:dPt>
            <c:idx val="648"/>
            <c:spPr>
              <a:solidFill>
                <a:srgbClr val="AEABAB"/>
              </a:solidFill>
            </c:spPr>
          </c:dPt>
          <c:dPt>
            <c:idx val="649"/>
            <c:spPr>
              <a:solidFill>
                <a:srgbClr val="AEABAB"/>
              </a:solidFill>
            </c:spPr>
          </c:dPt>
          <c:dPt>
            <c:idx val="650"/>
            <c:spPr>
              <a:solidFill>
                <a:srgbClr val="AEABAB"/>
              </a:solidFill>
            </c:spPr>
          </c:dPt>
          <c:dPt>
            <c:idx val="651"/>
            <c:spPr>
              <a:solidFill>
                <a:srgbClr val="AEABAB"/>
              </a:solidFill>
            </c:spPr>
          </c:dPt>
          <c:dPt>
            <c:idx val="652"/>
            <c:spPr>
              <a:solidFill>
                <a:srgbClr val="AEABAB"/>
              </a:solidFill>
            </c:spPr>
          </c:dPt>
          <c:dPt>
            <c:idx val="653"/>
            <c:spPr>
              <a:solidFill>
                <a:srgbClr val="AEABAB"/>
              </a:solidFill>
            </c:spPr>
          </c:dPt>
          <c:dPt>
            <c:idx val="654"/>
            <c:spPr>
              <a:solidFill>
                <a:srgbClr val="AEABAB"/>
              </a:solidFill>
            </c:spPr>
          </c:dPt>
          <c:dPt>
            <c:idx val="655"/>
            <c:spPr>
              <a:solidFill>
                <a:srgbClr val="AEABAB"/>
              </a:solidFill>
            </c:spPr>
          </c:dPt>
          <c:dPt>
            <c:idx val="656"/>
            <c:spPr>
              <a:solidFill>
                <a:srgbClr val="AEABAB"/>
              </a:solidFill>
            </c:spPr>
          </c:dPt>
          <c:dPt>
            <c:idx val="657"/>
            <c:spPr>
              <a:solidFill>
                <a:srgbClr val="AEABAB"/>
              </a:solidFill>
            </c:spPr>
          </c:dPt>
          <c:dPt>
            <c:idx val="658"/>
            <c:spPr>
              <a:solidFill>
                <a:srgbClr val="AEABAB"/>
              </a:solidFill>
            </c:spPr>
          </c:dPt>
          <c:dPt>
            <c:idx val="659"/>
            <c:spPr>
              <a:solidFill>
                <a:srgbClr val="AEABAB"/>
              </a:solidFill>
            </c:spPr>
          </c:dPt>
          <c:dPt>
            <c:idx val="660"/>
            <c:spPr>
              <a:solidFill>
                <a:srgbClr val="AEABAB"/>
              </a:solidFill>
            </c:spPr>
          </c:dPt>
          <c:dPt>
            <c:idx val="661"/>
            <c:spPr>
              <a:solidFill>
                <a:srgbClr val="AEABAB"/>
              </a:solidFill>
            </c:spPr>
          </c:dPt>
          <c:dPt>
            <c:idx val="662"/>
            <c:spPr>
              <a:solidFill>
                <a:srgbClr val="AEABAB"/>
              </a:solidFill>
            </c:spPr>
          </c:dPt>
          <c:dPt>
            <c:idx val="663"/>
            <c:spPr>
              <a:solidFill>
                <a:srgbClr val="AEABAB"/>
              </a:solidFill>
            </c:spPr>
          </c:dPt>
          <c:dPt>
            <c:idx val="664"/>
            <c:spPr>
              <a:solidFill>
                <a:srgbClr val="AEABAB"/>
              </a:solidFill>
            </c:spPr>
          </c:dPt>
          <c:dPt>
            <c:idx val="665"/>
            <c:spPr>
              <a:solidFill>
                <a:srgbClr val="AEABAB"/>
              </a:solidFill>
            </c:spPr>
          </c:dPt>
          <c:dPt>
            <c:idx val="666"/>
            <c:spPr>
              <a:solidFill>
                <a:srgbClr val="AEABAB"/>
              </a:solidFill>
            </c:spPr>
          </c:dPt>
          <c:dPt>
            <c:idx val="667"/>
            <c:spPr>
              <a:solidFill>
                <a:srgbClr val="AEABAB"/>
              </a:solidFill>
            </c:spPr>
          </c:dPt>
          <c:dPt>
            <c:idx val="668"/>
            <c:spPr>
              <a:solidFill>
                <a:srgbClr val="AEABAB"/>
              </a:solidFill>
            </c:spPr>
          </c:dPt>
          <c:dPt>
            <c:idx val="669"/>
            <c:spPr>
              <a:solidFill>
                <a:srgbClr val="AEABAB"/>
              </a:solidFill>
            </c:spPr>
          </c:dPt>
          <c:dPt>
            <c:idx val="670"/>
            <c:spPr>
              <a:solidFill>
                <a:srgbClr val="AEABAB"/>
              </a:solidFill>
            </c:spPr>
          </c:dPt>
          <c:dPt>
            <c:idx val="671"/>
            <c:spPr>
              <a:solidFill>
                <a:srgbClr val="AEABAB"/>
              </a:solidFill>
            </c:spPr>
          </c:dPt>
          <c:dPt>
            <c:idx val="672"/>
            <c:spPr>
              <a:solidFill>
                <a:srgbClr val="AEABAB"/>
              </a:solidFill>
            </c:spPr>
          </c:dPt>
          <c:dPt>
            <c:idx val="673"/>
            <c:spPr>
              <a:solidFill>
                <a:srgbClr val="AEABAB"/>
              </a:solidFill>
            </c:spPr>
          </c:dPt>
          <c:dPt>
            <c:idx val="674"/>
            <c:spPr>
              <a:solidFill>
                <a:srgbClr val="AEABAB"/>
              </a:solidFill>
            </c:spPr>
          </c:dPt>
          <c:dPt>
            <c:idx val="675"/>
            <c:spPr>
              <a:solidFill>
                <a:srgbClr val="AEABAB"/>
              </a:solidFill>
            </c:spPr>
          </c:dPt>
          <c:dPt>
            <c:idx val="676"/>
            <c:spPr>
              <a:solidFill>
                <a:srgbClr val="AEABAB"/>
              </a:solidFill>
            </c:spPr>
          </c:dPt>
          <c:dPt>
            <c:idx val="677"/>
            <c:spPr>
              <a:solidFill>
                <a:srgbClr val="AEABAB"/>
              </a:solidFill>
            </c:spPr>
          </c:dPt>
          <c:dPt>
            <c:idx val="678"/>
            <c:spPr>
              <a:solidFill>
                <a:srgbClr val="AEABAB"/>
              </a:solidFill>
            </c:spPr>
          </c:dPt>
          <c:dPt>
            <c:idx val="679"/>
            <c:spPr>
              <a:solidFill>
                <a:srgbClr val="AEABAB"/>
              </a:solidFill>
            </c:spPr>
          </c:dPt>
          <c:dPt>
            <c:idx val="680"/>
            <c:spPr>
              <a:solidFill>
                <a:srgbClr val="AEABAB"/>
              </a:solidFill>
            </c:spPr>
          </c:dPt>
          <c:dPt>
            <c:idx val="681"/>
            <c:spPr>
              <a:solidFill>
                <a:srgbClr val="AEABAB"/>
              </a:solidFill>
            </c:spPr>
          </c:dPt>
          <c:dPt>
            <c:idx val="682"/>
            <c:spPr>
              <a:solidFill>
                <a:srgbClr val="AEABAB"/>
              </a:solidFill>
            </c:spPr>
          </c:dPt>
          <c:dPt>
            <c:idx val="683"/>
            <c:spPr>
              <a:solidFill>
                <a:srgbClr val="AEABAB"/>
              </a:solidFill>
            </c:spPr>
          </c:dPt>
          <c:dPt>
            <c:idx val="684"/>
            <c:spPr>
              <a:solidFill>
                <a:srgbClr val="AEABAB"/>
              </a:solidFill>
            </c:spPr>
          </c:dPt>
          <c:dPt>
            <c:idx val="685"/>
            <c:spPr>
              <a:solidFill>
                <a:srgbClr val="AEABAB"/>
              </a:solidFill>
            </c:spPr>
          </c:dPt>
          <c:dPt>
            <c:idx val="686"/>
            <c:spPr>
              <a:solidFill>
                <a:srgbClr val="AEABAB"/>
              </a:solidFill>
            </c:spPr>
          </c:dPt>
          <c:dPt>
            <c:idx val="687"/>
            <c:spPr>
              <a:solidFill>
                <a:srgbClr val="AEABAB"/>
              </a:solidFill>
            </c:spPr>
          </c:dPt>
          <c:dPt>
            <c:idx val="688"/>
            <c:spPr>
              <a:solidFill>
                <a:srgbClr val="AEABAB"/>
              </a:solidFill>
            </c:spPr>
          </c:dPt>
          <c:dPt>
            <c:idx val="689"/>
            <c:spPr>
              <a:solidFill>
                <a:srgbClr val="AEABAB"/>
              </a:solidFill>
            </c:spPr>
          </c:dPt>
          <c:dPt>
            <c:idx val="690"/>
            <c:spPr>
              <a:solidFill>
                <a:srgbClr val="AEABAB"/>
              </a:solidFill>
            </c:spPr>
          </c:dPt>
          <c:dPt>
            <c:idx val="691"/>
            <c:spPr>
              <a:solidFill>
                <a:srgbClr val="AEABAB"/>
              </a:solidFill>
            </c:spPr>
          </c:dPt>
          <c:dPt>
            <c:idx val="692"/>
            <c:spPr>
              <a:solidFill>
                <a:srgbClr val="AEABAB"/>
              </a:solidFill>
            </c:spPr>
          </c:dPt>
          <c:dPt>
            <c:idx val="693"/>
            <c:spPr>
              <a:solidFill>
                <a:srgbClr val="AEABAB"/>
              </a:solidFill>
            </c:spPr>
          </c:dPt>
          <c:dPt>
            <c:idx val="694"/>
            <c:spPr>
              <a:solidFill>
                <a:srgbClr val="AEABAB"/>
              </a:solidFill>
            </c:spPr>
          </c:dPt>
          <c:dPt>
            <c:idx val="695"/>
            <c:spPr>
              <a:solidFill>
                <a:srgbClr val="AEABAB"/>
              </a:solidFill>
            </c:spPr>
          </c:dPt>
          <c:dPt>
            <c:idx val="696"/>
            <c:spPr>
              <a:solidFill>
                <a:srgbClr val="AEABAB"/>
              </a:solidFill>
            </c:spPr>
          </c:dPt>
          <c:dPt>
            <c:idx val="697"/>
            <c:spPr>
              <a:solidFill>
                <a:srgbClr val="AEABAB"/>
              </a:solidFill>
            </c:spPr>
          </c:dPt>
          <c:dPt>
            <c:idx val="698"/>
            <c:spPr>
              <a:solidFill>
                <a:srgbClr val="AEABAB"/>
              </a:solidFill>
            </c:spPr>
          </c:dPt>
          <c:dPt>
            <c:idx val="699"/>
            <c:spPr>
              <a:solidFill>
                <a:srgbClr val="AEABAB"/>
              </a:solidFill>
            </c:spPr>
          </c:dPt>
          <c:dPt>
            <c:idx val="700"/>
            <c:spPr>
              <a:solidFill>
                <a:srgbClr val="AEABAB"/>
              </a:solidFill>
            </c:spPr>
          </c:dPt>
          <c:dPt>
            <c:idx val="701"/>
            <c:spPr>
              <a:solidFill>
                <a:srgbClr val="AEABAB"/>
              </a:solidFill>
            </c:spPr>
          </c:dPt>
          <c:dPt>
            <c:idx val="702"/>
            <c:spPr>
              <a:solidFill>
                <a:srgbClr val="AEABAB"/>
              </a:solidFill>
            </c:spPr>
          </c:dPt>
          <c:dPt>
            <c:idx val="703"/>
            <c:spPr>
              <a:solidFill>
                <a:srgbClr val="AEABAB"/>
              </a:solidFill>
            </c:spPr>
          </c:dPt>
          <c:dPt>
            <c:idx val="704"/>
            <c:spPr>
              <a:solidFill>
                <a:srgbClr val="AEABAB"/>
              </a:solidFill>
            </c:spPr>
          </c:dPt>
          <c:dPt>
            <c:idx val="705"/>
            <c:spPr>
              <a:solidFill>
                <a:srgbClr val="AEABAB"/>
              </a:solidFill>
            </c:spPr>
          </c:dPt>
          <c:dPt>
            <c:idx val="706"/>
            <c:spPr>
              <a:solidFill>
                <a:srgbClr val="AEABAB"/>
              </a:solidFill>
            </c:spPr>
          </c:dPt>
          <c:dPt>
            <c:idx val="707"/>
            <c:spPr>
              <a:solidFill>
                <a:srgbClr val="AEABAB"/>
              </a:solidFill>
            </c:spPr>
          </c:dPt>
          <c:dPt>
            <c:idx val="708"/>
            <c:spPr>
              <a:solidFill>
                <a:srgbClr val="AEABAB"/>
              </a:solidFill>
            </c:spPr>
          </c:dPt>
          <c:dPt>
            <c:idx val="709"/>
            <c:spPr>
              <a:solidFill>
                <a:srgbClr val="AEABAB"/>
              </a:solidFill>
            </c:spPr>
          </c:dPt>
          <c:dPt>
            <c:idx val="710"/>
            <c:spPr>
              <a:solidFill>
                <a:srgbClr val="AEABAB"/>
              </a:solidFill>
            </c:spPr>
          </c:dPt>
          <c:dPt>
            <c:idx val="711"/>
            <c:spPr>
              <a:solidFill>
                <a:srgbClr val="AEABAB"/>
              </a:solidFill>
            </c:spPr>
          </c:dPt>
          <c:dPt>
            <c:idx val="712"/>
            <c:spPr>
              <a:solidFill>
                <a:srgbClr val="AEABAB"/>
              </a:solidFill>
            </c:spPr>
          </c:dPt>
          <c:dPt>
            <c:idx val="713"/>
            <c:spPr>
              <a:solidFill>
                <a:srgbClr val="AEABAB"/>
              </a:solidFill>
            </c:spPr>
          </c:dPt>
          <c:dPt>
            <c:idx val="714"/>
            <c:spPr>
              <a:solidFill>
                <a:srgbClr val="AEABAB"/>
              </a:solidFill>
            </c:spPr>
          </c:dPt>
          <c:dPt>
            <c:idx val="715"/>
            <c:spPr>
              <a:solidFill>
                <a:srgbClr val="AEABAB"/>
              </a:solidFill>
            </c:spPr>
          </c:dPt>
          <c:dPt>
            <c:idx val="716"/>
            <c:spPr>
              <a:solidFill>
                <a:srgbClr val="AEABAB"/>
              </a:solidFill>
            </c:spPr>
          </c:dPt>
          <c:dPt>
            <c:idx val="717"/>
            <c:spPr>
              <a:solidFill>
                <a:srgbClr val="AEABAB"/>
              </a:solidFill>
            </c:spPr>
          </c:dPt>
          <c:dPt>
            <c:idx val="718"/>
            <c:spPr>
              <a:solidFill>
                <a:srgbClr val="AEABAB"/>
              </a:solidFill>
            </c:spPr>
          </c:dPt>
          <c:dPt>
            <c:idx val="719"/>
            <c:spPr>
              <a:solidFill>
                <a:srgbClr val="AEABAB"/>
              </a:solidFill>
            </c:spPr>
          </c:dPt>
          <c:dPt>
            <c:idx val="720"/>
            <c:spPr>
              <a:solidFill>
                <a:srgbClr val="AEABAB"/>
              </a:solidFill>
            </c:spPr>
          </c:dPt>
          <c:dPt>
            <c:idx val="721"/>
            <c:spPr>
              <a:solidFill>
                <a:srgbClr val="AEABAB"/>
              </a:solidFill>
            </c:spPr>
          </c:dPt>
          <c:dPt>
            <c:idx val="722"/>
            <c:spPr>
              <a:solidFill>
                <a:srgbClr val="AEABAB"/>
              </a:solidFill>
            </c:spPr>
          </c:dPt>
          <c:dPt>
            <c:idx val="723"/>
            <c:spPr>
              <a:solidFill>
                <a:srgbClr val="AEABAB"/>
              </a:solidFill>
            </c:spPr>
          </c:dPt>
          <c:dPt>
            <c:idx val="724"/>
            <c:spPr>
              <a:solidFill>
                <a:srgbClr val="AEABAB"/>
              </a:solidFill>
            </c:spPr>
          </c:dPt>
          <c:dPt>
            <c:idx val="725"/>
            <c:spPr>
              <a:solidFill>
                <a:srgbClr val="AEABAB"/>
              </a:solidFill>
            </c:spPr>
          </c:dPt>
          <c:dPt>
            <c:idx val="726"/>
            <c:spPr>
              <a:solidFill>
                <a:srgbClr val="AEABAB"/>
              </a:solidFill>
            </c:spPr>
          </c:dPt>
          <c:dPt>
            <c:idx val="727"/>
            <c:spPr>
              <a:solidFill>
                <a:srgbClr val="AEABAB"/>
              </a:solidFill>
            </c:spPr>
          </c:dPt>
          <c:dPt>
            <c:idx val="728"/>
            <c:spPr>
              <a:solidFill>
                <a:srgbClr val="AEABAB"/>
              </a:solidFill>
            </c:spPr>
          </c:dPt>
          <c:dPt>
            <c:idx val="729"/>
            <c:spPr>
              <a:solidFill>
                <a:srgbClr val="AEABAB"/>
              </a:solidFill>
            </c:spPr>
          </c:dPt>
          <c:dPt>
            <c:idx val="730"/>
            <c:spPr>
              <a:solidFill>
                <a:srgbClr val="AEABAB"/>
              </a:solidFill>
            </c:spPr>
          </c:dPt>
          <c:dPt>
            <c:idx val="731"/>
            <c:spPr>
              <a:solidFill>
                <a:srgbClr val="AEABAB"/>
              </a:solidFill>
            </c:spPr>
          </c:dPt>
          <c:dPt>
            <c:idx val="732"/>
            <c:spPr>
              <a:solidFill>
                <a:srgbClr val="AEABAB"/>
              </a:solidFill>
            </c:spPr>
          </c:dPt>
          <c:dPt>
            <c:idx val="733"/>
            <c:spPr>
              <a:solidFill>
                <a:srgbClr val="AEABAB"/>
              </a:solidFill>
            </c:spPr>
          </c:dPt>
          <c:dPt>
            <c:idx val="734"/>
            <c:spPr>
              <a:solidFill>
                <a:srgbClr val="AEABAB"/>
              </a:solidFill>
            </c:spPr>
          </c:dPt>
          <c:dPt>
            <c:idx val="735"/>
            <c:spPr>
              <a:solidFill>
                <a:srgbClr val="AEABAB"/>
              </a:solidFill>
            </c:spPr>
          </c:dPt>
          <c:dPt>
            <c:idx val="736"/>
            <c:spPr>
              <a:solidFill>
                <a:srgbClr val="AEABAB"/>
              </a:solidFill>
            </c:spPr>
          </c:dPt>
          <c:dPt>
            <c:idx val="737"/>
            <c:spPr>
              <a:solidFill>
                <a:srgbClr val="AEABAB"/>
              </a:solidFill>
            </c:spPr>
          </c:dPt>
          <c:dPt>
            <c:idx val="738"/>
            <c:spPr>
              <a:solidFill>
                <a:srgbClr val="AEABAB"/>
              </a:solidFill>
            </c:spPr>
          </c:dPt>
          <c:dPt>
            <c:idx val="739"/>
            <c:spPr>
              <a:solidFill>
                <a:srgbClr val="AEABAB"/>
              </a:solidFill>
            </c:spPr>
          </c:dPt>
          <c:dPt>
            <c:idx val="740"/>
            <c:spPr>
              <a:solidFill>
                <a:srgbClr val="AEABAB"/>
              </a:solidFill>
            </c:spPr>
          </c:dPt>
          <c:dPt>
            <c:idx val="741"/>
            <c:spPr>
              <a:solidFill>
                <a:srgbClr val="AEABAB"/>
              </a:solidFill>
            </c:spPr>
          </c:dPt>
          <c:dPt>
            <c:idx val="742"/>
            <c:spPr>
              <a:solidFill>
                <a:srgbClr val="AEABAB"/>
              </a:solidFill>
            </c:spPr>
          </c:dPt>
          <c:dPt>
            <c:idx val="743"/>
            <c:spPr>
              <a:solidFill>
                <a:srgbClr val="AEABAB"/>
              </a:solidFill>
            </c:spPr>
          </c:dPt>
          <c:dPt>
            <c:idx val="744"/>
            <c:spPr>
              <a:solidFill>
                <a:srgbClr val="AEABAB"/>
              </a:solidFill>
            </c:spPr>
          </c:dPt>
          <c:dPt>
            <c:idx val="745"/>
            <c:spPr>
              <a:solidFill>
                <a:srgbClr val="AEABAB"/>
              </a:solidFill>
            </c:spPr>
          </c:dPt>
          <c:dPt>
            <c:idx val="746"/>
            <c:spPr>
              <a:solidFill>
                <a:srgbClr val="AEABAB"/>
              </a:solidFill>
            </c:spPr>
          </c:dPt>
          <c:dPt>
            <c:idx val="747"/>
            <c:spPr>
              <a:solidFill>
                <a:srgbClr val="AEABAB"/>
              </a:solidFill>
            </c:spPr>
          </c:dPt>
          <c:dPt>
            <c:idx val="748"/>
            <c:spPr>
              <a:solidFill>
                <a:srgbClr val="AEABAB"/>
              </a:solidFill>
            </c:spPr>
          </c:dPt>
          <c:dPt>
            <c:idx val="749"/>
            <c:spPr>
              <a:solidFill>
                <a:srgbClr val="AEABAB"/>
              </a:solidFill>
            </c:spPr>
          </c:dPt>
          <c:dPt>
            <c:idx val="750"/>
            <c:spPr>
              <a:solidFill>
                <a:srgbClr val="AEABAB"/>
              </a:solidFill>
            </c:spPr>
          </c:dPt>
          <c:dPt>
            <c:idx val="751"/>
            <c:spPr>
              <a:solidFill>
                <a:srgbClr val="AEABAB"/>
              </a:solidFill>
            </c:spPr>
          </c:dPt>
          <c:dPt>
            <c:idx val="752"/>
            <c:spPr>
              <a:solidFill>
                <a:srgbClr val="AEABAB"/>
              </a:solidFill>
            </c:spPr>
          </c:dPt>
          <c:dPt>
            <c:idx val="753"/>
            <c:spPr>
              <a:solidFill>
                <a:srgbClr val="AEABAB"/>
              </a:solidFill>
            </c:spPr>
          </c:dPt>
          <c:dPt>
            <c:idx val="754"/>
            <c:spPr>
              <a:solidFill>
                <a:srgbClr val="AEABAB"/>
              </a:solidFill>
            </c:spPr>
          </c:dPt>
          <c:dPt>
            <c:idx val="755"/>
            <c:spPr>
              <a:solidFill>
                <a:srgbClr val="AEABAB"/>
              </a:solidFill>
            </c:spPr>
          </c:dPt>
          <c:dPt>
            <c:idx val="756"/>
            <c:spPr>
              <a:solidFill>
                <a:srgbClr val="AEABAB"/>
              </a:solidFill>
            </c:spPr>
          </c:dPt>
          <c:dPt>
            <c:idx val="757"/>
            <c:spPr>
              <a:solidFill>
                <a:srgbClr val="AEABAB"/>
              </a:solidFill>
            </c:spPr>
          </c:dPt>
          <c:dPt>
            <c:idx val="758"/>
            <c:spPr>
              <a:solidFill>
                <a:srgbClr val="AEABAB"/>
              </a:solidFill>
            </c:spPr>
          </c:dPt>
          <c:dPt>
            <c:idx val="759"/>
            <c:spPr>
              <a:solidFill>
                <a:srgbClr val="AEABAB"/>
              </a:solidFill>
            </c:spPr>
          </c:dPt>
          <c:dPt>
            <c:idx val="760"/>
            <c:spPr>
              <a:solidFill>
                <a:srgbClr val="AEABAB"/>
              </a:solidFill>
            </c:spPr>
          </c:dPt>
          <c:dPt>
            <c:idx val="761"/>
            <c:spPr>
              <a:solidFill>
                <a:srgbClr val="AEABAB"/>
              </a:solidFill>
            </c:spPr>
          </c:dPt>
          <c:dPt>
            <c:idx val="762"/>
            <c:spPr>
              <a:solidFill>
                <a:srgbClr val="AEABAB"/>
              </a:solidFill>
            </c:spPr>
          </c:dPt>
          <c:dPt>
            <c:idx val="763"/>
            <c:spPr>
              <a:solidFill>
                <a:srgbClr val="AEABAB"/>
              </a:solidFill>
            </c:spPr>
          </c:dPt>
          <c:dPt>
            <c:idx val="764"/>
            <c:spPr>
              <a:solidFill>
                <a:srgbClr val="AEABAB"/>
              </a:solidFill>
            </c:spPr>
          </c:dPt>
          <c:dPt>
            <c:idx val="765"/>
            <c:spPr>
              <a:solidFill>
                <a:srgbClr val="AEABAB"/>
              </a:solidFill>
            </c:spPr>
          </c:dPt>
          <c:dPt>
            <c:idx val="766"/>
            <c:spPr>
              <a:solidFill>
                <a:srgbClr val="AEABAB"/>
              </a:solidFill>
            </c:spPr>
          </c:dPt>
          <c:dPt>
            <c:idx val="767"/>
            <c:spPr>
              <a:solidFill>
                <a:srgbClr val="AEABAB"/>
              </a:solidFill>
            </c:spPr>
          </c:dPt>
          <c:dPt>
            <c:idx val="768"/>
            <c:spPr>
              <a:solidFill>
                <a:srgbClr val="AEABAB"/>
              </a:solidFill>
            </c:spPr>
          </c:dPt>
          <c:dPt>
            <c:idx val="769"/>
            <c:spPr>
              <a:solidFill>
                <a:srgbClr val="AEABAB"/>
              </a:solidFill>
            </c:spPr>
          </c:dPt>
          <c:dPt>
            <c:idx val="770"/>
            <c:spPr>
              <a:solidFill>
                <a:srgbClr val="AEABAB"/>
              </a:solidFill>
            </c:spPr>
          </c:dPt>
          <c:dPt>
            <c:idx val="771"/>
            <c:spPr>
              <a:solidFill>
                <a:srgbClr val="AEABAB"/>
              </a:solidFill>
            </c:spPr>
          </c:dPt>
          <c:dPt>
            <c:idx val="772"/>
            <c:spPr>
              <a:solidFill>
                <a:srgbClr val="AEABAB"/>
              </a:solidFill>
            </c:spPr>
          </c:dPt>
          <c:dPt>
            <c:idx val="773"/>
            <c:spPr>
              <a:solidFill>
                <a:srgbClr val="AEABAB"/>
              </a:solidFill>
            </c:spPr>
          </c:dPt>
          <c:dPt>
            <c:idx val="774"/>
            <c:spPr>
              <a:solidFill>
                <a:srgbClr val="AEABAB"/>
              </a:solidFill>
            </c:spPr>
          </c:dPt>
          <c:dPt>
            <c:idx val="775"/>
            <c:spPr>
              <a:solidFill>
                <a:srgbClr val="AEABAB"/>
              </a:solidFill>
            </c:spPr>
          </c:dPt>
          <c:dPt>
            <c:idx val="776"/>
            <c:spPr>
              <a:solidFill>
                <a:srgbClr val="AEABAB"/>
              </a:solidFill>
            </c:spPr>
          </c:dPt>
          <c:dPt>
            <c:idx val="777"/>
            <c:spPr>
              <a:solidFill>
                <a:srgbClr val="AEABAB"/>
              </a:solidFill>
            </c:spPr>
          </c:dPt>
          <c:dPt>
            <c:idx val="778"/>
            <c:spPr>
              <a:solidFill>
                <a:srgbClr val="AEABAB"/>
              </a:solidFill>
            </c:spPr>
          </c:dPt>
          <c:dPt>
            <c:idx val="779"/>
            <c:spPr>
              <a:solidFill>
                <a:srgbClr val="AEABAB"/>
              </a:solidFill>
            </c:spPr>
          </c:dPt>
          <c:dPt>
            <c:idx val="780"/>
            <c:spPr>
              <a:solidFill>
                <a:srgbClr val="AEABAB"/>
              </a:solidFill>
            </c:spPr>
          </c:dPt>
          <c:dPt>
            <c:idx val="781"/>
            <c:spPr>
              <a:solidFill>
                <a:srgbClr val="AEABAB"/>
              </a:solidFill>
            </c:spPr>
          </c:dPt>
          <c:dPt>
            <c:idx val="782"/>
            <c:spPr>
              <a:solidFill>
                <a:srgbClr val="AEABAB"/>
              </a:solidFill>
            </c:spPr>
          </c:dPt>
          <c:dPt>
            <c:idx val="783"/>
            <c:spPr>
              <a:solidFill>
                <a:srgbClr val="AEABAB"/>
              </a:solidFill>
            </c:spPr>
          </c:dPt>
          <c:dPt>
            <c:idx val="784"/>
            <c:spPr>
              <a:solidFill>
                <a:srgbClr val="AEABAB"/>
              </a:solidFill>
            </c:spPr>
          </c:dPt>
          <c:dPt>
            <c:idx val="785"/>
            <c:spPr>
              <a:solidFill>
                <a:srgbClr val="AEABAB"/>
              </a:solidFill>
            </c:spPr>
          </c:dPt>
          <c:dPt>
            <c:idx val="786"/>
            <c:spPr>
              <a:solidFill>
                <a:srgbClr val="AEABAB"/>
              </a:solidFill>
            </c:spPr>
          </c:dPt>
          <c:dPt>
            <c:idx val="787"/>
            <c:spPr>
              <a:solidFill>
                <a:srgbClr val="AEABAB"/>
              </a:solidFill>
            </c:spPr>
          </c:dPt>
          <c:dPt>
            <c:idx val="788"/>
            <c:spPr>
              <a:solidFill>
                <a:srgbClr val="AEABAB"/>
              </a:solidFill>
            </c:spPr>
          </c:dPt>
          <c:dPt>
            <c:idx val="789"/>
            <c:spPr>
              <a:solidFill>
                <a:srgbClr val="AEABAB"/>
              </a:solidFill>
            </c:spPr>
          </c:dPt>
          <c:dPt>
            <c:idx val="790"/>
            <c:spPr>
              <a:solidFill>
                <a:srgbClr val="AEABAB"/>
              </a:solidFill>
            </c:spPr>
          </c:dPt>
          <c:dPt>
            <c:idx val="791"/>
            <c:spPr>
              <a:solidFill>
                <a:srgbClr val="AEABAB"/>
              </a:solidFill>
            </c:spPr>
          </c:dPt>
          <c:dPt>
            <c:idx val="792"/>
            <c:spPr>
              <a:solidFill>
                <a:srgbClr val="AEABAB"/>
              </a:solidFill>
            </c:spPr>
          </c:dPt>
          <c:dPt>
            <c:idx val="793"/>
            <c:spPr>
              <a:solidFill>
                <a:srgbClr val="AEABAB"/>
              </a:solidFill>
            </c:spPr>
          </c:dPt>
          <c:dPt>
            <c:idx val="794"/>
            <c:spPr>
              <a:solidFill>
                <a:srgbClr val="AEABAB"/>
              </a:solidFill>
            </c:spPr>
          </c:dPt>
          <c:dPt>
            <c:idx val="795"/>
            <c:spPr>
              <a:solidFill>
                <a:srgbClr val="AEABAB"/>
              </a:solidFill>
            </c:spPr>
          </c:dPt>
          <c:dPt>
            <c:idx val="796"/>
            <c:spPr>
              <a:solidFill>
                <a:srgbClr val="AEABAB"/>
              </a:solidFill>
            </c:spPr>
          </c:dPt>
          <c:dPt>
            <c:idx val="797"/>
            <c:spPr>
              <a:solidFill>
                <a:srgbClr val="AEABAB"/>
              </a:solidFill>
            </c:spPr>
          </c:dPt>
          <c:dPt>
            <c:idx val="798"/>
            <c:spPr>
              <a:solidFill>
                <a:srgbClr val="AEABAB"/>
              </a:solidFill>
            </c:spPr>
          </c:dPt>
          <c:dPt>
            <c:idx val="799"/>
            <c:spPr>
              <a:solidFill>
                <a:srgbClr val="AEABAB"/>
              </a:solidFill>
            </c:spPr>
          </c:dPt>
          <c:dPt>
            <c:idx val="800"/>
            <c:spPr>
              <a:solidFill>
                <a:srgbClr val="AEABAB"/>
              </a:solidFill>
            </c:spPr>
          </c:dPt>
          <c:dPt>
            <c:idx val="801"/>
            <c:spPr>
              <a:solidFill>
                <a:srgbClr val="AEABAB"/>
              </a:solidFill>
            </c:spPr>
          </c:dPt>
          <c:dPt>
            <c:idx val="802"/>
            <c:spPr>
              <a:solidFill>
                <a:srgbClr val="AEABAB"/>
              </a:solidFill>
            </c:spPr>
          </c:dPt>
          <c:dPt>
            <c:idx val="803"/>
            <c:spPr>
              <a:solidFill>
                <a:srgbClr val="AEABAB"/>
              </a:solidFill>
            </c:spPr>
          </c:dPt>
          <c:dPt>
            <c:idx val="804"/>
            <c:spPr>
              <a:solidFill>
                <a:srgbClr val="AEABAB"/>
              </a:solidFill>
            </c:spPr>
          </c:dPt>
          <c:dPt>
            <c:idx val="805"/>
            <c:spPr>
              <a:solidFill>
                <a:srgbClr val="AEABAB"/>
              </a:solidFill>
            </c:spPr>
          </c:dPt>
          <c:dPt>
            <c:idx val="806"/>
            <c:spPr>
              <a:solidFill>
                <a:srgbClr val="AEABAB"/>
              </a:solidFill>
            </c:spPr>
          </c:dPt>
          <c:dPt>
            <c:idx val="807"/>
            <c:spPr>
              <a:solidFill>
                <a:srgbClr val="AEABAB"/>
              </a:solidFill>
            </c:spPr>
          </c:dPt>
          <c:dPt>
            <c:idx val="808"/>
            <c:spPr>
              <a:solidFill>
                <a:srgbClr val="AEABAB"/>
              </a:solidFill>
            </c:spPr>
          </c:dPt>
          <c:dPt>
            <c:idx val="809"/>
            <c:spPr>
              <a:solidFill>
                <a:srgbClr val="AEABAB"/>
              </a:solidFill>
            </c:spPr>
          </c:dPt>
          <c:dPt>
            <c:idx val="810"/>
            <c:spPr>
              <a:solidFill>
                <a:srgbClr val="AEABAB"/>
              </a:solidFill>
            </c:spPr>
          </c:dPt>
          <c:dPt>
            <c:idx val="811"/>
            <c:spPr>
              <a:solidFill>
                <a:srgbClr val="AEABAB"/>
              </a:solidFill>
            </c:spPr>
          </c:dPt>
          <c:dPt>
            <c:idx val="812"/>
            <c:spPr>
              <a:solidFill>
                <a:srgbClr val="AEABAB"/>
              </a:solidFill>
            </c:spPr>
          </c:dPt>
          <c:dPt>
            <c:idx val="813"/>
            <c:spPr>
              <a:solidFill>
                <a:srgbClr val="AEABAB"/>
              </a:solidFill>
            </c:spPr>
          </c:dPt>
          <c:dPt>
            <c:idx val="814"/>
            <c:spPr>
              <a:solidFill>
                <a:srgbClr val="AEABAB"/>
              </a:solidFill>
            </c:spPr>
          </c:dPt>
          <c:dPt>
            <c:idx val="815"/>
            <c:spPr>
              <a:solidFill>
                <a:srgbClr val="AEABAB"/>
              </a:solidFill>
            </c:spPr>
          </c:dPt>
          <c:dPt>
            <c:idx val="816"/>
            <c:spPr>
              <a:solidFill>
                <a:srgbClr val="AEABAB"/>
              </a:solidFill>
            </c:spPr>
          </c:dPt>
          <c:dPt>
            <c:idx val="817"/>
            <c:spPr>
              <a:solidFill>
                <a:srgbClr val="AEABAB"/>
              </a:solidFill>
            </c:spPr>
          </c:dPt>
          <c:dPt>
            <c:idx val="818"/>
            <c:spPr>
              <a:solidFill>
                <a:srgbClr val="AEABAB"/>
              </a:solidFill>
            </c:spPr>
          </c:dPt>
          <c:dPt>
            <c:idx val="819"/>
            <c:spPr>
              <a:solidFill>
                <a:srgbClr val="AEABAB"/>
              </a:solidFill>
            </c:spPr>
          </c:dPt>
          <c:dPt>
            <c:idx val="820"/>
            <c:spPr>
              <a:solidFill>
                <a:srgbClr val="AEABAB"/>
              </a:solidFill>
            </c:spPr>
          </c:dPt>
          <c:dPt>
            <c:idx val="821"/>
            <c:spPr>
              <a:solidFill>
                <a:srgbClr val="AEABAB"/>
              </a:solidFill>
            </c:spPr>
          </c:dPt>
          <c:dPt>
            <c:idx val="822"/>
            <c:spPr>
              <a:solidFill>
                <a:srgbClr val="AEABAB"/>
              </a:solidFill>
            </c:spPr>
          </c:dPt>
          <c:dPt>
            <c:idx val="823"/>
            <c:spPr>
              <a:solidFill>
                <a:srgbClr val="AEABAB"/>
              </a:solidFill>
            </c:spPr>
          </c:dPt>
          <c:dPt>
            <c:idx val="824"/>
            <c:spPr>
              <a:solidFill>
                <a:srgbClr val="AEABAB"/>
              </a:solidFill>
            </c:spPr>
          </c:dPt>
          <c:dPt>
            <c:idx val="825"/>
            <c:spPr>
              <a:solidFill>
                <a:srgbClr val="AEABAB"/>
              </a:solidFill>
            </c:spPr>
          </c:dPt>
          <c:dPt>
            <c:idx val="826"/>
            <c:spPr>
              <a:solidFill>
                <a:srgbClr val="AEABAB"/>
              </a:solidFill>
            </c:spPr>
          </c:dPt>
          <c:dPt>
            <c:idx val="827"/>
            <c:spPr>
              <a:solidFill>
                <a:srgbClr val="AEABAB"/>
              </a:solidFill>
            </c:spPr>
          </c:dPt>
          <c:dPt>
            <c:idx val="828"/>
            <c:spPr>
              <a:solidFill>
                <a:srgbClr val="AEABAB"/>
              </a:solidFill>
            </c:spPr>
          </c:dPt>
          <c:dPt>
            <c:idx val="829"/>
            <c:spPr>
              <a:solidFill>
                <a:srgbClr val="AEABAB"/>
              </a:solidFill>
            </c:spPr>
          </c:dPt>
          <c:dPt>
            <c:idx val="830"/>
            <c:spPr>
              <a:solidFill>
                <a:srgbClr val="AEABAB"/>
              </a:solidFill>
            </c:spPr>
          </c:dPt>
          <c:dPt>
            <c:idx val="831"/>
            <c:spPr>
              <a:solidFill>
                <a:srgbClr val="AEABAB"/>
              </a:solidFill>
            </c:spPr>
          </c:dPt>
          <c:dPt>
            <c:idx val="832"/>
            <c:spPr>
              <a:solidFill>
                <a:srgbClr val="AEABAB"/>
              </a:solidFill>
            </c:spPr>
          </c:dPt>
          <c:dPt>
            <c:idx val="833"/>
            <c:spPr>
              <a:solidFill>
                <a:srgbClr val="AEABAB"/>
              </a:solidFill>
            </c:spPr>
          </c:dPt>
          <c:dPt>
            <c:idx val="834"/>
            <c:spPr>
              <a:solidFill>
                <a:srgbClr val="AEABAB"/>
              </a:solidFill>
            </c:spPr>
          </c:dPt>
          <c:dPt>
            <c:idx val="835"/>
            <c:spPr>
              <a:solidFill>
                <a:srgbClr val="AEABAB"/>
              </a:solidFill>
            </c:spPr>
          </c:dPt>
          <c:dPt>
            <c:idx val="836"/>
            <c:spPr>
              <a:solidFill>
                <a:srgbClr val="AEABAB"/>
              </a:solidFill>
            </c:spPr>
          </c:dPt>
          <c:dPt>
            <c:idx val="837"/>
            <c:spPr>
              <a:solidFill>
                <a:srgbClr val="AEABAB"/>
              </a:solidFill>
            </c:spPr>
          </c:dPt>
          <c:dPt>
            <c:idx val="838"/>
            <c:spPr>
              <a:solidFill>
                <a:srgbClr val="AEABAB"/>
              </a:solidFill>
            </c:spPr>
          </c:dPt>
          <c:dPt>
            <c:idx val="839"/>
            <c:spPr>
              <a:solidFill>
                <a:srgbClr val="AEABAB"/>
              </a:solidFill>
            </c:spPr>
          </c:dPt>
          <c:dPt>
            <c:idx val="840"/>
            <c:spPr>
              <a:solidFill>
                <a:srgbClr val="AEABAB"/>
              </a:solidFill>
            </c:spPr>
          </c:dPt>
          <c:dPt>
            <c:idx val="841"/>
            <c:spPr>
              <a:solidFill>
                <a:srgbClr val="AEABAB"/>
              </a:solidFill>
            </c:spPr>
          </c:dPt>
          <c:dPt>
            <c:idx val="842"/>
            <c:spPr>
              <a:solidFill>
                <a:srgbClr val="AEABAB"/>
              </a:solidFill>
            </c:spPr>
          </c:dPt>
          <c:dPt>
            <c:idx val="843"/>
            <c:spPr>
              <a:solidFill>
                <a:srgbClr val="AEABAB"/>
              </a:solidFill>
            </c:spPr>
          </c:dPt>
          <c:dPt>
            <c:idx val="844"/>
            <c:spPr>
              <a:solidFill>
                <a:srgbClr val="AEABAB"/>
              </a:solidFill>
            </c:spPr>
          </c:dPt>
          <c:dPt>
            <c:idx val="845"/>
            <c:spPr>
              <a:solidFill>
                <a:srgbClr val="AEABAB"/>
              </a:solidFill>
            </c:spPr>
          </c:dPt>
          <c:dPt>
            <c:idx val="846"/>
            <c:spPr>
              <a:solidFill>
                <a:srgbClr val="AEABAB"/>
              </a:solidFill>
            </c:spPr>
          </c:dPt>
          <c:dPt>
            <c:idx val="847"/>
            <c:spPr>
              <a:solidFill>
                <a:srgbClr val="AEABAB"/>
              </a:solidFill>
            </c:spPr>
          </c:dPt>
          <c:dPt>
            <c:idx val="848"/>
            <c:spPr>
              <a:solidFill>
                <a:srgbClr val="AEABAB"/>
              </a:solidFill>
            </c:spPr>
          </c:dPt>
          <c:dPt>
            <c:idx val="849"/>
            <c:spPr>
              <a:solidFill>
                <a:srgbClr val="AEABAB"/>
              </a:solidFill>
            </c:spPr>
          </c:dPt>
          <c:dPt>
            <c:idx val="850"/>
            <c:spPr>
              <a:solidFill>
                <a:srgbClr val="AEABAB"/>
              </a:solidFill>
            </c:spPr>
          </c:dPt>
          <c:dPt>
            <c:idx val="851"/>
            <c:spPr>
              <a:solidFill>
                <a:srgbClr val="AEABAB"/>
              </a:solidFill>
            </c:spPr>
          </c:dPt>
          <c:dPt>
            <c:idx val="852"/>
            <c:spPr>
              <a:solidFill>
                <a:srgbClr val="AEABAB"/>
              </a:solidFill>
            </c:spPr>
          </c:dPt>
          <c:dPt>
            <c:idx val="853"/>
            <c:spPr>
              <a:solidFill>
                <a:srgbClr val="AEABAB"/>
              </a:solidFill>
            </c:spPr>
          </c:dPt>
          <c:dPt>
            <c:idx val="854"/>
            <c:spPr>
              <a:solidFill>
                <a:srgbClr val="AEABAB"/>
              </a:solidFill>
            </c:spPr>
          </c:dPt>
          <c:dPt>
            <c:idx val="855"/>
            <c:spPr>
              <a:solidFill>
                <a:srgbClr val="AEABAB"/>
              </a:solidFill>
            </c:spPr>
          </c:dPt>
          <c:dPt>
            <c:idx val="856"/>
            <c:spPr>
              <a:solidFill>
                <a:srgbClr val="AEABAB"/>
              </a:solidFill>
            </c:spPr>
          </c:dPt>
          <c:dPt>
            <c:idx val="857"/>
            <c:spPr>
              <a:solidFill>
                <a:srgbClr val="AEABAB"/>
              </a:solidFill>
            </c:spPr>
          </c:dPt>
          <c:dPt>
            <c:idx val="858"/>
            <c:spPr>
              <a:solidFill>
                <a:srgbClr val="AEABAB"/>
              </a:solidFill>
            </c:spPr>
          </c:dPt>
          <c:dPt>
            <c:idx val="859"/>
            <c:spPr>
              <a:solidFill>
                <a:srgbClr val="AEABAB"/>
              </a:solidFill>
            </c:spPr>
          </c:dPt>
          <c:dPt>
            <c:idx val="860"/>
            <c:spPr>
              <a:solidFill>
                <a:srgbClr val="AEABAB"/>
              </a:solidFill>
            </c:spPr>
          </c:dPt>
          <c:dPt>
            <c:idx val="861"/>
            <c:spPr>
              <a:solidFill>
                <a:srgbClr val="AEABAB"/>
              </a:solidFill>
            </c:spPr>
          </c:dPt>
          <c:dPt>
            <c:idx val="862"/>
            <c:spPr>
              <a:solidFill>
                <a:srgbClr val="AEABAB"/>
              </a:solidFill>
            </c:spPr>
          </c:dPt>
          <c:dPt>
            <c:idx val="863"/>
            <c:spPr>
              <a:solidFill>
                <a:srgbClr val="AEABAB"/>
              </a:solidFill>
            </c:spPr>
          </c:dPt>
          <c:dPt>
            <c:idx val="864"/>
            <c:spPr>
              <a:solidFill>
                <a:srgbClr val="AEABAB"/>
              </a:solidFill>
            </c:spPr>
          </c:dPt>
          <c:dPt>
            <c:idx val="865"/>
            <c:spPr>
              <a:solidFill>
                <a:srgbClr val="AEABAB"/>
              </a:solidFill>
            </c:spPr>
          </c:dPt>
          <c:dPt>
            <c:idx val="866"/>
            <c:spPr>
              <a:solidFill>
                <a:srgbClr val="AEABAB"/>
              </a:solidFill>
            </c:spPr>
          </c:dPt>
          <c:dPt>
            <c:idx val="867"/>
            <c:spPr>
              <a:solidFill>
                <a:srgbClr val="AEABAB"/>
              </a:solidFill>
            </c:spPr>
          </c:dPt>
          <c:dPt>
            <c:idx val="868"/>
            <c:spPr>
              <a:solidFill>
                <a:srgbClr val="AEABAB"/>
              </a:solidFill>
            </c:spPr>
          </c:dPt>
          <c:dPt>
            <c:idx val="869"/>
            <c:spPr>
              <a:solidFill>
                <a:srgbClr val="AEABAB"/>
              </a:solidFill>
            </c:spPr>
          </c:dPt>
          <c:dPt>
            <c:idx val="870"/>
            <c:spPr>
              <a:solidFill>
                <a:srgbClr val="AEABAB"/>
              </a:solidFill>
            </c:spPr>
          </c:dPt>
          <c:dPt>
            <c:idx val="871"/>
            <c:spPr>
              <a:solidFill>
                <a:srgbClr val="AEABAB"/>
              </a:solidFill>
            </c:spPr>
          </c:dPt>
          <c:dPt>
            <c:idx val="872"/>
            <c:spPr>
              <a:solidFill>
                <a:srgbClr val="AEABAB"/>
              </a:solidFill>
            </c:spPr>
          </c:dPt>
          <c:dPt>
            <c:idx val="873"/>
            <c:spPr>
              <a:solidFill>
                <a:srgbClr val="AEABAB"/>
              </a:solidFill>
            </c:spPr>
          </c:dPt>
          <c:dPt>
            <c:idx val="874"/>
            <c:spPr>
              <a:solidFill>
                <a:srgbClr val="AEABAB"/>
              </a:solidFill>
            </c:spPr>
          </c:dPt>
          <c:dPt>
            <c:idx val="875"/>
            <c:spPr>
              <a:solidFill>
                <a:srgbClr val="AEABAB"/>
              </a:solidFill>
            </c:spPr>
          </c:dPt>
          <c:dPt>
            <c:idx val="876"/>
            <c:spPr>
              <a:solidFill>
                <a:srgbClr val="AEABAB"/>
              </a:solidFill>
            </c:spPr>
          </c:dPt>
          <c:dPt>
            <c:idx val="877"/>
            <c:spPr>
              <a:solidFill>
                <a:srgbClr val="AEABAB"/>
              </a:solidFill>
            </c:spPr>
          </c:dPt>
          <c:dPt>
            <c:idx val="878"/>
            <c:spPr>
              <a:solidFill>
                <a:srgbClr val="AEABAB"/>
              </a:solidFill>
            </c:spPr>
          </c:dPt>
          <c:dPt>
            <c:idx val="879"/>
            <c:spPr>
              <a:solidFill>
                <a:srgbClr val="AEABAB"/>
              </a:solidFill>
            </c:spPr>
          </c:dPt>
          <c:dPt>
            <c:idx val="880"/>
            <c:spPr>
              <a:solidFill>
                <a:srgbClr val="AEABAB"/>
              </a:solidFill>
            </c:spPr>
          </c:dPt>
          <c:dPt>
            <c:idx val="881"/>
            <c:spPr>
              <a:solidFill>
                <a:srgbClr val="AEABAB"/>
              </a:solidFill>
            </c:spPr>
          </c:dPt>
          <c:dPt>
            <c:idx val="882"/>
            <c:spPr>
              <a:solidFill>
                <a:srgbClr val="AEABAB"/>
              </a:solidFill>
            </c:spPr>
          </c:dPt>
          <c:dPt>
            <c:idx val="883"/>
            <c:spPr>
              <a:solidFill>
                <a:srgbClr val="AEABAB"/>
              </a:solidFill>
            </c:spPr>
          </c:dPt>
          <c:dPt>
            <c:idx val="884"/>
            <c:spPr>
              <a:solidFill>
                <a:srgbClr val="AEABAB"/>
              </a:solidFill>
            </c:spPr>
          </c:dPt>
          <c:dPt>
            <c:idx val="885"/>
            <c:spPr>
              <a:solidFill>
                <a:srgbClr val="AEABAB"/>
              </a:solidFill>
            </c:spPr>
          </c:dPt>
          <c:dPt>
            <c:idx val="886"/>
            <c:spPr>
              <a:solidFill>
                <a:srgbClr val="AEABAB"/>
              </a:solidFill>
            </c:spPr>
          </c:dPt>
          <c:dPt>
            <c:idx val="887"/>
            <c:spPr>
              <a:solidFill>
                <a:srgbClr val="AEABAB"/>
              </a:solidFill>
            </c:spPr>
          </c:dPt>
          <c:dPt>
            <c:idx val="888"/>
            <c:spPr>
              <a:solidFill>
                <a:srgbClr val="AEABAB"/>
              </a:solidFill>
            </c:spPr>
          </c:dPt>
          <c:dPt>
            <c:idx val="889"/>
            <c:spPr>
              <a:solidFill>
                <a:srgbClr val="AEABAB"/>
              </a:solidFill>
            </c:spPr>
          </c:dPt>
          <c:dPt>
            <c:idx val="890"/>
            <c:spPr>
              <a:solidFill>
                <a:srgbClr val="AEABAB"/>
              </a:solidFill>
            </c:spPr>
          </c:dPt>
          <c:dPt>
            <c:idx val="891"/>
            <c:spPr>
              <a:solidFill>
                <a:srgbClr val="AEABAB"/>
              </a:solidFill>
            </c:spPr>
          </c:dPt>
          <c:dPt>
            <c:idx val="892"/>
            <c:spPr>
              <a:solidFill>
                <a:srgbClr val="AEABAB"/>
              </a:solidFill>
            </c:spPr>
          </c:dPt>
          <c:dPt>
            <c:idx val="893"/>
            <c:spPr>
              <a:solidFill>
                <a:srgbClr val="AEABAB"/>
              </a:solidFill>
            </c:spPr>
          </c:dPt>
          <c:dPt>
            <c:idx val="894"/>
            <c:spPr>
              <a:solidFill>
                <a:srgbClr val="AEABAB"/>
              </a:solidFill>
            </c:spPr>
          </c:dPt>
          <c:dPt>
            <c:idx val="895"/>
            <c:spPr>
              <a:solidFill>
                <a:srgbClr val="AEABAB"/>
              </a:solidFill>
            </c:spPr>
          </c:dPt>
          <c:dPt>
            <c:idx val="896"/>
            <c:spPr>
              <a:solidFill>
                <a:srgbClr val="AEABAB"/>
              </a:solidFill>
            </c:spPr>
          </c:dPt>
          <c:dPt>
            <c:idx val="897"/>
            <c:spPr>
              <a:solidFill>
                <a:srgbClr val="AEABAB"/>
              </a:solidFill>
            </c:spPr>
          </c:dPt>
          <c:dPt>
            <c:idx val="898"/>
            <c:spPr>
              <a:solidFill>
                <a:srgbClr val="AEABAB"/>
              </a:solidFill>
            </c:spPr>
          </c:dPt>
          <c:dPt>
            <c:idx val="899"/>
            <c:spPr>
              <a:solidFill>
                <a:srgbClr val="AEABAB"/>
              </a:solidFill>
            </c:spPr>
          </c:dPt>
          <c:dPt>
            <c:idx val="900"/>
            <c:spPr>
              <a:solidFill>
                <a:srgbClr val="AEABAB"/>
              </a:solidFill>
            </c:spPr>
          </c:dPt>
          <c:dPt>
            <c:idx val="901"/>
            <c:spPr>
              <a:solidFill>
                <a:srgbClr val="AEABAB"/>
              </a:solidFill>
            </c:spPr>
          </c:dPt>
          <c:dPt>
            <c:idx val="902"/>
            <c:spPr>
              <a:solidFill>
                <a:srgbClr val="AEABAB"/>
              </a:solidFill>
            </c:spPr>
          </c:dPt>
          <c:dPt>
            <c:idx val="903"/>
            <c:spPr>
              <a:solidFill>
                <a:srgbClr val="AEABAB"/>
              </a:solidFill>
            </c:spPr>
          </c:dPt>
          <c:dPt>
            <c:idx val="904"/>
            <c:spPr>
              <a:solidFill>
                <a:srgbClr val="AEABAB"/>
              </a:solidFill>
            </c:spPr>
          </c:dPt>
          <c:dPt>
            <c:idx val="905"/>
            <c:spPr>
              <a:solidFill>
                <a:srgbClr val="AEABAB"/>
              </a:solidFill>
            </c:spPr>
          </c:dPt>
          <c:dPt>
            <c:idx val="906"/>
            <c:spPr>
              <a:solidFill>
                <a:srgbClr val="AEABAB"/>
              </a:solidFill>
            </c:spPr>
          </c:dPt>
          <c:dPt>
            <c:idx val="907"/>
            <c:spPr>
              <a:solidFill>
                <a:srgbClr val="AEABAB"/>
              </a:solidFill>
            </c:spPr>
          </c:dPt>
          <c:dPt>
            <c:idx val="908"/>
            <c:spPr>
              <a:solidFill>
                <a:srgbClr val="AEABAB"/>
              </a:solidFill>
            </c:spPr>
          </c:dPt>
          <c:dPt>
            <c:idx val="909"/>
            <c:spPr>
              <a:solidFill>
                <a:srgbClr val="AEABAB"/>
              </a:solidFill>
            </c:spPr>
          </c:dPt>
          <c:dPt>
            <c:idx val="910"/>
            <c:spPr>
              <a:solidFill>
                <a:srgbClr val="AEABAB"/>
              </a:solidFill>
            </c:spPr>
          </c:dPt>
          <c:dPt>
            <c:idx val="911"/>
            <c:spPr>
              <a:solidFill>
                <a:srgbClr val="AEABAB"/>
              </a:solidFill>
            </c:spPr>
          </c:dPt>
          <c:dPt>
            <c:idx val="912"/>
            <c:spPr>
              <a:solidFill>
                <a:srgbClr val="AEABAB"/>
              </a:solidFill>
            </c:spPr>
          </c:dPt>
          <c:dPt>
            <c:idx val="913"/>
            <c:spPr>
              <a:solidFill>
                <a:srgbClr val="AEABAB"/>
              </a:solidFill>
            </c:spPr>
          </c:dPt>
          <c:dPt>
            <c:idx val="914"/>
            <c:spPr>
              <a:solidFill>
                <a:srgbClr val="AEABAB"/>
              </a:solidFill>
            </c:spPr>
          </c:dPt>
          <c:dPt>
            <c:idx val="915"/>
            <c:spPr>
              <a:solidFill>
                <a:srgbClr val="AEABAB"/>
              </a:solidFill>
            </c:spPr>
          </c:dPt>
          <c:dPt>
            <c:idx val="916"/>
            <c:spPr>
              <a:solidFill>
                <a:srgbClr val="AEABAB"/>
              </a:solidFill>
            </c:spPr>
          </c:dPt>
          <c:dPt>
            <c:idx val="917"/>
            <c:spPr>
              <a:solidFill>
                <a:srgbClr val="AEABAB"/>
              </a:solidFill>
            </c:spPr>
          </c:dPt>
          <c:dPt>
            <c:idx val="918"/>
            <c:spPr>
              <a:solidFill>
                <a:srgbClr val="AEABAB"/>
              </a:solidFill>
            </c:spPr>
          </c:dPt>
          <c:dPt>
            <c:idx val="919"/>
            <c:spPr>
              <a:solidFill>
                <a:srgbClr val="AEABAB"/>
              </a:solidFill>
            </c:spPr>
          </c:dPt>
          <c:dPt>
            <c:idx val="920"/>
            <c:spPr>
              <a:solidFill>
                <a:srgbClr val="AEABAB"/>
              </a:solidFill>
            </c:spPr>
          </c:dPt>
          <c:dPt>
            <c:idx val="921"/>
            <c:spPr>
              <a:solidFill>
                <a:srgbClr val="AEABAB"/>
              </a:solidFill>
            </c:spPr>
          </c:dPt>
          <c:dPt>
            <c:idx val="922"/>
            <c:spPr>
              <a:solidFill>
                <a:srgbClr val="AEABAB"/>
              </a:solidFill>
            </c:spPr>
          </c:dPt>
          <c:dPt>
            <c:idx val="923"/>
            <c:spPr>
              <a:solidFill>
                <a:srgbClr val="AEABAB"/>
              </a:solidFill>
            </c:spPr>
          </c:dPt>
          <c:dPt>
            <c:idx val="924"/>
            <c:spPr>
              <a:solidFill>
                <a:srgbClr val="AEABAB"/>
              </a:solidFill>
            </c:spPr>
          </c:dPt>
          <c:dPt>
            <c:idx val="925"/>
            <c:spPr>
              <a:solidFill>
                <a:srgbClr val="AEABAB"/>
              </a:solidFill>
            </c:spPr>
          </c:dPt>
          <c:dPt>
            <c:idx val="926"/>
            <c:spPr>
              <a:solidFill>
                <a:srgbClr val="AEABAB"/>
              </a:solidFill>
            </c:spPr>
          </c:dPt>
          <c:dPt>
            <c:idx val="927"/>
            <c:spPr>
              <a:solidFill>
                <a:srgbClr val="AEABAB"/>
              </a:solidFill>
            </c:spPr>
          </c:dPt>
          <c:dPt>
            <c:idx val="928"/>
            <c:spPr>
              <a:solidFill>
                <a:srgbClr val="AEABAB"/>
              </a:solidFill>
            </c:spPr>
          </c:dPt>
          <c:dPt>
            <c:idx val="929"/>
            <c:spPr>
              <a:solidFill>
                <a:srgbClr val="AEABAB"/>
              </a:solidFill>
            </c:spPr>
          </c:dPt>
          <c:dPt>
            <c:idx val="930"/>
            <c:spPr>
              <a:solidFill>
                <a:srgbClr val="AEABAB"/>
              </a:solidFill>
            </c:spPr>
          </c:dPt>
          <c:dPt>
            <c:idx val="931"/>
            <c:spPr>
              <a:solidFill>
                <a:srgbClr val="AEABAB"/>
              </a:solidFill>
            </c:spPr>
          </c:dPt>
          <c:dPt>
            <c:idx val="932"/>
            <c:spPr>
              <a:solidFill>
                <a:srgbClr val="AEABAB"/>
              </a:solidFill>
            </c:spPr>
          </c:dPt>
          <c:dPt>
            <c:idx val="933"/>
            <c:spPr>
              <a:solidFill>
                <a:srgbClr val="AEABAB"/>
              </a:solidFill>
            </c:spPr>
          </c:dPt>
          <c:dPt>
            <c:idx val="934"/>
            <c:spPr>
              <a:solidFill>
                <a:srgbClr val="AEABAB"/>
              </a:solidFill>
            </c:spPr>
          </c:dPt>
          <c:dPt>
            <c:idx val="935"/>
            <c:spPr>
              <a:solidFill>
                <a:srgbClr val="AEABAB"/>
              </a:solidFill>
            </c:spPr>
          </c:dPt>
          <c:dPt>
            <c:idx val="936"/>
            <c:spPr>
              <a:solidFill>
                <a:srgbClr val="AEABAB"/>
              </a:solidFill>
            </c:spPr>
          </c:dPt>
          <c:dPt>
            <c:idx val="937"/>
            <c:spPr>
              <a:solidFill>
                <a:srgbClr val="AEABAB"/>
              </a:solidFill>
            </c:spPr>
          </c:dPt>
          <c:dPt>
            <c:idx val="938"/>
            <c:spPr>
              <a:solidFill>
                <a:srgbClr val="AEABAB"/>
              </a:solidFill>
            </c:spPr>
          </c:dPt>
          <c:dPt>
            <c:idx val="939"/>
            <c:spPr>
              <a:solidFill>
                <a:srgbClr val="AEABAB"/>
              </a:solidFill>
            </c:spPr>
          </c:dPt>
          <c:dPt>
            <c:idx val="940"/>
            <c:spPr>
              <a:solidFill>
                <a:srgbClr val="AEABAB"/>
              </a:solidFill>
            </c:spPr>
          </c:dPt>
          <c:dPt>
            <c:idx val="941"/>
            <c:spPr>
              <a:solidFill>
                <a:srgbClr val="AEABAB"/>
              </a:solidFill>
            </c:spPr>
          </c:dPt>
          <c:dPt>
            <c:idx val="942"/>
            <c:spPr>
              <a:solidFill>
                <a:srgbClr val="AEABAB"/>
              </a:solidFill>
            </c:spPr>
          </c:dPt>
          <c:dPt>
            <c:idx val="943"/>
            <c:spPr>
              <a:solidFill>
                <a:srgbClr val="AEABAB"/>
              </a:solidFill>
            </c:spPr>
          </c:dPt>
          <c:dPt>
            <c:idx val="944"/>
            <c:spPr>
              <a:solidFill>
                <a:srgbClr val="AEABAB"/>
              </a:solidFill>
            </c:spPr>
          </c:dPt>
          <c:cat>
            <c:strRef>
              <c:f>Sheet1!$A$2:$A$946</c:f>
              <c:strCache>
                <c:ptCount val="945"/>
                <c:pt idx="0">
                  <c:v>Caprice Des</c:v>
                </c:pt>
                <c:pt idx="1">
                  <c:v>Private Lab</c:v>
                </c:pt>
                <c:pt idx="2">
                  <c:v>Coeur De Li</c:v>
                </c:pt>
                <c:pt idx="3">
                  <c:v>President</c:v>
                </c:pt>
                <c:pt idx="4">
                  <c:v>La Vache Qu</c:v>
                </c:pt>
                <c:pt idx="5">
                  <c:v>Mini Babybe</c:v>
                </c:pt>
                <c:pt idx="6">
                  <c:v>Caprice Des</c:v>
                </c:pt>
                <c:pt idx="7">
                  <c:v>Soignon</c:v>
                </c:pt>
                <c:pt idx="8">
                  <c:v>Private Lab</c:v>
                </c:pt>
                <c:pt idx="9">
                  <c:v>Coeur De Li</c:v>
                </c:pt>
                <c:pt idx="10">
                  <c:v>Galbani</c:v>
                </c:pt>
                <c:pt idx="11">
                  <c:v>Soignon</c:v>
                </c:pt>
                <c:pt idx="12">
                  <c:v>Le Rustique</c:v>
                </c:pt>
                <c:pt idx="13">
                  <c:v>St Moret</c:v>
                </c:pt>
                <c:pt idx="14">
                  <c:v>Private Lab</c:v>
                </c:pt>
                <c:pt idx="15">
                  <c:v>La Vache Qu</c:v>
                </c:pt>
                <c:pt idx="16">
                  <c:v>Soignon</c:v>
                </c:pt>
                <c:pt idx="17">
                  <c:v>President</c:v>
                </c:pt>
                <c:pt idx="18">
                  <c:v>Tartare</c:v>
                </c:pt>
                <c:pt idx="19">
                  <c:v>All Others</c:v>
                </c:pt>
                <c:pt idx="20">
                  <c:v>Salakis</c:v>
                </c:pt>
                <c:pt idx="21">
                  <c:v>President</c:v>
                </c:pt>
                <c:pt idx="22">
                  <c:v>Ficello</c:v>
                </c:pt>
                <c:pt idx="23">
                  <c:v>Private Lab</c:v>
                </c:pt>
                <c:pt idx="24">
                  <c:v>La Vache Qu</c:v>
                </c:pt>
                <c:pt idx="25">
                  <c:v>Mini Babybe</c:v>
                </c:pt>
                <c:pt idx="26">
                  <c:v>St Moret</c:v>
                </c:pt>
                <c:pt idx="27">
                  <c:v>All Others</c:v>
                </c:pt>
                <c:pt idx="28">
                  <c:v>Kiri</c:v>
                </c:pt>
                <c:pt idx="29">
                  <c:v>Paysan Bret</c:v>
                </c:pt>
                <c:pt idx="30">
                  <c:v>St Moret</c:v>
                </c:pt>
                <c:pt idx="31">
                  <c:v>Islos</c:v>
                </c:pt>
                <c:pt idx="32">
                  <c:v>Carre Frais</c:v>
                </c:pt>
                <c:pt idx="33">
                  <c:v>Kiri</c:v>
                </c:pt>
                <c:pt idx="34">
                  <c:v>Private Lab</c:v>
                </c:pt>
                <c:pt idx="35">
                  <c:v>Philadelphi</c:v>
                </c:pt>
                <c:pt idx="36">
                  <c:v>Paysan Bret</c:v>
                </c:pt>
                <c:pt idx="37">
                  <c:v>Private Lab</c:v>
                </c:pt>
                <c:pt idx="38">
                  <c:v>Lepetit</c:v>
                </c:pt>
                <c:pt idx="39">
                  <c:v>St Moret</c:v>
                </c:pt>
                <c:pt idx="40">
                  <c:v>Coeur De Li</c:v>
                </c:pt>
                <c:pt idx="41">
                  <c:v>Carre Frais</c:v>
                </c:pt>
                <c:pt idx="42">
                  <c:v>Caprice Des</c:v>
                </c:pt>
                <c:pt idx="43">
                  <c:v>Tartare</c:v>
                </c:pt>
                <c:pt idx="44">
                  <c:v>Private Lab</c:v>
                </c:pt>
                <c:pt idx="45">
                  <c:v>Boursin</c:v>
                </c:pt>
                <c:pt idx="46">
                  <c:v>Kiri</c:v>
                </c:pt>
                <c:pt idx="47">
                  <c:v>Casa Azzurr</c:v>
                </c:pt>
                <c:pt idx="48">
                  <c:v>Istara</c:v>
                </c:pt>
                <c:pt idx="49">
                  <c:v>Casa Azzurr</c:v>
                </c:pt>
                <c:pt idx="50">
                  <c:v>Private Lab</c:v>
                </c:pt>
                <c:pt idx="51">
                  <c:v>St Moret</c:v>
                </c:pt>
                <c:pt idx="52">
                  <c:v>Galbani</c:v>
                </c:pt>
                <c:pt idx="53">
                  <c:v>Private Lab</c:v>
                </c:pt>
                <c:pt idx="54">
                  <c:v>Boursin</c:v>
                </c:pt>
                <c:pt idx="55">
                  <c:v>Private Lab</c:v>
                </c:pt>
                <c:pt idx="56">
                  <c:v>All Others</c:v>
                </c:pt>
                <c:pt idx="57">
                  <c:v>President</c:v>
                </c:pt>
                <c:pt idx="58">
                  <c:v>President</c:v>
                </c:pt>
                <c:pt idx="59">
                  <c:v>Petit Billy</c:v>
                </c:pt>
                <c:pt idx="60">
                  <c:v>Lou Perac</c:v>
                </c:pt>
                <c:pt idx="61">
                  <c:v>Private Lab</c:v>
                </c:pt>
                <c:pt idx="62">
                  <c:v>Private Lab</c:v>
                </c:pt>
                <c:pt idx="63">
                  <c:v>Philadelphi</c:v>
                </c:pt>
                <c:pt idx="64">
                  <c:v>Private Lab</c:v>
                </c:pt>
                <c:pt idx="65">
                  <c:v>Private Lab</c:v>
                </c:pt>
                <c:pt idx="66">
                  <c:v>Boursin</c:v>
                </c:pt>
                <c:pt idx="67">
                  <c:v>President</c:v>
                </c:pt>
                <c:pt idx="68">
                  <c:v>St Moret</c:v>
                </c:pt>
                <c:pt idx="69">
                  <c:v>President</c:v>
                </c:pt>
                <c:pt idx="70">
                  <c:v>Private Lab</c:v>
                </c:pt>
                <c:pt idx="71">
                  <c:v>Kiri</c:v>
                </c:pt>
                <c:pt idx="72">
                  <c:v>St Moret</c:v>
                </c:pt>
                <c:pt idx="73">
                  <c:v>Coeur De Li</c:v>
                </c:pt>
                <c:pt idx="74">
                  <c:v>Salakis</c:v>
                </c:pt>
                <c:pt idx="75">
                  <c:v>Private Lab</c:v>
                </c:pt>
                <c:pt idx="76">
                  <c:v>Galbani</c:v>
                </c:pt>
                <c:pt idx="77">
                  <c:v>Private Lab</c:v>
                </c:pt>
                <c:pt idx="78">
                  <c:v>Casa Azzurr</c:v>
                </c:pt>
                <c:pt idx="79">
                  <c:v>Galbani</c:v>
                </c:pt>
                <c:pt idx="80">
                  <c:v>Le Rustique</c:v>
                </c:pt>
                <c:pt idx="81">
                  <c:v>All Others</c:v>
                </c:pt>
                <c:pt idx="82">
                  <c:v>President</c:v>
                </c:pt>
                <c:pt idx="83">
                  <c:v>Casa Azzurr</c:v>
                </c:pt>
                <c:pt idx="84">
                  <c:v>Private Lab</c:v>
                </c:pt>
                <c:pt idx="85">
                  <c:v>All Others</c:v>
                </c:pt>
                <c:pt idx="86">
                  <c:v>Mini Babybe</c:v>
                </c:pt>
                <c:pt idx="87">
                  <c:v>Ficello</c:v>
                </c:pt>
                <c:pt idx="88">
                  <c:v>Boursin</c:v>
                </c:pt>
                <c:pt idx="89">
                  <c:v>Mini Babybe</c:v>
                </c:pt>
                <c:pt idx="90">
                  <c:v>Le Brebiou</c:v>
                </c:pt>
                <c:pt idx="91">
                  <c:v>St Moret</c:v>
                </c:pt>
                <c:pt idx="92">
                  <c:v>Soignon</c:v>
                </c:pt>
                <c:pt idx="93">
                  <c:v>Salakis</c:v>
                </c:pt>
                <c:pt idx="94">
                  <c:v>Paysan Bret</c:v>
                </c:pt>
                <c:pt idx="95">
                  <c:v>Le Rustique</c:v>
                </c:pt>
                <c:pt idx="96">
                  <c:v>Coeur De Li</c:v>
                </c:pt>
                <c:pt idx="97">
                  <c:v>Kiri</c:v>
                </c:pt>
                <c:pt idx="98">
                  <c:v>President</c:v>
                </c:pt>
                <c:pt idx="99">
                  <c:v>Lactalis: A</c:v>
                </c:pt>
                <c:pt idx="100">
                  <c:v>Private Lab</c:v>
                </c:pt>
                <c:pt idx="101">
                  <c:v>Private Lab</c:v>
                </c:pt>
                <c:pt idx="102">
                  <c:v>Private Lab</c:v>
                </c:pt>
                <c:pt idx="103">
                  <c:v>Private Lab</c:v>
                </c:pt>
                <c:pt idx="104">
                  <c:v>Soignon</c:v>
                </c:pt>
                <c:pt idx="105">
                  <c:v>Casa Azzurr</c:v>
                </c:pt>
                <c:pt idx="106">
                  <c:v>Etorki</c:v>
                </c:pt>
                <c:pt idx="107">
                  <c:v>All Others</c:v>
                </c:pt>
                <c:pt idx="108">
                  <c:v>Lou Perac</c:v>
                </c:pt>
                <c:pt idx="109">
                  <c:v>Casa Azzurr</c:v>
                </c:pt>
                <c:pt idx="110">
                  <c:v>La Vache Qu</c:v>
                </c:pt>
                <c:pt idx="111">
                  <c:v>Chavroux</c:v>
                </c:pt>
                <c:pt idx="112">
                  <c:v>Soignon</c:v>
                </c:pt>
                <c:pt idx="113">
                  <c:v>Caprice Des</c:v>
                </c:pt>
                <c:pt idx="114">
                  <c:v>La Vache Qu</c:v>
                </c:pt>
                <c:pt idx="115">
                  <c:v>Private Lab</c:v>
                </c:pt>
                <c:pt idx="116">
                  <c:v>Galbani</c:v>
                </c:pt>
                <c:pt idx="117">
                  <c:v>Rondele</c:v>
                </c:pt>
                <c:pt idx="118">
                  <c:v>Private Lab</c:v>
                </c:pt>
                <c:pt idx="119">
                  <c:v>All Others</c:v>
                </c:pt>
                <c:pt idx="120">
                  <c:v>Private Lab</c:v>
                </c:pt>
                <c:pt idx="121">
                  <c:v>Private Lab</c:v>
                </c:pt>
                <c:pt idx="122">
                  <c:v>Lactalis: A</c:v>
                </c:pt>
                <c:pt idx="123">
                  <c:v>All Others</c:v>
                </c:pt>
                <c:pt idx="124">
                  <c:v>Paysan Bret</c:v>
                </c:pt>
                <c:pt idx="125">
                  <c:v>President</c:v>
                </c:pt>
                <c:pt idx="126">
                  <c:v>Private Lab</c:v>
                </c:pt>
                <c:pt idx="127">
                  <c:v>Private Lab</c:v>
                </c:pt>
                <c:pt idx="128">
                  <c:v>Tartare</c:v>
                </c:pt>
                <c:pt idx="129">
                  <c:v>Istara</c:v>
                </c:pt>
                <c:pt idx="130">
                  <c:v>Private Lab</c:v>
                </c:pt>
                <c:pt idx="131">
                  <c:v>Casa Azzurr</c:v>
                </c:pt>
                <c:pt idx="132">
                  <c:v>Boursin</c:v>
                </c:pt>
                <c:pt idx="133">
                  <c:v>All Others</c:v>
                </c:pt>
                <c:pt idx="134">
                  <c:v>Lactalis: A</c:v>
                </c:pt>
                <c:pt idx="135">
                  <c:v>P'Tit Louis</c:v>
                </c:pt>
                <c:pt idx="136">
                  <c:v>Private Lab</c:v>
                </c:pt>
                <c:pt idx="137">
                  <c:v>Soignon</c:v>
                </c:pt>
                <c:pt idx="138">
                  <c:v>La Vache Qu</c:v>
                </c:pt>
                <c:pt idx="139">
                  <c:v>All Others</c:v>
                </c:pt>
                <c:pt idx="140">
                  <c:v>Soignon</c:v>
                </c:pt>
                <c:pt idx="141">
                  <c:v>Private Lab</c:v>
                </c:pt>
                <c:pt idx="142">
                  <c:v>Soignon</c:v>
                </c:pt>
                <c:pt idx="143">
                  <c:v>Chavroux</c:v>
                </c:pt>
                <c:pt idx="144">
                  <c:v>Private Lab</c:v>
                </c:pt>
                <c:pt idx="145">
                  <c:v>Paysan Bret</c:v>
                </c:pt>
                <c:pt idx="146">
                  <c:v>Private Lab</c:v>
                </c:pt>
                <c:pt idx="147">
                  <c:v>Galbani</c:v>
                </c:pt>
                <c:pt idx="148">
                  <c:v>President</c:v>
                </c:pt>
                <c:pt idx="149">
                  <c:v>President</c:v>
                </c:pt>
                <c:pt idx="150">
                  <c:v>All Others</c:v>
                </c:pt>
                <c:pt idx="151">
                  <c:v>Caprice Des</c:v>
                </c:pt>
                <c:pt idx="152">
                  <c:v>All Others</c:v>
                </c:pt>
                <c:pt idx="153">
                  <c:v>All Others</c:v>
                </c:pt>
                <c:pt idx="154">
                  <c:v>Paysan Bret</c:v>
                </c:pt>
                <c:pt idx="155">
                  <c:v>All Others</c:v>
                </c:pt>
                <c:pt idx="156">
                  <c:v>Le Rustique</c:v>
                </c:pt>
                <c:pt idx="157">
                  <c:v>All Others</c:v>
                </c:pt>
                <c:pt idx="158">
                  <c:v>All Others</c:v>
                </c:pt>
                <c:pt idx="159">
                  <c:v>Lactalis: A</c:v>
                </c:pt>
                <c:pt idx="160">
                  <c:v>Private Lab</c:v>
                </c:pt>
                <c:pt idx="161">
                  <c:v>All Others</c:v>
                </c:pt>
                <c:pt idx="162">
                  <c:v>All Others</c:v>
                </c:pt>
                <c:pt idx="163">
                  <c:v>Casa Azzurr</c:v>
                </c:pt>
                <c:pt idx="164">
                  <c:v>Kiri</c:v>
                </c:pt>
                <c:pt idx="165">
                  <c:v>Soignon</c:v>
                </c:pt>
                <c:pt idx="166">
                  <c:v>Soignon</c:v>
                </c:pt>
                <c:pt idx="167">
                  <c:v>Salakis</c:v>
                </c:pt>
                <c:pt idx="168">
                  <c:v>All Others</c:v>
                </c:pt>
                <c:pt idx="169">
                  <c:v>Casa Azzurr</c:v>
                </c:pt>
                <c:pt idx="170">
                  <c:v>Private Lab</c:v>
                </c:pt>
                <c:pt idx="171">
                  <c:v>Private Lab</c:v>
                </c:pt>
                <c:pt idx="172">
                  <c:v>All Others</c:v>
                </c:pt>
                <c:pt idx="173">
                  <c:v>Salakis</c:v>
                </c:pt>
                <c:pt idx="174">
                  <c:v>Tartare</c:v>
                </c:pt>
                <c:pt idx="175">
                  <c:v>Paysan Bret</c:v>
                </c:pt>
                <c:pt idx="176">
                  <c:v>Boursin</c:v>
                </c:pt>
                <c:pt idx="177">
                  <c:v>All Others</c:v>
                </c:pt>
                <c:pt idx="178">
                  <c:v>Salakis</c:v>
                </c:pt>
                <c:pt idx="179">
                  <c:v>All Others</c:v>
                </c:pt>
                <c:pt idx="180">
                  <c:v>Private Lab</c:v>
                </c:pt>
                <c:pt idx="181">
                  <c:v>Galbani</c:v>
                </c:pt>
                <c:pt idx="182">
                  <c:v>All Others</c:v>
                </c:pt>
                <c:pt idx="183">
                  <c:v>Boursin</c:v>
                </c:pt>
                <c:pt idx="184">
                  <c:v>Private Lab</c:v>
                </c:pt>
                <c:pt idx="185">
                  <c:v>Private Lab</c:v>
                </c:pt>
                <c:pt idx="186">
                  <c:v>Private Lab</c:v>
                </c:pt>
                <c:pt idx="187">
                  <c:v>Savencia: A</c:v>
                </c:pt>
                <c:pt idx="188">
                  <c:v>All Others</c:v>
                </c:pt>
                <c:pt idx="189">
                  <c:v>Private Lab</c:v>
                </c:pt>
                <c:pt idx="190">
                  <c:v>Private Lab</c:v>
                </c:pt>
                <c:pt idx="191">
                  <c:v>Lou Perac</c:v>
                </c:pt>
                <c:pt idx="192">
                  <c:v>Chavroux</c:v>
                </c:pt>
                <c:pt idx="193">
                  <c:v>Etoile Du Q</c:v>
                </c:pt>
                <c:pt idx="194">
                  <c:v>All Others</c:v>
                </c:pt>
                <c:pt idx="195">
                  <c:v>All Others</c:v>
                </c:pt>
                <c:pt idx="196">
                  <c:v>Galbani</c:v>
                </c:pt>
                <c:pt idx="197">
                  <c:v>Casa Azzurr</c:v>
                </c:pt>
                <c:pt idx="198">
                  <c:v>All Others</c:v>
                </c:pt>
                <c:pt idx="199">
                  <c:v>Private Lab</c:v>
                </c:pt>
                <c:pt idx="200">
                  <c:v>All Others</c:v>
                </c:pt>
                <c:pt idx="201">
                  <c:v>President</c:v>
                </c:pt>
                <c:pt idx="202">
                  <c:v>Mini Babybe</c:v>
                </c:pt>
                <c:pt idx="203">
                  <c:v>Mini Babybe</c:v>
                </c:pt>
                <c:pt idx="204">
                  <c:v>Soignon</c:v>
                </c:pt>
                <c:pt idx="205">
                  <c:v>All Others</c:v>
                </c:pt>
                <c:pt idx="206">
                  <c:v>Triballat N</c:v>
                </c:pt>
                <c:pt idx="207">
                  <c:v>All Others</c:v>
                </c:pt>
                <c:pt idx="208">
                  <c:v>Private Lab</c:v>
                </c:pt>
                <c:pt idx="209">
                  <c:v>All Others</c:v>
                </c:pt>
                <c:pt idx="210">
                  <c:v>Private Lab</c:v>
                </c:pt>
                <c:pt idx="211">
                  <c:v>All Others</c:v>
                </c:pt>
                <c:pt idx="212">
                  <c:v>All Others</c:v>
                </c:pt>
                <c:pt idx="213">
                  <c:v>Pave D'Affi</c:v>
                </c:pt>
                <c:pt idx="214">
                  <c:v>All Others</c:v>
                </c:pt>
                <c:pt idx="215">
                  <c:v>Private Lab</c:v>
                </c:pt>
                <c:pt idx="216">
                  <c:v>Casa Azzurr</c:v>
                </c:pt>
                <c:pt idx="217">
                  <c:v>Private Lab</c:v>
                </c:pt>
                <c:pt idx="218">
                  <c:v>All Others</c:v>
                </c:pt>
                <c:pt idx="219">
                  <c:v>All Others</c:v>
                </c:pt>
                <c:pt idx="220">
                  <c:v>Savencia: A</c:v>
                </c:pt>
                <c:pt idx="221">
                  <c:v>All Others</c:v>
                </c:pt>
                <c:pt idx="222">
                  <c:v>Private Lab</c:v>
                </c:pt>
                <c:pt idx="223">
                  <c:v>Ficello</c:v>
                </c:pt>
                <c:pt idx="224">
                  <c:v>Savencia: A</c:v>
                </c:pt>
                <c:pt idx="225">
                  <c:v>All Others</c:v>
                </c:pt>
                <c:pt idx="226">
                  <c:v>St Moret</c:v>
                </c:pt>
                <c:pt idx="227">
                  <c:v>Galbani</c:v>
                </c:pt>
                <c:pt idx="228">
                  <c:v>Private Lab</c:v>
                </c:pt>
                <c:pt idx="229">
                  <c:v>Private Lab</c:v>
                </c:pt>
                <c:pt idx="230">
                  <c:v>Private Lab</c:v>
                </c:pt>
                <c:pt idx="231">
                  <c:v>Boursin</c:v>
                </c:pt>
                <c:pt idx="232">
                  <c:v>Private Lab</c:v>
                </c:pt>
                <c:pt idx="233">
                  <c:v>Galbani</c:v>
                </c:pt>
                <c:pt idx="234">
                  <c:v>All Others</c:v>
                </c:pt>
                <c:pt idx="235">
                  <c:v>Lou Perac</c:v>
                </c:pt>
                <c:pt idx="236">
                  <c:v>All Others</c:v>
                </c:pt>
                <c:pt idx="237">
                  <c:v>Boursin</c:v>
                </c:pt>
                <c:pt idx="238">
                  <c:v>All Others</c:v>
                </c:pt>
                <c:pt idx="239">
                  <c:v>All Others</c:v>
                </c:pt>
                <c:pt idx="240">
                  <c:v>St Moret</c:v>
                </c:pt>
                <c:pt idx="241">
                  <c:v>All Others</c:v>
                </c:pt>
                <c:pt idx="242">
                  <c:v>Private Lab</c:v>
                </c:pt>
                <c:pt idx="243">
                  <c:v>Mini Babybe</c:v>
                </c:pt>
                <c:pt idx="244">
                  <c:v>All Others</c:v>
                </c:pt>
                <c:pt idx="245">
                  <c:v>All Others</c:v>
                </c:pt>
                <c:pt idx="246">
                  <c:v>Tartare</c:v>
                </c:pt>
                <c:pt idx="247">
                  <c:v>All Others</c:v>
                </c:pt>
                <c:pt idx="248">
                  <c:v>All Others</c:v>
                </c:pt>
                <c:pt idx="249">
                  <c:v>All Others</c:v>
                </c:pt>
                <c:pt idx="250">
                  <c:v>Kiri</c:v>
                </c:pt>
                <c:pt idx="251">
                  <c:v>All Others</c:v>
                </c:pt>
                <c:pt idx="252">
                  <c:v>Soignon</c:v>
                </c:pt>
                <c:pt idx="253">
                  <c:v>President</c:v>
                </c:pt>
                <c:pt idx="254">
                  <c:v>Philadelphi</c:v>
                </c:pt>
                <c:pt idx="255">
                  <c:v>All Others</c:v>
                </c:pt>
                <c:pt idx="256">
                  <c:v>Etoile Du V</c:v>
                </c:pt>
                <c:pt idx="257">
                  <c:v>Kiri</c:v>
                </c:pt>
                <c:pt idx="258">
                  <c:v>Kiri</c:v>
                </c:pt>
                <c:pt idx="259">
                  <c:v>Islos</c:v>
                </c:pt>
                <c:pt idx="260">
                  <c:v>Casa Azzurr</c:v>
                </c:pt>
                <c:pt idx="261">
                  <c:v>Kiri</c:v>
                </c:pt>
                <c:pt idx="262">
                  <c:v>All Others</c:v>
                </c:pt>
                <c:pt idx="263">
                  <c:v>Rondele</c:v>
                </c:pt>
                <c:pt idx="264">
                  <c:v>Rondele</c:v>
                </c:pt>
                <c:pt idx="265">
                  <c:v>All Others</c:v>
                </c:pt>
                <c:pt idx="266">
                  <c:v>Casa Azzurr</c:v>
                </c:pt>
                <c:pt idx="267">
                  <c:v>All Others</c:v>
                </c:pt>
                <c:pt idx="268">
                  <c:v>Private Lab</c:v>
                </c:pt>
                <c:pt idx="269">
                  <c:v>All Others</c:v>
                </c:pt>
                <c:pt idx="270">
                  <c:v>All Others</c:v>
                </c:pt>
                <c:pt idx="271">
                  <c:v>All Others</c:v>
                </c:pt>
                <c:pt idx="272">
                  <c:v>All Others</c:v>
                </c:pt>
                <c:pt idx="273">
                  <c:v>Triballat R</c:v>
                </c:pt>
                <c:pt idx="274">
                  <c:v>Corsica</c:v>
                </c:pt>
                <c:pt idx="275">
                  <c:v>All Others</c:v>
                </c:pt>
                <c:pt idx="276">
                  <c:v>Le Brebiou</c:v>
                </c:pt>
                <c:pt idx="277">
                  <c:v>Saint Agur</c:v>
                </c:pt>
                <c:pt idx="278">
                  <c:v>All Others</c:v>
                </c:pt>
                <c:pt idx="279">
                  <c:v>All Others</c:v>
                </c:pt>
                <c:pt idx="280">
                  <c:v>All Others</c:v>
                </c:pt>
                <c:pt idx="281">
                  <c:v>All Others</c:v>
                </c:pt>
                <c:pt idx="282">
                  <c:v>All Others</c:v>
                </c:pt>
                <c:pt idx="283">
                  <c:v>All Others</c:v>
                </c:pt>
                <c:pt idx="284">
                  <c:v>All Others</c:v>
                </c:pt>
                <c:pt idx="285">
                  <c:v>All Others</c:v>
                </c:pt>
                <c:pt idx="286">
                  <c:v>All Others</c:v>
                </c:pt>
                <c:pt idx="287">
                  <c:v>Ficello</c:v>
                </c:pt>
                <c:pt idx="288">
                  <c:v>Savencia: A</c:v>
                </c:pt>
                <c:pt idx="289">
                  <c:v>P'Tit Louis</c:v>
                </c:pt>
                <c:pt idx="290">
                  <c:v>All Others</c:v>
                </c:pt>
                <c:pt idx="291">
                  <c:v>All Others</c:v>
                </c:pt>
                <c:pt idx="292">
                  <c:v>All Others</c:v>
                </c:pt>
                <c:pt idx="293">
                  <c:v>Lou Perac</c:v>
                </c:pt>
                <c:pt idx="294">
                  <c:v>All Others</c:v>
                </c:pt>
                <c:pt idx="295">
                  <c:v>Lactalis: A</c:v>
                </c:pt>
                <c:pt idx="296">
                  <c:v>President</c:v>
                </c:pt>
                <c:pt idx="297">
                  <c:v>Eurial Autr</c:v>
                </c:pt>
                <c:pt idx="298">
                  <c:v>Mini Babybe</c:v>
                </c:pt>
                <c:pt idx="299">
                  <c:v>All Others</c:v>
                </c:pt>
                <c:pt idx="300">
                  <c:v>Private Lab</c:v>
                </c:pt>
                <c:pt idx="301">
                  <c:v>Soignon</c:v>
                </c:pt>
                <c:pt idx="302">
                  <c:v>Galbani</c:v>
                </c:pt>
                <c:pt idx="303">
                  <c:v>All Others</c:v>
                </c:pt>
                <c:pt idx="304">
                  <c:v>All Others</c:v>
                </c:pt>
                <c:pt idx="305">
                  <c:v>All Others</c:v>
                </c:pt>
                <c:pt idx="306">
                  <c:v>La Vache Qu</c:v>
                </c:pt>
                <c:pt idx="307">
                  <c:v>Private Lab</c:v>
                </c:pt>
                <c:pt idx="308">
                  <c:v>All Others</c:v>
                </c:pt>
                <c:pt idx="309">
                  <c:v>Private Lab</c:v>
                </c:pt>
                <c:pt idx="310">
                  <c:v>All Others</c:v>
                </c:pt>
                <c:pt idx="311">
                  <c:v>Boursin</c:v>
                </c:pt>
                <c:pt idx="312">
                  <c:v>All Others</c:v>
                </c:pt>
                <c:pt idx="313">
                  <c:v>Triballat R</c:v>
                </c:pt>
                <c:pt idx="314">
                  <c:v>Private Lab</c:v>
                </c:pt>
                <c:pt idx="315">
                  <c:v>All Others</c:v>
                </c:pt>
                <c:pt idx="316">
                  <c:v>All Others</c:v>
                </c:pt>
                <c:pt idx="317">
                  <c:v>All Others</c:v>
                </c:pt>
                <c:pt idx="318">
                  <c:v>All Others</c:v>
                </c:pt>
                <c:pt idx="319">
                  <c:v>P'Tit Louis</c:v>
                </c:pt>
                <c:pt idx="320">
                  <c:v>All Others</c:v>
                </c:pt>
                <c:pt idx="321">
                  <c:v>Casa Azzurr</c:v>
                </c:pt>
                <c:pt idx="322">
                  <c:v>All Others</c:v>
                </c:pt>
                <c:pt idx="323">
                  <c:v>All Others</c:v>
                </c:pt>
                <c:pt idx="324">
                  <c:v>All Others</c:v>
                </c:pt>
                <c:pt idx="325">
                  <c:v>Salakis</c:v>
                </c:pt>
                <c:pt idx="326">
                  <c:v>All Others</c:v>
                </c:pt>
                <c:pt idx="327">
                  <c:v>All Others</c:v>
                </c:pt>
                <c:pt idx="328">
                  <c:v>Galbani</c:v>
                </c:pt>
                <c:pt idx="329">
                  <c:v>All Others</c:v>
                </c:pt>
                <c:pt idx="330">
                  <c:v>All Others</c:v>
                </c:pt>
                <c:pt idx="331">
                  <c:v>Lactalis: A</c:v>
                </c:pt>
                <c:pt idx="332">
                  <c:v>Boursin</c:v>
                </c:pt>
                <c:pt idx="333">
                  <c:v>Philadelphi</c:v>
                </c:pt>
                <c:pt idx="334">
                  <c:v>All Others</c:v>
                </c:pt>
                <c:pt idx="335">
                  <c:v>All Others</c:v>
                </c:pt>
                <c:pt idx="336">
                  <c:v>Paysan Bret</c:v>
                </c:pt>
                <c:pt idx="337">
                  <c:v>All Others</c:v>
                </c:pt>
                <c:pt idx="338">
                  <c:v>Triballat R</c:v>
                </c:pt>
                <c:pt idx="339">
                  <c:v>All Others</c:v>
                </c:pt>
                <c:pt idx="340">
                  <c:v>All Others</c:v>
                </c:pt>
                <c:pt idx="341">
                  <c:v>Savencia: A</c:v>
                </c:pt>
                <c:pt idx="342">
                  <c:v>All Others</c:v>
                </c:pt>
                <c:pt idx="343">
                  <c:v>Private Lab</c:v>
                </c:pt>
                <c:pt idx="344">
                  <c:v>All Others</c:v>
                </c:pt>
                <c:pt idx="345">
                  <c:v>Private Lab</c:v>
                </c:pt>
                <c:pt idx="346">
                  <c:v>Tartare</c:v>
                </c:pt>
                <c:pt idx="347">
                  <c:v>All Others</c:v>
                </c:pt>
                <c:pt idx="348">
                  <c:v>All Others</c:v>
                </c:pt>
                <c:pt idx="349">
                  <c:v>All Others</c:v>
                </c:pt>
                <c:pt idx="350">
                  <c:v>Etoile Du Q</c:v>
                </c:pt>
                <c:pt idx="351">
                  <c:v>All Others</c:v>
                </c:pt>
                <c:pt idx="352">
                  <c:v>Boursin</c:v>
                </c:pt>
                <c:pt idx="353">
                  <c:v>All Others</c:v>
                </c:pt>
                <c:pt idx="354">
                  <c:v>St Moret</c:v>
                </c:pt>
                <c:pt idx="355">
                  <c:v>All Others</c:v>
                </c:pt>
                <c:pt idx="356">
                  <c:v>All Others</c:v>
                </c:pt>
                <c:pt idx="357">
                  <c:v>All Others</c:v>
                </c:pt>
                <c:pt idx="358">
                  <c:v>Boursin</c:v>
                </c:pt>
                <c:pt idx="359">
                  <c:v>All Others</c:v>
                </c:pt>
                <c:pt idx="360">
                  <c:v>All Others</c:v>
                </c:pt>
                <c:pt idx="361">
                  <c:v>Lactalis: A</c:v>
                </c:pt>
                <c:pt idx="362">
                  <c:v>Caprice Des</c:v>
                </c:pt>
                <c:pt idx="363">
                  <c:v>All Others</c:v>
                </c:pt>
                <c:pt idx="364">
                  <c:v>Mini Babybe</c:v>
                </c:pt>
                <c:pt idx="365">
                  <c:v>Petit Billy</c:v>
                </c:pt>
                <c:pt idx="366">
                  <c:v>All Others</c:v>
                </c:pt>
                <c:pt idx="367">
                  <c:v>All Others</c:v>
                </c:pt>
                <c:pt idx="368">
                  <c:v>All Others</c:v>
                </c:pt>
                <c:pt idx="369">
                  <c:v>Corsica</c:v>
                </c:pt>
                <c:pt idx="370">
                  <c:v>Istara</c:v>
                </c:pt>
                <c:pt idx="371">
                  <c:v>All Others</c:v>
                </c:pt>
                <c:pt idx="372">
                  <c:v>All Others</c:v>
                </c:pt>
                <c:pt idx="373">
                  <c:v>All Others</c:v>
                </c:pt>
                <c:pt idx="374">
                  <c:v>Paysan Bret</c:v>
                </c:pt>
                <c:pt idx="375">
                  <c:v>All Others</c:v>
                </c:pt>
                <c:pt idx="376">
                  <c:v>All Others</c:v>
                </c:pt>
                <c:pt idx="377">
                  <c:v>All Others</c:v>
                </c:pt>
                <c:pt idx="378">
                  <c:v>All Others</c:v>
                </c:pt>
                <c:pt idx="379">
                  <c:v>Galbani</c:v>
                </c:pt>
                <c:pt idx="380">
                  <c:v>All Others</c:v>
                </c:pt>
                <c:pt idx="381">
                  <c:v>All Others</c:v>
                </c:pt>
                <c:pt idx="382">
                  <c:v>All Others</c:v>
                </c:pt>
                <c:pt idx="383">
                  <c:v>Private Lab</c:v>
                </c:pt>
                <c:pt idx="384">
                  <c:v>Lactalis: A</c:v>
                </c:pt>
                <c:pt idx="385">
                  <c:v>All Others</c:v>
                </c:pt>
                <c:pt idx="386">
                  <c:v>All Others</c:v>
                </c:pt>
                <c:pt idx="387">
                  <c:v>Paysan Bret</c:v>
                </c:pt>
                <c:pt idx="388">
                  <c:v>La Vache Qu</c:v>
                </c:pt>
                <c:pt idx="389">
                  <c:v>All Others</c:v>
                </c:pt>
                <c:pt idx="390">
                  <c:v>St Moret</c:v>
                </c:pt>
                <c:pt idx="391">
                  <c:v>All Others</c:v>
                </c:pt>
                <c:pt idx="392">
                  <c:v>All Others</c:v>
                </c:pt>
                <c:pt idx="393">
                  <c:v>All Others</c:v>
                </c:pt>
                <c:pt idx="394">
                  <c:v>All Others</c:v>
                </c:pt>
                <c:pt idx="395">
                  <c:v>All Others</c:v>
                </c:pt>
                <c:pt idx="396">
                  <c:v>All Others</c:v>
                </c:pt>
                <c:pt idx="397">
                  <c:v>Salakis</c:v>
                </c:pt>
                <c:pt idx="398">
                  <c:v>All Others</c:v>
                </c:pt>
                <c:pt idx="399">
                  <c:v>All Others</c:v>
                </c:pt>
                <c:pt idx="400">
                  <c:v>Caprice Des</c:v>
                </c:pt>
                <c:pt idx="401">
                  <c:v>All Others</c:v>
                </c:pt>
                <c:pt idx="402">
                  <c:v>All Others</c:v>
                </c:pt>
                <c:pt idx="403">
                  <c:v>Milleret: A</c:v>
                </c:pt>
                <c:pt idx="404">
                  <c:v>Saint Agur</c:v>
                </c:pt>
                <c:pt idx="405">
                  <c:v>All Others</c:v>
                </c:pt>
                <c:pt idx="406">
                  <c:v>Private Lab</c:v>
                </c:pt>
                <c:pt idx="407">
                  <c:v>Tartare</c:v>
                </c:pt>
                <c:pt idx="408">
                  <c:v>All Others</c:v>
                </c:pt>
                <c:pt idx="409">
                  <c:v>All Others</c:v>
                </c:pt>
                <c:pt idx="410">
                  <c:v>Private Lab</c:v>
                </c:pt>
                <c:pt idx="411">
                  <c:v>Savencia: A</c:v>
                </c:pt>
                <c:pt idx="412">
                  <c:v>All Others</c:v>
                </c:pt>
                <c:pt idx="413">
                  <c:v>Etoile Du V</c:v>
                </c:pt>
                <c:pt idx="414">
                  <c:v>Lactalis: A</c:v>
                </c:pt>
                <c:pt idx="415">
                  <c:v>Savencia: A</c:v>
                </c:pt>
                <c:pt idx="416">
                  <c:v>All Others</c:v>
                </c:pt>
                <c:pt idx="417">
                  <c:v>Boursin</c:v>
                </c:pt>
                <c:pt idx="418">
                  <c:v>Paysan Bret</c:v>
                </c:pt>
                <c:pt idx="419">
                  <c:v>All Others</c:v>
                </c:pt>
                <c:pt idx="420">
                  <c:v>All Others</c:v>
                </c:pt>
                <c:pt idx="421">
                  <c:v>All Others</c:v>
                </c:pt>
                <c:pt idx="422">
                  <c:v>All Others</c:v>
                </c:pt>
                <c:pt idx="423">
                  <c:v>All Others</c:v>
                </c:pt>
                <c:pt idx="424">
                  <c:v>All Others</c:v>
                </c:pt>
                <c:pt idx="425">
                  <c:v>Chavroux</c:v>
                </c:pt>
                <c:pt idx="426">
                  <c:v>All Others</c:v>
                </c:pt>
                <c:pt idx="427">
                  <c:v>Etorki</c:v>
                </c:pt>
                <c:pt idx="428">
                  <c:v>All Others</c:v>
                </c:pt>
                <c:pt idx="429">
                  <c:v>All Others</c:v>
                </c:pt>
                <c:pt idx="430">
                  <c:v>All Others</c:v>
                </c:pt>
                <c:pt idx="431">
                  <c:v>Salakis</c:v>
                </c:pt>
                <c:pt idx="432">
                  <c:v>All Others</c:v>
                </c:pt>
                <c:pt idx="433">
                  <c:v>All Others</c:v>
                </c:pt>
                <c:pt idx="434">
                  <c:v>All Others</c:v>
                </c:pt>
                <c:pt idx="435">
                  <c:v>All Others</c:v>
                </c:pt>
                <c:pt idx="436">
                  <c:v>All Others</c:v>
                </c:pt>
                <c:pt idx="437">
                  <c:v>All Others</c:v>
                </c:pt>
                <c:pt idx="438">
                  <c:v>Private Lab</c:v>
                </c:pt>
                <c:pt idx="439">
                  <c:v>Private Lab</c:v>
                </c:pt>
                <c:pt idx="440">
                  <c:v>All Others</c:v>
                </c:pt>
                <c:pt idx="441">
                  <c:v>Tartare</c:v>
                </c:pt>
                <c:pt idx="442">
                  <c:v>Private Lab</c:v>
                </c:pt>
                <c:pt idx="443">
                  <c:v>Private Lab</c:v>
                </c:pt>
                <c:pt idx="444">
                  <c:v>All Others</c:v>
                </c:pt>
                <c:pt idx="445">
                  <c:v>Private Lab</c:v>
                </c:pt>
                <c:pt idx="446">
                  <c:v>All Others</c:v>
                </c:pt>
                <c:pt idx="447">
                  <c:v>Tartare</c:v>
                </c:pt>
                <c:pt idx="448">
                  <c:v>All Others</c:v>
                </c:pt>
                <c:pt idx="449">
                  <c:v>All Others</c:v>
                </c:pt>
                <c:pt idx="450">
                  <c:v>All Others</c:v>
                </c:pt>
                <c:pt idx="451">
                  <c:v>All Others</c:v>
                </c:pt>
                <c:pt idx="452">
                  <c:v>All Others</c:v>
                </c:pt>
                <c:pt idx="453">
                  <c:v>All Others</c:v>
                </c:pt>
                <c:pt idx="454">
                  <c:v>P'Tit Louis</c:v>
                </c:pt>
                <c:pt idx="455">
                  <c:v>All Others</c:v>
                </c:pt>
                <c:pt idx="456">
                  <c:v>Private Lab</c:v>
                </c:pt>
                <c:pt idx="457">
                  <c:v>All Others</c:v>
                </c:pt>
                <c:pt idx="458">
                  <c:v>All Others</c:v>
                </c:pt>
                <c:pt idx="459">
                  <c:v>All Others</c:v>
                </c:pt>
                <c:pt idx="460">
                  <c:v>Private Lab</c:v>
                </c:pt>
                <c:pt idx="461">
                  <c:v>All Others</c:v>
                </c:pt>
                <c:pt idx="462">
                  <c:v>All Others</c:v>
                </c:pt>
                <c:pt idx="463">
                  <c:v>Private Lab</c:v>
                </c:pt>
                <c:pt idx="464">
                  <c:v>Private Lab</c:v>
                </c:pt>
                <c:pt idx="465">
                  <c:v>All Others</c:v>
                </c:pt>
                <c:pt idx="466">
                  <c:v>All Others</c:v>
                </c:pt>
                <c:pt idx="467">
                  <c:v>All Others</c:v>
                </c:pt>
                <c:pt idx="468">
                  <c:v>All Others</c:v>
                </c:pt>
                <c:pt idx="469">
                  <c:v>All Others</c:v>
                </c:pt>
                <c:pt idx="470">
                  <c:v>All Others</c:v>
                </c:pt>
                <c:pt idx="471">
                  <c:v>Islos</c:v>
                </c:pt>
                <c:pt idx="472">
                  <c:v>Tartare</c:v>
                </c:pt>
                <c:pt idx="473">
                  <c:v>Private Lab</c:v>
                </c:pt>
                <c:pt idx="474">
                  <c:v>All Others</c:v>
                </c:pt>
                <c:pt idx="475">
                  <c:v>All Others</c:v>
                </c:pt>
                <c:pt idx="476">
                  <c:v>All Others</c:v>
                </c:pt>
                <c:pt idx="477">
                  <c:v>All Others</c:v>
                </c:pt>
                <c:pt idx="478">
                  <c:v>Lactalis: A</c:v>
                </c:pt>
                <c:pt idx="479">
                  <c:v>All Others</c:v>
                </c:pt>
                <c:pt idx="480">
                  <c:v>All Others</c:v>
                </c:pt>
                <c:pt idx="481">
                  <c:v>Philadelphi</c:v>
                </c:pt>
                <c:pt idx="482">
                  <c:v>Triballat R</c:v>
                </c:pt>
                <c:pt idx="483">
                  <c:v>All Others</c:v>
                </c:pt>
                <c:pt idx="484">
                  <c:v>All Others</c:v>
                </c:pt>
                <c:pt idx="485">
                  <c:v>All Others</c:v>
                </c:pt>
                <c:pt idx="486">
                  <c:v>All Others</c:v>
                </c:pt>
                <c:pt idx="487">
                  <c:v>All Others</c:v>
                </c:pt>
                <c:pt idx="488">
                  <c:v>All Others</c:v>
                </c:pt>
                <c:pt idx="489">
                  <c:v>Private Lab</c:v>
                </c:pt>
                <c:pt idx="490">
                  <c:v>Boursin</c:v>
                </c:pt>
                <c:pt idx="491">
                  <c:v>Boursin</c:v>
                </c:pt>
                <c:pt idx="492">
                  <c:v>All Others</c:v>
                </c:pt>
                <c:pt idx="493">
                  <c:v>All Others</c:v>
                </c:pt>
                <c:pt idx="494">
                  <c:v>All Others</c:v>
                </c:pt>
                <c:pt idx="495">
                  <c:v>All Others</c:v>
                </c:pt>
                <c:pt idx="496">
                  <c:v>All Others</c:v>
                </c:pt>
                <c:pt idx="497">
                  <c:v>All Others</c:v>
                </c:pt>
                <c:pt idx="498">
                  <c:v>All Others</c:v>
                </c:pt>
                <c:pt idx="499">
                  <c:v>All Others</c:v>
                </c:pt>
                <c:pt idx="500">
                  <c:v>Private Lab</c:v>
                </c:pt>
                <c:pt idx="501">
                  <c:v>Private Lab</c:v>
                </c:pt>
                <c:pt idx="502">
                  <c:v>All Others</c:v>
                </c:pt>
                <c:pt idx="503">
                  <c:v>Triballat N</c:v>
                </c:pt>
                <c:pt idx="504">
                  <c:v>All Others</c:v>
                </c:pt>
                <c:pt idx="505">
                  <c:v>All Others</c:v>
                </c:pt>
                <c:pt idx="506">
                  <c:v>All Others</c:v>
                </c:pt>
                <c:pt idx="507">
                  <c:v>All Others</c:v>
                </c:pt>
                <c:pt idx="508">
                  <c:v>All Others</c:v>
                </c:pt>
                <c:pt idx="509">
                  <c:v>All Others</c:v>
                </c:pt>
                <c:pt idx="510">
                  <c:v>All Others</c:v>
                </c:pt>
                <c:pt idx="511">
                  <c:v>All Others</c:v>
                </c:pt>
                <c:pt idx="512">
                  <c:v>All Others</c:v>
                </c:pt>
                <c:pt idx="513">
                  <c:v>All Others</c:v>
                </c:pt>
                <c:pt idx="514">
                  <c:v>Lactalis: A</c:v>
                </c:pt>
                <c:pt idx="515">
                  <c:v>Laita: All </c:v>
                </c:pt>
                <c:pt idx="516">
                  <c:v>All Others</c:v>
                </c:pt>
                <c:pt idx="517">
                  <c:v>All Others</c:v>
                </c:pt>
                <c:pt idx="518">
                  <c:v>All Others</c:v>
                </c:pt>
                <c:pt idx="519">
                  <c:v>All Others</c:v>
                </c:pt>
                <c:pt idx="520">
                  <c:v>All Others</c:v>
                </c:pt>
                <c:pt idx="521">
                  <c:v>All Others</c:v>
                </c:pt>
                <c:pt idx="522">
                  <c:v>All Others</c:v>
                </c:pt>
                <c:pt idx="523">
                  <c:v>All Others</c:v>
                </c:pt>
                <c:pt idx="524">
                  <c:v>All Others</c:v>
                </c:pt>
                <c:pt idx="525">
                  <c:v>All Others</c:v>
                </c:pt>
                <c:pt idx="526">
                  <c:v>All Others</c:v>
                </c:pt>
                <c:pt idx="527">
                  <c:v>All Others</c:v>
                </c:pt>
                <c:pt idx="528">
                  <c:v>Private Lab</c:v>
                </c:pt>
                <c:pt idx="529">
                  <c:v>All Others</c:v>
                </c:pt>
                <c:pt idx="530">
                  <c:v>All Others</c:v>
                </c:pt>
                <c:pt idx="531">
                  <c:v>All Others</c:v>
                </c:pt>
                <c:pt idx="532">
                  <c:v>All Others</c:v>
                </c:pt>
                <c:pt idx="533">
                  <c:v>All Others</c:v>
                </c:pt>
                <c:pt idx="534">
                  <c:v>All Others</c:v>
                </c:pt>
                <c:pt idx="535">
                  <c:v>All Others</c:v>
                </c:pt>
                <c:pt idx="536">
                  <c:v>All Others</c:v>
                </c:pt>
                <c:pt idx="537">
                  <c:v>All Others</c:v>
                </c:pt>
                <c:pt idx="538">
                  <c:v>All Others</c:v>
                </c:pt>
                <c:pt idx="539">
                  <c:v>Savencia: A</c:v>
                </c:pt>
                <c:pt idx="540">
                  <c:v>All Others</c:v>
                </c:pt>
                <c:pt idx="541">
                  <c:v>All Others</c:v>
                </c:pt>
                <c:pt idx="542">
                  <c:v>All Others</c:v>
                </c:pt>
                <c:pt idx="543">
                  <c:v>All Others</c:v>
                </c:pt>
                <c:pt idx="544">
                  <c:v>All Others</c:v>
                </c:pt>
                <c:pt idx="545">
                  <c:v>All Others</c:v>
                </c:pt>
                <c:pt idx="546">
                  <c:v>All Others</c:v>
                </c:pt>
                <c:pt idx="547">
                  <c:v>Boursin</c:v>
                </c:pt>
                <c:pt idx="548">
                  <c:v>All Others</c:v>
                </c:pt>
                <c:pt idx="549">
                  <c:v>All Others</c:v>
                </c:pt>
                <c:pt idx="550">
                  <c:v>Private Lab</c:v>
                </c:pt>
                <c:pt idx="551">
                  <c:v>All Others</c:v>
                </c:pt>
                <c:pt idx="552">
                  <c:v>All Others</c:v>
                </c:pt>
                <c:pt idx="553">
                  <c:v>All Others</c:v>
                </c:pt>
                <c:pt idx="554">
                  <c:v>All Others</c:v>
                </c:pt>
                <c:pt idx="555">
                  <c:v>All Others</c:v>
                </c:pt>
                <c:pt idx="556">
                  <c:v>All Others</c:v>
                </c:pt>
                <c:pt idx="557">
                  <c:v>All Others</c:v>
                </c:pt>
                <c:pt idx="558">
                  <c:v>All Others</c:v>
                </c:pt>
                <c:pt idx="559">
                  <c:v>All Others</c:v>
                </c:pt>
                <c:pt idx="560">
                  <c:v>All Others</c:v>
                </c:pt>
                <c:pt idx="561">
                  <c:v>All Others</c:v>
                </c:pt>
                <c:pt idx="562">
                  <c:v>All Others</c:v>
                </c:pt>
                <c:pt idx="563">
                  <c:v>All Others</c:v>
                </c:pt>
                <c:pt idx="564">
                  <c:v>Milleret: A</c:v>
                </c:pt>
                <c:pt idx="565">
                  <c:v>Triballat R</c:v>
                </c:pt>
                <c:pt idx="566">
                  <c:v>All Others</c:v>
                </c:pt>
                <c:pt idx="567">
                  <c:v>All Others</c:v>
                </c:pt>
                <c:pt idx="568">
                  <c:v>All Others</c:v>
                </c:pt>
                <c:pt idx="569">
                  <c:v>All Others</c:v>
                </c:pt>
                <c:pt idx="570">
                  <c:v>All Others</c:v>
                </c:pt>
                <c:pt idx="571">
                  <c:v>All Others</c:v>
                </c:pt>
                <c:pt idx="572">
                  <c:v>All Others</c:v>
                </c:pt>
                <c:pt idx="573">
                  <c:v>All Others</c:v>
                </c:pt>
                <c:pt idx="574">
                  <c:v>All Others</c:v>
                </c:pt>
                <c:pt idx="575">
                  <c:v>All Others</c:v>
                </c:pt>
                <c:pt idx="576">
                  <c:v>All Others</c:v>
                </c:pt>
                <c:pt idx="577">
                  <c:v>Istara</c:v>
                </c:pt>
                <c:pt idx="578">
                  <c:v>All Others</c:v>
                </c:pt>
                <c:pt idx="579">
                  <c:v>Private Lab</c:v>
                </c:pt>
                <c:pt idx="580">
                  <c:v>All Others</c:v>
                </c:pt>
                <c:pt idx="581">
                  <c:v>All Others</c:v>
                </c:pt>
                <c:pt idx="582">
                  <c:v>All Others</c:v>
                </c:pt>
                <c:pt idx="583">
                  <c:v>Eurial Autr</c:v>
                </c:pt>
                <c:pt idx="584">
                  <c:v>All Others</c:v>
                </c:pt>
                <c:pt idx="585">
                  <c:v>All Others</c:v>
                </c:pt>
                <c:pt idx="586">
                  <c:v>All Others</c:v>
                </c:pt>
                <c:pt idx="587">
                  <c:v>All Others</c:v>
                </c:pt>
                <c:pt idx="588">
                  <c:v>All Others</c:v>
                </c:pt>
                <c:pt idx="589">
                  <c:v>All Others</c:v>
                </c:pt>
                <c:pt idx="590">
                  <c:v>All Others</c:v>
                </c:pt>
                <c:pt idx="591">
                  <c:v>All Others</c:v>
                </c:pt>
                <c:pt idx="592">
                  <c:v>All Others</c:v>
                </c:pt>
                <c:pt idx="593">
                  <c:v>All Others</c:v>
                </c:pt>
                <c:pt idx="594">
                  <c:v>All Others</c:v>
                </c:pt>
                <c:pt idx="595">
                  <c:v>All Others</c:v>
                </c:pt>
                <c:pt idx="596">
                  <c:v>All Others</c:v>
                </c:pt>
                <c:pt idx="597">
                  <c:v>All Others</c:v>
                </c:pt>
                <c:pt idx="598">
                  <c:v>All Others</c:v>
                </c:pt>
                <c:pt idx="599">
                  <c:v>All Others</c:v>
                </c:pt>
                <c:pt idx="600">
                  <c:v>All Others</c:v>
                </c:pt>
                <c:pt idx="601">
                  <c:v>All Others</c:v>
                </c:pt>
                <c:pt idx="602">
                  <c:v>All Others</c:v>
                </c:pt>
                <c:pt idx="603">
                  <c:v>All Others</c:v>
                </c:pt>
                <c:pt idx="604">
                  <c:v>All Others</c:v>
                </c:pt>
                <c:pt idx="605">
                  <c:v>All Others</c:v>
                </c:pt>
                <c:pt idx="606">
                  <c:v>All Others</c:v>
                </c:pt>
                <c:pt idx="607">
                  <c:v>All Others</c:v>
                </c:pt>
                <c:pt idx="608">
                  <c:v>All Others</c:v>
                </c:pt>
                <c:pt idx="609">
                  <c:v>All Others</c:v>
                </c:pt>
                <c:pt idx="610">
                  <c:v>All Others</c:v>
                </c:pt>
                <c:pt idx="611">
                  <c:v>All Others</c:v>
                </c:pt>
                <c:pt idx="612">
                  <c:v>All Others</c:v>
                </c:pt>
                <c:pt idx="613">
                  <c:v>All Others</c:v>
                </c:pt>
                <c:pt idx="614">
                  <c:v>Eurial Autr</c:v>
                </c:pt>
                <c:pt idx="615">
                  <c:v>Carre Frais</c:v>
                </c:pt>
                <c:pt idx="616">
                  <c:v>All Others</c:v>
                </c:pt>
                <c:pt idx="617">
                  <c:v>Private Lab</c:v>
                </c:pt>
                <c:pt idx="618">
                  <c:v>All Others</c:v>
                </c:pt>
                <c:pt idx="619">
                  <c:v>All Others</c:v>
                </c:pt>
                <c:pt idx="620">
                  <c:v>All Others</c:v>
                </c:pt>
                <c:pt idx="621">
                  <c:v>All Others</c:v>
                </c:pt>
                <c:pt idx="622">
                  <c:v>All Others</c:v>
                </c:pt>
                <c:pt idx="623">
                  <c:v>All Others</c:v>
                </c:pt>
                <c:pt idx="624">
                  <c:v>All Others</c:v>
                </c:pt>
                <c:pt idx="625">
                  <c:v>All Others</c:v>
                </c:pt>
                <c:pt idx="626">
                  <c:v>All Others</c:v>
                </c:pt>
                <c:pt idx="627">
                  <c:v>All Others</c:v>
                </c:pt>
                <c:pt idx="628">
                  <c:v>All Others</c:v>
                </c:pt>
                <c:pt idx="629">
                  <c:v>All Others</c:v>
                </c:pt>
                <c:pt idx="630">
                  <c:v>All Others</c:v>
                </c:pt>
                <c:pt idx="631">
                  <c:v>Lactalis: A</c:v>
                </c:pt>
                <c:pt idx="632">
                  <c:v>All Others</c:v>
                </c:pt>
                <c:pt idx="633">
                  <c:v>All Others</c:v>
                </c:pt>
                <c:pt idx="634">
                  <c:v>All Others</c:v>
                </c:pt>
                <c:pt idx="635">
                  <c:v>All Others</c:v>
                </c:pt>
                <c:pt idx="636">
                  <c:v>All Others</c:v>
                </c:pt>
                <c:pt idx="637">
                  <c:v>All Others</c:v>
                </c:pt>
                <c:pt idx="638">
                  <c:v>All Others</c:v>
                </c:pt>
                <c:pt idx="639">
                  <c:v>All Others</c:v>
                </c:pt>
                <c:pt idx="640">
                  <c:v>All Others</c:v>
                </c:pt>
                <c:pt idx="641">
                  <c:v>All Others</c:v>
                </c:pt>
                <c:pt idx="642">
                  <c:v>All Others</c:v>
                </c:pt>
                <c:pt idx="643">
                  <c:v>All Others</c:v>
                </c:pt>
                <c:pt idx="644">
                  <c:v>All Others</c:v>
                </c:pt>
                <c:pt idx="645">
                  <c:v>All Others</c:v>
                </c:pt>
                <c:pt idx="646">
                  <c:v>All Others</c:v>
                </c:pt>
                <c:pt idx="647">
                  <c:v>Mini Babybe</c:v>
                </c:pt>
                <c:pt idx="648">
                  <c:v>All Others</c:v>
                </c:pt>
                <c:pt idx="649">
                  <c:v>All Others</c:v>
                </c:pt>
                <c:pt idx="650">
                  <c:v>All Others</c:v>
                </c:pt>
                <c:pt idx="651">
                  <c:v>All Others</c:v>
                </c:pt>
                <c:pt idx="652">
                  <c:v>All Others</c:v>
                </c:pt>
                <c:pt idx="653">
                  <c:v>All Others</c:v>
                </c:pt>
                <c:pt idx="654">
                  <c:v>All Others</c:v>
                </c:pt>
                <c:pt idx="655">
                  <c:v>All Others</c:v>
                </c:pt>
                <c:pt idx="656">
                  <c:v>All Others</c:v>
                </c:pt>
                <c:pt idx="657">
                  <c:v>All Others</c:v>
                </c:pt>
                <c:pt idx="658">
                  <c:v>All Others</c:v>
                </c:pt>
                <c:pt idx="659">
                  <c:v>Triballat N</c:v>
                </c:pt>
                <c:pt idx="660">
                  <c:v>All Others</c:v>
                </c:pt>
                <c:pt idx="661">
                  <c:v>All Others</c:v>
                </c:pt>
                <c:pt idx="662">
                  <c:v>All Others</c:v>
                </c:pt>
                <c:pt idx="663">
                  <c:v>All Others</c:v>
                </c:pt>
                <c:pt idx="664">
                  <c:v>All Others</c:v>
                </c:pt>
                <c:pt idx="665">
                  <c:v>All Others</c:v>
                </c:pt>
                <c:pt idx="666">
                  <c:v>All Others</c:v>
                </c:pt>
                <c:pt idx="667">
                  <c:v>All Others</c:v>
                </c:pt>
                <c:pt idx="668">
                  <c:v>All Others</c:v>
                </c:pt>
                <c:pt idx="669">
                  <c:v>All Others</c:v>
                </c:pt>
                <c:pt idx="670">
                  <c:v>All Others</c:v>
                </c:pt>
                <c:pt idx="671">
                  <c:v>Private Lab</c:v>
                </c:pt>
                <c:pt idx="672">
                  <c:v>All Others</c:v>
                </c:pt>
                <c:pt idx="673">
                  <c:v>All Others</c:v>
                </c:pt>
                <c:pt idx="674">
                  <c:v>Triballat R</c:v>
                </c:pt>
                <c:pt idx="675">
                  <c:v>All Others</c:v>
                </c:pt>
                <c:pt idx="676">
                  <c:v>All Others</c:v>
                </c:pt>
                <c:pt idx="677">
                  <c:v>All Others</c:v>
                </c:pt>
                <c:pt idx="678">
                  <c:v>All Others</c:v>
                </c:pt>
                <c:pt idx="679">
                  <c:v>All Others</c:v>
                </c:pt>
                <c:pt idx="680">
                  <c:v>All Others</c:v>
                </c:pt>
                <c:pt idx="681">
                  <c:v>All Others</c:v>
                </c:pt>
                <c:pt idx="682">
                  <c:v>Private Lab</c:v>
                </c:pt>
                <c:pt idx="683">
                  <c:v>All Others</c:v>
                </c:pt>
                <c:pt idx="684">
                  <c:v>All Others</c:v>
                </c:pt>
                <c:pt idx="685">
                  <c:v>All Others</c:v>
                </c:pt>
                <c:pt idx="686">
                  <c:v>All Others</c:v>
                </c:pt>
                <c:pt idx="687">
                  <c:v>All Others</c:v>
                </c:pt>
                <c:pt idx="688">
                  <c:v>All Others</c:v>
                </c:pt>
                <c:pt idx="689">
                  <c:v>All Others</c:v>
                </c:pt>
                <c:pt idx="690">
                  <c:v>All Others</c:v>
                </c:pt>
                <c:pt idx="691">
                  <c:v>All Others</c:v>
                </c:pt>
                <c:pt idx="692">
                  <c:v>All Others</c:v>
                </c:pt>
                <c:pt idx="693">
                  <c:v>Etoile Du Q</c:v>
                </c:pt>
                <c:pt idx="694">
                  <c:v>All Others</c:v>
                </c:pt>
                <c:pt idx="695">
                  <c:v>All Others</c:v>
                </c:pt>
                <c:pt idx="696">
                  <c:v>All Others</c:v>
                </c:pt>
                <c:pt idx="697">
                  <c:v>Eurial Autr</c:v>
                </c:pt>
                <c:pt idx="698">
                  <c:v>All Others</c:v>
                </c:pt>
                <c:pt idx="699">
                  <c:v>All Others</c:v>
                </c:pt>
                <c:pt idx="700">
                  <c:v>All Others</c:v>
                </c:pt>
                <c:pt idx="701">
                  <c:v>All Others</c:v>
                </c:pt>
                <c:pt idx="702">
                  <c:v>All Others</c:v>
                </c:pt>
                <c:pt idx="703">
                  <c:v>Private Lab</c:v>
                </c:pt>
                <c:pt idx="704">
                  <c:v>Soignon</c:v>
                </c:pt>
                <c:pt idx="705">
                  <c:v>All Others</c:v>
                </c:pt>
                <c:pt idx="706">
                  <c:v>All Others</c:v>
                </c:pt>
                <c:pt idx="707">
                  <c:v>All Others</c:v>
                </c:pt>
                <c:pt idx="708">
                  <c:v>All Others</c:v>
                </c:pt>
                <c:pt idx="709">
                  <c:v>All Others</c:v>
                </c:pt>
                <c:pt idx="710">
                  <c:v>All Others</c:v>
                </c:pt>
                <c:pt idx="711">
                  <c:v>All Others</c:v>
                </c:pt>
                <c:pt idx="712">
                  <c:v>All Others</c:v>
                </c:pt>
                <c:pt idx="713">
                  <c:v>All Others</c:v>
                </c:pt>
                <c:pt idx="714">
                  <c:v>All Others</c:v>
                </c:pt>
                <c:pt idx="715">
                  <c:v>All Others</c:v>
                </c:pt>
                <c:pt idx="716">
                  <c:v>All Others</c:v>
                </c:pt>
                <c:pt idx="717">
                  <c:v>All Others</c:v>
                </c:pt>
                <c:pt idx="718">
                  <c:v>All Others</c:v>
                </c:pt>
                <c:pt idx="719">
                  <c:v>All Others</c:v>
                </c:pt>
                <c:pt idx="720">
                  <c:v>All Others</c:v>
                </c:pt>
                <c:pt idx="721">
                  <c:v>Lactalis: A</c:v>
                </c:pt>
                <c:pt idx="722">
                  <c:v>All Others</c:v>
                </c:pt>
                <c:pt idx="723">
                  <c:v>All Others</c:v>
                </c:pt>
                <c:pt idx="724">
                  <c:v>All Others</c:v>
                </c:pt>
                <c:pt idx="725">
                  <c:v>All Others</c:v>
                </c:pt>
                <c:pt idx="726">
                  <c:v>All Others</c:v>
                </c:pt>
                <c:pt idx="727">
                  <c:v>Private Lab</c:v>
                </c:pt>
                <c:pt idx="728">
                  <c:v>All Others</c:v>
                </c:pt>
                <c:pt idx="729">
                  <c:v>Private Lab</c:v>
                </c:pt>
                <c:pt idx="730">
                  <c:v>All Others</c:v>
                </c:pt>
                <c:pt idx="731">
                  <c:v>All Others</c:v>
                </c:pt>
                <c:pt idx="732">
                  <c:v>Private Lab</c:v>
                </c:pt>
                <c:pt idx="733">
                  <c:v>All Others</c:v>
                </c:pt>
                <c:pt idx="734">
                  <c:v>All Others</c:v>
                </c:pt>
                <c:pt idx="735">
                  <c:v>All Others</c:v>
                </c:pt>
                <c:pt idx="736">
                  <c:v>All Others</c:v>
                </c:pt>
                <c:pt idx="737">
                  <c:v>All Others</c:v>
                </c:pt>
                <c:pt idx="738">
                  <c:v>All Others</c:v>
                </c:pt>
                <c:pt idx="739">
                  <c:v>All Others</c:v>
                </c:pt>
                <c:pt idx="740">
                  <c:v>All Others</c:v>
                </c:pt>
                <c:pt idx="741">
                  <c:v>All Others</c:v>
                </c:pt>
                <c:pt idx="742">
                  <c:v>Private Lab</c:v>
                </c:pt>
                <c:pt idx="743">
                  <c:v>All Others</c:v>
                </c:pt>
                <c:pt idx="744">
                  <c:v>All Others</c:v>
                </c:pt>
                <c:pt idx="745">
                  <c:v>All Others</c:v>
                </c:pt>
                <c:pt idx="746">
                  <c:v>All Others</c:v>
                </c:pt>
                <c:pt idx="747">
                  <c:v>All Others</c:v>
                </c:pt>
                <c:pt idx="748">
                  <c:v>All Others</c:v>
                </c:pt>
                <c:pt idx="749">
                  <c:v>All Others</c:v>
                </c:pt>
                <c:pt idx="750">
                  <c:v>All Others</c:v>
                </c:pt>
                <c:pt idx="751">
                  <c:v>All Others</c:v>
                </c:pt>
                <c:pt idx="752">
                  <c:v>All Others</c:v>
                </c:pt>
                <c:pt idx="753">
                  <c:v>All Others</c:v>
                </c:pt>
                <c:pt idx="754">
                  <c:v>All Others</c:v>
                </c:pt>
                <c:pt idx="755">
                  <c:v>All Others</c:v>
                </c:pt>
                <c:pt idx="756">
                  <c:v>All Others</c:v>
                </c:pt>
                <c:pt idx="757">
                  <c:v>All Others</c:v>
                </c:pt>
                <c:pt idx="758">
                  <c:v>Lactalis: A</c:v>
                </c:pt>
                <c:pt idx="759">
                  <c:v>All Others</c:v>
                </c:pt>
                <c:pt idx="760">
                  <c:v>All Others</c:v>
                </c:pt>
                <c:pt idx="761">
                  <c:v>All Others</c:v>
                </c:pt>
                <c:pt idx="762">
                  <c:v>All Others</c:v>
                </c:pt>
                <c:pt idx="763">
                  <c:v>All Others</c:v>
                </c:pt>
                <c:pt idx="764">
                  <c:v>Boursin</c:v>
                </c:pt>
                <c:pt idx="765">
                  <c:v>All Others</c:v>
                </c:pt>
                <c:pt idx="766">
                  <c:v>All Others</c:v>
                </c:pt>
                <c:pt idx="767">
                  <c:v>All Others</c:v>
                </c:pt>
                <c:pt idx="768">
                  <c:v>All Others</c:v>
                </c:pt>
                <c:pt idx="769">
                  <c:v>Private Lab</c:v>
                </c:pt>
                <c:pt idx="770">
                  <c:v>All Others</c:v>
                </c:pt>
                <c:pt idx="771">
                  <c:v>Lactalis: A</c:v>
                </c:pt>
                <c:pt idx="772">
                  <c:v>Private Lab</c:v>
                </c:pt>
                <c:pt idx="773">
                  <c:v>All Others</c:v>
                </c:pt>
                <c:pt idx="774">
                  <c:v>All Others</c:v>
                </c:pt>
                <c:pt idx="775">
                  <c:v>All Others</c:v>
                </c:pt>
                <c:pt idx="776">
                  <c:v>All Others</c:v>
                </c:pt>
                <c:pt idx="777">
                  <c:v>All Others</c:v>
                </c:pt>
                <c:pt idx="778">
                  <c:v>All Others</c:v>
                </c:pt>
                <c:pt idx="779">
                  <c:v>All Others</c:v>
                </c:pt>
                <c:pt idx="780">
                  <c:v>All Others</c:v>
                </c:pt>
                <c:pt idx="781">
                  <c:v>All Others</c:v>
                </c:pt>
                <c:pt idx="782">
                  <c:v>All Others</c:v>
                </c:pt>
                <c:pt idx="783">
                  <c:v>All Others</c:v>
                </c:pt>
                <c:pt idx="784">
                  <c:v>All Others</c:v>
                </c:pt>
                <c:pt idx="785">
                  <c:v>All Others</c:v>
                </c:pt>
                <c:pt idx="786">
                  <c:v>All Others</c:v>
                </c:pt>
                <c:pt idx="787">
                  <c:v>All Others</c:v>
                </c:pt>
                <c:pt idx="788">
                  <c:v>All Others</c:v>
                </c:pt>
                <c:pt idx="789">
                  <c:v>Lactalis: A</c:v>
                </c:pt>
                <c:pt idx="790">
                  <c:v>All Others</c:v>
                </c:pt>
                <c:pt idx="791">
                  <c:v>All Others</c:v>
                </c:pt>
                <c:pt idx="792">
                  <c:v>All Others</c:v>
                </c:pt>
                <c:pt idx="793">
                  <c:v>All Others</c:v>
                </c:pt>
                <c:pt idx="794">
                  <c:v>All Others</c:v>
                </c:pt>
                <c:pt idx="795">
                  <c:v>All Others</c:v>
                </c:pt>
                <c:pt idx="796">
                  <c:v>All Others</c:v>
                </c:pt>
                <c:pt idx="797">
                  <c:v>All Others</c:v>
                </c:pt>
                <c:pt idx="798">
                  <c:v>All Others</c:v>
                </c:pt>
                <c:pt idx="799">
                  <c:v>All Others</c:v>
                </c:pt>
                <c:pt idx="800">
                  <c:v>All Others</c:v>
                </c:pt>
                <c:pt idx="801">
                  <c:v>All Others</c:v>
                </c:pt>
                <c:pt idx="802">
                  <c:v>All Others</c:v>
                </c:pt>
                <c:pt idx="803">
                  <c:v>All Others</c:v>
                </c:pt>
                <c:pt idx="804">
                  <c:v>All Others</c:v>
                </c:pt>
                <c:pt idx="805">
                  <c:v>All Others</c:v>
                </c:pt>
                <c:pt idx="806">
                  <c:v>All Others</c:v>
                </c:pt>
                <c:pt idx="807">
                  <c:v>All Others</c:v>
                </c:pt>
                <c:pt idx="808">
                  <c:v>All Others</c:v>
                </c:pt>
                <c:pt idx="809">
                  <c:v>All Others</c:v>
                </c:pt>
                <c:pt idx="810">
                  <c:v>All Others</c:v>
                </c:pt>
                <c:pt idx="811">
                  <c:v>All Others</c:v>
                </c:pt>
                <c:pt idx="812">
                  <c:v>Kiri</c:v>
                </c:pt>
                <c:pt idx="813">
                  <c:v>All Others</c:v>
                </c:pt>
                <c:pt idx="814">
                  <c:v>All Others</c:v>
                </c:pt>
                <c:pt idx="815">
                  <c:v>All Others</c:v>
                </c:pt>
                <c:pt idx="816">
                  <c:v>All Others</c:v>
                </c:pt>
                <c:pt idx="817">
                  <c:v>All Others</c:v>
                </c:pt>
                <c:pt idx="818">
                  <c:v>All Others</c:v>
                </c:pt>
                <c:pt idx="819">
                  <c:v>All Others</c:v>
                </c:pt>
                <c:pt idx="820">
                  <c:v>All Others</c:v>
                </c:pt>
                <c:pt idx="821">
                  <c:v>All Others</c:v>
                </c:pt>
                <c:pt idx="822">
                  <c:v>All Others</c:v>
                </c:pt>
                <c:pt idx="823">
                  <c:v>All Others</c:v>
                </c:pt>
                <c:pt idx="824">
                  <c:v>All Others</c:v>
                </c:pt>
                <c:pt idx="825">
                  <c:v>All Others</c:v>
                </c:pt>
                <c:pt idx="826">
                  <c:v>All Others</c:v>
                </c:pt>
                <c:pt idx="827">
                  <c:v>All Others</c:v>
                </c:pt>
                <c:pt idx="828">
                  <c:v>All Others</c:v>
                </c:pt>
                <c:pt idx="829">
                  <c:v>Lactalis: A</c:v>
                </c:pt>
                <c:pt idx="830">
                  <c:v>All Others</c:v>
                </c:pt>
                <c:pt idx="831">
                  <c:v>All Others</c:v>
                </c:pt>
                <c:pt idx="832">
                  <c:v>Soignon</c:v>
                </c:pt>
                <c:pt idx="833">
                  <c:v>All Others</c:v>
                </c:pt>
                <c:pt idx="834">
                  <c:v>Private Lab</c:v>
                </c:pt>
                <c:pt idx="835">
                  <c:v>Eurial Autr</c:v>
                </c:pt>
                <c:pt idx="836">
                  <c:v>All Others</c:v>
                </c:pt>
                <c:pt idx="837">
                  <c:v>Private Lab</c:v>
                </c:pt>
                <c:pt idx="838">
                  <c:v>All Others</c:v>
                </c:pt>
                <c:pt idx="839">
                  <c:v>All Others</c:v>
                </c:pt>
                <c:pt idx="840">
                  <c:v>All Others</c:v>
                </c:pt>
                <c:pt idx="841">
                  <c:v>All Others</c:v>
                </c:pt>
                <c:pt idx="842">
                  <c:v>Lactalis: A</c:v>
                </c:pt>
                <c:pt idx="843">
                  <c:v>All Others</c:v>
                </c:pt>
                <c:pt idx="844">
                  <c:v>All Others</c:v>
                </c:pt>
                <c:pt idx="845">
                  <c:v>All Others</c:v>
                </c:pt>
                <c:pt idx="846">
                  <c:v>All Others</c:v>
                </c:pt>
                <c:pt idx="847">
                  <c:v>All Others</c:v>
                </c:pt>
                <c:pt idx="848">
                  <c:v>All Others</c:v>
                </c:pt>
                <c:pt idx="849">
                  <c:v>All Others</c:v>
                </c:pt>
                <c:pt idx="850">
                  <c:v>All Others</c:v>
                </c:pt>
                <c:pt idx="851">
                  <c:v>All Others</c:v>
                </c:pt>
                <c:pt idx="852">
                  <c:v>All Others</c:v>
                </c:pt>
                <c:pt idx="853">
                  <c:v>All Others</c:v>
                </c:pt>
                <c:pt idx="854">
                  <c:v>All Others</c:v>
                </c:pt>
                <c:pt idx="855">
                  <c:v>All Others</c:v>
                </c:pt>
                <c:pt idx="856">
                  <c:v>All Others</c:v>
                </c:pt>
                <c:pt idx="857">
                  <c:v>All Others</c:v>
                </c:pt>
                <c:pt idx="858">
                  <c:v>All Others</c:v>
                </c:pt>
                <c:pt idx="859">
                  <c:v>All Others</c:v>
                </c:pt>
                <c:pt idx="860">
                  <c:v>All Others</c:v>
                </c:pt>
                <c:pt idx="861">
                  <c:v>All Others</c:v>
                </c:pt>
                <c:pt idx="862">
                  <c:v>Eurial Autr</c:v>
                </c:pt>
                <c:pt idx="863">
                  <c:v>All Others</c:v>
                </c:pt>
                <c:pt idx="864">
                  <c:v>All Others</c:v>
                </c:pt>
                <c:pt idx="865">
                  <c:v>All Others</c:v>
                </c:pt>
                <c:pt idx="866">
                  <c:v>All Others</c:v>
                </c:pt>
                <c:pt idx="867">
                  <c:v>All Others</c:v>
                </c:pt>
                <c:pt idx="868">
                  <c:v>All Others</c:v>
                </c:pt>
                <c:pt idx="869">
                  <c:v>All Others</c:v>
                </c:pt>
                <c:pt idx="870">
                  <c:v>Soignon</c:v>
                </c:pt>
                <c:pt idx="871">
                  <c:v>All Others</c:v>
                </c:pt>
                <c:pt idx="872">
                  <c:v>Private Lab</c:v>
                </c:pt>
                <c:pt idx="873">
                  <c:v>All Others</c:v>
                </c:pt>
                <c:pt idx="874">
                  <c:v>All Others</c:v>
                </c:pt>
                <c:pt idx="875">
                  <c:v>All Others</c:v>
                </c:pt>
                <c:pt idx="876">
                  <c:v>All Others</c:v>
                </c:pt>
                <c:pt idx="877">
                  <c:v>All Others</c:v>
                </c:pt>
                <c:pt idx="878">
                  <c:v>All Others</c:v>
                </c:pt>
                <c:pt idx="879">
                  <c:v>Galbani</c:v>
                </c:pt>
                <c:pt idx="880">
                  <c:v>All Others</c:v>
                </c:pt>
                <c:pt idx="881">
                  <c:v>All Others</c:v>
                </c:pt>
                <c:pt idx="882">
                  <c:v>All Others</c:v>
                </c:pt>
                <c:pt idx="883">
                  <c:v>Eurial Autr</c:v>
                </c:pt>
                <c:pt idx="884">
                  <c:v>Private Lab</c:v>
                </c:pt>
                <c:pt idx="885">
                  <c:v>All Others</c:v>
                </c:pt>
                <c:pt idx="886">
                  <c:v>All Others</c:v>
                </c:pt>
                <c:pt idx="887">
                  <c:v>All Others</c:v>
                </c:pt>
                <c:pt idx="888">
                  <c:v>All Others</c:v>
                </c:pt>
                <c:pt idx="889">
                  <c:v>All Others</c:v>
                </c:pt>
                <c:pt idx="890">
                  <c:v>All Others</c:v>
                </c:pt>
                <c:pt idx="891">
                  <c:v>All Others</c:v>
                </c:pt>
                <c:pt idx="892">
                  <c:v>All Others</c:v>
                </c:pt>
                <c:pt idx="893">
                  <c:v>All Others</c:v>
                </c:pt>
                <c:pt idx="894">
                  <c:v>All Others</c:v>
                </c:pt>
                <c:pt idx="895">
                  <c:v>All Others</c:v>
                </c:pt>
                <c:pt idx="896">
                  <c:v>All Others</c:v>
                </c:pt>
                <c:pt idx="897">
                  <c:v>All Others</c:v>
                </c:pt>
                <c:pt idx="898">
                  <c:v>All Others</c:v>
                </c:pt>
                <c:pt idx="899">
                  <c:v>Triballat R</c:v>
                </c:pt>
                <c:pt idx="900">
                  <c:v>Private Lab</c:v>
                </c:pt>
                <c:pt idx="901">
                  <c:v>All Others</c:v>
                </c:pt>
                <c:pt idx="902">
                  <c:v>All Others</c:v>
                </c:pt>
                <c:pt idx="903">
                  <c:v>All Others</c:v>
                </c:pt>
                <c:pt idx="904">
                  <c:v>All Others</c:v>
                </c:pt>
                <c:pt idx="905">
                  <c:v>All Others</c:v>
                </c:pt>
                <c:pt idx="906">
                  <c:v>All Others</c:v>
                </c:pt>
                <c:pt idx="907">
                  <c:v>All Others</c:v>
                </c:pt>
                <c:pt idx="908">
                  <c:v>Islos</c:v>
                </c:pt>
                <c:pt idx="909">
                  <c:v>All Others</c:v>
                </c:pt>
                <c:pt idx="910">
                  <c:v>President</c:v>
                </c:pt>
                <c:pt idx="911">
                  <c:v>All Others</c:v>
                </c:pt>
                <c:pt idx="912">
                  <c:v>All Others</c:v>
                </c:pt>
                <c:pt idx="913">
                  <c:v>All Others</c:v>
                </c:pt>
                <c:pt idx="914">
                  <c:v>All Others</c:v>
                </c:pt>
                <c:pt idx="915">
                  <c:v>All Others</c:v>
                </c:pt>
                <c:pt idx="916">
                  <c:v>All Others</c:v>
                </c:pt>
                <c:pt idx="917">
                  <c:v>All Others</c:v>
                </c:pt>
                <c:pt idx="918">
                  <c:v>All Others</c:v>
                </c:pt>
                <c:pt idx="919">
                  <c:v>All Others</c:v>
                </c:pt>
                <c:pt idx="920">
                  <c:v>All Others</c:v>
                </c:pt>
                <c:pt idx="921">
                  <c:v>All Others</c:v>
                </c:pt>
                <c:pt idx="922">
                  <c:v>All Others</c:v>
                </c:pt>
                <c:pt idx="923">
                  <c:v>All Others</c:v>
                </c:pt>
                <c:pt idx="924">
                  <c:v>All Others</c:v>
                </c:pt>
                <c:pt idx="925">
                  <c:v>All Others</c:v>
                </c:pt>
                <c:pt idx="926">
                  <c:v>All Others</c:v>
                </c:pt>
                <c:pt idx="927">
                  <c:v>All Others</c:v>
                </c:pt>
                <c:pt idx="928">
                  <c:v>All Others</c:v>
                </c:pt>
                <c:pt idx="929">
                  <c:v>Boursin</c:v>
                </c:pt>
                <c:pt idx="930">
                  <c:v>All Others</c:v>
                </c:pt>
                <c:pt idx="931">
                  <c:v>All Others</c:v>
                </c:pt>
                <c:pt idx="932">
                  <c:v>All Others</c:v>
                </c:pt>
                <c:pt idx="933">
                  <c:v>All Others</c:v>
                </c:pt>
                <c:pt idx="934">
                  <c:v>All Others</c:v>
                </c:pt>
                <c:pt idx="935">
                  <c:v>All Others</c:v>
                </c:pt>
                <c:pt idx="936">
                  <c:v>Caprice Des</c:v>
                </c:pt>
                <c:pt idx="937">
                  <c:v>Private Lab</c:v>
                </c:pt>
                <c:pt idx="938">
                  <c:v>All Others</c:v>
                </c:pt>
                <c:pt idx="939">
                  <c:v>Private Lab</c:v>
                </c:pt>
                <c:pt idx="940">
                  <c:v>All Others</c:v>
                </c:pt>
                <c:pt idx="941">
                  <c:v>All Others</c:v>
                </c:pt>
                <c:pt idx="942">
                  <c:v>All Others</c:v>
                </c:pt>
                <c:pt idx="943">
                  <c:v>Private Lab</c:v>
                </c:pt>
                <c:pt idx="944">
                  <c:v>Savencia: A</c:v>
                </c:pt>
              </c:strCache>
            </c:strRef>
          </c:cat>
          <c:val>
            <c:numRef>
              <c:f>Sheet1!$C$2:$C$946</c:f>
              <c:numCache>
                <c:formatCode>General</c:formatCode>
                <c:ptCount val="945"/>
                <c:pt idx="0">
                  <c:v>0.06379312293598369</c:v>
                </c:pt>
                <c:pt idx="1">
                  <c:v>0.08078618399062487</c:v>
                </c:pt>
                <c:pt idx="2">
                  <c:v>0.09654678960663687</c:v>
                </c:pt>
                <c:pt idx="3">
                  <c:v>0.110408377352161</c:v>
                </c:pt>
                <c:pt idx="4">
                  <c:v>0.12344007315294901</c:v>
                </c:pt>
                <c:pt idx="5">
                  <c:v>0.13600436831142063</c:v>
                </c:pt>
                <c:pt idx="6">
                  <c:v>0.16048343794163214</c:v>
                </c:pt>
                <c:pt idx="7">
                  <c:v>0.17205382997268515</c:v>
                </c:pt>
                <c:pt idx="8">
                  <c:v>0.18307557417235054</c:v>
                </c:pt>
                <c:pt idx="9">
                  <c:v>0.19310646312948493</c:v>
                </c:pt>
                <c:pt idx="10">
                  <c:v>0.21247844473529265</c:v>
                </c:pt>
                <c:pt idx="11">
                  <c:v>0.22192277288544077</c:v>
                </c:pt>
                <c:pt idx="12">
                  <c:v>0.23122070263033076</c:v>
                </c:pt>
                <c:pt idx="13">
                  <c:v>0.24015376415086293</c:v>
                </c:pt>
                <c:pt idx="14">
                  <c:v>0.24860480303331217</c:v>
                </c:pt>
                <c:pt idx="15">
                  <c:v>0.2567964647704533</c:v>
                </c:pt>
                <c:pt idx="16">
                  <c:v>0.26464131361069154</c:v>
                </c:pt>
                <c:pt idx="17">
                  <c:v>0.2724388559940381</c:v>
                </c:pt>
                <c:pt idx="18">
                  <c:v>0.2800905602975684</c:v>
                </c:pt>
                <c:pt idx="19">
                  <c:v>0.29511202527671615</c:v>
                </c:pt>
                <c:pt idx="20">
                  <c:v>0.3024942273185142</c:v>
                </c:pt>
                <c:pt idx="21">
                  <c:v>0.3097093845685496</c:v>
                </c:pt>
                <c:pt idx="22">
                  <c:v>0.3165857519254612</c:v>
                </c:pt>
                <c:pt idx="23">
                  <c:v>0.3234519049421522</c:v>
                </c:pt>
                <c:pt idx="24">
                  <c:v>0.330265144678581</c:v>
                </c:pt>
                <c:pt idx="25">
                  <c:v>0.33700784765046754</c:v>
                </c:pt>
                <c:pt idx="26">
                  <c:v>0.35023175649152827</c:v>
                </c:pt>
                <c:pt idx="27">
                  <c:v>0.3567517711432177</c:v>
                </c:pt>
                <c:pt idx="28">
                  <c:v>0.36323934759146026</c:v>
                </c:pt>
                <c:pt idx="29">
                  <c:v>0.36960894876705014</c:v>
                </c:pt>
                <c:pt idx="30">
                  <c:v>0.38162171951893575</c:v>
                </c:pt>
                <c:pt idx="31">
                  <c:v>0.3874244961913199</c:v>
                </c:pt>
                <c:pt idx="32">
                  <c:v>0.3931412040206713</c:v>
                </c:pt>
                <c:pt idx="33">
                  <c:v>0.3988092206398097</c:v>
                </c:pt>
                <c:pt idx="34">
                  <c:v>0.41538495344671694</c:v>
                </c:pt>
                <c:pt idx="35">
                  <c:v>0.4262499064533107</c:v>
                </c:pt>
                <c:pt idx="36">
                  <c:v>0.43164814243247185</c:v>
                </c:pt>
                <c:pt idx="37">
                  <c:v>0.45238661503292715</c:v>
                </c:pt>
                <c:pt idx="38">
                  <c:v>0.4624253021498736</c:v>
                </c:pt>
                <c:pt idx="39">
                  <c:v>0.4673321398544181</c:v>
                </c:pt>
                <c:pt idx="40">
                  <c:v>0.476924293990568</c:v>
                </c:pt>
                <c:pt idx="41">
                  <c:v>0.48160801510069234</c:v>
                </c:pt>
                <c:pt idx="42">
                  <c:v>0.486024878542412</c:v>
                </c:pt>
                <c:pt idx="43">
                  <c:v>0.49030515462753405</c:v>
                </c:pt>
                <c:pt idx="44">
                  <c:v>0.4945591810717328</c:v>
                </c:pt>
                <c:pt idx="45">
                  <c:v>0.49879630852887896</c:v>
                </c:pt>
                <c:pt idx="46">
                  <c:v>0.5030139780604896</c:v>
                </c:pt>
                <c:pt idx="47">
                  <c:v>0.5072204196695518</c:v>
                </c:pt>
                <c:pt idx="48">
                  <c:v>0.5114024710616092</c:v>
                </c:pt>
                <c:pt idx="49">
                  <c:v>0.5154498052278431</c:v>
                </c:pt>
                <c:pt idx="50">
                  <c:v>0.5194670745436164</c:v>
                </c:pt>
                <c:pt idx="51">
                  <c:v>0.5234747790684074</c:v>
                </c:pt>
                <c:pt idx="52">
                  <c:v>0.5274788004348799</c:v>
                </c:pt>
                <c:pt idx="53">
                  <c:v>0.5314697380238371</c:v>
                </c:pt>
                <c:pt idx="54">
                  <c:v>0.5393596555881514</c:v>
                </c:pt>
                <c:pt idx="55">
                  <c:v>0.551098587801796</c:v>
                </c:pt>
                <c:pt idx="56">
                  <c:v>0.5549714394805929</c:v>
                </c:pt>
                <c:pt idx="57">
                  <c:v>0.5588406365526862</c:v>
                </c:pt>
                <c:pt idx="58">
                  <c:v>0.5627001974547601</c:v>
                </c:pt>
                <c:pt idx="59">
                  <c:v>0.5665485197274298</c:v>
                </c:pt>
                <c:pt idx="60">
                  <c:v>0.57403412501144</c:v>
                </c:pt>
                <c:pt idx="61">
                  <c:v>0.5776923649080968</c:v>
                </c:pt>
                <c:pt idx="62">
                  <c:v>0.5813373604244048</c:v>
                </c:pt>
                <c:pt idx="63">
                  <c:v>0.5849765635318455</c:v>
                </c:pt>
                <c:pt idx="64">
                  <c:v>0.5885474033664261</c:v>
                </c:pt>
                <c:pt idx="65">
                  <c:v>0.5921125257401285</c:v>
                </c:pt>
                <c:pt idx="66">
                  <c:v>0.5990653757353795</c:v>
                </c:pt>
                <c:pt idx="67">
                  <c:v>0.6024802380979124</c:v>
                </c:pt>
                <c:pt idx="68">
                  <c:v>0.6058812279445691</c:v>
                </c:pt>
                <c:pt idx="69">
                  <c:v>0.6092784775296776</c:v>
                </c:pt>
                <c:pt idx="70">
                  <c:v>0.6126421397088405</c:v>
                </c:pt>
                <c:pt idx="71">
                  <c:v>0.6159647303900095</c:v>
                </c:pt>
                <c:pt idx="72">
                  <c:v>0.619252848565172</c:v>
                </c:pt>
                <c:pt idx="73">
                  <c:v>0.6225303134190353</c:v>
                </c:pt>
                <c:pt idx="74">
                  <c:v>0.6257719352893781</c:v>
                </c:pt>
                <c:pt idx="75">
                  <c:v>0.6352855546398697</c:v>
                </c:pt>
                <c:pt idx="76">
                  <c:v>0.638372408912845</c:v>
                </c:pt>
                <c:pt idx="77">
                  <c:v>0.6444577073833432</c:v>
                </c:pt>
                <c:pt idx="78">
                  <c:v>0.6474270646232149</c:v>
                </c:pt>
                <c:pt idx="79">
                  <c:v>0.6503767141109209</c:v>
                </c:pt>
                <c:pt idx="80">
                  <c:v>0.653288154400024</c:v>
                </c:pt>
                <c:pt idx="81">
                  <c:v>0.6561709145919877</c:v>
                </c:pt>
                <c:pt idx="82">
                  <c:v>0.6590398058370273</c:v>
                </c:pt>
                <c:pt idx="83">
                  <c:v>0.6618903241178964</c:v>
                </c:pt>
                <c:pt idx="84">
                  <c:v>0.664731159832372</c:v>
                </c:pt>
                <c:pt idx="85">
                  <c:v>0.6702665720451875</c:v>
                </c:pt>
                <c:pt idx="86">
                  <c:v>0.6729816628788132</c:v>
                </c:pt>
                <c:pt idx="87">
                  <c:v>0.6756897193083248</c:v>
                </c:pt>
                <c:pt idx="88">
                  <c:v>0.6783807696822279</c:v>
                </c:pt>
                <c:pt idx="89">
                  <c:v>0.6810615022163067</c:v>
                </c:pt>
                <c:pt idx="90">
                  <c:v>0.6837391154864606</c:v>
                </c:pt>
                <c:pt idx="91">
                  <c:v>0.6864102689537496</c:v>
                </c:pt>
                <c:pt idx="92">
                  <c:v>0.6890599230550397</c:v>
                </c:pt>
                <c:pt idx="93">
                  <c:v>0.6943342200429918</c:v>
                </c:pt>
                <c:pt idx="94">
                  <c:v>0.696962553225876</c:v>
                </c:pt>
                <c:pt idx="95">
                  <c:v>0.6995889306231414</c:v>
                </c:pt>
                <c:pt idx="96">
                  <c:v>0.7021895508948401</c:v>
                </c:pt>
                <c:pt idx="97">
                  <c:v>0.7047835900193107</c:v>
                </c:pt>
                <c:pt idx="98">
                  <c:v>0.7073727396797344</c:v>
                </c:pt>
                <c:pt idx="99">
                  <c:v>0.7125139647286699</c:v>
                </c:pt>
                <c:pt idx="100">
                  <c:v>0.7150282663307056</c:v>
                </c:pt>
                <c:pt idx="101">
                  <c:v>0.7175312971827704</c:v>
                </c:pt>
                <c:pt idx="102">
                  <c:v>0.7200235676449803</c:v>
                </c:pt>
                <c:pt idx="103">
                  <c:v>0.7225005951138002</c:v>
                </c:pt>
                <c:pt idx="104">
                  <c:v>0.724970256265983</c:v>
                </c:pt>
                <c:pt idx="105">
                  <c:v>0.7274375940305056</c:v>
                </c:pt>
                <c:pt idx="106">
                  <c:v>0.7298610015665951</c:v>
                </c:pt>
                <c:pt idx="107">
                  <c:v>0.7322830029356522</c:v>
                </c:pt>
                <c:pt idx="108">
                  <c:v>0.7346998507382247</c:v>
                </c:pt>
                <c:pt idx="109">
                  <c:v>0.7394330625037785</c:v>
                </c:pt>
                <c:pt idx="110">
                  <c:v>0.7439697356594064</c:v>
                </c:pt>
                <c:pt idx="111">
                  <c:v>0.746219749238376</c:v>
                </c:pt>
                <c:pt idx="112">
                  <c:v>0.7484569788317864</c:v>
                </c:pt>
                <c:pt idx="113">
                  <c:v>0.7506681122492035</c:v>
                </c:pt>
                <c:pt idx="114">
                  <c:v>0.7528493449879455</c:v>
                </c:pt>
                <c:pt idx="115">
                  <c:v>0.7550124224685806</c:v>
                </c:pt>
                <c:pt idx="116">
                  <c:v>0.757135459878309</c:v>
                </c:pt>
                <c:pt idx="117">
                  <c:v>0.7592028216390363</c:v>
                </c:pt>
                <c:pt idx="118">
                  <c:v>0.7612530774135031</c:v>
                </c:pt>
                <c:pt idx="119">
                  <c:v>0.7632889217603631</c:v>
                </c:pt>
                <c:pt idx="120">
                  <c:v>0.7652962002165433</c:v>
                </c:pt>
                <c:pt idx="121">
                  <c:v>0.7672880857833555</c:v>
                </c:pt>
                <c:pt idx="122">
                  <c:v>0.7692402489159764</c:v>
                </c:pt>
                <c:pt idx="123">
                  <c:v>0.7711867802425638</c:v>
                </c:pt>
                <c:pt idx="124">
                  <c:v>0.7731268696110456</c:v>
                </c:pt>
                <c:pt idx="125">
                  <c:v>0.7750471298829985</c:v>
                </c:pt>
                <c:pt idx="126">
                  <c:v>0.7769128708463526</c:v>
                </c:pt>
                <c:pt idx="127">
                  <c:v>0.7787781871044355</c:v>
                </c:pt>
                <c:pt idx="128">
                  <c:v>0.7806047516832328</c:v>
                </c:pt>
                <c:pt idx="129">
                  <c:v>0.782430788057155</c:v>
                </c:pt>
                <c:pt idx="130">
                  <c:v>0.7842453395439949</c:v>
                </c:pt>
                <c:pt idx="131">
                  <c:v>0.7860491484857389</c:v>
                </c:pt>
                <c:pt idx="132">
                  <c:v>0.787843917272424</c:v>
                </c:pt>
                <c:pt idx="133">
                  <c:v>0.7896349957628869</c:v>
                </c:pt>
                <c:pt idx="134">
                  <c:v>0.79138838969067</c:v>
                </c:pt>
                <c:pt idx="135">
                  <c:v>0.793135434453096</c:v>
                </c:pt>
                <c:pt idx="136">
                  <c:v>0.796605158743606</c:v>
                </c:pt>
                <c:pt idx="137">
                  <c:v>0.7983123918480443</c:v>
                </c:pt>
                <c:pt idx="138">
                  <c:v>0.8000177262700935</c:v>
                </c:pt>
                <c:pt idx="139">
                  <c:v>0.8017177715054876</c:v>
                </c:pt>
                <c:pt idx="140">
                  <c:v>0.8034131200002352</c:v>
                </c:pt>
                <c:pt idx="141">
                  <c:v>0.8050850847224024</c:v>
                </c:pt>
                <c:pt idx="142">
                  <c:v>0.8067486195802784</c:v>
                </c:pt>
                <c:pt idx="143">
                  <c:v>0.8100642543742742</c:v>
                </c:pt>
                <c:pt idx="144">
                  <c:v>0.8116903259444859</c:v>
                </c:pt>
                <c:pt idx="145">
                  <c:v>0.8133116436708213</c:v>
                </c:pt>
                <c:pt idx="146">
                  <c:v>0.8149111087049238</c:v>
                </c:pt>
                <c:pt idx="147">
                  <c:v>0.8180669543862863</c:v>
                </c:pt>
                <c:pt idx="148">
                  <c:v>0.8196391847487524</c:v>
                </c:pt>
                <c:pt idx="149">
                  <c:v>0.8212022964392186</c:v>
                </c:pt>
                <c:pt idx="150">
                  <c:v>0.8227557719596654</c:v>
                </c:pt>
                <c:pt idx="151">
                  <c:v>0.8272401956600769</c:v>
                </c:pt>
                <c:pt idx="152">
                  <c:v>0.8286983980106464</c:v>
                </c:pt>
                <c:pt idx="153">
                  <c:v>0.8301463610383323</c:v>
                </c:pt>
                <c:pt idx="154">
                  <c:v>0.8315937280510577</c:v>
                </c:pt>
                <c:pt idx="155">
                  <c:v>0.8330380507478473</c:v>
                </c:pt>
                <c:pt idx="156">
                  <c:v>0.8359019418913323</c:v>
                </c:pt>
                <c:pt idx="157">
                  <c:v>0.8373029125298901</c:v>
                </c:pt>
                <c:pt idx="158">
                  <c:v>0.8386960279054062</c:v>
                </c:pt>
                <c:pt idx="159">
                  <c:v>0.8400805421069419</c:v>
                </c:pt>
                <c:pt idx="160">
                  <c:v>0.8414622546812683</c:v>
                </c:pt>
                <c:pt idx="161">
                  <c:v>0.8428417937639126</c:v>
                </c:pt>
                <c:pt idx="162">
                  <c:v>0.8441683874457279</c:v>
                </c:pt>
                <c:pt idx="163">
                  <c:v>0.8454815083342753</c:v>
                </c:pt>
                <c:pt idx="164">
                  <c:v>0.846785706843175</c:v>
                </c:pt>
                <c:pt idx="165">
                  <c:v>0.8480673924037478</c:v>
                </c:pt>
                <c:pt idx="166">
                  <c:v>0.8493477967106033</c:v>
                </c:pt>
                <c:pt idx="167">
                  <c:v>0.8518774412366811</c:v>
                </c:pt>
                <c:pt idx="168">
                  <c:v>0.8531305073722962</c:v>
                </c:pt>
                <c:pt idx="169">
                  <c:v>0.8543835628010559</c:v>
                </c:pt>
                <c:pt idx="170">
                  <c:v>0.8556317109210093</c:v>
                </c:pt>
                <c:pt idx="171">
                  <c:v>0.8568721965013214</c:v>
                </c:pt>
                <c:pt idx="172">
                  <c:v>0.8581101195741987</c:v>
                </c:pt>
                <c:pt idx="173">
                  <c:v>0.8593460226203238</c:v>
                </c:pt>
                <c:pt idx="174">
                  <c:v>0.8605650730757703</c:v>
                </c:pt>
                <c:pt idx="175">
                  <c:v>0.8617563606547054</c:v>
                </c:pt>
                <c:pt idx="176">
                  <c:v>0.8641226364094353</c:v>
                </c:pt>
                <c:pt idx="177">
                  <c:v>0.8652951084741695</c:v>
                </c:pt>
                <c:pt idx="178">
                  <c:v>0.8664597252758619</c:v>
                </c:pt>
                <c:pt idx="179">
                  <c:v>0.8676108906979976</c:v>
                </c:pt>
                <c:pt idx="180">
                  <c:v>0.8687606999184269</c:v>
                </c:pt>
                <c:pt idx="181">
                  <c:v>0.8699027966338887</c:v>
                </c:pt>
                <c:pt idx="182">
                  <c:v>0.8710369096040419</c:v>
                </c:pt>
                <c:pt idx="183">
                  <c:v>0.872167275174743</c:v>
                </c:pt>
                <c:pt idx="184">
                  <c:v>0.8732919304224697</c:v>
                </c:pt>
                <c:pt idx="185">
                  <c:v>0.8744148297458817</c:v>
                </c:pt>
                <c:pt idx="186">
                  <c:v>0.8766422018942576</c:v>
                </c:pt>
                <c:pt idx="187">
                  <c:v>0.8777347437131565</c:v>
                </c:pt>
                <c:pt idx="188">
                  <c:v>0.8788006183237647</c:v>
                </c:pt>
                <c:pt idx="189">
                  <c:v>0.879863677031356</c:v>
                </c:pt>
                <c:pt idx="190">
                  <c:v>0.880925886328405</c:v>
                </c:pt>
                <c:pt idx="191">
                  <c:v>0.8819825316295057</c:v>
                </c:pt>
                <c:pt idx="192">
                  <c:v>0.8830352724972725</c:v>
                </c:pt>
                <c:pt idx="193">
                  <c:v>0.8840757754291148</c:v>
                </c:pt>
                <c:pt idx="194">
                  <c:v>0.8850776159054679</c:v>
                </c:pt>
                <c:pt idx="195">
                  <c:v>0.8870461533892181</c:v>
                </c:pt>
                <c:pt idx="196">
                  <c:v>0.8880177969638918</c:v>
                </c:pt>
                <c:pt idx="197">
                  <c:v>0.8889732446350292</c:v>
                </c:pt>
                <c:pt idx="198">
                  <c:v>0.8899271933463858</c:v>
                </c:pt>
                <c:pt idx="199">
                  <c:v>0.8908778300704172</c:v>
                </c:pt>
                <c:pt idx="200">
                  <c:v>0.8918123886663236</c:v>
                </c:pt>
                <c:pt idx="201">
                  <c:v>0.8927463048508953</c:v>
                </c:pt>
                <c:pt idx="202">
                  <c:v>0.8936626046890909</c:v>
                </c:pt>
                <c:pt idx="203">
                  <c:v>0.8945453349661001</c:v>
                </c:pt>
                <c:pt idx="204">
                  <c:v>0.8954127687154415</c:v>
                </c:pt>
                <c:pt idx="205">
                  <c:v>0.8962797813284635</c:v>
                </c:pt>
                <c:pt idx="206">
                  <c:v>0.8971165220918171</c:v>
                </c:pt>
                <c:pt idx="207">
                  <c:v>0.8979432626520617</c:v>
                </c:pt>
                <c:pt idx="208">
                  <c:v>0.8987611593495995</c:v>
                </c:pt>
                <c:pt idx="209">
                  <c:v>0.8995735991197449</c:v>
                </c:pt>
                <c:pt idx="210">
                  <c:v>0.9003834549687443</c:v>
                </c:pt>
                <c:pt idx="211">
                  <c:v>0.9011885712496749</c:v>
                </c:pt>
                <c:pt idx="212">
                  <c:v>0.9019828807443763</c:v>
                </c:pt>
                <c:pt idx="213">
                  <c:v>0.9027755449522706</c:v>
                </c:pt>
                <c:pt idx="214">
                  <c:v>0.9035625559404203</c:v>
                </c:pt>
                <c:pt idx="215">
                  <c:v>0.9043426217482523</c:v>
                </c:pt>
                <c:pt idx="216">
                  <c:v>0.9051201928587348</c:v>
                </c:pt>
                <c:pt idx="217">
                  <c:v>0.9058958581489246</c:v>
                </c:pt>
                <c:pt idx="218">
                  <c:v>0.9066699780829593</c:v>
                </c:pt>
                <c:pt idx="219">
                  <c:v>0.9074429238318324</c:v>
                </c:pt>
                <c:pt idx="220">
                  <c:v>0.9082087281080357</c:v>
                </c:pt>
                <c:pt idx="221">
                  <c:v>0.9096941258717711</c:v>
                </c:pt>
                <c:pt idx="222">
                  <c:v>0.9104094830134467</c:v>
                </c:pt>
                <c:pt idx="223">
                  <c:v>0.9111159820166082</c:v>
                </c:pt>
                <c:pt idx="224">
                  <c:v>0.9118199613397571</c:v>
                </c:pt>
                <c:pt idx="225">
                  <c:v>0.912522041980517</c:v>
                </c:pt>
                <c:pt idx="226">
                  <c:v>0.9132231268837082</c:v>
                </c:pt>
                <c:pt idx="227">
                  <c:v>0.9139225914827555</c:v>
                </c:pt>
                <c:pt idx="228">
                  <c:v>0.9146148896264698</c:v>
                </c:pt>
                <c:pt idx="229">
                  <c:v>0.9152985223550703</c:v>
                </c:pt>
                <c:pt idx="230">
                  <c:v>0.9159678864141383</c:v>
                </c:pt>
                <c:pt idx="231">
                  <c:v>0.9166169931024544</c:v>
                </c:pt>
                <c:pt idx="232">
                  <c:v>0.9172541830605131</c:v>
                </c:pt>
                <c:pt idx="233">
                  <c:v>0.9178873579477304</c:v>
                </c:pt>
                <c:pt idx="234">
                  <c:v>0.918520372232114</c:v>
                </c:pt>
                <c:pt idx="235">
                  <c:v>0.9191378223174403</c:v>
                </c:pt>
                <c:pt idx="236">
                  <c:v>0.9197452222343316</c:v>
                </c:pt>
                <c:pt idx="237">
                  <c:v>0.9203503701425998</c:v>
                </c:pt>
                <c:pt idx="238">
                  <c:v>0.9209553181895639</c:v>
                </c:pt>
                <c:pt idx="239">
                  <c:v>0.9215586744839989</c:v>
                </c:pt>
                <c:pt idx="240">
                  <c:v>0.9221563490070742</c:v>
                </c:pt>
                <c:pt idx="241">
                  <c:v>0.9227516787287782</c:v>
                </c:pt>
                <c:pt idx="242">
                  <c:v>0.9233405914750396</c:v>
                </c:pt>
                <c:pt idx="243">
                  <c:v>0.9239292044293448</c:v>
                </c:pt>
                <c:pt idx="244">
                  <c:v>0.9245101048786826</c:v>
                </c:pt>
                <c:pt idx="245">
                  <c:v>0.9250909018284165</c:v>
                </c:pt>
                <c:pt idx="246">
                  <c:v>0.9256649106317145</c:v>
                </c:pt>
                <c:pt idx="247">
                  <c:v>0.9262348401230376</c:v>
                </c:pt>
                <c:pt idx="248">
                  <c:v>0.9268031635860241</c:v>
                </c:pt>
                <c:pt idx="249">
                  <c:v>0.9273700237787484</c:v>
                </c:pt>
                <c:pt idx="250">
                  <c:v>0.9279329224349092</c:v>
                </c:pt>
                <c:pt idx="251">
                  <c:v>0.9284949538357683</c:v>
                </c:pt>
                <c:pt idx="252">
                  <c:v>0.9290539337827879</c:v>
                </c:pt>
                <c:pt idx="253">
                  <c:v>0.9296084275573206</c:v>
                </c:pt>
                <c:pt idx="254">
                  <c:v>0.930158931243675</c:v>
                </c:pt>
                <c:pt idx="255">
                  <c:v>0.9307093742578477</c:v>
                </c:pt>
                <c:pt idx="256">
                  <c:v>0.9312403593464849</c:v>
                </c:pt>
                <c:pt idx="257">
                  <c:v>0.931770155974153</c:v>
                </c:pt>
                <c:pt idx="258">
                  <c:v>0.9322976934552943</c:v>
                </c:pt>
                <c:pt idx="259">
                  <c:v>0.932822689842712</c:v>
                </c:pt>
                <c:pt idx="260">
                  <c:v>0.9333445741041086</c:v>
                </c:pt>
                <c:pt idx="261">
                  <c:v>0.9338658445057855</c:v>
                </c:pt>
                <c:pt idx="262">
                  <c:v>0.9343837600927148</c:v>
                </c:pt>
                <c:pt idx="263">
                  <c:v>0.9349002302541413</c:v>
                </c:pt>
                <c:pt idx="264">
                  <c:v>0.9359009750622737</c:v>
                </c:pt>
                <c:pt idx="265">
                  <c:v>0.9363874838728434</c:v>
                </c:pt>
                <c:pt idx="266">
                  <c:v>0.9368702095944426</c:v>
                </c:pt>
                <c:pt idx="267">
                  <c:v>0.9373400870893491</c:v>
                </c:pt>
                <c:pt idx="268">
                  <c:v>0.937809475637851</c:v>
                </c:pt>
                <c:pt idx="269">
                  <c:v>0.938276355213196</c:v>
                </c:pt>
                <c:pt idx="270">
                  <c:v>0.9387428243590772</c:v>
                </c:pt>
                <c:pt idx="271">
                  <c:v>0.9392088545238797</c:v>
                </c:pt>
                <c:pt idx="272">
                  <c:v>0.9396637638346894</c:v>
                </c:pt>
                <c:pt idx="273">
                  <c:v>0.9401182270265168</c:v>
                </c:pt>
                <c:pt idx="274">
                  <c:v>0.9405719657211168</c:v>
                </c:pt>
                <c:pt idx="275">
                  <c:v>0.9410250727112377</c:v>
                </c:pt>
                <c:pt idx="276">
                  <c:v>0.941469003926129</c:v>
                </c:pt>
                <c:pt idx="277">
                  <c:v>0.9419122927296857</c:v>
                </c:pt>
                <c:pt idx="278">
                  <c:v>0.9423517056515235</c:v>
                </c:pt>
                <c:pt idx="279">
                  <c:v>0.9427804474073027</c:v>
                </c:pt>
                <c:pt idx="280">
                  <c:v>0.9432023224997051</c:v>
                </c:pt>
                <c:pt idx="281">
                  <c:v>0.9436196186268724</c:v>
                </c:pt>
                <c:pt idx="282">
                  <c:v>0.944035333708366</c:v>
                </c:pt>
                <c:pt idx="283">
                  <c:v>0.9444461343431498</c:v>
                </c:pt>
                <c:pt idx="284">
                  <c:v>0.9448524916328691</c:v>
                </c:pt>
                <c:pt idx="285">
                  <c:v>0.9452578067886456</c:v>
                </c:pt>
                <c:pt idx="286">
                  <c:v>0.9456567763480166</c:v>
                </c:pt>
                <c:pt idx="287">
                  <c:v>0.9460449748106771</c:v>
                </c:pt>
                <c:pt idx="288">
                  <c:v>0.9464311603844889</c:v>
                </c:pt>
                <c:pt idx="289">
                  <c:v>0.946811846203486</c:v>
                </c:pt>
                <c:pt idx="290">
                  <c:v>0.9471917432841223</c:v>
                </c:pt>
                <c:pt idx="291">
                  <c:v>0.9475675967423023</c:v>
                </c:pt>
                <c:pt idx="292">
                  <c:v>0.9479418905685199</c:v>
                </c:pt>
                <c:pt idx="293">
                  <c:v>0.9483154527596063</c:v>
                </c:pt>
                <c:pt idx="294">
                  <c:v>0.948687715852216</c:v>
                </c:pt>
                <c:pt idx="295">
                  <c:v>0.9494250327546804</c:v>
                </c:pt>
                <c:pt idx="296">
                  <c:v>0.9497894548600558</c:v>
                </c:pt>
                <c:pt idx="297">
                  <c:v>0.9501534736738713</c:v>
                </c:pt>
                <c:pt idx="298">
                  <c:v>0.9505143625169062</c:v>
                </c:pt>
                <c:pt idx="299">
                  <c:v>0.9508743162945542</c:v>
                </c:pt>
                <c:pt idx="300">
                  <c:v>0.9512328639051697</c:v>
                </c:pt>
                <c:pt idx="301">
                  <c:v>0.9515896091950964</c:v>
                </c:pt>
                <c:pt idx="302">
                  <c:v>0.9519389738925785</c:v>
                </c:pt>
                <c:pt idx="303">
                  <c:v>0.9522876604892074</c:v>
                </c:pt>
                <c:pt idx="304">
                  <c:v>0.9526346268510403</c:v>
                </c:pt>
                <c:pt idx="305">
                  <c:v>0.9529813469551949</c:v>
                </c:pt>
                <c:pt idx="306">
                  <c:v>0.9533269000120915</c:v>
                </c:pt>
                <c:pt idx="307">
                  <c:v>0.9536581736926002</c:v>
                </c:pt>
                <c:pt idx="308">
                  <c:v>0.9539893295976974</c:v>
                </c:pt>
                <c:pt idx="309">
                  <c:v>0.9543171199811916</c:v>
                </c:pt>
                <c:pt idx="310">
                  <c:v>0.9546439788682506</c:v>
                </c:pt>
                <c:pt idx="311">
                  <c:v>0.9549691139515617</c:v>
                </c:pt>
                <c:pt idx="312">
                  <c:v>0.9552894773462373</c:v>
                </c:pt>
                <c:pt idx="313">
                  <c:v>0.9552894773462373</c:v>
                </c:pt>
                <c:pt idx="314">
                  <c:v>0.9556075923012416</c:v>
                </c:pt>
                <c:pt idx="315">
                  <c:v>0.9559227236124918</c:v>
                </c:pt>
                <c:pt idx="316">
                  <c:v>0.9562339469214562</c:v>
                </c:pt>
                <c:pt idx="317">
                  <c:v>0.9565421330523887</c:v>
                </c:pt>
                <c:pt idx="318">
                  <c:v>0.9568479565371905</c:v>
                </c:pt>
                <c:pt idx="319">
                  <c:v>0.9571518884775069</c:v>
                </c:pt>
                <c:pt idx="320">
                  <c:v>0.9574532828930515</c:v>
                </c:pt>
                <c:pt idx="321">
                  <c:v>0.9577540884315394</c:v>
                </c:pt>
                <c:pt idx="322">
                  <c:v>0.9580532486832203</c:v>
                </c:pt>
                <c:pt idx="323">
                  <c:v>0.958349807168996</c:v>
                </c:pt>
                <c:pt idx="324">
                  <c:v>0.9586452235901768</c:v>
                </c:pt>
                <c:pt idx="325">
                  <c:v>0.9589371138869208</c:v>
                </c:pt>
                <c:pt idx="326">
                  <c:v>0.9592253103184908</c:v>
                </c:pt>
                <c:pt idx="327">
                  <c:v>0.9595115045680678</c:v>
                </c:pt>
                <c:pt idx="328">
                  <c:v>0.9597967673212096</c:v>
                </c:pt>
                <c:pt idx="329">
                  <c:v>0.9600766302501886</c:v>
                </c:pt>
                <c:pt idx="330">
                  <c:v>0.960356004232763</c:v>
                </c:pt>
                <c:pt idx="331">
                  <c:v>0.9606253922880358</c:v>
                </c:pt>
                <c:pt idx="332">
                  <c:v>0.9608856973608273</c:v>
                </c:pt>
                <c:pt idx="333">
                  <c:v>0.9611457026416627</c:v>
                </c:pt>
                <c:pt idx="334">
                  <c:v>0.9614042767728025</c:v>
                </c:pt>
                <c:pt idx="335">
                  <c:v>0.9616578936298101</c:v>
                </c:pt>
                <c:pt idx="336">
                  <c:v>0.9619110857815465</c:v>
                </c:pt>
                <c:pt idx="337">
                  <c:v>0.9621638675038191</c:v>
                </c:pt>
                <c:pt idx="338">
                  <c:v>0.9624164779164025</c:v>
                </c:pt>
                <c:pt idx="339">
                  <c:v>0.9626683031595769</c:v>
                </c:pt>
                <c:pt idx="340">
                  <c:v>0.9629199106966878</c:v>
                </c:pt>
                <c:pt idx="341">
                  <c:v>0.9631660327547914</c:v>
                </c:pt>
                <c:pt idx="342">
                  <c:v>0.9634104666986657</c:v>
                </c:pt>
                <c:pt idx="343">
                  <c:v>0.9636543545929056</c:v>
                </c:pt>
                <c:pt idx="344">
                  <c:v>0.9638975786620997</c:v>
                </c:pt>
                <c:pt idx="345">
                  <c:v>0.9641392216856202</c:v>
                </c:pt>
                <c:pt idx="346">
                  <c:v>0.9643804685554843</c:v>
                </c:pt>
                <c:pt idx="347">
                  <c:v>0.9646183177831786</c:v>
                </c:pt>
                <c:pt idx="348">
                  <c:v>0.9648517165279048</c:v>
                </c:pt>
                <c:pt idx="349">
                  <c:v>0.9650832701245198</c:v>
                </c:pt>
                <c:pt idx="350">
                  <c:v>0.9653146345666862</c:v>
                </c:pt>
                <c:pt idx="351">
                  <c:v>0.9655457063548002</c:v>
                </c:pt>
                <c:pt idx="352">
                  <c:v>0.9657759394392273</c:v>
                </c:pt>
                <c:pt idx="353">
                  <c:v>0.9660058584558909</c:v>
                </c:pt>
                <c:pt idx="354">
                  <c:v>0.9662344391156074</c:v>
                </c:pt>
                <c:pt idx="355">
                  <c:v>0.9666894911844915</c:v>
                </c:pt>
                <c:pt idx="356">
                  <c:v>0.9669122044873517</c:v>
                </c:pt>
                <c:pt idx="357">
                  <c:v>0.967132940590882</c:v>
                </c:pt>
                <c:pt idx="358">
                  <c:v>0.9673518137015418</c:v>
                </c:pt>
                <c:pt idx="359">
                  <c:v>0.9675691664387096</c:v>
                </c:pt>
                <c:pt idx="360">
                  <c:v>0.9677826004667363</c:v>
                </c:pt>
                <c:pt idx="361">
                  <c:v>0.9679950815846164</c:v>
                </c:pt>
                <c:pt idx="362">
                  <c:v>0.9682056747269633</c:v>
                </c:pt>
                <c:pt idx="363">
                  <c:v>0.9684136482586455</c:v>
                </c:pt>
                <c:pt idx="364">
                  <c:v>0.9686197802111685</c:v>
                </c:pt>
                <c:pt idx="365">
                  <c:v>0.9688254553378535</c:v>
                </c:pt>
                <c:pt idx="366">
                  <c:v>0.9690303916915037</c:v>
                </c:pt>
                <c:pt idx="367">
                  <c:v>0.9692331688292792</c:v>
                </c:pt>
                <c:pt idx="368">
                  <c:v>0.9694357996400285</c:v>
                </c:pt>
                <c:pt idx="369">
                  <c:v>0.9696375275059574</c:v>
                </c:pt>
                <c:pt idx="370">
                  <c:v>0.9702364475932316</c:v>
                </c:pt>
                <c:pt idx="371">
                  <c:v>0.9704315015191841</c:v>
                </c:pt>
                <c:pt idx="372">
                  <c:v>0.9706251671228634</c:v>
                </c:pt>
                <c:pt idx="373">
                  <c:v>0.970818800605976</c:v>
                </c:pt>
                <c:pt idx="374">
                  <c:v>0.9710101892183693</c:v>
                </c:pt>
                <c:pt idx="375">
                  <c:v>0.971200756971835</c:v>
                </c:pt>
                <c:pt idx="376">
                  <c:v>0.9713888799932773</c:v>
                </c:pt>
                <c:pt idx="377">
                  <c:v>0.9715745975411665</c:v>
                </c:pt>
                <c:pt idx="378">
                  <c:v>0.9717566604823521</c:v>
                </c:pt>
                <c:pt idx="379">
                  <c:v>0.9719375813589428</c:v>
                </c:pt>
                <c:pt idx="380">
                  <c:v>0.9721155078849237</c:v>
                </c:pt>
                <c:pt idx="381">
                  <c:v>0.9722924458112397</c:v>
                </c:pt>
                <c:pt idx="382">
                  <c:v>0.9724680132600418</c:v>
                </c:pt>
                <c:pt idx="383">
                  <c:v>0.9726426206607939</c:v>
                </c:pt>
                <c:pt idx="384">
                  <c:v>0.9728156470158723</c:v>
                </c:pt>
                <c:pt idx="385">
                  <c:v>0.9729886198366728</c:v>
                </c:pt>
                <c:pt idx="386">
                  <c:v>0.9731614641752065</c:v>
                </c:pt>
                <c:pt idx="387">
                  <c:v>0.9733341514798584</c:v>
                </c:pt>
                <c:pt idx="388">
                  <c:v>0.9735043583629682</c:v>
                </c:pt>
                <c:pt idx="389">
                  <c:v>0.9736739692311176</c:v>
                </c:pt>
                <c:pt idx="390">
                  <c:v>0.9738425343963723</c:v>
                </c:pt>
                <c:pt idx="391">
                  <c:v>0.9740110852858195</c:v>
                </c:pt>
                <c:pt idx="392">
                  <c:v>0.9741789901949802</c:v>
                </c:pt>
                <c:pt idx="393">
                  <c:v>0.9743444039757433</c:v>
                </c:pt>
                <c:pt idx="394">
                  <c:v>0.9745083116588219</c:v>
                </c:pt>
                <c:pt idx="395">
                  <c:v>0.9746721087043929</c:v>
                </c:pt>
                <c:pt idx="396">
                  <c:v>0.9748340748776602</c:v>
                </c:pt>
                <c:pt idx="397">
                  <c:v>0.9749917547397448</c:v>
                </c:pt>
                <c:pt idx="398">
                  <c:v>0.9751476144363812</c:v>
                </c:pt>
                <c:pt idx="399">
                  <c:v>0.9753034027539804</c:v>
                </c:pt>
                <c:pt idx="400">
                  <c:v>0.9754586735735601</c:v>
                </c:pt>
                <c:pt idx="401">
                  <c:v>0.9756116781087093</c:v>
                </c:pt>
                <c:pt idx="402">
                  <c:v>0.9757612814327369</c:v>
                </c:pt>
                <c:pt idx="403">
                  <c:v>0.9759105242926267</c:v>
                </c:pt>
                <c:pt idx="404">
                  <c:v>0.9762065438666717</c:v>
                </c:pt>
                <c:pt idx="405">
                  <c:v>0.9763531671158969</c:v>
                </c:pt>
                <c:pt idx="406">
                  <c:v>0.976498908834013</c:v>
                </c:pt>
                <c:pt idx="407">
                  <c:v>0.9766446184315624</c:v>
                </c:pt>
                <c:pt idx="408">
                  <c:v>0.976788522139471</c:v>
                </c:pt>
                <c:pt idx="409">
                  <c:v>0.9769320725211456</c:v>
                </c:pt>
                <c:pt idx="410">
                  <c:v>0.9772161753649331</c:v>
                </c:pt>
                <c:pt idx="411">
                  <c:v>0.9773569883605319</c:v>
                </c:pt>
                <c:pt idx="412">
                  <c:v>0.9774949247809321</c:v>
                </c:pt>
                <c:pt idx="413">
                  <c:v>0.977632265186372</c:v>
                </c:pt>
                <c:pt idx="414">
                  <c:v>0.9779058182084642</c:v>
                </c:pt>
                <c:pt idx="415">
                  <c:v>0.978041491913386</c:v>
                </c:pt>
                <c:pt idx="416">
                  <c:v>0.9781757594512752</c:v>
                </c:pt>
                <c:pt idx="417">
                  <c:v>0.978308899200377</c:v>
                </c:pt>
                <c:pt idx="418">
                  <c:v>0.9784415642788815</c:v>
                </c:pt>
                <c:pt idx="419">
                  <c:v>0.9785719309523888</c:v>
                </c:pt>
                <c:pt idx="420">
                  <c:v>0.9787017908347321</c:v>
                </c:pt>
                <c:pt idx="421">
                  <c:v>0.9788307085137846</c:v>
                </c:pt>
                <c:pt idx="422">
                  <c:v>0.9789583270943605</c:v>
                </c:pt>
                <c:pt idx="423">
                  <c:v>0.9792043313770528</c:v>
                </c:pt>
                <c:pt idx="424">
                  <c:v>0.9793258577568051</c:v>
                </c:pt>
                <c:pt idx="425">
                  <c:v>0.979446359847374</c:v>
                </c:pt>
                <c:pt idx="426">
                  <c:v>0.9795667120419649</c:v>
                </c:pt>
                <c:pt idx="427">
                  <c:v>0.9796864111183655</c:v>
                </c:pt>
                <c:pt idx="428">
                  <c:v>0.979805178698331</c:v>
                </c:pt>
                <c:pt idx="429">
                  <c:v>0.9799235358488325</c:v>
                </c:pt>
                <c:pt idx="430">
                  <c:v>0.9800418037755376</c:v>
                </c:pt>
                <c:pt idx="431">
                  <c:v>0.980156445647154</c:v>
                </c:pt>
                <c:pt idx="432">
                  <c:v>0.9802701203328165</c:v>
                </c:pt>
                <c:pt idx="433">
                  <c:v>0.9803821854211906</c:v>
                </c:pt>
                <c:pt idx="434">
                  <c:v>0.9806049808099435</c:v>
                </c:pt>
                <c:pt idx="435">
                  <c:v>0.9807157682135521</c:v>
                </c:pt>
                <c:pt idx="436">
                  <c:v>0.9808264521175567</c:v>
                </c:pt>
                <c:pt idx="437">
                  <c:v>0.9809354122178134</c:v>
                </c:pt>
                <c:pt idx="438">
                  <c:v>0.9811523188359988</c:v>
                </c:pt>
                <c:pt idx="439">
                  <c:v>0.9812572031932325</c:v>
                </c:pt>
                <c:pt idx="440">
                  <c:v>0.9813620018956216</c:v>
                </c:pt>
                <c:pt idx="441">
                  <c:v>0.981466639995177</c:v>
                </c:pt>
                <c:pt idx="442">
                  <c:v>0.981571263818925</c:v>
                </c:pt>
                <c:pt idx="443">
                  <c:v>0.981673607082435</c:v>
                </c:pt>
                <c:pt idx="444">
                  <c:v>0.9817729524263834</c:v>
                </c:pt>
                <c:pt idx="445">
                  <c:v>0.981872090771124</c:v>
                </c:pt>
                <c:pt idx="446">
                  <c:v>0.981971168443683</c:v>
                </c:pt>
                <c:pt idx="447">
                  <c:v>0.9820668627498796</c:v>
                </c:pt>
                <c:pt idx="448">
                  <c:v>0.9821610259757287</c:v>
                </c:pt>
                <c:pt idx="449">
                  <c:v>0.9822546609967027</c:v>
                </c:pt>
                <c:pt idx="450">
                  <c:v>0.9823482032249283</c:v>
                </c:pt>
                <c:pt idx="451">
                  <c:v>0.9824394541860605</c:v>
                </c:pt>
                <c:pt idx="452">
                  <c:v>0.9825289278091668</c:v>
                </c:pt>
                <c:pt idx="453">
                  <c:v>0.98261812662298</c:v>
                </c:pt>
                <c:pt idx="454">
                  <c:v>0.9827063225613207</c:v>
                </c:pt>
                <c:pt idx="455">
                  <c:v>0.9828799270866004</c:v>
                </c:pt>
                <c:pt idx="456">
                  <c:v>0.9829665241345084</c:v>
                </c:pt>
                <c:pt idx="457">
                  <c:v>0.9830523395819591</c:v>
                </c:pt>
                <c:pt idx="458">
                  <c:v>0.9831376268245348</c:v>
                </c:pt>
                <c:pt idx="459">
                  <c:v>0.9832221503114126</c:v>
                </c:pt>
                <c:pt idx="460">
                  <c:v>0.9833065453160235</c:v>
                </c:pt>
                <c:pt idx="461">
                  <c:v>0.9833907511661858</c:v>
                </c:pt>
                <c:pt idx="462">
                  <c:v>0.9834748428098886</c:v>
                </c:pt>
                <c:pt idx="463">
                  <c:v>0.9835589094709285</c:v>
                </c:pt>
                <c:pt idx="464">
                  <c:v>0.9836424764787081</c:v>
                </c:pt>
                <c:pt idx="465">
                  <c:v>0.9837256580396869</c:v>
                </c:pt>
                <c:pt idx="466">
                  <c:v>0.9838087896353397</c:v>
                </c:pt>
                <c:pt idx="467">
                  <c:v>0.983891906955185</c:v>
                </c:pt>
                <c:pt idx="468">
                  <c:v>0.983974046382221</c:v>
                </c:pt>
                <c:pt idx="469">
                  <c:v>0.9840560466201345</c:v>
                </c:pt>
                <c:pt idx="470">
                  <c:v>0.9841374651188949</c:v>
                </c:pt>
                <c:pt idx="471">
                  <c:v>0.9842186195152177</c:v>
                </c:pt>
                <c:pt idx="472">
                  <c:v>0.984298978035276</c:v>
                </c:pt>
                <c:pt idx="473">
                  <c:v>0.9843788761605445</c:v>
                </c:pt>
                <c:pt idx="474">
                  <c:v>0.9844583817011086</c:v>
                </c:pt>
                <c:pt idx="475">
                  <c:v>0.9845376552598017</c:v>
                </c:pt>
                <c:pt idx="476">
                  <c:v>0.9846164755616088</c:v>
                </c:pt>
                <c:pt idx="477">
                  <c:v>0.9846945285387662</c:v>
                </c:pt>
                <c:pt idx="478">
                  <c:v>0.9847705900407862</c:v>
                </c:pt>
                <c:pt idx="479">
                  <c:v>0.9848466194222394</c:v>
                </c:pt>
                <c:pt idx="480">
                  <c:v>0.9849220135302618</c:v>
                </c:pt>
                <c:pt idx="481">
                  <c:v>0.9849972934318246</c:v>
                </c:pt>
                <c:pt idx="482">
                  <c:v>0.9850719737494752</c:v>
                </c:pt>
                <c:pt idx="483">
                  <c:v>0.9851463078787954</c:v>
                </c:pt>
                <c:pt idx="484">
                  <c:v>0.9852199639072624</c:v>
                </c:pt>
                <c:pt idx="485">
                  <c:v>0.9853668227073104</c:v>
                </c:pt>
                <c:pt idx="486">
                  <c:v>0.9854393402401344</c:v>
                </c:pt>
                <c:pt idx="487">
                  <c:v>0.9855115294293874</c:v>
                </c:pt>
                <c:pt idx="488">
                  <c:v>0.9855831511552947</c:v>
                </c:pt>
                <c:pt idx="489">
                  <c:v>0.9856544588134385</c:v>
                </c:pt>
                <c:pt idx="490">
                  <c:v>0.9857255808860856</c:v>
                </c:pt>
                <c:pt idx="491">
                  <c:v>0.985796342494595</c:v>
                </c:pt>
                <c:pt idx="492">
                  <c:v>0.985866529501855</c:v>
                </c:pt>
                <c:pt idx="493">
                  <c:v>0.9859362668211809</c:v>
                </c:pt>
                <c:pt idx="494">
                  <c:v>0.9860057650207321</c:v>
                </c:pt>
                <c:pt idx="495">
                  <c:v>0.9860751097553534</c:v>
                </c:pt>
                <c:pt idx="496">
                  <c:v>0.986144243921815</c:v>
                </c:pt>
                <c:pt idx="497">
                  <c:v>0.9862118434389772</c:v>
                </c:pt>
                <c:pt idx="498">
                  <c:v>0.9862793109049206</c:v>
                </c:pt>
                <c:pt idx="499">
                  <c:v>0.9863466641644045</c:v>
                </c:pt>
                <c:pt idx="500">
                  <c:v>0.9864138925105734</c:v>
                </c:pt>
                <c:pt idx="501">
                  <c:v>0.9864809995123791</c:v>
                </c:pt>
                <c:pt idx="502">
                  <c:v>0.986547949480303</c:v>
                </c:pt>
                <c:pt idx="503">
                  <c:v>0.986614035761877</c:v>
                </c:pt>
                <c:pt idx="504">
                  <c:v>0.986744941347115</c:v>
                </c:pt>
                <c:pt idx="505">
                  <c:v>0.9868100425979759</c:v>
                </c:pt>
                <c:pt idx="506">
                  <c:v>0.9868750403492329</c:v>
                </c:pt>
                <c:pt idx="507">
                  <c:v>0.9869392957585031</c:v>
                </c:pt>
                <c:pt idx="508">
                  <c:v>0.9870031157556466</c:v>
                </c:pt>
                <c:pt idx="509">
                  <c:v>0.9870668037015713</c:v>
                </c:pt>
                <c:pt idx="510">
                  <c:v>0.987130163303925</c:v>
                </c:pt>
                <c:pt idx="511">
                  <c:v>0.9871926163925064</c:v>
                </c:pt>
                <c:pt idx="512">
                  <c:v>0.9872549445677729</c:v>
                </c:pt>
                <c:pt idx="513">
                  <c:v>0.987377944924643</c:v>
                </c:pt>
                <c:pt idx="514">
                  <c:v>0.987438538589306</c:v>
                </c:pt>
                <c:pt idx="515">
                  <c:v>0.9874987610829755</c:v>
                </c:pt>
                <c:pt idx="516">
                  <c:v>0.9875588051290521</c:v>
                </c:pt>
                <c:pt idx="517">
                  <c:v>0.987618842037225</c:v>
                </c:pt>
                <c:pt idx="518">
                  <c:v>0.9877369743437595</c:v>
                </c:pt>
                <c:pt idx="519">
                  <c:v>0.9877956050848999</c:v>
                </c:pt>
                <c:pt idx="520">
                  <c:v>0.9878539431719879</c:v>
                </c:pt>
                <c:pt idx="521">
                  <c:v>0.9879116317098375</c:v>
                </c:pt>
                <c:pt idx="522">
                  <c:v>0.9879690561452497</c:v>
                </c:pt>
                <c:pt idx="523">
                  <c:v>0.9880255704979377</c:v>
                </c:pt>
                <c:pt idx="524">
                  <c:v>0.9881379996194014</c:v>
                </c:pt>
                <c:pt idx="525">
                  <c:v>0.988193992905118</c:v>
                </c:pt>
                <c:pt idx="526">
                  <c:v>0.9882490225738326</c:v>
                </c:pt>
                <c:pt idx="527">
                  <c:v>0.9883036453820353</c:v>
                </c:pt>
                <c:pt idx="528">
                  <c:v>0.9883580290704634</c:v>
                </c:pt>
                <c:pt idx="529">
                  <c:v>0.9884119309503906</c:v>
                </c:pt>
                <c:pt idx="530">
                  <c:v>0.9885183570948274</c:v>
                </c:pt>
                <c:pt idx="531">
                  <c:v>0.9885708242561072</c:v>
                </c:pt>
                <c:pt idx="532">
                  <c:v>0.9886231879177831</c:v>
                </c:pt>
                <c:pt idx="533">
                  <c:v>0.9886746914620611</c:v>
                </c:pt>
                <c:pt idx="534">
                  <c:v>0.9887260058518905</c:v>
                </c:pt>
                <c:pt idx="535">
                  <c:v>0.9888279315480331</c:v>
                </c:pt>
                <c:pt idx="536">
                  <c:v>0.9888784571995016</c:v>
                </c:pt>
                <c:pt idx="537">
                  <c:v>0.9890257335669171</c:v>
                </c:pt>
                <c:pt idx="538">
                  <c:v>0.9890741571057406</c:v>
                </c:pt>
                <c:pt idx="539">
                  <c:v>0.9891225413860938</c:v>
                </c:pt>
                <c:pt idx="540">
                  <c:v>0.9891701583417972</c:v>
                </c:pt>
                <c:pt idx="541">
                  <c:v>0.9892170186797065</c:v>
                </c:pt>
                <c:pt idx="542">
                  <c:v>0.9892633365369332</c:v>
                </c:pt>
                <c:pt idx="543">
                  <c:v>0.9893093296195408</c:v>
                </c:pt>
                <c:pt idx="544">
                  <c:v>0.9893552334783519</c:v>
                </c:pt>
                <c:pt idx="545">
                  <c:v>0.9894459990620311</c:v>
                </c:pt>
                <c:pt idx="546">
                  <c:v>0.9894911570099036</c:v>
                </c:pt>
                <c:pt idx="547">
                  <c:v>0.9895362828372094</c:v>
                </c:pt>
                <c:pt idx="548">
                  <c:v>0.9895812659064408</c:v>
                </c:pt>
                <c:pt idx="549">
                  <c:v>0.9896258635288715</c:v>
                </c:pt>
                <c:pt idx="550">
                  <c:v>0.9896703719275056</c:v>
                </c:pt>
                <c:pt idx="551">
                  <c:v>0.9898455753432182</c:v>
                </c:pt>
                <c:pt idx="552">
                  <c:v>0.9899740718859513</c:v>
                </c:pt>
                <c:pt idx="553">
                  <c:v>0.9900165781025926</c:v>
                </c:pt>
                <c:pt idx="554">
                  <c:v>0.9900589486990632</c:v>
                </c:pt>
                <c:pt idx="555">
                  <c:v>0.9901012550544004</c:v>
                </c:pt>
                <c:pt idx="556">
                  <c:v>0.9901434864617485</c:v>
                </c:pt>
                <c:pt idx="557">
                  <c:v>0.9902267215570052</c:v>
                </c:pt>
                <c:pt idx="558">
                  <c:v>0.9902681999155111</c:v>
                </c:pt>
                <c:pt idx="559">
                  <c:v>0.9903096390155465</c:v>
                </c:pt>
                <c:pt idx="560">
                  <c:v>0.9903508140131443</c:v>
                </c:pt>
                <c:pt idx="561">
                  <c:v>0.9903918819421863</c:v>
                </c:pt>
                <c:pt idx="562">
                  <c:v>0.9904328570784801</c:v>
                </c:pt>
                <c:pt idx="563">
                  <c:v>0.9905543049412916</c:v>
                </c:pt>
                <c:pt idx="564">
                  <c:v>0.9905942450815461</c:v>
                </c:pt>
                <c:pt idx="565">
                  <c:v>0.9906341102738117</c:v>
                </c:pt>
                <c:pt idx="566">
                  <c:v>0.990673879104377</c:v>
                </c:pt>
                <c:pt idx="567">
                  <c:v>0.9907132624881416</c:v>
                </c:pt>
                <c:pt idx="568">
                  <c:v>0.9907526387340025</c:v>
                </c:pt>
                <c:pt idx="569">
                  <c:v>0.9907916259641107</c:v>
                </c:pt>
                <c:pt idx="570">
                  <c:v>0.9908305453841336</c:v>
                </c:pt>
                <c:pt idx="571">
                  <c:v>0.990869454097301</c:v>
                </c:pt>
                <c:pt idx="572">
                  <c:v>0.9909081486733567</c:v>
                </c:pt>
                <c:pt idx="573">
                  <c:v>0.990946679077627</c:v>
                </c:pt>
                <c:pt idx="574">
                  <c:v>0.9910236078349488</c:v>
                </c:pt>
                <c:pt idx="575">
                  <c:v>0.9910619348089631</c:v>
                </c:pt>
                <c:pt idx="576">
                  <c:v>0.9911001404386142</c:v>
                </c:pt>
                <c:pt idx="577">
                  <c:v>0.9911383246545541</c:v>
                </c:pt>
                <c:pt idx="578">
                  <c:v>0.9912140720888105</c:v>
                </c:pt>
                <c:pt idx="579">
                  <c:v>0.9913270044324863</c:v>
                </c:pt>
                <c:pt idx="580">
                  <c:v>0.9913643999100654</c:v>
                </c:pt>
                <c:pt idx="581">
                  <c:v>0.9914015348541588</c:v>
                </c:pt>
                <c:pt idx="582">
                  <c:v>0.9914386448155892</c:v>
                </c:pt>
                <c:pt idx="583">
                  <c:v>0.9914756941048379</c:v>
                </c:pt>
                <c:pt idx="584">
                  <c:v>0.991549500029283</c:v>
                </c:pt>
                <c:pt idx="585">
                  <c:v>0.9915860175447048</c:v>
                </c:pt>
                <c:pt idx="586">
                  <c:v>0.9916223673193891</c:v>
                </c:pt>
                <c:pt idx="587">
                  <c:v>0.991658349492032</c:v>
                </c:pt>
                <c:pt idx="588">
                  <c:v>0.9916941889066005</c:v>
                </c:pt>
                <c:pt idx="589">
                  <c:v>0.991729956942132</c:v>
                </c:pt>
                <c:pt idx="590">
                  <c:v>0.9917654608752258</c:v>
                </c:pt>
                <c:pt idx="591">
                  <c:v>0.9918362938627723</c:v>
                </c:pt>
                <c:pt idx="592">
                  <c:v>0.9919414244776842</c:v>
                </c:pt>
                <c:pt idx="593">
                  <c:v>0.991975964793776</c:v>
                </c:pt>
                <c:pt idx="594">
                  <c:v>0.9920104230239751</c:v>
                </c:pt>
                <c:pt idx="595">
                  <c:v>0.9920790503992727</c:v>
                </c:pt>
                <c:pt idx="596">
                  <c:v>0.9921130018383078</c:v>
                </c:pt>
                <c:pt idx="597">
                  <c:v>0.9921468890362094</c:v>
                </c:pt>
                <c:pt idx="598">
                  <c:v>0.992180501424818</c:v>
                </c:pt>
                <c:pt idx="599">
                  <c:v>0.9922140174517262</c:v>
                </c:pt>
                <c:pt idx="600">
                  <c:v>0.9922806533518864</c:v>
                </c:pt>
                <c:pt idx="601">
                  <c:v>0.9923138695868385</c:v>
                </c:pt>
                <c:pt idx="602">
                  <c:v>0.9923801914192353</c:v>
                </c:pt>
                <c:pt idx="603">
                  <c:v>0.992446156356446</c:v>
                </c:pt>
                <c:pt idx="604">
                  <c:v>0.9925116751746743</c:v>
                </c:pt>
                <c:pt idx="605">
                  <c:v>0.9925438992410096</c:v>
                </c:pt>
                <c:pt idx="606">
                  <c:v>0.9926083009773061</c:v>
                </c:pt>
                <c:pt idx="607">
                  <c:v>0.9926403715787115</c:v>
                </c:pt>
                <c:pt idx="608">
                  <c:v>0.9926724279043095</c:v>
                </c:pt>
                <c:pt idx="609">
                  <c:v>0.9927042915065071</c:v>
                </c:pt>
                <c:pt idx="610">
                  <c:v>0.992736019488534</c:v>
                </c:pt>
                <c:pt idx="611">
                  <c:v>0.9927677296258016</c:v>
                </c:pt>
                <c:pt idx="612">
                  <c:v>0.9927994076425025</c:v>
                </c:pt>
                <c:pt idx="613">
                  <c:v>0.9928310606765404</c:v>
                </c:pt>
                <c:pt idx="614">
                  <c:v>0.9928928713537872</c:v>
                </c:pt>
                <c:pt idx="615">
                  <c:v>0.9929234358575081</c:v>
                </c:pt>
                <c:pt idx="616">
                  <c:v>0.9929538147757323</c:v>
                </c:pt>
                <c:pt idx="617">
                  <c:v>0.9929840723495933</c:v>
                </c:pt>
                <c:pt idx="618">
                  <c:v>0.9930142906649838</c:v>
                </c:pt>
                <c:pt idx="619">
                  <c:v>0.9931036572195343</c:v>
                </c:pt>
                <c:pt idx="620">
                  <c:v>0.9931327655908967</c:v>
                </c:pt>
                <c:pt idx="621">
                  <c:v>0.9931615313428807</c:v>
                </c:pt>
                <c:pt idx="622">
                  <c:v>0.9931902328537311</c:v>
                </c:pt>
                <c:pt idx="623">
                  <c:v>0.9932188380028814</c:v>
                </c:pt>
                <c:pt idx="624">
                  <c:v>0.9932473146697647</c:v>
                </c:pt>
                <c:pt idx="625">
                  <c:v>0.9932757306644664</c:v>
                </c:pt>
                <c:pt idx="626">
                  <c:v>0.9933041181075533</c:v>
                </c:pt>
                <c:pt idx="627">
                  <c:v>0.9933603005477184</c:v>
                </c:pt>
                <c:pt idx="628">
                  <c:v>0.9934158334386451</c:v>
                </c:pt>
                <c:pt idx="629">
                  <c:v>0.9934435285050713</c:v>
                </c:pt>
                <c:pt idx="630">
                  <c:v>0.9934711057960862</c:v>
                </c:pt>
                <c:pt idx="631">
                  <c:v>0.9935260605168118</c:v>
                </c:pt>
                <c:pt idx="632">
                  <c:v>0.9935531845509405</c:v>
                </c:pt>
                <c:pt idx="633">
                  <c:v>0.993607307705883</c:v>
                </c:pt>
                <c:pt idx="634">
                  <c:v>0.9936339713452219</c:v>
                </c:pt>
                <c:pt idx="635">
                  <c:v>0.993660606432946</c:v>
                </c:pt>
                <c:pt idx="636">
                  <c:v>0.9936869274529064</c:v>
                </c:pt>
                <c:pt idx="637">
                  <c:v>0.9937131985075409</c:v>
                </c:pt>
                <c:pt idx="638">
                  <c:v>0.9937393624936196</c:v>
                </c:pt>
                <c:pt idx="639">
                  <c:v>0.9937910480544423</c:v>
                </c:pt>
                <c:pt idx="640">
                  <c:v>0.9938165160949085</c:v>
                </c:pt>
                <c:pt idx="641">
                  <c:v>0.9938918638065567</c:v>
                </c:pt>
                <c:pt idx="642">
                  <c:v>0.9939166323324585</c:v>
                </c:pt>
                <c:pt idx="643">
                  <c:v>0.9940146571642191</c:v>
                </c:pt>
                <c:pt idx="644">
                  <c:v>0.9940384727799745</c:v>
                </c:pt>
                <c:pt idx="645">
                  <c:v>0.9941095127667289</c:v>
                </c:pt>
                <c:pt idx="646">
                  <c:v>0.9941564837421457</c:v>
                </c:pt>
                <c:pt idx="647">
                  <c:v>0.9941798461010151</c:v>
                </c:pt>
                <c:pt idx="648">
                  <c:v>0.994202990753821</c:v>
                </c:pt>
                <c:pt idx="649">
                  <c:v>0.9942261282687233</c:v>
                </c:pt>
                <c:pt idx="650">
                  <c:v>0.9942721820235124</c:v>
                </c:pt>
                <c:pt idx="651">
                  <c:v>0.9942951375218698</c:v>
                </c:pt>
                <c:pt idx="652">
                  <c:v>0.9943180644686124</c:v>
                </c:pt>
                <c:pt idx="653">
                  <c:v>0.9943409271742214</c:v>
                </c:pt>
                <c:pt idx="654">
                  <c:v>0.9943637327766007</c:v>
                </c:pt>
                <c:pt idx="655">
                  <c:v>0.994386513396317</c:v>
                </c:pt>
                <c:pt idx="656">
                  <c:v>0.9944092904470815</c:v>
                </c:pt>
                <c:pt idx="657">
                  <c:v>0.9944320532220385</c:v>
                </c:pt>
                <c:pt idx="658">
                  <c:v>0.9944547339111027</c:v>
                </c:pt>
                <c:pt idx="659">
                  <c:v>0.9944772968247556</c:v>
                </c:pt>
                <c:pt idx="660">
                  <c:v>0.9944998240488899</c:v>
                </c:pt>
                <c:pt idx="661">
                  <c:v>0.9945445751362505</c:v>
                </c:pt>
                <c:pt idx="662">
                  <c:v>0.9945668596716584</c:v>
                </c:pt>
                <c:pt idx="663">
                  <c:v>0.99463290312581</c:v>
                </c:pt>
                <c:pt idx="664">
                  <c:v>0.9946765121485757</c:v>
                </c:pt>
                <c:pt idx="665">
                  <c:v>0.9947630520932538</c:v>
                </c:pt>
                <c:pt idx="666">
                  <c:v>0.9948058224123326</c:v>
                </c:pt>
                <c:pt idx="667">
                  <c:v>0.9948270933654125</c:v>
                </c:pt>
                <c:pt idx="668">
                  <c:v>0.994890485088333</c:v>
                </c:pt>
                <c:pt idx="669">
                  <c:v>0.9949114348357456</c:v>
                </c:pt>
                <c:pt idx="670">
                  <c:v>0.9949532201241114</c:v>
                </c:pt>
                <c:pt idx="671">
                  <c:v>0.9949948412406916</c:v>
                </c:pt>
                <c:pt idx="672">
                  <c:v>0.995015594695752</c:v>
                </c:pt>
                <c:pt idx="673">
                  <c:v>0.9950362660649196</c:v>
                </c:pt>
                <c:pt idx="674">
                  <c:v>0.995076616634638</c:v>
                </c:pt>
                <c:pt idx="675">
                  <c:v>0.9951964656070167</c:v>
                </c:pt>
                <c:pt idx="676">
                  <c:v>0.9952162411692677</c:v>
                </c:pt>
                <c:pt idx="677">
                  <c:v>0.9952358454218294</c:v>
                </c:pt>
                <c:pt idx="678">
                  <c:v>0.9952554246917281</c:v>
                </c:pt>
                <c:pt idx="679">
                  <c:v>0.9952746006700668</c:v>
                </c:pt>
                <c:pt idx="680">
                  <c:v>0.9952937195451758</c:v>
                </c:pt>
                <c:pt idx="681">
                  <c:v>0.9953128241444772</c:v>
                </c:pt>
                <c:pt idx="682">
                  <c:v>0.9953319001921638</c:v>
                </c:pt>
                <c:pt idx="683">
                  <c:v>0.9953890212666678</c:v>
                </c:pt>
                <c:pt idx="684">
                  <c:v>0.9954079545562801</c:v>
                </c:pt>
                <c:pt idx="685">
                  <c:v>0.9954268271737107</c:v>
                </c:pt>
                <c:pt idx="686">
                  <c:v>0.9954456605326709</c:v>
                </c:pt>
                <c:pt idx="687">
                  <c:v>0.9954643903920272</c:v>
                </c:pt>
                <c:pt idx="688">
                  <c:v>0.9955015074913612</c:v>
                </c:pt>
                <c:pt idx="689">
                  <c:v>0.9955561374374676</c:v>
                </c:pt>
                <c:pt idx="690">
                  <c:v>0.9955923515919813</c:v>
                </c:pt>
                <c:pt idx="691">
                  <c:v>0.9956285122122173</c:v>
                </c:pt>
                <c:pt idx="692">
                  <c:v>0.9956464854537794</c:v>
                </c:pt>
                <c:pt idx="693">
                  <c:v>0.9956643302130747</c:v>
                </c:pt>
                <c:pt idx="694">
                  <c:v>0.9957176681986081</c:v>
                </c:pt>
                <c:pt idx="695">
                  <c:v>0.9957353594929734</c:v>
                </c:pt>
                <c:pt idx="696">
                  <c:v>0.9957530079599164</c:v>
                </c:pt>
                <c:pt idx="697">
                  <c:v>0.9957706207373408</c:v>
                </c:pt>
                <c:pt idx="698">
                  <c:v>0.995787983688135</c:v>
                </c:pt>
                <c:pt idx="699">
                  <c:v>0.9958053252252181</c:v>
                </c:pt>
                <c:pt idx="700">
                  <c:v>0.9958397299211394</c:v>
                </c:pt>
                <c:pt idx="701">
                  <c:v>0.9958738598077675</c:v>
                </c:pt>
                <c:pt idx="702">
                  <c:v>0.9958907195363497</c:v>
                </c:pt>
                <c:pt idx="703">
                  <c:v>0.9959244104418992</c:v>
                </c:pt>
                <c:pt idx="704">
                  <c:v>0.9959412344809627</c:v>
                </c:pt>
                <c:pt idx="705">
                  <c:v>0.9959747219562561</c:v>
                </c:pt>
                <c:pt idx="706">
                  <c:v>0.9960080309839566</c:v>
                </c:pt>
                <c:pt idx="707">
                  <c:v>0.9960245588000158</c:v>
                </c:pt>
                <c:pt idx="708">
                  <c:v>0.9960410794781713</c:v>
                </c:pt>
                <c:pt idx="709">
                  <c:v>0.9960739352489857</c:v>
                </c:pt>
                <c:pt idx="710">
                  <c:v>0.996090309600115</c:v>
                </c:pt>
                <c:pt idx="711">
                  <c:v>0.9961387402768422</c:v>
                </c:pt>
                <c:pt idx="712">
                  <c:v>0.9961548362497266</c:v>
                </c:pt>
                <c:pt idx="713">
                  <c:v>0.9961707573439698</c:v>
                </c:pt>
                <c:pt idx="714">
                  <c:v>0.9961866570245018</c:v>
                </c:pt>
                <c:pt idx="715">
                  <c:v>0.996233699378956</c:v>
                </c:pt>
                <c:pt idx="716">
                  <c:v>0.9962490886993722</c:v>
                </c:pt>
                <c:pt idx="717">
                  <c:v>0.9962797852543118</c:v>
                </c:pt>
                <c:pt idx="718">
                  <c:v>0.99629502467875</c:v>
                </c:pt>
                <c:pt idx="719">
                  <c:v>0.9963102248447177</c:v>
                </c:pt>
                <c:pt idx="720">
                  <c:v>0.9963253393558407</c:v>
                </c:pt>
                <c:pt idx="721">
                  <c:v>0.9963403075399375</c:v>
                </c:pt>
                <c:pt idx="722">
                  <c:v>0.9963697835133414</c:v>
                </c:pt>
                <c:pt idx="723">
                  <c:v>0.996399138142382</c:v>
                </c:pt>
                <c:pt idx="724">
                  <c:v>0.9964137922587153</c:v>
                </c:pt>
                <c:pt idx="725">
                  <c:v>0.9964718412607027</c:v>
                </c:pt>
                <c:pt idx="726">
                  <c:v>0.9965146865277705</c:v>
                </c:pt>
                <c:pt idx="727">
                  <c:v>0.996528880249314</c:v>
                </c:pt>
                <c:pt idx="728">
                  <c:v>0.9965571963133637</c:v>
                </c:pt>
                <c:pt idx="729">
                  <c:v>0.996571290104255</c:v>
                </c:pt>
                <c:pt idx="730">
                  <c:v>0.9965990458428629</c:v>
                </c:pt>
                <c:pt idx="731">
                  <c:v>0.996612764893809</c:v>
                </c:pt>
                <c:pt idx="732">
                  <c:v>0.9966673198919265</c:v>
                </c:pt>
                <c:pt idx="733">
                  <c:v>0.9966809068916539</c:v>
                </c:pt>
                <c:pt idx="734">
                  <c:v>0.9966944617708146</c:v>
                </c:pt>
                <c:pt idx="735">
                  <c:v>0.9967079988052159</c:v>
                </c:pt>
                <c:pt idx="736">
                  <c:v>0.9967350193397407</c:v>
                </c:pt>
                <c:pt idx="737">
                  <c:v>0.9967484528745382</c:v>
                </c:pt>
                <c:pt idx="738">
                  <c:v>0.9967618364440096</c:v>
                </c:pt>
                <c:pt idx="739">
                  <c:v>0.996788285946237</c:v>
                </c:pt>
                <c:pt idx="740">
                  <c:v>0.9968143464327117</c:v>
                </c:pt>
                <c:pt idx="741">
                  <c:v>0.9968401999199786</c:v>
                </c:pt>
                <c:pt idx="742">
                  <c:v>0.996865967752401</c:v>
                </c:pt>
                <c:pt idx="743">
                  <c:v>0.9968788338238529</c:v>
                </c:pt>
                <c:pt idx="744">
                  <c:v>0.9969553128932405</c:v>
                </c:pt>
                <c:pt idx="745">
                  <c:v>0.9969679541207253</c:v>
                </c:pt>
                <c:pt idx="746">
                  <c:v>0.996980570365547</c:v>
                </c:pt>
                <c:pt idx="747">
                  <c:v>0.9970057064934903</c:v>
                </c:pt>
                <c:pt idx="748">
                  <c:v>0.9970182370834674</c:v>
                </c:pt>
                <c:pt idx="749">
                  <c:v>0.9970307212770704</c:v>
                </c:pt>
                <c:pt idx="750">
                  <c:v>0.9970677063251858</c:v>
                </c:pt>
                <c:pt idx="751">
                  <c:v>0.9970799621058698</c:v>
                </c:pt>
                <c:pt idx="752">
                  <c:v>0.997152804413313</c:v>
                </c:pt>
                <c:pt idx="753">
                  <c:v>0.9971648282121262</c:v>
                </c:pt>
                <c:pt idx="754">
                  <c:v>0.9971768377351319</c:v>
                </c:pt>
                <c:pt idx="755">
                  <c:v>0.9972240692440345</c:v>
                </c:pt>
                <c:pt idx="756">
                  <c:v>0.9972473209653963</c:v>
                </c:pt>
                <c:pt idx="757">
                  <c:v>0.9973049559689681</c:v>
                </c:pt>
                <c:pt idx="758">
                  <c:v>0.9973278079677216</c:v>
                </c:pt>
                <c:pt idx="759">
                  <c:v>0.9973502174164445</c:v>
                </c:pt>
                <c:pt idx="760">
                  <c:v>0.9973722414183667</c:v>
                </c:pt>
                <c:pt idx="761">
                  <c:v>0.9973832230832369</c:v>
                </c:pt>
                <c:pt idx="762">
                  <c:v>0.9973941869033479</c:v>
                </c:pt>
                <c:pt idx="763">
                  <c:v>0.9974158682858917</c:v>
                </c:pt>
                <c:pt idx="764">
                  <c:v>0.9974692134093289</c:v>
                </c:pt>
                <c:pt idx="765">
                  <c:v>0.9974797382483612</c:v>
                </c:pt>
                <c:pt idx="766">
                  <c:v>0.9975108238190534</c:v>
                </c:pt>
                <c:pt idx="767">
                  <c:v>0.9975313774128096</c:v>
                </c:pt>
                <c:pt idx="768">
                  <c:v>0.9975717565341429</c:v>
                </c:pt>
                <c:pt idx="769">
                  <c:v>0.9975817531683001</c:v>
                </c:pt>
                <c:pt idx="770">
                  <c:v>0.997591731957698</c:v>
                </c:pt>
                <c:pt idx="771">
                  <c:v>0.9976312152721147</c:v>
                </c:pt>
                <c:pt idx="772">
                  <c:v>0.9976409727864973</c:v>
                </c:pt>
                <c:pt idx="773">
                  <c:v>0.9976604521257441</c:v>
                </c:pt>
                <c:pt idx="774">
                  <c:v>0.997670152536897</c:v>
                </c:pt>
                <c:pt idx="775">
                  <c:v>0.9976797351726385</c:v>
                </c:pt>
                <c:pt idx="776">
                  <c:v>0.9976892928257171</c:v>
                </c:pt>
                <c:pt idx="777">
                  <c:v>0.9977083331838851</c:v>
                </c:pt>
                <c:pt idx="778">
                  <c:v>0.9977178158889746</c:v>
                </c:pt>
                <c:pt idx="779">
                  <c:v>0.9977366920753571</c:v>
                </c:pt>
                <c:pt idx="780">
                  <c:v>0.997746114108265</c:v>
                </c:pt>
                <c:pt idx="781">
                  <c:v>0.9977831348458989</c:v>
                </c:pt>
                <c:pt idx="782">
                  <c:v>0.997810729981673</c:v>
                </c:pt>
                <c:pt idx="783">
                  <c:v>0.9978198415157691</c:v>
                </c:pt>
                <c:pt idx="784">
                  <c:v>0.9978288959466355</c:v>
                </c:pt>
                <c:pt idx="785">
                  <c:v>0.9978739611017597</c:v>
                </c:pt>
                <c:pt idx="786">
                  <c:v>0.9978829263088297</c:v>
                </c:pt>
                <c:pt idx="787">
                  <c:v>0.9979097184304356</c:v>
                </c:pt>
                <c:pt idx="788">
                  <c:v>0.9979186158274203</c:v>
                </c:pt>
                <c:pt idx="789">
                  <c:v>0.9979275132244049</c:v>
                </c:pt>
                <c:pt idx="790">
                  <c:v>0.9979541268984178</c:v>
                </c:pt>
                <c:pt idx="791">
                  <c:v>0.9979629350716059</c:v>
                </c:pt>
                <c:pt idx="792">
                  <c:v>0.9979717254000348</c:v>
                </c:pt>
                <c:pt idx="793">
                  <c:v>0.9979892061262403</c:v>
                </c:pt>
                <c:pt idx="794">
                  <c:v>0.9979979322135357</c:v>
                </c:pt>
                <c:pt idx="795">
                  <c:v>0.9980152666127151</c:v>
                </c:pt>
                <c:pt idx="796">
                  <c:v>0.9980238606487917</c:v>
                </c:pt>
                <c:pt idx="797">
                  <c:v>0.9980409773419077</c:v>
                </c:pt>
                <c:pt idx="798">
                  <c:v>0.9980494999989471</c:v>
                </c:pt>
                <c:pt idx="799">
                  <c:v>0.9980579691217086</c:v>
                </c:pt>
                <c:pt idx="800">
                  <c:v>0.9980664096928553</c:v>
                </c:pt>
                <c:pt idx="801">
                  <c:v>0.9981079166029759</c:v>
                </c:pt>
                <c:pt idx="802">
                  <c:v>0.9981406974258014</c:v>
                </c:pt>
                <c:pt idx="803">
                  <c:v>0.9981732355599005</c:v>
                </c:pt>
                <c:pt idx="804">
                  <c:v>0.9981813156669094</c:v>
                </c:pt>
                <c:pt idx="805">
                  <c:v>0.9981893922049664</c:v>
                </c:pt>
                <c:pt idx="806">
                  <c:v>0.998205356126632</c:v>
                </c:pt>
                <c:pt idx="807">
                  <c:v>0.9982753682552509</c:v>
                </c:pt>
                <c:pt idx="808">
                  <c:v>0.9982982630814267</c:v>
                </c:pt>
                <c:pt idx="809">
                  <c:v>0.9983057079150046</c:v>
                </c:pt>
                <c:pt idx="810">
                  <c:v>0.9983131277659196</c:v>
                </c:pt>
                <c:pt idx="811">
                  <c:v>0.9983205190652197</c:v>
                </c:pt>
                <c:pt idx="812">
                  <c:v>0.9983351910263122</c:v>
                </c:pt>
                <c:pt idx="813">
                  <c:v>0.9983424823949603</c:v>
                </c:pt>
                <c:pt idx="814">
                  <c:v>0.9983713480775961</c:v>
                </c:pt>
                <c:pt idx="815">
                  <c:v>0.9983855310922839</c:v>
                </c:pt>
                <c:pt idx="816">
                  <c:v>0.9984199964603867</c:v>
                </c:pt>
                <c:pt idx="817">
                  <c:v>0.9984335192189806</c:v>
                </c:pt>
                <c:pt idx="818">
                  <c:v>0.9984600900655712</c:v>
                </c:pt>
                <c:pt idx="819">
                  <c:v>0.9984926674581406</c:v>
                </c:pt>
                <c:pt idx="820">
                  <c:v>0.9984991201231017</c:v>
                </c:pt>
                <c:pt idx="821">
                  <c:v>0.998511900539709</c:v>
                </c:pt>
                <c:pt idx="822">
                  <c:v>0.9985308980704547</c:v>
                </c:pt>
                <c:pt idx="823">
                  <c:v>0.99854342509148</c:v>
                </c:pt>
                <c:pt idx="824">
                  <c:v>0.9985496386366666</c:v>
                </c:pt>
                <c:pt idx="825">
                  <c:v>0.9985805314839584</c:v>
                </c:pt>
                <c:pt idx="826">
                  <c:v>0.9985988437759473</c:v>
                </c:pt>
                <c:pt idx="827">
                  <c:v>0.9986109639364606</c:v>
                </c:pt>
                <c:pt idx="828">
                  <c:v>0.9986170168788135</c:v>
                </c:pt>
                <c:pt idx="829">
                  <c:v>0.9986349544308571</c:v>
                </c:pt>
                <c:pt idx="830">
                  <c:v>0.998681953957889</c:v>
                </c:pt>
                <c:pt idx="831">
                  <c:v>0.9986991313231867</c:v>
                </c:pt>
                <c:pt idx="832">
                  <c:v>0.9987104520384836</c:v>
                </c:pt>
                <c:pt idx="833">
                  <c:v>0.9987160731376616</c:v>
                </c:pt>
                <c:pt idx="834">
                  <c:v>0.9987495070786773</c:v>
                </c:pt>
                <c:pt idx="835">
                  <c:v>0.9987716488560108</c:v>
                </c:pt>
                <c:pt idx="836">
                  <c:v>0.9988046366780439</c:v>
                </c:pt>
                <c:pt idx="837">
                  <c:v>0.9988100650538215</c:v>
                </c:pt>
                <c:pt idx="838">
                  <c:v>0.9988154827227436</c:v>
                </c:pt>
                <c:pt idx="839">
                  <c:v>0.9988315215923981</c:v>
                </c:pt>
                <c:pt idx="840">
                  <c:v>0.9988472820838077</c:v>
                </c:pt>
                <c:pt idx="841">
                  <c:v>0.9988730356404226</c:v>
                </c:pt>
                <c:pt idx="842">
                  <c:v>0.99889320735633</c:v>
                </c:pt>
                <c:pt idx="843">
                  <c:v>0.9988982003199808</c:v>
                </c:pt>
                <c:pt idx="844">
                  <c:v>0.9989031647320167</c:v>
                </c:pt>
                <c:pt idx="845">
                  <c:v>0.9989081291440526</c:v>
                </c:pt>
                <c:pt idx="846">
                  <c:v>0.9989130757113293</c:v>
                </c:pt>
                <c:pt idx="847">
                  <c:v>0.9989229260184602</c:v>
                </c:pt>
                <c:pt idx="848">
                  <c:v>0.9989278440341219</c:v>
                </c:pt>
                <c:pt idx="849">
                  <c:v>0.9989375765658416</c:v>
                </c:pt>
                <c:pt idx="850">
                  <c:v>0.9989712960230058</c:v>
                </c:pt>
                <c:pt idx="851">
                  <c:v>0.9989760605737377</c:v>
                </c:pt>
                <c:pt idx="852">
                  <c:v>0.9989855290030197</c:v>
                </c:pt>
                <c:pt idx="853">
                  <c:v>0.9990043052587502</c:v>
                </c:pt>
                <c:pt idx="854">
                  <c:v>0.9990089770167336</c:v>
                </c:pt>
                <c:pt idx="855">
                  <c:v>0.999018313394797</c:v>
                </c:pt>
                <c:pt idx="856">
                  <c:v>0.9990412367725876</c:v>
                </c:pt>
                <c:pt idx="857">
                  <c:v>0.9990683929272831</c:v>
                </c:pt>
                <c:pt idx="858">
                  <c:v>0.9990905454114722</c:v>
                </c:pt>
                <c:pt idx="859">
                  <c:v>0.9990949138085478</c:v>
                </c:pt>
                <c:pt idx="860">
                  <c:v>0.9990992500850565</c:v>
                </c:pt>
                <c:pt idx="861">
                  <c:v>0.9991035649478541</c:v>
                </c:pt>
                <c:pt idx="862">
                  <c:v>0.9991121803976418</c:v>
                </c:pt>
                <c:pt idx="863">
                  <c:v>0.9991250393311899</c:v>
                </c:pt>
                <c:pt idx="864">
                  <c:v>0.9991503931651965</c:v>
                </c:pt>
                <c:pt idx="865">
                  <c:v>0.9991750296398795</c:v>
                </c:pt>
                <c:pt idx="866">
                  <c:v>0.9991991057891206</c:v>
                </c:pt>
                <c:pt idx="867">
                  <c:v>0.9992299486710864</c:v>
                </c:pt>
                <c:pt idx="868">
                  <c:v>0.999237379228857</c:v>
                </c:pt>
                <c:pt idx="869">
                  <c:v>0.9992447812350127</c:v>
                </c:pt>
                <c:pt idx="870">
                  <c:v>0.9992484536864756</c:v>
                </c:pt>
                <c:pt idx="871">
                  <c:v>0.9992809525621041</c:v>
                </c:pt>
                <c:pt idx="872">
                  <c:v>0.9992949535602473</c:v>
                </c:pt>
                <c:pt idx="873">
                  <c:v>0.9993053820375795</c:v>
                </c:pt>
                <c:pt idx="874">
                  <c:v>0.9993088296450753</c:v>
                </c:pt>
                <c:pt idx="875">
                  <c:v>0.9993122665457156</c:v>
                </c:pt>
                <c:pt idx="876">
                  <c:v>0.9993156891705484</c:v>
                </c:pt>
                <c:pt idx="877">
                  <c:v>0.9993258606833467</c:v>
                </c:pt>
                <c:pt idx="878">
                  <c:v>0.999335957248156</c:v>
                </c:pt>
                <c:pt idx="879">
                  <c:v>0.999339301356048</c:v>
                </c:pt>
                <c:pt idx="880">
                  <c:v>0.9993459288996502</c:v>
                </c:pt>
                <c:pt idx="881">
                  <c:v>0.9993687130883184</c:v>
                </c:pt>
                <c:pt idx="882">
                  <c:v>0.9993909333825929</c:v>
                </c:pt>
                <c:pt idx="883">
                  <c:v>0.9994215264379286</c:v>
                </c:pt>
                <c:pt idx="884">
                  <c:v>0.9994454241395769</c:v>
                </c:pt>
                <c:pt idx="885">
                  <c:v>0.99945410739945</c:v>
                </c:pt>
                <c:pt idx="886">
                  <c:v>0.9994626407633449</c:v>
                </c:pt>
                <c:pt idx="887">
                  <c:v>0.9994682475867155</c:v>
                </c:pt>
                <c:pt idx="888">
                  <c:v>0.9994846255067966</c:v>
                </c:pt>
                <c:pt idx="889">
                  <c:v>0.9994899610898259</c:v>
                </c:pt>
                <c:pt idx="890">
                  <c:v>0.9994978734560974</c:v>
                </c:pt>
                <c:pt idx="891">
                  <c:v>0.9995082591060073</c:v>
                </c:pt>
                <c:pt idx="892">
                  <c:v>0.9995108287513458</c:v>
                </c:pt>
                <c:pt idx="893">
                  <c:v>0.9995158966629857</c:v>
                </c:pt>
                <c:pt idx="894">
                  <c:v>0.9995351904167356</c:v>
                </c:pt>
                <c:pt idx="895">
                  <c:v>0.9995375530628663</c:v>
                </c:pt>
                <c:pt idx="896">
                  <c:v>0.9995514541303572</c:v>
                </c:pt>
                <c:pt idx="897">
                  <c:v>0.9995582101562264</c:v>
                </c:pt>
                <c:pt idx="898">
                  <c:v>0.9995690490630224</c:v>
                </c:pt>
                <c:pt idx="899">
                  <c:v>0.9995775110478801</c:v>
                </c:pt>
                <c:pt idx="900">
                  <c:v>0.9995877396639081</c:v>
                </c:pt>
                <c:pt idx="901">
                  <c:v>0.9996037428440443</c:v>
                </c:pt>
                <c:pt idx="902">
                  <c:v>0.9996251065898725</c:v>
                </c:pt>
                <c:pt idx="903">
                  <c:v>0.9996288932477949</c:v>
                </c:pt>
                <c:pt idx="904">
                  <c:v>0.9996326477851507</c:v>
                </c:pt>
                <c:pt idx="905">
                  <c:v>0.9996382189190027</c:v>
                </c:pt>
                <c:pt idx="906">
                  <c:v>0.9996418949394175</c:v>
                </c:pt>
                <c:pt idx="907">
                  <c:v>0.9996473411599545</c:v>
                </c:pt>
                <c:pt idx="908">
                  <c:v>0.9996509350944766</c:v>
                </c:pt>
                <c:pt idx="909">
                  <c:v>0.9996633479090424</c:v>
                </c:pt>
                <c:pt idx="910">
                  <c:v>0.9996650895575496</c:v>
                </c:pt>
                <c:pt idx="911">
                  <c:v>0.9996754645006038</c:v>
                </c:pt>
                <c:pt idx="912">
                  <c:v>0.9996837551757725</c:v>
                </c:pt>
                <c:pt idx="913">
                  <c:v>0.9996949795293693</c:v>
                </c:pt>
                <c:pt idx="914">
                  <c:v>0.9996981273449089</c:v>
                </c:pt>
                <c:pt idx="915">
                  <c:v>0.9997012180572189</c:v>
                </c:pt>
                <c:pt idx="916">
                  <c:v>0.9997042730800103</c:v>
                </c:pt>
                <c:pt idx="917">
                  <c:v>0.9997073245338498</c:v>
                </c:pt>
                <c:pt idx="918">
                  <c:v>0.9997103617118819</c:v>
                </c:pt>
                <c:pt idx="919">
                  <c:v>0.9997163575510051</c:v>
                </c:pt>
                <c:pt idx="920">
                  <c:v>0.9997178458039303</c:v>
                </c:pt>
                <c:pt idx="921">
                  <c:v>0.9997448199420811</c:v>
                </c:pt>
                <c:pt idx="922">
                  <c:v>0.9997461832816913</c:v>
                </c:pt>
                <c:pt idx="923">
                  <c:v>0.9997475430523496</c:v>
                </c:pt>
                <c:pt idx="924">
                  <c:v>0.9997555767629843</c:v>
                </c:pt>
                <c:pt idx="925">
                  <c:v>0.9997568937062203</c:v>
                </c:pt>
                <c:pt idx="926">
                  <c:v>0.9997903454919953</c:v>
                </c:pt>
                <c:pt idx="927">
                  <c:v>0.9997971657589979</c:v>
                </c:pt>
                <c:pt idx="928">
                  <c:v>0.9997982864098817</c:v>
                </c:pt>
                <c:pt idx="929">
                  <c:v>0.9998170341139972</c:v>
                </c:pt>
                <c:pt idx="930">
                  <c:v>0.9998234760721029</c:v>
                </c:pt>
                <c:pt idx="931">
                  <c:v>0.999824536050805</c:v>
                </c:pt>
                <c:pt idx="932">
                  <c:v>0.9998400859740548</c:v>
                </c:pt>
                <c:pt idx="933">
                  <c:v>0.9998545259532766</c:v>
                </c:pt>
                <c:pt idx="934">
                  <c:v>0.9998572918909674</c:v>
                </c:pt>
                <c:pt idx="935">
                  <c:v>0.999873630552578</c:v>
                </c:pt>
                <c:pt idx="936">
                  <c:v>0.9998801724413356</c:v>
                </c:pt>
                <c:pt idx="937">
                  <c:v>0.9999135064516994</c:v>
                </c:pt>
                <c:pt idx="938">
                  <c:v>0.9999225787273252</c:v>
                </c:pt>
                <c:pt idx="939">
                  <c:v>0.9999236565507865</c:v>
                </c:pt>
                <c:pt idx="940">
                  <c:v>0.9999345418539569</c:v>
                </c:pt>
                <c:pt idx="941">
                  <c:v>0.9999792643897027</c:v>
                </c:pt>
                <c:pt idx="942">
                  <c:v>0.9999877941846459</c:v>
                </c:pt>
                <c:pt idx="943">
                  <c:v>0.9999944360040556</c:v>
                </c:pt>
                <c:pt idx="944">
                  <c:v>0.9999973232861099</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417</c:f>
              <c:strCache>
                <c:ptCount val="416"/>
                <c:pt idx="0">
                  <c:v>Private Lab</c:v>
                </c:pt>
                <c:pt idx="1">
                  <c:v>Soignon</c:v>
                </c:pt>
                <c:pt idx="2">
                  <c:v>Caprice Des</c:v>
                </c:pt>
                <c:pt idx="3">
                  <c:v>Mini Babybe</c:v>
                </c:pt>
                <c:pt idx="4">
                  <c:v>St Moret</c:v>
                </c:pt>
                <c:pt idx="5">
                  <c:v>La Vache Qu</c:v>
                </c:pt>
                <c:pt idx="6">
                  <c:v>Le Rustique</c:v>
                </c:pt>
                <c:pt idx="7">
                  <c:v>Coeur De Li</c:v>
                </c:pt>
                <c:pt idx="8">
                  <c:v>Kiri</c:v>
                </c:pt>
                <c:pt idx="9">
                  <c:v>Galbani</c:v>
                </c:pt>
                <c:pt idx="10">
                  <c:v>Private Lab</c:v>
                </c:pt>
                <c:pt idx="11">
                  <c:v>Paysan Bret</c:v>
                </c:pt>
                <c:pt idx="12">
                  <c:v>President</c:v>
                </c:pt>
                <c:pt idx="13">
                  <c:v>Philadelphi</c:v>
                </c:pt>
                <c:pt idx="14">
                  <c:v>Coeur De Li</c:v>
                </c:pt>
                <c:pt idx="15">
                  <c:v>Private Lab</c:v>
                </c:pt>
                <c:pt idx="16">
                  <c:v>Private Lab</c:v>
                </c:pt>
                <c:pt idx="17">
                  <c:v>Ficello</c:v>
                </c:pt>
                <c:pt idx="18">
                  <c:v>Caprice Des</c:v>
                </c:pt>
                <c:pt idx="19">
                  <c:v>Salakis</c:v>
                </c:pt>
                <c:pt idx="20">
                  <c:v>Soignon</c:v>
                </c:pt>
                <c:pt idx="21">
                  <c:v>La Vache Qu</c:v>
                </c:pt>
                <c:pt idx="22">
                  <c:v>Boursin</c:v>
                </c:pt>
                <c:pt idx="23">
                  <c:v>Soignon</c:v>
                </c:pt>
                <c:pt idx="24">
                  <c:v>Petit Billy</c:v>
                </c:pt>
                <c:pt idx="25">
                  <c:v>St Moret</c:v>
                </c:pt>
                <c:pt idx="26">
                  <c:v>Private Lab</c:v>
                </c:pt>
                <c:pt idx="27">
                  <c:v>St Moret</c:v>
                </c:pt>
                <c:pt idx="28">
                  <c:v>Private Lab</c:v>
                </c:pt>
                <c:pt idx="29">
                  <c:v>Tartare</c:v>
                </c:pt>
                <c:pt idx="30">
                  <c:v>Private Lab</c:v>
                </c:pt>
                <c:pt idx="31">
                  <c:v>President</c:v>
                </c:pt>
                <c:pt idx="32">
                  <c:v>Soignon</c:v>
                </c:pt>
                <c:pt idx="33">
                  <c:v>Private Lab</c:v>
                </c:pt>
                <c:pt idx="34">
                  <c:v>Caprice Des</c:v>
                </c:pt>
                <c:pt idx="35">
                  <c:v>All Others</c:v>
                </c:pt>
                <c:pt idx="36">
                  <c:v>Kiri</c:v>
                </c:pt>
                <c:pt idx="37">
                  <c:v>All Others</c:v>
                </c:pt>
                <c:pt idx="38">
                  <c:v>Le Brebiou</c:v>
                </c:pt>
                <c:pt idx="39">
                  <c:v>Private Lab</c:v>
                </c:pt>
                <c:pt idx="40">
                  <c:v>President</c:v>
                </c:pt>
                <c:pt idx="41">
                  <c:v>Private Lab</c:v>
                </c:pt>
                <c:pt idx="42">
                  <c:v>Private Lab</c:v>
                </c:pt>
                <c:pt idx="43">
                  <c:v>Carre Frais</c:v>
                </c:pt>
                <c:pt idx="44">
                  <c:v>Chavroux</c:v>
                </c:pt>
                <c:pt idx="45">
                  <c:v>Private Lab</c:v>
                </c:pt>
                <c:pt idx="46">
                  <c:v>Private Lab</c:v>
                </c:pt>
                <c:pt idx="47">
                  <c:v>President</c:v>
                </c:pt>
                <c:pt idx="48">
                  <c:v>Boursin</c:v>
                </c:pt>
                <c:pt idx="49">
                  <c:v>Etorki</c:v>
                </c:pt>
                <c:pt idx="50">
                  <c:v>President</c:v>
                </c:pt>
                <c:pt idx="51">
                  <c:v>Private Lab</c:v>
                </c:pt>
                <c:pt idx="52">
                  <c:v>Istara</c:v>
                </c:pt>
                <c:pt idx="53">
                  <c:v>Lou Perac</c:v>
                </c:pt>
                <c:pt idx="54">
                  <c:v>All Others</c:v>
                </c:pt>
                <c:pt idx="55">
                  <c:v>Paysan Bret</c:v>
                </c:pt>
                <c:pt idx="56">
                  <c:v>Tartare</c:v>
                </c:pt>
                <c:pt idx="57">
                  <c:v>Boursin</c:v>
                </c:pt>
                <c:pt idx="58">
                  <c:v>Lepetit</c:v>
                </c:pt>
                <c:pt idx="59">
                  <c:v>Salakis</c:v>
                </c:pt>
                <c:pt idx="60">
                  <c:v>Casa Azzurr</c:v>
                </c:pt>
                <c:pt idx="61">
                  <c:v>Private Lab</c:v>
                </c:pt>
                <c:pt idx="62">
                  <c:v>Private Lab</c:v>
                </c:pt>
                <c:pt idx="63">
                  <c:v>Tartare</c:v>
                </c:pt>
                <c:pt idx="64">
                  <c:v>Private Lab</c:v>
                </c:pt>
                <c:pt idx="65">
                  <c:v>Private Lab</c:v>
                </c:pt>
                <c:pt idx="66">
                  <c:v>Private Lab</c:v>
                </c:pt>
                <c:pt idx="67">
                  <c:v>La Vache Qu</c:v>
                </c:pt>
                <c:pt idx="68">
                  <c:v>St Moret</c:v>
                </c:pt>
                <c:pt idx="69">
                  <c:v>Mini Babybe</c:v>
                </c:pt>
                <c:pt idx="70">
                  <c:v>Galbani</c:v>
                </c:pt>
                <c:pt idx="71">
                  <c:v>Private Lab</c:v>
                </c:pt>
                <c:pt idx="72">
                  <c:v>All Others</c:v>
                </c:pt>
                <c:pt idx="73">
                  <c:v>Private Lab</c:v>
                </c:pt>
                <c:pt idx="74">
                  <c:v>Private Lab</c:v>
                </c:pt>
                <c:pt idx="75">
                  <c:v>All Others</c:v>
                </c:pt>
                <c:pt idx="76">
                  <c:v>Islos</c:v>
                </c:pt>
                <c:pt idx="77">
                  <c:v>Casa Azzurr</c:v>
                </c:pt>
                <c:pt idx="78">
                  <c:v>Kiri</c:v>
                </c:pt>
                <c:pt idx="79">
                  <c:v>Carre Frais</c:v>
                </c:pt>
                <c:pt idx="80">
                  <c:v>Private Lab</c:v>
                </c:pt>
                <c:pt idx="81">
                  <c:v>Private Lab</c:v>
                </c:pt>
                <c:pt idx="82">
                  <c:v>Private Lab</c:v>
                </c:pt>
                <c:pt idx="83">
                  <c:v>All Others</c:v>
                </c:pt>
                <c:pt idx="84">
                  <c:v>Private Lab</c:v>
                </c:pt>
                <c:pt idx="85">
                  <c:v>Soignon</c:v>
                </c:pt>
                <c:pt idx="86">
                  <c:v>Private Lab</c:v>
                </c:pt>
                <c:pt idx="87">
                  <c:v>Private Lab</c:v>
                </c:pt>
                <c:pt idx="88">
                  <c:v>Private Lab</c:v>
                </c:pt>
                <c:pt idx="89">
                  <c:v>Galbani</c:v>
                </c:pt>
                <c:pt idx="90">
                  <c:v>All Others</c:v>
                </c:pt>
                <c:pt idx="91">
                  <c:v>President</c:v>
                </c:pt>
                <c:pt idx="92">
                  <c:v>Paysan Bret</c:v>
                </c:pt>
                <c:pt idx="93">
                  <c:v>Private Lab</c:v>
                </c:pt>
                <c:pt idx="94">
                  <c:v>P'Tit Louis</c:v>
                </c:pt>
                <c:pt idx="95">
                  <c:v>Istara</c:v>
                </c:pt>
                <c:pt idx="96">
                  <c:v>All Others</c:v>
                </c:pt>
                <c:pt idx="97">
                  <c:v>All Others</c:v>
                </c:pt>
                <c:pt idx="98">
                  <c:v>Paysan Bret</c:v>
                </c:pt>
                <c:pt idx="99">
                  <c:v>Private Lab</c:v>
                </c:pt>
                <c:pt idx="100">
                  <c:v>Lactalis: A</c:v>
                </c:pt>
                <c:pt idx="101">
                  <c:v>All Others</c:v>
                </c:pt>
                <c:pt idx="102">
                  <c:v>All Others</c:v>
                </c:pt>
                <c:pt idx="103">
                  <c:v>Lou Perac</c:v>
                </c:pt>
                <c:pt idx="104">
                  <c:v>President</c:v>
                </c:pt>
                <c:pt idx="105">
                  <c:v>All Others</c:v>
                </c:pt>
                <c:pt idx="106">
                  <c:v>President</c:v>
                </c:pt>
                <c:pt idx="107">
                  <c:v>All Others</c:v>
                </c:pt>
                <c:pt idx="108">
                  <c:v>Private Lab</c:v>
                </c:pt>
                <c:pt idx="109">
                  <c:v>All Others</c:v>
                </c:pt>
                <c:pt idx="110">
                  <c:v>All Others</c:v>
                </c:pt>
                <c:pt idx="111">
                  <c:v>La Vache Qu</c:v>
                </c:pt>
                <c:pt idx="112">
                  <c:v>All Others</c:v>
                </c:pt>
                <c:pt idx="113">
                  <c:v>All Others</c:v>
                </c:pt>
                <c:pt idx="114">
                  <c:v>All Others</c:v>
                </c:pt>
                <c:pt idx="115">
                  <c:v>Private Lab</c:v>
                </c:pt>
                <c:pt idx="116">
                  <c:v>Private Lab</c:v>
                </c:pt>
                <c:pt idx="117">
                  <c:v>Kiri</c:v>
                </c:pt>
                <c:pt idx="118">
                  <c:v>Soignon</c:v>
                </c:pt>
                <c:pt idx="119">
                  <c:v>Soignon</c:v>
                </c:pt>
                <c:pt idx="120">
                  <c:v>All Others</c:v>
                </c:pt>
                <c:pt idx="121">
                  <c:v>All Others</c:v>
                </c:pt>
                <c:pt idx="122">
                  <c:v>Soignon</c:v>
                </c:pt>
                <c:pt idx="123">
                  <c:v>All Others</c:v>
                </c:pt>
                <c:pt idx="124">
                  <c:v>All Others</c:v>
                </c:pt>
                <c:pt idx="125">
                  <c:v>President</c:v>
                </c:pt>
                <c:pt idx="126">
                  <c:v>All Others</c:v>
                </c:pt>
                <c:pt idx="127">
                  <c:v>Paysan Bret</c:v>
                </c:pt>
                <c:pt idx="128">
                  <c:v>All Others</c:v>
                </c:pt>
                <c:pt idx="129">
                  <c:v>All Others</c:v>
                </c:pt>
                <c:pt idx="130">
                  <c:v>Paysan Bret</c:v>
                </c:pt>
                <c:pt idx="131">
                  <c:v>All Others</c:v>
                </c:pt>
                <c:pt idx="132">
                  <c:v>Private Lab</c:v>
                </c:pt>
                <c:pt idx="133">
                  <c:v>All Others</c:v>
                </c:pt>
                <c:pt idx="134">
                  <c:v>Triballat N</c:v>
                </c:pt>
                <c:pt idx="135">
                  <c:v>All Others</c:v>
                </c:pt>
                <c:pt idx="136">
                  <c:v>All Others</c:v>
                </c:pt>
                <c:pt idx="137">
                  <c:v>All Others</c:v>
                </c:pt>
                <c:pt idx="138">
                  <c:v>All Others</c:v>
                </c:pt>
                <c:pt idx="139">
                  <c:v>Lactalis: A</c:v>
                </c:pt>
                <c:pt idx="140">
                  <c:v>Private Lab</c:v>
                </c:pt>
                <c:pt idx="141">
                  <c:v>All Others</c:v>
                </c:pt>
                <c:pt idx="142">
                  <c:v>All Others</c:v>
                </c:pt>
                <c:pt idx="143">
                  <c:v>Private Lab</c:v>
                </c:pt>
                <c:pt idx="144">
                  <c:v>Private Lab</c:v>
                </c:pt>
                <c:pt idx="145">
                  <c:v>P'Tit Louis</c:v>
                </c:pt>
                <c:pt idx="146">
                  <c:v>Salakis</c:v>
                </c:pt>
                <c:pt idx="147">
                  <c:v>All Others</c:v>
                </c:pt>
                <c:pt idx="148">
                  <c:v>St Moret</c:v>
                </c:pt>
                <c:pt idx="149">
                  <c:v>Private Lab</c:v>
                </c:pt>
                <c:pt idx="150">
                  <c:v>Le Rustique</c:v>
                </c:pt>
                <c:pt idx="151">
                  <c:v>Private Lab</c:v>
                </c:pt>
                <c:pt idx="152">
                  <c:v>All Others</c:v>
                </c:pt>
                <c:pt idx="153">
                  <c:v>All Others</c:v>
                </c:pt>
                <c:pt idx="154">
                  <c:v>All Others</c:v>
                </c:pt>
                <c:pt idx="155">
                  <c:v>Milleret: A</c:v>
                </c:pt>
                <c:pt idx="156">
                  <c:v>All Others</c:v>
                </c:pt>
                <c:pt idx="157">
                  <c:v>Private Lab</c:v>
                </c:pt>
                <c:pt idx="158">
                  <c:v>Soignon</c:v>
                </c:pt>
                <c:pt idx="159">
                  <c:v>All Others</c:v>
                </c:pt>
                <c:pt idx="160">
                  <c:v>All Others</c:v>
                </c:pt>
                <c:pt idx="161">
                  <c:v>Carre Frais</c:v>
                </c:pt>
                <c:pt idx="162">
                  <c:v>All Others</c:v>
                </c:pt>
                <c:pt idx="163">
                  <c:v>Galbani</c:v>
                </c:pt>
                <c:pt idx="164">
                  <c:v>Paysan Bret</c:v>
                </c:pt>
                <c:pt idx="165">
                  <c:v>Coeur De Li</c:v>
                </c:pt>
                <c:pt idx="166">
                  <c:v>All Others</c:v>
                </c:pt>
                <c:pt idx="167">
                  <c:v>All Others</c:v>
                </c:pt>
                <c:pt idx="168">
                  <c:v>Private Lab</c:v>
                </c:pt>
                <c:pt idx="169">
                  <c:v>Soignon</c:v>
                </c:pt>
                <c:pt idx="170">
                  <c:v>Savencia: A</c:v>
                </c:pt>
                <c:pt idx="171">
                  <c:v>Milleret: A</c:v>
                </c:pt>
                <c:pt idx="172">
                  <c:v>Paysan Bret</c:v>
                </c:pt>
                <c:pt idx="173">
                  <c:v>All Others</c:v>
                </c:pt>
                <c:pt idx="174">
                  <c:v>Boursin</c:v>
                </c:pt>
                <c:pt idx="175">
                  <c:v>Lactalis: A</c:v>
                </c:pt>
                <c:pt idx="176">
                  <c:v>Galbani</c:v>
                </c:pt>
                <c:pt idx="177">
                  <c:v>Pave D'Affi</c:v>
                </c:pt>
                <c:pt idx="178">
                  <c:v>Casa Azzurr</c:v>
                </c:pt>
                <c:pt idx="179">
                  <c:v>Casa Azzurr</c:v>
                </c:pt>
                <c:pt idx="180">
                  <c:v>Istara</c:v>
                </c:pt>
                <c:pt idx="181">
                  <c:v>Boursin</c:v>
                </c:pt>
                <c:pt idx="182">
                  <c:v>Mini Babybe</c:v>
                </c:pt>
                <c:pt idx="183">
                  <c:v>Eurial Autr</c:v>
                </c:pt>
                <c:pt idx="184">
                  <c:v>Private Lab</c:v>
                </c:pt>
                <c:pt idx="185">
                  <c:v>Casa Azzurr</c:v>
                </c:pt>
                <c:pt idx="186">
                  <c:v>All Others</c:v>
                </c:pt>
                <c:pt idx="187">
                  <c:v>Lou Perac</c:v>
                </c:pt>
                <c:pt idx="188">
                  <c:v>Kiri</c:v>
                </c:pt>
                <c:pt idx="189">
                  <c:v>All Others</c:v>
                </c:pt>
                <c:pt idx="190">
                  <c:v>Private Lab</c:v>
                </c:pt>
                <c:pt idx="191">
                  <c:v>All Others</c:v>
                </c:pt>
                <c:pt idx="192">
                  <c:v>All Others</c:v>
                </c:pt>
                <c:pt idx="193">
                  <c:v>Private Lab</c:v>
                </c:pt>
                <c:pt idx="194">
                  <c:v>All Others</c:v>
                </c:pt>
                <c:pt idx="195">
                  <c:v>All Others</c:v>
                </c:pt>
                <c:pt idx="196">
                  <c:v>Mini Babybe</c:v>
                </c:pt>
                <c:pt idx="197">
                  <c:v>All Others</c:v>
                </c:pt>
                <c:pt idx="198">
                  <c:v>Private Lab</c:v>
                </c:pt>
                <c:pt idx="199">
                  <c:v>All Others</c:v>
                </c:pt>
                <c:pt idx="200">
                  <c:v>Private Lab</c:v>
                </c:pt>
                <c:pt idx="201">
                  <c:v>All Others</c:v>
                </c:pt>
                <c:pt idx="202">
                  <c:v>All Others</c:v>
                </c:pt>
                <c:pt idx="203">
                  <c:v>All Others</c:v>
                </c:pt>
                <c:pt idx="204">
                  <c:v>All Others</c:v>
                </c:pt>
                <c:pt idx="205">
                  <c:v>All Others</c:v>
                </c:pt>
                <c:pt idx="206">
                  <c:v>All Others</c:v>
                </c:pt>
                <c:pt idx="207">
                  <c:v>All Others</c:v>
                </c:pt>
                <c:pt idx="208">
                  <c:v>La Vache Qu</c:v>
                </c:pt>
                <c:pt idx="209">
                  <c:v>All Others</c:v>
                </c:pt>
                <c:pt idx="210">
                  <c:v>Private Lab</c:v>
                </c:pt>
                <c:pt idx="211">
                  <c:v>Private Lab</c:v>
                </c:pt>
                <c:pt idx="212">
                  <c:v>Private Lab</c:v>
                </c:pt>
                <c:pt idx="213">
                  <c:v>All Others</c:v>
                </c:pt>
                <c:pt idx="214">
                  <c:v>All Others</c:v>
                </c:pt>
                <c:pt idx="215">
                  <c:v>All Others</c:v>
                </c:pt>
                <c:pt idx="216">
                  <c:v>Lactalis: A</c:v>
                </c:pt>
                <c:pt idx="217">
                  <c:v>All Others</c:v>
                </c:pt>
                <c:pt idx="218">
                  <c:v>All Others</c:v>
                </c:pt>
                <c:pt idx="219">
                  <c:v>All Others</c:v>
                </c:pt>
                <c:pt idx="220">
                  <c:v>All Others</c:v>
                </c:pt>
                <c:pt idx="221">
                  <c:v>Mini Babybe</c:v>
                </c:pt>
                <c:pt idx="222">
                  <c:v>All Others</c:v>
                </c:pt>
                <c:pt idx="223">
                  <c:v>La Vache Qu</c:v>
                </c:pt>
                <c:pt idx="224">
                  <c:v>All Others</c:v>
                </c:pt>
                <c:pt idx="225">
                  <c:v>All Others</c:v>
                </c:pt>
                <c:pt idx="226">
                  <c:v>All Others</c:v>
                </c:pt>
                <c:pt idx="227">
                  <c:v>All Others</c:v>
                </c:pt>
                <c:pt idx="228">
                  <c:v>All Others</c:v>
                </c:pt>
                <c:pt idx="229">
                  <c:v>All Others</c:v>
                </c:pt>
                <c:pt idx="230">
                  <c:v>All Others</c:v>
                </c:pt>
                <c:pt idx="231">
                  <c:v>P'Tit Louis</c:v>
                </c:pt>
                <c:pt idx="232">
                  <c:v>All Others</c:v>
                </c:pt>
                <c:pt idx="233">
                  <c:v>All Others</c:v>
                </c:pt>
                <c:pt idx="234">
                  <c:v>Boursin</c:v>
                </c:pt>
                <c:pt idx="235">
                  <c:v>All Others</c:v>
                </c:pt>
                <c:pt idx="236">
                  <c:v>All Others</c:v>
                </c:pt>
                <c:pt idx="237">
                  <c:v>All Others</c:v>
                </c:pt>
                <c:pt idx="238">
                  <c:v>All Others</c:v>
                </c:pt>
                <c:pt idx="239">
                  <c:v>Private Lab</c:v>
                </c:pt>
                <c:pt idx="240">
                  <c:v>All Others</c:v>
                </c:pt>
                <c:pt idx="241">
                  <c:v>Lactalis: A</c:v>
                </c:pt>
                <c:pt idx="242">
                  <c:v>All Others</c:v>
                </c:pt>
                <c:pt idx="243">
                  <c:v>All Others</c:v>
                </c:pt>
                <c:pt idx="244">
                  <c:v>All Others</c:v>
                </c:pt>
                <c:pt idx="245">
                  <c:v>All Others</c:v>
                </c:pt>
                <c:pt idx="246">
                  <c:v>All Others</c:v>
                </c:pt>
                <c:pt idx="247">
                  <c:v>All Others</c:v>
                </c:pt>
                <c:pt idx="248">
                  <c:v>All Others</c:v>
                </c:pt>
                <c:pt idx="249">
                  <c:v>Lou Perac</c:v>
                </c:pt>
                <c:pt idx="250">
                  <c:v>All Others</c:v>
                </c:pt>
                <c:pt idx="251">
                  <c:v>Lactalis: A</c:v>
                </c:pt>
                <c:pt idx="252">
                  <c:v>All Others</c:v>
                </c:pt>
                <c:pt idx="253">
                  <c:v>Galbani</c:v>
                </c:pt>
                <c:pt idx="254">
                  <c:v>All Others</c:v>
                </c:pt>
                <c:pt idx="255">
                  <c:v>Private Lab</c:v>
                </c:pt>
                <c:pt idx="256">
                  <c:v>Ficello</c:v>
                </c:pt>
                <c:pt idx="257">
                  <c:v>All Others</c:v>
                </c:pt>
                <c:pt idx="258">
                  <c:v>Chavroux</c:v>
                </c:pt>
                <c:pt idx="259">
                  <c:v>All Others</c:v>
                </c:pt>
                <c:pt idx="260">
                  <c:v>All Others</c:v>
                </c:pt>
                <c:pt idx="261">
                  <c:v>All Others</c:v>
                </c:pt>
                <c:pt idx="262">
                  <c:v>All Others</c:v>
                </c:pt>
                <c:pt idx="263">
                  <c:v>Private Lab</c:v>
                </c:pt>
                <c:pt idx="264">
                  <c:v>Kiri</c:v>
                </c:pt>
                <c:pt idx="265">
                  <c:v>All Others</c:v>
                </c:pt>
                <c:pt idx="266">
                  <c:v>Mini Babybe</c:v>
                </c:pt>
                <c:pt idx="267">
                  <c:v>All Others</c:v>
                </c:pt>
                <c:pt idx="268">
                  <c:v>All Others</c:v>
                </c:pt>
                <c:pt idx="269">
                  <c:v>All Others</c:v>
                </c:pt>
                <c:pt idx="270">
                  <c:v>All Others</c:v>
                </c:pt>
                <c:pt idx="271">
                  <c:v>All Others</c:v>
                </c:pt>
                <c:pt idx="272">
                  <c:v>All Others</c:v>
                </c:pt>
                <c:pt idx="273">
                  <c:v>All Others</c:v>
                </c:pt>
                <c:pt idx="274">
                  <c:v>All Others</c:v>
                </c:pt>
                <c:pt idx="275">
                  <c:v>All Others</c:v>
                </c:pt>
                <c:pt idx="276">
                  <c:v>Triballat R</c:v>
                </c:pt>
                <c:pt idx="277">
                  <c:v>All Others</c:v>
                </c:pt>
                <c:pt idx="278">
                  <c:v>All Others</c:v>
                </c:pt>
                <c:pt idx="279">
                  <c:v>Philadelphi</c:v>
                </c:pt>
                <c:pt idx="280">
                  <c:v>Triballat R</c:v>
                </c:pt>
                <c:pt idx="281">
                  <c:v>Lactalis: A</c:v>
                </c:pt>
                <c:pt idx="282">
                  <c:v>Savencia: A</c:v>
                </c:pt>
                <c:pt idx="283">
                  <c:v>Private Lab</c:v>
                </c:pt>
                <c:pt idx="284">
                  <c:v>Private Lab</c:v>
                </c:pt>
                <c:pt idx="285">
                  <c:v>All Others</c:v>
                </c:pt>
                <c:pt idx="286">
                  <c:v>All Others</c:v>
                </c:pt>
                <c:pt idx="287">
                  <c:v>All Others</c:v>
                </c:pt>
                <c:pt idx="288">
                  <c:v>All Others</c:v>
                </c:pt>
                <c:pt idx="289">
                  <c:v>All Others</c:v>
                </c:pt>
                <c:pt idx="290">
                  <c:v>All Others</c:v>
                </c:pt>
                <c:pt idx="291">
                  <c:v>Etoile Du Q</c:v>
                </c:pt>
                <c:pt idx="292">
                  <c:v>All Others</c:v>
                </c:pt>
                <c:pt idx="293">
                  <c:v>All Others</c:v>
                </c:pt>
                <c:pt idx="294">
                  <c:v>All Others</c:v>
                </c:pt>
                <c:pt idx="295">
                  <c:v>All Others</c:v>
                </c:pt>
                <c:pt idx="296">
                  <c:v>Savencia: A</c:v>
                </c:pt>
                <c:pt idx="297">
                  <c:v>Triballat R</c:v>
                </c:pt>
                <c:pt idx="298">
                  <c:v>All Others</c:v>
                </c:pt>
                <c:pt idx="299">
                  <c:v>All Others</c:v>
                </c:pt>
                <c:pt idx="300">
                  <c:v>St Moret</c:v>
                </c:pt>
                <c:pt idx="301">
                  <c:v>All Others</c:v>
                </c:pt>
                <c:pt idx="302">
                  <c:v>All Others</c:v>
                </c:pt>
                <c:pt idx="303">
                  <c:v>All Others</c:v>
                </c:pt>
                <c:pt idx="304">
                  <c:v>Savencia: A</c:v>
                </c:pt>
                <c:pt idx="305">
                  <c:v>All Others</c:v>
                </c:pt>
                <c:pt idx="306">
                  <c:v>All Others</c:v>
                </c:pt>
                <c:pt idx="307">
                  <c:v>All Others</c:v>
                </c:pt>
                <c:pt idx="308">
                  <c:v>All Others</c:v>
                </c:pt>
                <c:pt idx="309">
                  <c:v>All Others</c:v>
                </c:pt>
                <c:pt idx="310">
                  <c:v>All Others</c:v>
                </c:pt>
                <c:pt idx="311">
                  <c:v>Lactalis: A</c:v>
                </c:pt>
                <c:pt idx="312">
                  <c:v>Ficello</c:v>
                </c:pt>
                <c:pt idx="313">
                  <c:v>Triballat N</c:v>
                </c:pt>
                <c:pt idx="314">
                  <c:v>All Others</c:v>
                </c:pt>
                <c:pt idx="315">
                  <c:v>All Others</c:v>
                </c:pt>
                <c:pt idx="316">
                  <c:v>Private Lab</c:v>
                </c:pt>
                <c:pt idx="317">
                  <c:v>All Others</c:v>
                </c:pt>
                <c:pt idx="318">
                  <c:v>All Others</c:v>
                </c:pt>
                <c:pt idx="319">
                  <c:v>All Others</c:v>
                </c:pt>
                <c:pt idx="320">
                  <c:v>All Others</c:v>
                </c:pt>
                <c:pt idx="321">
                  <c:v>All Others</c:v>
                </c:pt>
                <c:pt idx="322">
                  <c:v>All Others</c:v>
                </c:pt>
                <c:pt idx="323">
                  <c:v>All Others</c:v>
                </c:pt>
                <c:pt idx="324">
                  <c:v>Private Lab</c:v>
                </c:pt>
                <c:pt idx="325">
                  <c:v>All Others</c:v>
                </c:pt>
                <c:pt idx="326">
                  <c:v>All Others</c:v>
                </c:pt>
                <c:pt idx="327">
                  <c:v>Private Lab</c:v>
                </c:pt>
                <c:pt idx="328">
                  <c:v>All Others</c:v>
                </c:pt>
                <c:pt idx="329">
                  <c:v>All Others</c:v>
                </c:pt>
                <c:pt idx="330">
                  <c:v>All Others</c:v>
                </c:pt>
                <c:pt idx="331">
                  <c:v>Tartare</c:v>
                </c:pt>
                <c:pt idx="332">
                  <c:v>All Others</c:v>
                </c:pt>
                <c:pt idx="333">
                  <c:v>All Others</c:v>
                </c:pt>
                <c:pt idx="334">
                  <c:v>All Others</c:v>
                </c:pt>
                <c:pt idx="335">
                  <c:v>All Others</c:v>
                </c:pt>
                <c:pt idx="336">
                  <c:v>All Others</c:v>
                </c:pt>
                <c:pt idx="337">
                  <c:v>All Others</c:v>
                </c:pt>
                <c:pt idx="338">
                  <c:v>All Others</c:v>
                </c:pt>
                <c:pt idx="339">
                  <c:v>Eurial Autr</c:v>
                </c:pt>
                <c:pt idx="340">
                  <c:v>All Others</c:v>
                </c:pt>
                <c:pt idx="341">
                  <c:v>All Others</c:v>
                </c:pt>
                <c:pt idx="342">
                  <c:v>All Others</c:v>
                </c:pt>
                <c:pt idx="343">
                  <c:v>All Others</c:v>
                </c:pt>
                <c:pt idx="344">
                  <c:v>All Others</c:v>
                </c:pt>
                <c:pt idx="345">
                  <c:v>All Others</c:v>
                </c:pt>
                <c:pt idx="346">
                  <c:v>Mini Babybe</c:v>
                </c:pt>
                <c:pt idx="347">
                  <c:v>All Others</c:v>
                </c:pt>
                <c:pt idx="348">
                  <c:v>Private Lab</c:v>
                </c:pt>
                <c:pt idx="349">
                  <c:v>All Others</c:v>
                </c:pt>
                <c:pt idx="350">
                  <c:v>All Others</c:v>
                </c:pt>
                <c:pt idx="351">
                  <c:v>All Others</c:v>
                </c:pt>
                <c:pt idx="352">
                  <c:v>All Others</c:v>
                </c:pt>
                <c:pt idx="353">
                  <c:v>All Others</c:v>
                </c:pt>
                <c:pt idx="354">
                  <c:v>All Others</c:v>
                </c:pt>
                <c:pt idx="355">
                  <c:v>All Others</c:v>
                </c:pt>
                <c:pt idx="356">
                  <c:v>Boursin</c:v>
                </c:pt>
                <c:pt idx="357">
                  <c:v>All Others</c:v>
                </c:pt>
                <c:pt idx="358">
                  <c:v>Soignon</c:v>
                </c:pt>
                <c:pt idx="359">
                  <c:v>All Others</c:v>
                </c:pt>
                <c:pt idx="360">
                  <c:v>All Others</c:v>
                </c:pt>
                <c:pt idx="361">
                  <c:v>All Others</c:v>
                </c:pt>
                <c:pt idx="362">
                  <c:v>All Others</c:v>
                </c:pt>
                <c:pt idx="363">
                  <c:v>Private Lab</c:v>
                </c:pt>
                <c:pt idx="364">
                  <c:v>All Others</c:v>
                </c:pt>
                <c:pt idx="365">
                  <c:v>All Others</c:v>
                </c:pt>
                <c:pt idx="366">
                  <c:v>All Others</c:v>
                </c:pt>
                <c:pt idx="367">
                  <c:v>All Others</c:v>
                </c:pt>
                <c:pt idx="368">
                  <c:v>All Others</c:v>
                </c:pt>
                <c:pt idx="369">
                  <c:v>All Others</c:v>
                </c:pt>
                <c:pt idx="370">
                  <c:v>All Others</c:v>
                </c:pt>
                <c:pt idx="371">
                  <c:v>Savencia: A</c:v>
                </c:pt>
                <c:pt idx="372">
                  <c:v>Private Lab</c:v>
                </c:pt>
                <c:pt idx="373">
                  <c:v>All Others</c:v>
                </c:pt>
                <c:pt idx="374">
                  <c:v>All Others</c:v>
                </c:pt>
                <c:pt idx="375">
                  <c:v>All Others</c:v>
                </c:pt>
                <c:pt idx="376">
                  <c:v>All Others</c:v>
                </c:pt>
                <c:pt idx="377">
                  <c:v>All Others</c:v>
                </c:pt>
                <c:pt idx="378">
                  <c:v>All Others</c:v>
                </c:pt>
                <c:pt idx="379">
                  <c:v>All Others</c:v>
                </c:pt>
                <c:pt idx="380">
                  <c:v>All Others</c:v>
                </c:pt>
                <c:pt idx="381">
                  <c:v>All Others</c:v>
                </c:pt>
                <c:pt idx="382">
                  <c:v>All Others</c:v>
                </c:pt>
                <c:pt idx="383">
                  <c:v>All Others</c:v>
                </c:pt>
                <c:pt idx="384">
                  <c:v>All Others</c:v>
                </c:pt>
                <c:pt idx="385">
                  <c:v>Private Lab</c:v>
                </c:pt>
                <c:pt idx="386">
                  <c:v>Private Lab</c:v>
                </c:pt>
                <c:pt idx="387">
                  <c:v>All Others</c:v>
                </c:pt>
                <c:pt idx="388">
                  <c:v>All Others</c:v>
                </c:pt>
                <c:pt idx="389">
                  <c:v>Private Lab</c:v>
                </c:pt>
                <c:pt idx="390">
                  <c:v>All Others</c:v>
                </c:pt>
                <c:pt idx="391">
                  <c:v>Caprice Des</c:v>
                </c:pt>
                <c:pt idx="392">
                  <c:v>Private Lab</c:v>
                </c:pt>
                <c:pt idx="393">
                  <c:v>All Others</c:v>
                </c:pt>
                <c:pt idx="394">
                  <c:v>Private Lab</c:v>
                </c:pt>
                <c:pt idx="395">
                  <c:v>All Others</c:v>
                </c:pt>
                <c:pt idx="396">
                  <c:v>All Others</c:v>
                </c:pt>
                <c:pt idx="397">
                  <c:v>All Others</c:v>
                </c:pt>
                <c:pt idx="398">
                  <c:v>All Others</c:v>
                </c:pt>
                <c:pt idx="399">
                  <c:v>All Others</c:v>
                </c:pt>
                <c:pt idx="400">
                  <c:v>Private Lab</c:v>
                </c:pt>
                <c:pt idx="401">
                  <c:v>All Others</c:v>
                </c:pt>
                <c:pt idx="402">
                  <c:v>All Others</c:v>
                </c:pt>
                <c:pt idx="403">
                  <c:v>Carre Frais</c:v>
                </c:pt>
                <c:pt idx="404">
                  <c:v>All Others</c:v>
                </c:pt>
                <c:pt idx="405">
                  <c:v>All Others</c:v>
                </c:pt>
                <c:pt idx="406">
                  <c:v>Triballat R</c:v>
                </c:pt>
                <c:pt idx="407">
                  <c:v>All Others</c:v>
                </c:pt>
                <c:pt idx="408">
                  <c:v>All Others</c:v>
                </c:pt>
                <c:pt idx="409">
                  <c:v>All Others</c:v>
                </c:pt>
                <c:pt idx="410">
                  <c:v>All Others</c:v>
                </c:pt>
                <c:pt idx="411">
                  <c:v>All Others</c:v>
                </c:pt>
                <c:pt idx="412">
                  <c:v>All Others</c:v>
                </c:pt>
                <c:pt idx="413">
                  <c:v>All Others</c:v>
                </c:pt>
                <c:pt idx="414">
                  <c:v>All Others</c:v>
                </c:pt>
                <c:pt idx="415">
                  <c:v>All Others</c:v>
                </c:pt>
              </c:strCache>
            </c:strRef>
          </c:cat>
          <c:val>
            <c:numRef>
              <c:f>Sheet1!$B$2:$B$417</c:f>
              <c:numCache>
                <c:formatCode>General</c:formatCode>
                <c:ptCount val="416"/>
                <c:pt idx="0">
                  <c:v>1.0</c:v>
                </c:pt>
                <c:pt idx="1">
                  <c:v>0.93</c:v>
                </c:pt>
                <c:pt idx="2">
                  <c:v>0.95</c:v>
                </c:pt>
                <c:pt idx="3">
                  <c:v>0.96</c:v>
                </c:pt>
                <c:pt idx="4">
                  <c:v>0.97</c:v>
                </c:pt>
                <c:pt idx="5">
                  <c:v>0.91</c:v>
                </c:pt>
                <c:pt idx="6">
                  <c:v>0.94</c:v>
                </c:pt>
                <c:pt idx="7">
                  <c:v>0.78</c:v>
                </c:pt>
                <c:pt idx="8">
                  <c:v>0.96</c:v>
                </c:pt>
                <c:pt idx="9">
                  <c:v>0.74</c:v>
                </c:pt>
                <c:pt idx="10">
                  <c:v>0.84</c:v>
                </c:pt>
                <c:pt idx="11">
                  <c:v>0.86</c:v>
                </c:pt>
                <c:pt idx="12">
                  <c:v>0.95</c:v>
                </c:pt>
                <c:pt idx="13">
                  <c:v>0.91</c:v>
                </c:pt>
                <c:pt idx="14">
                  <c:v>0.86</c:v>
                </c:pt>
                <c:pt idx="15">
                  <c:v>0.95</c:v>
                </c:pt>
                <c:pt idx="16">
                  <c:v>0.99</c:v>
                </c:pt>
                <c:pt idx="17">
                  <c:v>0.83</c:v>
                </c:pt>
                <c:pt idx="18">
                  <c:v>0.47</c:v>
                </c:pt>
                <c:pt idx="19">
                  <c:v>0.66</c:v>
                </c:pt>
                <c:pt idx="20">
                  <c:v>0.78</c:v>
                </c:pt>
                <c:pt idx="21">
                  <c:v>0.47</c:v>
                </c:pt>
                <c:pt idx="22">
                  <c:v>0.83</c:v>
                </c:pt>
                <c:pt idx="23">
                  <c:v>0.48</c:v>
                </c:pt>
                <c:pt idx="24">
                  <c:v>0.79</c:v>
                </c:pt>
                <c:pt idx="25">
                  <c:v>0.65</c:v>
                </c:pt>
                <c:pt idx="26">
                  <c:v>0.94</c:v>
                </c:pt>
                <c:pt idx="27">
                  <c:v>0.75</c:v>
                </c:pt>
                <c:pt idx="28">
                  <c:v>0.97</c:v>
                </c:pt>
                <c:pt idx="29">
                  <c:v>0.75</c:v>
                </c:pt>
                <c:pt idx="30">
                  <c:v>0.98</c:v>
                </c:pt>
                <c:pt idx="31">
                  <c:v>0.56</c:v>
                </c:pt>
                <c:pt idx="32">
                  <c:v>0.78</c:v>
                </c:pt>
                <c:pt idx="33">
                  <c:v>0.84</c:v>
                </c:pt>
                <c:pt idx="34">
                  <c:v>0.57</c:v>
                </c:pt>
                <c:pt idx="35">
                  <c:v>0.25</c:v>
                </c:pt>
                <c:pt idx="36">
                  <c:v>0.71</c:v>
                </c:pt>
                <c:pt idx="37">
                  <c:v>0.01</c:v>
                </c:pt>
                <c:pt idx="38">
                  <c:v>0.63</c:v>
                </c:pt>
                <c:pt idx="39">
                  <c:v>0.96</c:v>
                </c:pt>
                <c:pt idx="40">
                  <c:v>0.62</c:v>
                </c:pt>
                <c:pt idx="41">
                  <c:v>0.88</c:v>
                </c:pt>
                <c:pt idx="42">
                  <c:v>0.88</c:v>
                </c:pt>
                <c:pt idx="43">
                  <c:v>0.54</c:v>
                </c:pt>
                <c:pt idx="44">
                  <c:v>0.74</c:v>
                </c:pt>
                <c:pt idx="45">
                  <c:v>0.68</c:v>
                </c:pt>
                <c:pt idx="46">
                  <c:v>0.95</c:v>
                </c:pt>
                <c:pt idx="47">
                  <c:v>0.71</c:v>
                </c:pt>
                <c:pt idx="48">
                  <c:v>0.53</c:v>
                </c:pt>
                <c:pt idx="49">
                  <c:v>0.56</c:v>
                </c:pt>
                <c:pt idx="50">
                  <c:v>0.61</c:v>
                </c:pt>
                <c:pt idx="51">
                  <c:v>0.76</c:v>
                </c:pt>
                <c:pt idx="52">
                  <c:v>0.48</c:v>
                </c:pt>
                <c:pt idx="53">
                  <c:v>0.58</c:v>
                </c:pt>
                <c:pt idx="54">
                  <c:v>0.58</c:v>
                </c:pt>
                <c:pt idx="55">
                  <c:v>0.48</c:v>
                </c:pt>
                <c:pt idx="56">
                  <c:v>0.41</c:v>
                </c:pt>
                <c:pt idx="57">
                  <c:v>0.79</c:v>
                </c:pt>
                <c:pt idx="58">
                  <c:v>0.5</c:v>
                </c:pt>
                <c:pt idx="59">
                  <c:v>0.68</c:v>
                </c:pt>
                <c:pt idx="60">
                  <c:v>0.35</c:v>
                </c:pt>
                <c:pt idx="61">
                  <c:v>0.68</c:v>
                </c:pt>
                <c:pt idx="62">
                  <c:v>0.57</c:v>
                </c:pt>
                <c:pt idx="63">
                  <c:v>0.59</c:v>
                </c:pt>
                <c:pt idx="64">
                  <c:v>0.41</c:v>
                </c:pt>
                <c:pt idx="65">
                  <c:v>0.73</c:v>
                </c:pt>
                <c:pt idx="66">
                  <c:v>0.66</c:v>
                </c:pt>
                <c:pt idx="67">
                  <c:v>0.51</c:v>
                </c:pt>
                <c:pt idx="68">
                  <c:v>0.19</c:v>
                </c:pt>
                <c:pt idx="69">
                  <c:v>0.2</c:v>
                </c:pt>
                <c:pt idx="70">
                  <c:v>0.28</c:v>
                </c:pt>
                <c:pt idx="71">
                  <c:v>0.82</c:v>
                </c:pt>
                <c:pt idx="72">
                  <c:v>0.34</c:v>
                </c:pt>
                <c:pt idx="73">
                  <c:v>0.52</c:v>
                </c:pt>
                <c:pt idx="74">
                  <c:v>0.61</c:v>
                </c:pt>
                <c:pt idx="75">
                  <c:v>0.27</c:v>
                </c:pt>
                <c:pt idx="76">
                  <c:v>0.14</c:v>
                </c:pt>
                <c:pt idx="77">
                  <c:v>0.25</c:v>
                </c:pt>
                <c:pt idx="78">
                  <c:v>0.56</c:v>
                </c:pt>
                <c:pt idx="79">
                  <c:v>0.28</c:v>
                </c:pt>
                <c:pt idx="80">
                  <c:v>0.92</c:v>
                </c:pt>
                <c:pt idx="81">
                  <c:v>0.77</c:v>
                </c:pt>
                <c:pt idx="82">
                  <c:v>0.6</c:v>
                </c:pt>
                <c:pt idx="83">
                  <c:v>0.22</c:v>
                </c:pt>
                <c:pt idx="84">
                  <c:v>0.6</c:v>
                </c:pt>
                <c:pt idx="85">
                  <c:v>0.37</c:v>
                </c:pt>
                <c:pt idx="86">
                  <c:v>0.36</c:v>
                </c:pt>
                <c:pt idx="87">
                  <c:v>0.45</c:v>
                </c:pt>
                <c:pt idx="88">
                  <c:v>0.38</c:v>
                </c:pt>
                <c:pt idx="89">
                  <c:v>0.16</c:v>
                </c:pt>
                <c:pt idx="90">
                  <c:v>0.16</c:v>
                </c:pt>
                <c:pt idx="91">
                  <c:v>0.14</c:v>
                </c:pt>
                <c:pt idx="92">
                  <c:v>0.24</c:v>
                </c:pt>
                <c:pt idx="93">
                  <c:v>0.28</c:v>
                </c:pt>
                <c:pt idx="94">
                  <c:v>0.36</c:v>
                </c:pt>
                <c:pt idx="95">
                  <c:v>0.14</c:v>
                </c:pt>
                <c:pt idx="96">
                  <c:v>0.29</c:v>
                </c:pt>
                <c:pt idx="97">
                  <c:v>0.1</c:v>
                </c:pt>
                <c:pt idx="98">
                  <c:v>0.52</c:v>
                </c:pt>
                <c:pt idx="99">
                  <c:v>0.3</c:v>
                </c:pt>
                <c:pt idx="100">
                  <c:v>0.16</c:v>
                </c:pt>
                <c:pt idx="101">
                  <c:v>0.08</c:v>
                </c:pt>
                <c:pt idx="102">
                  <c:v>0.18</c:v>
                </c:pt>
                <c:pt idx="103">
                  <c:v>0.37</c:v>
                </c:pt>
                <c:pt idx="104">
                  <c:v>0.18</c:v>
                </c:pt>
                <c:pt idx="105">
                  <c:v>0.18</c:v>
                </c:pt>
                <c:pt idx="106">
                  <c:v>0.12</c:v>
                </c:pt>
                <c:pt idx="107">
                  <c:v>0.19</c:v>
                </c:pt>
                <c:pt idx="108">
                  <c:v>0.28</c:v>
                </c:pt>
                <c:pt idx="109">
                  <c:v>0.18</c:v>
                </c:pt>
                <c:pt idx="110">
                  <c:v>0.19</c:v>
                </c:pt>
                <c:pt idx="111">
                  <c:v>0.09</c:v>
                </c:pt>
                <c:pt idx="112">
                  <c:v>0.19</c:v>
                </c:pt>
                <c:pt idx="113">
                  <c:v>0.09</c:v>
                </c:pt>
                <c:pt idx="114">
                  <c:v>0.08</c:v>
                </c:pt>
                <c:pt idx="115">
                  <c:v>0.41</c:v>
                </c:pt>
                <c:pt idx="116">
                  <c:v>0.16</c:v>
                </c:pt>
                <c:pt idx="117">
                  <c:v>0.27</c:v>
                </c:pt>
                <c:pt idx="118">
                  <c:v>0.12</c:v>
                </c:pt>
                <c:pt idx="119">
                  <c:v>0.18</c:v>
                </c:pt>
                <c:pt idx="120">
                  <c:v>0.06</c:v>
                </c:pt>
                <c:pt idx="121">
                  <c:v>0.08</c:v>
                </c:pt>
                <c:pt idx="122">
                  <c:v>0.16</c:v>
                </c:pt>
                <c:pt idx="123">
                  <c:v>0.08</c:v>
                </c:pt>
                <c:pt idx="124">
                  <c:v>0.1</c:v>
                </c:pt>
                <c:pt idx="125">
                  <c:v>0.19</c:v>
                </c:pt>
                <c:pt idx="126">
                  <c:v>0.08</c:v>
                </c:pt>
                <c:pt idx="127">
                  <c:v>0.05</c:v>
                </c:pt>
                <c:pt idx="128">
                  <c:v>0.24</c:v>
                </c:pt>
                <c:pt idx="129">
                  <c:v>0.06</c:v>
                </c:pt>
                <c:pt idx="130">
                  <c:v>0.06</c:v>
                </c:pt>
                <c:pt idx="131">
                  <c:v>0.1</c:v>
                </c:pt>
                <c:pt idx="132">
                  <c:v>0.22</c:v>
                </c:pt>
                <c:pt idx="133">
                  <c:v>0.08</c:v>
                </c:pt>
                <c:pt idx="134">
                  <c:v>0.14</c:v>
                </c:pt>
                <c:pt idx="135">
                  <c:v>0.07</c:v>
                </c:pt>
                <c:pt idx="136">
                  <c:v>0.07</c:v>
                </c:pt>
                <c:pt idx="137">
                  <c:v>0.03</c:v>
                </c:pt>
                <c:pt idx="138">
                  <c:v>0.05</c:v>
                </c:pt>
                <c:pt idx="139">
                  <c:v>0.06</c:v>
                </c:pt>
                <c:pt idx="140">
                  <c:v>0.21</c:v>
                </c:pt>
                <c:pt idx="141">
                  <c:v>0.07</c:v>
                </c:pt>
                <c:pt idx="142">
                  <c:v>0.03</c:v>
                </c:pt>
                <c:pt idx="143">
                  <c:v>0.27</c:v>
                </c:pt>
                <c:pt idx="144">
                  <c:v>0.2</c:v>
                </c:pt>
                <c:pt idx="145">
                  <c:v>0.3</c:v>
                </c:pt>
                <c:pt idx="146">
                  <c:v>0.11</c:v>
                </c:pt>
                <c:pt idx="147">
                  <c:v>0.1</c:v>
                </c:pt>
                <c:pt idx="148">
                  <c:v>0.12</c:v>
                </c:pt>
                <c:pt idx="149">
                  <c:v>0.22</c:v>
                </c:pt>
                <c:pt idx="150">
                  <c:v>0.07</c:v>
                </c:pt>
                <c:pt idx="151">
                  <c:v>0.16</c:v>
                </c:pt>
                <c:pt idx="152">
                  <c:v>0.07</c:v>
                </c:pt>
                <c:pt idx="153">
                  <c:v>0.04</c:v>
                </c:pt>
                <c:pt idx="154">
                  <c:v>0.04</c:v>
                </c:pt>
                <c:pt idx="155">
                  <c:v>0.05</c:v>
                </c:pt>
                <c:pt idx="156">
                  <c:v>0.07</c:v>
                </c:pt>
                <c:pt idx="157">
                  <c:v>0.11</c:v>
                </c:pt>
                <c:pt idx="158">
                  <c:v>0.13</c:v>
                </c:pt>
                <c:pt idx="159">
                  <c:v>0.05</c:v>
                </c:pt>
                <c:pt idx="160">
                  <c:v>0.06</c:v>
                </c:pt>
                <c:pt idx="161">
                  <c:v>0.08</c:v>
                </c:pt>
                <c:pt idx="162">
                  <c:v>0.18</c:v>
                </c:pt>
                <c:pt idx="163">
                  <c:v>0.08</c:v>
                </c:pt>
                <c:pt idx="164">
                  <c:v>0.04</c:v>
                </c:pt>
                <c:pt idx="165">
                  <c:v>0.05</c:v>
                </c:pt>
                <c:pt idx="166">
                  <c:v>0.05</c:v>
                </c:pt>
                <c:pt idx="167">
                  <c:v>0.05</c:v>
                </c:pt>
                <c:pt idx="168">
                  <c:v>0.32</c:v>
                </c:pt>
                <c:pt idx="169">
                  <c:v>0.11</c:v>
                </c:pt>
                <c:pt idx="170">
                  <c:v>0.12</c:v>
                </c:pt>
                <c:pt idx="171">
                  <c:v>0.05</c:v>
                </c:pt>
                <c:pt idx="172">
                  <c:v>0.04</c:v>
                </c:pt>
                <c:pt idx="173">
                  <c:v>0.03</c:v>
                </c:pt>
                <c:pt idx="174">
                  <c:v>0.08</c:v>
                </c:pt>
                <c:pt idx="175">
                  <c:v>0.07</c:v>
                </c:pt>
                <c:pt idx="176">
                  <c:v>0.07</c:v>
                </c:pt>
                <c:pt idx="177">
                  <c:v>0.07</c:v>
                </c:pt>
                <c:pt idx="178">
                  <c:v>0.09</c:v>
                </c:pt>
                <c:pt idx="179">
                  <c:v>0.08</c:v>
                </c:pt>
                <c:pt idx="180">
                  <c:v>0.07</c:v>
                </c:pt>
                <c:pt idx="181">
                  <c:v>0.12</c:v>
                </c:pt>
                <c:pt idx="182">
                  <c:v>0.13</c:v>
                </c:pt>
                <c:pt idx="183">
                  <c:v>0.03</c:v>
                </c:pt>
                <c:pt idx="184">
                  <c:v>0.12</c:v>
                </c:pt>
                <c:pt idx="185">
                  <c:v>0.06</c:v>
                </c:pt>
                <c:pt idx="186">
                  <c:v>0.07</c:v>
                </c:pt>
                <c:pt idx="187">
                  <c:v>0.05</c:v>
                </c:pt>
                <c:pt idx="188">
                  <c:v>0.06</c:v>
                </c:pt>
                <c:pt idx="189">
                  <c:v>0.05</c:v>
                </c:pt>
                <c:pt idx="190">
                  <c:v>0.14</c:v>
                </c:pt>
                <c:pt idx="191">
                  <c:v>0.02</c:v>
                </c:pt>
                <c:pt idx="192">
                  <c:v>0.04</c:v>
                </c:pt>
                <c:pt idx="193">
                  <c:v>0.16</c:v>
                </c:pt>
                <c:pt idx="194">
                  <c:v>0.04</c:v>
                </c:pt>
                <c:pt idx="195">
                  <c:v>0.08</c:v>
                </c:pt>
                <c:pt idx="196">
                  <c:v>0.17</c:v>
                </c:pt>
                <c:pt idx="197">
                  <c:v>0.06</c:v>
                </c:pt>
                <c:pt idx="198">
                  <c:v>0.13</c:v>
                </c:pt>
                <c:pt idx="199">
                  <c:v>0.08</c:v>
                </c:pt>
                <c:pt idx="200">
                  <c:v>0.06</c:v>
                </c:pt>
                <c:pt idx="201">
                  <c:v>0.01</c:v>
                </c:pt>
                <c:pt idx="202">
                  <c:v>0.02</c:v>
                </c:pt>
                <c:pt idx="203">
                  <c:v>0.03</c:v>
                </c:pt>
                <c:pt idx="204">
                  <c:v>0.01</c:v>
                </c:pt>
                <c:pt idx="205">
                  <c:v>0.03</c:v>
                </c:pt>
                <c:pt idx="206">
                  <c:v>0.03</c:v>
                </c:pt>
                <c:pt idx="207">
                  <c:v>0.05</c:v>
                </c:pt>
                <c:pt idx="208">
                  <c:v>0.08</c:v>
                </c:pt>
                <c:pt idx="209">
                  <c:v>0.03</c:v>
                </c:pt>
                <c:pt idx="210">
                  <c:v>0.09</c:v>
                </c:pt>
                <c:pt idx="211">
                  <c:v>0.11</c:v>
                </c:pt>
                <c:pt idx="212">
                  <c:v>0.13</c:v>
                </c:pt>
                <c:pt idx="213">
                  <c:v>0.01</c:v>
                </c:pt>
                <c:pt idx="214">
                  <c:v>0.03</c:v>
                </c:pt>
                <c:pt idx="215">
                  <c:v>0.03</c:v>
                </c:pt>
                <c:pt idx="216">
                  <c:v>0.05</c:v>
                </c:pt>
                <c:pt idx="217">
                  <c:v>0.03</c:v>
                </c:pt>
                <c:pt idx="218">
                  <c:v>0.02</c:v>
                </c:pt>
                <c:pt idx="219">
                  <c:v>0.03</c:v>
                </c:pt>
                <c:pt idx="220">
                  <c:v>0.02</c:v>
                </c:pt>
                <c:pt idx="221">
                  <c:v>0.06</c:v>
                </c:pt>
                <c:pt idx="222">
                  <c:v>0.04</c:v>
                </c:pt>
                <c:pt idx="223">
                  <c:v>0.05</c:v>
                </c:pt>
                <c:pt idx="224">
                  <c:v>0.05</c:v>
                </c:pt>
                <c:pt idx="225">
                  <c:v>0.01</c:v>
                </c:pt>
                <c:pt idx="226">
                  <c:v>0.03</c:v>
                </c:pt>
                <c:pt idx="227">
                  <c:v>0.02</c:v>
                </c:pt>
                <c:pt idx="228">
                  <c:v>0.03</c:v>
                </c:pt>
                <c:pt idx="229">
                  <c:v>0.02</c:v>
                </c:pt>
                <c:pt idx="230">
                  <c:v>0.03</c:v>
                </c:pt>
                <c:pt idx="231">
                  <c:v>0.05</c:v>
                </c:pt>
                <c:pt idx="232">
                  <c:v>0.01</c:v>
                </c:pt>
                <c:pt idx="233">
                  <c:v>0.03</c:v>
                </c:pt>
                <c:pt idx="234">
                  <c:v>0.11</c:v>
                </c:pt>
                <c:pt idx="235">
                  <c:v>0.02</c:v>
                </c:pt>
                <c:pt idx="236">
                  <c:v>0.02</c:v>
                </c:pt>
                <c:pt idx="237">
                  <c:v>0.01</c:v>
                </c:pt>
                <c:pt idx="238">
                  <c:v>0.12</c:v>
                </c:pt>
                <c:pt idx="239">
                  <c:v>0.07</c:v>
                </c:pt>
                <c:pt idx="240">
                  <c:v>0.01</c:v>
                </c:pt>
                <c:pt idx="241">
                  <c:v>0.02</c:v>
                </c:pt>
                <c:pt idx="242">
                  <c:v>0.01</c:v>
                </c:pt>
                <c:pt idx="243">
                  <c:v>0.02</c:v>
                </c:pt>
                <c:pt idx="244">
                  <c:v>0.02</c:v>
                </c:pt>
                <c:pt idx="245">
                  <c:v>0.01</c:v>
                </c:pt>
                <c:pt idx="246">
                  <c:v>0.01</c:v>
                </c:pt>
                <c:pt idx="247">
                  <c:v>0.02</c:v>
                </c:pt>
                <c:pt idx="248">
                  <c:v>0.02</c:v>
                </c:pt>
                <c:pt idx="249">
                  <c:v>0.03</c:v>
                </c:pt>
                <c:pt idx="250">
                  <c:v>0.11</c:v>
                </c:pt>
                <c:pt idx="251">
                  <c:v>0.02</c:v>
                </c:pt>
                <c:pt idx="252">
                  <c:v>0.01</c:v>
                </c:pt>
                <c:pt idx="253">
                  <c:v>0.04</c:v>
                </c:pt>
                <c:pt idx="254">
                  <c:v>0.01</c:v>
                </c:pt>
                <c:pt idx="255">
                  <c:v>0.06</c:v>
                </c:pt>
                <c:pt idx="256">
                  <c:v>0.02</c:v>
                </c:pt>
                <c:pt idx="257">
                  <c:v>0.01</c:v>
                </c:pt>
                <c:pt idx="258">
                  <c:v>0.05</c:v>
                </c:pt>
                <c:pt idx="259">
                  <c:v>0.03</c:v>
                </c:pt>
                <c:pt idx="260">
                  <c:v>0.02</c:v>
                </c:pt>
                <c:pt idx="261">
                  <c:v>0.02</c:v>
                </c:pt>
                <c:pt idx="262">
                  <c:v>0.01</c:v>
                </c:pt>
                <c:pt idx="263">
                  <c:v>0.05</c:v>
                </c:pt>
                <c:pt idx="264">
                  <c:v>0.02</c:v>
                </c:pt>
                <c:pt idx="265">
                  <c:v>0.01</c:v>
                </c:pt>
                <c:pt idx="266">
                  <c:v>0.05</c:v>
                </c:pt>
                <c:pt idx="267">
                  <c:v>0.01</c:v>
                </c:pt>
                <c:pt idx="268">
                  <c:v>0.01</c:v>
                </c:pt>
                <c:pt idx="269">
                  <c:v>0.03</c:v>
                </c:pt>
                <c:pt idx="270">
                  <c:v>0.01</c:v>
                </c:pt>
                <c:pt idx="271">
                  <c:v>0.01</c:v>
                </c:pt>
                <c:pt idx="272">
                  <c:v>0.01</c:v>
                </c:pt>
                <c:pt idx="273">
                  <c:v>0.01</c:v>
                </c:pt>
                <c:pt idx="274">
                  <c:v>0.01</c:v>
                </c:pt>
                <c:pt idx="275">
                  <c:v>0.01</c:v>
                </c:pt>
                <c:pt idx="276">
                  <c:v>0.01</c:v>
                </c:pt>
                <c:pt idx="277">
                  <c:v>0.01</c:v>
                </c:pt>
                <c:pt idx="278">
                  <c:v>0.02</c:v>
                </c:pt>
                <c:pt idx="279">
                  <c:v>0.03</c:v>
                </c:pt>
                <c:pt idx="280">
                  <c:v>0.01</c:v>
                </c:pt>
                <c:pt idx="281">
                  <c:v>0.02</c:v>
                </c:pt>
                <c:pt idx="282">
                  <c:v>0.01</c:v>
                </c:pt>
                <c:pt idx="283">
                  <c:v>0.05</c:v>
                </c:pt>
                <c:pt idx="284">
                  <c:v>0.04</c:v>
                </c:pt>
                <c:pt idx="285">
                  <c:v>0.01</c:v>
                </c:pt>
                <c:pt idx="286">
                  <c:v>0.16</c:v>
                </c:pt>
                <c:pt idx="287">
                  <c:v>0.01</c:v>
                </c:pt>
                <c:pt idx="288">
                  <c:v>0.04</c:v>
                </c:pt>
                <c:pt idx="289">
                  <c:v>0.01</c:v>
                </c:pt>
                <c:pt idx="290">
                  <c:v>0.01</c:v>
                </c:pt>
                <c:pt idx="291">
                  <c:v>0.01</c:v>
                </c:pt>
                <c:pt idx="292">
                  <c:v>0.01</c:v>
                </c:pt>
                <c:pt idx="293">
                  <c:v>0.01</c:v>
                </c:pt>
                <c:pt idx="294">
                  <c:v>0.01</c:v>
                </c:pt>
                <c:pt idx="295">
                  <c:v>0.01</c:v>
                </c:pt>
                <c:pt idx="296">
                  <c:v>0.01</c:v>
                </c:pt>
                <c:pt idx="297">
                  <c:v>0.01</c:v>
                </c:pt>
                <c:pt idx="298">
                  <c:v>0.01</c:v>
                </c:pt>
                <c:pt idx="299">
                  <c:v>0.01</c:v>
                </c:pt>
                <c:pt idx="300">
                  <c:v>0.03</c:v>
                </c:pt>
                <c:pt idx="301">
                  <c:v>0.03</c:v>
                </c:pt>
                <c:pt idx="302">
                  <c:v>0.01</c:v>
                </c:pt>
                <c:pt idx="303">
                  <c:v>0.01</c:v>
                </c:pt>
                <c:pt idx="304">
                  <c:v>0.01</c:v>
                </c:pt>
                <c:pt idx="305">
                  <c:v>0.01</c:v>
                </c:pt>
                <c:pt idx="306">
                  <c:v>0.01</c:v>
                </c:pt>
                <c:pt idx="307">
                  <c:v>0.04</c:v>
                </c:pt>
                <c:pt idx="308">
                  <c:v>0.01</c:v>
                </c:pt>
                <c:pt idx="309">
                  <c:v>0.01</c:v>
                </c:pt>
                <c:pt idx="310">
                  <c:v>0.01</c:v>
                </c:pt>
                <c:pt idx="311">
                  <c:v>0.08</c:v>
                </c:pt>
                <c:pt idx="312">
                  <c:v>0.03</c:v>
                </c:pt>
                <c:pt idx="313">
                  <c:v>0.01</c:v>
                </c:pt>
                <c:pt idx="314">
                  <c:v>0.01</c:v>
                </c:pt>
                <c:pt idx="315">
                  <c:v>0.01</c:v>
                </c:pt>
                <c:pt idx="316">
                  <c:v>0.02</c:v>
                </c:pt>
                <c:pt idx="317">
                  <c:v>0.01</c:v>
                </c:pt>
                <c:pt idx="318">
                  <c:v>0.02</c:v>
                </c:pt>
                <c:pt idx="319">
                  <c:v>0.03</c:v>
                </c:pt>
                <c:pt idx="320">
                  <c:v>0.01</c:v>
                </c:pt>
                <c:pt idx="321">
                  <c:v>0.01</c:v>
                </c:pt>
                <c:pt idx="322">
                  <c:v>0.02</c:v>
                </c:pt>
                <c:pt idx="323">
                  <c:v>0.02</c:v>
                </c:pt>
                <c:pt idx="324">
                  <c:v>0.02</c:v>
                </c:pt>
                <c:pt idx="325">
                  <c:v>0.01</c:v>
                </c:pt>
                <c:pt idx="326">
                  <c:v>0.01</c:v>
                </c:pt>
                <c:pt idx="327">
                  <c:v>0.03</c:v>
                </c:pt>
                <c:pt idx="328">
                  <c:v>0.01</c:v>
                </c:pt>
                <c:pt idx="329">
                  <c:v>0.01</c:v>
                </c:pt>
                <c:pt idx="330">
                  <c:v>0.01</c:v>
                </c:pt>
                <c:pt idx="331">
                  <c:v>0.03</c:v>
                </c:pt>
                <c:pt idx="332">
                  <c:v>0.01</c:v>
                </c:pt>
                <c:pt idx="333">
                  <c:v>0.01</c:v>
                </c:pt>
                <c:pt idx="334">
                  <c:v>0.01</c:v>
                </c:pt>
                <c:pt idx="335">
                  <c:v>0.01</c:v>
                </c:pt>
                <c:pt idx="336">
                  <c:v>0.02</c:v>
                </c:pt>
                <c:pt idx="337">
                  <c:v>0.01</c:v>
                </c:pt>
                <c:pt idx="338">
                  <c:v>0.01</c:v>
                </c:pt>
                <c:pt idx="339">
                  <c:v>0.01</c:v>
                </c:pt>
                <c:pt idx="340">
                  <c:v>0.01</c:v>
                </c:pt>
                <c:pt idx="341">
                  <c:v>0.01</c:v>
                </c:pt>
                <c:pt idx="342">
                  <c:v>0.01</c:v>
                </c:pt>
                <c:pt idx="343">
                  <c:v>0.01</c:v>
                </c:pt>
                <c:pt idx="344">
                  <c:v>0.01</c:v>
                </c:pt>
                <c:pt idx="345">
                  <c:v>0.01</c:v>
                </c:pt>
                <c:pt idx="346">
                  <c:v>0.06</c:v>
                </c:pt>
                <c:pt idx="347">
                  <c:v>0.01</c:v>
                </c:pt>
                <c:pt idx="348">
                  <c:v>0.04</c:v>
                </c:pt>
                <c:pt idx="349">
                  <c:v>0.01</c:v>
                </c:pt>
                <c:pt idx="350">
                  <c:v>0.04</c:v>
                </c:pt>
                <c:pt idx="351">
                  <c:v>0.01</c:v>
                </c:pt>
                <c:pt idx="352">
                  <c:v>0.01</c:v>
                </c:pt>
                <c:pt idx="353">
                  <c:v>0.02</c:v>
                </c:pt>
                <c:pt idx="354">
                  <c:v>0.01</c:v>
                </c:pt>
                <c:pt idx="355">
                  <c:v>0.01</c:v>
                </c:pt>
                <c:pt idx="356">
                  <c:v>0.1</c:v>
                </c:pt>
                <c:pt idx="357">
                  <c:v>0.01</c:v>
                </c:pt>
                <c:pt idx="358">
                  <c:v>0.01</c:v>
                </c:pt>
                <c:pt idx="359">
                  <c:v>0.01</c:v>
                </c:pt>
                <c:pt idx="360">
                  <c:v>0.01</c:v>
                </c:pt>
                <c:pt idx="361">
                  <c:v>0.01</c:v>
                </c:pt>
                <c:pt idx="362">
                  <c:v>0.01</c:v>
                </c:pt>
                <c:pt idx="363">
                  <c:v>0.01</c:v>
                </c:pt>
                <c:pt idx="364">
                  <c:v>0.01</c:v>
                </c:pt>
                <c:pt idx="365">
                  <c:v>0.01</c:v>
                </c:pt>
                <c:pt idx="366">
                  <c:v>0.01</c:v>
                </c:pt>
                <c:pt idx="367">
                  <c:v>0.01</c:v>
                </c:pt>
                <c:pt idx="368">
                  <c:v>0.01</c:v>
                </c:pt>
                <c:pt idx="369">
                  <c:v>0.01</c:v>
                </c:pt>
                <c:pt idx="370">
                  <c:v>0.01</c:v>
                </c:pt>
                <c:pt idx="371">
                  <c:v>0.01</c:v>
                </c:pt>
                <c:pt idx="372">
                  <c:v>0.05</c:v>
                </c:pt>
                <c:pt idx="373">
                  <c:v>0.01</c:v>
                </c:pt>
                <c:pt idx="374">
                  <c:v>0.01</c:v>
                </c:pt>
                <c:pt idx="375">
                  <c:v>0.06</c:v>
                </c:pt>
                <c:pt idx="376">
                  <c:v>0.01</c:v>
                </c:pt>
                <c:pt idx="377">
                  <c:v>0.02</c:v>
                </c:pt>
                <c:pt idx="378">
                  <c:v>0.01</c:v>
                </c:pt>
                <c:pt idx="379">
                  <c:v>0.05</c:v>
                </c:pt>
                <c:pt idx="380">
                  <c:v>0.01</c:v>
                </c:pt>
                <c:pt idx="381">
                  <c:v>0.01</c:v>
                </c:pt>
                <c:pt idx="382">
                  <c:v>0.01</c:v>
                </c:pt>
                <c:pt idx="383">
                  <c:v>0.01</c:v>
                </c:pt>
                <c:pt idx="384">
                  <c:v>0.01</c:v>
                </c:pt>
                <c:pt idx="385">
                  <c:v>0.02</c:v>
                </c:pt>
                <c:pt idx="386">
                  <c:v>0.08</c:v>
                </c:pt>
                <c:pt idx="387">
                  <c:v>0.02</c:v>
                </c:pt>
                <c:pt idx="388">
                  <c:v>0.01</c:v>
                </c:pt>
                <c:pt idx="389">
                  <c:v>0.01</c:v>
                </c:pt>
                <c:pt idx="390">
                  <c:v>0.01</c:v>
                </c:pt>
                <c:pt idx="391">
                  <c:v>0.02</c:v>
                </c:pt>
                <c:pt idx="392">
                  <c:v>0.05</c:v>
                </c:pt>
                <c:pt idx="393">
                  <c:v>0.01</c:v>
                </c:pt>
                <c:pt idx="394">
                  <c:v>0.07</c:v>
                </c:pt>
                <c:pt idx="395">
                  <c:v>0.01</c:v>
                </c:pt>
                <c:pt idx="396">
                  <c:v>0.01</c:v>
                </c:pt>
                <c:pt idx="397">
                  <c:v>0.01</c:v>
                </c:pt>
                <c:pt idx="398">
                  <c:v>0.01</c:v>
                </c:pt>
                <c:pt idx="399">
                  <c:v>0.01</c:v>
                </c:pt>
                <c:pt idx="400">
                  <c:v>0.01</c:v>
                </c:pt>
                <c:pt idx="401">
                  <c:v>0.03</c:v>
                </c:pt>
                <c:pt idx="402">
                  <c:v>0.01</c:v>
                </c:pt>
                <c:pt idx="403">
                  <c:v>0.01</c:v>
                </c:pt>
                <c:pt idx="404">
                  <c:v>0.01</c:v>
                </c:pt>
                <c:pt idx="405">
                  <c:v>0.01</c:v>
                </c:pt>
                <c:pt idx="406">
                  <c:v>0.01</c:v>
                </c:pt>
                <c:pt idx="407">
                  <c:v>0.01</c:v>
                </c:pt>
                <c:pt idx="408">
                  <c:v>0.01</c:v>
                </c:pt>
                <c:pt idx="409">
                  <c:v>0.01</c:v>
                </c:pt>
                <c:pt idx="410">
                  <c:v>0.01</c:v>
                </c:pt>
                <c:pt idx="411">
                  <c:v>0.01</c:v>
                </c:pt>
                <c:pt idx="412">
                  <c:v>0.01</c:v>
                </c:pt>
                <c:pt idx="413">
                  <c:v>0.01</c:v>
                </c:pt>
                <c:pt idx="414">
                  <c:v>0.01</c:v>
                </c:pt>
                <c:pt idx="415">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Item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7ECAC4"/>
              </a:solidFill>
            </c:spPr>
            <c:extLst>
              <c:ext xmlns:c16="http://schemas.microsoft.com/office/drawing/2014/chart" uri="{C3380CC4-5D6E-409C-BE32-E72D297353CC}">
                <c16:uniqueId val="{0000007E-C76F-4230-900D-40618C09729F}"/>
              </c:ext>
            </c:extLst>
          </c:dPt>
          <c:dPt>
            <c:idx val="61"/>
            <c:invertIfNegative val="0"/>
            <c:bubble3D val="0"/>
            <c:spPr>
              <a:solidFill>
                <a:srgbClr val="7ECAC4"/>
              </a:solidFill>
            </c:spPr>
            <c:extLst>
              <c:ext xmlns:c16="http://schemas.microsoft.com/office/drawing/2014/chart" uri="{C3380CC4-5D6E-409C-BE32-E72D297353CC}">
                <c16:uniqueId val="{00000080-C76F-4230-900D-40618C09729F}"/>
              </c:ext>
            </c:extLst>
          </c:dPt>
          <c:dPt>
            <c:idx val="62"/>
            <c:invertIfNegative val="0"/>
            <c:bubble3D val="0"/>
            <c:spPr>
              <a:solidFill>
                <a:srgbClr val="7ECAC4"/>
              </a:solidFill>
            </c:spPr>
            <c:extLst>
              <c:ext xmlns:c16="http://schemas.microsoft.com/office/drawing/2014/chart" uri="{C3380CC4-5D6E-409C-BE32-E72D297353CC}">
                <c16:uniqueId val="{00000082-C76F-4230-900D-40618C09729F}"/>
              </c:ext>
            </c:extLst>
          </c:dPt>
          <c:dPt>
            <c:idx val="63"/>
            <c:invertIfNegative val="0"/>
            <c:bubble3D val="0"/>
            <c:spPr>
              <a:solidFill>
                <a:srgbClr val="7ECAC4"/>
              </a:solidFill>
            </c:spPr>
            <c:extLst>
              <c:ext xmlns:c16="http://schemas.microsoft.com/office/drawing/2014/chart" uri="{C3380CC4-5D6E-409C-BE32-E72D297353CC}">
                <c16:uniqueId val="{00000084-C76F-4230-900D-40618C09729F}"/>
              </c:ext>
            </c:extLst>
          </c:dPt>
          <c:dPt>
            <c:idx val="64"/>
            <c:invertIfNegative val="0"/>
            <c:bubble3D val="0"/>
            <c:spPr>
              <a:solidFill>
                <a:srgbClr val="7ECAC4"/>
              </a:solidFill>
            </c:spPr>
            <c:extLst>
              <c:ext xmlns:c16="http://schemas.microsoft.com/office/drawing/2014/chart" uri="{C3380CC4-5D6E-409C-BE32-E72D297353CC}">
                <c16:uniqueId val="{00000086-C76F-4230-900D-40618C09729F}"/>
              </c:ext>
            </c:extLst>
          </c:dPt>
          <c:dPt>
            <c:idx val="65"/>
            <c:invertIfNegative val="0"/>
            <c:bubble3D val="0"/>
            <c:spPr>
              <a:solidFill>
                <a:srgbClr val="7ECAC4"/>
              </a:solidFill>
            </c:spPr>
            <c:extLst>
              <c:ext xmlns:c16="http://schemas.microsoft.com/office/drawing/2014/chart" uri="{C3380CC4-5D6E-409C-BE32-E72D297353CC}">
                <c16:uniqueId val="{00000088-C76F-4230-900D-40618C09729F}"/>
              </c:ext>
            </c:extLst>
          </c:dPt>
          <c:dPt>
            <c:idx val="66"/>
            <c:invertIfNegative val="0"/>
            <c:bubble3D val="0"/>
            <c:spPr>
              <a:solidFill>
                <a:srgbClr val="7ECAC4"/>
              </a:solidFill>
            </c:spPr>
            <c:extLst>
              <c:ext xmlns:c16="http://schemas.microsoft.com/office/drawing/2014/chart" uri="{C3380CC4-5D6E-409C-BE32-E72D297353CC}">
                <c16:uniqueId val="{0000008A-C76F-4230-900D-40618C09729F}"/>
              </c:ext>
            </c:extLst>
          </c:dPt>
          <c:dPt>
            <c:idx val="67"/>
            <c:invertIfNegative val="0"/>
            <c:bubble3D val="0"/>
            <c:spPr>
              <a:solidFill>
                <a:srgbClr val="7ECAC4"/>
              </a:solidFill>
            </c:spPr>
            <c:extLst>
              <c:ext xmlns:c16="http://schemas.microsoft.com/office/drawing/2014/chart" uri="{C3380CC4-5D6E-409C-BE32-E72D297353CC}">
                <c16:uniqueId val="{0000008C-C76F-4230-900D-40618C09729F}"/>
              </c:ext>
            </c:extLst>
          </c:dPt>
          <c:dPt>
            <c:idx val="68"/>
            <c:invertIfNegative val="0"/>
            <c:bubble3D val="0"/>
            <c:spPr>
              <a:solidFill>
                <a:srgbClr val="7ECAC4"/>
              </a:solidFill>
            </c:spPr>
            <c:extLst>
              <c:ext xmlns:c16="http://schemas.microsoft.com/office/drawing/2014/chart" uri="{C3380CC4-5D6E-409C-BE32-E72D297353CC}">
                <c16:uniqueId val="{0000008E-C76F-4230-900D-40618C09729F}"/>
              </c:ext>
            </c:extLst>
          </c:dPt>
          <c:dPt>
            <c:idx val="69"/>
            <c:invertIfNegative val="0"/>
            <c:bubble3D val="0"/>
            <c:spPr>
              <a:solidFill>
                <a:srgbClr val="7ECAC4"/>
              </a:solidFill>
            </c:spPr>
            <c:extLst>
              <c:ext xmlns:c16="http://schemas.microsoft.com/office/drawing/2014/chart" uri="{C3380CC4-5D6E-409C-BE32-E72D297353CC}">
                <c16:uniqueId val="{00000090-C76F-4230-900D-40618C09729F}"/>
              </c:ext>
            </c:extLst>
          </c:dPt>
          <c:dPt>
            <c:idx val="70"/>
            <c:invertIfNegative val="0"/>
            <c:bubble3D val="0"/>
            <c:spPr>
              <a:solidFill>
                <a:srgbClr val="7ECAC4"/>
              </a:solidFill>
            </c:spPr>
            <c:extLst>
              <c:ext xmlns:c16="http://schemas.microsoft.com/office/drawing/2014/chart" uri="{C3380CC4-5D6E-409C-BE32-E72D297353CC}">
                <c16:uniqueId val="{00000092-C76F-4230-900D-40618C09729F}"/>
              </c:ext>
            </c:extLst>
          </c:dPt>
          <c:dPt>
            <c:idx val="71"/>
            <c:invertIfNegative val="0"/>
            <c:bubble3D val="0"/>
            <c:spPr>
              <a:solidFill>
                <a:srgbClr val="7ECAC4"/>
              </a:solidFill>
            </c:spPr>
            <c:extLst>
              <c:ext xmlns:c16="http://schemas.microsoft.com/office/drawing/2014/chart" uri="{C3380CC4-5D6E-409C-BE32-E72D297353CC}">
                <c16:uniqueId val="{00000094-C76F-4230-900D-40618C09729F}"/>
              </c:ext>
            </c:extLst>
          </c:dPt>
          <c:dPt>
            <c:idx val="72"/>
            <c:invertIfNegative val="0"/>
            <c:bubble3D val="0"/>
            <c:spPr>
              <a:solidFill>
                <a:srgbClr val="7ECAC4"/>
              </a:solidFill>
            </c:spPr>
            <c:extLst>
              <c:ext xmlns:c16="http://schemas.microsoft.com/office/drawing/2014/chart" uri="{C3380CC4-5D6E-409C-BE32-E72D297353CC}">
                <c16:uniqueId val="{00000096-C76F-4230-900D-40618C09729F}"/>
              </c:ext>
            </c:extLst>
          </c:dPt>
          <c:dPt>
            <c:idx val="73"/>
            <c:invertIfNegative val="0"/>
            <c:bubble3D val="0"/>
            <c:spPr>
              <a:solidFill>
                <a:srgbClr val="7ECAC4"/>
              </a:solidFill>
            </c:spPr>
            <c:extLst>
              <c:ext xmlns:c16="http://schemas.microsoft.com/office/drawing/2014/chart" uri="{C3380CC4-5D6E-409C-BE32-E72D297353CC}">
                <c16:uniqueId val="{00000098-C76F-4230-900D-40618C09729F}"/>
              </c:ext>
            </c:extLst>
          </c:dPt>
          <c:dPt>
            <c:idx val="74"/>
            <c:invertIfNegative val="0"/>
            <c:bubble3D val="0"/>
            <c:spPr>
              <a:solidFill>
                <a:srgbClr val="7ECAC4"/>
              </a:solidFill>
            </c:spPr>
            <c:extLst>
              <c:ext xmlns:c16="http://schemas.microsoft.com/office/drawing/2014/chart" uri="{C3380CC4-5D6E-409C-BE32-E72D297353CC}">
                <c16:uniqueId val="{0000009A-C76F-4230-900D-40618C09729F}"/>
              </c:ext>
            </c:extLst>
          </c:dPt>
          <c:dPt>
            <c:idx val="75"/>
            <c:invertIfNegative val="0"/>
            <c:bubble3D val="0"/>
            <c:spPr>
              <a:solidFill>
                <a:srgbClr val="7ECAC4"/>
              </a:solidFill>
            </c:spPr>
            <c:extLst>
              <c:ext xmlns:c16="http://schemas.microsoft.com/office/drawing/2014/chart" uri="{C3380CC4-5D6E-409C-BE32-E72D297353CC}">
                <c16:uniqueId val="{0000009C-C76F-4230-900D-40618C09729F}"/>
              </c:ext>
            </c:extLst>
          </c:dPt>
          <c:dPt>
            <c:idx val="76"/>
            <c:invertIfNegative val="0"/>
            <c:bubble3D val="0"/>
            <c:spPr>
              <a:solidFill>
                <a:srgbClr val="7ECAC4"/>
              </a:solidFill>
            </c:spPr>
            <c:extLst>
              <c:ext xmlns:c16="http://schemas.microsoft.com/office/drawing/2014/chart" uri="{C3380CC4-5D6E-409C-BE32-E72D297353CC}">
                <c16:uniqueId val="{0000009E-C76F-4230-900D-40618C09729F}"/>
              </c:ext>
            </c:extLst>
          </c:dPt>
          <c:dPt>
            <c:idx val="77"/>
            <c:invertIfNegative val="0"/>
            <c:bubble3D val="0"/>
            <c:spPr>
              <a:solidFill>
                <a:srgbClr val="7ECAC4"/>
              </a:solidFill>
            </c:spPr>
            <c:extLst>
              <c:ext xmlns:c16="http://schemas.microsoft.com/office/drawing/2014/chart" uri="{C3380CC4-5D6E-409C-BE32-E72D297353CC}">
                <c16:uniqueId val="{000000A0-C76F-4230-900D-40618C09729F}"/>
              </c:ext>
            </c:extLst>
          </c:dPt>
          <c:dPt>
            <c:idx val="78"/>
            <c:invertIfNegative val="0"/>
            <c:bubble3D val="0"/>
            <c:spPr>
              <a:solidFill>
                <a:srgbClr val="7ECAC4"/>
              </a:solidFill>
            </c:spPr>
            <c:extLst>
              <c:ext xmlns:c16="http://schemas.microsoft.com/office/drawing/2014/chart" uri="{C3380CC4-5D6E-409C-BE32-E72D297353CC}">
                <c16:uniqueId val="{000000A2-C76F-4230-900D-40618C09729F}"/>
              </c:ext>
            </c:extLst>
          </c:dPt>
          <c:dPt>
            <c:idx val="79"/>
            <c:invertIfNegative val="0"/>
            <c:bubble3D val="0"/>
            <c:spPr>
              <a:solidFill>
                <a:srgbClr val="7ECAC4"/>
              </a:solidFill>
            </c:spPr>
            <c:extLst>
              <c:ext xmlns:c16="http://schemas.microsoft.com/office/drawing/2014/chart" uri="{C3380CC4-5D6E-409C-BE32-E72D297353CC}">
                <c16:uniqueId val="{000000A4-C76F-4230-900D-40618C09729F}"/>
              </c:ext>
            </c:extLst>
          </c:dPt>
          <c:dPt>
            <c:idx val="80"/>
            <c:invertIfNegative val="0"/>
            <c:bubble3D val="0"/>
            <c:spPr>
              <a:solidFill>
                <a:srgbClr val="7ECAC4"/>
              </a:solidFill>
            </c:spPr>
            <c:extLst>
              <c:ext xmlns:c16="http://schemas.microsoft.com/office/drawing/2014/chart" uri="{C3380CC4-5D6E-409C-BE32-E72D297353CC}">
                <c16:uniqueId val="{000000A6-C76F-4230-900D-40618C09729F}"/>
              </c:ext>
            </c:extLst>
          </c:dPt>
          <c:dPt>
            <c:idx val="81"/>
            <c:invertIfNegative val="1"/>
            <c:bubble3D val="0"/>
            <c:spPr>
              <a:solidFill>
                <a:srgbClr val="7ECAC4"/>
              </a:solidFill>
            </c:spPr>
            <c:extLst>
              <c:ext xmlns:c16="http://schemas.microsoft.com/office/drawing/2014/chart" uri="{C3380CC4-5D6E-409C-BE32-E72D297353CC}">
                <c16:uniqueId val="{000000A5-2993-41DE-A2CB-63102DE87051}"/>
              </c:ext>
            </c:extLst>
          </c:dPt>
          <c:dPt>
            <c:idx val="82"/>
            <c:invertIfNegative val="1"/>
            <c:bubble3D val="0"/>
            <c:spPr>
              <a:solidFill>
                <a:srgbClr val="7ECAC4"/>
              </a:solidFill>
            </c:spPr>
            <c:extLst>
              <c:ext xmlns:c16="http://schemas.microsoft.com/office/drawing/2014/chart" uri="{C3380CC4-5D6E-409C-BE32-E72D297353CC}">
                <c16:uniqueId val="{000000A7-2993-41DE-A2CB-63102DE87051}"/>
              </c:ext>
            </c:extLst>
          </c:dPt>
          <c:dPt>
            <c:idx val="83"/>
            <c:invertIfNegative val="1"/>
            <c:bubble3D val="0"/>
            <c:spPr>
              <a:solidFill>
                <a:srgbClr val="7ECAC4"/>
              </a:solidFill>
            </c:spPr>
            <c:extLst>
              <c:ext xmlns:c16="http://schemas.microsoft.com/office/drawing/2014/chart" uri="{C3380CC4-5D6E-409C-BE32-E72D297353CC}">
                <c16:uniqueId val="{000000A9-2993-41DE-A2CB-63102DE87051}"/>
              </c:ext>
            </c:extLst>
          </c:dPt>
          <c:dPt>
            <c:idx val="84"/>
            <c:invertIfNegative val="1"/>
            <c:bubble3D val="0"/>
            <c:spPr>
              <a:solidFill>
                <a:srgbClr val="7ECAC4"/>
              </a:solidFill>
            </c:spPr>
            <c:extLst>
              <c:ext xmlns:c16="http://schemas.microsoft.com/office/drawing/2014/chart" uri="{C3380CC4-5D6E-409C-BE32-E72D297353CC}">
                <c16:uniqueId val="{000000AB-2993-41DE-A2CB-63102DE87051}"/>
              </c:ext>
            </c:extLst>
          </c:dPt>
          <c:dPt>
            <c:idx val="85"/>
            <c:invertIfNegative val="1"/>
            <c:bubble3D val="0"/>
            <c:spPr>
              <a:solidFill>
                <a:srgbClr val="7ECAC4"/>
              </a:solidFill>
            </c:spPr>
            <c:extLst>
              <c:ext xmlns:c16="http://schemas.microsoft.com/office/drawing/2014/chart" uri="{C3380CC4-5D6E-409C-BE32-E72D297353CC}">
                <c16:uniqueId val="{000000AD-2993-41DE-A2CB-63102DE87051}"/>
              </c:ext>
            </c:extLst>
          </c:dPt>
          <c:dPt>
            <c:idx val="86"/>
            <c:invertIfNegative val="1"/>
            <c:bubble3D val="0"/>
            <c:spPr>
              <a:solidFill>
                <a:srgbClr val="7ECAC4"/>
              </a:solidFill>
            </c:spPr>
            <c:extLst>
              <c:ext xmlns:c16="http://schemas.microsoft.com/office/drawing/2014/chart" uri="{C3380CC4-5D6E-409C-BE32-E72D297353CC}">
                <c16:uniqueId val="{000000AF-2993-41DE-A2CB-63102DE87051}"/>
              </c:ext>
            </c:extLst>
          </c:dPt>
          <c:dPt>
            <c:idx val="87"/>
            <c:invertIfNegative val="1"/>
            <c:bubble3D val="0"/>
            <c:spPr>
              <a:solidFill>
                <a:srgbClr val="7ECAC4"/>
              </a:solidFill>
            </c:spPr>
            <c:extLst>
              <c:ext xmlns:c16="http://schemas.microsoft.com/office/drawing/2014/chart" uri="{C3380CC4-5D6E-409C-BE32-E72D297353CC}">
                <c16:uniqueId val="{000000B1-2993-41DE-A2CB-63102DE87051}"/>
              </c:ext>
            </c:extLst>
          </c:dPt>
          <c:dPt>
            <c:idx val="88"/>
            <c:invertIfNegative val="1"/>
            <c:bubble3D val="0"/>
            <c:spPr>
              <a:solidFill>
                <a:srgbClr val="7ECAC4"/>
              </a:solidFill>
            </c:spPr>
            <c:extLst>
              <c:ext xmlns:c16="http://schemas.microsoft.com/office/drawing/2014/chart" uri="{C3380CC4-5D6E-409C-BE32-E72D297353CC}">
                <c16:uniqueId val="{000000B3-2993-41DE-A2CB-63102DE87051}"/>
              </c:ext>
            </c:extLst>
          </c:dPt>
          <c:dPt>
            <c:idx val="89"/>
            <c:invertIfNegative val="1"/>
            <c:bubble3D val="0"/>
            <c:spPr>
              <a:solidFill>
                <a:srgbClr val="7ECAC4"/>
              </a:solidFill>
            </c:spPr>
            <c:extLst>
              <c:ext xmlns:c16="http://schemas.microsoft.com/office/drawing/2014/chart" uri="{C3380CC4-5D6E-409C-BE32-E72D297353CC}">
                <c16:uniqueId val="{000000B5-2993-41DE-A2CB-63102DE87051}"/>
              </c:ext>
            </c:extLst>
          </c:dPt>
          <c:dPt>
            <c:idx val="90"/>
            <c:invertIfNegative val="1"/>
            <c:bubble3D val="0"/>
            <c:spPr>
              <a:solidFill>
                <a:srgbClr val="7ECAC4"/>
              </a:solidFill>
            </c:spPr>
            <c:extLst>
              <c:ext xmlns:c16="http://schemas.microsoft.com/office/drawing/2014/chart" uri="{C3380CC4-5D6E-409C-BE32-E72D297353CC}">
                <c16:uniqueId val="{000000B7-2993-41DE-A2CB-63102DE87051}"/>
              </c:ext>
            </c:extLst>
          </c:dPt>
          <c:dPt>
            <c:idx val="91"/>
            <c:invertIfNegative val="1"/>
            <c:bubble3D val="0"/>
            <c:spPr>
              <a:solidFill>
                <a:srgbClr val="7ECAC4"/>
              </a:solidFill>
            </c:spPr>
            <c:extLst>
              <c:ext xmlns:c16="http://schemas.microsoft.com/office/drawing/2014/chart" uri="{C3380CC4-5D6E-409C-BE32-E72D297353CC}">
                <c16:uniqueId val="{000000B9-2993-41DE-A2CB-63102DE87051}"/>
              </c:ext>
            </c:extLst>
          </c:dPt>
          <c:dPt>
            <c:idx val="92"/>
            <c:invertIfNegative val="1"/>
            <c:bubble3D val="0"/>
            <c:spPr>
              <a:solidFill>
                <a:srgbClr val="7ECAC4"/>
              </a:solidFill>
            </c:spPr>
            <c:extLst>
              <c:ext xmlns:c16="http://schemas.microsoft.com/office/drawing/2014/chart" uri="{C3380CC4-5D6E-409C-BE32-E72D297353CC}">
                <c16:uniqueId val="{000000BB-2993-41DE-A2CB-63102DE87051}"/>
              </c:ext>
            </c:extLst>
          </c:dPt>
          <c:dPt>
            <c:idx val="93"/>
            <c:invertIfNegative val="1"/>
            <c:bubble3D val="0"/>
            <c:spPr>
              <a:solidFill>
                <a:srgbClr val="7ECAC4"/>
              </a:solidFill>
            </c:spPr>
            <c:extLst>
              <c:ext xmlns:c16="http://schemas.microsoft.com/office/drawing/2014/chart" uri="{C3380CC4-5D6E-409C-BE32-E72D297353CC}">
                <c16:uniqueId val="{000000BD-2993-41DE-A2CB-63102DE87051}"/>
              </c:ext>
            </c:extLst>
          </c:dPt>
          <c:dPt>
            <c:idx val="94"/>
            <c:invertIfNegative val="1"/>
            <c:bubble3D val="0"/>
            <c:spPr>
              <a:solidFill>
                <a:srgbClr val="7ECAC4"/>
              </a:solidFill>
            </c:spPr>
            <c:extLst>
              <c:ext xmlns:c16="http://schemas.microsoft.com/office/drawing/2014/chart" uri="{C3380CC4-5D6E-409C-BE32-E72D297353CC}">
                <c16:uniqueId val="{000000BF-2993-41DE-A2CB-63102DE87051}"/>
              </c:ext>
            </c:extLst>
          </c:dPt>
          <c:dPt>
            <c:idx val="95"/>
            <c:invertIfNegative val="1"/>
            <c:bubble3D val="0"/>
            <c:spPr>
              <a:solidFill>
                <a:srgbClr val="7ECAC4"/>
              </a:solidFill>
            </c:spPr>
            <c:extLst>
              <c:ext xmlns:c16="http://schemas.microsoft.com/office/drawing/2014/chart" uri="{C3380CC4-5D6E-409C-BE32-E72D297353CC}">
                <c16:uniqueId val="{000000C1-2993-41DE-A2CB-63102DE87051}"/>
              </c:ext>
            </c:extLst>
          </c:dPt>
          <c:dPt>
            <c:idx val="96"/>
            <c:invertIfNegative val="1"/>
            <c:bubble3D val="0"/>
            <c:spPr>
              <a:solidFill>
                <a:srgbClr val="7ECAC4"/>
              </a:solidFill>
            </c:spPr>
            <c:extLst>
              <c:ext xmlns:c16="http://schemas.microsoft.com/office/drawing/2014/chart" uri="{C3380CC4-5D6E-409C-BE32-E72D297353CC}">
                <c16:uniqueId val="{000000C3-2993-41DE-A2CB-63102DE87051}"/>
              </c:ext>
            </c:extLst>
          </c:dPt>
          <c:dPt>
            <c:idx val="97"/>
            <c:invertIfNegative val="1"/>
            <c:bubble3D val="0"/>
            <c:spPr>
              <a:solidFill>
                <a:srgbClr val="7ECAC4"/>
              </a:solidFill>
            </c:spPr>
            <c:extLst>
              <c:ext xmlns:c16="http://schemas.microsoft.com/office/drawing/2014/chart" uri="{C3380CC4-5D6E-409C-BE32-E72D297353CC}">
                <c16:uniqueId val="{000000C5-2993-41DE-A2CB-63102DE87051}"/>
              </c:ext>
            </c:extLst>
          </c:dPt>
          <c:dPt>
            <c:idx val="98"/>
            <c:invertIfNegative val="1"/>
            <c:bubble3D val="0"/>
            <c:spPr>
              <a:solidFill>
                <a:srgbClr val="7ECAC4"/>
              </a:solidFill>
            </c:spPr>
            <c:extLst>
              <c:ext xmlns:c16="http://schemas.microsoft.com/office/drawing/2014/chart" uri="{C3380CC4-5D6E-409C-BE32-E72D297353CC}">
                <c16:uniqueId val="{000000C7-2993-41DE-A2CB-63102DE87051}"/>
              </c:ext>
            </c:extLst>
          </c:dPt>
          <c:dPt>
            <c:idx val="99"/>
            <c:invertIfNegative val="1"/>
            <c:bubble3D val="0"/>
            <c:spPr>
              <a:solidFill>
                <a:srgbClr val="7ECAC4"/>
              </a:solidFill>
            </c:spPr>
            <c:extLst>
              <c:ext xmlns:c16="http://schemas.microsoft.com/office/drawing/2014/chart" uri="{C3380CC4-5D6E-409C-BE32-E72D297353CC}">
                <c16:uniqueId val="{000000C9-2993-41DE-A2CB-63102DE87051}"/>
              </c:ext>
            </c:extLst>
          </c:dPt>
          <c:dPt>
            <c:idx val="100"/>
            <c:invertIfNegative val="1"/>
            <c:bubble3D val="0"/>
            <c:spPr>
              <a:solidFill>
                <a:srgbClr val="7ECAC4"/>
              </a:solidFill>
            </c:spPr>
            <c:extLst>
              <c:ext xmlns:c16="http://schemas.microsoft.com/office/drawing/2014/chart" uri="{C3380CC4-5D6E-409C-BE32-E72D297353CC}">
                <c16:uniqueId val="{000000CB-2993-41DE-A2CB-63102DE87051}"/>
              </c:ext>
            </c:extLst>
          </c:dPt>
          <c:dPt>
            <c:idx val="101"/>
            <c:invertIfNegative val="1"/>
            <c:bubble3D val="0"/>
            <c:spPr>
              <a:solidFill>
                <a:srgbClr val="7ECAC4"/>
              </a:solidFill>
            </c:spPr>
            <c:extLst>
              <c:ext xmlns:c16="http://schemas.microsoft.com/office/drawing/2014/chart" uri="{C3380CC4-5D6E-409C-BE32-E72D297353CC}">
                <c16:uniqueId val="{000000CD-2993-41DE-A2CB-63102DE87051}"/>
              </c:ext>
            </c:extLst>
          </c:dPt>
          <c:dPt>
            <c:idx val="102"/>
            <c:invertIfNegative val="1"/>
            <c:bubble3D val="0"/>
            <c:spPr>
              <a:solidFill>
                <a:srgbClr val="7ECAC4"/>
              </a:solidFill>
            </c:spPr>
            <c:extLst>
              <c:ext xmlns:c16="http://schemas.microsoft.com/office/drawing/2014/chart" uri="{C3380CC4-5D6E-409C-BE32-E72D297353CC}">
                <c16:uniqueId val="{000000CF-2993-41DE-A2CB-63102DE87051}"/>
              </c:ext>
            </c:extLst>
          </c:dPt>
          <c:dPt>
            <c:idx val="103"/>
            <c:invertIfNegative val="1"/>
            <c:bubble3D val="0"/>
            <c:spPr>
              <a:solidFill>
                <a:srgbClr val="7ECAC4"/>
              </a:solidFill>
            </c:spPr>
            <c:extLst>
              <c:ext xmlns:c16="http://schemas.microsoft.com/office/drawing/2014/chart" uri="{C3380CC4-5D6E-409C-BE32-E72D297353CC}">
                <c16:uniqueId val="{000000D1-2993-41DE-A2CB-63102DE87051}"/>
              </c:ext>
            </c:extLst>
          </c:dPt>
          <c:dPt>
            <c:idx val="104"/>
            <c:invertIfNegative val="1"/>
            <c:bubble3D val="0"/>
            <c:spPr>
              <a:solidFill>
                <a:srgbClr val="7ECAC4"/>
              </a:solidFill>
            </c:spPr>
            <c:extLst>
              <c:ext xmlns:c16="http://schemas.microsoft.com/office/drawing/2014/chart" uri="{C3380CC4-5D6E-409C-BE32-E72D297353CC}">
                <c16:uniqueId val="{000000D3-2993-41DE-A2CB-63102DE87051}"/>
              </c:ext>
            </c:extLst>
          </c:dPt>
          <c:dPt>
            <c:idx val="105"/>
            <c:invertIfNegative val="1"/>
            <c:bubble3D val="0"/>
            <c:spPr>
              <a:solidFill>
                <a:srgbClr val="7ECAC4"/>
              </a:solidFill>
            </c:spPr>
            <c:extLst>
              <c:ext xmlns:c16="http://schemas.microsoft.com/office/drawing/2014/chart" uri="{C3380CC4-5D6E-409C-BE32-E72D297353CC}">
                <c16:uniqueId val="{000000D5-2993-41DE-A2CB-63102DE87051}"/>
              </c:ext>
            </c:extLst>
          </c:dPt>
          <c:dPt>
            <c:idx val="106"/>
            <c:invertIfNegative val="1"/>
            <c:bubble3D val="0"/>
            <c:spPr>
              <a:solidFill>
                <a:srgbClr val="7ECAC4"/>
              </a:solidFill>
            </c:spPr>
            <c:extLst>
              <c:ext xmlns:c16="http://schemas.microsoft.com/office/drawing/2014/chart" uri="{C3380CC4-5D6E-409C-BE32-E72D297353CC}">
                <c16:uniqueId val="{000000D7-2993-41DE-A2CB-63102DE87051}"/>
              </c:ext>
            </c:extLst>
          </c:dPt>
          <c:dPt>
            <c:idx val="107"/>
            <c:invertIfNegative val="1"/>
            <c:bubble3D val="0"/>
            <c:spPr>
              <a:solidFill>
                <a:srgbClr val="7ECAC4"/>
              </a:solidFill>
            </c:spPr>
            <c:extLst>
              <c:ext xmlns:c16="http://schemas.microsoft.com/office/drawing/2014/chart" uri="{C3380CC4-5D6E-409C-BE32-E72D297353CC}">
                <c16:uniqueId val="{000000D9-2993-41DE-A2CB-63102DE87051}"/>
              </c:ext>
            </c:extLst>
          </c:dPt>
          <c:dPt>
            <c:idx val="108"/>
            <c:invertIfNegative val="1"/>
            <c:bubble3D val="0"/>
            <c:spPr>
              <a:solidFill>
                <a:srgbClr val="7ECAC4"/>
              </a:solidFill>
            </c:spPr>
            <c:extLst>
              <c:ext xmlns:c16="http://schemas.microsoft.com/office/drawing/2014/chart" uri="{C3380CC4-5D6E-409C-BE32-E72D297353CC}">
                <c16:uniqueId val="{000000DB-2993-41DE-A2CB-63102DE87051}"/>
              </c:ext>
            </c:extLst>
          </c:dPt>
          <c:dPt>
            <c:idx val="109"/>
            <c:invertIfNegative val="1"/>
            <c:bubble3D val="0"/>
            <c:spPr>
              <a:solidFill>
                <a:srgbClr val="7ECAC4"/>
              </a:solidFill>
            </c:spPr>
            <c:extLst>
              <c:ext xmlns:c16="http://schemas.microsoft.com/office/drawing/2014/chart" uri="{C3380CC4-5D6E-409C-BE32-E72D297353CC}">
                <c16:uniqueId val="{000000DD-2993-41DE-A2CB-63102DE87051}"/>
              </c:ext>
            </c:extLst>
          </c:dPt>
          <c:dPt>
            <c:idx val="110"/>
            <c:invertIfNegative val="1"/>
            <c:bubble3D val="0"/>
            <c:spPr>
              <a:solidFill>
                <a:srgbClr val="7ECAC4"/>
              </a:solidFill>
            </c:spPr>
            <c:extLst>
              <c:ext xmlns:c16="http://schemas.microsoft.com/office/drawing/2014/chart" uri="{C3380CC4-5D6E-409C-BE32-E72D297353CC}">
                <c16:uniqueId val="{000000DF-2993-41DE-A2CB-63102DE87051}"/>
              </c:ext>
            </c:extLst>
          </c:dPt>
          <c:dPt>
            <c:idx val="111"/>
            <c:invertIfNegative val="1"/>
            <c:bubble3D val="0"/>
            <c:spPr>
              <a:solidFill>
                <a:srgbClr val="7ECAC4"/>
              </a:solidFill>
            </c:spPr>
            <c:extLst>
              <c:ext xmlns:c16="http://schemas.microsoft.com/office/drawing/2014/chart" uri="{C3380CC4-5D6E-409C-BE32-E72D297353CC}">
                <c16:uniqueId val="{000000E1-2993-41DE-A2CB-63102DE87051}"/>
              </c:ext>
            </c:extLst>
          </c:dPt>
          <c:dPt>
            <c:idx val="112"/>
            <c:invertIfNegative val="1"/>
            <c:bubble3D val="0"/>
            <c:spPr>
              <a:solidFill>
                <a:srgbClr val="7ECAC4"/>
              </a:solidFill>
            </c:spPr>
            <c:extLst>
              <c:ext xmlns:c16="http://schemas.microsoft.com/office/drawing/2014/chart" uri="{C3380CC4-5D6E-409C-BE32-E72D297353CC}">
                <c16:uniqueId val="{000000E3-2993-41DE-A2CB-63102DE87051}"/>
              </c:ext>
            </c:extLst>
          </c:dPt>
          <c:dPt>
            <c:idx val="113"/>
            <c:invertIfNegative val="1"/>
            <c:bubble3D val="0"/>
            <c:spPr>
              <a:solidFill>
                <a:srgbClr val="7ECAC4"/>
              </a:solidFill>
            </c:spPr>
            <c:extLst>
              <c:ext xmlns:c16="http://schemas.microsoft.com/office/drawing/2014/chart" uri="{C3380CC4-5D6E-409C-BE32-E72D297353CC}">
                <c16:uniqueId val="{000000E5-2993-41DE-A2CB-63102DE87051}"/>
              </c:ext>
            </c:extLst>
          </c:dPt>
          <c:dPt>
            <c:idx val="114"/>
            <c:invertIfNegative val="1"/>
            <c:bubble3D val="0"/>
            <c:spPr>
              <a:solidFill>
                <a:srgbClr val="7ECAC4"/>
              </a:solidFill>
            </c:spPr>
            <c:extLst>
              <c:ext xmlns:c16="http://schemas.microsoft.com/office/drawing/2014/chart" uri="{C3380CC4-5D6E-409C-BE32-E72D297353CC}">
                <c16:uniqueId val="{000000E7-2993-41DE-A2CB-63102DE87051}"/>
              </c:ext>
            </c:extLst>
          </c:dPt>
          <c:dPt>
            <c:idx val="115"/>
            <c:invertIfNegative val="1"/>
            <c:bubble3D val="0"/>
            <c:spPr>
              <a:solidFill>
                <a:srgbClr val="7ECAC4"/>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AEABAB"/>
              </a:solidFill>
            </c:spPr>
            <c:extLst>
              <c:ext xmlns:c16="http://schemas.microsoft.com/office/drawing/2014/chart" uri="{C3380CC4-5D6E-409C-BE32-E72D297353CC}">
                <c16:uniqueId val="{00000115-2993-41DE-A2CB-63102DE87051}"/>
              </c:ext>
            </c:extLst>
          </c:dPt>
          <c:dPt>
            <c:idx val="138"/>
            <c:invertIfNegative val="1"/>
            <c:bubble3D val="0"/>
            <c:spPr>
              <a:solidFill>
                <a:srgbClr val="AEABAB"/>
              </a:solidFill>
            </c:spPr>
            <c:extLst>
              <c:ext xmlns:c16="http://schemas.microsoft.com/office/drawing/2014/chart" uri="{C3380CC4-5D6E-409C-BE32-E72D297353CC}">
                <c16:uniqueId val="{00000117-2993-41DE-A2CB-63102DE87051}"/>
              </c:ext>
            </c:extLst>
          </c:dPt>
          <c:dPt>
            <c:idx val="139"/>
            <c:invertIfNegative val="1"/>
            <c:bubble3D val="0"/>
            <c:spPr>
              <a:solidFill>
                <a:srgbClr val="AEABAB"/>
              </a:solidFill>
            </c:spPr>
            <c:extLst>
              <c:ext xmlns:c16="http://schemas.microsoft.com/office/drawing/2014/chart" uri="{C3380CC4-5D6E-409C-BE32-E72D297353CC}">
                <c16:uniqueId val="{00000119-2993-41DE-A2CB-63102DE87051}"/>
              </c:ext>
            </c:extLst>
          </c:dPt>
          <c:dPt>
            <c:idx val="140"/>
            <c:invertIfNegative val="1"/>
            <c:bubble3D val="0"/>
            <c:spPr>
              <a:solidFill>
                <a:srgbClr val="AEABAB"/>
              </a:solidFill>
            </c:spPr>
            <c:extLst>
              <c:ext xmlns:c16="http://schemas.microsoft.com/office/drawing/2014/chart" uri="{C3380CC4-5D6E-409C-BE32-E72D297353CC}">
                <c16:uniqueId val="{0000011B-2993-41DE-A2CB-63102DE87051}"/>
              </c:ext>
            </c:extLst>
          </c:dPt>
          <c:dPt>
            <c:idx val="141"/>
            <c:invertIfNegative val="1"/>
            <c:bubble3D val="0"/>
            <c:spPr>
              <a:solidFill>
                <a:srgbClr val="AEABAB"/>
              </a:solidFill>
            </c:spPr>
            <c:extLst>
              <c:ext xmlns:c16="http://schemas.microsoft.com/office/drawing/2014/chart" uri="{C3380CC4-5D6E-409C-BE32-E72D297353CC}">
                <c16:uniqueId val="{0000011D-2993-41DE-A2CB-63102DE87051}"/>
              </c:ext>
            </c:extLst>
          </c:dPt>
          <c:dPt>
            <c:idx val="142"/>
            <c:invertIfNegative val="1"/>
            <c:bubble3D val="0"/>
            <c:spPr>
              <a:solidFill>
                <a:srgbClr val="AEABAB"/>
              </a:solidFill>
            </c:spPr>
            <c:extLst>
              <c:ext xmlns:c16="http://schemas.microsoft.com/office/drawing/2014/chart" uri="{C3380CC4-5D6E-409C-BE32-E72D297353CC}">
                <c16:uniqueId val="{0000011F-2993-41DE-A2CB-63102DE87051}"/>
              </c:ext>
            </c:extLst>
          </c:dPt>
          <c:dPt>
            <c:idx val="143"/>
            <c:invertIfNegative val="1"/>
            <c:bubble3D val="0"/>
            <c:spPr>
              <a:solidFill>
                <a:srgbClr val="AEABAB"/>
              </a:solidFill>
            </c:spPr>
            <c:extLst>
              <c:ext xmlns:c16="http://schemas.microsoft.com/office/drawing/2014/chart" uri="{C3380CC4-5D6E-409C-BE32-E72D297353CC}">
                <c16:uniqueId val="{00000121-2993-41DE-A2CB-63102DE87051}"/>
              </c:ext>
            </c:extLst>
          </c:dPt>
          <c:dPt>
            <c:idx val="144"/>
            <c:invertIfNegative val="1"/>
            <c:bubble3D val="0"/>
            <c:spPr>
              <a:solidFill>
                <a:srgbClr val="AEABAB"/>
              </a:solidFill>
            </c:spPr>
            <c:extLst>
              <c:ext xmlns:c16="http://schemas.microsoft.com/office/drawing/2014/chart" uri="{C3380CC4-5D6E-409C-BE32-E72D297353CC}">
                <c16:uniqueId val="{00000123-2993-41DE-A2CB-63102DE87051}"/>
              </c:ext>
            </c:extLst>
          </c:dPt>
          <c:dPt>
            <c:idx val="145"/>
            <c:invertIfNegative val="1"/>
            <c:bubble3D val="0"/>
            <c:spPr>
              <a:solidFill>
                <a:srgbClr val="AEABAB"/>
              </a:solidFill>
            </c:spPr>
            <c:extLst>
              <c:ext xmlns:c16="http://schemas.microsoft.com/office/drawing/2014/chart" uri="{C3380CC4-5D6E-409C-BE32-E72D297353CC}">
                <c16:uniqueId val="{00000125-2993-41DE-A2CB-63102DE87051}"/>
              </c:ext>
            </c:extLst>
          </c:dPt>
          <c:dPt>
            <c:idx val="146"/>
            <c:invertIfNegative val="1"/>
            <c:bubble3D val="0"/>
            <c:spPr>
              <a:solidFill>
                <a:srgbClr val="AEABAB"/>
              </a:solidFill>
            </c:spPr>
            <c:extLst>
              <c:ext xmlns:c16="http://schemas.microsoft.com/office/drawing/2014/chart" uri="{C3380CC4-5D6E-409C-BE32-E72D297353CC}">
                <c16:uniqueId val="{00000127-2993-41DE-A2CB-63102DE87051}"/>
              </c:ext>
            </c:extLst>
          </c:dPt>
          <c:dPt>
            <c:idx val="147"/>
            <c:invertIfNegative val="1"/>
            <c:bubble3D val="0"/>
            <c:spPr>
              <a:solidFill>
                <a:srgbClr val="AEABAB"/>
              </a:solidFill>
            </c:spPr>
            <c:extLst>
              <c:ext xmlns:c16="http://schemas.microsoft.com/office/drawing/2014/chart" uri="{C3380CC4-5D6E-409C-BE32-E72D297353CC}">
                <c16:uniqueId val="{00000129-2993-41DE-A2CB-63102DE87051}"/>
              </c:ext>
            </c:extLst>
          </c:dPt>
          <c:dPt>
            <c:idx val="148"/>
            <c:invertIfNegative val="1"/>
            <c:bubble3D val="0"/>
            <c:spPr>
              <a:solidFill>
                <a:srgbClr val="AEABAB"/>
              </a:solidFill>
            </c:spPr>
            <c:extLst>
              <c:ext xmlns:c16="http://schemas.microsoft.com/office/drawing/2014/chart" uri="{C3380CC4-5D6E-409C-BE32-E72D297353CC}">
                <c16:uniqueId val="{0000012B-2993-41DE-A2CB-63102DE87051}"/>
              </c:ext>
            </c:extLst>
          </c:dPt>
          <c:dPt>
            <c:idx val="149"/>
            <c:invertIfNegative val="1"/>
            <c:bubble3D val="0"/>
            <c:spPr>
              <a:solidFill>
                <a:srgbClr val="AEABAB"/>
              </a:solidFill>
            </c:spPr>
            <c:extLst>
              <c:ext xmlns:c16="http://schemas.microsoft.com/office/drawing/2014/chart" uri="{C3380CC4-5D6E-409C-BE32-E72D297353CC}">
                <c16:uniqueId val="{0000012D-2993-41DE-A2CB-63102DE87051}"/>
              </c:ext>
            </c:extLst>
          </c:dPt>
          <c:dPt>
            <c:idx val="150"/>
            <c:invertIfNegative val="1"/>
            <c:bubble3D val="0"/>
            <c:spPr>
              <a:solidFill>
                <a:srgbClr val="AEABAB"/>
              </a:solidFill>
            </c:spPr>
            <c:extLst>
              <c:ext xmlns:c16="http://schemas.microsoft.com/office/drawing/2014/chart" uri="{C3380CC4-5D6E-409C-BE32-E72D297353CC}">
                <c16:uniqueId val="{0000012F-2993-41DE-A2CB-63102DE87051}"/>
              </c:ext>
            </c:extLst>
          </c:dPt>
          <c:dPt>
            <c:idx val="151"/>
            <c:invertIfNegative val="1"/>
            <c:bubble3D val="0"/>
            <c:spPr>
              <a:solidFill>
                <a:srgbClr val="AEABAB"/>
              </a:solidFill>
            </c:spPr>
            <c:extLst>
              <c:ext xmlns:c16="http://schemas.microsoft.com/office/drawing/2014/chart" uri="{C3380CC4-5D6E-409C-BE32-E72D297353CC}">
                <c16:uniqueId val="{00000131-2993-41DE-A2CB-63102DE87051}"/>
              </c:ext>
            </c:extLst>
          </c:dPt>
          <c:dPt>
            <c:idx val="152"/>
            <c:invertIfNegative val="1"/>
            <c:bubble3D val="0"/>
            <c:spPr>
              <a:solidFill>
                <a:srgbClr val="AEABAB"/>
              </a:solidFill>
            </c:spPr>
            <c:extLst>
              <c:ext xmlns:c16="http://schemas.microsoft.com/office/drawing/2014/chart" uri="{C3380CC4-5D6E-409C-BE32-E72D297353CC}">
                <c16:uniqueId val="{00000133-2993-41DE-A2CB-63102DE87051}"/>
              </c:ext>
            </c:extLst>
          </c:dPt>
          <c:dPt>
            <c:idx val="153"/>
            <c:invertIfNegative val="1"/>
            <c:bubble3D val="0"/>
            <c:spPr>
              <a:solidFill>
                <a:srgbClr val="AEABAB"/>
              </a:solidFill>
            </c:spPr>
            <c:extLst>
              <c:ext xmlns:c16="http://schemas.microsoft.com/office/drawing/2014/chart" uri="{C3380CC4-5D6E-409C-BE32-E72D297353CC}">
                <c16:uniqueId val="{00000135-2993-41DE-A2CB-63102DE87051}"/>
              </c:ext>
            </c:extLst>
          </c:dPt>
          <c:dPt>
            <c:idx val="154"/>
            <c:invertIfNegative val="1"/>
            <c:bubble3D val="0"/>
            <c:spPr>
              <a:solidFill>
                <a:srgbClr val="AEABAB"/>
              </a:solidFill>
            </c:spPr>
            <c:extLst>
              <c:ext xmlns:c16="http://schemas.microsoft.com/office/drawing/2014/chart" uri="{C3380CC4-5D6E-409C-BE32-E72D297353CC}">
                <c16:uniqueId val="{00000137-2993-41DE-A2CB-63102DE87051}"/>
              </c:ext>
            </c:extLst>
          </c:dPt>
          <c:dPt>
            <c:idx val="155"/>
            <c:invertIfNegative val="1"/>
            <c:bubble3D val="0"/>
            <c:spPr>
              <a:solidFill>
                <a:srgbClr val="AEABAB"/>
              </a:solidFill>
            </c:spPr>
            <c:extLst>
              <c:ext xmlns:c16="http://schemas.microsoft.com/office/drawing/2014/chart" uri="{C3380CC4-5D6E-409C-BE32-E72D297353CC}">
                <c16:uniqueId val="{00000139-2993-41DE-A2CB-63102DE87051}"/>
              </c:ext>
            </c:extLst>
          </c:dPt>
          <c:dPt>
            <c:idx val="156"/>
            <c:invertIfNegative val="1"/>
            <c:bubble3D val="0"/>
            <c:spPr>
              <a:solidFill>
                <a:srgbClr val="AEABAB"/>
              </a:solidFill>
            </c:spPr>
            <c:extLst>
              <c:ext xmlns:c16="http://schemas.microsoft.com/office/drawing/2014/chart" uri="{C3380CC4-5D6E-409C-BE32-E72D297353CC}">
                <c16:uniqueId val="{0000013B-2993-41DE-A2CB-63102DE87051}"/>
              </c:ext>
            </c:extLst>
          </c:dPt>
          <c:dPt>
            <c:idx val="157"/>
            <c:invertIfNegative val="1"/>
            <c:bubble3D val="0"/>
            <c:spPr>
              <a:solidFill>
                <a:srgbClr val="AEABAB"/>
              </a:solidFill>
            </c:spPr>
            <c:extLst>
              <c:ext xmlns:c16="http://schemas.microsoft.com/office/drawing/2014/chart" uri="{C3380CC4-5D6E-409C-BE32-E72D297353CC}">
                <c16:uniqueId val="{0000013D-2993-41DE-A2CB-63102DE87051}"/>
              </c:ext>
            </c:extLst>
          </c:dPt>
          <c:dPt>
            <c:idx val="158"/>
            <c:invertIfNegative val="1"/>
            <c:bubble3D val="0"/>
            <c:spPr>
              <a:solidFill>
                <a:srgbClr val="AEABAB"/>
              </a:solidFill>
            </c:spPr>
            <c:extLst>
              <c:ext xmlns:c16="http://schemas.microsoft.com/office/drawing/2014/chart" uri="{C3380CC4-5D6E-409C-BE32-E72D297353CC}">
                <c16:uniqueId val="{0000013F-2993-41DE-A2CB-63102DE87051}"/>
              </c:ext>
            </c:extLst>
          </c:dPt>
          <c:dPt>
            <c:idx val="159"/>
            <c:invertIfNegative val="1"/>
            <c:bubble3D val="0"/>
            <c:spPr>
              <a:solidFill>
                <a:srgbClr val="AEABAB"/>
              </a:solidFill>
            </c:spPr>
            <c:extLst>
              <c:ext xmlns:c16="http://schemas.microsoft.com/office/drawing/2014/chart" uri="{C3380CC4-5D6E-409C-BE32-E72D297353CC}">
                <c16:uniqueId val="{00000141-2993-41DE-A2CB-63102DE87051}"/>
              </c:ext>
            </c:extLst>
          </c:dPt>
          <c:dPt>
            <c:idx val="160"/>
            <c:invertIfNegative val="1"/>
            <c:bubble3D val="0"/>
            <c:spPr>
              <a:solidFill>
                <a:srgbClr val="AEABAB"/>
              </a:solidFill>
            </c:spPr>
            <c:extLst>
              <c:ext xmlns:c16="http://schemas.microsoft.com/office/drawing/2014/chart" uri="{C3380CC4-5D6E-409C-BE32-E72D297353CC}">
                <c16:uniqueId val="{00000143-2993-41DE-A2CB-63102DE87051}"/>
              </c:ext>
            </c:extLst>
          </c:dPt>
          <c:dPt>
            <c:idx val="161"/>
            <c:invertIfNegative val="1"/>
            <c:bubble3D val="0"/>
            <c:spPr>
              <a:solidFill>
                <a:srgbClr val="AEABAB"/>
              </a:solidFill>
            </c:spPr>
            <c:extLst>
              <c:ext xmlns:c16="http://schemas.microsoft.com/office/drawing/2014/chart" uri="{C3380CC4-5D6E-409C-BE32-E72D297353CC}">
                <c16:uniqueId val="{00000145-2993-41DE-A2CB-63102DE87051}"/>
              </c:ext>
            </c:extLst>
          </c:dPt>
          <c:dPt>
            <c:idx val="162"/>
            <c:invertIfNegative val="1"/>
            <c:bubble3D val="0"/>
            <c:spPr>
              <a:solidFill>
                <a:srgbClr val="AEABAB"/>
              </a:solidFill>
            </c:spPr>
            <c:extLst>
              <c:ext xmlns:c16="http://schemas.microsoft.com/office/drawing/2014/chart" uri="{C3380CC4-5D6E-409C-BE32-E72D297353CC}">
                <c16:uniqueId val="{00000147-2993-41DE-A2CB-63102DE87051}"/>
              </c:ext>
            </c:extLst>
          </c:dPt>
          <c:dPt>
            <c:idx val="163"/>
            <c:invertIfNegative val="1"/>
            <c:bubble3D val="0"/>
            <c:spPr>
              <a:solidFill>
                <a:srgbClr val="AEABAB"/>
              </a:solidFill>
            </c:spPr>
            <c:extLst>
              <c:ext xmlns:c16="http://schemas.microsoft.com/office/drawing/2014/chart" uri="{C3380CC4-5D6E-409C-BE32-E72D297353CC}">
                <c16:uniqueId val="{00000149-2993-41DE-A2CB-63102DE87051}"/>
              </c:ext>
            </c:extLst>
          </c:dPt>
          <c:dPt>
            <c:idx val="164"/>
            <c:invertIfNegative val="1"/>
            <c:bubble3D val="0"/>
            <c:spPr>
              <a:solidFill>
                <a:srgbClr val="AEABAB"/>
              </a:solidFill>
            </c:spPr>
            <c:extLst>
              <c:ext xmlns:c16="http://schemas.microsoft.com/office/drawing/2014/chart" uri="{C3380CC4-5D6E-409C-BE32-E72D297353CC}">
                <c16:uniqueId val="{0000014B-2993-41DE-A2CB-63102DE87051}"/>
              </c:ext>
            </c:extLst>
          </c:dPt>
          <c:dPt>
            <c:idx val="165"/>
            <c:invertIfNegative val="1"/>
            <c:bubble3D val="0"/>
            <c:spPr>
              <a:solidFill>
                <a:srgbClr val="AEABAB"/>
              </a:solidFill>
            </c:spPr>
            <c:extLst>
              <c:ext xmlns:c16="http://schemas.microsoft.com/office/drawing/2014/chart" uri="{C3380CC4-5D6E-409C-BE32-E72D297353CC}">
                <c16:uniqueId val="{0000014D-2993-41DE-A2CB-63102DE87051}"/>
              </c:ext>
            </c:extLst>
          </c:dPt>
          <c:dPt>
            <c:idx val="166"/>
            <c:invertIfNegative val="1"/>
            <c:bubble3D val="0"/>
            <c:spPr>
              <a:solidFill>
                <a:srgbClr val="AEABAB"/>
              </a:solidFill>
            </c:spPr>
            <c:extLst>
              <c:ext xmlns:c16="http://schemas.microsoft.com/office/drawing/2014/chart" uri="{C3380CC4-5D6E-409C-BE32-E72D297353CC}">
                <c16:uniqueId val="{0000014F-2993-41DE-A2CB-63102DE87051}"/>
              </c:ext>
            </c:extLst>
          </c:dPt>
          <c:dPt>
            <c:idx val="167"/>
            <c:invertIfNegative val="1"/>
            <c:bubble3D val="0"/>
            <c:spPr>
              <a:solidFill>
                <a:srgbClr val="AEABAB"/>
              </a:solidFill>
            </c:spPr>
            <c:extLst>
              <c:ext xmlns:c16="http://schemas.microsoft.com/office/drawing/2014/chart" uri="{C3380CC4-5D6E-409C-BE32-E72D297353CC}">
                <c16:uniqueId val="{00000151-2993-41DE-A2CB-63102DE87051}"/>
              </c:ext>
            </c:extLst>
          </c:dPt>
          <c:dPt>
            <c:idx val="168"/>
            <c:invertIfNegative val="1"/>
            <c:bubble3D val="0"/>
            <c:spPr>
              <a:solidFill>
                <a:srgbClr val="AEABAB"/>
              </a:solidFill>
            </c:spPr>
            <c:extLst>
              <c:ext xmlns:c16="http://schemas.microsoft.com/office/drawing/2014/chart" uri="{C3380CC4-5D6E-409C-BE32-E72D297353CC}">
                <c16:uniqueId val="{00000153-2993-41DE-A2CB-63102DE87051}"/>
              </c:ext>
            </c:extLst>
          </c:dPt>
          <c:dPt>
            <c:idx val="169"/>
            <c:invertIfNegative val="1"/>
            <c:bubble3D val="0"/>
            <c:spPr>
              <a:solidFill>
                <a:srgbClr val="AEABAB"/>
              </a:solidFill>
            </c:spPr>
            <c:extLst>
              <c:ext xmlns:c16="http://schemas.microsoft.com/office/drawing/2014/chart" uri="{C3380CC4-5D6E-409C-BE32-E72D297353CC}">
                <c16:uniqueId val="{00000155-2993-41DE-A2CB-63102DE87051}"/>
              </c:ext>
            </c:extLst>
          </c:dPt>
          <c:dPt>
            <c:idx val="170"/>
            <c:invertIfNegative val="1"/>
            <c:bubble3D val="0"/>
            <c:spPr>
              <a:solidFill>
                <a:srgbClr val="AEABAB"/>
              </a:solidFill>
            </c:spPr>
            <c:extLst>
              <c:ext xmlns:c16="http://schemas.microsoft.com/office/drawing/2014/chart" uri="{C3380CC4-5D6E-409C-BE32-E72D297353CC}">
                <c16:uniqueId val="{00000157-2993-41DE-A2CB-63102DE87051}"/>
              </c:ext>
            </c:extLst>
          </c:dPt>
          <c:dPt>
            <c:idx val="171"/>
            <c:invertIfNegative val="1"/>
            <c:bubble3D val="0"/>
            <c:spPr>
              <a:solidFill>
                <a:srgbClr val="AEABAB"/>
              </a:solidFill>
            </c:spPr>
            <c:extLst>
              <c:ext xmlns:c16="http://schemas.microsoft.com/office/drawing/2014/chart" uri="{C3380CC4-5D6E-409C-BE32-E72D297353CC}">
                <c16:uniqueId val="{00000159-2993-41DE-A2CB-63102DE87051}"/>
              </c:ext>
            </c:extLst>
          </c:dPt>
          <c:dPt>
            <c:idx val="172"/>
            <c:invertIfNegative val="1"/>
            <c:bubble3D val="0"/>
            <c:spPr>
              <a:solidFill>
                <a:srgbClr val="AEABAB"/>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dPt>
            <c:idx val="210"/>
            <c:spPr>
              <a:solidFill>
                <a:srgbClr val="AEABAB"/>
              </a:solidFill>
            </c:spPr>
          </c:dPt>
          <c:dPt>
            <c:idx val="211"/>
            <c:spPr>
              <a:solidFill>
                <a:srgbClr val="AEABAB"/>
              </a:solidFill>
            </c:spPr>
          </c:dPt>
          <c:dPt>
            <c:idx val="212"/>
            <c:spPr>
              <a:solidFill>
                <a:srgbClr val="AEABAB"/>
              </a:solidFill>
            </c:spPr>
          </c:dPt>
          <c:dPt>
            <c:idx val="213"/>
            <c:spPr>
              <a:solidFill>
                <a:srgbClr val="AEABAB"/>
              </a:solidFill>
            </c:spPr>
          </c:dPt>
          <c:dPt>
            <c:idx val="214"/>
            <c:spPr>
              <a:solidFill>
                <a:srgbClr val="AEABAB"/>
              </a:solidFill>
            </c:spPr>
          </c:dPt>
          <c:dPt>
            <c:idx val="215"/>
            <c:spPr>
              <a:solidFill>
                <a:srgbClr val="AEABAB"/>
              </a:solidFill>
            </c:spPr>
          </c:dPt>
          <c:dPt>
            <c:idx val="216"/>
            <c:spPr>
              <a:solidFill>
                <a:srgbClr val="AEABAB"/>
              </a:solidFill>
            </c:spPr>
          </c:dPt>
          <c:dPt>
            <c:idx val="217"/>
            <c:spPr>
              <a:solidFill>
                <a:srgbClr val="AEABAB"/>
              </a:solidFill>
            </c:spPr>
          </c:dPt>
          <c:dPt>
            <c:idx val="218"/>
            <c:spPr>
              <a:solidFill>
                <a:srgbClr val="AEABAB"/>
              </a:solidFill>
            </c:spPr>
          </c:dPt>
          <c:dPt>
            <c:idx val="219"/>
            <c:spPr>
              <a:solidFill>
                <a:srgbClr val="AEABAB"/>
              </a:solidFill>
            </c:spPr>
          </c:dPt>
          <c:dPt>
            <c:idx val="220"/>
            <c:spPr>
              <a:solidFill>
                <a:srgbClr val="AEABAB"/>
              </a:solidFill>
            </c:spPr>
          </c:dPt>
          <c:dPt>
            <c:idx val="221"/>
            <c:spPr>
              <a:solidFill>
                <a:srgbClr val="AEABAB"/>
              </a:solidFill>
            </c:spPr>
          </c:dPt>
          <c:dPt>
            <c:idx val="222"/>
            <c:spPr>
              <a:solidFill>
                <a:srgbClr val="AEABAB"/>
              </a:solidFill>
            </c:spPr>
          </c:dPt>
          <c:dPt>
            <c:idx val="223"/>
            <c:spPr>
              <a:solidFill>
                <a:srgbClr val="AEABAB"/>
              </a:solidFill>
            </c:spPr>
          </c:dPt>
          <c:dPt>
            <c:idx val="224"/>
            <c:spPr>
              <a:solidFill>
                <a:srgbClr val="AEABAB"/>
              </a:solidFill>
            </c:spPr>
          </c:dPt>
          <c:dPt>
            <c:idx val="225"/>
            <c:spPr>
              <a:solidFill>
                <a:srgbClr val="AEABAB"/>
              </a:solidFill>
            </c:spPr>
          </c:dPt>
          <c:dPt>
            <c:idx val="226"/>
            <c:spPr>
              <a:solidFill>
                <a:srgbClr val="AEABAB"/>
              </a:solidFill>
            </c:spPr>
          </c:dPt>
          <c:dPt>
            <c:idx val="227"/>
            <c:spPr>
              <a:solidFill>
                <a:srgbClr val="AEABAB"/>
              </a:solidFill>
            </c:spPr>
          </c:dPt>
          <c:dPt>
            <c:idx val="228"/>
            <c:spPr>
              <a:solidFill>
                <a:srgbClr val="AEABAB"/>
              </a:solidFill>
            </c:spPr>
          </c:dPt>
          <c:dPt>
            <c:idx val="229"/>
            <c:spPr>
              <a:solidFill>
                <a:srgbClr val="AEABAB"/>
              </a:solidFill>
            </c:spPr>
          </c:dPt>
          <c:dPt>
            <c:idx val="230"/>
            <c:spPr>
              <a:solidFill>
                <a:srgbClr val="AEABAB"/>
              </a:solidFill>
            </c:spPr>
          </c:dPt>
          <c:dPt>
            <c:idx val="231"/>
            <c:spPr>
              <a:solidFill>
                <a:srgbClr val="AEABAB"/>
              </a:solidFill>
            </c:spPr>
          </c:dPt>
          <c:dPt>
            <c:idx val="232"/>
            <c:spPr>
              <a:solidFill>
                <a:srgbClr val="AEABAB"/>
              </a:solidFill>
            </c:spPr>
          </c:dPt>
          <c:dPt>
            <c:idx val="233"/>
            <c:spPr>
              <a:solidFill>
                <a:srgbClr val="AEABAB"/>
              </a:solidFill>
            </c:spPr>
          </c:dPt>
          <c:dPt>
            <c:idx val="234"/>
            <c:spPr>
              <a:solidFill>
                <a:srgbClr val="AEABAB"/>
              </a:solidFill>
            </c:spPr>
          </c:dPt>
          <c:dPt>
            <c:idx val="235"/>
            <c:spPr>
              <a:solidFill>
                <a:srgbClr val="AEABAB"/>
              </a:solidFill>
            </c:spPr>
          </c:dPt>
          <c:dPt>
            <c:idx val="236"/>
            <c:spPr>
              <a:solidFill>
                <a:srgbClr val="AEABAB"/>
              </a:solidFill>
            </c:spPr>
          </c:dPt>
          <c:dPt>
            <c:idx val="237"/>
            <c:spPr>
              <a:solidFill>
                <a:srgbClr val="AEABAB"/>
              </a:solidFill>
            </c:spPr>
          </c:dPt>
          <c:dPt>
            <c:idx val="238"/>
            <c:spPr>
              <a:solidFill>
                <a:srgbClr val="AEABAB"/>
              </a:solidFill>
            </c:spPr>
          </c:dPt>
          <c:dPt>
            <c:idx val="239"/>
            <c:spPr>
              <a:solidFill>
                <a:srgbClr val="AEABAB"/>
              </a:solidFill>
            </c:spPr>
          </c:dPt>
          <c:dPt>
            <c:idx val="240"/>
            <c:spPr>
              <a:solidFill>
                <a:srgbClr val="AEABAB"/>
              </a:solidFill>
            </c:spPr>
          </c:dPt>
          <c:dPt>
            <c:idx val="241"/>
            <c:spPr>
              <a:solidFill>
                <a:srgbClr val="AEABAB"/>
              </a:solidFill>
            </c:spPr>
          </c:dPt>
          <c:dPt>
            <c:idx val="242"/>
            <c:spPr>
              <a:solidFill>
                <a:srgbClr val="AEABAB"/>
              </a:solidFill>
            </c:spPr>
          </c:dPt>
          <c:dPt>
            <c:idx val="243"/>
            <c:spPr>
              <a:solidFill>
                <a:srgbClr val="AEABAB"/>
              </a:solidFill>
            </c:spPr>
          </c:dPt>
          <c:dPt>
            <c:idx val="244"/>
            <c:spPr>
              <a:solidFill>
                <a:srgbClr val="AEABAB"/>
              </a:solidFill>
            </c:spPr>
          </c:dPt>
          <c:dPt>
            <c:idx val="245"/>
            <c:spPr>
              <a:solidFill>
                <a:srgbClr val="AEABAB"/>
              </a:solidFill>
            </c:spPr>
          </c:dPt>
          <c:dPt>
            <c:idx val="246"/>
            <c:spPr>
              <a:solidFill>
                <a:srgbClr val="AEABAB"/>
              </a:solidFill>
            </c:spPr>
          </c:dPt>
          <c:dPt>
            <c:idx val="247"/>
            <c:spPr>
              <a:solidFill>
                <a:srgbClr val="AEABAB"/>
              </a:solidFill>
            </c:spPr>
          </c:dPt>
          <c:dPt>
            <c:idx val="248"/>
            <c:spPr>
              <a:solidFill>
                <a:srgbClr val="AEABAB"/>
              </a:solidFill>
            </c:spPr>
          </c:dPt>
          <c:dPt>
            <c:idx val="249"/>
            <c:spPr>
              <a:solidFill>
                <a:srgbClr val="AEABAB"/>
              </a:solidFill>
            </c:spPr>
          </c:dPt>
          <c:dPt>
            <c:idx val="250"/>
            <c:spPr>
              <a:solidFill>
                <a:srgbClr val="AEABAB"/>
              </a:solidFill>
            </c:spPr>
          </c:dPt>
          <c:dPt>
            <c:idx val="251"/>
            <c:spPr>
              <a:solidFill>
                <a:srgbClr val="AEABAB"/>
              </a:solidFill>
            </c:spPr>
          </c:dPt>
          <c:dPt>
            <c:idx val="252"/>
            <c:spPr>
              <a:solidFill>
                <a:srgbClr val="AEABAB"/>
              </a:solidFill>
            </c:spPr>
          </c:dPt>
          <c:dPt>
            <c:idx val="253"/>
            <c:spPr>
              <a:solidFill>
                <a:srgbClr val="AEABAB"/>
              </a:solidFill>
            </c:spPr>
          </c:dPt>
          <c:dPt>
            <c:idx val="254"/>
            <c:spPr>
              <a:solidFill>
                <a:srgbClr val="AEABAB"/>
              </a:solidFill>
            </c:spPr>
          </c:dPt>
          <c:dPt>
            <c:idx val="255"/>
            <c:spPr>
              <a:solidFill>
                <a:srgbClr val="AEABAB"/>
              </a:solidFill>
            </c:spPr>
          </c:dPt>
          <c:dPt>
            <c:idx val="256"/>
            <c:spPr>
              <a:solidFill>
                <a:srgbClr val="AEABAB"/>
              </a:solidFill>
            </c:spPr>
          </c:dPt>
          <c:dPt>
            <c:idx val="257"/>
            <c:spPr>
              <a:solidFill>
                <a:srgbClr val="AEABAB"/>
              </a:solidFill>
            </c:spPr>
          </c:dPt>
          <c:dPt>
            <c:idx val="258"/>
            <c:spPr>
              <a:solidFill>
                <a:srgbClr val="AEABAB"/>
              </a:solidFill>
            </c:spPr>
          </c:dPt>
          <c:dPt>
            <c:idx val="259"/>
            <c:spPr>
              <a:solidFill>
                <a:srgbClr val="AEABAB"/>
              </a:solidFill>
            </c:spPr>
          </c:dPt>
          <c:dPt>
            <c:idx val="260"/>
            <c:spPr>
              <a:solidFill>
                <a:srgbClr val="AEABAB"/>
              </a:solidFill>
            </c:spPr>
          </c:dPt>
          <c:dPt>
            <c:idx val="261"/>
            <c:spPr>
              <a:solidFill>
                <a:srgbClr val="AEABAB"/>
              </a:solidFill>
            </c:spPr>
          </c:dPt>
          <c:dPt>
            <c:idx val="262"/>
            <c:spPr>
              <a:solidFill>
                <a:srgbClr val="AEABAB"/>
              </a:solidFill>
            </c:spPr>
          </c:dPt>
          <c:dPt>
            <c:idx val="263"/>
            <c:spPr>
              <a:solidFill>
                <a:srgbClr val="AEABAB"/>
              </a:solidFill>
            </c:spPr>
          </c:dPt>
          <c:dPt>
            <c:idx val="264"/>
            <c:spPr>
              <a:solidFill>
                <a:srgbClr val="AEABAB"/>
              </a:solidFill>
            </c:spPr>
          </c:dPt>
          <c:dPt>
            <c:idx val="265"/>
            <c:spPr>
              <a:solidFill>
                <a:srgbClr val="AEABAB"/>
              </a:solidFill>
            </c:spPr>
          </c:dPt>
          <c:dPt>
            <c:idx val="266"/>
            <c:spPr>
              <a:solidFill>
                <a:srgbClr val="AEABAB"/>
              </a:solidFill>
            </c:spPr>
          </c:dPt>
          <c:dPt>
            <c:idx val="267"/>
            <c:spPr>
              <a:solidFill>
                <a:srgbClr val="AEABAB"/>
              </a:solidFill>
            </c:spPr>
          </c:dPt>
          <c:dPt>
            <c:idx val="268"/>
            <c:spPr>
              <a:solidFill>
                <a:srgbClr val="AEABAB"/>
              </a:solidFill>
            </c:spPr>
          </c:dPt>
          <c:dPt>
            <c:idx val="269"/>
            <c:spPr>
              <a:solidFill>
                <a:srgbClr val="AEABAB"/>
              </a:solidFill>
            </c:spPr>
          </c:dPt>
          <c:dPt>
            <c:idx val="270"/>
            <c:spPr>
              <a:solidFill>
                <a:srgbClr val="AEABAB"/>
              </a:solidFill>
            </c:spPr>
          </c:dPt>
          <c:dPt>
            <c:idx val="271"/>
            <c:spPr>
              <a:solidFill>
                <a:srgbClr val="AEABAB"/>
              </a:solidFill>
            </c:spPr>
          </c:dPt>
          <c:dPt>
            <c:idx val="272"/>
            <c:spPr>
              <a:solidFill>
                <a:srgbClr val="AEABAB"/>
              </a:solidFill>
            </c:spPr>
          </c:dPt>
          <c:dPt>
            <c:idx val="273"/>
            <c:spPr>
              <a:solidFill>
                <a:srgbClr val="AEABAB"/>
              </a:solidFill>
            </c:spPr>
          </c:dPt>
          <c:dPt>
            <c:idx val="274"/>
            <c:spPr>
              <a:solidFill>
                <a:srgbClr val="AEABAB"/>
              </a:solidFill>
            </c:spPr>
          </c:dPt>
          <c:dPt>
            <c:idx val="275"/>
            <c:spPr>
              <a:solidFill>
                <a:srgbClr val="AEABAB"/>
              </a:solidFill>
            </c:spPr>
          </c:dPt>
          <c:dPt>
            <c:idx val="276"/>
            <c:spPr>
              <a:solidFill>
                <a:srgbClr val="AEABAB"/>
              </a:solidFill>
            </c:spPr>
          </c:dPt>
          <c:dPt>
            <c:idx val="277"/>
            <c:spPr>
              <a:solidFill>
                <a:srgbClr val="AEABAB"/>
              </a:solidFill>
            </c:spPr>
          </c:dPt>
          <c:dPt>
            <c:idx val="278"/>
            <c:spPr>
              <a:solidFill>
                <a:srgbClr val="AEABAB"/>
              </a:solidFill>
            </c:spPr>
          </c:dPt>
          <c:dPt>
            <c:idx val="279"/>
            <c:spPr>
              <a:solidFill>
                <a:srgbClr val="AEABAB"/>
              </a:solidFill>
            </c:spPr>
          </c:dPt>
          <c:dPt>
            <c:idx val="280"/>
            <c:spPr>
              <a:solidFill>
                <a:srgbClr val="AEABAB"/>
              </a:solidFill>
            </c:spPr>
          </c:dPt>
          <c:dPt>
            <c:idx val="281"/>
            <c:spPr>
              <a:solidFill>
                <a:srgbClr val="AEABAB"/>
              </a:solidFill>
            </c:spPr>
          </c:dPt>
          <c:dPt>
            <c:idx val="282"/>
            <c:spPr>
              <a:solidFill>
                <a:srgbClr val="AEABAB"/>
              </a:solidFill>
            </c:spPr>
          </c:dPt>
          <c:dPt>
            <c:idx val="283"/>
            <c:spPr>
              <a:solidFill>
                <a:srgbClr val="AEABAB"/>
              </a:solidFill>
            </c:spPr>
          </c:dPt>
          <c:dPt>
            <c:idx val="284"/>
            <c:spPr>
              <a:solidFill>
                <a:srgbClr val="AEABAB"/>
              </a:solidFill>
            </c:spPr>
          </c:dPt>
          <c:dPt>
            <c:idx val="285"/>
            <c:spPr>
              <a:solidFill>
                <a:srgbClr val="AEABAB"/>
              </a:solidFill>
            </c:spPr>
          </c:dPt>
          <c:dPt>
            <c:idx val="286"/>
            <c:spPr>
              <a:solidFill>
                <a:srgbClr val="AEABAB"/>
              </a:solidFill>
            </c:spPr>
          </c:dPt>
          <c:dPt>
            <c:idx val="287"/>
            <c:spPr>
              <a:solidFill>
                <a:srgbClr val="AEABAB"/>
              </a:solidFill>
            </c:spPr>
          </c:dPt>
          <c:dPt>
            <c:idx val="288"/>
            <c:spPr>
              <a:solidFill>
                <a:srgbClr val="AEABAB"/>
              </a:solidFill>
            </c:spPr>
          </c:dPt>
          <c:dPt>
            <c:idx val="289"/>
            <c:spPr>
              <a:solidFill>
                <a:srgbClr val="AEABAB"/>
              </a:solidFill>
            </c:spPr>
          </c:dPt>
          <c:dPt>
            <c:idx val="290"/>
            <c:spPr>
              <a:solidFill>
                <a:srgbClr val="AEABAB"/>
              </a:solidFill>
            </c:spPr>
          </c:dPt>
          <c:dPt>
            <c:idx val="291"/>
            <c:spPr>
              <a:solidFill>
                <a:srgbClr val="AEABAB"/>
              </a:solidFill>
            </c:spPr>
          </c:dPt>
          <c:dPt>
            <c:idx val="292"/>
            <c:spPr>
              <a:solidFill>
                <a:srgbClr val="AEABAB"/>
              </a:solidFill>
            </c:spPr>
          </c:dPt>
          <c:dPt>
            <c:idx val="293"/>
            <c:spPr>
              <a:solidFill>
                <a:srgbClr val="AEABAB"/>
              </a:solidFill>
            </c:spPr>
          </c:dPt>
          <c:dPt>
            <c:idx val="294"/>
            <c:spPr>
              <a:solidFill>
                <a:srgbClr val="AEABAB"/>
              </a:solidFill>
            </c:spPr>
          </c:dPt>
          <c:dPt>
            <c:idx val="295"/>
            <c:spPr>
              <a:solidFill>
                <a:srgbClr val="AEABAB"/>
              </a:solidFill>
            </c:spPr>
          </c:dPt>
          <c:dPt>
            <c:idx val="296"/>
            <c:spPr>
              <a:solidFill>
                <a:srgbClr val="AEABAB"/>
              </a:solidFill>
            </c:spPr>
          </c:dPt>
          <c:dPt>
            <c:idx val="297"/>
            <c:spPr>
              <a:solidFill>
                <a:srgbClr val="AEABAB"/>
              </a:solidFill>
            </c:spPr>
          </c:dPt>
          <c:dPt>
            <c:idx val="298"/>
            <c:spPr>
              <a:solidFill>
                <a:srgbClr val="AEABAB"/>
              </a:solidFill>
            </c:spPr>
          </c:dPt>
          <c:dPt>
            <c:idx val="299"/>
            <c:spPr>
              <a:solidFill>
                <a:srgbClr val="AEABAB"/>
              </a:solidFill>
            </c:spPr>
          </c:dPt>
          <c:dPt>
            <c:idx val="300"/>
            <c:spPr>
              <a:solidFill>
                <a:srgbClr val="AEABAB"/>
              </a:solidFill>
            </c:spPr>
          </c:dPt>
          <c:dPt>
            <c:idx val="301"/>
            <c:spPr>
              <a:solidFill>
                <a:srgbClr val="AEABAB"/>
              </a:solidFill>
            </c:spPr>
          </c:dPt>
          <c:dPt>
            <c:idx val="302"/>
            <c:spPr>
              <a:solidFill>
                <a:srgbClr val="AEABAB"/>
              </a:solidFill>
            </c:spPr>
          </c:dPt>
          <c:dPt>
            <c:idx val="303"/>
            <c:spPr>
              <a:solidFill>
                <a:srgbClr val="AEABAB"/>
              </a:solidFill>
            </c:spPr>
          </c:dPt>
          <c:dPt>
            <c:idx val="304"/>
            <c:spPr>
              <a:solidFill>
                <a:srgbClr val="AEABAB"/>
              </a:solidFill>
            </c:spPr>
          </c:dPt>
          <c:dPt>
            <c:idx val="305"/>
            <c:spPr>
              <a:solidFill>
                <a:srgbClr val="AEABAB"/>
              </a:solidFill>
            </c:spPr>
          </c:dPt>
          <c:dPt>
            <c:idx val="306"/>
            <c:spPr>
              <a:solidFill>
                <a:srgbClr val="AEABAB"/>
              </a:solidFill>
            </c:spPr>
          </c:dPt>
          <c:dPt>
            <c:idx val="307"/>
            <c:spPr>
              <a:solidFill>
                <a:srgbClr val="AEABAB"/>
              </a:solidFill>
            </c:spPr>
          </c:dPt>
          <c:dPt>
            <c:idx val="308"/>
            <c:spPr>
              <a:solidFill>
                <a:srgbClr val="AEABAB"/>
              </a:solidFill>
            </c:spPr>
          </c:dPt>
          <c:dPt>
            <c:idx val="309"/>
            <c:spPr>
              <a:solidFill>
                <a:srgbClr val="AEABAB"/>
              </a:solidFill>
            </c:spPr>
          </c:dPt>
          <c:dPt>
            <c:idx val="310"/>
            <c:spPr>
              <a:solidFill>
                <a:srgbClr val="AEABAB"/>
              </a:solidFill>
            </c:spPr>
          </c:dPt>
          <c:dPt>
            <c:idx val="311"/>
            <c:spPr>
              <a:solidFill>
                <a:srgbClr val="AEABAB"/>
              </a:solidFill>
            </c:spPr>
          </c:dPt>
          <c:dPt>
            <c:idx val="312"/>
            <c:spPr>
              <a:solidFill>
                <a:srgbClr val="AEABAB"/>
              </a:solidFill>
            </c:spPr>
          </c:dPt>
          <c:dPt>
            <c:idx val="313"/>
            <c:spPr>
              <a:solidFill>
                <a:srgbClr val="AEABAB"/>
              </a:solidFill>
            </c:spPr>
          </c:dPt>
          <c:dPt>
            <c:idx val="314"/>
            <c:spPr>
              <a:solidFill>
                <a:srgbClr val="AEABAB"/>
              </a:solidFill>
            </c:spPr>
          </c:dPt>
          <c:dPt>
            <c:idx val="315"/>
            <c:spPr>
              <a:solidFill>
                <a:srgbClr val="AEABAB"/>
              </a:solidFill>
            </c:spPr>
          </c:dPt>
          <c:dPt>
            <c:idx val="316"/>
            <c:spPr>
              <a:solidFill>
                <a:srgbClr val="AEABAB"/>
              </a:solidFill>
            </c:spPr>
          </c:dPt>
          <c:dPt>
            <c:idx val="317"/>
            <c:spPr>
              <a:solidFill>
                <a:srgbClr val="AEABAB"/>
              </a:solidFill>
            </c:spPr>
          </c:dPt>
          <c:dPt>
            <c:idx val="318"/>
            <c:spPr>
              <a:solidFill>
                <a:srgbClr val="AEABAB"/>
              </a:solidFill>
            </c:spPr>
          </c:dPt>
          <c:dPt>
            <c:idx val="319"/>
            <c:spPr>
              <a:solidFill>
                <a:srgbClr val="AEABAB"/>
              </a:solidFill>
            </c:spPr>
          </c:dPt>
          <c:dPt>
            <c:idx val="320"/>
            <c:spPr>
              <a:solidFill>
                <a:srgbClr val="AEABAB"/>
              </a:solidFill>
            </c:spPr>
          </c:dPt>
          <c:dPt>
            <c:idx val="321"/>
            <c:spPr>
              <a:solidFill>
                <a:srgbClr val="AEABAB"/>
              </a:solidFill>
            </c:spPr>
          </c:dPt>
          <c:dPt>
            <c:idx val="322"/>
            <c:spPr>
              <a:solidFill>
                <a:srgbClr val="AEABAB"/>
              </a:solidFill>
            </c:spPr>
          </c:dPt>
          <c:dPt>
            <c:idx val="323"/>
            <c:spPr>
              <a:solidFill>
                <a:srgbClr val="AEABAB"/>
              </a:solidFill>
            </c:spPr>
          </c:dPt>
          <c:dPt>
            <c:idx val="324"/>
            <c:spPr>
              <a:solidFill>
                <a:srgbClr val="AEABAB"/>
              </a:solidFill>
            </c:spPr>
          </c:dPt>
          <c:dPt>
            <c:idx val="325"/>
            <c:spPr>
              <a:solidFill>
                <a:srgbClr val="AEABAB"/>
              </a:solidFill>
            </c:spPr>
          </c:dPt>
          <c:dPt>
            <c:idx val="326"/>
            <c:spPr>
              <a:solidFill>
                <a:srgbClr val="AEABAB"/>
              </a:solidFill>
            </c:spPr>
          </c:dPt>
          <c:dPt>
            <c:idx val="327"/>
            <c:spPr>
              <a:solidFill>
                <a:srgbClr val="AEABAB"/>
              </a:solidFill>
            </c:spPr>
          </c:dPt>
          <c:dPt>
            <c:idx val="328"/>
            <c:spPr>
              <a:solidFill>
                <a:srgbClr val="AEABAB"/>
              </a:solidFill>
            </c:spPr>
          </c:dPt>
          <c:dPt>
            <c:idx val="329"/>
            <c:spPr>
              <a:solidFill>
                <a:srgbClr val="AEABAB"/>
              </a:solidFill>
            </c:spPr>
          </c:dPt>
          <c:dPt>
            <c:idx val="330"/>
            <c:spPr>
              <a:solidFill>
                <a:srgbClr val="AEABAB"/>
              </a:solidFill>
            </c:spPr>
          </c:dPt>
          <c:dPt>
            <c:idx val="331"/>
            <c:spPr>
              <a:solidFill>
                <a:srgbClr val="AEABAB"/>
              </a:solidFill>
            </c:spPr>
          </c:dPt>
          <c:dPt>
            <c:idx val="332"/>
            <c:spPr>
              <a:solidFill>
                <a:srgbClr val="AEABAB"/>
              </a:solidFill>
            </c:spPr>
          </c:dPt>
          <c:dPt>
            <c:idx val="333"/>
            <c:spPr>
              <a:solidFill>
                <a:srgbClr val="AEABAB"/>
              </a:solidFill>
            </c:spPr>
          </c:dPt>
          <c:dPt>
            <c:idx val="334"/>
            <c:spPr>
              <a:solidFill>
                <a:srgbClr val="AEABAB"/>
              </a:solidFill>
            </c:spPr>
          </c:dPt>
          <c:dPt>
            <c:idx val="335"/>
            <c:spPr>
              <a:solidFill>
                <a:srgbClr val="AEABAB"/>
              </a:solidFill>
            </c:spPr>
          </c:dPt>
          <c:dPt>
            <c:idx val="336"/>
            <c:spPr>
              <a:solidFill>
                <a:srgbClr val="AEABAB"/>
              </a:solidFill>
            </c:spPr>
          </c:dPt>
          <c:dPt>
            <c:idx val="337"/>
            <c:spPr>
              <a:solidFill>
                <a:srgbClr val="AEABAB"/>
              </a:solidFill>
            </c:spPr>
          </c:dPt>
          <c:dPt>
            <c:idx val="338"/>
            <c:spPr>
              <a:solidFill>
                <a:srgbClr val="AEABAB"/>
              </a:solidFill>
            </c:spPr>
          </c:dPt>
          <c:dPt>
            <c:idx val="339"/>
            <c:spPr>
              <a:solidFill>
                <a:srgbClr val="AEABAB"/>
              </a:solidFill>
            </c:spPr>
          </c:dPt>
          <c:dPt>
            <c:idx val="340"/>
            <c:spPr>
              <a:solidFill>
                <a:srgbClr val="AEABAB"/>
              </a:solidFill>
            </c:spPr>
          </c:dPt>
          <c:dPt>
            <c:idx val="341"/>
            <c:spPr>
              <a:solidFill>
                <a:srgbClr val="AEABAB"/>
              </a:solidFill>
            </c:spPr>
          </c:dPt>
          <c:dPt>
            <c:idx val="342"/>
            <c:spPr>
              <a:solidFill>
                <a:srgbClr val="AEABAB"/>
              </a:solidFill>
            </c:spPr>
          </c:dPt>
          <c:dPt>
            <c:idx val="343"/>
            <c:spPr>
              <a:solidFill>
                <a:srgbClr val="AEABAB"/>
              </a:solidFill>
            </c:spPr>
          </c:dPt>
          <c:dPt>
            <c:idx val="344"/>
            <c:spPr>
              <a:solidFill>
                <a:srgbClr val="AEABAB"/>
              </a:solidFill>
            </c:spPr>
          </c:dPt>
          <c:dPt>
            <c:idx val="345"/>
            <c:spPr>
              <a:solidFill>
                <a:srgbClr val="AEABAB"/>
              </a:solidFill>
            </c:spPr>
          </c:dPt>
          <c:dPt>
            <c:idx val="346"/>
            <c:spPr>
              <a:solidFill>
                <a:srgbClr val="AEABAB"/>
              </a:solidFill>
            </c:spPr>
          </c:dPt>
          <c:dPt>
            <c:idx val="347"/>
            <c:spPr>
              <a:solidFill>
                <a:srgbClr val="AEABAB"/>
              </a:solidFill>
            </c:spPr>
          </c:dPt>
          <c:dPt>
            <c:idx val="348"/>
            <c:spPr>
              <a:solidFill>
                <a:srgbClr val="AEABAB"/>
              </a:solidFill>
            </c:spPr>
          </c:dPt>
          <c:dPt>
            <c:idx val="349"/>
            <c:spPr>
              <a:solidFill>
                <a:srgbClr val="AEABAB"/>
              </a:solidFill>
            </c:spPr>
          </c:dPt>
          <c:dPt>
            <c:idx val="350"/>
            <c:spPr>
              <a:solidFill>
                <a:srgbClr val="AEABAB"/>
              </a:solidFill>
            </c:spPr>
          </c:dPt>
          <c:dPt>
            <c:idx val="351"/>
            <c:spPr>
              <a:solidFill>
                <a:srgbClr val="AEABAB"/>
              </a:solidFill>
            </c:spPr>
          </c:dPt>
          <c:dPt>
            <c:idx val="352"/>
            <c:spPr>
              <a:solidFill>
                <a:srgbClr val="AEABAB"/>
              </a:solidFill>
            </c:spPr>
          </c:dPt>
          <c:dPt>
            <c:idx val="353"/>
            <c:spPr>
              <a:solidFill>
                <a:srgbClr val="AEABAB"/>
              </a:solidFill>
            </c:spPr>
          </c:dPt>
          <c:dPt>
            <c:idx val="354"/>
            <c:spPr>
              <a:solidFill>
                <a:srgbClr val="AEABAB"/>
              </a:solidFill>
            </c:spPr>
          </c:dPt>
          <c:dPt>
            <c:idx val="355"/>
            <c:spPr>
              <a:solidFill>
                <a:srgbClr val="AEABAB"/>
              </a:solidFill>
            </c:spPr>
          </c:dPt>
          <c:dPt>
            <c:idx val="356"/>
            <c:spPr>
              <a:solidFill>
                <a:srgbClr val="AEABAB"/>
              </a:solidFill>
            </c:spPr>
          </c:dPt>
          <c:dPt>
            <c:idx val="357"/>
            <c:spPr>
              <a:solidFill>
                <a:srgbClr val="AEABAB"/>
              </a:solidFill>
            </c:spPr>
          </c:dPt>
          <c:dPt>
            <c:idx val="358"/>
            <c:spPr>
              <a:solidFill>
                <a:srgbClr val="AEABAB"/>
              </a:solidFill>
            </c:spPr>
          </c:dPt>
          <c:dPt>
            <c:idx val="359"/>
            <c:spPr>
              <a:solidFill>
                <a:srgbClr val="AEABAB"/>
              </a:solidFill>
            </c:spPr>
          </c:dPt>
          <c:dPt>
            <c:idx val="360"/>
            <c:spPr>
              <a:solidFill>
                <a:srgbClr val="AEABAB"/>
              </a:solidFill>
            </c:spPr>
          </c:dPt>
          <c:dPt>
            <c:idx val="361"/>
            <c:spPr>
              <a:solidFill>
                <a:srgbClr val="AEABAB"/>
              </a:solidFill>
            </c:spPr>
          </c:dPt>
          <c:dPt>
            <c:idx val="362"/>
            <c:spPr>
              <a:solidFill>
                <a:srgbClr val="AEABAB"/>
              </a:solidFill>
            </c:spPr>
          </c:dPt>
          <c:dPt>
            <c:idx val="363"/>
            <c:spPr>
              <a:solidFill>
                <a:srgbClr val="AEABAB"/>
              </a:solidFill>
            </c:spPr>
          </c:dPt>
          <c:dPt>
            <c:idx val="364"/>
            <c:spPr>
              <a:solidFill>
                <a:srgbClr val="AEABAB"/>
              </a:solidFill>
            </c:spPr>
          </c:dPt>
          <c:dPt>
            <c:idx val="365"/>
            <c:spPr>
              <a:solidFill>
                <a:srgbClr val="AEABAB"/>
              </a:solidFill>
            </c:spPr>
          </c:dPt>
          <c:dPt>
            <c:idx val="366"/>
            <c:spPr>
              <a:solidFill>
                <a:srgbClr val="AEABAB"/>
              </a:solidFill>
            </c:spPr>
          </c:dPt>
          <c:dPt>
            <c:idx val="367"/>
            <c:spPr>
              <a:solidFill>
                <a:srgbClr val="AEABAB"/>
              </a:solidFill>
            </c:spPr>
          </c:dPt>
          <c:dPt>
            <c:idx val="368"/>
            <c:spPr>
              <a:solidFill>
                <a:srgbClr val="AEABAB"/>
              </a:solidFill>
            </c:spPr>
          </c:dPt>
          <c:dPt>
            <c:idx val="369"/>
            <c:spPr>
              <a:solidFill>
                <a:srgbClr val="AEABAB"/>
              </a:solidFill>
            </c:spPr>
          </c:dPt>
          <c:dPt>
            <c:idx val="370"/>
            <c:spPr>
              <a:solidFill>
                <a:srgbClr val="AEABAB"/>
              </a:solidFill>
            </c:spPr>
          </c:dPt>
          <c:dPt>
            <c:idx val="371"/>
            <c:spPr>
              <a:solidFill>
                <a:srgbClr val="AEABAB"/>
              </a:solidFill>
            </c:spPr>
          </c:dPt>
          <c:dPt>
            <c:idx val="372"/>
            <c:spPr>
              <a:solidFill>
                <a:srgbClr val="AEABAB"/>
              </a:solidFill>
            </c:spPr>
          </c:dPt>
          <c:dPt>
            <c:idx val="373"/>
            <c:spPr>
              <a:solidFill>
                <a:srgbClr val="AEABAB"/>
              </a:solidFill>
            </c:spPr>
          </c:dPt>
          <c:dPt>
            <c:idx val="374"/>
            <c:spPr>
              <a:solidFill>
                <a:srgbClr val="AEABAB"/>
              </a:solidFill>
            </c:spPr>
          </c:dPt>
          <c:dPt>
            <c:idx val="375"/>
            <c:spPr>
              <a:solidFill>
                <a:srgbClr val="AEABAB"/>
              </a:solidFill>
            </c:spPr>
          </c:dPt>
          <c:dPt>
            <c:idx val="376"/>
            <c:spPr>
              <a:solidFill>
                <a:srgbClr val="AEABAB"/>
              </a:solidFill>
            </c:spPr>
          </c:dPt>
          <c:dPt>
            <c:idx val="377"/>
            <c:spPr>
              <a:solidFill>
                <a:srgbClr val="AEABAB"/>
              </a:solidFill>
            </c:spPr>
          </c:dPt>
          <c:dPt>
            <c:idx val="378"/>
            <c:spPr>
              <a:solidFill>
                <a:srgbClr val="AEABAB"/>
              </a:solidFill>
            </c:spPr>
          </c:dPt>
          <c:dPt>
            <c:idx val="379"/>
            <c:spPr>
              <a:solidFill>
                <a:srgbClr val="AEABAB"/>
              </a:solidFill>
            </c:spPr>
          </c:dPt>
          <c:dPt>
            <c:idx val="380"/>
            <c:spPr>
              <a:solidFill>
                <a:srgbClr val="AEABAB"/>
              </a:solidFill>
            </c:spPr>
          </c:dPt>
          <c:dPt>
            <c:idx val="381"/>
            <c:spPr>
              <a:solidFill>
                <a:srgbClr val="AEABAB"/>
              </a:solidFill>
            </c:spPr>
          </c:dPt>
          <c:dPt>
            <c:idx val="382"/>
            <c:spPr>
              <a:solidFill>
                <a:srgbClr val="AEABAB"/>
              </a:solidFill>
            </c:spPr>
          </c:dPt>
          <c:dPt>
            <c:idx val="383"/>
            <c:spPr>
              <a:solidFill>
                <a:srgbClr val="AEABAB"/>
              </a:solidFill>
            </c:spPr>
          </c:dPt>
          <c:dPt>
            <c:idx val="384"/>
            <c:spPr>
              <a:solidFill>
                <a:srgbClr val="AEABAB"/>
              </a:solidFill>
            </c:spPr>
          </c:dPt>
          <c:dPt>
            <c:idx val="385"/>
            <c:spPr>
              <a:solidFill>
                <a:srgbClr val="AEABAB"/>
              </a:solidFill>
            </c:spPr>
          </c:dPt>
          <c:dPt>
            <c:idx val="386"/>
            <c:spPr>
              <a:solidFill>
                <a:srgbClr val="AEABAB"/>
              </a:solidFill>
            </c:spPr>
          </c:dPt>
          <c:dPt>
            <c:idx val="387"/>
            <c:spPr>
              <a:solidFill>
                <a:srgbClr val="AEABAB"/>
              </a:solidFill>
            </c:spPr>
          </c:dPt>
          <c:dPt>
            <c:idx val="388"/>
            <c:spPr>
              <a:solidFill>
                <a:srgbClr val="AEABAB"/>
              </a:solidFill>
            </c:spPr>
          </c:dPt>
          <c:dPt>
            <c:idx val="389"/>
            <c:spPr>
              <a:solidFill>
                <a:srgbClr val="AEABAB"/>
              </a:solidFill>
            </c:spPr>
          </c:dPt>
          <c:dPt>
            <c:idx val="390"/>
            <c:spPr>
              <a:solidFill>
                <a:srgbClr val="AEABAB"/>
              </a:solidFill>
            </c:spPr>
          </c:dPt>
          <c:dPt>
            <c:idx val="391"/>
            <c:spPr>
              <a:solidFill>
                <a:srgbClr val="AEABAB"/>
              </a:solidFill>
            </c:spPr>
          </c:dPt>
          <c:dPt>
            <c:idx val="392"/>
            <c:spPr>
              <a:solidFill>
                <a:srgbClr val="AEABAB"/>
              </a:solidFill>
            </c:spPr>
          </c:dPt>
          <c:dPt>
            <c:idx val="393"/>
            <c:spPr>
              <a:solidFill>
                <a:srgbClr val="AEABAB"/>
              </a:solidFill>
            </c:spPr>
          </c:dPt>
          <c:dPt>
            <c:idx val="394"/>
            <c:spPr>
              <a:solidFill>
                <a:srgbClr val="AEABAB"/>
              </a:solidFill>
            </c:spPr>
          </c:dPt>
          <c:dPt>
            <c:idx val="395"/>
            <c:spPr>
              <a:solidFill>
                <a:srgbClr val="AEABAB"/>
              </a:solidFill>
            </c:spPr>
          </c:dPt>
          <c:dPt>
            <c:idx val="396"/>
            <c:spPr>
              <a:solidFill>
                <a:srgbClr val="AEABAB"/>
              </a:solidFill>
            </c:spPr>
          </c:dPt>
          <c:dPt>
            <c:idx val="397"/>
            <c:spPr>
              <a:solidFill>
                <a:srgbClr val="AEABAB"/>
              </a:solidFill>
            </c:spPr>
          </c:dPt>
          <c:dPt>
            <c:idx val="398"/>
            <c:spPr>
              <a:solidFill>
                <a:srgbClr val="AEABAB"/>
              </a:solidFill>
            </c:spPr>
          </c:dPt>
          <c:dPt>
            <c:idx val="399"/>
            <c:spPr>
              <a:solidFill>
                <a:srgbClr val="AEABAB"/>
              </a:solidFill>
            </c:spPr>
          </c:dPt>
          <c:dPt>
            <c:idx val="400"/>
            <c:spPr>
              <a:solidFill>
                <a:srgbClr val="AEABAB"/>
              </a:solidFill>
            </c:spPr>
          </c:dPt>
          <c:dPt>
            <c:idx val="401"/>
            <c:spPr>
              <a:solidFill>
                <a:srgbClr val="AEABAB"/>
              </a:solidFill>
            </c:spPr>
          </c:dPt>
          <c:dPt>
            <c:idx val="402"/>
            <c:spPr>
              <a:solidFill>
                <a:srgbClr val="AEABAB"/>
              </a:solidFill>
            </c:spPr>
          </c:dPt>
          <c:dPt>
            <c:idx val="403"/>
            <c:spPr>
              <a:solidFill>
                <a:srgbClr val="AEABAB"/>
              </a:solidFill>
            </c:spPr>
          </c:dPt>
          <c:dPt>
            <c:idx val="404"/>
            <c:spPr>
              <a:solidFill>
                <a:srgbClr val="AEABAB"/>
              </a:solidFill>
            </c:spPr>
          </c:dPt>
          <c:dPt>
            <c:idx val="405"/>
            <c:spPr>
              <a:solidFill>
                <a:srgbClr val="AEABAB"/>
              </a:solidFill>
            </c:spPr>
          </c:dPt>
          <c:dPt>
            <c:idx val="406"/>
            <c:spPr>
              <a:solidFill>
                <a:srgbClr val="AEABAB"/>
              </a:solidFill>
            </c:spPr>
          </c:dPt>
          <c:dPt>
            <c:idx val="407"/>
            <c:spPr>
              <a:solidFill>
                <a:srgbClr val="AEABAB"/>
              </a:solidFill>
            </c:spPr>
          </c:dPt>
          <c:dPt>
            <c:idx val="408"/>
            <c:spPr>
              <a:solidFill>
                <a:srgbClr val="AEABAB"/>
              </a:solidFill>
            </c:spPr>
          </c:dPt>
          <c:dPt>
            <c:idx val="409"/>
            <c:spPr>
              <a:solidFill>
                <a:srgbClr val="AEABAB"/>
              </a:solidFill>
            </c:spPr>
          </c:dPt>
          <c:dPt>
            <c:idx val="410"/>
            <c:spPr>
              <a:solidFill>
                <a:srgbClr val="AEABAB"/>
              </a:solidFill>
            </c:spPr>
          </c:dPt>
          <c:dPt>
            <c:idx val="411"/>
            <c:spPr>
              <a:solidFill>
                <a:srgbClr val="AEABAB"/>
              </a:solidFill>
            </c:spPr>
          </c:dPt>
          <c:dPt>
            <c:idx val="412"/>
            <c:spPr>
              <a:solidFill>
                <a:srgbClr val="AEABAB"/>
              </a:solidFill>
            </c:spPr>
          </c:dPt>
          <c:dPt>
            <c:idx val="413"/>
            <c:spPr>
              <a:solidFill>
                <a:srgbClr val="AEABAB"/>
              </a:solidFill>
            </c:spPr>
          </c:dPt>
          <c:dPt>
            <c:idx val="414"/>
            <c:spPr>
              <a:solidFill>
                <a:srgbClr val="AEABAB"/>
              </a:solidFill>
            </c:spPr>
          </c:dPt>
          <c:dPt>
            <c:idx val="415"/>
            <c:spPr>
              <a:solidFill>
                <a:srgbClr val="AEABAB"/>
              </a:solidFill>
            </c:spPr>
          </c:dPt>
          <c:cat>
            <c:strRef>
              <c:f>Sheet1!$A$2:$A$417</c:f>
              <c:strCache>
                <c:ptCount val="416"/>
                <c:pt idx="0">
                  <c:v>Private Lab</c:v>
                </c:pt>
                <c:pt idx="1">
                  <c:v>Soignon</c:v>
                </c:pt>
                <c:pt idx="2">
                  <c:v>Caprice Des</c:v>
                </c:pt>
                <c:pt idx="3">
                  <c:v>Mini Babybe</c:v>
                </c:pt>
                <c:pt idx="4">
                  <c:v>St Moret</c:v>
                </c:pt>
                <c:pt idx="5">
                  <c:v>La Vache Qu</c:v>
                </c:pt>
                <c:pt idx="6">
                  <c:v>Le Rustique</c:v>
                </c:pt>
                <c:pt idx="7">
                  <c:v>Coeur De Li</c:v>
                </c:pt>
                <c:pt idx="8">
                  <c:v>Kiri</c:v>
                </c:pt>
                <c:pt idx="9">
                  <c:v>Galbani</c:v>
                </c:pt>
                <c:pt idx="10">
                  <c:v>Private Lab</c:v>
                </c:pt>
                <c:pt idx="11">
                  <c:v>Paysan Bret</c:v>
                </c:pt>
                <c:pt idx="12">
                  <c:v>President</c:v>
                </c:pt>
                <c:pt idx="13">
                  <c:v>Philadelphi</c:v>
                </c:pt>
                <c:pt idx="14">
                  <c:v>Coeur De Li</c:v>
                </c:pt>
                <c:pt idx="15">
                  <c:v>Private Lab</c:v>
                </c:pt>
                <c:pt idx="16">
                  <c:v>Private Lab</c:v>
                </c:pt>
                <c:pt idx="17">
                  <c:v>Ficello</c:v>
                </c:pt>
                <c:pt idx="18">
                  <c:v>Caprice Des</c:v>
                </c:pt>
                <c:pt idx="19">
                  <c:v>Salakis</c:v>
                </c:pt>
                <c:pt idx="20">
                  <c:v>Soignon</c:v>
                </c:pt>
                <c:pt idx="21">
                  <c:v>La Vache Qu</c:v>
                </c:pt>
                <c:pt idx="22">
                  <c:v>Boursin</c:v>
                </c:pt>
                <c:pt idx="23">
                  <c:v>Soignon</c:v>
                </c:pt>
                <c:pt idx="24">
                  <c:v>Petit Billy</c:v>
                </c:pt>
                <c:pt idx="25">
                  <c:v>St Moret</c:v>
                </c:pt>
                <c:pt idx="26">
                  <c:v>Private Lab</c:v>
                </c:pt>
                <c:pt idx="27">
                  <c:v>St Moret</c:v>
                </c:pt>
                <c:pt idx="28">
                  <c:v>Private Lab</c:v>
                </c:pt>
                <c:pt idx="29">
                  <c:v>Tartare</c:v>
                </c:pt>
                <c:pt idx="30">
                  <c:v>Private Lab</c:v>
                </c:pt>
                <c:pt idx="31">
                  <c:v>President</c:v>
                </c:pt>
                <c:pt idx="32">
                  <c:v>Soignon</c:v>
                </c:pt>
                <c:pt idx="33">
                  <c:v>Private Lab</c:v>
                </c:pt>
                <c:pt idx="34">
                  <c:v>Caprice Des</c:v>
                </c:pt>
                <c:pt idx="35">
                  <c:v>All Others</c:v>
                </c:pt>
                <c:pt idx="36">
                  <c:v>Kiri</c:v>
                </c:pt>
                <c:pt idx="37">
                  <c:v>All Others</c:v>
                </c:pt>
                <c:pt idx="38">
                  <c:v>Le Brebiou</c:v>
                </c:pt>
                <c:pt idx="39">
                  <c:v>Private Lab</c:v>
                </c:pt>
                <c:pt idx="40">
                  <c:v>President</c:v>
                </c:pt>
                <c:pt idx="41">
                  <c:v>Private Lab</c:v>
                </c:pt>
                <c:pt idx="42">
                  <c:v>Private Lab</c:v>
                </c:pt>
                <c:pt idx="43">
                  <c:v>Carre Frais</c:v>
                </c:pt>
                <c:pt idx="44">
                  <c:v>Chavroux</c:v>
                </c:pt>
                <c:pt idx="45">
                  <c:v>Private Lab</c:v>
                </c:pt>
                <c:pt idx="46">
                  <c:v>Private Lab</c:v>
                </c:pt>
                <c:pt idx="47">
                  <c:v>President</c:v>
                </c:pt>
                <c:pt idx="48">
                  <c:v>Boursin</c:v>
                </c:pt>
                <c:pt idx="49">
                  <c:v>Etorki</c:v>
                </c:pt>
                <c:pt idx="50">
                  <c:v>President</c:v>
                </c:pt>
                <c:pt idx="51">
                  <c:v>Private Lab</c:v>
                </c:pt>
                <c:pt idx="52">
                  <c:v>Istara</c:v>
                </c:pt>
                <c:pt idx="53">
                  <c:v>Lou Perac</c:v>
                </c:pt>
                <c:pt idx="54">
                  <c:v>All Others</c:v>
                </c:pt>
                <c:pt idx="55">
                  <c:v>Paysan Bret</c:v>
                </c:pt>
                <c:pt idx="56">
                  <c:v>Tartare</c:v>
                </c:pt>
                <c:pt idx="57">
                  <c:v>Boursin</c:v>
                </c:pt>
                <c:pt idx="58">
                  <c:v>Lepetit</c:v>
                </c:pt>
                <c:pt idx="59">
                  <c:v>Salakis</c:v>
                </c:pt>
                <c:pt idx="60">
                  <c:v>Casa Azzurr</c:v>
                </c:pt>
                <c:pt idx="61">
                  <c:v>Private Lab</c:v>
                </c:pt>
                <c:pt idx="62">
                  <c:v>Private Lab</c:v>
                </c:pt>
                <c:pt idx="63">
                  <c:v>Tartare</c:v>
                </c:pt>
                <c:pt idx="64">
                  <c:v>Private Lab</c:v>
                </c:pt>
                <c:pt idx="65">
                  <c:v>Private Lab</c:v>
                </c:pt>
                <c:pt idx="66">
                  <c:v>Private Lab</c:v>
                </c:pt>
                <c:pt idx="67">
                  <c:v>La Vache Qu</c:v>
                </c:pt>
                <c:pt idx="68">
                  <c:v>St Moret</c:v>
                </c:pt>
                <c:pt idx="69">
                  <c:v>Mini Babybe</c:v>
                </c:pt>
                <c:pt idx="70">
                  <c:v>Galbani</c:v>
                </c:pt>
                <c:pt idx="71">
                  <c:v>Private Lab</c:v>
                </c:pt>
                <c:pt idx="72">
                  <c:v>All Others</c:v>
                </c:pt>
                <c:pt idx="73">
                  <c:v>Private Lab</c:v>
                </c:pt>
                <c:pt idx="74">
                  <c:v>Private Lab</c:v>
                </c:pt>
                <c:pt idx="75">
                  <c:v>All Others</c:v>
                </c:pt>
                <c:pt idx="76">
                  <c:v>Islos</c:v>
                </c:pt>
                <c:pt idx="77">
                  <c:v>Casa Azzurr</c:v>
                </c:pt>
                <c:pt idx="78">
                  <c:v>Kiri</c:v>
                </c:pt>
                <c:pt idx="79">
                  <c:v>Carre Frais</c:v>
                </c:pt>
                <c:pt idx="80">
                  <c:v>Private Lab</c:v>
                </c:pt>
                <c:pt idx="81">
                  <c:v>Private Lab</c:v>
                </c:pt>
                <c:pt idx="82">
                  <c:v>Private Lab</c:v>
                </c:pt>
                <c:pt idx="83">
                  <c:v>All Others</c:v>
                </c:pt>
                <c:pt idx="84">
                  <c:v>Private Lab</c:v>
                </c:pt>
                <c:pt idx="85">
                  <c:v>Soignon</c:v>
                </c:pt>
                <c:pt idx="86">
                  <c:v>Private Lab</c:v>
                </c:pt>
                <c:pt idx="87">
                  <c:v>Private Lab</c:v>
                </c:pt>
                <c:pt idx="88">
                  <c:v>Private Lab</c:v>
                </c:pt>
                <c:pt idx="89">
                  <c:v>Galbani</c:v>
                </c:pt>
                <c:pt idx="90">
                  <c:v>All Others</c:v>
                </c:pt>
                <c:pt idx="91">
                  <c:v>President</c:v>
                </c:pt>
                <c:pt idx="92">
                  <c:v>Paysan Bret</c:v>
                </c:pt>
                <c:pt idx="93">
                  <c:v>Private Lab</c:v>
                </c:pt>
                <c:pt idx="94">
                  <c:v>P'Tit Louis</c:v>
                </c:pt>
                <c:pt idx="95">
                  <c:v>Istara</c:v>
                </c:pt>
                <c:pt idx="96">
                  <c:v>All Others</c:v>
                </c:pt>
                <c:pt idx="97">
                  <c:v>All Others</c:v>
                </c:pt>
                <c:pt idx="98">
                  <c:v>Paysan Bret</c:v>
                </c:pt>
                <c:pt idx="99">
                  <c:v>Private Lab</c:v>
                </c:pt>
                <c:pt idx="100">
                  <c:v>Lactalis: A</c:v>
                </c:pt>
                <c:pt idx="101">
                  <c:v>All Others</c:v>
                </c:pt>
                <c:pt idx="102">
                  <c:v>All Others</c:v>
                </c:pt>
                <c:pt idx="103">
                  <c:v>Lou Perac</c:v>
                </c:pt>
                <c:pt idx="104">
                  <c:v>President</c:v>
                </c:pt>
                <c:pt idx="105">
                  <c:v>All Others</c:v>
                </c:pt>
                <c:pt idx="106">
                  <c:v>President</c:v>
                </c:pt>
                <c:pt idx="107">
                  <c:v>All Others</c:v>
                </c:pt>
                <c:pt idx="108">
                  <c:v>Private Lab</c:v>
                </c:pt>
                <c:pt idx="109">
                  <c:v>All Others</c:v>
                </c:pt>
                <c:pt idx="110">
                  <c:v>All Others</c:v>
                </c:pt>
                <c:pt idx="111">
                  <c:v>La Vache Qu</c:v>
                </c:pt>
                <c:pt idx="112">
                  <c:v>All Others</c:v>
                </c:pt>
                <c:pt idx="113">
                  <c:v>All Others</c:v>
                </c:pt>
                <c:pt idx="114">
                  <c:v>All Others</c:v>
                </c:pt>
                <c:pt idx="115">
                  <c:v>Private Lab</c:v>
                </c:pt>
                <c:pt idx="116">
                  <c:v>Private Lab</c:v>
                </c:pt>
                <c:pt idx="117">
                  <c:v>Kiri</c:v>
                </c:pt>
                <c:pt idx="118">
                  <c:v>Soignon</c:v>
                </c:pt>
                <c:pt idx="119">
                  <c:v>Soignon</c:v>
                </c:pt>
                <c:pt idx="120">
                  <c:v>All Others</c:v>
                </c:pt>
                <c:pt idx="121">
                  <c:v>All Others</c:v>
                </c:pt>
                <c:pt idx="122">
                  <c:v>Soignon</c:v>
                </c:pt>
                <c:pt idx="123">
                  <c:v>All Others</c:v>
                </c:pt>
                <c:pt idx="124">
                  <c:v>All Others</c:v>
                </c:pt>
                <c:pt idx="125">
                  <c:v>President</c:v>
                </c:pt>
                <c:pt idx="126">
                  <c:v>All Others</c:v>
                </c:pt>
                <c:pt idx="127">
                  <c:v>Paysan Bret</c:v>
                </c:pt>
                <c:pt idx="128">
                  <c:v>All Others</c:v>
                </c:pt>
                <c:pt idx="129">
                  <c:v>All Others</c:v>
                </c:pt>
                <c:pt idx="130">
                  <c:v>Paysan Bret</c:v>
                </c:pt>
                <c:pt idx="131">
                  <c:v>All Others</c:v>
                </c:pt>
                <c:pt idx="132">
                  <c:v>Private Lab</c:v>
                </c:pt>
                <c:pt idx="133">
                  <c:v>All Others</c:v>
                </c:pt>
                <c:pt idx="134">
                  <c:v>Triballat N</c:v>
                </c:pt>
                <c:pt idx="135">
                  <c:v>All Others</c:v>
                </c:pt>
                <c:pt idx="136">
                  <c:v>All Others</c:v>
                </c:pt>
                <c:pt idx="137">
                  <c:v>All Others</c:v>
                </c:pt>
                <c:pt idx="138">
                  <c:v>All Others</c:v>
                </c:pt>
                <c:pt idx="139">
                  <c:v>Lactalis: A</c:v>
                </c:pt>
                <c:pt idx="140">
                  <c:v>Private Lab</c:v>
                </c:pt>
                <c:pt idx="141">
                  <c:v>All Others</c:v>
                </c:pt>
                <c:pt idx="142">
                  <c:v>All Others</c:v>
                </c:pt>
                <c:pt idx="143">
                  <c:v>Private Lab</c:v>
                </c:pt>
                <c:pt idx="144">
                  <c:v>Private Lab</c:v>
                </c:pt>
                <c:pt idx="145">
                  <c:v>P'Tit Louis</c:v>
                </c:pt>
                <c:pt idx="146">
                  <c:v>Salakis</c:v>
                </c:pt>
                <c:pt idx="147">
                  <c:v>All Others</c:v>
                </c:pt>
                <c:pt idx="148">
                  <c:v>St Moret</c:v>
                </c:pt>
                <c:pt idx="149">
                  <c:v>Private Lab</c:v>
                </c:pt>
                <c:pt idx="150">
                  <c:v>Le Rustique</c:v>
                </c:pt>
                <c:pt idx="151">
                  <c:v>Private Lab</c:v>
                </c:pt>
                <c:pt idx="152">
                  <c:v>All Others</c:v>
                </c:pt>
                <c:pt idx="153">
                  <c:v>All Others</c:v>
                </c:pt>
                <c:pt idx="154">
                  <c:v>All Others</c:v>
                </c:pt>
                <c:pt idx="155">
                  <c:v>Milleret: A</c:v>
                </c:pt>
                <c:pt idx="156">
                  <c:v>All Others</c:v>
                </c:pt>
                <c:pt idx="157">
                  <c:v>Private Lab</c:v>
                </c:pt>
                <c:pt idx="158">
                  <c:v>Soignon</c:v>
                </c:pt>
                <c:pt idx="159">
                  <c:v>All Others</c:v>
                </c:pt>
                <c:pt idx="160">
                  <c:v>All Others</c:v>
                </c:pt>
                <c:pt idx="161">
                  <c:v>Carre Frais</c:v>
                </c:pt>
                <c:pt idx="162">
                  <c:v>All Others</c:v>
                </c:pt>
                <c:pt idx="163">
                  <c:v>Galbani</c:v>
                </c:pt>
                <c:pt idx="164">
                  <c:v>Paysan Bret</c:v>
                </c:pt>
                <c:pt idx="165">
                  <c:v>Coeur De Li</c:v>
                </c:pt>
                <c:pt idx="166">
                  <c:v>All Others</c:v>
                </c:pt>
                <c:pt idx="167">
                  <c:v>All Others</c:v>
                </c:pt>
                <c:pt idx="168">
                  <c:v>Private Lab</c:v>
                </c:pt>
                <c:pt idx="169">
                  <c:v>Soignon</c:v>
                </c:pt>
                <c:pt idx="170">
                  <c:v>Savencia: A</c:v>
                </c:pt>
                <c:pt idx="171">
                  <c:v>Milleret: A</c:v>
                </c:pt>
                <c:pt idx="172">
                  <c:v>Paysan Bret</c:v>
                </c:pt>
                <c:pt idx="173">
                  <c:v>All Others</c:v>
                </c:pt>
                <c:pt idx="174">
                  <c:v>Boursin</c:v>
                </c:pt>
                <c:pt idx="175">
                  <c:v>Lactalis: A</c:v>
                </c:pt>
                <c:pt idx="176">
                  <c:v>Galbani</c:v>
                </c:pt>
                <c:pt idx="177">
                  <c:v>Pave D'Affi</c:v>
                </c:pt>
                <c:pt idx="178">
                  <c:v>Casa Azzurr</c:v>
                </c:pt>
                <c:pt idx="179">
                  <c:v>Casa Azzurr</c:v>
                </c:pt>
                <c:pt idx="180">
                  <c:v>Istara</c:v>
                </c:pt>
                <c:pt idx="181">
                  <c:v>Boursin</c:v>
                </c:pt>
                <c:pt idx="182">
                  <c:v>Mini Babybe</c:v>
                </c:pt>
                <c:pt idx="183">
                  <c:v>Eurial Autr</c:v>
                </c:pt>
                <c:pt idx="184">
                  <c:v>Private Lab</c:v>
                </c:pt>
                <c:pt idx="185">
                  <c:v>Casa Azzurr</c:v>
                </c:pt>
                <c:pt idx="186">
                  <c:v>All Others</c:v>
                </c:pt>
                <c:pt idx="187">
                  <c:v>Lou Perac</c:v>
                </c:pt>
                <c:pt idx="188">
                  <c:v>Kiri</c:v>
                </c:pt>
                <c:pt idx="189">
                  <c:v>All Others</c:v>
                </c:pt>
                <c:pt idx="190">
                  <c:v>Private Lab</c:v>
                </c:pt>
                <c:pt idx="191">
                  <c:v>All Others</c:v>
                </c:pt>
                <c:pt idx="192">
                  <c:v>All Others</c:v>
                </c:pt>
                <c:pt idx="193">
                  <c:v>Private Lab</c:v>
                </c:pt>
                <c:pt idx="194">
                  <c:v>All Others</c:v>
                </c:pt>
                <c:pt idx="195">
                  <c:v>All Others</c:v>
                </c:pt>
                <c:pt idx="196">
                  <c:v>Mini Babybe</c:v>
                </c:pt>
                <c:pt idx="197">
                  <c:v>All Others</c:v>
                </c:pt>
                <c:pt idx="198">
                  <c:v>Private Lab</c:v>
                </c:pt>
                <c:pt idx="199">
                  <c:v>All Others</c:v>
                </c:pt>
                <c:pt idx="200">
                  <c:v>Private Lab</c:v>
                </c:pt>
                <c:pt idx="201">
                  <c:v>All Others</c:v>
                </c:pt>
                <c:pt idx="202">
                  <c:v>All Others</c:v>
                </c:pt>
                <c:pt idx="203">
                  <c:v>All Others</c:v>
                </c:pt>
                <c:pt idx="204">
                  <c:v>All Others</c:v>
                </c:pt>
                <c:pt idx="205">
                  <c:v>All Others</c:v>
                </c:pt>
                <c:pt idx="206">
                  <c:v>All Others</c:v>
                </c:pt>
                <c:pt idx="207">
                  <c:v>All Others</c:v>
                </c:pt>
                <c:pt idx="208">
                  <c:v>La Vache Qu</c:v>
                </c:pt>
                <c:pt idx="209">
                  <c:v>All Others</c:v>
                </c:pt>
                <c:pt idx="210">
                  <c:v>Private Lab</c:v>
                </c:pt>
                <c:pt idx="211">
                  <c:v>Private Lab</c:v>
                </c:pt>
                <c:pt idx="212">
                  <c:v>Private Lab</c:v>
                </c:pt>
                <c:pt idx="213">
                  <c:v>All Others</c:v>
                </c:pt>
                <c:pt idx="214">
                  <c:v>All Others</c:v>
                </c:pt>
                <c:pt idx="215">
                  <c:v>All Others</c:v>
                </c:pt>
                <c:pt idx="216">
                  <c:v>Lactalis: A</c:v>
                </c:pt>
                <c:pt idx="217">
                  <c:v>All Others</c:v>
                </c:pt>
                <c:pt idx="218">
                  <c:v>All Others</c:v>
                </c:pt>
                <c:pt idx="219">
                  <c:v>All Others</c:v>
                </c:pt>
                <c:pt idx="220">
                  <c:v>All Others</c:v>
                </c:pt>
                <c:pt idx="221">
                  <c:v>Mini Babybe</c:v>
                </c:pt>
                <c:pt idx="222">
                  <c:v>All Others</c:v>
                </c:pt>
                <c:pt idx="223">
                  <c:v>La Vache Qu</c:v>
                </c:pt>
                <c:pt idx="224">
                  <c:v>All Others</c:v>
                </c:pt>
                <c:pt idx="225">
                  <c:v>All Others</c:v>
                </c:pt>
                <c:pt idx="226">
                  <c:v>All Others</c:v>
                </c:pt>
                <c:pt idx="227">
                  <c:v>All Others</c:v>
                </c:pt>
                <c:pt idx="228">
                  <c:v>All Others</c:v>
                </c:pt>
                <c:pt idx="229">
                  <c:v>All Others</c:v>
                </c:pt>
                <c:pt idx="230">
                  <c:v>All Others</c:v>
                </c:pt>
                <c:pt idx="231">
                  <c:v>P'Tit Louis</c:v>
                </c:pt>
                <c:pt idx="232">
                  <c:v>All Others</c:v>
                </c:pt>
                <c:pt idx="233">
                  <c:v>All Others</c:v>
                </c:pt>
                <c:pt idx="234">
                  <c:v>Boursin</c:v>
                </c:pt>
                <c:pt idx="235">
                  <c:v>All Others</c:v>
                </c:pt>
                <c:pt idx="236">
                  <c:v>All Others</c:v>
                </c:pt>
                <c:pt idx="237">
                  <c:v>All Others</c:v>
                </c:pt>
                <c:pt idx="238">
                  <c:v>All Others</c:v>
                </c:pt>
                <c:pt idx="239">
                  <c:v>Private Lab</c:v>
                </c:pt>
                <c:pt idx="240">
                  <c:v>All Others</c:v>
                </c:pt>
                <c:pt idx="241">
                  <c:v>Lactalis: A</c:v>
                </c:pt>
                <c:pt idx="242">
                  <c:v>All Others</c:v>
                </c:pt>
                <c:pt idx="243">
                  <c:v>All Others</c:v>
                </c:pt>
                <c:pt idx="244">
                  <c:v>All Others</c:v>
                </c:pt>
                <c:pt idx="245">
                  <c:v>All Others</c:v>
                </c:pt>
                <c:pt idx="246">
                  <c:v>All Others</c:v>
                </c:pt>
                <c:pt idx="247">
                  <c:v>All Others</c:v>
                </c:pt>
                <c:pt idx="248">
                  <c:v>All Others</c:v>
                </c:pt>
                <c:pt idx="249">
                  <c:v>Lou Perac</c:v>
                </c:pt>
                <c:pt idx="250">
                  <c:v>All Others</c:v>
                </c:pt>
                <c:pt idx="251">
                  <c:v>Lactalis: A</c:v>
                </c:pt>
                <c:pt idx="252">
                  <c:v>All Others</c:v>
                </c:pt>
                <c:pt idx="253">
                  <c:v>Galbani</c:v>
                </c:pt>
                <c:pt idx="254">
                  <c:v>All Others</c:v>
                </c:pt>
                <c:pt idx="255">
                  <c:v>Private Lab</c:v>
                </c:pt>
                <c:pt idx="256">
                  <c:v>Ficello</c:v>
                </c:pt>
                <c:pt idx="257">
                  <c:v>All Others</c:v>
                </c:pt>
                <c:pt idx="258">
                  <c:v>Chavroux</c:v>
                </c:pt>
                <c:pt idx="259">
                  <c:v>All Others</c:v>
                </c:pt>
                <c:pt idx="260">
                  <c:v>All Others</c:v>
                </c:pt>
                <c:pt idx="261">
                  <c:v>All Others</c:v>
                </c:pt>
                <c:pt idx="262">
                  <c:v>All Others</c:v>
                </c:pt>
                <c:pt idx="263">
                  <c:v>Private Lab</c:v>
                </c:pt>
                <c:pt idx="264">
                  <c:v>Kiri</c:v>
                </c:pt>
                <c:pt idx="265">
                  <c:v>All Others</c:v>
                </c:pt>
                <c:pt idx="266">
                  <c:v>Mini Babybe</c:v>
                </c:pt>
                <c:pt idx="267">
                  <c:v>All Others</c:v>
                </c:pt>
                <c:pt idx="268">
                  <c:v>All Others</c:v>
                </c:pt>
                <c:pt idx="269">
                  <c:v>All Others</c:v>
                </c:pt>
                <c:pt idx="270">
                  <c:v>All Others</c:v>
                </c:pt>
                <c:pt idx="271">
                  <c:v>All Others</c:v>
                </c:pt>
                <c:pt idx="272">
                  <c:v>All Others</c:v>
                </c:pt>
                <c:pt idx="273">
                  <c:v>All Others</c:v>
                </c:pt>
                <c:pt idx="274">
                  <c:v>All Others</c:v>
                </c:pt>
                <c:pt idx="275">
                  <c:v>All Others</c:v>
                </c:pt>
                <c:pt idx="276">
                  <c:v>Triballat R</c:v>
                </c:pt>
                <c:pt idx="277">
                  <c:v>All Others</c:v>
                </c:pt>
                <c:pt idx="278">
                  <c:v>All Others</c:v>
                </c:pt>
                <c:pt idx="279">
                  <c:v>Philadelphi</c:v>
                </c:pt>
                <c:pt idx="280">
                  <c:v>Triballat R</c:v>
                </c:pt>
                <c:pt idx="281">
                  <c:v>Lactalis: A</c:v>
                </c:pt>
                <c:pt idx="282">
                  <c:v>Savencia: A</c:v>
                </c:pt>
                <c:pt idx="283">
                  <c:v>Private Lab</c:v>
                </c:pt>
                <c:pt idx="284">
                  <c:v>Private Lab</c:v>
                </c:pt>
                <c:pt idx="285">
                  <c:v>All Others</c:v>
                </c:pt>
                <c:pt idx="286">
                  <c:v>All Others</c:v>
                </c:pt>
                <c:pt idx="287">
                  <c:v>All Others</c:v>
                </c:pt>
                <c:pt idx="288">
                  <c:v>All Others</c:v>
                </c:pt>
                <c:pt idx="289">
                  <c:v>All Others</c:v>
                </c:pt>
                <c:pt idx="290">
                  <c:v>All Others</c:v>
                </c:pt>
                <c:pt idx="291">
                  <c:v>Etoile Du Q</c:v>
                </c:pt>
                <c:pt idx="292">
                  <c:v>All Others</c:v>
                </c:pt>
                <c:pt idx="293">
                  <c:v>All Others</c:v>
                </c:pt>
                <c:pt idx="294">
                  <c:v>All Others</c:v>
                </c:pt>
                <c:pt idx="295">
                  <c:v>All Others</c:v>
                </c:pt>
                <c:pt idx="296">
                  <c:v>Savencia: A</c:v>
                </c:pt>
                <c:pt idx="297">
                  <c:v>Triballat R</c:v>
                </c:pt>
                <c:pt idx="298">
                  <c:v>All Others</c:v>
                </c:pt>
                <c:pt idx="299">
                  <c:v>All Others</c:v>
                </c:pt>
                <c:pt idx="300">
                  <c:v>St Moret</c:v>
                </c:pt>
                <c:pt idx="301">
                  <c:v>All Others</c:v>
                </c:pt>
                <c:pt idx="302">
                  <c:v>All Others</c:v>
                </c:pt>
                <c:pt idx="303">
                  <c:v>All Others</c:v>
                </c:pt>
                <c:pt idx="304">
                  <c:v>Savencia: A</c:v>
                </c:pt>
                <c:pt idx="305">
                  <c:v>All Others</c:v>
                </c:pt>
                <c:pt idx="306">
                  <c:v>All Others</c:v>
                </c:pt>
                <c:pt idx="307">
                  <c:v>All Others</c:v>
                </c:pt>
                <c:pt idx="308">
                  <c:v>All Others</c:v>
                </c:pt>
                <c:pt idx="309">
                  <c:v>All Others</c:v>
                </c:pt>
                <c:pt idx="310">
                  <c:v>All Others</c:v>
                </c:pt>
                <c:pt idx="311">
                  <c:v>Lactalis: A</c:v>
                </c:pt>
                <c:pt idx="312">
                  <c:v>Ficello</c:v>
                </c:pt>
                <c:pt idx="313">
                  <c:v>Triballat N</c:v>
                </c:pt>
                <c:pt idx="314">
                  <c:v>All Others</c:v>
                </c:pt>
                <c:pt idx="315">
                  <c:v>All Others</c:v>
                </c:pt>
                <c:pt idx="316">
                  <c:v>Private Lab</c:v>
                </c:pt>
                <c:pt idx="317">
                  <c:v>All Others</c:v>
                </c:pt>
                <c:pt idx="318">
                  <c:v>All Others</c:v>
                </c:pt>
                <c:pt idx="319">
                  <c:v>All Others</c:v>
                </c:pt>
                <c:pt idx="320">
                  <c:v>All Others</c:v>
                </c:pt>
                <c:pt idx="321">
                  <c:v>All Others</c:v>
                </c:pt>
                <c:pt idx="322">
                  <c:v>All Others</c:v>
                </c:pt>
                <c:pt idx="323">
                  <c:v>All Others</c:v>
                </c:pt>
                <c:pt idx="324">
                  <c:v>Private Lab</c:v>
                </c:pt>
                <c:pt idx="325">
                  <c:v>All Others</c:v>
                </c:pt>
                <c:pt idx="326">
                  <c:v>All Others</c:v>
                </c:pt>
                <c:pt idx="327">
                  <c:v>Private Lab</c:v>
                </c:pt>
                <c:pt idx="328">
                  <c:v>All Others</c:v>
                </c:pt>
                <c:pt idx="329">
                  <c:v>All Others</c:v>
                </c:pt>
                <c:pt idx="330">
                  <c:v>All Others</c:v>
                </c:pt>
                <c:pt idx="331">
                  <c:v>Tartare</c:v>
                </c:pt>
                <c:pt idx="332">
                  <c:v>All Others</c:v>
                </c:pt>
                <c:pt idx="333">
                  <c:v>All Others</c:v>
                </c:pt>
                <c:pt idx="334">
                  <c:v>All Others</c:v>
                </c:pt>
                <c:pt idx="335">
                  <c:v>All Others</c:v>
                </c:pt>
                <c:pt idx="336">
                  <c:v>All Others</c:v>
                </c:pt>
                <c:pt idx="337">
                  <c:v>All Others</c:v>
                </c:pt>
                <c:pt idx="338">
                  <c:v>All Others</c:v>
                </c:pt>
                <c:pt idx="339">
                  <c:v>Eurial Autr</c:v>
                </c:pt>
                <c:pt idx="340">
                  <c:v>All Others</c:v>
                </c:pt>
                <c:pt idx="341">
                  <c:v>All Others</c:v>
                </c:pt>
                <c:pt idx="342">
                  <c:v>All Others</c:v>
                </c:pt>
                <c:pt idx="343">
                  <c:v>All Others</c:v>
                </c:pt>
                <c:pt idx="344">
                  <c:v>All Others</c:v>
                </c:pt>
                <c:pt idx="345">
                  <c:v>All Others</c:v>
                </c:pt>
                <c:pt idx="346">
                  <c:v>Mini Babybe</c:v>
                </c:pt>
                <c:pt idx="347">
                  <c:v>All Others</c:v>
                </c:pt>
                <c:pt idx="348">
                  <c:v>Private Lab</c:v>
                </c:pt>
                <c:pt idx="349">
                  <c:v>All Others</c:v>
                </c:pt>
                <c:pt idx="350">
                  <c:v>All Others</c:v>
                </c:pt>
                <c:pt idx="351">
                  <c:v>All Others</c:v>
                </c:pt>
                <c:pt idx="352">
                  <c:v>All Others</c:v>
                </c:pt>
                <c:pt idx="353">
                  <c:v>All Others</c:v>
                </c:pt>
                <c:pt idx="354">
                  <c:v>All Others</c:v>
                </c:pt>
                <c:pt idx="355">
                  <c:v>All Others</c:v>
                </c:pt>
                <c:pt idx="356">
                  <c:v>Boursin</c:v>
                </c:pt>
                <c:pt idx="357">
                  <c:v>All Others</c:v>
                </c:pt>
                <c:pt idx="358">
                  <c:v>Soignon</c:v>
                </c:pt>
                <c:pt idx="359">
                  <c:v>All Others</c:v>
                </c:pt>
                <c:pt idx="360">
                  <c:v>All Others</c:v>
                </c:pt>
                <c:pt idx="361">
                  <c:v>All Others</c:v>
                </c:pt>
                <c:pt idx="362">
                  <c:v>All Others</c:v>
                </c:pt>
                <c:pt idx="363">
                  <c:v>Private Lab</c:v>
                </c:pt>
                <c:pt idx="364">
                  <c:v>All Others</c:v>
                </c:pt>
                <c:pt idx="365">
                  <c:v>All Others</c:v>
                </c:pt>
                <c:pt idx="366">
                  <c:v>All Others</c:v>
                </c:pt>
                <c:pt idx="367">
                  <c:v>All Others</c:v>
                </c:pt>
                <c:pt idx="368">
                  <c:v>All Others</c:v>
                </c:pt>
                <c:pt idx="369">
                  <c:v>All Others</c:v>
                </c:pt>
                <c:pt idx="370">
                  <c:v>All Others</c:v>
                </c:pt>
                <c:pt idx="371">
                  <c:v>Savencia: A</c:v>
                </c:pt>
                <c:pt idx="372">
                  <c:v>Private Lab</c:v>
                </c:pt>
                <c:pt idx="373">
                  <c:v>All Others</c:v>
                </c:pt>
                <c:pt idx="374">
                  <c:v>All Others</c:v>
                </c:pt>
                <c:pt idx="375">
                  <c:v>All Others</c:v>
                </c:pt>
                <c:pt idx="376">
                  <c:v>All Others</c:v>
                </c:pt>
                <c:pt idx="377">
                  <c:v>All Others</c:v>
                </c:pt>
                <c:pt idx="378">
                  <c:v>All Others</c:v>
                </c:pt>
                <c:pt idx="379">
                  <c:v>All Others</c:v>
                </c:pt>
                <c:pt idx="380">
                  <c:v>All Others</c:v>
                </c:pt>
                <c:pt idx="381">
                  <c:v>All Others</c:v>
                </c:pt>
                <c:pt idx="382">
                  <c:v>All Others</c:v>
                </c:pt>
                <c:pt idx="383">
                  <c:v>All Others</c:v>
                </c:pt>
                <c:pt idx="384">
                  <c:v>All Others</c:v>
                </c:pt>
                <c:pt idx="385">
                  <c:v>Private Lab</c:v>
                </c:pt>
                <c:pt idx="386">
                  <c:v>Private Lab</c:v>
                </c:pt>
                <c:pt idx="387">
                  <c:v>All Others</c:v>
                </c:pt>
                <c:pt idx="388">
                  <c:v>All Others</c:v>
                </c:pt>
                <c:pt idx="389">
                  <c:v>Private Lab</c:v>
                </c:pt>
                <c:pt idx="390">
                  <c:v>All Others</c:v>
                </c:pt>
                <c:pt idx="391">
                  <c:v>Caprice Des</c:v>
                </c:pt>
                <c:pt idx="392">
                  <c:v>Private Lab</c:v>
                </c:pt>
                <c:pt idx="393">
                  <c:v>All Others</c:v>
                </c:pt>
                <c:pt idx="394">
                  <c:v>Private Lab</c:v>
                </c:pt>
                <c:pt idx="395">
                  <c:v>All Others</c:v>
                </c:pt>
                <c:pt idx="396">
                  <c:v>All Others</c:v>
                </c:pt>
                <c:pt idx="397">
                  <c:v>All Others</c:v>
                </c:pt>
                <c:pt idx="398">
                  <c:v>All Others</c:v>
                </c:pt>
                <c:pt idx="399">
                  <c:v>All Others</c:v>
                </c:pt>
                <c:pt idx="400">
                  <c:v>Private Lab</c:v>
                </c:pt>
                <c:pt idx="401">
                  <c:v>All Others</c:v>
                </c:pt>
                <c:pt idx="402">
                  <c:v>All Others</c:v>
                </c:pt>
                <c:pt idx="403">
                  <c:v>Carre Frais</c:v>
                </c:pt>
                <c:pt idx="404">
                  <c:v>All Others</c:v>
                </c:pt>
                <c:pt idx="405">
                  <c:v>All Others</c:v>
                </c:pt>
                <c:pt idx="406">
                  <c:v>Triballat R</c:v>
                </c:pt>
                <c:pt idx="407">
                  <c:v>All Others</c:v>
                </c:pt>
                <c:pt idx="408">
                  <c:v>All Others</c:v>
                </c:pt>
                <c:pt idx="409">
                  <c:v>All Others</c:v>
                </c:pt>
                <c:pt idx="410">
                  <c:v>All Others</c:v>
                </c:pt>
                <c:pt idx="411">
                  <c:v>All Others</c:v>
                </c:pt>
                <c:pt idx="412">
                  <c:v>All Others</c:v>
                </c:pt>
                <c:pt idx="413">
                  <c:v>All Others</c:v>
                </c:pt>
                <c:pt idx="414">
                  <c:v>All Others</c:v>
                </c:pt>
                <c:pt idx="415">
                  <c:v>All Others</c:v>
                </c:pt>
              </c:strCache>
            </c:strRef>
          </c:cat>
          <c:val>
            <c:numRef>
              <c:f>Sheet1!$C$2:$C$417</c:f>
              <c:numCache>
                <c:formatCode>General</c:formatCode>
                <c:ptCount val="416"/>
                <c:pt idx="0">
                  <c:v>0.11790685819383477</c:v>
                </c:pt>
                <c:pt idx="1">
                  <c:v>0.14085332980473061</c:v>
                </c:pt>
                <c:pt idx="2">
                  <c:v>0.16266497149999792</c:v>
                </c:pt>
                <c:pt idx="3">
                  <c:v>0.18430045007606444</c:v>
                </c:pt>
                <c:pt idx="4">
                  <c:v>0.2265668022495874</c:v>
                </c:pt>
                <c:pt idx="5">
                  <c:v>0.24540693531187074</c:v>
                </c:pt>
                <c:pt idx="6">
                  <c:v>0.26374881526059485</c:v>
                </c:pt>
                <c:pt idx="7">
                  <c:v>0.28076942429539636</c:v>
                </c:pt>
                <c:pt idx="8">
                  <c:v>0.3297014766257405</c:v>
                </c:pt>
                <c:pt idx="9">
                  <c:v>0.3455675146138678</c:v>
                </c:pt>
                <c:pt idx="10">
                  <c:v>0.3607868269034632</c:v>
                </c:pt>
                <c:pt idx="11">
                  <c:v>0.37548583004966185</c:v>
                </c:pt>
                <c:pt idx="12">
                  <c:v>0.3901492815097235</c:v>
                </c:pt>
                <c:pt idx="13">
                  <c:v>0.41740208263230144</c:v>
                </c:pt>
                <c:pt idx="14">
                  <c:v>0.4298949125557504</c:v>
                </c:pt>
                <c:pt idx="15">
                  <c:v>0.4422876519578315</c:v>
                </c:pt>
                <c:pt idx="16">
                  <c:v>0.47685526850870885</c:v>
                </c:pt>
                <c:pt idx="17">
                  <c:v>0.4877089939506875</c:v>
                </c:pt>
                <c:pt idx="18">
                  <c:v>0.5083469208614715</c:v>
                </c:pt>
                <c:pt idx="19">
                  <c:v>0.518277137456708</c:v>
                </c:pt>
                <c:pt idx="20">
                  <c:v>0.5278663579193598</c:v>
                </c:pt>
                <c:pt idx="21">
                  <c:v>0.5368469975993482</c:v>
                </c:pt>
                <c:pt idx="22">
                  <c:v>0.5458274132568729</c:v>
                </c:pt>
                <c:pt idx="23">
                  <c:v>0.5634194289224786</c:v>
                </c:pt>
                <c:pt idx="24">
                  <c:v>0.5718503038993704</c:v>
                </c:pt>
                <c:pt idx="25">
                  <c:v>0.5800138793456829</c:v>
                </c:pt>
                <c:pt idx="26">
                  <c:v>0.5881479109810219</c:v>
                </c:pt>
                <c:pt idx="27">
                  <c:v>0.5961063429475992</c:v>
                </c:pt>
                <c:pt idx="28">
                  <c:v>0.6039501568754642</c:v>
                </c:pt>
                <c:pt idx="29">
                  <c:v>0.6259357418309736</c:v>
                </c:pt>
                <c:pt idx="30">
                  <c:v>0.6330506070275604</c:v>
                </c:pt>
                <c:pt idx="31">
                  <c:v>0.6468819440175196</c:v>
                </c:pt>
                <c:pt idx="32">
                  <c:v>0.6532967933234465</c:v>
                </c:pt>
                <c:pt idx="33">
                  <c:v>0.6592135999611588</c:v>
                </c:pt>
                <c:pt idx="34">
                  <c:v>0.6651154038823611</c:v>
                </c:pt>
                <c:pt idx="35">
                  <c:v>0.6710060881430914</c:v>
                </c:pt>
                <c:pt idx="36">
                  <c:v>0.6826290931483778</c:v>
                </c:pt>
                <c:pt idx="37">
                  <c:v>0.6883112939580955</c:v>
                </c:pt>
                <c:pt idx="38">
                  <c:v>0.693992313558459</c:v>
                </c:pt>
                <c:pt idx="39">
                  <c:v>0.699519008835555</c:v>
                </c:pt>
                <c:pt idx="40">
                  <c:v>0.7049691698927716</c:v>
                </c:pt>
                <c:pt idx="41">
                  <c:v>0.7153494000977122</c:v>
                </c:pt>
                <c:pt idx="42">
                  <c:v>0.7203588139289514</c:v>
                </c:pt>
                <c:pt idx="43">
                  <c:v>0.7252335087967787</c:v>
                </c:pt>
                <c:pt idx="44">
                  <c:v>0.7300857538983171</c:v>
                </c:pt>
                <c:pt idx="45">
                  <c:v>0.7349286307877362</c:v>
                </c:pt>
                <c:pt idx="46">
                  <c:v>0.7396871462481646</c:v>
                </c:pt>
                <c:pt idx="47">
                  <c:v>0.7444357979316296</c:v>
                </c:pt>
                <c:pt idx="48">
                  <c:v>0.7491819514251962</c:v>
                </c:pt>
                <c:pt idx="49">
                  <c:v>0.7539198092990455</c:v>
                </c:pt>
                <c:pt idx="50">
                  <c:v>0.7586542389503438</c:v>
                </c:pt>
                <c:pt idx="51">
                  <c:v>0.7633337355781132</c:v>
                </c:pt>
                <c:pt idx="52">
                  <c:v>0.7678951384247029</c:v>
                </c:pt>
                <c:pt idx="53">
                  <c:v>0.7722801744953065</c:v>
                </c:pt>
                <c:pt idx="54">
                  <c:v>0.7765821729060233</c:v>
                </c:pt>
                <c:pt idx="55">
                  <c:v>0.7851379234350421</c:v>
                </c:pt>
                <c:pt idx="56">
                  <c:v>0.7891682980027738</c:v>
                </c:pt>
                <c:pt idx="57">
                  <c:v>0.7931433729647632</c:v>
                </c:pt>
                <c:pt idx="58">
                  <c:v>0.7971011506771295</c:v>
                </c:pt>
                <c:pt idx="59">
                  <c:v>0.8045601143779959</c:v>
                </c:pt>
                <c:pt idx="60">
                  <c:v>0.8082467027151855</c:v>
                </c:pt>
                <c:pt idx="61">
                  <c:v>0.8119079561482958</c:v>
                </c:pt>
                <c:pt idx="62">
                  <c:v>0.8155164556854789</c:v>
                </c:pt>
                <c:pt idx="63">
                  <c:v>0.8225505370239352</c:v>
                </c:pt>
                <c:pt idx="64">
                  <c:v>0.8257243107874236</c:v>
                </c:pt>
                <c:pt idx="65">
                  <c:v>0.8288709642556823</c:v>
                </c:pt>
                <c:pt idx="66">
                  <c:v>0.8319143569452835</c:v>
                </c:pt>
                <c:pt idx="67">
                  <c:v>0.8349208130826083</c:v>
                </c:pt>
                <c:pt idx="68">
                  <c:v>0.8378432404303583</c:v>
                </c:pt>
                <c:pt idx="69">
                  <c:v>0.8407590625097082</c:v>
                </c:pt>
                <c:pt idx="70">
                  <c:v>0.8436627873760171</c:v>
                </c:pt>
                <c:pt idx="71">
                  <c:v>0.8465325083477565</c:v>
                </c:pt>
                <c:pt idx="72">
                  <c:v>0.8493928611073766</c:v>
                </c:pt>
                <c:pt idx="73">
                  <c:v>0.8547129329987648</c:v>
                </c:pt>
                <c:pt idx="74">
                  <c:v>0.8573295425292942</c:v>
                </c:pt>
                <c:pt idx="75">
                  <c:v>0.8598798617762398</c:v>
                </c:pt>
                <c:pt idx="76">
                  <c:v>0.8623952335188445</c:v>
                </c:pt>
                <c:pt idx="77">
                  <c:v>0.8648696227277068</c:v>
                </c:pt>
                <c:pt idx="78">
                  <c:v>0.8696952702530977</c:v>
                </c:pt>
                <c:pt idx="79">
                  <c:v>0.8720818222905019</c:v>
                </c:pt>
                <c:pt idx="80">
                  <c:v>0.8767322910378205</c:v>
                </c:pt>
                <c:pt idx="81">
                  <c:v>0.8789384846262487</c:v>
                </c:pt>
                <c:pt idx="82">
                  <c:v>0.8811196012758589</c:v>
                </c:pt>
                <c:pt idx="83">
                  <c:v>0.8831324023810581</c:v>
                </c:pt>
                <c:pt idx="84">
                  <c:v>0.8868354393979326</c:v>
                </c:pt>
                <c:pt idx="85">
                  <c:v>0.8904608356597281</c:v>
                </c:pt>
                <c:pt idx="86">
                  <c:v>0.8922228877424255</c:v>
                </c:pt>
                <c:pt idx="87">
                  <c:v>0.8939519134831225</c:v>
                </c:pt>
                <c:pt idx="88">
                  <c:v>0.8956044389467377</c:v>
                </c:pt>
                <c:pt idx="89">
                  <c:v>0.8972497685372757</c:v>
                </c:pt>
                <c:pt idx="90">
                  <c:v>0.9000451547824159</c:v>
                </c:pt>
                <c:pt idx="91">
                  <c:v>0.9013705599290781</c:v>
                </c:pt>
                <c:pt idx="92">
                  <c:v>0.9026812067473726</c:v>
                </c:pt>
                <c:pt idx="93">
                  <c:v>0.9039553379040801</c:v>
                </c:pt>
                <c:pt idx="94">
                  <c:v>0.9064738934810935</c:v>
                </c:pt>
                <c:pt idx="95">
                  <c:v>0.9077265456355217</c:v>
                </c:pt>
                <c:pt idx="96">
                  <c:v>0.9112936349597136</c:v>
                </c:pt>
                <c:pt idx="97">
                  <c:v>0.9124600316770486</c:v>
                </c:pt>
                <c:pt idx="98">
                  <c:v>0.9136262043719199</c:v>
                </c:pt>
                <c:pt idx="99">
                  <c:v>0.914783599459349</c:v>
                </c:pt>
                <c:pt idx="100">
                  <c:v>0.9159083008441934</c:v>
                </c:pt>
                <c:pt idx="101">
                  <c:v>0.9169904583266089</c:v>
                </c:pt>
                <c:pt idx="102">
                  <c:v>0.9180656575355298</c:v>
                </c:pt>
                <c:pt idx="103">
                  <c:v>0.9190971044784296</c:v>
                </c:pt>
                <c:pt idx="104">
                  <c:v>0.921132172058811</c:v>
                </c:pt>
                <c:pt idx="105">
                  <c:v>0.92213871856544</c:v>
                </c:pt>
                <c:pt idx="106">
                  <c:v>0.9231451496665575</c:v>
                </c:pt>
                <c:pt idx="107">
                  <c:v>0.9241160630243355</c:v>
                </c:pt>
                <c:pt idx="108">
                  <c:v>0.9250453557237773</c:v>
                </c:pt>
                <c:pt idx="109">
                  <c:v>0.9259361980221729</c:v>
                </c:pt>
                <c:pt idx="110">
                  <c:v>0.9268110057430133</c:v>
                </c:pt>
                <c:pt idx="111">
                  <c:v>0.9285504858653508</c:v>
                </c:pt>
                <c:pt idx="112">
                  <c:v>0.929413970268934</c:v>
                </c:pt>
                <c:pt idx="113">
                  <c:v>0.9302335055382704</c:v>
                </c:pt>
                <c:pt idx="114">
                  <c:v>0.9310238635788467</c:v>
                </c:pt>
                <c:pt idx="115">
                  <c:v>0.931813753208817</c:v>
                </c:pt>
                <c:pt idx="116">
                  <c:v>0.9326017556192444</c:v>
                </c:pt>
                <c:pt idx="117">
                  <c:v>0.9341541023102181</c:v>
                </c:pt>
                <c:pt idx="118">
                  <c:v>0.9356481420635882</c:v>
                </c:pt>
                <c:pt idx="119">
                  <c:v>0.9363908579935458</c:v>
                </c:pt>
                <c:pt idx="120">
                  <c:v>0.9371271587347696</c:v>
                </c:pt>
                <c:pt idx="121">
                  <c:v>0.9378623054208772</c:v>
                </c:pt>
                <c:pt idx="122">
                  <c:v>0.9385969429650218</c:v>
                </c:pt>
                <c:pt idx="123">
                  <c:v>0.939325104223397</c:v>
                </c:pt>
                <c:pt idx="124">
                  <c:v>0.9400501223787205</c:v>
                </c:pt>
                <c:pt idx="125">
                  <c:v>0.9414838457808729</c:v>
                </c:pt>
                <c:pt idx="126">
                  <c:v>0.9428575990483423</c:v>
                </c:pt>
                <c:pt idx="127">
                  <c:v>0.9435243034775027</c:v>
                </c:pt>
                <c:pt idx="128">
                  <c:v>0.9441564609273331</c:v>
                </c:pt>
                <c:pt idx="129">
                  <c:v>0.9447747493500911</c:v>
                </c:pt>
                <c:pt idx="130">
                  <c:v>0.94539082470245</c:v>
                </c:pt>
                <c:pt idx="131">
                  <c:v>0.946006526684036</c:v>
                </c:pt>
                <c:pt idx="132">
                  <c:v>0.9466201717320913</c:v>
                </c:pt>
                <c:pt idx="133">
                  <c:v>0.9472243671053133</c:v>
                </c:pt>
                <c:pt idx="134">
                  <c:v>0.9478277342742755</c:v>
                </c:pt>
                <c:pt idx="135">
                  <c:v>0.9484195744691951</c:v>
                </c:pt>
                <c:pt idx="136">
                  <c:v>0.9490057462169266</c:v>
                </c:pt>
                <c:pt idx="137">
                  <c:v>0.9501637726403898</c:v>
                </c:pt>
                <c:pt idx="138">
                  <c:v>0.9507334210342817</c:v>
                </c:pt>
                <c:pt idx="139">
                  <c:v>0.9512981816653289</c:v>
                </c:pt>
                <c:pt idx="140">
                  <c:v>0.9518471453184038</c:v>
                </c:pt>
                <c:pt idx="141">
                  <c:v>0.95237792242056</c:v>
                </c:pt>
                <c:pt idx="142">
                  <c:v>0.9529052645116057</c:v>
                </c:pt>
                <c:pt idx="143">
                  <c:v>0.953430121989872</c:v>
                </c:pt>
                <c:pt idx="144">
                  <c:v>0.9539319051543748</c:v>
                </c:pt>
                <c:pt idx="145">
                  <c:v>0.9544064729838149</c:v>
                </c:pt>
                <c:pt idx="146">
                  <c:v>0.9548791535937121</c:v>
                </c:pt>
                <c:pt idx="147">
                  <c:v>0.9553474827369655</c:v>
                </c:pt>
                <c:pt idx="148">
                  <c:v>0.9558112771224683</c:v>
                </c:pt>
                <c:pt idx="149">
                  <c:v>0.9562648818801515</c:v>
                </c:pt>
                <c:pt idx="150">
                  <c:v>0.9567014201992347</c:v>
                </c:pt>
                <c:pt idx="151">
                  <c:v>0.9571209871195508</c:v>
                </c:pt>
                <c:pt idx="152">
                  <c:v>0.9575388976313474</c:v>
                </c:pt>
                <c:pt idx="153">
                  <c:v>0.9579565433893231</c:v>
                </c:pt>
                <c:pt idx="154">
                  <c:v>0.9583718199400311</c:v>
                </c:pt>
                <c:pt idx="155">
                  <c:v>0.9587836479025096</c:v>
                </c:pt>
                <c:pt idx="156">
                  <c:v>0.9591945526208951</c:v>
                </c:pt>
                <c:pt idx="157">
                  <c:v>0.960006925959952</c:v>
                </c:pt>
                <c:pt idx="158">
                  <c:v>0.9604030180414938</c:v>
                </c:pt>
                <c:pt idx="159">
                  <c:v>0.9607978135081697</c:v>
                </c:pt>
                <c:pt idx="160">
                  <c:v>0.9611872052814783</c:v>
                </c:pt>
                <c:pt idx="161">
                  <c:v>0.9615689599253417</c:v>
                </c:pt>
                <c:pt idx="162">
                  <c:v>0.9619489902750905</c:v>
                </c:pt>
                <c:pt idx="163">
                  <c:v>0.9623244451357317</c:v>
                </c:pt>
                <c:pt idx="164">
                  <c:v>0.9626872936413687</c:v>
                </c:pt>
                <c:pt idx="165">
                  <c:v>0.963040848609041</c:v>
                </c:pt>
                <c:pt idx="166">
                  <c:v>0.9633930119220145</c:v>
                </c:pt>
                <c:pt idx="167">
                  <c:v>0.9637440551226694</c:v>
                </c:pt>
                <c:pt idx="168">
                  <c:v>0.9640886084604358</c:v>
                </c:pt>
                <c:pt idx="169">
                  <c:v>0.964427561236609</c:v>
                </c:pt>
                <c:pt idx="170">
                  <c:v>0.9647662492589615</c:v>
                </c:pt>
                <c:pt idx="171">
                  <c:v>0.9651001513468617</c:v>
                </c:pt>
                <c:pt idx="172">
                  <c:v>0.966093534836607</c:v>
                </c:pt>
                <c:pt idx="173">
                  <c:v>0.9664196029268364</c:v>
                </c:pt>
                <c:pt idx="174">
                  <c:v>0.966745351954769</c:v>
                </c:pt>
                <c:pt idx="175">
                  <c:v>0.9670662878940113</c:v>
                </c:pt>
                <c:pt idx="176">
                  <c:v>0.967379661377963</c:v>
                </c:pt>
                <c:pt idx="177">
                  <c:v>0.9680025320783882</c:v>
                </c:pt>
                <c:pt idx="178">
                  <c:v>0.968618688893461</c:v>
                </c:pt>
                <c:pt idx="179">
                  <c:v>0.9689258712111426</c:v>
                </c:pt>
                <c:pt idx="180">
                  <c:v>0.9692299850999271</c:v>
                </c:pt>
                <c:pt idx="181">
                  <c:v>0.9695260884884935</c:v>
                </c:pt>
                <c:pt idx="182">
                  <c:v>0.9698205354685404</c:v>
                </c:pt>
                <c:pt idx="183">
                  <c:v>0.9701146022892548</c:v>
                </c:pt>
                <c:pt idx="184">
                  <c:v>0.9704082753735179</c:v>
                </c:pt>
                <c:pt idx="185">
                  <c:v>0.9706973661801139</c:v>
                </c:pt>
                <c:pt idx="186">
                  <c:v>0.9709791660737996</c:v>
                </c:pt>
                <c:pt idx="187">
                  <c:v>0.9712605043454389</c:v>
                </c:pt>
                <c:pt idx="188">
                  <c:v>0.9715376133445054</c:v>
                </c:pt>
                <c:pt idx="189">
                  <c:v>0.971814294664323</c:v>
                </c:pt>
                <c:pt idx="190">
                  <c:v>0.9723611742296292</c:v>
                </c:pt>
                <c:pt idx="191">
                  <c:v>0.9726266747919392</c:v>
                </c:pt>
                <c:pt idx="192">
                  <c:v>0.9731512064193492</c:v>
                </c:pt>
                <c:pt idx="193">
                  <c:v>0.9734082416479541</c:v>
                </c:pt>
                <c:pt idx="194">
                  <c:v>0.9739174718622359</c:v>
                </c:pt>
                <c:pt idx="195">
                  <c:v>0.9741655326151729</c:v>
                </c:pt>
                <c:pt idx="196">
                  <c:v>0.9743988689825398</c:v>
                </c:pt>
                <c:pt idx="197">
                  <c:v>0.9746301891477331</c:v>
                </c:pt>
                <c:pt idx="198">
                  <c:v>0.9748542048228972</c:v>
                </c:pt>
                <c:pt idx="199">
                  <c:v>0.9750768424204814</c:v>
                </c:pt>
                <c:pt idx="200">
                  <c:v>0.975293390680188</c:v>
                </c:pt>
                <c:pt idx="201">
                  <c:v>0.9755098506886211</c:v>
                </c:pt>
                <c:pt idx="202">
                  <c:v>0.9757254824927942</c:v>
                </c:pt>
                <c:pt idx="203">
                  <c:v>0.9759340474065209</c:v>
                </c:pt>
                <c:pt idx="204">
                  <c:v>0.9761398086451712</c:v>
                </c:pt>
                <c:pt idx="205">
                  <c:v>0.9763452779757628</c:v>
                </c:pt>
                <c:pt idx="206">
                  <c:v>0.9765474141236364</c:v>
                </c:pt>
                <c:pt idx="207">
                  <c:v>0.9773356948650035</c:v>
                </c:pt>
                <c:pt idx="208">
                  <c:v>0.9775289515770423</c:v>
                </c:pt>
                <c:pt idx="209">
                  <c:v>0.9777207419602277</c:v>
                </c:pt>
                <c:pt idx="210">
                  <c:v>0.9779122268582353</c:v>
                </c:pt>
                <c:pt idx="211">
                  <c:v>0.9780926192500088</c:v>
                </c:pt>
                <c:pt idx="212">
                  <c:v>0.978272271688796</c:v>
                </c:pt>
                <c:pt idx="213">
                  <c:v>0.978450030119481</c:v>
                </c:pt>
                <c:pt idx="214">
                  <c:v>0.9786258130793494</c:v>
                </c:pt>
                <c:pt idx="215">
                  <c:v>0.9788010801086953</c:v>
                </c:pt>
                <c:pt idx="216">
                  <c:v>0.9789763471380412</c:v>
                </c:pt>
                <c:pt idx="217">
                  <c:v>0.9791446355282141</c:v>
                </c:pt>
                <c:pt idx="218">
                  <c:v>0.9793113014526649</c:v>
                </c:pt>
                <c:pt idx="219">
                  <c:v>0.9794759104435852</c:v>
                </c:pt>
                <c:pt idx="220">
                  <c:v>0.9796388290831882</c:v>
                </c:pt>
                <c:pt idx="221">
                  <c:v>0.9798005597248777</c:v>
                </c:pt>
                <c:pt idx="222">
                  <c:v>0.979961163465689</c:v>
                </c:pt>
                <c:pt idx="223">
                  <c:v>0.9801207692882528</c:v>
                </c:pt>
                <c:pt idx="224">
                  <c:v>0.9802778429781205</c:v>
                </c:pt>
                <c:pt idx="225">
                  <c:v>0.9804342989090731</c:v>
                </c:pt>
                <c:pt idx="226">
                  <c:v>0.9805901235039916</c:v>
                </c:pt>
                <c:pt idx="227">
                  <c:v>0.9807456765565298</c:v>
                </c:pt>
                <c:pt idx="228">
                  <c:v>0.9808996139319054</c:v>
                </c:pt>
                <c:pt idx="229">
                  <c:v>0.9810528045657353</c:v>
                </c:pt>
                <c:pt idx="230">
                  <c:v>0.9812039246889156</c:v>
                </c:pt>
                <c:pt idx="231">
                  <c:v>0.9815021189538101</c:v>
                </c:pt>
                <c:pt idx="232">
                  <c:v>0.9816470750649583</c:v>
                </c:pt>
                <c:pt idx="233">
                  <c:v>0.9817915220341434</c:v>
                </c:pt>
                <c:pt idx="234">
                  <c:v>0.9820785830614469</c:v>
                </c:pt>
                <c:pt idx="235">
                  <c:v>0.9822214211420289</c:v>
                </c:pt>
                <c:pt idx="236">
                  <c:v>0.982363295247161</c:v>
                </c:pt>
                <c:pt idx="237">
                  <c:v>0.982503492578095</c:v>
                </c:pt>
                <c:pt idx="238">
                  <c:v>0.9827747973587833</c:v>
                </c:pt>
                <c:pt idx="239">
                  <c:v>0.9829061288310014</c:v>
                </c:pt>
                <c:pt idx="240">
                  <c:v>0.9831647865253286</c:v>
                </c:pt>
                <c:pt idx="241">
                  <c:v>0.9832933889966249</c:v>
                </c:pt>
                <c:pt idx="242">
                  <c:v>0.9834209663954357</c:v>
                </c:pt>
                <c:pt idx="243">
                  <c:v>0.9836720955772699</c:v>
                </c:pt>
                <c:pt idx="244">
                  <c:v>0.9837954980119841</c:v>
                </c:pt>
                <c:pt idx="245">
                  <c:v>0.9840394924177766</c:v>
                </c:pt>
                <c:pt idx="246">
                  <c:v>0.9841606138964965</c:v>
                </c:pt>
                <c:pt idx="247">
                  <c:v>0.984517332332899</c:v>
                </c:pt>
                <c:pt idx="248">
                  <c:v>0.9847521893375953</c:v>
                </c:pt>
                <c:pt idx="249">
                  <c:v>0.9848673572496278</c:v>
                </c:pt>
                <c:pt idx="250">
                  <c:v>0.9849820906938518</c:v>
                </c:pt>
                <c:pt idx="251">
                  <c:v>0.985095568254567</c:v>
                </c:pt>
                <c:pt idx="252">
                  <c:v>0.9852073554639651</c:v>
                </c:pt>
                <c:pt idx="253">
                  <c:v>0.9853187489369117</c:v>
                </c:pt>
                <c:pt idx="254">
                  <c:v>0.985537971889064</c:v>
                </c:pt>
                <c:pt idx="255">
                  <c:v>0.9856429976931933</c:v>
                </c:pt>
                <c:pt idx="256">
                  <c:v>0.9857461905862558</c:v>
                </c:pt>
                <c:pt idx="257">
                  <c:v>0.9858492952280447</c:v>
                </c:pt>
                <c:pt idx="258">
                  <c:v>0.9860526465280701</c:v>
                </c:pt>
                <c:pt idx="259">
                  <c:v>0.9861528592435092</c:v>
                </c:pt>
                <c:pt idx="260">
                  <c:v>0.9862521826576528</c:v>
                </c:pt>
                <c:pt idx="261">
                  <c:v>0.9863504402679538</c:v>
                </c:pt>
                <c:pt idx="262">
                  <c:v>0.9864484670672317</c:v>
                </c:pt>
                <c:pt idx="263">
                  <c:v>0.9865461408614151</c:v>
                </c:pt>
                <c:pt idx="264">
                  <c:v>0.9866437196157655</c:v>
                </c:pt>
                <c:pt idx="265">
                  <c:v>0.9868330864832069</c:v>
                </c:pt>
                <c:pt idx="266">
                  <c:v>0.9869265853132937</c:v>
                </c:pt>
                <c:pt idx="267">
                  <c:v>0.987019018339538</c:v>
                </c:pt>
                <c:pt idx="268">
                  <c:v>0.9871099714598097</c:v>
                </c:pt>
                <c:pt idx="269">
                  <c:v>0.987199913084715</c:v>
                </c:pt>
                <c:pt idx="270">
                  <c:v>0.9872897800354656</c:v>
                </c:pt>
                <c:pt idx="271">
                  <c:v>0.987378784839159</c:v>
                </c:pt>
                <c:pt idx="272">
                  <c:v>0.9874656716122862</c:v>
                </c:pt>
                <c:pt idx="273">
                  <c:v>0.9875498565387296</c:v>
                </c:pt>
                <c:pt idx="274">
                  <c:v>0.9876336952486383</c:v>
                </c:pt>
                <c:pt idx="275">
                  <c:v>0.9877173031475237</c:v>
                </c:pt>
                <c:pt idx="276">
                  <c:v>0.9877982227768445</c:v>
                </c:pt>
                <c:pt idx="277">
                  <c:v>0.987878375298941</c:v>
                </c:pt>
                <c:pt idx="278">
                  <c:v>0.9880372886884351</c:v>
                </c:pt>
                <c:pt idx="279">
                  <c:v>0.9881163957723675</c:v>
                </c:pt>
                <c:pt idx="280">
                  <c:v>0.9881949869257775</c:v>
                </c:pt>
                <c:pt idx="281">
                  <c:v>0.9882733744224022</c:v>
                </c:pt>
                <c:pt idx="282">
                  <c:v>0.988505678928724</c:v>
                </c:pt>
                <c:pt idx="283">
                  <c:v>0.9887312288183365</c:v>
                </c:pt>
                <c:pt idx="284">
                  <c:v>0.9888060319555417</c:v>
                </c:pt>
                <c:pt idx="285">
                  <c:v>0.9888793687638934</c:v>
                </c:pt>
                <c:pt idx="286">
                  <c:v>0.9889513342832247</c:v>
                </c:pt>
                <c:pt idx="287">
                  <c:v>0.9890223290385465</c:v>
                </c:pt>
                <c:pt idx="288">
                  <c:v>0.9890930454629285</c:v>
                </c:pt>
                <c:pt idx="289">
                  <c:v>0.9891628114889797</c:v>
                </c:pt>
                <c:pt idx="290">
                  <c:v>0.9893017325707263</c:v>
                </c:pt>
                <c:pt idx="291">
                  <c:v>0.9893708944149813</c:v>
                </c:pt>
                <c:pt idx="292">
                  <c:v>0.9894395810600708</c:v>
                </c:pt>
                <c:pt idx="293">
                  <c:v>0.9895081251454106</c:v>
                </c:pt>
                <c:pt idx="294">
                  <c:v>0.9895760039519189</c:v>
                </c:pt>
                <c:pt idx="295">
                  <c:v>0.9896428305317037</c:v>
                </c:pt>
                <c:pt idx="296">
                  <c:v>0.98990879271606</c:v>
                </c:pt>
                <c:pt idx="297">
                  <c:v>0.9899751169424412</c:v>
                </c:pt>
                <c:pt idx="298">
                  <c:v>0.9900412646662753</c:v>
                </c:pt>
                <c:pt idx="299">
                  <c:v>0.9901068285739917</c:v>
                </c:pt>
                <c:pt idx="300">
                  <c:v>0.9901710755011638</c:v>
                </c:pt>
                <c:pt idx="301">
                  <c:v>0.9902990194821879</c:v>
                </c:pt>
                <c:pt idx="302">
                  <c:v>0.9903621734512794</c:v>
                </c:pt>
                <c:pt idx="303">
                  <c:v>0.9904252255919783</c:v>
                </c:pt>
                <c:pt idx="304">
                  <c:v>0.9904876260309646</c:v>
                </c:pt>
                <c:pt idx="305">
                  <c:v>0.9906091819774929</c:v>
                </c:pt>
                <c:pt idx="306">
                  <c:v>0.9906690910151402</c:v>
                </c:pt>
                <c:pt idx="307">
                  <c:v>0.9907879179607467</c:v>
                </c:pt>
                <c:pt idx="308">
                  <c:v>0.9908465100178497</c:v>
                </c:pt>
                <c:pt idx="309">
                  <c:v>0.9909622753231188</c:v>
                </c:pt>
                <c:pt idx="310">
                  <c:v>0.9910190005263574</c:v>
                </c:pt>
                <c:pt idx="311">
                  <c:v>0.9910750943935619</c:v>
                </c:pt>
                <c:pt idx="312">
                  <c:v>0.9911310321238977</c:v>
                </c:pt>
                <c:pt idx="313">
                  <c:v>0.9912951523385336</c:v>
                </c:pt>
                <c:pt idx="314">
                  <c:v>0.9913492096378861</c:v>
                </c:pt>
                <c:pt idx="315">
                  <c:v>0.9917668010873857</c:v>
                </c:pt>
                <c:pt idx="316">
                  <c:v>0.9918664164095881</c:v>
                </c:pt>
                <c:pt idx="317">
                  <c:v>0.9919155723689767</c:v>
                </c:pt>
                <c:pt idx="318">
                  <c:v>0.9920132529517196</c:v>
                </c:pt>
                <c:pt idx="319">
                  <c:v>0.992060827176743</c:v>
                </c:pt>
                <c:pt idx="320">
                  <c:v>0.9921083538818499</c:v>
                </c:pt>
                <c:pt idx="321">
                  <c:v>0.9921558805869568</c:v>
                </c:pt>
                <c:pt idx="322">
                  <c:v>0.9922027623789106</c:v>
                </c:pt>
                <c:pt idx="323">
                  <c:v>0.9922495219767933</c:v>
                </c:pt>
                <c:pt idx="324">
                  <c:v>0.9923876148542802</c:v>
                </c:pt>
                <c:pt idx="325">
                  <c:v>0.9924782421236956</c:v>
                </c:pt>
                <c:pt idx="326">
                  <c:v>0.9925234539300107</c:v>
                </c:pt>
                <c:pt idx="327">
                  <c:v>0.992568319519791</c:v>
                </c:pt>
                <c:pt idx="328">
                  <c:v>0.9926128524701554</c:v>
                </c:pt>
                <c:pt idx="329">
                  <c:v>0.9926564418107484</c:v>
                </c:pt>
                <c:pt idx="330">
                  <c:v>0.9926988567305467</c:v>
                </c:pt>
                <c:pt idx="331">
                  <c:v>0.992741244496107</c:v>
                </c:pt>
                <c:pt idx="332">
                  <c:v>0.9928256534450143</c:v>
                </c:pt>
                <c:pt idx="333">
                  <c:v>0.9929088879731268</c:v>
                </c:pt>
                <c:pt idx="334">
                  <c:v>0.992990751212219</c:v>
                </c:pt>
                <c:pt idx="335">
                  <c:v>0.9930315436662952</c:v>
                </c:pt>
                <c:pt idx="336">
                  <c:v>0.993112476872735</c:v>
                </c:pt>
                <c:pt idx="337">
                  <c:v>0.9931527873390862</c:v>
                </c:pt>
                <c:pt idx="338">
                  <c:v>0.9933500425126747</c:v>
                </c:pt>
                <c:pt idx="339">
                  <c:v>0.9934278326160628</c:v>
                </c:pt>
                <c:pt idx="340">
                  <c:v>0.9935038576939792</c:v>
                </c:pt>
                <c:pt idx="341">
                  <c:v>0.9935413984280517</c:v>
                </c:pt>
                <c:pt idx="342">
                  <c:v>0.9935788101794935</c:v>
                </c:pt>
                <c:pt idx="343">
                  <c:v>0.9936161540453402</c:v>
                </c:pt>
                <c:pt idx="344">
                  <c:v>0.9936533621399969</c:v>
                </c:pt>
                <c:pt idx="345">
                  <c:v>0.9937270519534429</c:v>
                </c:pt>
                <c:pt idx="346">
                  <c:v>0.9939060391133986</c:v>
                </c:pt>
                <c:pt idx="347">
                  <c:v>0.9939411970630841</c:v>
                </c:pt>
                <c:pt idx="348">
                  <c:v>0.9939763482242102</c:v>
                </c:pt>
                <c:pt idx="349">
                  <c:v>0.9940113568255866</c:v>
                </c:pt>
                <c:pt idx="350">
                  <c:v>0.9940461414044993</c:v>
                </c:pt>
                <c:pt idx="351">
                  <c:v>0.9942827091261914</c:v>
                </c:pt>
                <c:pt idx="352">
                  <c:v>0.9943485513648477</c:v>
                </c:pt>
                <c:pt idx="353">
                  <c:v>0.9944773914357268</c:v>
                </c:pt>
                <c:pt idx="354">
                  <c:v>0.9945088224662432</c:v>
                </c:pt>
                <c:pt idx="355">
                  <c:v>0.9946022194679374</c:v>
                </c:pt>
                <c:pt idx="356">
                  <c:v>0.9946642533247103</c:v>
                </c:pt>
                <c:pt idx="357">
                  <c:v>0.9948481146703917</c:v>
                </c:pt>
                <c:pt idx="358">
                  <c:v>0.9949383142605582</c:v>
                </c:pt>
                <c:pt idx="359">
                  <c:v>0.9951436885513167</c:v>
                </c:pt>
                <c:pt idx="360">
                  <c:v>0.9951997213214857</c:v>
                </c:pt>
                <c:pt idx="361">
                  <c:v>0.9952819511427913</c:v>
                </c:pt>
                <c:pt idx="362">
                  <c:v>0.9954160455587284</c:v>
                </c:pt>
                <c:pt idx="363">
                  <c:v>0.9956488048985374</c:v>
                </c:pt>
                <c:pt idx="364">
                  <c:v>0.9956994339753389</c:v>
                </c:pt>
                <c:pt idx="365">
                  <c:v>0.9957244701827999</c:v>
                </c:pt>
                <c:pt idx="366">
                  <c:v>0.9957737958561761</c:v>
                </c:pt>
                <c:pt idx="367">
                  <c:v>0.995798227881841</c:v>
                </c:pt>
                <c:pt idx="368">
                  <c:v>0.9959428649306925</c:v>
                </c:pt>
                <c:pt idx="369">
                  <c:v>0.9960136696063482</c:v>
                </c:pt>
                <c:pt idx="370">
                  <c:v>0.9960371987535986</c:v>
                </c:pt>
                <c:pt idx="371">
                  <c:v>0.9960841076997904</c:v>
                </c:pt>
                <c:pt idx="372">
                  <c:v>0.9961306432752093</c:v>
                </c:pt>
                <c:pt idx="373">
                  <c:v>0.9962227504505973</c:v>
                </c:pt>
                <c:pt idx="374">
                  <c:v>0.9962677518115677</c:v>
                </c:pt>
                <c:pt idx="375">
                  <c:v>0.996506132078648</c:v>
                </c:pt>
                <c:pt idx="376">
                  <c:v>0.9965682134553374</c:v>
                </c:pt>
                <c:pt idx="377">
                  <c:v>0.9966093046060319</c:v>
                </c:pt>
                <c:pt idx="378">
                  <c:v>0.9966500291745131</c:v>
                </c:pt>
                <c:pt idx="379">
                  <c:v>0.9967489384865268</c:v>
                </c:pt>
                <c:pt idx="380">
                  <c:v>0.9968263144877849</c:v>
                </c:pt>
                <c:pt idx="381">
                  <c:v>0.9968833044448443</c:v>
                </c:pt>
                <c:pt idx="382">
                  <c:v>0.9969016403440721</c:v>
                </c:pt>
                <c:pt idx="383">
                  <c:v>0.9970446820814394</c:v>
                </c:pt>
                <c:pt idx="384">
                  <c:v>0.9971308356901398</c:v>
                </c:pt>
                <c:pt idx="385">
                  <c:v>0.9972470422517767</c:v>
                </c:pt>
                <c:pt idx="386">
                  <c:v>0.9972794847776596</c:v>
                </c:pt>
                <c:pt idx="387">
                  <c:v>0.9973117847437929</c:v>
                </c:pt>
                <c:pt idx="388">
                  <c:v>0.997375576837478</c:v>
                </c:pt>
                <c:pt idx="389">
                  <c:v>0.9975460782980502</c:v>
                </c:pt>
                <c:pt idx="390">
                  <c:v>0.9977105854605778</c:v>
                </c:pt>
                <c:pt idx="391">
                  <c:v>0.9977541476469327</c:v>
                </c:pt>
                <c:pt idx="392">
                  <c:v>0.9978398124793487</c:v>
                </c:pt>
                <c:pt idx="393">
                  <c:v>0.9981067182734765</c:v>
                </c:pt>
                <c:pt idx="394">
                  <c:v>0.9981523645476</c:v>
                </c:pt>
                <c:pt idx="395">
                  <c:v>0.9982176093930197</c:v>
                </c:pt>
                <c:pt idx="396">
                  <c:v>0.9982899822259215</c:v>
                </c:pt>
                <c:pt idx="397">
                  <c:v>0.9983772152155835</c:v>
                </c:pt>
                <c:pt idx="398">
                  <c:v>0.9984705443316825</c:v>
                </c:pt>
                <c:pt idx="399">
                  <c:v>0.9988640499720521</c:v>
                </c:pt>
                <c:pt idx="400">
                  <c:v>0.998896519652173</c:v>
                </c:pt>
                <c:pt idx="401">
                  <c:v>0.9989029280523474</c:v>
                </c:pt>
                <c:pt idx="402">
                  <c:v>0.9989156294471845</c:v>
                </c:pt>
                <c:pt idx="403">
                  <c:v>0.9990218975577039</c:v>
                </c:pt>
                <c:pt idx="404">
                  <c:v>0.999071128191247</c:v>
                </c:pt>
                <c:pt idx="405">
                  <c:v>0.9991485652895408</c:v>
                </c:pt>
                <c:pt idx="406">
                  <c:v>0.9991584833749801</c:v>
                </c:pt>
                <c:pt idx="407">
                  <c:v>0.9992255271886691</c:v>
                </c:pt>
                <c:pt idx="408">
                  <c:v>0.9992529801233144</c:v>
                </c:pt>
                <c:pt idx="409">
                  <c:v>0.9992973365711316</c:v>
                </c:pt>
                <c:pt idx="410">
                  <c:v>0.9993648555839861</c:v>
                </c:pt>
                <c:pt idx="411">
                  <c:v>0.9993964291742521</c:v>
                </c:pt>
                <c:pt idx="412">
                  <c:v>0.9994635272964169</c:v>
                </c:pt>
                <c:pt idx="413">
                  <c:v>0.9994766971018599</c:v>
                </c:pt>
                <c:pt idx="414">
                  <c:v>0.9998207005663068</c:v>
                </c:pt>
                <c:pt idx="415">
                  <c:v>0.99998384322837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President</c:v>
                </c:pt>
                <c:pt idx="2">
                  <c:v>Entremont</c:v>
                </c:pt>
                <c:pt idx="3">
                  <c:v>Galbani</c:v>
                </c:pt>
                <c:pt idx="4">
                  <c:v>Soignon</c:v>
                </c:pt>
                <c:pt idx="5">
                  <c:v>St Moret</c:v>
                </c:pt>
                <c:pt idx="6">
                  <c:v>La Vache Qui Rit</c:v>
                </c:pt>
                <c:pt idx="7">
                  <c:v>Boursin</c:v>
                </c:pt>
                <c:pt idx="8">
                  <c:v>Kiri</c:v>
                </c:pt>
                <c:pt idx="9">
                  <c:v>Others</c:v>
                </c:pt>
              </c:strCache>
            </c:strRef>
          </c:cat>
          <c:val>
            <c:numRef>
              <c:f>Sheet1!$B$2:$B$11</c:f>
              <c:numCache>
                <c:formatCode>General</c:formatCode>
                <c:ptCount val="10"/>
                <c:pt idx="0">
                  <c:v>0.4100736421649931</c:v>
                </c:pt>
                <c:pt idx="1">
                  <c:v>0.07656053814680625</c:v>
                </c:pt>
                <c:pt idx="2">
                  <c:v>0.05032405449688093</c:v>
                </c:pt>
                <c:pt idx="3">
                  <c:v>0.025045117706028745</c:v>
                </c:pt>
                <c:pt idx="4">
                  <c:v>0.024921555861043776</c:v>
                </c:pt>
                <c:pt idx="5">
                  <c:v>0.024699791069075945</c:v>
                </c:pt>
                <c:pt idx="6">
                  <c:v>0.017195667830345852</c:v>
                </c:pt>
                <c:pt idx="7">
                  <c:v>0.015319777280054934</c:v>
                </c:pt>
                <c:pt idx="8">
                  <c:v>0.0126851983003041</c:v>
                </c:pt>
                <c:pt idx="9">
                  <c:v>0.3431746571444663</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President</c:v>
                </c:pt>
                <c:pt idx="2">
                  <c:v>Entremont</c:v>
                </c:pt>
                <c:pt idx="3">
                  <c:v>Galbani</c:v>
                </c:pt>
                <c:pt idx="4">
                  <c:v>Soignon</c:v>
                </c:pt>
                <c:pt idx="5">
                  <c:v>St Moret</c:v>
                </c:pt>
                <c:pt idx="6">
                  <c:v>La Vache Qui Rit</c:v>
                </c:pt>
                <c:pt idx="7">
                  <c:v>Boursin</c:v>
                </c:pt>
                <c:pt idx="8">
                  <c:v>Kiri</c:v>
                </c:pt>
                <c:pt idx="9">
                  <c:v>Others</c:v>
                </c:pt>
              </c:strCache>
            </c:strRef>
          </c:cat>
          <c:val>
            <c:numRef>
              <c:f>Sheet1!$C$2:$C$11</c:f>
              <c:numCache>
                <c:formatCode>General</c:formatCode>
                <c:ptCount val="10"/>
                <c:pt idx="0">
                  <c:v>0.26064995456731965</c:v>
                </c:pt>
                <c:pt idx="1">
                  <c:v>0.05258164519749832</c:v>
                </c:pt>
                <c:pt idx="2">
                  <c:v>0.05224758137794623</c:v>
                </c:pt>
                <c:pt idx="3">
                  <c:v>0.03023945694585483</c:v>
                </c:pt>
                <c:pt idx="4">
                  <c:v>0.02691218130311605</c:v>
                </c:pt>
                <c:pt idx="5">
                  <c:v>0.018106259019723063</c:v>
                </c:pt>
                <c:pt idx="6">
                  <c:v>0.012373723876209266</c:v>
                </c:pt>
                <c:pt idx="7">
                  <c:v>0.030560158212624828</c:v>
                </c:pt>
                <c:pt idx="8">
                  <c:v>0.017144155219413055</c:v>
                </c:pt>
                <c:pt idx="9">
                  <c:v>0.499184884280291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President</c:v>
                </c:pt>
                <c:pt idx="2">
                  <c:v>Entremont</c:v>
                </c:pt>
                <c:pt idx="3">
                  <c:v>Galbani</c:v>
                </c:pt>
                <c:pt idx="4">
                  <c:v>Soignon</c:v>
                </c:pt>
                <c:pt idx="5">
                  <c:v>St Moret</c:v>
                </c:pt>
                <c:pt idx="6">
                  <c:v>La Vache Qui Rit</c:v>
                </c:pt>
                <c:pt idx="7">
                  <c:v>Boursin</c:v>
                </c:pt>
                <c:pt idx="8">
                  <c:v>Kiri</c:v>
                </c:pt>
                <c:pt idx="9">
                  <c:v>Others</c:v>
                </c:pt>
              </c:strCache>
            </c:strRef>
          </c:cat>
          <c:val>
            <c:numRef>
              <c:f>Sheet1!$D$2:$D$11</c:f>
              <c:numCache>
                <c:formatCode>General</c:formatCode>
                <c:ptCount val="10"/>
                <c:pt idx="0">
                  <c:v>63.56174300577143</c:v>
                </c:pt>
                <c:pt idx="1">
                  <c:v>68.67982706269912</c:v>
                </c:pt>
                <c:pt idx="2">
                  <c:v>103.82228121381698</c:v>
                </c:pt>
                <c:pt idx="3">
                  <c:v>120.73992744133012</c:v>
                </c:pt>
                <c:pt idx="4">
                  <c:v>107.98756487424579</c:v>
                </c:pt>
                <c:pt idx="5">
                  <c:v>73.30531245825816</c:v>
                </c:pt>
                <c:pt idx="6">
                  <c:v>71.95837927488273</c:v>
                </c:pt>
                <c:pt idx="7">
                  <c:v>199.4817395446838</c:v>
                </c:pt>
                <c:pt idx="8">
                  <c:v>135.15086491791038</c:v>
                </c:pt>
                <c:pt idx="9">
                  <c:v>145.46088234894023</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569</c:f>
              <c:strCache>
                <c:ptCount val="568"/>
                <c:pt idx="0">
                  <c:v>Caprice Des</c:v>
                </c:pt>
                <c:pt idx="1">
                  <c:v>Private Lab</c:v>
                </c:pt>
                <c:pt idx="2">
                  <c:v>Private Lab</c:v>
                </c:pt>
                <c:pt idx="3">
                  <c:v>Private Lab</c:v>
                </c:pt>
                <c:pt idx="4">
                  <c:v>Coeur De Li</c:v>
                </c:pt>
                <c:pt idx="5">
                  <c:v>Mini Babybe</c:v>
                </c:pt>
                <c:pt idx="6">
                  <c:v>President</c:v>
                </c:pt>
                <c:pt idx="7">
                  <c:v>Soignon</c:v>
                </c:pt>
                <c:pt idx="8">
                  <c:v>Private Lab</c:v>
                </c:pt>
                <c:pt idx="9">
                  <c:v>Private Lab</c:v>
                </c:pt>
                <c:pt idx="10">
                  <c:v>Private Lab</c:v>
                </c:pt>
                <c:pt idx="11">
                  <c:v>Caprice Des</c:v>
                </c:pt>
                <c:pt idx="12">
                  <c:v>President</c:v>
                </c:pt>
                <c:pt idx="13">
                  <c:v>La Vache Qu</c:v>
                </c:pt>
                <c:pt idx="14">
                  <c:v>Soignon</c:v>
                </c:pt>
                <c:pt idx="15">
                  <c:v>Le Rustique</c:v>
                </c:pt>
                <c:pt idx="16">
                  <c:v>Private Lab</c:v>
                </c:pt>
                <c:pt idx="17">
                  <c:v>St Moret</c:v>
                </c:pt>
                <c:pt idx="18">
                  <c:v>St Moret</c:v>
                </c:pt>
                <c:pt idx="19">
                  <c:v>President</c:v>
                </c:pt>
                <c:pt idx="20">
                  <c:v>La Vache Qu</c:v>
                </c:pt>
                <c:pt idx="21">
                  <c:v>Private Lab</c:v>
                </c:pt>
                <c:pt idx="22">
                  <c:v>Private Lab</c:v>
                </c:pt>
                <c:pt idx="23">
                  <c:v>Private Lab</c:v>
                </c:pt>
                <c:pt idx="24">
                  <c:v>St Moret</c:v>
                </c:pt>
                <c:pt idx="25">
                  <c:v>Tartare</c:v>
                </c:pt>
                <c:pt idx="26">
                  <c:v>Private Lab</c:v>
                </c:pt>
                <c:pt idx="27">
                  <c:v>Galbani</c:v>
                </c:pt>
                <c:pt idx="28">
                  <c:v>Mini Babybe</c:v>
                </c:pt>
                <c:pt idx="29">
                  <c:v>Private Lab</c:v>
                </c:pt>
                <c:pt idx="30">
                  <c:v>La Vache Qu</c:v>
                </c:pt>
                <c:pt idx="31">
                  <c:v>Coeur De Li</c:v>
                </c:pt>
                <c:pt idx="32">
                  <c:v>St Moret</c:v>
                </c:pt>
                <c:pt idx="33">
                  <c:v>Soignon</c:v>
                </c:pt>
                <c:pt idx="34">
                  <c:v>Salakis</c:v>
                </c:pt>
                <c:pt idx="35">
                  <c:v>Kiri</c:v>
                </c:pt>
                <c:pt idx="36">
                  <c:v>Private Lab</c:v>
                </c:pt>
                <c:pt idx="37">
                  <c:v>All Others</c:v>
                </c:pt>
                <c:pt idx="38">
                  <c:v>Private Lab</c:v>
                </c:pt>
                <c:pt idx="39">
                  <c:v>Private Lab</c:v>
                </c:pt>
                <c:pt idx="40">
                  <c:v>Private Lab</c:v>
                </c:pt>
                <c:pt idx="41">
                  <c:v>Kiri</c:v>
                </c:pt>
                <c:pt idx="42">
                  <c:v>Private Lab</c:v>
                </c:pt>
                <c:pt idx="43">
                  <c:v>Galbani</c:v>
                </c:pt>
                <c:pt idx="44">
                  <c:v>Private Lab</c:v>
                </c:pt>
                <c:pt idx="45">
                  <c:v>Private Lab</c:v>
                </c:pt>
                <c:pt idx="46">
                  <c:v>Private Lab</c:v>
                </c:pt>
                <c:pt idx="47">
                  <c:v>Galbani</c:v>
                </c:pt>
                <c:pt idx="48">
                  <c:v>Private Lab</c:v>
                </c:pt>
                <c:pt idx="49">
                  <c:v>Private Lab</c:v>
                </c:pt>
                <c:pt idx="50">
                  <c:v>Paysan Bret</c:v>
                </c:pt>
                <c:pt idx="51">
                  <c:v>Istara</c:v>
                </c:pt>
                <c:pt idx="52">
                  <c:v>Paysan Bret</c:v>
                </c:pt>
                <c:pt idx="53">
                  <c:v>Private Lab</c:v>
                </c:pt>
                <c:pt idx="54">
                  <c:v>Private Lab</c:v>
                </c:pt>
                <c:pt idx="55">
                  <c:v>Tartare</c:v>
                </c:pt>
                <c:pt idx="56">
                  <c:v>Ficello</c:v>
                </c:pt>
                <c:pt idx="57">
                  <c:v>Boursin</c:v>
                </c:pt>
                <c:pt idx="58">
                  <c:v>Boursin</c:v>
                </c:pt>
                <c:pt idx="59">
                  <c:v>Kiri</c:v>
                </c:pt>
                <c:pt idx="60">
                  <c:v>Lou Perac</c:v>
                </c:pt>
                <c:pt idx="61">
                  <c:v>Private Lab</c:v>
                </c:pt>
                <c:pt idx="62">
                  <c:v>President</c:v>
                </c:pt>
                <c:pt idx="63">
                  <c:v>All Others</c:v>
                </c:pt>
                <c:pt idx="64">
                  <c:v>President</c:v>
                </c:pt>
                <c:pt idx="65">
                  <c:v>Private Lab</c:v>
                </c:pt>
                <c:pt idx="66">
                  <c:v>Private Lab</c:v>
                </c:pt>
                <c:pt idx="67">
                  <c:v>St Moret</c:v>
                </c:pt>
                <c:pt idx="68">
                  <c:v>Caprice Des</c:v>
                </c:pt>
                <c:pt idx="69">
                  <c:v>Lepetit</c:v>
                </c:pt>
                <c:pt idx="70">
                  <c:v>Carre Frais</c:v>
                </c:pt>
                <c:pt idx="71">
                  <c:v>Galbani</c:v>
                </c:pt>
                <c:pt idx="72">
                  <c:v>Galbani</c:v>
                </c:pt>
                <c:pt idx="73">
                  <c:v>Kiri</c:v>
                </c:pt>
                <c:pt idx="74">
                  <c:v>Islos</c:v>
                </c:pt>
                <c:pt idx="75">
                  <c:v>Boursin</c:v>
                </c:pt>
                <c:pt idx="76">
                  <c:v>Coeur De Li</c:v>
                </c:pt>
                <c:pt idx="77">
                  <c:v>Private Lab</c:v>
                </c:pt>
                <c:pt idx="78">
                  <c:v>Salakis</c:v>
                </c:pt>
                <c:pt idx="79">
                  <c:v>Carre Frais</c:v>
                </c:pt>
                <c:pt idx="80">
                  <c:v>Private Lab</c:v>
                </c:pt>
                <c:pt idx="81">
                  <c:v>Philadelphi</c:v>
                </c:pt>
                <c:pt idx="82">
                  <c:v>Soignon</c:v>
                </c:pt>
                <c:pt idx="83">
                  <c:v>Private Lab</c:v>
                </c:pt>
                <c:pt idx="84">
                  <c:v>Coeur De Li</c:v>
                </c:pt>
                <c:pt idx="85">
                  <c:v>Coeur De Li</c:v>
                </c:pt>
                <c:pt idx="86">
                  <c:v>President</c:v>
                </c:pt>
                <c:pt idx="87">
                  <c:v>Galbani</c:v>
                </c:pt>
                <c:pt idx="88">
                  <c:v>St Moret</c:v>
                </c:pt>
                <c:pt idx="89">
                  <c:v>President</c:v>
                </c:pt>
                <c:pt idx="90">
                  <c:v>Private Lab</c:v>
                </c:pt>
                <c:pt idx="91">
                  <c:v>Mini Babybe</c:v>
                </c:pt>
                <c:pt idx="92">
                  <c:v>Kiri</c:v>
                </c:pt>
                <c:pt idx="93">
                  <c:v>Le Rustique</c:v>
                </c:pt>
                <c:pt idx="94">
                  <c:v>Istara</c:v>
                </c:pt>
                <c:pt idx="95">
                  <c:v>President</c:v>
                </c:pt>
                <c:pt idx="96">
                  <c:v>Petit Billy</c:v>
                </c:pt>
                <c:pt idx="97">
                  <c:v>Private Lab</c:v>
                </c:pt>
                <c:pt idx="98">
                  <c:v>Private Lab</c:v>
                </c:pt>
                <c:pt idx="99">
                  <c:v>Private Lab</c:v>
                </c:pt>
                <c:pt idx="100">
                  <c:v>All Others</c:v>
                </c:pt>
                <c:pt idx="101">
                  <c:v>President</c:v>
                </c:pt>
                <c:pt idx="102">
                  <c:v>Private Lab</c:v>
                </c:pt>
                <c:pt idx="103">
                  <c:v>Ficello</c:v>
                </c:pt>
                <c:pt idx="104">
                  <c:v>Soignon</c:v>
                </c:pt>
                <c:pt idx="105">
                  <c:v>Private Lab</c:v>
                </c:pt>
                <c:pt idx="106">
                  <c:v>Etorki</c:v>
                </c:pt>
                <c:pt idx="107">
                  <c:v>Philadelphi</c:v>
                </c:pt>
                <c:pt idx="108">
                  <c:v>Private Lab</c:v>
                </c:pt>
                <c:pt idx="109">
                  <c:v>Soignon</c:v>
                </c:pt>
                <c:pt idx="110">
                  <c:v>Private Lab</c:v>
                </c:pt>
                <c:pt idx="111">
                  <c:v>Private Lab</c:v>
                </c:pt>
                <c:pt idx="112">
                  <c:v>All Others</c:v>
                </c:pt>
                <c:pt idx="113">
                  <c:v>All Others</c:v>
                </c:pt>
                <c:pt idx="114">
                  <c:v>St Moret</c:v>
                </c:pt>
                <c:pt idx="115">
                  <c:v>Lactalis: A</c:v>
                </c:pt>
                <c:pt idx="116">
                  <c:v>Tartare</c:v>
                </c:pt>
                <c:pt idx="117">
                  <c:v>Caprice Des</c:v>
                </c:pt>
                <c:pt idx="118">
                  <c:v>Coeur De Li</c:v>
                </c:pt>
                <c:pt idx="119">
                  <c:v>Casa Azzurr</c:v>
                </c:pt>
                <c:pt idx="120">
                  <c:v>All Others</c:v>
                </c:pt>
                <c:pt idx="121">
                  <c:v>La Vache Qu</c:v>
                </c:pt>
                <c:pt idx="122">
                  <c:v>Soignon</c:v>
                </c:pt>
                <c:pt idx="123">
                  <c:v>La Vache Qu</c:v>
                </c:pt>
                <c:pt idx="124">
                  <c:v>P'Tit Louis</c:v>
                </c:pt>
                <c:pt idx="125">
                  <c:v>All Others</c:v>
                </c:pt>
                <c:pt idx="126">
                  <c:v>Casa Azzurr</c:v>
                </c:pt>
                <c:pt idx="127">
                  <c:v>Ficello</c:v>
                </c:pt>
                <c:pt idx="128">
                  <c:v>All Others</c:v>
                </c:pt>
                <c:pt idx="129">
                  <c:v>Private Lab</c:v>
                </c:pt>
                <c:pt idx="130">
                  <c:v>Soignon</c:v>
                </c:pt>
                <c:pt idx="131">
                  <c:v>Chavroux</c:v>
                </c:pt>
                <c:pt idx="132">
                  <c:v>Private Lab</c:v>
                </c:pt>
                <c:pt idx="133">
                  <c:v>Paysan Bret</c:v>
                </c:pt>
                <c:pt idx="134">
                  <c:v>President</c:v>
                </c:pt>
                <c:pt idx="135">
                  <c:v>President</c:v>
                </c:pt>
                <c:pt idx="136">
                  <c:v>Lactalis: A</c:v>
                </c:pt>
                <c:pt idx="137">
                  <c:v>Boursin</c:v>
                </c:pt>
                <c:pt idx="138">
                  <c:v>Le Brebiou</c:v>
                </c:pt>
                <c:pt idx="139">
                  <c:v>Boursin</c:v>
                </c:pt>
                <c:pt idx="140">
                  <c:v>Galbani</c:v>
                </c:pt>
                <c:pt idx="141">
                  <c:v>Soignon</c:v>
                </c:pt>
                <c:pt idx="142">
                  <c:v>Boursin</c:v>
                </c:pt>
                <c:pt idx="143">
                  <c:v>Salakis</c:v>
                </c:pt>
                <c:pt idx="144">
                  <c:v>Private Lab</c:v>
                </c:pt>
                <c:pt idx="145">
                  <c:v>Casa Azzurr</c:v>
                </c:pt>
                <c:pt idx="146">
                  <c:v>Private Lab</c:v>
                </c:pt>
                <c:pt idx="147">
                  <c:v>President</c:v>
                </c:pt>
                <c:pt idx="148">
                  <c:v>Le Rustique</c:v>
                </c:pt>
                <c:pt idx="149">
                  <c:v>Boursin</c:v>
                </c:pt>
                <c:pt idx="150">
                  <c:v>Private Lab</c:v>
                </c:pt>
                <c:pt idx="151">
                  <c:v>Paysan Bret</c:v>
                </c:pt>
                <c:pt idx="152">
                  <c:v>All Others</c:v>
                </c:pt>
                <c:pt idx="153">
                  <c:v>Soignon</c:v>
                </c:pt>
                <c:pt idx="154">
                  <c:v>Private Lab</c:v>
                </c:pt>
                <c:pt idx="155">
                  <c:v>Private Lab</c:v>
                </c:pt>
                <c:pt idx="156">
                  <c:v>Paysan Bret</c:v>
                </c:pt>
                <c:pt idx="157">
                  <c:v>Casa Azzurr</c:v>
                </c:pt>
                <c:pt idx="158">
                  <c:v>Private Lab</c:v>
                </c:pt>
                <c:pt idx="159">
                  <c:v>All Others</c:v>
                </c:pt>
                <c:pt idx="160">
                  <c:v>Salakis</c:v>
                </c:pt>
                <c:pt idx="161">
                  <c:v>Casa Azzurr</c:v>
                </c:pt>
                <c:pt idx="162">
                  <c:v>Private Lab</c:v>
                </c:pt>
                <c:pt idx="163">
                  <c:v>La Vache Qu</c:v>
                </c:pt>
                <c:pt idx="164">
                  <c:v>Carre Frais</c:v>
                </c:pt>
                <c:pt idx="165">
                  <c:v>Soignon</c:v>
                </c:pt>
                <c:pt idx="166">
                  <c:v>Paysan Bret</c:v>
                </c:pt>
                <c:pt idx="167">
                  <c:v>Lou Perac</c:v>
                </c:pt>
                <c:pt idx="168">
                  <c:v>Tartare</c:v>
                </c:pt>
                <c:pt idx="169">
                  <c:v>Boursin</c:v>
                </c:pt>
                <c:pt idx="170">
                  <c:v>Pave D'Affi</c:v>
                </c:pt>
                <c:pt idx="171">
                  <c:v>Chavroux</c:v>
                </c:pt>
                <c:pt idx="172">
                  <c:v>Lactalis: A</c:v>
                </c:pt>
                <c:pt idx="173">
                  <c:v>Galbani</c:v>
                </c:pt>
                <c:pt idx="174">
                  <c:v>Private Lab</c:v>
                </c:pt>
                <c:pt idx="175">
                  <c:v>All Others</c:v>
                </c:pt>
                <c:pt idx="176">
                  <c:v>All Others</c:v>
                </c:pt>
                <c:pt idx="177">
                  <c:v>Private Lab</c:v>
                </c:pt>
                <c:pt idx="178">
                  <c:v>Caprice Des</c:v>
                </c:pt>
                <c:pt idx="179">
                  <c:v>All Others</c:v>
                </c:pt>
                <c:pt idx="180">
                  <c:v>Boursin</c:v>
                </c:pt>
                <c:pt idx="181">
                  <c:v>Private Lab</c:v>
                </c:pt>
                <c:pt idx="182">
                  <c:v>Private Lab</c:v>
                </c:pt>
                <c:pt idx="183">
                  <c:v>Paysan Bret</c:v>
                </c:pt>
                <c:pt idx="184">
                  <c:v>All Others</c:v>
                </c:pt>
                <c:pt idx="185">
                  <c:v>Boursin</c:v>
                </c:pt>
                <c:pt idx="186">
                  <c:v>Casa Azzurr</c:v>
                </c:pt>
                <c:pt idx="187">
                  <c:v>Mini Babybe</c:v>
                </c:pt>
                <c:pt idx="188">
                  <c:v>Private Lab</c:v>
                </c:pt>
                <c:pt idx="189">
                  <c:v>Private Lab</c:v>
                </c:pt>
                <c:pt idx="190">
                  <c:v>Tartare</c:v>
                </c:pt>
                <c:pt idx="191">
                  <c:v>Mini Babybe</c:v>
                </c:pt>
                <c:pt idx="192">
                  <c:v>Salakis</c:v>
                </c:pt>
                <c:pt idx="193">
                  <c:v>Etorki</c:v>
                </c:pt>
                <c:pt idx="194">
                  <c:v>Galbani</c:v>
                </c:pt>
                <c:pt idx="195">
                  <c:v>Private Lab</c:v>
                </c:pt>
                <c:pt idx="196">
                  <c:v>Lou Perac</c:v>
                </c:pt>
                <c:pt idx="197">
                  <c:v>Savencia: A</c:v>
                </c:pt>
                <c:pt idx="198">
                  <c:v>Saint Agur</c:v>
                </c:pt>
                <c:pt idx="199">
                  <c:v>Private Lab</c:v>
                </c:pt>
                <c:pt idx="200">
                  <c:v>Salakis</c:v>
                </c:pt>
                <c:pt idx="201">
                  <c:v>Kiri</c:v>
                </c:pt>
                <c:pt idx="202">
                  <c:v>Caprice Des</c:v>
                </c:pt>
                <c:pt idx="203">
                  <c:v>Private Lab</c:v>
                </c:pt>
                <c:pt idx="204">
                  <c:v>Casa Azzurr</c:v>
                </c:pt>
                <c:pt idx="205">
                  <c:v>Caprice Des</c:v>
                </c:pt>
                <c:pt idx="206">
                  <c:v>Boursin</c:v>
                </c:pt>
                <c:pt idx="207">
                  <c:v>La Vache Qu</c:v>
                </c:pt>
                <c:pt idx="208">
                  <c:v>Tartare</c:v>
                </c:pt>
                <c:pt idx="209">
                  <c:v>St Moret</c:v>
                </c:pt>
                <c:pt idx="210">
                  <c:v>Paysan Bret</c:v>
                </c:pt>
                <c:pt idx="211">
                  <c:v>Tartare</c:v>
                </c:pt>
                <c:pt idx="212">
                  <c:v>Le Rustique</c:v>
                </c:pt>
                <c:pt idx="213">
                  <c:v>Private Lab</c:v>
                </c:pt>
                <c:pt idx="214">
                  <c:v>Soignon</c:v>
                </c:pt>
                <c:pt idx="215">
                  <c:v>St Moret</c:v>
                </c:pt>
                <c:pt idx="216">
                  <c:v>Istara</c:v>
                </c:pt>
                <c:pt idx="217">
                  <c:v>Private Lab</c:v>
                </c:pt>
                <c:pt idx="218">
                  <c:v>All Others</c:v>
                </c:pt>
                <c:pt idx="219">
                  <c:v>Kiri</c:v>
                </c:pt>
                <c:pt idx="220">
                  <c:v>Private Lab</c:v>
                </c:pt>
                <c:pt idx="221">
                  <c:v>All Others</c:v>
                </c:pt>
                <c:pt idx="222">
                  <c:v>Soignon</c:v>
                </c:pt>
                <c:pt idx="223">
                  <c:v>Soignon</c:v>
                </c:pt>
                <c:pt idx="224">
                  <c:v>All Others</c:v>
                </c:pt>
                <c:pt idx="225">
                  <c:v>Kiri</c:v>
                </c:pt>
                <c:pt idx="226">
                  <c:v>All Others</c:v>
                </c:pt>
                <c:pt idx="227">
                  <c:v>Galbani</c:v>
                </c:pt>
                <c:pt idx="228">
                  <c:v>Paysan Bret</c:v>
                </c:pt>
                <c:pt idx="229">
                  <c:v>Mini Babybe</c:v>
                </c:pt>
                <c:pt idx="230">
                  <c:v>All Others</c:v>
                </c:pt>
                <c:pt idx="231">
                  <c:v>Soignon</c:v>
                </c:pt>
                <c:pt idx="232">
                  <c:v>Private Lab</c:v>
                </c:pt>
                <c:pt idx="233">
                  <c:v>All Others</c:v>
                </c:pt>
                <c:pt idx="234">
                  <c:v>Private Lab</c:v>
                </c:pt>
                <c:pt idx="235">
                  <c:v>All Others</c:v>
                </c:pt>
                <c:pt idx="236">
                  <c:v>All Others</c:v>
                </c:pt>
                <c:pt idx="237">
                  <c:v>Casa Azzurr</c:v>
                </c:pt>
                <c:pt idx="238">
                  <c:v>Islos</c:v>
                </c:pt>
                <c:pt idx="239">
                  <c:v>Corsica</c:v>
                </c:pt>
                <c:pt idx="240">
                  <c:v>Soignon</c:v>
                </c:pt>
                <c:pt idx="241">
                  <c:v>Boursin</c:v>
                </c:pt>
                <c:pt idx="242">
                  <c:v>Mini Babybe</c:v>
                </c:pt>
                <c:pt idx="243">
                  <c:v>Casa Azzurr</c:v>
                </c:pt>
                <c:pt idx="244">
                  <c:v>All Others</c:v>
                </c:pt>
                <c:pt idx="245">
                  <c:v>Kiri</c:v>
                </c:pt>
                <c:pt idx="246">
                  <c:v>Kiri</c:v>
                </c:pt>
                <c:pt idx="247">
                  <c:v>Milleret: A</c:v>
                </c:pt>
                <c:pt idx="248">
                  <c:v>Paysan Bret</c:v>
                </c:pt>
                <c:pt idx="249">
                  <c:v>All Others</c:v>
                </c:pt>
                <c:pt idx="250">
                  <c:v>All Others</c:v>
                </c:pt>
                <c:pt idx="251">
                  <c:v>P'Tit Louis</c:v>
                </c:pt>
                <c:pt idx="252">
                  <c:v>Etoile Du Q</c:v>
                </c:pt>
                <c:pt idx="253">
                  <c:v>Galbani</c:v>
                </c:pt>
                <c:pt idx="254">
                  <c:v>Salakis</c:v>
                </c:pt>
                <c:pt idx="255">
                  <c:v>Mini Babybe</c:v>
                </c:pt>
                <c:pt idx="256">
                  <c:v>All Others</c:v>
                </c:pt>
                <c:pt idx="257">
                  <c:v>All Others</c:v>
                </c:pt>
                <c:pt idx="258">
                  <c:v>Lactalis: A</c:v>
                </c:pt>
                <c:pt idx="259">
                  <c:v>Triballat N</c:v>
                </c:pt>
                <c:pt idx="260">
                  <c:v>Le Brebiou</c:v>
                </c:pt>
                <c:pt idx="261">
                  <c:v>Galbani</c:v>
                </c:pt>
                <c:pt idx="262">
                  <c:v>Caprice Des</c:v>
                </c:pt>
                <c:pt idx="263">
                  <c:v>All Others</c:v>
                </c:pt>
                <c:pt idx="264">
                  <c:v>Boursin</c:v>
                </c:pt>
                <c:pt idx="265">
                  <c:v>All Others</c:v>
                </c:pt>
                <c:pt idx="266">
                  <c:v>All Others</c:v>
                </c:pt>
                <c:pt idx="267">
                  <c:v>Etorki</c:v>
                </c:pt>
                <c:pt idx="268">
                  <c:v>Galbani</c:v>
                </c:pt>
                <c:pt idx="269">
                  <c:v>Saint Agur</c:v>
                </c:pt>
                <c:pt idx="270">
                  <c:v>Paysan Bret</c:v>
                </c:pt>
                <c:pt idx="271">
                  <c:v>Islos</c:v>
                </c:pt>
                <c:pt idx="272">
                  <c:v>All Others</c:v>
                </c:pt>
                <c:pt idx="273">
                  <c:v>Carre Frais</c:v>
                </c:pt>
                <c:pt idx="274">
                  <c:v>Milleret: A</c:v>
                </c:pt>
                <c:pt idx="275">
                  <c:v>Istara</c:v>
                </c:pt>
                <c:pt idx="276">
                  <c:v>All Others</c:v>
                </c:pt>
                <c:pt idx="277">
                  <c:v>Galbani</c:v>
                </c:pt>
                <c:pt idx="278">
                  <c:v>Private Lab</c:v>
                </c:pt>
                <c:pt idx="279">
                  <c:v>Triballat N</c:v>
                </c:pt>
                <c:pt idx="280">
                  <c:v>All Others</c:v>
                </c:pt>
                <c:pt idx="281">
                  <c:v>All Others</c:v>
                </c:pt>
                <c:pt idx="282">
                  <c:v>Chavroux</c:v>
                </c:pt>
                <c:pt idx="283">
                  <c:v>Triballat N</c:v>
                </c:pt>
                <c:pt idx="284">
                  <c:v>All Others</c:v>
                </c:pt>
                <c:pt idx="285">
                  <c:v>Boursin</c:v>
                </c:pt>
                <c:pt idx="286">
                  <c:v>All Others</c:v>
                </c:pt>
                <c:pt idx="287">
                  <c:v>Lactalis: A</c:v>
                </c:pt>
                <c:pt idx="288">
                  <c:v>All Others</c:v>
                </c:pt>
                <c:pt idx="289">
                  <c:v>All Others</c:v>
                </c:pt>
                <c:pt idx="290">
                  <c:v>All Others</c:v>
                </c:pt>
                <c:pt idx="291">
                  <c:v>Lactalis: A</c:v>
                </c:pt>
                <c:pt idx="292">
                  <c:v>All Others</c:v>
                </c:pt>
                <c:pt idx="293">
                  <c:v>All Others</c:v>
                </c:pt>
                <c:pt idx="294">
                  <c:v>Boursin</c:v>
                </c:pt>
                <c:pt idx="295">
                  <c:v>All Others</c:v>
                </c:pt>
                <c:pt idx="296">
                  <c:v>All Others</c:v>
                </c:pt>
                <c:pt idx="297">
                  <c:v>All Others</c:v>
                </c:pt>
                <c:pt idx="298">
                  <c:v>All Others</c:v>
                </c:pt>
                <c:pt idx="299">
                  <c:v>Triballat N</c:v>
                </c:pt>
                <c:pt idx="300">
                  <c:v>Tartare</c:v>
                </c:pt>
                <c:pt idx="301">
                  <c:v>All Others</c:v>
                </c:pt>
                <c:pt idx="302">
                  <c:v>Boursin</c:v>
                </c:pt>
                <c:pt idx="303">
                  <c:v>All Others</c:v>
                </c:pt>
                <c:pt idx="304">
                  <c:v>Mini Babybe</c:v>
                </c:pt>
                <c:pt idx="305">
                  <c:v>All Others</c:v>
                </c:pt>
                <c:pt idx="306">
                  <c:v>All Others</c:v>
                </c:pt>
                <c:pt idx="307">
                  <c:v>All Others</c:v>
                </c:pt>
                <c:pt idx="308">
                  <c:v>All Others</c:v>
                </c:pt>
                <c:pt idx="309">
                  <c:v>Chavroux</c:v>
                </c:pt>
                <c:pt idx="310">
                  <c:v>All Others</c:v>
                </c:pt>
                <c:pt idx="311">
                  <c:v>Soignon</c:v>
                </c:pt>
                <c:pt idx="312">
                  <c:v>All Others</c:v>
                </c:pt>
                <c:pt idx="313">
                  <c:v>All Others</c:v>
                </c:pt>
                <c:pt idx="314">
                  <c:v>All Others</c:v>
                </c:pt>
                <c:pt idx="315">
                  <c:v>All Others</c:v>
                </c:pt>
                <c:pt idx="316">
                  <c:v>All Others</c:v>
                </c:pt>
                <c:pt idx="317">
                  <c:v>All Others</c:v>
                </c:pt>
                <c:pt idx="318">
                  <c:v>All Others</c:v>
                </c:pt>
                <c:pt idx="319">
                  <c:v>All Others</c:v>
                </c:pt>
                <c:pt idx="320">
                  <c:v>All Others</c:v>
                </c:pt>
                <c:pt idx="321">
                  <c:v>All Others</c:v>
                </c:pt>
                <c:pt idx="322">
                  <c:v>Boursin</c:v>
                </c:pt>
                <c:pt idx="323">
                  <c:v>All Others</c:v>
                </c:pt>
                <c:pt idx="324">
                  <c:v>All Others</c:v>
                </c:pt>
                <c:pt idx="325">
                  <c:v>Chavroux</c:v>
                </c:pt>
                <c:pt idx="326">
                  <c:v>Salakis</c:v>
                </c:pt>
                <c:pt idx="327">
                  <c:v>All Others</c:v>
                </c:pt>
                <c:pt idx="328">
                  <c:v>All Others</c:v>
                </c:pt>
                <c:pt idx="329">
                  <c:v>Boursin</c:v>
                </c:pt>
                <c:pt idx="330">
                  <c:v>All Others</c:v>
                </c:pt>
                <c:pt idx="331">
                  <c:v>All Others</c:v>
                </c:pt>
                <c:pt idx="332">
                  <c:v>All Others</c:v>
                </c:pt>
                <c:pt idx="333">
                  <c:v>All Others</c:v>
                </c:pt>
                <c:pt idx="334">
                  <c:v>All Others</c:v>
                </c:pt>
                <c:pt idx="335">
                  <c:v>All Others</c:v>
                </c:pt>
                <c:pt idx="336">
                  <c:v>Etoile Du V</c:v>
                </c:pt>
                <c:pt idx="337">
                  <c:v>President</c:v>
                </c:pt>
                <c:pt idx="338">
                  <c:v>All Others</c:v>
                </c:pt>
                <c:pt idx="339">
                  <c:v>All Others</c:v>
                </c:pt>
                <c:pt idx="340">
                  <c:v>All Others</c:v>
                </c:pt>
                <c:pt idx="341">
                  <c:v>All Others</c:v>
                </c:pt>
                <c:pt idx="342">
                  <c:v>All Others</c:v>
                </c:pt>
                <c:pt idx="343">
                  <c:v>All Others</c:v>
                </c:pt>
                <c:pt idx="344">
                  <c:v>All Others</c:v>
                </c:pt>
                <c:pt idx="345">
                  <c:v>All Others</c:v>
                </c:pt>
                <c:pt idx="346">
                  <c:v>Chavroux</c:v>
                </c:pt>
                <c:pt idx="347">
                  <c:v>All Others</c:v>
                </c:pt>
                <c:pt idx="348">
                  <c:v>All Others</c:v>
                </c:pt>
                <c:pt idx="349">
                  <c:v>All Others</c:v>
                </c:pt>
                <c:pt idx="350">
                  <c:v>Salakis</c:v>
                </c:pt>
                <c:pt idx="351">
                  <c:v>All Others</c:v>
                </c:pt>
                <c:pt idx="352">
                  <c:v>All Others</c:v>
                </c:pt>
                <c:pt idx="353">
                  <c:v>All Others</c:v>
                </c:pt>
                <c:pt idx="354">
                  <c:v>All Others</c:v>
                </c:pt>
                <c:pt idx="355">
                  <c:v>Entremont</c:v>
                </c:pt>
                <c:pt idx="356">
                  <c:v>Petit Billy</c:v>
                </c:pt>
                <c:pt idx="357">
                  <c:v>All Others</c:v>
                </c:pt>
                <c:pt idx="358">
                  <c:v>La Vache Qu</c:v>
                </c:pt>
                <c:pt idx="359">
                  <c:v>Private Lab</c:v>
                </c:pt>
                <c:pt idx="360">
                  <c:v>Lactalis: A</c:v>
                </c:pt>
                <c:pt idx="361">
                  <c:v>Chavroux</c:v>
                </c:pt>
                <c:pt idx="362">
                  <c:v>All Others</c:v>
                </c:pt>
                <c:pt idx="363">
                  <c:v>Entremont</c:v>
                </c:pt>
                <c:pt idx="364">
                  <c:v>All Others</c:v>
                </c:pt>
                <c:pt idx="365">
                  <c:v>All Others</c:v>
                </c:pt>
                <c:pt idx="366">
                  <c:v>All Others</c:v>
                </c:pt>
                <c:pt idx="367">
                  <c:v>All Others</c:v>
                </c:pt>
                <c:pt idx="368">
                  <c:v>Private Lab</c:v>
                </c:pt>
                <c:pt idx="369">
                  <c:v>All Others</c:v>
                </c:pt>
                <c:pt idx="370">
                  <c:v>All Others</c:v>
                </c:pt>
                <c:pt idx="371">
                  <c:v>Mini Babybe</c:v>
                </c:pt>
                <c:pt idx="372">
                  <c:v>All Others</c:v>
                </c:pt>
                <c:pt idx="373">
                  <c:v>All Others</c:v>
                </c:pt>
                <c:pt idx="374">
                  <c:v>All Others</c:v>
                </c:pt>
                <c:pt idx="375">
                  <c:v>All Others</c:v>
                </c:pt>
                <c:pt idx="376">
                  <c:v>All Others</c:v>
                </c:pt>
                <c:pt idx="377">
                  <c:v>All Others</c:v>
                </c:pt>
                <c:pt idx="378">
                  <c:v>All Others</c:v>
                </c:pt>
                <c:pt idx="379">
                  <c:v>All Others</c:v>
                </c:pt>
                <c:pt idx="380">
                  <c:v>All Others</c:v>
                </c:pt>
                <c:pt idx="381">
                  <c:v>All Others</c:v>
                </c:pt>
                <c:pt idx="382">
                  <c:v>All Others</c:v>
                </c:pt>
                <c:pt idx="383">
                  <c:v>All Others</c:v>
                </c:pt>
                <c:pt idx="384">
                  <c:v>All Others</c:v>
                </c:pt>
                <c:pt idx="385">
                  <c:v>All Others</c:v>
                </c:pt>
                <c:pt idx="386">
                  <c:v>Corsica</c:v>
                </c:pt>
                <c:pt idx="387">
                  <c:v>All Others</c:v>
                </c:pt>
                <c:pt idx="388">
                  <c:v>All Others</c:v>
                </c:pt>
                <c:pt idx="389">
                  <c:v>All Others</c:v>
                </c:pt>
                <c:pt idx="390">
                  <c:v>All Others</c:v>
                </c:pt>
                <c:pt idx="391">
                  <c:v>All Others</c:v>
                </c:pt>
                <c:pt idx="392">
                  <c:v>All Others</c:v>
                </c:pt>
                <c:pt idx="393">
                  <c:v>All Others</c:v>
                </c:pt>
                <c:pt idx="394">
                  <c:v>All Others</c:v>
                </c:pt>
                <c:pt idx="395">
                  <c:v>All Others</c:v>
                </c:pt>
                <c:pt idx="396">
                  <c:v>All Others</c:v>
                </c:pt>
                <c:pt idx="397">
                  <c:v>Mini Babybe</c:v>
                </c:pt>
                <c:pt idx="398">
                  <c:v>All Others</c:v>
                </c:pt>
                <c:pt idx="399">
                  <c:v>All Others</c:v>
                </c:pt>
                <c:pt idx="400">
                  <c:v>All Others</c:v>
                </c:pt>
                <c:pt idx="401">
                  <c:v>All Others</c:v>
                </c:pt>
                <c:pt idx="402">
                  <c:v>All Others</c:v>
                </c:pt>
                <c:pt idx="403">
                  <c:v>Entremont</c:v>
                </c:pt>
                <c:pt idx="404">
                  <c:v>Kiri</c:v>
                </c:pt>
                <c:pt idx="405">
                  <c:v>All Others</c:v>
                </c:pt>
                <c:pt idx="406">
                  <c:v>All Others</c:v>
                </c:pt>
                <c:pt idx="407">
                  <c:v>All Others</c:v>
                </c:pt>
                <c:pt idx="408">
                  <c:v>All Others</c:v>
                </c:pt>
                <c:pt idx="409">
                  <c:v>All Others</c:v>
                </c:pt>
                <c:pt idx="410">
                  <c:v>Savencia: A</c:v>
                </c:pt>
                <c:pt idx="411">
                  <c:v>All Others</c:v>
                </c:pt>
                <c:pt idx="412">
                  <c:v>All Others</c:v>
                </c:pt>
                <c:pt idx="413">
                  <c:v>All Others</c:v>
                </c:pt>
                <c:pt idx="414">
                  <c:v>All Others</c:v>
                </c:pt>
                <c:pt idx="415">
                  <c:v>All Others</c:v>
                </c:pt>
                <c:pt idx="416">
                  <c:v>Casa Azzurr</c:v>
                </c:pt>
                <c:pt idx="417">
                  <c:v>All Others</c:v>
                </c:pt>
                <c:pt idx="418">
                  <c:v>All Others</c:v>
                </c:pt>
                <c:pt idx="419">
                  <c:v>All Others</c:v>
                </c:pt>
                <c:pt idx="420">
                  <c:v>All Others</c:v>
                </c:pt>
                <c:pt idx="421">
                  <c:v>All Others</c:v>
                </c:pt>
                <c:pt idx="422">
                  <c:v>Savencia: A</c:v>
                </c:pt>
                <c:pt idx="423">
                  <c:v>All Others</c:v>
                </c:pt>
                <c:pt idx="424">
                  <c:v>All Others</c:v>
                </c:pt>
                <c:pt idx="425">
                  <c:v>All Others</c:v>
                </c:pt>
                <c:pt idx="426">
                  <c:v>All Others</c:v>
                </c:pt>
                <c:pt idx="427">
                  <c:v>All Others</c:v>
                </c:pt>
                <c:pt idx="428">
                  <c:v>All Others</c:v>
                </c:pt>
                <c:pt idx="429">
                  <c:v>All Others</c:v>
                </c:pt>
                <c:pt idx="430">
                  <c:v>All Others</c:v>
                </c:pt>
                <c:pt idx="431">
                  <c:v>All Others</c:v>
                </c:pt>
                <c:pt idx="432">
                  <c:v>All Others</c:v>
                </c:pt>
                <c:pt idx="433">
                  <c:v>All Others</c:v>
                </c:pt>
                <c:pt idx="434">
                  <c:v>All Others</c:v>
                </c:pt>
                <c:pt idx="435">
                  <c:v>All Others</c:v>
                </c:pt>
                <c:pt idx="436">
                  <c:v>All Others</c:v>
                </c:pt>
                <c:pt idx="437">
                  <c:v>All Others</c:v>
                </c:pt>
                <c:pt idx="438">
                  <c:v>All Others</c:v>
                </c:pt>
                <c:pt idx="439">
                  <c:v>All Others</c:v>
                </c:pt>
                <c:pt idx="440">
                  <c:v>All Others</c:v>
                </c:pt>
                <c:pt idx="441">
                  <c:v>All Others</c:v>
                </c:pt>
                <c:pt idx="442">
                  <c:v>All Others</c:v>
                </c:pt>
                <c:pt idx="443">
                  <c:v>All Others</c:v>
                </c:pt>
                <c:pt idx="444">
                  <c:v>All Others</c:v>
                </c:pt>
                <c:pt idx="445">
                  <c:v>Paysan Bret</c:v>
                </c:pt>
                <c:pt idx="446">
                  <c:v>All Others</c:v>
                </c:pt>
                <c:pt idx="447">
                  <c:v>All Others</c:v>
                </c:pt>
                <c:pt idx="448">
                  <c:v>All Others</c:v>
                </c:pt>
                <c:pt idx="449">
                  <c:v>All Others</c:v>
                </c:pt>
                <c:pt idx="450">
                  <c:v>All Others</c:v>
                </c:pt>
                <c:pt idx="451">
                  <c:v>All Others</c:v>
                </c:pt>
                <c:pt idx="452">
                  <c:v>All Others</c:v>
                </c:pt>
                <c:pt idx="453">
                  <c:v>All Others</c:v>
                </c:pt>
                <c:pt idx="454">
                  <c:v>All Others</c:v>
                </c:pt>
                <c:pt idx="455">
                  <c:v>All Others</c:v>
                </c:pt>
                <c:pt idx="456">
                  <c:v>All Others</c:v>
                </c:pt>
                <c:pt idx="457">
                  <c:v>All Others</c:v>
                </c:pt>
                <c:pt idx="458">
                  <c:v>All Others</c:v>
                </c:pt>
                <c:pt idx="459">
                  <c:v>All Others</c:v>
                </c:pt>
                <c:pt idx="460">
                  <c:v>All Others</c:v>
                </c:pt>
                <c:pt idx="461">
                  <c:v>All Others</c:v>
                </c:pt>
                <c:pt idx="462">
                  <c:v>All Others</c:v>
                </c:pt>
                <c:pt idx="463">
                  <c:v>All Others</c:v>
                </c:pt>
                <c:pt idx="464">
                  <c:v>All Others</c:v>
                </c:pt>
                <c:pt idx="465">
                  <c:v>All Others</c:v>
                </c:pt>
                <c:pt idx="466">
                  <c:v>All Others</c:v>
                </c:pt>
                <c:pt idx="467">
                  <c:v>All Others</c:v>
                </c:pt>
                <c:pt idx="468">
                  <c:v>All Others</c:v>
                </c:pt>
                <c:pt idx="469">
                  <c:v>Etoile Du V</c:v>
                </c:pt>
                <c:pt idx="470">
                  <c:v>All Others</c:v>
                </c:pt>
                <c:pt idx="471">
                  <c:v>All Others</c:v>
                </c:pt>
                <c:pt idx="472">
                  <c:v>All Others</c:v>
                </c:pt>
                <c:pt idx="473">
                  <c:v>All Others</c:v>
                </c:pt>
                <c:pt idx="474">
                  <c:v>All Others</c:v>
                </c:pt>
                <c:pt idx="475">
                  <c:v>All Others</c:v>
                </c:pt>
                <c:pt idx="476">
                  <c:v>All Others</c:v>
                </c:pt>
                <c:pt idx="477">
                  <c:v>All Others</c:v>
                </c:pt>
                <c:pt idx="478">
                  <c:v>All Others</c:v>
                </c:pt>
                <c:pt idx="479">
                  <c:v>All Others</c:v>
                </c:pt>
                <c:pt idx="480">
                  <c:v>All Others</c:v>
                </c:pt>
                <c:pt idx="481">
                  <c:v>All Others</c:v>
                </c:pt>
                <c:pt idx="482">
                  <c:v>All Others</c:v>
                </c:pt>
                <c:pt idx="483">
                  <c:v>Lactalis: A</c:v>
                </c:pt>
                <c:pt idx="484">
                  <c:v>All Others</c:v>
                </c:pt>
                <c:pt idx="485">
                  <c:v>All Others</c:v>
                </c:pt>
                <c:pt idx="486">
                  <c:v>All Others</c:v>
                </c:pt>
                <c:pt idx="487">
                  <c:v>All Others</c:v>
                </c:pt>
                <c:pt idx="488">
                  <c:v>All Others</c:v>
                </c:pt>
                <c:pt idx="489">
                  <c:v>All Others</c:v>
                </c:pt>
                <c:pt idx="490">
                  <c:v>Savencia: A</c:v>
                </c:pt>
                <c:pt idx="491">
                  <c:v>All Others</c:v>
                </c:pt>
                <c:pt idx="492">
                  <c:v>All Others</c:v>
                </c:pt>
                <c:pt idx="493">
                  <c:v>All Others</c:v>
                </c:pt>
                <c:pt idx="494">
                  <c:v>All Others</c:v>
                </c:pt>
                <c:pt idx="495">
                  <c:v>All Others</c:v>
                </c:pt>
                <c:pt idx="496">
                  <c:v>All Others</c:v>
                </c:pt>
                <c:pt idx="497">
                  <c:v>All Others</c:v>
                </c:pt>
                <c:pt idx="498">
                  <c:v>All Others</c:v>
                </c:pt>
                <c:pt idx="499">
                  <c:v>All Others</c:v>
                </c:pt>
                <c:pt idx="500">
                  <c:v>All Others</c:v>
                </c:pt>
                <c:pt idx="501">
                  <c:v>All Others</c:v>
                </c:pt>
                <c:pt idx="502">
                  <c:v>All Others</c:v>
                </c:pt>
                <c:pt idx="503">
                  <c:v>All Others</c:v>
                </c:pt>
                <c:pt idx="504">
                  <c:v>All Others</c:v>
                </c:pt>
                <c:pt idx="505">
                  <c:v>All Others</c:v>
                </c:pt>
                <c:pt idx="506">
                  <c:v>All Others</c:v>
                </c:pt>
                <c:pt idx="507">
                  <c:v>All Others</c:v>
                </c:pt>
                <c:pt idx="508">
                  <c:v>All Others</c:v>
                </c:pt>
                <c:pt idx="509">
                  <c:v>All Others</c:v>
                </c:pt>
                <c:pt idx="510">
                  <c:v>All Others</c:v>
                </c:pt>
                <c:pt idx="511">
                  <c:v>All Others</c:v>
                </c:pt>
                <c:pt idx="512">
                  <c:v>All Others</c:v>
                </c:pt>
                <c:pt idx="513">
                  <c:v>All Others</c:v>
                </c:pt>
                <c:pt idx="514">
                  <c:v>All Others</c:v>
                </c:pt>
                <c:pt idx="515">
                  <c:v>All Others</c:v>
                </c:pt>
                <c:pt idx="516">
                  <c:v>All Others</c:v>
                </c:pt>
                <c:pt idx="517">
                  <c:v>All Others</c:v>
                </c:pt>
                <c:pt idx="518">
                  <c:v>Caprice Des</c:v>
                </c:pt>
                <c:pt idx="519">
                  <c:v>All Others</c:v>
                </c:pt>
                <c:pt idx="520">
                  <c:v>All Others</c:v>
                </c:pt>
                <c:pt idx="521">
                  <c:v>All Others</c:v>
                </c:pt>
                <c:pt idx="522">
                  <c:v>All Others</c:v>
                </c:pt>
                <c:pt idx="523">
                  <c:v>All Others</c:v>
                </c:pt>
                <c:pt idx="524">
                  <c:v>All Others</c:v>
                </c:pt>
                <c:pt idx="525">
                  <c:v>All Others</c:v>
                </c:pt>
                <c:pt idx="526">
                  <c:v>All Others</c:v>
                </c:pt>
                <c:pt idx="527">
                  <c:v>All Others</c:v>
                </c:pt>
                <c:pt idx="528">
                  <c:v>All Others</c:v>
                </c:pt>
                <c:pt idx="529">
                  <c:v>All Others</c:v>
                </c:pt>
                <c:pt idx="530">
                  <c:v>All Others</c:v>
                </c:pt>
                <c:pt idx="531">
                  <c:v>All Others</c:v>
                </c:pt>
                <c:pt idx="532">
                  <c:v>Lactalis: A</c:v>
                </c:pt>
                <c:pt idx="533">
                  <c:v>All Others</c:v>
                </c:pt>
                <c:pt idx="534">
                  <c:v>All Others</c:v>
                </c:pt>
                <c:pt idx="535">
                  <c:v>All Others</c:v>
                </c:pt>
                <c:pt idx="536">
                  <c:v>All Others</c:v>
                </c:pt>
                <c:pt idx="537">
                  <c:v>All Others</c:v>
                </c:pt>
                <c:pt idx="538">
                  <c:v>All Others</c:v>
                </c:pt>
                <c:pt idx="539">
                  <c:v>La Vache Qu</c:v>
                </c:pt>
                <c:pt idx="540">
                  <c:v>All Others</c:v>
                </c:pt>
                <c:pt idx="541">
                  <c:v>Savencia: A</c:v>
                </c:pt>
                <c:pt idx="542">
                  <c:v>All Others</c:v>
                </c:pt>
                <c:pt idx="543">
                  <c:v>All Others</c:v>
                </c:pt>
                <c:pt idx="544">
                  <c:v>All Others</c:v>
                </c:pt>
                <c:pt idx="545">
                  <c:v>Lactalis: A</c:v>
                </c:pt>
                <c:pt idx="546">
                  <c:v>All Others</c:v>
                </c:pt>
                <c:pt idx="547">
                  <c:v>All Others</c:v>
                </c:pt>
                <c:pt idx="548">
                  <c:v>All Others</c:v>
                </c:pt>
                <c:pt idx="549">
                  <c:v>All Others</c:v>
                </c:pt>
                <c:pt idx="550">
                  <c:v>All Others</c:v>
                </c:pt>
                <c:pt idx="551">
                  <c:v>All Others</c:v>
                </c:pt>
                <c:pt idx="552">
                  <c:v>All Others</c:v>
                </c:pt>
                <c:pt idx="553">
                  <c:v>All Others</c:v>
                </c:pt>
                <c:pt idx="554">
                  <c:v>All Others</c:v>
                </c:pt>
                <c:pt idx="555">
                  <c:v>All Others</c:v>
                </c:pt>
                <c:pt idx="556">
                  <c:v>All Others</c:v>
                </c:pt>
                <c:pt idx="557">
                  <c:v>Private Lab</c:v>
                </c:pt>
                <c:pt idx="558">
                  <c:v>All Others</c:v>
                </c:pt>
                <c:pt idx="559">
                  <c:v>All Others</c:v>
                </c:pt>
                <c:pt idx="560">
                  <c:v>All Others</c:v>
                </c:pt>
                <c:pt idx="561">
                  <c:v>All Others</c:v>
                </c:pt>
                <c:pt idx="562">
                  <c:v>All Others</c:v>
                </c:pt>
                <c:pt idx="563">
                  <c:v>All Others</c:v>
                </c:pt>
                <c:pt idx="564">
                  <c:v>Private Lab</c:v>
                </c:pt>
                <c:pt idx="565">
                  <c:v>All Others</c:v>
                </c:pt>
                <c:pt idx="566">
                  <c:v>All Others</c:v>
                </c:pt>
                <c:pt idx="567">
                  <c:v>All Others</c:v>
                </c:pt>
              </c:strCache>
            </c:strRef>
          </c:cat>
          <c:val>
            <c:numRef>
              <c:f>Sheet1!$B$2:$B$569</c:f>
              <c:numCache>
                <c:formatCode>General</c:formatCode>
                <c:ptCount val="568"/>
                <c:pt idx="0">
                  <c:v>1.0</c:v>
                </c:pt>
                <c:pt idx="1">
                  <c:v>1.0</c:v>
                </c:pt>
                <c:pt idx="2">
                  <c:v>1.0</c:v>
                </c:pt>
                <c:pt idx="3">
                  <c:v>1.0</c:v>
                </c:pt>
                <c:pt idx="4">
                  <c:v>1.0</c:v>
                </c:pt>
                <c:pt idx="5">
                  <c:v>1.0</c:v>
                </c:pt>
                <c:pt idx="6">
                  <c:v>1.0</c:v>
                </c:pt>
                <c:pt idx="7">
                  <c:v>1.0</c:v>
                </c:pt>
                <c:pt idx="8">
                  <c:v>1.0</c:v>
                </c:pt>
                <c:pt idx="9">
                  <c:v>0.99</c:v>
                </c:pt>
                <c:pt idx="10">
                  <c:v>0.98</c:v>
                </c:pt>
                <c:pt idx="11">
                  <c:v>0.99</c:v>
                </c:pt>
                <c:pt idx="12">
                  <c:v>1.0</c:v>
                </c:pt>
                <c:pt idx="13">
                  <c:v>0.98</c:v>
                </c:pt>
                <c:pt idx="14">
                  <c:v>0.99</c:v>
                </c:pt>
                <c:pt idx="15">
                  <c:v>1.0</c:v>
                </c:pt>
                <c:pt idx="16">
                  <c:v>1.0</c:v>
                </c:pt>
                <c:pt idx="17">
                  <c:v>0.98</c:v>
                </c:pt>
                <c:pt idx="18">
                  <c:v>0.99</c:v>
                </c:pt>
                <c:pt idx="19">
                  <c:v>1.0</c:v>
                </c:pt>
                <c:pt idx="20">
                  <c:v>1.0</c:v>
                </c:pt>
                <c:pt idx="21">
                  <c:v>0.99</c:v>
                </c:pt>
                <c:pt idx="22">
                  <c:v>0.96</c:v>
                </c:pt>
                <c:pt idx="23">
                  <c:v>1.0</c:v>
                </c:pt>
                <c:pt idx="24">
                  <c:v>1.0</c:v>
                </c:pt>
                <c:pt idx="25">
                  <c:v>1.0</c:v>
                </c:pt>
                <c:pt idx="26">
                  <c:v>0.99</c:v>
                </c:pt>
                <c:pt idx="27">
                  <c:v>1.0</c:v>
                </c:pt>
                <c:pt idx="28">
                  <c:v>1.0</c:v>
                </c:pt>
                <c:pt idx="29">
                  <c:v>0.95</c:v>
                </c:pt>
                <c:pt idx="30">
                  <c:v>0.97</c:v>
                </c:pt>
                <c:pt idx="31">
                  <c:v>1.0</c:v>
                </c:pt>
                <c:pt idx="32">
                  <c:v>1.0</c:v>
                </c:pt>
                <c:pt idx="33">
                  <c:v>0.95</c:v>
                </c:pt>
                <c:pt idx="34">
                  <c:v>0.99</c:v>
                </c:pt>
                <c:pt idx="35">
                  <c:v>0.99</c:v>
                </c:pt>
                <c:pt idx="36">
                  <c:v>0.99</c:v>
                </c:pt>
                <c:pt idx="37">
                  <c:v>0.99</c:v>
                </c:pt>
                <c:pt idx="38">
                  <c:v>1.0</c:v>
                </c:pt>
                <c:pt idx="39">
                  <c:v>0.99</c:v>
                </c:pt>
                <c:pt idx="40">
                  <c:v>1.0</c:v>
                </c:pt>
                <c:pt idx="41">
                  <c:v>0.89</c:v>
                </c:pt>
                <c:pt idx="42">
                  <c:v>0.99</c:v>
                </c:pt>
                <c:pt idx="43">
                  <c:v>0.98</c:v>
                </c:pt>
                <c:pt idx="44">
                  <c:v>0.99</c:v>
                </c:pt>
                <c:pt idx="45">
                  <c:v>1.0</c:v>
                </c:pt>
                <c:pt idx="46">
                  <c:v>0.99</c:v>
                </c:pt>
                <c:pt idx="47">
                  <c:v>0.97</c:v>
                </c:pt>
                <c:pt idx="48">
                  <c:v>0.99</c:v>
                </c:pt>
                <c:pt idx="49">
                  <c:v>0.99</c:v>
                </c:pt>
                <c:pt idx="50">
                  <c:v>0.98</c:v>
                </c:pt>
                <c:pt idx="51">
                  <c:v>0.97</c:v>
                </c:pt>
                <c:pt idx="52">
                  <c:v>1.0</c:v>
                </c:pt>
                <c:pt idx="53">
                  <c:v>1.0</c:v>
                </c:pt>
                <c:pt idx="54">
                  <c:v>0.99</c:v>
                </c:pt>
                <c:pt idx="55">
                  <c:v>0.99</c:v>
                </c:pt>
                <c:pt idx="56">
                  <c:v>0.71</c:v>
                </c:pt>
                <c:pt idx="57">
                  <c:v>0.99</c:v>
                </c:pt>
                <c:pt idx="58">
                  <c:v>0.99</c:v>
                </c:pt>
                <c:pt idx="59">
                  <c:v>0.96</c:v>
                </c:pt>
                <c:pt idx="60">
                  <c:v>0.99</c:v>
                </c:pt>
                <c:pt idx="61">
                  <c:v>0.9</c:v>
                </c:pt>
                <c:pt idx="62">
                  <c:v>0.89</c:v>
                </c:pt>
                <c:pt idx="63">
                  <c:v>0.72</c:v>
                </c:pt>
                <c:pt idx="64">
                  <c:v>0.92</c:v>
                </c:pt>
                <c:pt idx="65">
                  <c:v>1.0</c:v>
                </c:pt>
                <c:pt idx="66">
                  <c:v>1.0</c:v>
                </c:pt>
                <c:pt idx="67">
                  <c:v>0.88</c:v>
                </c:pt>
                <c:pt idx="68">
                  <c:v>0.97</c:v>
                </c:pt>
                <c:pt idx="69">
                  <c:v>0.96</c:v>
                </c:pt>
                <c:pt idx="70">
                  <c:v>0.99</c:v>
                </c:pt>
                <c:pt idx="71">
                  <c:v>0.95</c:v>
                </c:pt>
                <c:pt idx="72">
                  <c:v>0.98</c:v>
                </c:pt>
                <c:pt idx="73">
                  <c:v>0.99</c:v>
                </c:pt>
                <c:pt idx="74">
                  <c:v>0.96</c:v>
                </c:pt>
                <c:pt idx="75">
                  <c:v>1.0</c:v>
                </c:pt>
                <c:pt idx="76">
                  <c:v>0.99</c:v>
                </c:pt>
                <c:pt idx="77">
                  <c:v>0.98</c:v>
                </c:pt>
                <c:pt idx="78">
                  <c:v>1.0</c:v>
                </c:pt>
                <c:pt idx="79">
                  <c:v>0.97</c:v>
                </c:pt>
                <c:pt idx="80">
                  <c:v>0.97</c:v>
                </c:pt>
                <c:pt idx="81">
                  <c:v>0.92</c:v>
                </c:pt>
                <c:pt idx="82">
                  <c:v>0.95</c:v>
                </c:pt>
                <c:pt idx="83">
                  <c:v>0.81</c:v>
                </c:pt>
                <c:pt idx="84">
                  <c:v>0.98</c:v>
                </c:pt>
                <c:pt idx="85">
                  <c:v>0.95</c:v>
                </c:pt>
                <c:pt idx="86">
                  <c:v>0.99</c:v>
                </c:pt>
                <c:pt idx="87">
                  <c:v>0.96</c:v>
                </c:pt>
                <c:pt idx="88">
                  <c:v>0.97</c:v>
                </c:pt>
                <c:pt idx="89">
                  <c:v>0.83</c:v>
                </c:pt>
                <c:pt idx="90">
                  <c:v>0.99</c:v>
                </c:pt>
                <c:pt idx="91">
                  <c:v>0.9</c:v>
                </c:pt>
                <c:pt idx="92">
                  <c:v>0.99</c:v>
                </c:pt>
                <c:pt idx="93">
                  <c:v>0.96</c:v>
                </c:pt>
                <c:pt idx="94">
                  <c:v>0.8</c:v>
                </c:pt>
                <c:pt idx="95">
                  <c:v>0.99</c:v>
                </c:pt>
                <c:pt idx="96">
                  <c:v>0.94</c:v>
                </c:pt>
                <c:pt idx="97">
                  <c:v>0.99</c:v>
                </c:pt>
                <c:pt idx="98">
                  <c:v>0.97</c:v>
                </c:pt>
                <c:pt idx="99">
                  <c:v>0.95</c:v>
                </c:pt>
                <c:pt idx="100">
                  <c:v>0.49</c:v>
                </c:pt>
                <c:pt idx="101">
                  <c:v>0.99</c:v>
                </c:pt>
                <c:pt idx="102">
                  <c:v>0.75</c:v>
                </c:pt>
                <c:pt idx="103">
                  <c:v>0.96</c:v>
                </c:pt>
                <c:pt idx="104">
                  <c:v>0.95</c:v>
                </c:pt>
                <c:pt idx="105">
                  <c:v>0.92</c:v>
                </c:pt>
                <c:pt idx="106">
                  <c:v>0.91</c:v>
                </c:pt>
                <c:pt idx="107">
                  <c:v>0.98</c:v>
                </c:pt>
                <c:pt idx="108">
                  <c:v>0.98</c:v>
                </c:pt>
                <c:pt idx="109">
                  <c:v>0.91</c:v>
                </c:pt>
                <c:pt idx="110">
                  <c:v>0.93</c:v>
                </c:pt>
                <c:pt idx="111">
                  <c:v>0.86</c:v>
                </c:pt>
                <c:pt idx="112">
                  <c:v>0.74</c:v>
                </c:pt>
                <c:pt idx="113">
                  <c:v>0.89</c:v>
                </c:pt>
                <c:pt idx="114">
                  <c:v>0.9</c:v>
                </c:pt>
                <c:pt idx="115">
                  <c:v>0.85</c:v>
                </c:pt>
                <c:pt idx="116">
                  <c:v>0.96</c:v>
                </c:pt>
                <c:pt idx="117">
                  <c:v>0.9</c:v>
                </c:pt>
                <c:pt idx="118">
                  <c:v>0.94</c:v>
                </c:pt>
                <c:pt idx="119">
                  <c:v>0.97</c:v>
                </c:pt>
                <c:pt idx="120">
                  <c:v>0.95</c:v>
                </c:pt>
                <c:pt idx="121">
                  <c:v>0.97</c:v>
                </c:pt>
                <c:pt idx="122">
                  <c:v>0.93</c:v>
                </c:pt>
                <c:pt idx="123">
                  <c:v>0.89</c:v>
                </c:pt>
                <c:pt idx="124">
                  <c:v>0.93</c:v>
                </c:pt>
                <c:pt idx="125">
                  <c:v>0.96</c:v>
                </c:pt>
                <c:pt idx="126">
                  <c:v>0.9</c:v>
                </c:pt>
                <c:pt idx="127">
                  <c:v>0.91</c:v>
                </c:pt>
                <c:pt idx="128">
                  <c:v>0.9</c:v>
                </c:pt>
                <c:pt idx="129">
                  <c:v>0.92</c:v>
                </c:pt>
                <c:pt idx="130">
                  <c:v>0.86</c:v>
                </c:pt>
                <c:pt idx="131">
                  <c:v>0.99</c:v>
                </c:pt>
                <c:pt idx="132">
                  <c:v>0.87</c:v>
                </c:pt>
                <c:pt idx="133">
                  <c:v>0.71</c:v>
                </c:pt>
                <c:pt idx="134">
                  <c:v>0.96</c:v>
                </c:pt>
                <c:pt idx="135">
                  <c:v>0.98</c:v>
                </c:pt>
                <c:pt idx="136">
                  <c:v>0.62</c:v>
                </c:pt>
                <c:pt idx="137">
                  <c:v>0.97</c:v>
                </c:pt>
                <c:pt idx="138">
                  <c:v>0.89</c:v>
                </c:pt>
                <c:pt idx="139">
                  <c:v>0.98</c:v>
                </c:pt>
                <c:pt idx="140">
                  <c:v>0.87</c:v>
                </c:pt>
                <c:pt idx="141">
                  <c:v>0.87</c:v>
                </c:pt>
                <c:pt idx="142">
                  <c:v>0.96</c:v>
                </c:pt>
                <c:pt idx="143">
                  <c:v>0.9</c:v>
                </c:pt>
                <c:pt idx="144">
                  <c:v>0.72</c:v>
                </c:pt>
                <c:pt idx="145">
                  <c:v>0.8</c:v>
                </c:pt>
                <c:pt idx="146">
                  <c:v>0.97</c:v>
                </c:pt>
                <c:pt idx="147">
                  <c:v>0.87</c:v>
                </c:pt>
                <c:pt idx="148">
                  <c:v>0.94</c:v>
                </c:pt>
                <c:pt idx="149">
                  <c:v>0.99</c:v>
                </c:pt>
                <c:pt idx="150">
                  <c:v>0.87</c:v>
                </c:pt>
                <c:pt idx="151">
                  <c:v>0.67</c:v>
                </c:pt>
                <c:pt idx="152">
                  <c:v>0.95</c:v>
                </c:pt>
                <c:pt idx="153">
                  <c:v>0.98</c:v>
                </c:pt>
                <c:pt idx="154">
                  <c:v>0.85</c:v>
                </c:pt>
                <c:pt idx="155">
                  <c:v>0.94</c:v>
                </c:pt>
                <c:pt idx="156">
                  <c:v>0.53</c:v>
                </c:pt>
                <c:pt idx="157">
                  <c:v>0.83</c:v>
                </c:pt>
                <c:pt idx="158">
                  <c:v>0.94</c:v>
                </c:pt>
                <c:pt idx="159">
                  <c:v>0.95</c:v>
                </c:pt>
                <c:pt idx="160">
                  <c:v>0.97</c:v>
                </c:pt>
                <c:pt idx="161">
                  <c:v>0.89</c:v>
                </c:pt>
                <c:pt idx="162">
                  <c:v>0.79</c:v>
                </c:pt>
                <c:pt idx="163">
                  <c:v>0.87</c:v>
                </c:pt>
                <c:pt idx="164">
                  <c:v>0.79</c:v>
                </c:pt>
                <c:pt idx="165">
                  <c:v>0.82</c:v>
                </c:pt>
                <c:pt idx="166">
                  <c:v>0.42</c:v>
                </c:pt>
                <c:pt idx="167">
                  <c:v>0.77</c:v>
                </c:pt>
                <c:pt idx="168">
                  <c:v>0.96</c:v>
                </c:pt>
                <c:pt idx="169">
                  <c:v>0.99</c:v>
                </c:pt>
                <c:pt idx="170">
                  <c:v>0.8</c:v>
                </c:pt>
                <c:pt idx="171">
                  <c:v>0.85</c:v>
                </c:pt>
                <c:pt idx="172">
                  <c:v>0.59</c:v>
                </c:pt>
                <c:pt idx="173">
                  <c:v>0.9</c:v>
                </c:pt>
                <c:pt idx="174">
                  <c:v>0.74</c:v>
                </c:pt>
                <c:pt idx="175">
                  <c:v>0.76</c:v>
                </c:pt>
                <c:pt idx="176">
                  <c:v>0.75</c:v>
                </c:pt>
                <c:pt idx="177">
                  <c:v>0.77</c:v>
                </c:pt>
                <c:pt idx="178">
                  <c:v>0.9</c:v>
                </c:pt>
                <c:pt idx="179">
                  <c:v>0.43</c:v>
                </c:pt>
                <c:pt idx="180">
                  <c:v>0.87</c:v>
                </c:pt>
                <c:pt idx="181">
                  <c:v>0.89</c:v>
                </c:pt>
                <c:pt idx="182">
                  <c:v>0.57</c:v>
                </c:pt>
                <c:pt idx="183">
                  <c:v>0.57</c:v>
                </c:pt>
                <c:pt idx="184">
                  <c:v>0.24</c:v>
                </c:pt>
                <c:pt idx="185">
                  <c:v>0.96</c:v>
                </c:pt>
                <c:pt idx="186">
                  <c:v>0.68</c:v>
                </c:pt>
                <c:pt idx="187">
                  <c:v>0.81</c:v>
                </c:pt>
                <c:pt idx="188">
                  <c:v>0.87</c:v>
                </c:pt>
                <c:pt idx="189">
                  <c:v>0.63</c:v>
                </c:pt>
                <c:pt idx="190">
                  <c:v>0.92</c:v>
                </c:pt>
                <c:pt idx="191">
                  <c:v>0.85</c:v>
                </c:pt>
                <c:pt idx="192">
                  <c:v>0.58</c:v>
                </c:pt>
                <c:pt idx="193">
                  <c:v>0.45</c:v>
                </c:pt>
                <c:pt idx="194">
                  <c:v>0.44</c:v>
                </c:pt>
                <c:pt idx="195">
                  <c:v>0.68</c:v>
                </c:pt>
                <c:pt idx="196">
                  <c:v>0.76</c:v>
                </c:pt>
                <c:pt idx="197">
                  <c:v>0.87</c:v>
                </c:pt>
                <c:pt idx="198">
                  <c:v>0.87</c:v>
                </c:pt>
                <c:pt idx="199">
                  <c:v>0.59</c:v>
                </c:pt>
                <c:pt idx="200">
                  <c:v>0.95</c:v>
                </c:pt>
                <c:pt idx="201">
                  <c:v>0.87</c:v>
                </c:pt>
                <c:pt idx="202">
                  <c:v>0.85</c:v>
                </c:pt>
                <c:pt idx="203">
                  <c:v>0.76</c:v>
                </c:pt>
                <c:pt idx="204">
                  <c:v>0.34</c:v>
                </c:pt>
                <c:pt idx="205">
                  <c:v>0.84</c:v>
                </c:pt>
                <c:pt idx="206">
                  <c:v>0.83</c:v>
                </c:pt>
                <c:pt idx="207">
                  <c:v>0.69</c:v>
                </c:pt>
                <c:pt idx="208">
                  <c:v>0.83</c:v>
                </c:pt>
                <c:pt idx="209">
                  <c:v>0.66</c:v>
                </c:pt>
                <c:pt idx="210">
                  <c:v>0.55</c:v>
                </c:pt>
                <c:pt idx="211">
                  <c:v>0.9</c:v>
                </c:pt>
                <c:pt idx="212">
                  <c:v>0.61</c:v>
                </c:pt>
                <c:pt idx="213">
                  <c:v>0.7</c:v>
                </c:pt>
                <c:pt idx="214">
                  <c:v>0.74</c:v>
                </c:pt>
                <c:pt idx="215">
                  <c:v>0.2</c:v>
                </c:pt>
                <c:pt idx="216">
                  <c:v>0.41</c:v>
                </c:pt>
                <c:pt idx="217">
                  <c:v>0.41</c:v>
                </c:pt>
                <c:pt idx="218">
                  <c:v>0.94</c:v>
                </c:pt>
                <c:pt idx="219">
                  <c:v>0.6</c:v>
                </c:pt>
                <c:pt idx="220">
                  <c:v>0.45</c:v>
                </c:pt>
                <c:pt idx="221">
                  <c:v>0.39</c:v>
                </c:pt>
                <c:pt idx="222">
                  <c:v>0.93</c:v>
                </c:pt>
                <c:pt idx="223">
                  <c:v>0.88</c:v>
                </c:pt>
                <c:pt idx="224">
                  <c:v>0.31</c:v>
                </c:pt>
                <c:pt idx="225">
                  <c:v>0.68</c:v>
                </c:pt>
                <c:pt idx="226">
                  <c:v>0.24</c:v>
                </c:pt>
                <c:pt idx="227">
                  <c:v>0.33</c:v>
                </c:pt>
                <c:pt idx="228">
                  <c:v>0.5</c:v>
                </c:pt>
                <c:pt idx="229">
                  <c:v>0.73</c:v>
                </c:pt>
                <c:pt idx="230">
                  <c:v>0.9</c:v>
                </c:pt>
                <c:pt idx="231">
                  <c:v>0.68</c:v>
                </c:pt>
                <c:pt idx="232">
                  <c:v>0.94</c:v>
                </c:pt>
                <c:pt idx="233">
                  <c:v>0.06</c:v>
                </c:pt>
                <c:pt idx="234">
                  <c:v>0.7</c:v>
                </c:pt>
                <c:pt idx="235">
                  <c:v>0.11</c:v>
                </c:pt>
                <c:pt idx="236">
                  <c:v>0.18</c:v>
                </c:pt>
                <c:pt idx="237">
                  <c:v>0.81</c:v>
                </c:pt>
                <c:pt idx="238">
                  <c:v>0.71</c:v>
                </c:pt>
                <c:pt idx="239">
                  <c:v>0.24</c:v>
                </c:pt>
                <c:pt idx="240">
                  <c:v>0.7</c:v>
                </c:pt>
                <c:pt idx="241">
                  <c:v>0.86</c:v>
                </c:pt>
                <c:pt idx="242">
                  <c:v>0.89</c:v>
                </c:pt>
                <c:pt idx="243">
                  <c:v>0.3</c:v>
                </c:pt>
                <c:pt idx="244">
                  <c:v>0.21</c:v>
                </c:pt>
                <c:pt idx="245">
                  <c:v>0.94</c:v>
                </c:pt>
                <c:pt idx="246">
                  <c:v>0.83</c:v>
                </c:pt>
                <c:pt idx="247">
                  <c:v>0.13</c:v>
                </c:pt>
                <c:pt idx="248">
                  <c:v>0.22</c:v>
                </c:pt>
                <c:pt idx="249">
                  <c:v>0.39</c:v>
                </c:pt>
                <c:pt idx="250">
                  <c:v>0.18</c:v>
                </c:pt>
                <c:pt idx="251">
                  <c:v>0.35</c:v>
                </c:pt>
                <c:pt idx="252">
                  <c:v>0.19</c:v>
                </c:pt>
                <c:pt idx="253">
                  <c:v>0.54</c:v>
                </c:pt>
                <c:pt idx="254">
                  <c:v>0.42</c:v>
                </c:pt>
                <c:pt idx="255">
                  <c:v>0.77</c:v>
                </c:pt>
                <c:pt idx="256">
                  <c:v>0.13</c:v>
                </c:pt>
                <c:pt idx="257">
                  <c:v>0.18</c:v>
                </c:pt>
                <c:pt idx="258">
                  <c:v>0.29</c:v>
                </c:pt>
                <c:pt idx="259">
                  <c:v>0.6</c:v>
                </c:pt>
                <c:pt idx="260">
                  <c:v>0.91</c:v>
                </c:pt>
                <c:pt idx="261">
                  <c:v>0.36</c:v>
                </c:pt>
                <c:pt idx="262">
                  <c:v>0.11</c:v>
                </c:pt>
                <c:pt idx="263">
                  <c:v>0.21</c:v>
                </c:pt>
                <c:pt idx="264">
                  <c:v>0.88</c:v>
                </c:pt>
                <c:pt idx="265">
                  <c:v>0.24</c:v>
                </c:pt>
                <c:pt idx="266">
                  <c:v>0.11</c:v>
                </c:pt>
                <c:pt idx="267">
                  <c:v>0.43</c:v>
                </c:pt>
                <c:pt idx="268">
                  <c:v>0.28</c:v>
                </c:pt>
                <c:pt idx="269">
                  <c:v>0.86</c:v>
                </c:pt>
                <c:pt idx="270">
                  <c:v>0.06</c:v>
                </c:pt>
                <c:pt idx="271">
                  <c:v>0.56</c:v>
                </c:pt>
                <c:pt idx="272">
                  <c:v>0.27</c:v>
                </c:pt>
                <c:pt idx="273">
                  <c:v>0.26</c:v>
                </c:pt>
                <c:pt idx="274">
                  <c:v>0.12</c:v>
                </c:pt>
                <c:pt idx="275">
                  <c:v>0.16</c:v>
                </c:pt>
                <c:pt idx="276">
                  <c:v>0.15</c:v>
                </c:pt>
                <c:pt idx="277">
                  <c:v>0.56</c:v>
                </c:pt>
                <c:pt idx="278">
                  <c:v>0.67</c:v>
                </c:pt>
                <c:pt idx="279">
                  <c:v>0.53</c:v>
                </c:pt>
                <c:pt idx="280">
                  <c:v>0.08</c:v>
                </c:pt>
                <c:pt idx="281">
                  <c:v>0.17</c:v>
                </c:pt>
                <c:pt idx="282">
                  <c:v>0.82</c:v>
                </c:pt>
                <c:pt idx="283">
                  <c:v>0.23</c:v>
                </c:pt>
                <c:pt idx="284">
                  <c:v>0.03</c:v>
                </c:pt>
                <c:pt idx="285">
                  <c:v>0.67</c:v>
                </c:pt>
                <c:pt idx="286">
                  <c:v>0.23</c:v>
                </c:pt>
                <c:pt idx="287">
                  <c:v>0.36</c:v>
                </c:pt>
                <c:pt idx="288">
                  <c:v>0.21</c:v>
                </c:pt>
                <c:pt idx="289">
                  <c:v>0.31</c:v>
                </c:pt>
                <c:pt idx="290">
                  <c:v>0.1</c:v>
                </c:pt>
                <c:pt idx="291">
                  <c:v>0.1</c:v>
                </c:pt>
                <c:pt idx="292">
                  <c:v>0.18</c:v>
                </c:pt>
                <c:pt idx="293">
                  <c:v>0.1</c:v>
                </c:pt>
                <c:pt idx="294">
                  <c:v>0.83</c:v>
                </c:pt>
                <c:pt idx="295">
                  <c:v>0.15</c:v>
                </c:pt>
                <c:pt idx="296">
                  <c:v>0.04</c:v>
                </c:pt>
                <c:pt idx="297">
                  <c:v>0.1</c:v>
                </c:pt>
                <c:pt idx="298">
                  <c:v>0.13</c:v>
                </c:pt>
                <c:pt idx="299">
                  <c:v>0.25</c:v>
                </c:pt>
                <c:pt idx="300">
                  <c:v>0.61</c:v>
                </c:pt>
                <c:pt idx="301">
                  <c:v>0.06</c:v>
                </c:pt>
                <c:pt idx="302">
                  <c:v>0.29</c:v>
                </c:pt>
                <c:pt idx="303">
                  <c:v>0.18</c:v>
                </c:pt>
                <c:pt idx="304">
                  <c:v>0.59</c:v>
                </c:pt>
                <c:pt idx="305">
                  <c:v>0.08</c:v>
                </c:pt>
                <c:pt idx="306">
                  <c:v>0.07</c:v>
                </c:pt>
                <c:pt idx="307">
                  <c:v>0.08</c:v>
                </c:pt>
                <c:pt idx="308">
                  <c:v>0.02</c:v>
                </c:pt>
                <c:pt idx="309">
                  <c:v>0.25</c:v>
                </c:pt>
                <c:pt idx="310">
                  <c:v>0.07</c:v>
                </c:pt>
                <c:pt idx="311">
                  <c:v>0.56</c:v>
                </c:pt>
                <c:pt idx="312">
                  <c:v>0.28</c:v>
                </c:pt>
                <c:pt idx="313">
                  <c:v>0.13</c:v>
                </c:pt>
                <c:pt idx="314">
                  <c:v>0.01</c:v>
                </c:pt>
                <c:pt idx="315">
                  <c:v>0.07</c:v>
                </c:pt>
                <c:pt idx="316">
                  <c:v>0.15</c:v>
                </c:pt>
                <c:pt idx="317">
                  <c:v>0.04</c:v>
                </c:pt>
                <c:pt idx="318">
                  <c:v>0.12</c:v>
                </c:pt>
                <c:pt idx="319">
                  <c:v>0.11</c:v>
                </c:pt>
                <c:pt idx="320">
                  <c:v>0.05</c:v>
                </c:pt>
                <c:pt idx="321">
                  <c:v>0.04</c:v>
                </c:pt>
                <c:pt idx="322">
                  <c:v>0.4</c:v>
                </c:pt>
                <c:pt idx="323">
                  <c:v>0.05</c:v>
                </c:pt>
                <c:pt idx="324">
                  <c:v>0.05</c:v>
                </c:pt>
                <c:pt idx="325">
                  <c:v>0.28</c:v>
                </c:pt>
                <c:pt idx="326">
                  <c:v>0.24</c:v>
                </c:pt>
                <c:pt idx="327">
                  <c:v>0.03</c:v>
                </c:pt>
                <c:pt idx="328">
                  <c:v>0.03</c:v>
                </c:pt>
                <c:pt idx="329">
                  <c:v>0.7</c:v>
                </c:pt>
                <c:pt idx="330">
                  <c:v>0.08</c:v>
                </c:pt>
                <c:pt idx="331">
                  <c:v>0.1</c:v>
                </c:pt>
                <c:pt idx="332">
                  <c:v>0.07</c:v>
                </c:pt>
                <c:pt idx="333">
                  <c:v>0.12</c:v>
                </c:pt>
                <c:pt idx="334">
                  <c:v>0.13</c:v>
                </c:pt>
                <c:pt idx="335">
                  <c:v>0.1</c:v>
                </c:pt>
                <c:pt idx="336">
                  <c:v>0.09</c:v>
                </c:pt>
                <c:pt idx="337">
                  <c:v>0.37</c:v>
                </c:pt>
                <c:pt idx="338">
                  <c:v>0.06</c:v>
                </c:pt>
                <c:pt idx="339">
                  <c:v>0.16</c:v>
                </c:pt>
                <c:pt idx="340">
                  <c:v>0.03</c:v>
                </c:pt>
                <c:pt idx="341">
                  <c:v>0.01</c:v>
                </c:pt>
                <c:pt idx="342">
                  <c:v>0.04</c:v>
                </c:pt>
                <c:pt idx="343">
                  <c:v>0.04</c:v>
                </c:pt>
                <c:pt idx="344">
                  <c:v>0.44</c:v>
                </c:pt>
                <c:pt idx="345">
                  <c:v>0.01</c:v>
                </c:pt>
                <c:pt idx="346">
                  <c:v>0.73</c:v>
                </c:pt>
                <c:pt idx="347">
                  <c:v>0.1</c:v>
                </c:pt>
                <c:pt idx="348">
                  <c:v>0.09</c:v>
                </c:pt>
                <c:pt idx="349">
                  <c:v>0.04</c:v>
                </c:pt>
                <c:pt idx="350">
                  <c:v>0.23</c:v>
                </c:pt>
                <c:pt idx="351">
                  <c:v>0.02</c:v>
                </c:pt>
                <c:pt idx="352">
                  <c:v>0.02</c:v>
                </c:pt>
                <c:pt idx="353">
                  <c:v>0.1</c:v>
                </c:pt>
                <c:pt idx="354">
                  <c:v>0.03</c:v>
                </c:pt>
                <c:pt idx="355">
                  <c:v>0.39</c:v>
                </c:pt>
                <c:pt idx="356">
                  <c:v>0.14</c:v>
                </c:pt>
                <c:pt idx="357">
                  <c:v>0.04</c:v>
                </c:pt>
                <c:pt idx="358">
                  <c:v>0.25</c:v>
                </c:pt>
                <c:pt idx="359">
                  <c:v>0.16</c:v>
                </c:pt>
                <c:pt idx="360">
                  <c:v>0.04</c:v>
                </c:pt>
                <c:pt idx="361">
                  <c:v>0.66</c:v>
                </c:pt>
                <c:pt idx="362">
                  <c:v>0.03</c:v>
                </c:pt>
                <c:pt idx="363">
                  <c:v>0.4</c:v>
                </c:pt>
                <c:pt idx="364">
                  <c:v>0.01</c:v>
                </c:pt>
                <c:pt idx="365">
                  <c:v>0.07</c:v>
                </c:pt>
                <c:pt idx="366">
                  <c:v>0.07</c:v>
                </c:pt>
                <c:pt idx="367">
                  <c:v>0.15</c:v>
                </c:pt>
                <c:pt idx="368">
                  <c:v>0.16</c:v>
                </c:pt>
                <c:pt idx="369">
                  <c:v>0.07</c:v>
                </c:pt>
                <c:pt idx="370">
                  <c:v>0.02</c:v>
                </c:pt>
                <c:pt idx="371">
                  <c:v>0.31</c:v>
                </c:pt>
                <c:pt idx="372">
                  <c:v>0.02</c:v>
                </c:pt>
                <c:pt idx="373">
                  <c:v>0.05</c:v>
                </c:pt>
                <c:pt idx="374">
                  <c:v>0.01</c:v>
                </c:pt>
                <c:pt idx="375">
                  <c:v>0.1</c:v>
                </c:pt>
                <c:pt idx="376">
                  <c:v>0.08</c:v>
                </c:pt>
                <c:pt idx="377">
                  <c:v>0.07</c:v>
                </c:pt>
                <c:pt idx="378">
                  <c:v>0.09</c:v>
                </c:pt>
                <c:pt idx="379">
                  <c:v>0.07</c:v>
                </c:pt>
                <c:pt idx="380">
                  <c:v>0.09</c:v>
                </c:pt>
                <c:pt idx="381">
                  <c:v>0.07</c:v>
                </c:pt>
                <c:pt idx="382">
                  <c:v>0.11</c:v>
                </c:pt>
                <c:pt idx="383">
                  <c:v>0.14</c:v>
                </c:pt>
                <c:pt idx="384">
                  <c:v>0.02</c:v>
                </c:pt>
                <c:pt idx="385">
                  <c:v>0.01</c:v>
                </c:pt>
                <c:pt idx="386">
                  <c:v>0.06</c:v>
                </c:pt>
                <c:pt idx="387">
                  <c:v>0.03</c:v>
                </c:pt>
                <c:pt idx="388">
                  <c:v>0.05</c:v>
                </c:pt>
                <c:pt idx="389">
                  <c:v>0.08</c:v>
                </c:pt>
                <c:pt idx="390">
                  <c:v>0.09</c:v>
                </c:pt>
                <c:pt idx="391">
                  <c:v>0.1</c:v>
                </c:pt>
                <c:pt idx="392">
                  <c:v>0.06</c:v>
                </c:pt>
                <c:pt idx="393">
                  <c:v>0.01</c:v>
                </c:pt>
                <c:pt idx="394">
                  <c:v>0.04</c:v>
                </c:pt>
                <c:pt idx="395">
                  <c:v>0.09</c:v>
                </c:pt>
                <c:pt idx="396">
                  <c:v>0.36</c:v>
                </c:pt>
                <c:pt idx="397">
                  <c:v>0.09</c:v>
                </c:pt>
                <c:pt idx="398">
                  <c:v>0.14</c:v>
                </c:pt>
                <c:pt idx="399">
                  <c:v>0.08</c:v>
                </c:pt>
                <c:pt idx="400">
                  <c:v>0.01</c:v>
                </c:pt>
                <c:pt idx="401">
                  <c:v>0.07</c:v>
                </c:pt>
                <c:pt idx="402">
                  <c:v>0.03</c:v>
                </c:pt>
                <c:pt idx="403">
                  <c:v>0.34</c:v>
                </c:pt>
                <c:pt idx="404">
                  <c:v>0.38</c:v>
                </c:pt>
                <c:pt idx="405">
                  <c:v>0.01</c:v>
                </c:pt>
                <c:pt idx="406">
                  <c:v>0.02</c:v>
                </c:pt>
                <c:pt idx="407">
                  <c:v>0.07</c:v>
                </c:pt>
                <c:pt idx="408">
                  <c:v>0.12</c:v>
                </c:pt>
                <c:pt idx="409">
                  <c:v>0.01</c:v>
                </c:pt>
                <c:pt idx="410">
                  <c:v>0.18</c:v>
                </c:pt>
                <c:pt idx="411">
                  <c:v>0.13</c:v>
                </c:pt>
                <c:pt idx="412">
                  <c:v>0.05</c:v>
                </c:pt>
                <c:pt idx="413">
                  <c:v>0.07</c:v>
                </c:pt>
                <c:pt idx="414">
                  <c:v>0.01</c:v>
                </c:pt>
                <c:pt idx="415">
                  <c:v>0.07</c:v>
                </c:pt>
                <c:pt idx="416">
                  <c:v>0.06</c:v>
                </c:pt>
                <c:pt idx="417">
                  <c:v>0.02</c:v>
                </c:pt>
                <c:pt idx="418">
                  <c:v>0.01</c:v>
                </c:pt>
                <c:pt idx="419">
                  <c:v>0.1</c:v>
                </c:pt>
                <c:pt idx="420">
                  <c:v>0.05</c:v>
                </c:pt>
                <c:pt idx="421">
                  <c:v>0.01</c:v>
                </c:pt>
                <c:pt idx="422">
                  <c:v>0.2</c:v>
                </c:pt>
                <c:pt idx="423">
                  <c:v>0.01</c:v>
                </c:pt>
                <c:pt idx="424">
                  <c:v>0.06</c:v>
                </c:pt>
                <c:pt idx="425">
                  <c:v>0.04</c:v>
                </c:pt>
                <c:pt idx="426">
                  <c:v>0.01</c:v>
                </c:pt>
                <c:pt idx="427">
                  <c:v>0.01</c:v>
                </c:pt>
                <c:pt idx="428">
                  <c:v>0.01</c:v>
                </c:pt>
                <c:pt idx="429">
                  <c:v>0.04</c:v>
                </c:pt>
                <c:pt idx="430">
                  <c:v>0.04</c:v>
                </c:pt>
                <c:pt idx="431">
                  <c:v>0.11</c:v>
                </c:pt>
                <c:pt idx="432">
                  <c:v>0.01</c:v>
                </c:pt>
                <c:pt idx="433">
                  <c:v>0.01</c:v>
                </c:pt>
                <c:pt idx="434">
                  <c:v>0.01</c:v>
                </c:pt>
                <c:pt idx="435">
                  <c:v>0.11</c:v>
                </c:pt>
                <c:pt idx="436">
                  <c:v>0.01</c:v>
                </c:pt>
                <c:pt idx="437">
                  <c:v>0.01</c:v>
                </c:pt>
                <c:pt idx="438">
                  <c:v>0.03</c:v>
                </c:pt>
                <c:pt idx="439">
                  <c:v>0.01</c:v>
                </c:pt>
                <c:pt idx="440">
                  <c:v>0.02</c:v>
                </c:pt>
                <c:pt idx="441">
                  <c:v>0.07</c:v>
                </c:pt>
                <c:pt idx="442">
                  <c:v>0.06</c:v>
                </c:pt>
                <c:pt idx="443">
                  <c:v>0.17</c:v>
                </c:pt>
                <c:pt idx="444">
                  <c:v>0.02</c:v>
                </c:pt>
                <c:pt idx="445">
                  <c:v>0.13</c:v>
                </c:pt>
                <c:pt idx="446">
                  <c:v>0.11</c:v>
                </c:pt>
                <c:pt idx="447">
                  <c:v>0.01</c:v>
                </c:pt>
                <c:pt idx="448">
                  <c:v>0.09</c:v>
                </c:pt>
                <c:pt idx="449">
                  <c:v>0.05</c:v>
                </c:pt>
                <c:pt idx="450">
                  <c:v>0.01</c:v>
                </c:pt>
                <c:pt idx="451">
                  <c:v>0.02</c:v>
                </c:pt>
                <c:pt idx="452">
                  <c:v>0.02</c:v>
                </c:pt>
                <c:pt idx="453">
                  <c:v>0.11</c:v>
                </c:pt>
                <c:pt idx="454">
                  <c:v>0.01</c:v>
                </c:pt>
                <c:pt idx="455">
                  <c:v>0.12</c:v>
                </c:pt>
                <c:pt idx="456">
                  <c:v>0.01</c:v>
                </c:pt>
                <c:pt idx="457">
                  <c:v>0.01</c:v>
                </c:pt>
                <c:pt idx="458">
                  <c:v>0.02</c:v>
                </c:pt>
                <c:pt idx="459">
                  <c:v>0.02</c:v>
                </c:pt>
                <c:pt idx="460">
                  <c:v>0.28</c:v>
                </c:pt>
                <c:pt idx="461">
                  <c:v>0.01</c:v>
                </c:pt>
                <c:pt idx="462">
                  <c:v>0.02</c:v>
                </c:pt>
                <c:pt idx="463">
                  <c:v>0.02</c:v>
                </c:pt>
                <c:pt idx="464">
                  <c:v>0.01</c:v>
                </c:pt>
                <c:pt idx="465">
                  <c:v>0.01</c:v>
                </c:pt>
                <c:pt idx="466">
                  <c:v>0.01</c:v>
                </c:pt>
                <c:pt idx="467">
                  <c:v>0.01</c:v>
                </c:pt>
                <c:pt idx="468">
                  <c:v>0.02</c:v>
                </c:pt>
                <c:pt idx="469">
                  <c:v>0.1</c:v>
                </c:pt>
                <c:pt idx="470">
                  <c:v>0.04</c:v>
                </c:pt>
                <c:pt idx="471">
                  <c:v>0.01</c:v>
                </c:pt>
                <c:pt idx="472">
                  <c:v>0.02</c:v>
                </c:pt>
                <c:pt idx="473">
                  <c:v>0.01</c:v>
                </c:pt>
                <c:pt idx="474">
                  <c:v>0.01</c:v>
                </c:pt>
                <c:pt idx="475">
                  <c:v>0.02</c:v>
                </c:pt>
                <c:pt idx="476">
                  <c:v>0.02</c:v>
                </c:pt>
                <c:pt idx="477">
                  <c:v>0.02</c:v>
                </c:pt>
                <c:pt idx="478">
                  <c:v>0.05</c:v>
                </c:pt>
                <c:pt idx="479">
                  <c:v>0.07</c:v>
                </c:pt>
                <c:pt idx="480">
                  <c:v>0.01</c:v>
                </c:pt>
                <c:pt idx="481">
                  <c:v>0.01</c:v>
                </c:pt>
                <c:pt idx="482">
                  <c:v>0.06</c:v>
                </c:pt>
                <c:pt idx="483">
                  <c:v>0.02</c:v>
                </c:pt>
                <c:pt idx="484">
                  <c:v>0.03</c:v>
                </c:pt>
                <c:pt idx="485">
                  <c:v>0.01</c:v>
                </c:pt>
                <c:pt idx="486">
                  <c:v>0.01</c:v>
                </c:pt>
                <c:pt idx="487">
                  <c:v>0.01</c:v>
                </c:pt>
                <c:pt idx="488">
                  <c:v>0.01</c:v>
                </c:pt>
                <c:pt idx="489">
                  <c:v>0.07</c:v>
                </c:pt>
                <c:pt idx="490">
                  <c:v>0.01</c:v>
                </c:pt>
                <c:pt idx="491">
                  <c:v>0.01</c:v>
                </c:pt>
                <c:pt idx="492">
                  <c:v>0.01</c:v>
                </c:pt>
                <c:pt idx="493">
                  <c:v>0.02</c:v>
                </c:pt>
                <c:pt idx="494">
                  <c:v>0.01</c:v>
                </c:pt>
                <c:pt idx="495">
                  <c:v>0.01</c:v>
                </c:pt>
                <c:pt idx="496">
                  <c:v>0.01</c:v>
                </c:pt>
                <c:pt idx="497">
                  <c:v>0.05</c:v>
                </c:pt>
                <c:pt idx="498">
                  <c:v>0.01</c:v>
                </c:pt>
                <c:pt idx="499">
                  <c:v>0.01</c:v>
                </c:pt>
                <c:pt idx="500">
                  <c:v>0.02</c:v>
                </c:pt>
                <c:pt idx="501">
                  <c:v>0.04</c:v>
                </c:pt>
                <c:pt idx="502">
                  <c:v>0.02</c:v>
                </c:pt>
                <c:pt idx="503">
                  <c:v>0.02</c:v>
                </c:pt>
                <c:pt idx="504">
                  <c:v>0.02</c:v>
                </c:pt>
                <c:pt idx="505">
                  <c:v>0.02</c:v>
                </c:pt>
                <c:pt idx="506">
                  <c:v>0.01</c:v>
                </c:pt>
                <c:pt idx="507">
                  <c:v>0.01</c:v>
                </c:pt>
                <c:pt idx="508">
                  <c:v>0.04</c:v>
                </c:pt>
                <c:pt idx="509">
                  <c:v>0.01</c:v>
                </c:pt>
                <c:pt idx="510">
                  <c:v>0.01</c:v>
                </c:pt>
                <c:pt idx="511">
                  <c:v>0.01</c:v>
                </c:pt>
                <c:pt idx="512">
                  <c:v>0.02</c:v>
                </c:pt>
                <c:pt idx="513">
                  <c:v>0.04</c:v>
                </c:pt>
                <c:pt idx="514">
                  <c:v>0.02</c:v>
                </c:pt>
                <c:pt idx="515">
                  <c:v>0.01</c:v>
                </c:pt>
                <c:pt idx="516">
                  <c:v>0.01</c:v>
                </c:pt>
                <c:pt idx="517">
                  <c:v>0.01</c:v>
                </c:pt>
                <c:pt idx="518">
                  <c:v>0.04</c:v>
                </c:pt>
                <c:pt idx="519">
                  <c:v>0.01</c:v>
                </c:pt>
                <c:pt idx="520">
                  <c:v>0.02</c:v>
                </c:pt>
                <c:pt idx="521">
                  <c:v>0.02</c:v>
                </c:pt>
                <c:pt idx="522">
                  <c:v>0.01</c:v>
                </c:pt>
                <c:pt idx="523">
                  <c:v>0.04</c:v>
                </c:pt>
                <c:pt idx="524">
                  <c:v>0.01</c:v>
                </c:pt>
                <c:pt idx="525">
                  <c:v>0.01</c:v>
                </c:pt>
                <c:pt idx="526">
                  <c:v>0.01</c:v>
                </c:pt>
                <c:pt idx="527">
                  <c:v>0.01</c:v>
                </c:pt>
                <c:pt idx="528">
                  <c:v>0.02</c:v>
                </c:pt>
                <c:pt idx="529">
                  <c:v>0.01</c:v>
                </c:pt>
                <c:pt idx="530">
                  <c:v>0.01</c:v>
                </c:pt>
                <c:pt idx="531">
                  <c:v>0.02</c:v>
                </c:pt>
                <c:pt idx="532">
                  <c:v>0.01</c:v>
                </c:pt>
                <c:pt idx="533">
                  <c:v>0.02</c:v>
                </c:pt>
                <c:pt idx="534">
                  <c:v>0.01</c:v>
                </c:pt>
                <c:pt idx="535">
                  <c:v>0.01</c:v>
                </c:pt>
                <c:pt idx="536">
                  <c:v>0.01</c:v>
                </c:pt>
                <c:pt idx="537">
                  <c:v>0.01</c:v>
                </c:pt>
                <c:pt idx="538">
                  <c:v>0.01</c:v>
                </c:pt>
                <c:pt idx="539">
                  <c:v>0.12</c:v>
                </c:pt>
                <c:pt idx="540">
                  <c:v>0.01</c:v>
                </c:pt>
                <c:pt idx="541">
                  <c:v>0.01</c:v>
                </c:pt>
                <c:pt idx="542">
                  <c:v>0.02</c:v>
                </c:pt>
                <c:pt idx="543">
                  <c:v>0.01</c:v>
                </c:pt>
                <c:pt idx="544">
                  <c:v>0.04</c:v>
                </c:pt>
                <c:pt idx="545">
                  <c:v>0.01</c:v>
                </c:pt>
                <c:pt idx="546">
                  <c:v>0.04</c:v>
                </c:pt>
                <c:pt idx="547">
                  <c:v>0.04</c:v>
                </c:pt>
                <c:pt idx="548">
                  <c:v>0.01</c:v>
                </c:pt>
                <c:pt idx="549">
                  <c:v>0.01</c:v>
                </c:pt>
                <c:pt idx="550">
                  <c:v>0.01</c:v>
                </c:pt>
                <c:pt idx="551">
                  <c:v>0.01</c:v>
                </c:pt>
                <c:pt idx="552">
                  <c:v>0.01</c:v>
                </c:pt>
                <c:pt idx="553">
                  <c:v>0.01</c:v>
                </c:pt>
                <c:pt idx="554">
                  <c:v>0.02</c:v>
                </c:pt>
                <c:pt idx="555">
                  <c:v>0.01</c:v>
                </c:pt>
                <c:pt idx="556">
                  <c:v>0.01</c:v>
                </c:pt>
                <c:pt idx="557">
                  <c:v>0.01</c:v>
                </c:pt>
                <c:pt idx="558">
                  <c:v>0.01</c:v>
                </c:pt>
                <c:pt idx="559">
                  <c:v>0.01</c:v>
                </c:pt>
                <c:pt idx="560">
                  <c:v>0.03</c:v>
                </c:pt>
                <c:pt idx="561">
                  <c:v>0.01</c:v>
                </c:pt>
                <c:pt idx="562">
                  <c:v>0.01</c:v>
                </c:pt>
                <c:pt idx="563">
                  <c:v>0.01</c:v>
                </c:pt>
                <c:pt idx="564">
                  <c:v>0.02</c:v>
                </c:pt>
                <c:pt idx="565">
                  <c:v>0.01</c:v>
                </c:pt>
                <c:pt idx="566">
                  <c:v>0.01</c:v>
                </c:pt>
                <c:pt idx="567">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Item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7ECAC4"/>
              </a:solidFill>
            </c:spPr>
            <c:extLst>
              <c:ext xmlns:c16="http://schemas.microsoft.com/office/drawing/2014/chart" uri="{C3380CC4-5D6E-409C-BE32-E72D297353CC}">
                <c16:uniqueId val="{000000E7-2993-41DE-A2CB-63102DE87051}"/>
              </c:ext>
            </c:extLst>
          </c:dPt>
          <c:dPt>
            <c:idx val="115"/>
            <c:invertIfNegative val="1"/>
            <c:bubble3D val="0"/>
            <c:spPr>
              <a:solidFill>
                <a:srgbClr val="7ECAC4"/>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7ECAC4"/>
              </a:solidFill>
            </c:spPr>
            <c:extLst>
              <c:ext xmlns:c16="http://schemas.microsoft.com/office/drawing/2014/chart" uri="{C3380CC4-5D6E-409C-BE32-E72D297353CC}">
                <c16:uniqueId val="{0000015D-2993-41DE-A2CB-63102DE87051}"/>
              </c:ext>
            </c:extLst>
          </c:dPt>
          <c:dPt>
            <c:idx val="174"/>
            <c:invertIfNegative val="1"/>
            <c:bubble3D val="0"/>
            <c:spPr>
              <a:solidFill>
                <a:srgbClr val="7ECAC4"/>
              </a:solidFill>
            </c:spPr>
            <c:extLst>
              <c:ext xmlns:c16="http://schemas.microsoft.com/office/drawing/2014/chart" uri="{C3380CC4-5D6E-409C-BE32-E72D297353CC}">
                <c16:uniqueId val="{0000015F-2993-41DE-A2CB-63102DE87051}"/>
              </c:ext>
            </c:extLst>
          </c:dPt>
          <c:dPt>
            <c:idx val="175"/>
            <c:invertIfNegative val="1"/>
            <c:bubble3D val="0"/>
            <c:spPr>
              <a:solidFill>
                <a:srgbClr val="7ECAC4"/>
              </a:solidFill>
            </c:spPr>
            <c:extLst>
              <c:ext xmlns:c16="http://schemas.microsoft.com/office/drawing/2014/chart" uri="{C3380CC4-5D6E-409C-BE32-E72D297353CC}">
                <c16:uniqueId val="{00000161-2993-41DE-A2CB-63102DE87051}"/>
              </c:ext>
            </c:extLst>
          </c:dPt>
          <c:dPt>
            <c:idx val="176"/>
            <c:invertIfNegative val="1"/>
            <c:bubble3D val="0"/>
            <c:spPr>
              <a:solidFill>
                <a:srgbClr val="7ECAC4"/>
              </a:solidFill>
            </c:spPr>
            <c:extLst>
              <c:ext xmlns:c16="http://schemas.microsoft.com/office/drawing/2014/chart" uri="{C3380CC4-5D6E-409C-BE32-E72D297353CC}">
                <c16:uniqueId val="{00000163-2993-41DE-A2CB-63102DE87051}"/>
              </c:ext>
            </c:extLst>
          </c:dPt>
          <c:dPt>
            <c:idx val="177"/>
            <c:invertIfNegative val="1"/>
            <c:bubble3D val="0"/>
            <c:spPr>
              <a:solidFill>
                <a:srgbClr val="7ECAC4"/>
              </a:solidFill>
            </c:spPr>
            <c:extLst>
              <c:ext xmlns:c16="http://schemas.microsoft.com/office/drawing/2014/chart" uri="{C3380CC4-5D6E-409C-BE32-E72D297353CC}">
                <c16:uniqueId val="{00000165-2993-41DE-A2CB-63102DE87051}"/>
              </c:ext>
            </c:extLst>
          </c:dPt>
          <c:dPt>
            <c:idx val="178"/>
            <c:invertIfNegative val="1"/>
            <c:bubble3D val="0"/>
            <c:spPr>
              <a:solidFill>
                <a:srgbClr val="7ECAC4"/>
              </a:solidFill>
            </c:spPr>
            <c:extLst>
              <c:ext xmlns:c16="http://schemas.microsoft.com/office/drawing/2014/chart" uri="{C3380CC4-5D6E-409C-BE32-E72D297353CC}">
                <c16:uniqueId val="{00000167-2993-41DE-A2CB-63102DE87051}"/>
              </c:ext>
            </c:extLst>
          </c:dPt>
          <c:dPt>
            <c:idx val="179"/>
            <c:invertIfNegative val="1"/>
            <c:bubble3D val="0"/>
            <c:spPr>
              <a:solidFill>
                <a:srgbClr val="7ECAC4"/>
              </a:solidFill>
            </c:spPr>
            <c:extLst>
              <c:ext xmlns:c16="http://schemas.microsoft.com/office/drawing/2014/chart" uri="{C3380CC4-5D6E-409C-BE32-E72D297353CC}">
                <c16:uniqueId val="{00000169-2993-41DE-A2CB-63102DE87051}"/>
              </c:ext>
            </c:extLst>
          </c:dPt>
          <c:dPt>
            <c:idx val="180"/>
            <c:invertIfNegative val="1"/>
            <c:bubble3D val="0"/>
            <c:spPr>
              <a:solidFill>
                <a:srgbClr val="7ECAC4"/>
              </a:solidFill>
            </c:spPr>
            <c:extLst>
              <c:ext xmlns:c16="http://schemas.microsoft.com/office/drawing/2014/chart" uri="{C3380CC4-5D6E-409C-BE32-E72D297353CC}">
                <c16:uniqueId val="{0000016B-2993-41DE-A2CB-63102DE87051}"/>
              </c:ext>
            </c:extLst>
          </c:dPt>
          <c:dPt>
            <c:idx val="181"/>
            <c:invertIfNegative val="1"/>
            <c:bubble3D val="0"/>
            <c:spPr>
              <a:solidFill>
                <a:srgbClr val="7ECAC4"/>
              </a:solidFill>
            </c:spPr>
            <c:extLst>
              <c:ext xmlns:c16="http://schemas.microsoft.com/office/drawing/2014/chart" uri="{C3380CC4-5D6E-409C-BE32-E72D297353CC}">
                <c16:uniqueId val="{0000016D-2993-41DE-A2CB-63102DE87051}"/>
              </c:ext>
            </c:extLst>
          </c:dPt>
          <c:dPt>
            <c:idx val="182"/>
            <c:invertIfNegative val="1"/>
            <c:bubble3D val="0"/>
            <c:spPr>
              <a:solidFill>
                <a:srgbClr val="7ECAC4"/>
              </a:solidFill>
            </c:spPr>
            <c:extLst>
              <c:ext xmlns:c16="http://schemas.microsoft.com/office/drawing/2014/chart" uri="{C3380CC4-5D6E-409C-BE32-E72D297353CC}">
                <c16:uniqueId val="{0000016F-2993-41DE-A2CB-63102DE87051}"/>
              </c:ext>
            </c:extLst>
          </c:dPt>
          <c:dPt>
            <c:idx val="183"/>
            <c:invertIfNegative val="1"/>
            <c:bubble3D val="0"/>
            <c:spPr>
              <a:solidFill>
                <a:srgbClr val="7ECAC4"/>
              </a:solidFill>
            </c:spPr>
            <c:extLst>
              <c:ext xmlns:c16="http://schemas.microsoft.com/office/drawing/2014/chart" uri="{C3380CC4-5D6E-409C-BE32-E72D297353CC}">
                <c16:uniqueId val="{00000171-2993-41DE-A2CB-63102DE87051}"/>
              </c:ext>
            </c:extLst>
          </c:dPt>
          <c:dPt>
            <c:idx val="184"/>
            <c:invertIfNegative val="1"/>
            <c:bubble3D val="0"/>
            <c:spPr>
              <a:solidFill>
                <a:srgbClr val="7ECAC4"/>
              </a:solidFill>
            </c:spPr>
            <c:extLst>
              <c:ext xmlns:c16="http://schemas.microsoft.com/office/drawing/2014/chart" uri="{C3380CC4-5D6E-409C-BE32-E72D297353CC}">
                <c16:uniqueId val="{00000173-2993-41DE-A2CB-63102DE87051}"/>
              </c:ext>
            </c:extLst>
          </c:dPt>
          <c:dPt>
            <c:idx val="185"/>
            <c:invertIfNegative val="1"/>
            <c:bubble3D val="0"/>
            <c:spPr>
              <a:solidFill>
                <a:srgbClr val="7ECAC4"/>
              </a:solidFill>
            </c:spPr>
            <c:extLst>
              <c:ext xmlns:c16="http://schemas.microsoft.com/office/drawing/2014/chart" uri="{C3380CC4-5D6E-409C-BE32-E72D297353CC}">
                <c16:uniqueId val="{00000175-2993-41DE-A2CB-63102DE87051}"/>
              </c:ext>
            </c:extLst>
          </c:dPt>
          <c:dPt>
            <c:idx val="186"/>
            <c:invertIfNegative val="1"/>
            <c:bubble3D val="0"/>
            <c:spPr>
              <a:solidFill>
                <a:srgbClr val="7ECAC4"/>
              </a:solidFill>
            </c:spPr>
            <c:extLst>
              <c:ext xmlns:c16="http://schemas.microsoft.com/office/drawing/2014/chart" uri="{C3380CC4-5D6E-409C-BE32-E72D297353CC}">
                <c16:uniqueId val="{00000177-2993-41DE-A2CB-63102DE87051}"/>
              </c:ext>
            </c:extLst>
          </c:dPt>
          <c:dPt>
            <c:idx val="187"/>
            <c:invertIfNegative val="1"/>
            <c:bubble3D val="0"/>
            <c:spPr>
              <a:solidFill>
                <a:srgbClr val="7ECAC4"/>
              </a:solidFill>
            </c:spPr>
            <c:extLst>
              <c:ext xmlns:c16="http://schemas.microsoft.com/office/drawing/2014/chart" uri="{C3380CC4-5D6E-409C-BE32-E72D297353CC}">
                <c16:uniqueId val="{00000179-2993-41DE-A2CB-63102DE87051}"/>
              </c:ext>
            </c:extLst>
          </c:dPt>
          <c:dPt>
            <c:idx val="188"/>
            <c:invertIfNegative val="1"/>
            <c:bubble3D val="0"/>
            <c:spPr>
              <a:solidFill>
                <a:srgbClr val="7ECAC4"/>
              </a:solidFill>
            </c:spPr>
            <c:extLst>
              <c:ext xmlns:c16="http://schemas.microsoft.com/office/drawing/2014/chart" uri="{C3380CC4-5D6E-409C-BE32-E72D297353CC}">
                <c16:uniqueId val="{0000017B-2993-41DE-A2CB-63102DE87051}"/>
              </c:ext>
            </c:extLst>
          </c:dPt>
          <c:dPt>
            <c:idx val="189"/>
            <c:invertIfNegative val="1"/>
            <c:bubble3D val="0"/>
            <c:spPr>
              <a:solidFill>
                <a:srgbClr val="7ECAC4"/>
              </a:solidFill>
            </c:spPr>
            <c:extLst>
              <c:ext xmlns:c16="http://schemas.microsoft.com/office/drawing/2014/chart" uri="{C3380CC4-5D6E-409C-BE32-E72D297353CC}">
                <c16:uniqueId val="{0000017D-2993-41DE-A2CB-63102DE87051}"/>
              </c:ext>
            </c:extLst>
          </c:dPt>
          <c:dPt>
            <c:idx val="190"/>
            <c:invertIfNegative val="1"/>
            <c:bubble3D val="0"/>
            <c:spPr>
              <a:solidFill>
                <a:srgbClr val="7ECAC4"/>
              </a:solidFill>
            </c:spPr>
            <c:extLst>
              <c:ext xmlns:c16="http://schemas.microsoft.com/office/drawing/2014/chart" uri="{C3380CC4-5D6E-409C-BE32-E72D297353CC}">
                <c16:uniqueId val="{0000017F-2993-41DE-A2CB-63102DE87051}"/>
              </c:ext>
            </c:extLst>
          </c:dPt>
          <c:dPt>
            <c:idx val="191"/>
            <c:invertIfNegative val="1"/>
            <c:bubble3D val="0"/>
            <c:spPr>
              <a:solidFill>
                <a:srgbClr val="7ECAC4"/>
              </a:solidFill>
            </c:spPr>
            <c:extLst>
              <c:ext xmlns:c16="http://schemas.microsoft.com/office/drawing/2014/chart" uri="{C3380CC4-5D6E-409C-BE32-E72D297353CC}">
                <c16:uniqueId val="{00000181-2993-41DE-A2CB-63102DE87051}"/>
              </c:ext>
            </c:extLst>
          </c:dPt>
          <c:dPt>
            <c:idx val="192"/>
            <c:invertIfNegative val="1"/>
            <c:bubble3D val="0"/>
            <c:spPr>
              <a:solidFill>
                <a:srgbClr val="7ECAC4"/>
              </a:solidFill>
            </c:spPr>
            <c:extLst>
              <c:ext xmlns:c16="http://schemas.microsoft.com/office/drawing/2014/chart" uri="{C3380CC4-5D6E-409C-BE32-E72D297353CC}">
                <c16:uniqueId val="{00000183-2993-41DE-A2CB-63102DE87051}"/>
              </c:ext>
            </c:extLst>
          </c:dPt>
          <c:dPt>
            <c:idx val="193"/>
            <c:invertIfNegative val="1"/>
            <c:bubble3D val="0"/>
            <c:spPr>
              <a:solidFill>
                <a:srgbClr val="7ECAC4"/>
              </a:solidFill>
            </c:spPr>
            <c:extLst>
              <c:ext xmlns:c16="http://schemas.microsoft.com/office/drawing/2014/chart" uri="{C3380CC4-5D6E-409C-BE32-E72D297353CC}">
                <c16:uniqueId val="{00000185-2993-41DE-A2CB-63102DE87051}"/>
              </c:ext>
            </c:extLst>
          </c:dPt>
          <c:dPt>
            <c:idx val="194"/>
            <c:invertIfNegative val="1"/>
            <c:bubble3D val="0"/>
            <c:spPr>
              <a:solidFill>
                <a:srgbClr val="7ECAC4"/>
              </a:solidFill>
            </c:spPr>
            <c:extLst>
              <c:ext xmlns:c16="http://schemas.microsoft.com/office/drawing/2014/chart" uri="{C3380CC4-5D6E-409C-BE32-E72D297353CC}">
                <c16:uniqueId val="{00000187-2993-41DE-A2CB-63102DE87051}"/>
              </c:ext>
            </c:extLst>
          </c:dPt>
          <c:dPt>
            <c:idx val="195"/>
            <c:invertIfNegative val="1"/>
            <c:bubble3D val="0"/>
            <c:spPr>
              <a:solidFill>
                <a:srgbClr val="7ECAC4"/>
              </a:solidFill>
            </c:spPr>
            <c:extLst>
              <c:ext xmlns:c16="http://schemas.microsoft.com/office/drawing/2014/chart" uri="{C3380CC4-5D6E-409C-BE32-E72D297353CC}">
                <c16:uniqueId val="{00000189-2993-41DE-A2CB-63102DE87051}"/>
              </c:ext>
            </c:extLst>
          </c:dPt>
          <c:dPt>
            <c:idx val="196"/>
            <c:invertIfNegative val="1"/>
            <c:bubble3D val="0"/>
            <c:spPr>
              <a:solidFill>
                <a:srgbClr val="7ECAC4"/>
              </a:solidFill>
            </c:spPr>
            <c:extLst>
              <c:ext xmlns:c16="http://schemas.microsoft.com/office/drawing/2014/chart" uri="{C3380CC4-5D6E-409C-BE32-E72D297353CC}">
                <c16:uniqueId val="{0000018B-2993-41DE-A2CB-63102DE87051}"/>
              </c:ext>
            </c:extLst>
          </c:dPt>
          <c:dPt>
            <c:idx val="197"/>
            <c:invertIfNegative val="1"/>
            <c:bubble3D val="0"/>
            <c:spPr>
              <a:solidFill>
                <a:srgbClr val="7ECAC4"/>
              </a:solidFill>
            </c:spPr>
            <c:extLst>
              <c:ext xmlns:c16="http://schemas.microsoft.com/office/drawing/2014/chart" uri="{C3380CC4-5D6E-409C-BE32-E72D297353CC}">
                <c16:uniqueId val="{0000018D-2993-41DE-A2CB-63102DE87051}"/>
              </c:ext>
            </c:extLst>
          </c:dPt>
          <c:dPt>
            <c:idx val="198"/>
            <c:invertIfNegative val="1"/>
            <c:bubble3D val="0"/>
            <c:spPr>
              <a:solidFill>
                <a:srgbClr val="7ECAC4"/>
              </a:solidFill>
            </c:spPr>
            <c:extLst>
              <c:ext xmlns:c16="http://schemas.microsoft.com/office/drawing/2014/chart" uri="{C3380CC4-5D6E-409C-BE32-E72D297353CC}">
                <c16:uniqueId val="{0000018F-2993-41DE-A2CB-63102DE87051}"/>
              </c:ext>
            </c:extLst>
          </c:dPt>
          <c:dPt>
            <c:idx val="199"/>
            <c:invertIfNegative val="1"/>
            <c:bubble3D val="0"/>
            <c:spPr>
              <a:solidFill>
                <a:srgbClr val="7ECAC4"/>
              </a:solidFill>
            </c:spPr>
            <c:extLst>
              <c:ext xmlns:c16="http://schemas.microsoft.com/office/drawing/2014/chart" uri="{C3380CC4-5D6E-409C-BE32-E72D297353CC}">
                <c16:uniqueId val="{00000191-2993-41DE-A2CB-63102DE87051}"/>
              </c:ext>
            </c:extLst>
          </c:dPt>
          <c:dPt>
            <c:idx val="200"/>
            <c:invertIfNegative val="1"/>
            <c:bubble3D val="0"/>
            <c:spPr>
              <a:solidFill>
                <a:srgbClr val="7ECAC4"/>
              </a:solidFill>
            </c:spPr>
            <c:extLst>
              <c:ext xmlns:c16="http://schemas.microsoft.com/office/drawing/2014/chart" uri="{C3380CC4-5D6E-409C-BE32-E72D297353CC}">
                <c16:uniqueId val="{00000193-2993-41DE-A2CB-63102DE87051}"/>
              </c:ext>
            </c:extLst>
          </c:dPt>
          <c:dPt>
            <c:idx val="201"/>
            <c:invertIfNegative val="1"/>
            <c:bubble3D val="0"/>
            <c:spPr>
              <a:solidFill>
                <a:srgbClr val="7ECAC4"/>
              </a:solidFill>
            </c:spPr>
            <c:extLst>
              <c:ext xmlns:c16="http://schemas.microsoft.com/office/drawing/2014/chart" uri="{C3380CC4-5D6E-409C-BE32-E72D297353CC}">
                <c16:uniqueId val="{00000195-2993-41DE-A2CB-63102DE87051}"/>
              </c:ext>
            </c:extLst>
          </c:dPt>
          <c:dPt>
            <c:idx val="202"/>
            <c:invertIfNegative val="1"/>
            <c:bubble3D val="0"/>
            <c:spPr>
              <a:solidFill>
                <a:srgbClr val="7ECAC4"/>
              </a:solidFill>
            </c:spPr>
            <c:extLst>
              <c:ext xmlns:c16="http://schemas.microsoft.com/office/drawing/2014/chart" uri="{C3380CC4-5D6E-409C-BE32-E72D297353CC}">
                <c16:uniqueId val="{00000197-2993-41DE-A2CB-63102DE87051}"/>
              </c:ext>
            </c:extLst>
          </c:dPt>
          <c:dPt>
            <c:idx val="203"/>
            <c:invertIfNegative val="1"/>
            <c:bubble3D val="0"/>
            <c:spPr>
              <a:solidFill>
                <a:srgbClr val="7ECAC4"/>
              </a:solidFill>
            </c:spPr>
            <c:extLst>
              <c:ext xmlns:c16="http://schemas.microsoft.com/office/drawing/2014/chart" uri="{C3380CC4-5D6E-409C-BE32-E72D297353CC}">
                <c16:uniqueId val="{00000199-2993-41DE-A2CB-63102DE87051}"/>
              </c:ext>
            </c:extLst>
          </c:dPt>
          <c:dPt>
            <c:idx val="204"/>
            <c:invertIfNegative val="1"/>
            <c:bubble3D val="0"/>
            <c:spPr>
              <a:solidFill>
                <a:srgbClr val="7ECAC4"/>
              </a:solidFill>
            </c:spPr>
            <c:extLst>
              <c:ext xmlns:c16="http://schemas.microsoft.com/office/drawing/2014/chart" uri="{C3380CC4-5D6E-409C-BE32-E72D297353CC}">
                <c16:uniqueId val="{0000019B-2993-41DE-A2CB-63102DE87051}"/>
              </c:ext>
            </c:extLst>
          </c:dPt>
          <c:dPt>
            <c:idx val="205"/>
            <c:invertIfNegative val="1"/>
            <c:bubble3D val="0"/>
            <c:spPr>
              <a:solidFill>
                <a:srgbClr val="7ECAC4"/>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dPt>
            <c:idx val="210"/>
            <c:spPr>
              <a:solidFill>
                <a:srgbClr val="AEABAB"/>
              </a:solidFill>
            </c:spPr>
          </c:dPt>
          <c:dPt>
            <c:idx val="211"/>
            <c:spPr>
              <a:solidFill>
                <a:srgbClr val="AEABAB"/>
              </a:solidFill>
            </c:spPr>
          </c:dPt>
          <c:dPt>
            <c:idx val="212"/>
            <c:spPr>
              <a:solidFill>
                <a:srgbClr val="AEABAB"/>
              </a:solidFill>
            </c:spPr>
          </c:dPt>
          <c:dPt>
            <c:idx val="213"/>
            <c:spPr>
              <a:solidFill>
                <a:srgbClr val="AEABAB"/>
              </a:solidFill>
            </c:spPr>
          </c:dPt>
          <c:dPt>
            <c:idx val="214"/>
            <c:spPr>
              <a:solidFill>
                <a:srgbClr val="AEABAB"/>
              </a:solidFill>
            </c:spPr>
          </c:dPt>
          <c:dPt>
            <c:idx val="215"/>
            <c:spPr>
              <a:solidFill>
                <a:srgbClr val="AEABAB"/>
              </a:solidFill>
            </c:spPr>
          </c:dPt>
          <c:dPt>
            <c:idx val="216"/>
            <c:spPr>
              <a:solidFill>
                <a:srgbClr val="AEABAB"/>
              </a:solidFill>
            </c:spPr>
          </c:dPt>
          <c:dPt>
            <c:idx val="217"/>
            <c:spPr>
              <a:solidFill>
                <a:srgbClr val="AEABAB"/>
              </a:solidFill>
            </c:spPr>
          </c:dPt>
          <c:dPt>
            <c:idx val="218"/>
            <c:spPr>
              <a:solidFill>
                <a:srgbClr val="AEABAB"/>
              </a:solidFill>
            </c:spPr>
          </c:dPt>
          <c:dPt>
            <c:idx val="219"/>
            <c:spPr>
              <a:solidFill>
                <a:srgbClr val="AEABAB"/>
              </a:solidFill>
            </c:spPr>
          </c:dPt>
          <c:dPt>
            <c:idx val="220"/>
            <c:spPr>
              <a:solidFill>
                <a:srgbClr val="AEABAB"/>
              </a:solidFill>
            </c:spPr>
          </c:dPt>
          <c:dPt>
            <c:idx val="221"/>
            <c:spPr>
              <a:solidFill>
                <a:srgbClr val="AEABAB"/>
              </a:solidFill>
            </c:spPr>
          </c:dPt>
          <c:dPt>
            <c:idx val="222"/>
            <c:spPr>
              <a:solidFill>
                <a:srgbClr val="AEABAB"/>
              </a:solidFill>
            </c:spPr>
          </c:dPt>
          <c:dPt>
            <c:idx val="223"/>
            <c:spPr>
              <a:solidFill>
                <a:srgbClr val="AEABAB"/>
              </a:solidFill>
            </c:spPr>
          </c:dPt>
          <c:dPt>
            <c:idx val="224"/>
            <c:spPr>
              <a:solidFill>
                <a:srgbClr val="AEABAB"/>
              </a:solidFill>
            </c:spPr>
          </c:dPt>
          <c:dPt>
            <c:idx val="225"/>
            <c:spPr>
              <a:solidFill>
                <a:srgbClr val="AEABAB"/>
              </a:solidFill>
            </c:spPr>
          </c:dPt>
          <c:dPt>
            <c:idx val="226"/>
            <c:spPr>
              <a:solidFill>
                <a:srgbClr val="AEABAB"/>
              </a:solidFill>
            </c:spPr>
          </c:dPt>
          <c:dPt>
            <c:idx val="227"/>
            <c:spPr>
              <a:solidFill>
                <a:srgbClr val="AEABAB"/>
              </a:solidFill>
            </c:spPr>
          </c:dPt>
          <c:dPt>
            <c:idx val="228"/>
            <c:spPr>
              <a:solidFill>
                <a:srgbClr val="AEABAB"/>
              </a:solidFill>
            </c:spPr>
          </c:dPt>
          <c:dPt>
            <c:idx val="229"/>
            <c:spPr>
              <a:solidFill>
                <a:srgbClr val="AEABAB"/>
              </a:solidFill>
            </c:spPr>
          </c:dPt>
          <c:dPt>
            <c:idx val="230"/>
            <c:spPr>
              <a:solidFill>
                <a:srgbClr val="AEABAB"/>
              </a:solidFill>
            </c:spPr>
          </c:dPt>
          <c:dPt>
            <c:idx val="231"/>
            <c:spPr>
              <a:solidFill>
                <a:srgbClr val="AEABAB"/>
              </a:solidFill>
            </c:spPr>
          </c:dPt>
          <c:dPt>
            <c:idx val="232"/>
            <c:spPr>
              <a:solidFill>
                <a:srgbClr val="AEABAB"/>
              </a:solidFill>
            </c:spPr>
          </c:dPt>
          <c:dPt>
            <c:idx val="233"/>
            <c:spPr>
              <a:solidFill>
                <a:srgbClr val="AEABAB"/>
              </a:solidFill>
            </c:spPr>
          </c:dPt>
          <c:dPt>
            <c:idx val="234"/>
            <c:spPr>
              <a:solidFill>
                <a:srgbClr val="AEABAB"/>
              </a:solidFill>
            </c:spPr>
          </c:dPt>
          <c:dPt>
            <c:idx val="235"/>
            <c:spPr>
              <a:solidFill>
                <a:srgbClr val="AEABAB"/>
              </a:solidFill>
            </c:spPr>
          </c:dPt>
          <c:dPt>
            <c:idx val="236"/>
            <c:spPr>
              <a:solidFill>
                <a:srgbClr val="AEABAB"/>
              </a:solidFill>
            </c:spPr>
          </c:dPt>
          <c:dPt>
            <c:idx val="237"/>
            <c:spPr>
              <a:solidFill>
                <a:srgbClr val="AEABAB"/>
              </a:solidFill>
            </c:spPr>
          </c:dPt>
          <c:dPt>
            <c:idx val="238"/>
            <c:spPr>
              <a:solidFill>
                <a:srgbClr val="AEABAB"/>
              </a:solidFill>
            </c:spPr>
          </c:dPt>
          <c:dPt>
            <c:idx val="239"/>
            <c:spPr>
              <a:solidFill>
                <a:srgbClr val="AEABAB"/>
              </a:solidFill>
            </c:spPr>
          </c:dPt>
          <c:dPt>
            <c:idx val="240"/>
            <c:spPr>
              <a:solidFill>
                <a:srgbClr val="AEABAB"/>
              </a:solidFill>
            </c:spPr>
          </c:dPt>
          <c:dPt>
            <c:idx val="241"/>
            <c:spPr>
              <a:solidFill>
                <a:srgbClr val="AEABAB"/>
              </a:solidFill>
            </c:spPr>
          </c:dPt>
          <c:dPt>
            <c:idx val="242"/>
            <c:spPr>
              <a:solidFill>
                <a:srgbClr val="AEABAB"/>
              </a:solidFill>
            </c:spPr>
          </c:dPt>
          <c:dPt>
            <c:idx val="243"/>
            <c:spPr>
              <a:solidFill>
                <a:srgbClr val="AEABAB"/>
              </a:solidFill>
            </c:spPr>
          </c:dPt>
          <c:dPt>
            <c:idx val="244"/>
            <c:spPr>
              <a:solidFill>
                <a:srgbClr val="AEABAB"/>
              </a:solidFill>
            </c:spPr>
          </c:dPt>
          <c:dPt>
            <c:idx val="245"/>
            <c:spPr>
              <a:solidFill>
                <a:srgbClr val="AEABAB"/>
              </a:solidFill>
            </c:spPr>
          </c:dPt>
          <c:dPt>
            <c:idx val="246"/>
            <c:spPr>
              <a:solidFill>
                <a:srgbClr val="AEABAB"/>
              </a:solidFill>
            </c:spPr>
          </c:dPt>
          <c:dPt>
            <c:idx val="247"/>
            <c:spPr>
              <a:solidFill>
                <a:srgbClr val="AEABAB"/>
              </a:solidFill>
            </c:spPr>
          </c:dPt>
          <c:dPt>
            <c:idx val="248"/>
            <c:spPr>
              <a:solidFill>
                <a:srgbClr val="AEABAB"/>
              </a:solidFill>
            </c:spPr>
          </c:dPt>
          <c:dPt>
            <c:idx val="249"/>
            <c:spPr>
              <a:solidFill>
                <a:srgbClr val="AEABAB"/>
              </a:solidFill>
            </c:spPr>
          </c:dPt>
          <c:dPt>
            <c:idx val="250"/>
            <c:spPr>
              <a:solidFill>
                <a:srgbClr val="AEABAB"/>
              </a:solidFill>
            </c:spPr>
          </c:dPt>
          <c:dPt>
            <c:idx val="251"/>
            <c:spPr>
              <a:solidFill>
                <a:srgbClr val="AEABAB"/>
              </a:solidFill>
            </c:spPr>
          </c:dPt>
          <c:dPt>
            <c:idx val="252"/>
            <c:spPr>
              <a:solidFill>
                <a:srgbClr val="AEABAB"/>
              </a:solidFill>
            </c:spPr>
          </c:dPt>
          <c:dPt>
            <c:idx val="253"/>
            <c:spPr>
              <a:solidFill>
                <a:srgbClr val="AEABAB"/>
              </a:solidFill>
            </c:spPr>
          </c:dPt>
          <c:dPt>
            <c:idx val="254"/>
            <c:spPr>
              <a:solidFill>
                <a:srgbClr val="AEABAB"/>
              </a:solidFill>
            </c:spPr>
          </c:dPt>
          <c:dPt>
            <c:idx val="255"/>
            <c:spPr>
              <a:solidFill>
                <a:srgbClr val="AEABAB"/>
              </a:solidFill>
            </c:spPr>
          </c:dPt>
          <c:dPt>
            <c:idx val="256"/>
            <c:spPr>
              <a:solidFill>
                <a:srgbClr val="AEABAB"/>
              </a:solidFill>
            </c:spPr>
          </c:dPt>
          <c:dPt>
            <c:idx val="257"/>
            <c:spPr>
              <a:solidFill>
                <a:srgbClr val="AEABAB"/>
              </a:solidFill>
            </c:spPr>
          </c:dPt>
          <c:dPt>
            <c:idx val="258"/>
            <c:spPr>
              <a:solidFill>
                <a:srgbClr val="AEABAB"/>
              </a:solidFill>
            </c:spPr>
          </c:dPt>
          <c:dPt>
            <c:idx val="259"/>
            <c:spPr>
              <a:solidFill>
                <a:srgbClr val="AEABAB"/>
              </a:solidFill>
            </c:spPr>
          </c:dPt>
          <c:dPt>
            <c:idx val="260"/>
            <c:spPr>
              <a:solidFill>
                <a:srgbClr val="AEABAB"/>
              </a:solidFill>
            </c:spPr>
          </c:dPt>
          <c:dPt>
            <c:idx val="261"/>
            <c:spPr>
              <a:solidFill>
                <a:srgbClr val="AEABAB"/>
              </a:solidFill>
            </c:spPr>
          </c:dPt>
          <c:dPt>
            <c:idx val="262"/>
            <c:spPr>
              <a:solidFill>
                <a:srgbClr val="AEABAB"/>
              </a:solidFill>
            </c:spPr>
          </c:dPt>
          <c:dPt>
            <c:idx val="263"/>
            <c:spPr>
              <a:solidFill>
                <a:srgbClr val="AEABAB"/>
              </a:solidFill>
            </c:spPr>
          </c:dPt>
          <c:dPt>
            <c:idx val="264"/>
            <c:spPr>
              <a:solidFill>
                <a:srgbClr val="AEABAB"/>
              </a:solidFill>
            </c:spPr>
          </c:dPt>
          <c:dPt>
            <c:idx val="265"/>
            <c:spPr>
              <a:solidFill>
                <a:srgbClr val="AEABAB"/>
              </a:solidFill>
            </c:spPr>
          </c:dPt>
          <c:dPt>
            <c:idx val="266"/>
            <c:spPr>
              <a:solidFill>
                <a:srgbClr val="AEABAB"/>
              </a:solidFill>
            </c:spPr>
          </c:dPt>
          <c:dPt>
            <c:idx val="267"/>
            <c:spPr>
              <a:solidFill>
                <a:srgbClr val="AEABAB"/>
              </a:solidFill>
            </c:spPr>
          </c:dPt>
          <c:dPt>
            <c:idx val="268"/>
            <c:spPr>
              <a:solidFill>
                <a:srgbClr val="AEABAB"/>
              </a:solidFill>
            </c:spPr>
          </c:dPt>
          <c:dPt>
            <c:idx val="269"/>
            <c:spPr>
              <a:solidFill>
                <a:srgbClr val="AEABAB"/>
              </a:solidFill>
            </c:spPr>
          </c:dPt>
          <c:dPt>
            <c:idx val="270"/>
            <c:spPr>
              <a:solidFill>
                <a:srgbClr val="AEABAB"/>
              </a:solidFill>
            </c:spPr>
          </c:dPt>
          <c:dPt>
            <c:idx val="271"/>
            <c:spPr>
              <a:solidFill>
                <a:srgbClr val="AEABAB"/>
              </a:solidFill>
            </c:spPr>
          </c:dPt>
          <c:dPt>
            <c:idx val="272"/>
            <c:spPr>
              <a:solidFill>
                <a:srgbClr val="AEABAB"/>
              </a:solidFill>
            </c:spPr>
          </c:dPt>
          <c:dPt>
            <c:idx val="273"/>
            <c:spPr>
              <a:solidFill>
                <a:srgbClr val="AEABAB"/>
              </a:solidFill>
            </c:spPr>
          </c:dPt>
          <c:dPt>
            <c:idx val="274"/>
            <c:spPr>
              <a:solidFill>
                <a:srgbClr val="AEABAB"/>
              </a:solidFill>
            </c:spPr>
          </c:dPt>
          <c:dPt>
            <c:idx val="275"/>
            <c:spPr>
              <a:solidFill>
                <a:srgbClr val="AEABAB"/>
              </a:solidFill>
            </c:spPr>
          </c:dPt>
          <c:dPt>
            <c:idx val="276"/>
            <c:spPr>
              <a:solidFill>
                <a:srgbClr val="AEABAB"/>
              </a:solidFill>
            </c:spPr>
          </c:dPt>
          <c:dPt>
            <c:idx val="277"/>
            <c:spPr>
              <a:solidFill>
                <a:srgbClr val="AEABAB"/>
              </a:solidFill>
            </c:spPr>
          </c:dPt>
          <c:dPt>
            <c:idx val="278"/>
            <c:spPr>
              <a:solidFill>
                <a:srgbClr val="AEABAB"/>
              </a:solidFill>
            </c:spPr>
          </c:dPt>
          <c:dPt>
            <c:idx val="279"/>
            <c:spPr>
              <a:solidFill>
                <a:srgbClr val="AEABAB"/>
              </a:solidFill>
            </c:spPr>
          </c:dPt>
          <c:dPt>
            <c:idx val="280"/>
            <c:spPr>
              <a:solidFill>
                <a:srgbClr val="AEABAB"/>
              </a:solidFill>
            </c:spPr>
          </c:dPt>
          <c:dPt>
            <c:idx val="281"/>
            <c:spPr>
              <a:solidFill>
                <a:srgbClr val="AEABAB"/>
              </a:solidFill>
            </c:spPr>
          </c:dPt>
          <c:dPt>
            <c:idx val="282"/>
            <c:spPr>
              <a:solidFill>
                <a:srgbClr val="AEABAB"/>
              </a:solidFill>
            </c:spPr>
          </c:dPt>
          <c:dPt>
            <c:idx val="283"/>
            <c:spPr>
              <a:solidFill>
                <a:srgbClr val="AEABAB"/>
              </a:solidFill>
            </c:spPr>
          </c:dPt>
          <c:dPt>
            <c:idx val="284"/>
            <c:spPr>
              <a:solidFill>
                <a:srgbClr val="AEABAB"/>
              </a:solidFill>
            </c:spPr>
          </c:dPt>
          <c:dPt>
            <c:idx val="285"/>
            <c:spPr>
              <a:solidFill>
                <a:srgbClr val="AEABAB"/>
              </a:solidFill>
            </c:spPr>
          </c:dPt>
          <c:dPt>
            <c:idx val="286"/>
            <c:spPr>
              <a:solidFill>
                <a:srgbClr val="AEABAB"/>
              </a:solidFill>
            </c:spPr>
          </c:dPt>
          <c:dPt>
            <c:idx val="287"/>
            <c:spPr>
              <a:solidFill>
                <a:srgbClr val="AEABAB"/>
              </a:solidFill>
            </c:spPr>
          </c:dPt>
          <c:dPt>
            <c:idx val="288"/>
            <c:spPr>
              <a:solidFill>
                <a:srgbClr val="AEABAB"/>
              </a:solidFill>
            </c:spPr>
          </c:dPt>
          <c:dPt>
            <c:idx val="289"/>
            <c:spPr>
              <a:solidFill>
                <a:srgbClr val="AEABAB"/>
              </a:solidFill>
            </c:spPr>
          </c:dPt>
          <c:dPt>
            <c:idx val="290"/>
            <c:spPr>
              <a:solidFill>
                <a:srgbClr val="AEABAB"/>
              </a:solidFill>
            </c:spPr>
          </c:dPt>
          <c:dPt>
            <c:idx val="291"/>
            <c:spPr>
              <a:solidFill>
                <a:srgbClr val="AEABAB"/>
              </a:solidFill>
            </c:spPr>
          </c:dPt>
          <c:dPt>
            <c:idx val="292"/>
            <c:spPr>
              <a:solidFill>
                <a:srgbClr val="AEABAB"/>
              </a:solidFill>
            </c:spPr>
          </c:dPt>
          <c:dPt>
            <c:idx val="293"/>
            <c:spPr>
              <a:solidFill>
                <a:srgbClr val="AEABAB"/>
              </a:solidFill>
            </c:spPr>
          </c:dPt>
          <c:dPt>
            <c:idx val="294"/>
            <c:spPr>
              <a:solidFill>
                <a:srgbClr val="AEABAB"/>
              </a:solidFill>
            </c:spPr>
          </c:dPt>
          <c:dPt>
            <c:idx val="295"/>
            <c:spPr>
              <a:solidFill>
                <a:srgbClr val="AEABAB"/>
              </a:solidFill>
            </c:spPr>
          </c:dPt>
          <c:dPt>
            <c:idx val="296"/>
            <c:spPr>
              <a:solidFill>
                <a:srgbClr val="AEABAB"/>
              </a:solidFill>
            </c:spPr>
          </c:dPt>
          <c:dPt>
            <c:idx val="297"/>
            <c:spPr>
              <a:solidFill>
                <a:srgbClr val="AEABAB"/>
              </a:solidFill>
            </c:spPr>
          </c:dPt>
          <c:dPt>
            <c:idx val="298"/>
            <c:spPr>
              <a:solidFill>
                <a:srgbClr val="AEABAB"/>
              </a:solidFill>
            </c:spPr>
          </c:dPt>
          <c:dPt>
            <c:idx val="299"/>
            <c:spPr>
              <a:solidFill>
                <a:srgbClr val="AEABAB"/>
              </a:solidFill>
            </c:spPr>
          </c:dPt>
          <c:dPt>
            <c:idx val="300"/>
            <c:spPr>
              <a:solidFill>
                <a:srgbClr val="AEABAB"/>
              </a:solidFill>
            </c:spPr>
          </c:dPt>
          <c:dPt>
            <c:idx val="301"/>
            <c:spPr>
              <a:solidFill>
                <a:srgbClr val="AEABAB"/>
              </a:solidFill>
            </c:spPr>
          </c:dPt>
          <c:dPt>
            <c:idx val="302"/>
            <c:spPr>
              <a:solidFill>
                <a:srgbClr val="AEABAB"/>
              </a:solidFill>
            </c:spPr>
          </c:dPt>
          <c:dPt>
            <c:idx val="303"/>
            <c:spPr>
              <a:solidFill>
                <a:srgbClr val="AEABAB"/>
              </a:solidFill>
            </c:spPr>
          </c:dPt>
          <c:dPt>
            <c:idx val="304"/>
            <c:spPr>
              <a:solidFill>
                <a:srgbClr val="AEABAB"/>
              </a:solidFill>
            </c:spPr>
          </c:dPt>
          <c:dPt>
            <c:idx val="305"/>
            <c:spPr>
              <a:solidFill>
                <a:srgbClr val="AEABAB"/>
              </a:solidFill>
            </c:spPr>
          </c:dPt>
          <c:dPt>
            <c:idx val="306"/>
            <c:spPr>
              <a:solidFill>
                <a:srgbClr val="AEABAB"/>
              </a:solidFill>
            </c:spPr>
          </c:dPt>
          <c:dPt>
            <c:idx val="307"/>
            <c:spPr>
              <a:solidFill>
                <a:srgbClr val="AEABAB"/>
              </a:solidFill>
            </c:spPr>
          </c:dPt>
          <c:dPt>
            <c:idx val="308"/>
            <c:spPr>
              <a:solidFill>
                <a:srgbClr val="AEABAB"/>
              </a:solidFill>
            </c:spPr>
          </c:dPt>
          <c:dPt>
            <c:idx val="309"/>
            <c:spPr>
              <a:solidFill>
                <a:srgbClr val="AEABAB"/>
              </a:solidFill>
            </c:spPr>
          </c:dPt>
          <c:dPt>
            <c:idx val="310"/>
            <c:spPr>
              <a:solidFill>
                <a:srgbClr val="AEABAB"/>
              </a:solidFill>
            </c:spPr>
          </c:dPt>
          <c:dPt>
            <c:idx val="311"/>
            <c:spPr>
              <a:solidFill>
                <a:srgbClr val="AEABAB"/>
              </a:solidFill>
            </c:spPr>
          </c:dPt>
          <c:dPt>
            <c:idx val="312"/>
            <c:spPr>
              <a:solidFill>
                <a:srgbClr val="AEABAB"/>
              </a:solidFill>
            </c:spPr>
          </c:dPt>
          <c:dPt>
            <c:idx val="313"/>
            <c:spPr>
              <a:solidFill>
                <a:srgbClr val="AEABAB"/>
              </a:solidFill>
            </c:spPr>
          </c:dPt>
          <c:dPt>
            <c:idx val="314"/>
            <c:spPr>
              <a:solidFill>
                <a:srgbClr val="AEABAB"/>
              </a:solidFill>
            </c:spPr>
          </c:dPt>
          <c:dPt>
            <c:idx val="315"/>
            <c:spPr>
              <a:solidFill>
                <a:srgbClr val="AEABAB"/>
              </a:solidFill>
            </c:spPr>
          </c:dPt>
          <c:dPt>
            <c:idx val="316"/>
            <c:spPr>
              <a:solidFill>
                <a:srgbClr val="AEABAB"/>
              </a:solidFill>
            </c:spPr>
          </c:dPt>
          <c:dPt>
            <c:idx val="317"/>
            <c:spPr>
              <a:solidFill>
                <a:srgbClr val="AEABAB"/>
              </a:solidFill>
            </c:spPr>
          </c:dPt>
          <c:dPt>
            <c:idx val="318"/>
            <c:spPr>
              <a:solidFill>
                <a:srgbClr val="AEABAB"/>
              </a:solidFill>
            </c:spPr>
          </c:dPt>
          <c:dPt>
            <c:idx val="319"/>
            <c:spPr>
              <a:solidFill>
                <a:srgbClr val="AEABAB"/>
              </a:solidFill>
            </c:spPr>
          </c:dPt>
          <c:dPt>
            <c:idx val="320"/>
            <c:spPr>
              <a:solidFill>
                <a:srgbClr val="AEABAB"/>
              </a:solidFill>
            </c:spPr>
          </c:dPt>
          <c:dPt>
            <c:idx val="321"/>
            <c:spPr>
              <a:solidFill>
                <a:srgbClr val="AEABAB"/>
              </a:solidFill>
            </c:spPr>
          </c:dPt>
          <c:dPt>
            <c:idx val="322"/>
            <c:spPr>
              <a:solidFill>
                <a:srgbClr val="AEABAB"/>
              </a:solidFill>
            </c:spPr>
          </c:dPt>
          <c:dPt>
            <c:idx val="323"/>
            <c:spPr>
              <a:solidFill>
                <a:srgbClr val="AEABAB"/>
              </a:solidFill>
            </c:spPr>
          </c:dPt>
          <c:dPt>
            <c:idx val="324"/>
            <c:spPr>
              <a:solidFill>
                <a:srgbClr val="AEABAB"/>
              </a:solidFill>
            </c:spPr>
          </c:dPt>
          <c:dPt>
            <c:idx val="325"/>
            <c:spPr>
              <a:solidFill>
                <a:srgbClr val="AEABAB"/>
              </a:solidFill>
            </c:spPr>
          </c:dPt>
          <c:dPt>
            <c:idx val="326"/>
            <c:spPr>
              <a:solidFill>
                <a:srgbClr val="AEABAB"/>
              </a:solidFill>
            </c:spPr>
          </c:dPt>
          <c:dPt>
            <c:idx val="327"/>
            <c:spPr>
              <a:solidFill>
                <a:srgbClr val="AEABAB"/>
              </a:solidFill>
            </c:spPr>
          </c:dPt>
          <c:dPt>
            <c:idx val="328"/>
            <c:spPr>
              <a:solidFill>
                <a:srgbClr val="AEABAB"/>
              </a:solidFill>
            </c:spPr>
          </c:dPt>
          <c:dPt>
            <c:idx val="329"/>
            <c:spPr>
              <a:solidFill>
                <a:srgbClr val="AEABAB"/>
              </a:solidFill>
            </c:spPr>
          </c:dPt>
          <c:dPt>
            <c:idx val="330"/>
            <c:spPr>
              <a:solidFill>
                <a:srgbClr val="AEABAB"/>
              </a:solidFill>
            </c:spPr>
          </c:dPt>
          <c:dPt>
            <c:idx val="331"/>
            <c:spPr>
              <a:solidFill>
                <a:srgbClr val="AEABAB"/>
              </a:solidFill>
            </c:spPr>
          </c:dPt>
          <c:dPt>
            <c:idx val="332"/>
            <c:spPr>
              <a:solidFill>
                <a:srgbClr val="AEABAB"/>
              </a:solidFill>
            </c:spPr>
          </c:dPt>
          <c:dPt>
            <c:idx val="333"/>
            <c:spPr>
              <a:solidFill>
                <a:srgbClr val="AEABAB"/>
              </a:solidFill>
            </c:spPr>
          </c:dPt>
          <c:dPt>
            <c:idx val="334"/>
            <c:spPr>
              <a:solidFill>
                <a:srgbClr val="AEABAB"/>
              </a:solidFill>
            </c:spPr>
          </c:dPt>
          <c:dPt>
            <c:idx val="335"/>
            <c:spPr>
              <a:solidFill>
                <a:srgbClr val="AEABAB"/>
              </a:solidFill>
            </c:spPr>
          </c:dPt>
          <c:dPt>
            <c:idx val="336"/>
            <c:spPr>
              <a:solidFill>
                <a:srgbClr val="AEABAB"/>
              </a:solidFill>
            </c:spPr>
          </c:dPt>
          <c:dPt>
            <c:idx val="337"/>
            <c:spPr>
              <a:solidFill>
                <a:srgbClr val="AEABAB"/>
              </a:solidFill>
            </c:spPr>
          </c:dPt>
          <c:dPt>
            <c:idx val="338"/>
            <c:spPr>
              <a:solidFill>
                <a:srgbClr val="AEABAB"/>
              </a:solidFill>
            </c:spPr>
          </c:dPt>
          <c:dPt>
            <c:idx val="339"/>
            <c:spPr>
              <a:solidFill>
                <a:srgbClr val="AEABAB"/>
              </a:solidFill>
            </c:spPr>
          </c:dPt>
          <c:dPt>
            <c:idx val="340"/>
            <c:spPr>
              <a:solidFill>
                <a:srgbClr val="AEABAB"/>
              </a:solidFill>
            </c:spPr>
          </c:dPt>
          <c:dPt>
            <c:idx val="341"/>
            <c:spPr>
              <a:solidFill>
                <a:srgbClr val="AEABAB"/>
              </a:solidFill>
            </c:spPr>
          </c:dPt>
          <c:dPt>
            <c:idx val="342"/>
            <c:spPr>
              <a:solidFill>
                <a:srgbClr val="AEABAB"/>
              </a:solidFill>
            </c:spPr>
          </c:dPt>
          <c:dPt>
            <c:idx val="343"/>
            <c:spPr>
              <a:solidFill>
                <a:srgbClr val="AEABAB"/>
              </a:solidFill>
            </c:spPr>
          </c:dPt>
          <c:dPt>
            <c:idx val="344"/>
            <c:spPr>
              <a:solidFill>
                <a:srgbClr val="AEABAB"/>
              </a:solidFill>
            </c:spPr>
          </c:dPt>
          <c:dPt>
            <c:idx val="345"/>
            <c:spPr>
              <a:solidFill>
                <a:srgbClr val="AEABAB"/>
              </a:solidFill>
            </c:spPr>
          </c:dPt>
          <c:dPt>
            <c:idx val="346"/>
            <c:spPr>
              <a:solidFill>
                <a:srgbClr val="AEABAB"/>
              </a:solidFill>
            </c:spPr>
          </c:dPt>
          <c:dPt>
            <c:idx val="347"/>
            <c:spPr>
              <a:solidFill>
                <a:srgbClr val="AEABAB"/>
              </a:solidFill>
            </c:spPr>
          </c:dPt>
          <c:dPt>
            <c:idx val="348"/>
            <c:spPr>
              <a:solidFill>
                <a:srgbClr val="AEABAB"/>
              </a:solidFill>
            </c:spPr>
          </c:dPt>
          <c:dPt>
            <c:idx val="349"/>
            <c:spPr>
              <a:solidFill>
                <a:srgbClr val="AEABAB"/>
              </a:solidFill>
            </c:spPr>
          </c:dPt>
          <c:dPt>
            <c:idx val="350"/>
            <c:spPr>
              <a:solidFill>
                <a:srgbClr val="AEABAB"/>
              </a:solidFill>
            </c:spPr>
          </c:dPt>
          <c:dPt>
            <c:idx val="351"/>
            <c:spPr>
              <a:solidFill>
                <a:srgbClr val="AEABAB"/>
              </a:solidFill>
            </c:spPr>
          </c:dPt>
          <c:dPt>
            <c:idx val="352"/>
            <c:spPr>
              <a:solidFill>
                <a:srgbClr val="AEABAB"/>
              </a:solidFill>
            </c:spPr>
          </c:dPt>
          <c:dPt>
            <c:idx val="353"/>
            <c:spPr>
              <a:solidFill>
                <a:srgbClr val="AEABAB"/>
              </a:solidFill>
            </c:spPr>
          </c:dPt>
          <c:dPt>
            <c:idx val="354"/>
            <c:spPr>
              <a:solidFill>
                <a:srgbClr val="AEABAB"/>
              </a:solidFill>
            </c:spPr>
          </c:dPt>
          <c:dPt>
            <c:idx val="355"/>
            <c:spPr>
              <a:solidFill>
                <a:srgbClr val="AEABAB"/>
              </a:solidFill>
            </c:spPr>
          </c:dPt>
          <c:dPt>
            <c:idx val="356"/>
            <c:spPr>
              <a:solidFill>
                <a:srgbClr val="AEABAB"/>
              </a:solidFill>
            </c:spPr>
          </c:dPt>
          <c:dPt>
            <c:idx val="357"/>
            <c:spPr>
              <a:solidFill>
                <a:srgbClr val="AEABAB"/>
              </a:solidFill>
            </c:spPr>
          </c:dPt>
          <c:dPt>
            <c:idx val="358"/>
            <c:spPr>
              <a:solidFill>
                <a:srgbClr val="AEABAB"/>
              </a:solidFill>
            </c:spPr>
          </c:dPt>
          <c:dPt>
            <c:idx val="359"/>
            <c:spPr>
              <a:solidFill>
                <a:srgbClr val="AEABAB"/>
              </a:solidFill>
            </c:spPr>
          </c:dPt>
          <c:dPt>
            <c:idx val="360"/>
            <c:spPr>
              <a:solidFill>
                <a:srgbClr val="AEABAB"/>
              </a:solidFill>
            </c:spPr>
          </c:dPt>
          <c:dPt>
            <c:idx val="361"/>
            <c:spPr>
              <a:solidFill>
                <a:srgbClr val="AEABAB"/>
              </a:solidFill>
            </c:spPr>
          </c:dPt>
          <c:dPt>
            <c:idx val="362"/>
            <c:spPr>
              <a:solidFill>
                <a:srgbClr val="AEABAB"/>
              </a:solidFill>
            </c:spPr>
          </c:dPt>
          <c:dPt>
            <c:idx val="363"/>
            <c:spPr>
              <a:solidFill>
                <a:srgbClr val="AEABAB"/>
              </a:solidFill>
            </c:spPr>
          </c:dPt>
          <c:dPt>
            <c:idx val="364"/>
            <c:spPr>
              <a:solidFill>
                <a:srgbClr val="AEABAB"/>
              </a:solidFill>
            </c:spPr>
          </c:dPt>
          <c:dPt>
            <c:idx val="365"/>
            <c:spPr>
              <a:solidFill>
                <a:srgbClr val="AEABAB"/>
              </a:solidFill>
            </c:spPr>
          </c:dPt>
          <c:dPt>
            <c:idx val="366"/>
            <c:spPr>
              <a:solidFill>
                <a:srgbClr val="AEABAB"/>
              </a:solidFill>
            </c:spPr>
          </c:dPt>
          <c:dPt>
            <c:idx val="367"/>
            <c:spPr>
              <a:solidFill>
                <a:srgbClr val="AEABAB"/>
              </a:solidFill>
            </c:spPr>
          </c:dPt>
          <c:dPt>
            <c:idx val="368"/>
            <c:spPr>
              <a:solidFill>
                <a:srgbClr val="AEABAB"/>
              </a:solidFill>
            </c:spPr>
          </c:dPt>
          <c:dPt>
            <c:idx val="369"/>
            <c:spPr>
              <a:solidFill>
                <a:srgbClr val="AEABAB"/>
              </a:solidFill>
            </c:spPr>
          </c:dPt>
          <c:dPt>
            <c:idx val="370"/>
            <c:spPr>
              <a:solidFill>
                <a:srgbClr val="AEABAB"/>
              </a:solidFill>
            </c:spPr>
          </c:dPt>
          <c:dPt>
            <c:idx val="371"/>
            <c:spPr>
              <a:solidFill>
                <a:srgbClr val="AEABAB"/>
              </a:solidFill>
            </c:spPr>
          </c:dPt>
          <c:dPt>
            <c:idx val="372"/>
            <c:spPr>
              <a:solidFill>
                <a:srgbClr val="AEABAB"/>
              </a:solidFill>
            </c:spPr>
          </c:dPt>
          <c:dPt>
            <c:idx val="373"/>
            <c:spPr>
              <a:solidFill>
                <a:srgbClr val="AEABAB"/>
              </a:solidFill>
            </c:spPr>
          </c:dPt>
          <c:dPt>
            <c:idx val="374"/>
            <c:spPr>
              <a:solidFill>
                <a:srgbClr val="AEABAB"/>
              </a:solidFill>
            </c:spPr>
          </c:dPt>
          <c:dPt>
            <c:idx val="375"/>
            <c:spPr>
              <a:solidFill>
                <a:srgbClr val="AEABAB"/>
              </a:solidFill>
            </c:spPr>
          </c:dPt>
          <c:dPt>
            <c:idx val="376"/>
            <c:spPr>
              <a:solidFill>
                <a:srgbClr val="AEABAB"/>
              </a:solidFill>
            </c:spPr>
          </c:dPt>
          <c:dPt>
            <c:idx val="377"/>
            <c:spPr>
              <a:solidFill>
                <a:srgbClr val="AEABAB"/>
              </a:solidFill>
            </c:spPr>
          </c:dPt>
          <c:dPt>
            <c:idx val="378"/>
            <c:spPr>
              <a:solidFill>
                <a:srgbClr val="AEABAB"/>
              </a:solidFill>
            </c:spPr>
          </c:dPt>
          <c:dPt>
            <c:idx val="379"/>
            <c:spPr>
              <a:solidFill>
                <a:srgbClr val="AEABAB"/>
              </a:solidFill>
            </c:spPr>
          </c:dPt>
          <c:dPt>
            <c:idx val="380"/>
            <c:spPr>
              <a:solidFill>
                <a:srgbClr val="AEABAB"/>
              </a:solidFill>
            </c:spPr>
          </c:dPt>
          <c:dPt>
            <c:idx val="381"/>
            <c:spPr>
              <a:solidFill>
                <a:srgbClr val="AEABAB"/>
              </a:solidFill>
            </c:spPr>
          </c:dPt>
          <c:dPt>
            <c:idx val="382"/>
            <c:spPr>
              <a:solidFill>
                <a:srgbClr val="AEABAB"/>
              </a:solidFill>
            </c:spPr>
          </c:dPt>
          <c:dPt>
            <c:idx val="383"/>
            <c:spPr>
              <a:solidFill>
                <a:srgbClr val="AEABAB"/>
              </a:solidFill>
            </c:spPr>
          </c:dPt>
          <c:dPt>
            <c:idx val="384"/>
            <c:spPr>
              <a:solidFill>
                <a:srgbClr val="AEABAB"/>
              </a:solidFill>
            </c:spPr>
          </c:dPt>
          <c:dPt>
            <c:idx val="385"/>
            <c:spPr>
              <a:solidFill>
                <a:srgbClr val="AEABAB"/>
              </a:solidFill>
            </c:spPr>
          </c:dPt>
          <c:dPt>
            <c:idx val="386"/>
            <c:spPr>
              <a:solidFill>
                <a:srgbClr val="AEABAB"/>
              </a:solidFill>
            </c:spPr>
          </c:dPt>
          <c:dPt>
            <c:idx val="387"/>
            <c:spPr>
              <a:solidFill>
                <a:srgbClr val="AEABAB"/>
              </a:solidFill>
            </c:spPr>
          </c:dPt>
          <c:dPt>
            <c:idx val="388"/>
            <c:spPr>
              <a:solidFill>
                <a:srgbClr val="AEABAB"/>
              </a:solidFill>
            </c:spPr>
          </c:dPt>
          <c:dPt>
            <c:idx val="389"/>
            <c:spPr>
              <a:solidFill>
                <a:srgbClr val="AEABAB"/>
              </a:solidFill>
            </c:spPr>
          </c:dPt>
          <c:dPt>
            <c:idx val="390"/>
            <c:spPr>
              <a:solidFill>
                <a:srgbClr val="AEABAB"/>
              </a:solidFill>
            </c:spPr>
          </c:dPt>
          <c:dPt>
            <c:idx val="391"/>
            <c:spPr>
              <a:solidFill>
                <a:srgbClr val="AEABAB"/>
              </a:solidFill>
            </c:spPr>
          </c:dPt>
          <c:dPt>
            <c:idx val="392"/>
            <c:spPr>
              <a:solidFill>
                <a:srgbClr val="AEABAB"/>
              </a:solidFill>
            </c:spPr>
          </c:dPt>
          <c:dPt>
            <c:idx val="393"/>
            <c:spPr>
              <a:solidFill>
                <a:srgbClr val="AEABAB"/>
              </a:solidFill>
            </c:spPr>
          </c:dPt>
          <c:dPt>
            <c:idx val="394"/>
            <c:spPr>
              <a:solidFill>
                <a:srgbClr val="AEABAB"/>
              </a:solidFill>
            </c:spPr>
          </c:dPt>
          <c:dPt>
            <c:idx val="395"/>
            <c:spPr>
              <a:solidFill>
                <a:srgbClr val="AEABAB"/>
              </a:solidFill>
            </c:spPr>
          </c:dPt>
          <c:dPt>
            <c:idx val="396"/>
            <c:spPr>
              <a:solidFill>
                <a:srgbClr val="AEABAB"/>
              </a:solidFill>
            </c:spPr>
          </c:dPt>
          <c:dPt>
            <c:idx val="397"/>
            <c:spPr>
              <a:solidFill>
                <a:srgbClr val="AEABAB"/>
              </a:solidFill>
            </c:spPr>
          </c:dPt>
          <c:dPt>
            <c:idx val="398"/>
            <c:spPr>
              <a:solidFill>
                <a:srgbClr val="AEABAB"/>
              </a:solidFill>
            </c:spPr>
          </c:dPt>
          <c:dPt>
            <c:idx val="399"/>
            <c:spPr>
              <a:solidFill>
                <a:srgbClr val="AEABAB"/>
              </a:solidFill>
            </c:spPr>
          </c:dPt>
          <c:dPt>
            <c:idx val="400"/>
            <c:spPr>
              <a:solidFill>
                <a:srgbClr val="AEABAB"/>
              </a:solidFill>
            </c:spPr>
          </c:dPt>
          <c:dPt>
            <c:idx val="401"/>
            <c:spPr>
              <a:solidFill>
                <a:srgbClr val="AEABAB"/>
              </a:solidFill>
            </c:spPr>
          </c:dPt>
          <c:dPt>
            <c:idx val="402"/>
            <c:spPr>
              <a:solidFill>
                <a:srgbClr val="AEABAB"/>
              </a:solidFill>
            </c:spPr>
          </c:dPt>
          <c:dPt>
            <c:idx val="403"/>
            <c:spPr>
              <a:solidFill>
                <a:srgbClr val="AEABAB"/>
              </a:solidFill>
            </c:spPr>
          </c:dPt>
          <c:dPt>
            <c:idx val="404"/>
            <c:spPr>
              <a:solidFill>
                <a:srgbClr val="AEABAB"/>
              </a:solidFill>
            </c:spPr>
          </c:dPt>
          <c:dPt>
            <c:idx val="405"/>
            <c:spPr>
              <a:solidFill>
                <a:srgbClr val="AEABAB"/>
              </a:solidFill>
            </c:spPr>
          </c:dPt>
          <c:dPt>
            <c:idx val="406"/>
            <c:spPr>
              <a:solidFill>
                <a:srgbClr val="AEABAB"/>
              </a:solidFill>
            </c:spPr>
          </c:dPt>
          <c:dPt>
            <c:idx val="407"/>
            <c:spPr>
              <a:solidFill>
                <a:srgbClr val="AEABAB"/>
              </a:solidFill>
            </c:spPr>
          </c:dPt>
          <c:dPt>
            <c:idx val="408"/>
            <c:spPr>
              <a:solidFill>
                <a:srgbClr val="AEABAB"/>
              </a:solidFill>
            </c:spPr>
          </c:dPt>
          <c:dPt>
            <c:idx val="409"/>
            <c:spPr>
              <a:solidFill>
                <a:srgbClr val="AEABAB"/>
              </a:solidFill>
            </c:spPr>
          </c:dPt>
          <c:dPt>
            <c:idx val="410"/>
            <c:spPr>
              <a:solidFill>
                <a:srgbClr val="AEABAB"/>
              </a:solidFill>
            </c:spPr>
          </c:dPt>
          <c:dPt>
            <c:idx val="411"/>
            <c:spPr>
              <a:solidFill>
                <a:srgbClr val="AEABAB"/>
              </a:solidFill>
            </c:spPr>
          </c:dPt>
          <c:dPt>
            <c:idx val="412"/>
            <c:spPr>
              <a:solidFill>
                <a:srgbClr val="AEABAB"/>
              </a:solidFill>
            </c:spPr>
          </c:dPt>
          <c:dPt>
            <c:idx val="413"/>
            <c:spPr>
              <a:solidFill>
                <a:srgbClr val="AEABAB"/>
              </a:solidFill>
            </c:spPr>
          </c:dPt>
          <c:dPt>
            <c:idx val="414"/>
            <c:spPr>
              <a:solidFill>
                <a:srgbClr val="AEABAB"/>
              </a:solidFill>
            </c:spPr>
          </c:dPt>
          <c:dPt>
            <c:idx val="415"/>
            <c:spPr>
              <a:solidFill>
                <a:srgbClr val="AEABAB"/>
              </a:solidFill>
            </c:spPr>
          </c:dPt>
          <c:dPt>
            <c:idx val="416"/>
            <c:spPr>
              <a:solidFill>
                <a:srgbClr val="AEABAB"/>
              </a:solidFill>
            </c:spPr>
          </c:dPt>
          <c:dPt>
            <c:idx val="417"/>
            <c:spPr>
              <a:solidFill>
                <a:srgbClr val="AEABAB"/>
              </a:solidFill>
            </c:spPr>
          </c:dPt>
          <c:dPt>
            <c:idx val="418"/>
            <c:spPr>
              <a:solidFill>
                <a:srgbClr val="AEABAB"/>
              </a:solidFill>
            </c:spPr>
          </c:dPt>
          <c:dPt>
            <c:idx val="419"/>
            <c:spPr>
              <a:solidFill>
                <a:srgbClr val="AEABAB"/>
              </a:solidFill>
            </c:spPr>
          </c:dPt>
          <c:dPt>
            <c:idx val="420"/>
            <c:spPr>
              <a:solidFill>
                <a:srgbClr val="AEABAB"/>
              </a:solidFill>
            </c:spPr>
          </c:dPt>
          <c:dPt>
            <c:idx val="421"/>
            <c:spPr>
              <a:solidFill>
                <a:srgbClr val="AEABAB"/>
              </a:solidFill>
            </c:spPr>
          </c:dPt>
          <c:dPt>
            <c:idx val="422"/>
            <c:spPr>
              <a:solidFill>
                <a:srgbClr val="AEABAB"/>
              </a:solidFill>
            </c:spPr>
          </c:dPt>
          <c:dPt>
            <c:idx val="423"/>
            <c:spPr>
              <a:solidFill>
                <a:srgbClr val="AEABAB"/>
              </a:solidFill>
            </c:spPr>
          </c:dPt>
          <c:dPt>
            <c:idx val="424"/>
            <c:spPr>
              <a:solidFill>
                <a:srgbClr val="AEABAB"/>
              </a:solidFill>
            </c:spPr>
          </c:dPt>
          <c:dPt>
            <c:idx val="425"/>
            <c:spPr>
              <a:solidFill>
                <a:srgbClr val="AEABAB"/>
              </a:solidFill>
            </c:spPr>
          </c:dPt>
          <c:dPt>
            <c:idx val="426"/>
            <c:spPr>
              <a:solidFill>
                <a:srgbClr val="AEABAB"/>
              </a:solidFill>
            </c:spPr>
          </c:dPt>
          <c:dPt>
            <c:idx val="427"/>
            <c:spPr>
              <a:solidFill>
                <a:srgbClr val="AEABAB"/>
              </a:solidFill>
            </c:spPr>
          </c:dPt>
          <c:dPt>
            <c:idx val="428"/>
            <c:spPr>
              <a:solidFill>
                <a:srgbClr val="AEABAB"/>
              </a:solidFill>
            </c:spPr>
          </c:dPt>
          <c:dPt>
            <c:idx val="429"/>
            <c:spPr>
              <a:solidFill>
                <a:srgbClr val="AEABAB"/>
              </a:solidFill>
            </c:spPr>
          </c:dPt>
          <c:dPt>
            <c:idx val="430"/>
            <c:spPr>
              <a:solidFill>
                <a:srgbClr val="AEABAB"/>
              </a:solidFill>
            </c:spPr>
          </c:dPt>
          <c:dPt>
            <c:idx val="431"/>
            <c:spPr>
              <a:solidFill>
                <a:srgbClr val="AEABAB"/>
              </a:solidFill>
            </c:spPr>
          </c:dPt>
          <c:dPt>
            <c:idx val="432"/>
            <c:spPr>
              <a:solidFill>
                <a:srgbClr val="AEABAB"/>
              </a:solidFill>
            </c:spPr>
          </c:dPt>
          <c:dPt>
            <c:idx val="433"/>
            <c:spPr>
              <a:solidFill>
                <a:srgbClr val="AEABAB"/>
              </a:solidFill>
            </c:spPr>
          </c:dPt>
          <c:dPt>
            <c:idx val="434"/>
            <c:spPr>
              <a:solidFill>
                <a:srgbClr val="AEABAB"/>
              </a:solidFill>
            </c:spPr>
          </c:dPt>
          <c:dPt>
            <c:idx val="435"/>
            <c:spPr>
              <a:solidFill>
                <a:srgbClr val="AEABAB"/>
              </a:solidFill>
            </c:spPr>
          </c:dPt>
          <c:dPt>
            <c:idx val="436"/>
            <c:spPr>
              <a:solidFill>
                <a:srgbClr val="AEABAB"/>
              </a:solidFill>
            </c:spPr>
          </c:dPt>
          <c:dPt>
            <c:idx val="437"/>
            <c:spPr>
              <a:solidFill>
                <a:srgbClr val="AEABAB"/>
              </a:solidFill>
            </c:spPr>
          </c:dPt>
          <c:dPt>
            <c:idx val="438"/>
            <c:spPr>
              <a:solidFill>
                <a:srgbClr val="AEABAB"/>
              </a:solidFill>
            </c:spPr>
          </c:dPt>
          <c:dPt>
            <c:idx val="439"/>
            <c:spPr>
              <a:solidFill>
                <a:srgbClr val="AEABAB"/>
              </a:solidFill>
            </c:spPr>
          </c:dPt>
          <c:dPt>
            <c:idx val="440"/>
            <c:spPr>
              <a:solidFill>
                <a:srgbClr val="AEABAB"/>
              </a:solidFill>
            </c:spPr>
          </c:dPt>
          <c:dPt>
            <c:idx val="441"/>
            <c:spPr>
              <a:solidFill>
                <a:srgbClr val="AEABAB"/>
              </a:solidFill>
            </c:spPr>
          </c:dPt>
          <c:dPt>
            <c:idx val="442"/>
            <c:spPr>
              <a:solidFill>
                <a:srgbClr val="AEABAB"/>
              </a:solidFill>
            </c:spPr>
          </c:dPt>
          <c:dPt>
            <c:idx val="443"/>
            <c:spPr>
              <a:solidFill>
                <a:srgbClr val="AEABAB"/>
              </a:solidFill>
            </c:spPr>
          </c:dPt>
          <c:dPt>
            <c:idx val="444"/>
            <c:spPr>
              <a:solidFill>
                <a:srgbClr val="AEABAB"/>
              </a:solidFill>
            </c:spPr>
          </c:dPt>
          <c:dPt>
            <c:idx val="445"/>
            <c:spPr>
              <a:solidFill>
                <a:srgbClr val="AEABAB"/>
              </a:solidFill>
            </c:spPr>
          </c:dPt>
          <c:dPt>
            <c:idx val="446"/>
            <c:spPr>
              <a:solidFill>
                <a:srgbClr val="AEABAB"/>
              </a:solidFill>
            </c:spPr>
          </c:dPt>
          <c:dPt>
            <c:idx val="447"/>
            <c:spPr>
              <a:solidFill>
                <a:srgbClr val="AEABAB"/>
              </a:solidFill>
            </c:spPr>
          </c:dPt>
          <c:dPt>
            <c:idx val="448"/>
            <c:spPr>
              <a:solidFill>
                <a:srgbClr val="AEABAB"/>
              </a:solidFill>
            </c:spPr>
          </c:dPt>
          <c:dPt>
            <c:idx val="449"/>
            <c:spPr>
              <a:solidFill>
                <a:srgbClr val="AEABAB"/>
              </a:solidFill>
            </c:spPr>
          </c:dPt>
          <c:dPt>
            <c:idx val="450"/>
            <c:spPr>
              <a:solidFill>
                <a:srgbClr val="AEABAB"/>
              </a:solidFill>
            </c:spPr>
          </c:dPt>
          <c:dPt>
            <c:idx val="451"/>
            <c:spPr>
              <a:solidFill>
                <a:srgbClr val="AEABAB"/>
              </a:solidFill>
            </c:spPr>
          </c:dPt>
          <c:dPt>
            <c:idx val="452"/>
            <c:spPr>
              <a:solidFill>
                <a:srgbClr val="AEABAB"/>
              </a:solidFill>
            </c:spPr>
          </c:dPt>
          <c:dPt>
            <c:idx val="453"/>
            <c:spPr>
              <a:solidFill>
                <a:srgbClr val="AEABAB"/>
              </a:solidFill>
            </c:spPr>
          </c:dPt>
          <c:dPt>
            <c:idx val="454"/>
            <c:spPr>
              <a:solidFill>
                <a:srgbClr val="AEABAB"/>
              </a:solidFill>
            </c:spPr>
          </c:dPt>
          <c:dPt>
            <c:idx val="455"/>
            <c:spPr>
              <a:solidFill>
                <a:srgbClr val="AEABAB"/>
              </a:solidFill>
            </c:spPr>
          </c:dPt>
          <c:dPt>
            <c:idx val="456"/>
            <c:spPr>
              <a:solidFill>
                <a:srgbClr val="AEABAB"/>
              </a:solidFill>
            </c:spPr>
          </c:dPt>
          <c:dPt>
            <c:idx val="457"/>
            <c:spPr>
              <a:solidFill>
                <a:srgbClr val="AEABAB"/>
              </a:solidFill>
            </c:spPr>
          </c:dPt>
          <c:dPt>
            <c:idx val="458"/>
            <c:spPr>
              <a:solidFill>
                <a:srgbClr val="AEABAB"/>
              </a:solidFill>
            </c:spPr>
          </c:dPt>
          <c:dPt>
            <c:idx val="459"/>
            <c:spPr>
              <a:solidFill>
                <a:srgbClr val="AEABAB"/>
              </a:solidFill>
            </c:spPr>
          </c:dPt>
          <c:dPt>
            <c:idx val="460"/>
            <c:spPr>
              <a:solidFill>
                <a:srgbClr val="AEABAB"/>
              </a:solidFill>
            </c:spPr>
          </c:dPt>
          <c:dPt>
            <c:idx val="461"/>
            <c:spPr>
              <a:solidFill>
                <a:srgbClr val="AEABAB"/>
              </a:solidFill>
            </c:spPr>
          </c:dPt>
          <c:dPt>
            <c:idx val="462"/>
            <c:spPr>
              <a:solidFill>
                <a:srgbClr val="AEABAB"/>
              </a:solidFill>
            </c:spPr>
          </c:dPt>
          <c:dPt>
            <c:idx val="463"/>
            <c:spPr>
              <a:solidFill>
                <a:srgbClr val="AEABAB"/>
              </a:solidFill>
            </c:spPr>
          </c:dPt>
          <c:dPt>
            <c:idx val="464"/>
            <c:spPr>
              <a:solidFill>
                <a:srgbClr val="AEABAB"/>
              </a:solidFill>
            </c:spPr>
          </c:dPt>
          <c:dPt>
            <c:idx val="465"/>
            <c:spPr>
              <a:solidFill>
                <a:srgbClr val="AEABAB"/>
              </a:solidFill>
            </c:spPr>
          </c:dPt>
          <c:dPt>
            <c:idx val="466"/>
            <c:spPr>
              <a:solidFill>
                <a:srgbClr val="AEABAB"/>
              </a:solidFill>
            </c:spPr>
          </c:dPt>
          <c:dPt>
            <c:idx val="467"/>
            <c:spPr>
              <a:solidFill>
                <a:srgbClr val="AEABAB"/>
              </a:solidFill>
            </c:spPr>
          </c:dPt>
          <c:dPt>
            <c:idx val="468"/>
            <c:spPr>
              <a:solidFill>
                <a:srgbClr val="AEABAB"/>
              </a:solidFill>
            </c:spPr>
          </c:dPt>
          <c:dPt>
            <c:idx val="469"/>
            <c:spPr>
              <a:solidFill>
                <a:srgbClr val="AEABAB"/>
              </a:solidFill>
            </c:spPr>
          </c:dPt>
          <c:dPt>
            <c:idx val="470"/>
            <c:spPr>
              <a:solidFill>
                <a:srgbClr val="AEABAB"/>
              </a:solidFill>
            </c:spPr>
          </c:dPt>
          <c:dPt>
            <c:idx val="471"/>
            <c:spPr>
              <a:solidFill>
                <a:srgbClr val="AEABAB"/>
              </a:solidFill>
            </c:spPr>
          </c:dPt>
          <c:dPt>
            <c:idx val="472"/>
            <c:spPr>
              <a:solidFill>
                <a:srgbClr val="AEABAB"/>
              </a:solidFill>
            </c:spPr>
          </c:dPt>
          <c:dPt>
            <c:idx val="473"/>
            <c:spPr>
              <a:solidFill>
                <a:srgbClr val="AEABAB"/>
              </a:solidFill>
            </c:spPr>
          </c:dPt>
          <c:dPt>
            <c:idx val="474"/>
            <c:spPr>
              <a:solidFill>
                <a:srgbClr val="AEABAB"/>
              </a:solidFill>
            </c:spPr>
          </c:dPt>
          <c:dPt>
            <c:idx val="475"/>
            <c:spPr>
              <a:solidFill>
                <a:srgbClr val="AEABAB"/>
              </a:solidFill>
            </c:spPr>
          </c:dPt>
          <c:dPt>
            <c:idx val="476"/>
            <c:spPr>
              <a:solidFill>
                <a:srgbClr val="AEABAB"/>
              </a:solidFill>
            </c:spPr>
          </c:dPt>
          <c:dPt>
            <c:idx val="477"/>
            <c:spPr>
              <a:solidFill>
                <a:srgbClr val="AEABAB"/>
              </a:solidFill>
            </c:spPr>
          </c:dPt>
          <c:dPt>
            <c:idx val="478"/>
            <c:spPr>
              <a:solidFill>
                <a:srgbClr val="AEABAB"/>
              </a:solidFill>
            </c:spPr>
          </c:dPt>
          <c:dPt>
            <c:idx val="479"/>
            <c:spPr>
              <a:solidFill>
                <a:srgbClr val="AEABAB"/>
              </a:solidFill>
            </c:spPr>
          </c:dPt>
          <c:dPt>
            <c:idx val="480"/>
            <c:spPr>
              <a:solidFill>
                <a:srgbClr val="AEABAB"/>
              </a:solidFill>
            </c:spPr>
          </c:dPt>
          <c:dPt>
            <c:idx val="481"/>
            <c:spPr>
              <a:solidFill>
                <a:srgbClr val="AEABAB"/>
              </a:solidFill>
            </c:spPr>
          </c:dPt>
          <c:dPt>
            <c:idx val="482"/>
            <c:spPr>
              <a:solidFill>
                <a:srgbClr val="AEABAB"/>
              </a:solidFill>
            </c:spPr>
          </c:dPt>
          <c:dPt>
            <c:idx val="483"/>
            <c:spPr>
              <a:solidFill>
                <a:srgbClr val="AEABAB"/>
              </a:solidFill>
            </c:spPr>
          </c:dPt>
          <c:dPt>
            <c:idx val="484"/>
            <c:spPr>
              <a:solidFill>
                <a:srgbClr val="AEABAB"/>
              </a:solidFill>
            </c:spPr>
          </c:dPt>
          <c:dPt>
            <c:idx val="485"/>
            <c:spPr>
              <a:solidFill>
                <a:srgbClr val="AEABAB"/>
              </a:solidFill>
            </c:spPr>
          </c:dPt>
          <c:dPt>
            <c:idx val="486"/>
            <c:spPr>
              <a:solidFill>
                <a:srgbClr val="AEABAB"/>
              </a:solidFill>
            </c:spPr>
          </c:dPt>
          <c:dPt>
            <c:idx val="487"/>
            <c:spPr>
              <a:solidFill>
                <a:srgbClr val="AEABAB"/>
              </a:solidFill>
            </c:spPr>
          </c:dPt>
          <c:dPt>
            <c:idx val="488"/>
            <c:spPr>
              <a:solidFill>
                <a:srgbClr val="AEABAB"/>
              </a:solidFill>
            </c:spPr>
          </c:dPt>
          <c:dPt>
            <c:idx val="489"/>
            <c:spPr>
              <a:solidFill>
                <a:srgbClr val="AEABAB"/>
              </a:solidFill>
            </c:spPr>
          </c:dPt>
          <c:dPt>
            <c:idx val="490"/>
            <c:spPr>
              <a:solidFill>
                <a:srgbClr val="AEABAB"/>
              </a:solidFill>
            </c:spPr>
          </c:dPt>
          <c:dPt>
            <c:idx val="491"/>
            <c:spPr>
              <a:solidFill>
                <a:srgbClr val="AEABAB"/>
              </a:solidFill>
            </c:spPr>
          </c:dPt>
          <c:dPt>
            <c:idx val="492"/>
            <c:spPr>
              <a:solidFill>
                <a:srgbClr val="AEABAB"/>
              </a:solidFill>
            </c:spPr>
          </c:dPt>
          <c:dPt>
            <c:idx val="493"/>
            <c:spPr>
              <a:solidFill>
                <a:srgbClr val="AEABAB"/>
              </a:solidFill>
            </c:spPr>
          </c:dPt>
          <c:dPt>
            <c:idx val="494"/>
            <c:spPr>
              <a:solidFill>
                <a:srgbClr val="AEABAB"/>
              </a:solidFill>
            </c:spPr>
          </c:dPt>
          <c:dPt>
            <c:idx val="495"/>
            <c:spPr>
              <a:solidFill>
                <a:srgbClr val="AEABAB"/>
              </a:solidFill>
            </c:spPr>
          </c:dPt>
          <c:dPt>
            <c:idx val="496"/>
            <c:spPr>
              <a:solidFill>
                <a:srgbClr val="AEABAB"/>
              </a:solidFill>
            </c:spPr>
          </c:dPt>
          <c:dPt>
            <c:idx val="497"/>
            <c:spPr>
              <a:solidFill>
                <a:srgbClr val="AEABAB"/>
              </a:solidFill>
            </c:spPr>
          </c:dPt>
          <c:dPt>
            <c:idx val="498"/>
            <c:spPr>
              <a:solidFill>
                <a:srgbClr val="AEABAB"/>
              </a:solidFill>
            </c:spPr>
          </c:dPt>
          <c:dPt>
            <c:idx val="499"/>
            <c:spPr>
              <a:solidFill>
                <a:srgbClr val="AEABAB"/>
              </a:solidFill>
            </c:spPr>
          </c:dPt>
          <c:dPt>
            <c:idx val="500"/>
            <c:spPr>
              <a:solidFill>
                <a:srgbClr val="AEABAB"/>
              </a:solidFill>
            </c:spPr>
          </c:dPt>
          <c:dPt>
            <c:idx val="501"/>
            <c:spPr>
              <a:solidFill>
                <a:srgbClr val="AEABAB"/>
              </a:solidFill>
            </c:spPr>
          </c:dPt>
          <c:dPt>
            <c:idx val="502"/>
            <c:spPr>
              <a:solidFill>
                <a:srgbClr val="AEABAB"/>
              </a:solidFill>
            </c:spPr>
          </c:dPt>
          <c:dPt>
            <c:idx val="503"/>
            <c:spPr>
              <a:solidFill>
                <a:srgbClr val="AEABAB"/>
              </a:solidFill>
            </c:spPr>
          </c:dPt>
          <c:dPt>
            <c:idx val="504"/>
            <c:spPr>
              <a:solidFill>
                <a:srgbClr val="AEABAB"/>
              </a:solidFill>
            </c:spPr>
          </c:dPt>
          <c:dPt>
            <c:idx val="505"/>
            <c:spPr>
              <a:solidFill>
                <a:srgbClr val="AEABAB"/>
              </a:solidFill>
            </c:spPr>
          </c:dPt>
          <c:dPt>
            <c:idx val="506"/>
            <c:spPr>
              <a:solidFill>
                <a:srgbClr val="AEABAB"/>
              </a:solidFill>
            </c:spPr>
          </c:dPt>
          <c:dPt>
            <c:idx val="507"/>
            <c:spPr>
              <a:solidFill>
                <a:srgbClr val="AEABAB"/>
              </a:solidFill>
            </c:spPr>
          </c:dPt>
          <c:dPt>
            <c:idx val="508"/>
            <c:spPr>
              <a:solidFill>
                <a:srgbClr val="AEABAB"/>
              </a:solidFill>
            </c:spPr>
          </c:dPt>
          <c:dPt>
            <c:idx val="509"/>
            <c:spPr>
              <a:solidFill>
                <a:srgbClr val="AEABAB"/>
              </a:solidFill>
            </c:spPr>
          </c:dPt>
          <c:dPt>
            <c:idx val="510"/>
            <c:spPr>
              <a:solidFill>
                <a:srgbClr val="AEABAB"/>
              </a:solidFill>
            </c:spPr>
          </c:dPt>
          <c:dPt>
            <c:idx val="511"/>
            <c:spPr>
              <a:solidFill>
                <a:srgbClr val="AEABAB"/>
              </a:solidFill>
            </c:spPr>
          </c:dPt>
          <c:dPt>
            <c:idx val="512"/>
            <c:spPr>
              <a:solidFill>
                <a:srgbClr val="AEABAB"/>
              </a:solidFill>
            </c:spPr>
          </c:dPt>
          <c:dPt>
            <c:idx val="513"/>
            <c:spPr>
              <a:solidFill>
                <a:srgbClr val="AEABAB"/>
              </a:solidFill>
            </c:spPr>
          </c:dPt>
          <c:dPt>
            <c:idx val="514"/>
            <c:spPr>
              <a:solidFill>
                <a:srgbClr val="AEABAB"/>
              </a:solidFill>
            </c:spPr>
          </c:dPt>
          <c:dPt>
            <c:idx val="515"/>
            <c:spPr>
              <a:solidFill>
                <a:srgbClr val="AEABAB"/>
              </a:solidFill>
            </c:spPr>
          </c:dPt>
          <c:dPt>
            <c:idx val="516"/>
            <c:spPr>
              <a:solidFill>
                <a:srgbClr val="AEABAB"/>
              </a:solidFill>
            </c:spPr>
          </c:dPt>
          <c:dPt>
            <c:idx val="517"/>
            <c:spPr>
              <a:solidFill>
                <a:srgbClr val="AEABAB"/>
              </a:solidFill>
            </c:spPr>
          </c:dPt>
          <c:dPt>
            <c:idx val="518"/>
            <c:spPr>
              <a:solidFill>
                <a:srgbClr val="AEABAB"/>
              </a:solidFill>
            </c:spPr>
          </c:dPt>
          <c:dPt>
            <c:idx val="519"/>
            <c:spPr>
              <a:solidFill>
                <a:srgbClr val="AEABAB"/>
              </a:solidFill>
            </c:spPr>
          </c:dPt>
          <c:dPt>
            <c:idx val="520"/>
            <c:spPr>
              <a:solidFill>
                <a:srgbClr val="AEABAB"/>
              </a:solidFill>
            </c:spPr>
          </c:dPt>
          <c:dPt>
            <c:idx val="521"/>
            <c:spPr>
              <a:solidFill>
                <a:srgbClr val="AEABAB"/>
              </a:solidFill>
            </c:spPr>
          </c:dPt>
          <c:dPt>
            <c:idx val="522"/>
            <c:spPr>
              <a:solidFill>
                <a:srgbClr val="AEABAB"/>
              </a:solidFill>
            </c:spPr>
          </c:dPt>
          <c:dPt>
            <c:idx val="523"/>
            <c:spPr>
              <a:solidFill>
                <a:srgbClr val="AEABAB"/>
              </a:solidFill>
            </c:spPr>
          </c:dPt>
          <c:dPt>
            <c:idx val="524"/>
            <c:spPr>
              <a:solidFill>
                <a:srgbClr val="AEABAB"/>
              </a:solidFill>
            </c:spPr>
          </c:dPt>
          <c:dPt>
            <c:idx val="525"/>
            <c:spPr>
              <a:solidFill>
                <a:srgbClr val="AEABAB"/>
              </a:solidFill>
            </c:spPr>
          </c:dPt>
          <c:dPt>
            <c:idx val="526"/>
            <c:spPr>
              <a:solidFill>
                <a:srgbClr val="AEABAB"/>
              </a:solidFill>
            </c:spPr>
          </c:dPt>
          <c:dPt>
            <c:idx val="527"/>
            <c:spPr>
              <a:solidFill>
                <a:srgbClr val="AEABAB"/>
              </a:solidFill>
            </c:spPr>
          </c:dPt>
          <c:dPt>
            <c:idx val="528"/>
            <c:spPr>
              <a:solidFill>
                <a:srgbClr val="AEABAB"/>
              </a:solidFill>
            </c:spPr>
          </c:dPt>
          <c:dPt>
            <c:idx val="529"/>
            <c:spPr>
              <a:solidFill>
                <a:srgbClr val="AEABAB"/>
              </a:solidFill>
            </c:spPr>
          </c:dPt>
          <c:dPt>
            <c:idx val="530"/>
            <c:spPr>
              <a:solidFill>
                <a:srgbClr val="AEABAB"/>
              </a:solidFill>
            </c:spPr>
          </c:dPt>
          <c:dPt>
            <c:idx val="531"/>
            <c:spPr>
              <a:solidFill>
                <a:srgbClr val="AEABAB"/>
              </a:solidFill>
            </c:spPr>
          </c:dPt>
          <c:dPt>
            <c:idx val="532"/>
            <c:spPr>
              <a:solidFill>
                <a:srgbClr val="AEABAB"/>
              </a:solidFill>
            </c:spPr>
          </c:dPt>
          <c:dPt>
            <c:idx val="533"/>
            <c:spPr>
              <a:solidFill>
                <a:srgbClr val="AEABAB"/>
              </a:solidFill>
            </c:spPr>
          </c:dPt>
          <c:dPt>
            <c:idx val="534"/>
            <c:spPr>
              <a:solidFill>
                <a:srgbClr val="AEABAB"/>
              </a:solidFill>
            </c:spPr>
          </c:dPt>
          <c:dPt>
            <c:idx val="535"/>
            <c:spPr>
              <a:solidFill>
                <a:srgbClr val="AEABAB"/>
              </a:solidFill>
            </c:spPr>
          </c:dPt>
          <c:dPt>
            <c:idx val="536"/>
            <c:spPr>
              <a:solidFill>
                <a:srgbClr val="AEABAB"/>
              </a:solidFill>
            </c:spPr>
          </c:dPt>
          <c:dPt>
            <c:idx val="537"/>
            <c:spPr>
              <a:solidFill>
                <a:srgbClr val="AEABAB"/>
              </a:solidFill>
            </c:spPr>
          </c:dPt>
          <c:dPt>
            <c:idx val="538"/>
            <c:spPr>
              <a:solidFill>
                <a:srgbClr val="AEABAB"/>
              </a:solidFill>
            </c:spPr>
          </c:dPt>
          <c:dPt>
            <c:idx val="539"/>
            <c:spPr>
              <a:solidFill>
                <a:srgbClr val="AEABAB"/>
              </a:solidFill>
            </c:spPr>
          </c:dPt>
          <c:dPt>
            <c:idx val="540"/>
            <c:spPr>
              <a:solidFill>
                <a:srgbClr val="AEABAB"/>
              </a:solidFill>
            </c:spPr>
          </c:dPt>
          <c:dPt>
            <c:idx val="541"/>
            <c:spPr>
              <a:solidFill>
                <a:srgbClr val="AEABAB"/>
              </a:solidFill>
            </c:spPr>
          </c:dPt>
          <c:dPt>
            <c:idx val="542"/>
            <c:spPr>
              <a:solidFill>
                <a:srgbClr val="AEABAB"/>
              </a:solidFill>
            </c:spPr>
          </c:dPt>
          <c:dPt>
            <c:idx val="543"/>
            <c:spPr>
              <a:solidFill>
                <a:srgbClr val="AEABAB"/>
              </a:solidFill>
            </c:spPr>
          </c:dPt>
          <c:dPt>
            <c:idx val="544"/>
            <c:spPr>
              <a:solidFill>
                <a:srgbClr val="AEABAB"/>
              </a:solidFill>
            </c:spPr>
          </c:dPt>
          <c:dPt>
            <c:idx val="545"/>
            <c:spPr>
              <a:solidFill>
                <a:srgbClr val="AEABAB"/>
              </a:solidFill>
            </c:spPr>
          </c:dPt>
          <c:dPt>
            <c:idx val="546"/>
            <c:spPr>
              <a:solidFill>
                <a:srgbClr val="AEABAB"/>
              </a:solidFill>
            </c:spPr>
          </c:dPt>
          <c:dPt>
            <c:idx val="547"/>
            <c:spPr>
              <a:solidFill>
                <a:srgbClr val="AEABAB"/>
              </a:solidFill>
            </c:spPr>
          </c:dPt>
          <c:dPt>
            <c:idx val="548"/>
            <c:spPr>
              <a:solidFill>
                <a:srgbClr val="AEABAB"/>
              </a:solidFill>
            </c:spPr>
          </c:dPt>
          <c:dPt>
            <c:idx val="549"/>
            <c:spPr>
              <a:solidFill>
                <a:srgbClr val="AEABAB"/>
              </a:solidFill>
            </c:spPr>
          </c:dPt>
          <c:dPt>
            <c:idx val="550"/>
            <c:spPr>
              <a:solidFill>
                <a:srgbClr val="AEABAB"/>
              </a:solidFill>
            </c:spPr>
          </c:dPt>
          <c:dPt>
            <c:idx val="551"/>
            <c:spPr>
              <a:solidFill>
                <a:srgbClr val="AEABAB"/>
              </a:solidFill>
            </c:spPr>
          </c:dPt>
          <c:dPt>
            <c:idx val="552"/>
            <c:spPr>
              <a:solidFill>
                <a:srgbClr val="AEABAB"/>
              </a:solidFill>
            </c:spPr>
          </c:dPt>
          <c:dPt>
            <c:idx val="553"/>
            <c:spPr>
              <a:solidFill>
                <a:srgbClr val="AEABAB"/>
              </a:solidFill>
            </c:spPr>
          </c:dPt>
          <c:dPt>
            <c:idx val="554"/>
            <c:spPr>
              <a:solidFill>
                <a:srgbClr val="AEABAB"/>
              </a:solidFill>
            </c:spPr>
          </c:dPt>
          <c:dPt>
            <c:idx val="555"/>
            <c:spPr>
              <a:solidFill>
                <a:srgbClr val="AEABAB"/>
              </a:solidFill>
            </c:spPr>
          </c:dPt>
          <c:dPt>
            <c:idx val="556"/>
            <c:spPr>
              <a:solidFill>
                <a:srgbClr val="AEABAB"/>
              </a:solidFill>
            </c:spPr>
          </c:dPt>
          <c:dPt>
            <c:idx val="557"/>
            <c:spPr>
              <a:solidFill>
                <a:srgbClr val="AEABAB"/>
              </a:solidFill>
            </c:spPr>
          </c:dPt>
          <c:dPt>
            <c:idx val="558"/>
            <c:spPr>
              <a:solidFill>
                <a:srgbClr val="AEABAB"/>
              </a:solidFill>
            </c:spPr>
          </c:dPt>
          <c:dPt>
            <c:idx val="559"/>
            <c:spPr>
              <a:solidFill>
                <a:srgbClr val="AEABAB"/>
              </a:solidFill>
            </c:spPr>
          </c:dPt>
          <c:dPt>
            <c:idx val="560"/>
            <c:spPr>
              <a:solidFill>
                <a:srgbClr val="AEABAB"/>
              </a:solidFill>
            </c:spPr>
          </c:dPt>
          <c:dPt>
            <c:idx val="561"/>
            <c:spPr>
              <a:solidFill>
                <a:srgbClr val="AEABAB"/>
              </a:solidFill>
            </c:spPr>
          </c:dPt>
          <c:dPt>
            <c:idx val="562"/>
            <c:spPr>
              <a:solidFill>
                <a:srgbClr val="AEABAB"/>
              </a:solidFill>
            </c:spPr>
          </c:dPt>
          <c:dPt>
            <c:idx val="563"/>
            <c:spPr>
              <a:solidFill>
                <a:srgbClr val="AEABAB"/>
              </a:solidFill>
            </c:spPr>
          </c:dPt>
          <c:dPt>
            <c:idx val="564"/>
            <c:spPr>
              <a:solidFill>
                <a:srgbClr val="AEABAB"/>
              </a:solidFill>
            </c:spPr>
          </c:dPt>
          <c:dPt>
            <c:idx val="565"/>
            <c:spPr>
              <a:solidFill>
                <a:srgbClr val="AEABAB"/>
              </a:solidFill>
            </c:spPr>
          </c:dPt>
          <c:dPt>
            <c:idx val="566"/>
            <c:spPr>
              <a:solidFill>
                <a:srgbClr val="AEABAB"/>
              </a:solidFill>
            </c:spPr>
          </c:dPt>
          <c:dPt>
            <c:idx val="567"/>
            <c:spPr>
              <a:solidFill>
                <a:srgbClr val="AEABAB"/>
              </a:solidFill>
            </c:spPr>
          </c:dPt>
          <c:cat>
            <c:strRef>
              <c:f>Sheet1!$A$2:$A$569</c:f>
              <c:strCache>
                <c:ptCount val="568"/>
                <c:pt idx="0">
                  <c:v>Caprice Des</c:v>
                </c:pt>
                <c:pt idx="1">
                  <c:v>Private Lab</c:v>
                </c:pt>
                <c:pt idx="2">
                  <c:v>Private Lab</c:v>
                </c:pt>
                <c:pt idx="3">
                  <c:v>Private Lab</c:v>
                </c:pt>
                <c:pt idx="4">
                  <c:v>Coeur De Li</c:v>
                </c:pt>
                <c:pt idx="5">
                  <c:v>Mini Babybe</c:v>
                </c:pt>
                <c:pt idx="6">
                  <c:v>President</c:v>
                </c:pt>
                <c:pt idx="7">
                  <c:v>Soignon</c:v>
                </c:pt>
                <c:pt idx="8">
                  <c:v>Private Lab</c:v>
                </c:pt>
                <c:pt idx="9">
                  <c:v>Private Lab</c:v>
                </c:pt>
                <c:pt idx="10">
                  <c:v>Private Lab</c:v>
                </c:pt>
                <c:pt idx="11">
                  <c:v>Caprice Des</c:v>
                </c:pt>
                <c:pt idx="12">
                  <c:v>President</c:v>
                </c:pt>
                <c:pt idx="13">
                  <c:v>La Vache Qu</c:v>
                </c:pt>
                <c:pt idx="14">
                  <c:v>Soignon</c:v>
                </c:pt>
                <c:pt idx="15">
                  <c:v>Le Rustique</c:v>
                </c:pt>
                <c:pt idx="16">
                  <c:v>Private Lab</c:v>
                </c:pt>
                <c:pt idx="17">
                  <c:v>St Moret</c:v>
                </c:pt>
                <c:pt idx="18">
                  <c:v>St Moret</c:v>
                </c:pt>
                <c:pt idx="19">
                  <c:v>President</c:v>
                </c:pt>
                <c:pt idx="20">
                  <c:v>La Vache Qu</c:v>
                </c:pt>
                <c:pt idx="21">
                  <c:v>Private Lab</c:v>
                </c:pt>
                <c:pt idx="22">
                  <c:v>Private Lab</c:v>
                </c:pt>
                <c:pt idx="23">
                  <c:v>Private Lab</c:v>
                </c:pt>
                <c:pt idx="24">
                  <c:v>St Moret</c:v>
                </c:pt>
                <c:pt idx="25">
                  <c:v>Tartare</c:v>
                </c:pt>
                <c:pt idx="26">
                  <c:v>Private Lab</c:v>
                </c:pt>
                <c:pt idx="27">
                  <c:v>Galbani</c:v>
                </c:pt>
                <c:pt idx="28">
                  <c:v>Mini Babybe</c:v>
                </c:pt>
                <c:pt idx="29">
                  <c:v>Private Lab</c:v>
                </c:pt>
                <c:pt idx="30">
                  <c:v>La Vache Qu</c:v>
                </c:pt>
                <c:pt idx="31">
                  <c:v>Coeur De Li</c:v>
                </c:pt>
                <c:pt idx="32">
                  <c:v>St Moret</c:v>
                </c:pt>
                <c:pt idx="33">
                  <c:v>Soignon</c:v>
                </c:pt>
                <c:pt idx="34">
                  <c:v>Salakis</c:v>
                </c:pt>
                <c:pt idx="35">
                  <c:v>Kiri</c:v>
                </c:pt>
                <c:pt idx="36">
                  <c:v>Private Lab</c:v>
                </c:pt>
                <c:pt idx="37">
                  <c:v>All Others</c:v>
                </c:pt>
                <c:pt idx="38">
                  <c:v>Private Lab</c:v>
                </c:pt>
                <c:pt idx="39">
                  <c:v>Private Lab</c:v>
                </c:pt>
                <c:pt idx="40">
                  <c:v>Private Lab</c:v>
                </c:pt>
                <c:pt idx="41">
                  <c:v>Kiri</c:v>
                </c:pt>
                <c:pt idx="42">
                  <c:v>Private Lab</c:v>
                </c:pt>
                <c:pt idx="43">
                  <c:v>Galbani</c:v>
                </c:pt>
                <c:pt idx="44">
                  <c:v>Private Lab</c:v>
                </c:pt>
                <c:pt idx="45">
                  <c:v>Private Lab</c:v>
                </c:pt>
                <c:pt idx="46">
                  <c:v>Private Lab</c:v>
                </c:pt>
                <c:pt idx="47">
                  <c:v>Galbani</c:v>
                </c:pt>
                <c:pt idx="48">
                  <c:v>Private Lab</c:v>
                </c:pt>
                <c:pt idx="49">
                  <c:v>Private Lab</c:v>
                </c:pt>
                <c:pt idx="50">
                  <c:v>Paysan Bret</c:v>
                </c:pt>
                <c:pt idx="51">
                  <c:v>Istara</c:v>
                </c:pt>
                <c:pt idx="52">
                  <c:v>Paysan Bret</c:v>
                </c:pt>
                <c:pt idx="53">
                  <c:v>Private Lab</c:v>
                </c:pt>
                <c:pt idx="54">
                  <c:v>Private Lab</c:v>
                </c:pt>
                <c:pt idx="55">
                  <c:v>Tartare</c:v>
                </c:pt>
                <c:pt idx="56">
                  <c:v>Ficello</c:v>
                </c:pt>
                <c:pt idx="57">
                  <c:v>Boursin</c:v>
                </c:pt>
                <c:pt idx="58">
                  <c:v>Boursin</c:v>
                </c:pt>
                <c:pt idx="59">
                  <c:v>Kiri</c:v>
                </c:pt>
                <c:pt idx="60">
                  <c:v>Lou Perac</c:v>
                </c:pt>
                <c:pt idx="61">
                  <c:v>Private Lab</c:v>
                </c:pt>
                <c:pt idx="62">
                  <c:v>President</c:v>
                </c:pt>
                <c:pt idx="63">
                  <c:v>All Others</c:v>
                </c:pt>
                <c:pt idx="64">
                  <c:v>President</c:v>
                </c:pt>
                <c:pt idx="65">
                  <c:v>Private Lab</c:v>
                </c:pt>
                <c:pt idx="66">
                  <c:v>Private Lab</c:v>
                </c:pt>
                <c:pt idx="67">
                  <c:v>St Moret</c:v>
                </c:pt>
                <c:pt idx="68">
                  <c:v>Caprice Des</c:v>
                </c:pt>
                <c:pt idx="69">
                  <c:v>Lepetit</c:v>
                </c:pt>
                <c:pt idx="70">
                  <c:v>Carre Frais</c:v>
                </c:pt>
                <c:pt idx="71">
                  <c:v>Galbani</c:v>
                </c:pt>
                <c:pt idx="72">
                  <c:v>Galbani</c:v>
                </c:pt>
                <c:pt idx="73">
                  <c:v>Kiri</c:v>
                </c:pt>
                <c:pt idx="74">
                  <c:v>Islos</c:v>
                </c:pt>
                <c:pt idx="75">
                  <c:v>Boursin</c:v>
                </c:pt>
                <c:pt idx="76">
                  <c:v>Coeur De Li</c:v>
                </c:pt>
                <c:pt idx="77">
                  <c:v>Private Lab</c:v>
                </c:pt>
                <c:pt idx="78">
                  <c:v>Salakis</c:v>
                </c:pt>
                <c:pt idx="79">
                  <c:v>Carre Frais</c:v>
                </c:pt>
                <c:pt idx="80">
                  <c:v>Private Lab</c:v>
                </c:pt>
                <c:pt idx="81">
                  <c:v>Philadelphi</c:v>
                </c:pt>
                <c:pt idx="82">
                  <c:v>Soignon</c:v>
                </c:pt>
                <c:pt idx="83">
                  <c:v>Private Lab</c:v>
                </c:pt>
                <c:pt idx="84">
                  <c:v>Coeur De Li</c:v>
                </c:pt>
                <c:pt idx="85">
                  <c:v>Coeur De Li</c:v>
                </c:pt>
                <c:pt idx="86">
                  <c:v>President</c:v>
                </c:pt>
                <c:pt idx="87">
                  <c:v>Galbani</c:v>
                </c:pt>
                <c:pt idx="88">
                  <c:v>St Moret</c:v>
                </c:pt>
                <c:pt idx="89">
                  <c:v>President</c:v>
                </c:pt>
                <c:pt idx="90">
                  <c:v>Private Lab</c:v>
                </c:pt>
                <c:pt idx="91">
                  <c:v>Mini Babybe</c:v>
                </c:pt>
                <c:pt idx="92">
                  <c:v>Kiri</c:v>
                </c:pt>
                <c:pt idx="93">
                  <c:v>Le Rustique</c:v>
                </c:pt>
                <c:pt idx="94">
                  <c:v>Istara</c:v>
                </c:pt>
                <c:pt idx="95">
                  <c:v>President</c:v>
                </c:pt>
                <c:pt idx="96">
                  <c:v>Petit Billy</c:v>
                </c:pt>
                <c:pt idx="97">
                  <c:v>Private Lab</c:v>
                </c:pt>
                <c:pt idx="98">
                  <c:v>Private Lab</c:v>
                </c:pt>
                <c:pt idx="99">
                  <c:v>Private Lab</c:v>
                </c:pt>
                <c:pt idx="100">
                  <c:v>All Others</c:v>
                </c:pt>
                <c:pt idx="101">
                  <c:v>President</c:v>
                </c:pt>
                <c:pt idx="102">
                  <c:v>Private Lab</c:v>
                </c:pt>
                <c:pt idx="103">
                  <c:v>Ficello</c:v>
                </c:pt>
                <c:pt idx="104">
                  <c:v>Soignon</c:v>
                </c:pt>
                <c:pt idx="105">
                  <c:v>Private Lab</c:v>
                </c:pt>
                <c:pt idx="106">
                  <c:v>Etorki</c:v>
                </c:pt>
                <c:pt idx="107">
                  <c:v>Philadelphi</c:v>
                </c:pt>
                <c:pt idx="108">
                  <c:v>Private Lab</c:v>
                </c:pt>
                <c:pt idx="109">
                  <c:v>Soignon</c:v>
                </c:pt>
                <c:pt idx="110">
                  <c:v>Private Lab</c:v>
                </c:pt>
                <c:pt idx="111">
                  <c:v>Private Lab</c:v>
                </c:pt>
                <c:pt idx="112">
                  <c:v>All Others</c:v>
                </c:pt>
                <c:pt idx="113">
                  <c:v>All Others</c:v>
                </c:pt>
                <c:pt idx="114">
                  <c:v>St Moret</c:v>
                </c:pt>
                <c:pt idx="115">
                  <c:v>Lactalis: A</c:v>
                </c:pt>
                <c:pt idx="116">
                  <c:v>Tartare</c:v>
                </c:pt>
                <c:pt idx="117">
                  <c:v>Caprice Des</c:v>
                </c:pt>
                <c:pt idx="118">
                  <c:v>Coeur De Li</c:v>
                </c:pt>
                <c:pt idx="119">
                  <c:v>Casa Azzurr</c:v>
                </c:pt>
                <c:pt idx="120">
                  <c:v>All Others</c:v>
                </c:pt>
                <c:pt idx="121">
                  <c:v>La Vache Qu</c:v>
                </c:pt>
                <c:pt idx="122">
                  <c:v>Soignon</c:v>
                </c:pt>
                <c:pt idx="123">
                  <c:v>La Vache Qu</c:v>
                </c:pt>
                <c:pt idx="124">
                  <c:v>P'Tit Louis</c:v>
                </c:pt>
                <c:pt idx="125">
                  <c:v>All Others</c:v>
                </c:pt>
                <c:pt idx="126">
                  <c:v>Casa Azzurr</c:v>
                </c:pt>
                <c:pt idx="127">
                  <c:v>Ficello</c:v>
                </c:pt>
                <c:pt idx="128">
                  <c:v>All Others</c:v>
                </c:pt>
                <c:pt idx="129">
                  <c:v>Private Lab</c:v>
                </c:pt>
                <c:pt idx="130">
                  <c:v>Soignon</c:v>
                </c:pt>
                <c:pt idx="131">
                  <c:v>Chavroux</c:v>
                </c:pt>
                <c:pt idx="132">
                  <c:v>Private Lab</c:v>
                </c:pt>
                <c:pt idx="133">
                  <c:v>Paysan Bret</c:v>
                </c:pt>
                <c:pt idx="134">
                  <c:v>President</c:v>
                </c:pt>
                <c:pt idx="135">
                  <c:v>President</c:v>
                </c:pt>
                <c:pt idx="136">
                  <c:v>Lactalis: A</c:v>
                </c:pt>
                <c:pt idx="137">
                  <c:v>Boursin</c:v>
                </c:pt>
                <c:pt idx="138">
                  <c:v>Le Brebiou</c:v>
                </c:pt>
                <c:pt idx="139">
                  <c:v>Boursin</c:v>
                </c:pt>
                <c:pt idx="140">
                  <c:v>Galbani</c:v>
                </c:pt>
                <c:pt idx="141">
                  <c:v>Soignon</c:v>
                </c:pt>
                <c:pt idx="142">
                  <c:v>Boursin</c:v>
                </c:pt>
                <c:pt idx="143">
                  <c:v>Salakis</c:v>
                </c:pt>
                <c:pt idx="144">
                  <c:v>Private Lab</c:v>
                </c:pt>
                <c:pt idx="145">
                  <c:v>Casa Azzurr</c:v>
                </c:pt>
                <c:pt idx="146">
                  <c:v>Private Lab</c:v>
                </c:pt>
                <c:pt idx="147">
                  <c:v>President</c:v>
                </c:pt>
                <c:pt idx="148">
                  <c:v>Le Rustique</c:v>
                </c:pt>
                <c:pt idx="149">
                  <c:v>Boursin</c:v>
                </c:pt>
                <c:pt idx="150">
                  <c:v>Private Lab</c:v>
                </c:pt>
                <c:pt idx="151">
                  <c:v>Paysan Bret</c:v>
                </c:pt>
                <c:pt idx="152">
                  <c:v>All Others</c:v>
                </c:pt>
                <c:pt idx="153">
                  <c:v>Soignon</c:v>
                </c:pt>
                <c:pt idx="154">
                  <c:v>Private Lab</c:v>
                </c:pt>
                <c:pt idx="155">
                  <c:v>Private Lab</c:v>
                </c:pt>
                <c:pt idx="156">
                  <c:v>Paysan Bret</c:v>
                </c:pt>
                <c:pt idx="157">
                  <c:v>Casa Azzurr</c:v>
                </c:pt>
                <c:pt idx="158">
                  <c:v>Private Lab</c:v>
                </c:pt>
                <c:pt idx="159">
                  <c:v>All Others</c:v>
                </c:pt>
                <c:pt idx="160">
                  <c:v>Salakis</c:v>
                </c:pt>
                <c:pt idx="161">
                  <c:v>Casa Azzurr</c:v>
                </c:pt>
                <c:pt idx="162">
                  <c:v>Private Lab</c:v>
                </c:pt>
                <c:pt idx="163">
                  <c:v>La Vache Qu</c:v>
                </c:pt>
                <c:pt idx="164">
                  <c:v>Carre Frais</c:v>
                </c:pt>
                <c:pt idx="165">
                  <c:v>Soignon</c:v>
                </c:pt>
                <c:pt idx="166">
                  <c:v>Paysan Bret</c:v>
                </c:pt>
                <c:pt idx="167">
                  <c:v>Lou Perac</c:v>
                </c:pt>
                <c:pt idx="168">
                  <c:v>Tartare</c:v>
                </c:pt>
                <c:pt idx="169">
                  <c:v>Boursin</c:v>
                </c:pt>
                <c:pt idx="170">
                  <c:v>Pave D'Affi</c:v>
                </c:pt>
                <c:pt idx="171">
                  <c:v>Chavroux</c:v>
                </c:pt>
                <c:pt idx="172">
                  <c:v>Lactalis: A</c:v>
                </c:pt>
                <c:pt idx="173">
                  <c:v>Galbani</c:v>
                </c:pt>
                <c:pt idx="174">
                  <c:v>Private Lab</c:v>
                </c:pt>
                <c:pt idx="175">
                  <c:v>All Others</c:v>
                </c:pt>
                <c:pt idx="176">
                  <c:v>All Others</c:v>
                </c:pt>
                <c:pt idx="177">
                  <c:v>Private Lab</c:v>
                </c:pt>
                <c:pt idx="178">
                  <c:v>Caprice Des</c:v>
                </c:pt>
                <c:pt idx="179">
                  <c:v>All Others</c:v>
                </c:pt>
                <c:pt idx="180">
                  <c:v>Boursin</c:v>
                </c:pt>
                <c:pt idx="181">
                  <c:v>Private Lab</c:v>
                </c:pt>
                <c:pt idx="182">
                  <c:v>Private Lab</c:v>
                </c:pt>
                <c:pt idx="183">
                  <c:v>Paysan Bret</c:v>
                </c:pt>
                <c:pt idx="184">
                  <c:v>All Others</c:v>
                </c:pt>
                <c:pt idx="185">
                  <c:v>Boursin</c:v>
                </c:pt>
                <c:pt idx="186">
                  <c:v>Casa Azzurr</c:v>
                </c:pt>
                <c:pt idx="187">
                  <c:v>Mini Babybe</c:v>
                </c:pt>
                <c:pt idx="188">
                  <c:v>Private Lab</c:v>
                </c:pt>
                <c:pt idx="189">
                  <c:v>Private Lab</c:v>
                </c:pt>
                <c:pt idx="190">
                  <c:v>Tartare</c:v>
                </c:pt>
                <c:pt idx="191">
                  <c:v>Mini Babybe</c:v>
                </c:pt>
                <c:pt idx="192">
                  <c:v>Salakis</c:v>
                </c:pt>
                <c:pt idx="193">
                  <c:v>Etorki</c:v>
                </c:pt>
                <c:pt idx="194">
                  <c:v>Galbani</c:v>
                </c:pt>
                <c:pt idx="195">
                  <c:v>Private Lab</c:v>
                </c:pt>
                <c:pt idx="196">
                  <c:v>Lou Perac</c:v>
                </c:pt>
                <c:pt idx="197">
                  <c:v>Savencia: A</c:v>
                </c:pt>
                <c:pt idx="198">
                  <c:v>Saint Agur</c:v>
                </c:pt>
                <c:pt idx="199">
                  <c:v>Private Lab</c:v>
                </c:pt>
                <c:pt idx="200">
                  <c:v>Salakis</c:v>
                </c:pt>
                <c:pt idx="201">
                  <c:v>Kiri</c:v>
                </c:pt>
                <c:pt idx="202">
                  <c:v>Caprice Des</c:v>
                </c:pt>
                <c:pt idx="203">
                  <c:v>Private Lab</c:v>
                </c:pt>
                <c:pt idx="204">
                  <c:v>Casa Azzurr</c:v>
                </c:pt>
                <c:pt idx="205">
                  <c:v>Caprice Des</c:v>
                </c:pt>
                <c:pt idx="206">
                  <c:v>Boursin</c:v>
                </c:pt>
                <c:pt idx="207">
                  <c:v>La Vache Qu</c:v>
                </c:pt>
                <c:pt idx="208">
                  <c:v>Tartare</c:v>
                </c:pt>
                <c:pt idx="209">
                  <c:v>St Moret</c:v>
                </c:pt>
                <c:pt idx="210">
                  <c:v>Paysan Bret</c:v>
                </c:pt>
                <c:pt idx="211">
                  <c:v>Tartare</c:v>
                </c:pt>
                <c:pt idx="212">
                  <c:v>Le Rustique</c:v>
                </c:pt>
                <c:pt idx="213">
                  <c:v>Private Lab</c:v>
                </c:pt>
                <c:pt idx="214">
                  <c:v>Soignon</c:v>
                </c:pt>
                <c:pt idx="215">
                  <c:v>St Moret</c:v>
                </c:pt>
                <c:pt idx="216">
                  <c:v>Istara</c:v>
                </c:pt>
                <c:pt idx="217">
                  <c:v>Private Lab</c:v>
                </c:pt>
                <c:pt idx="218">
                  <c:v>All Others</c:v>
                </c:pt>
                <c:pt idx="219">
                  <c:v>Kiri</c:v>
                </c:pt>
                <c:pt idx="220">
                  <c:v>Private Lab</c:v>
                </c:pt>
                <c:pt idx="221">
                  <c:v>All Others</c:v>
                </c:pt>
                <c:pt idx="222">
                  <c:v>Soignon</c:v>
                </c:pt>
                <c:pt idx="223">
                  <c:v>Soignon</c:v>
                </c:pt>
                <c:pt idx="224">
                  <c:v>All Others</c:v>
                </c:pt>
                <c:pt idx="225">
                  <c:v>Kiri</c:v>
                </c:pt>
                <c:pt idx="226">
                  <c:v>All Others</c:v>
                </c:pt>
                <c:pt idx="227">
                  <c:v>Galbani</c:v>
                </c:pt>
                <c:pt idx="228">
                  <c:v>Paysan Bret</c:v>
                </c:pt>
                <c:pt idx="229">
                  <c:v>Mini Babybe</c:v>
                </c:pt>
                <c:pt idx="230">
                  <c:v>All Others</c:v>
                </c:pt>
                <c:pt idx="231">
                  <c:v>Soignon</c:v>
                </c:pt>
                <c:pt idx="232">
                  <c:v>Private Lab</c:v>
                </c:pt>
                <c:pt idx="233">
                  <c:v>All Others</c:v>
                </c:pt>
                <c:pt idx="234">
                  <c:v>Private Lab</c:v>
                </c:pt>
                <c:pt idx="235">
                  <c:v>All Others</c:v>
                </c:pt>
                <c:pt idx="236">
                  <c:v>All Others</c:v>
                </c:pt>
                <c:pt idx="237">
                  <c:v>Casa Azzurr</c:v>
                </c:pt>
                <c:pt idx="238">
                  <c:v>Islos</c:v>
                </c:pt>
                <c:pt idx="239">
                  <c:v>Corsica</c:v>
                </c:pt>
                <c:pt idx="240">
                  <c:v>Soignon</c:v>
                </c:pt>
                <c:pt idx="241">
                  <c:v>Boursin</c:v>
                </c:pt>
                <c:pt idx="242">
                  <c:v>Mini Babybe</c:v>
                </c:pt>
                <c:pt idx="243">
                  <c:v>Casa Azzurr</c:v>
                </c:pt>
                <c:pt idx="244">
                  <c:v>All Others</c:v>
                </c:pt>
                <c:pt idx="245">
                  <c:v>Kiri</c:v>
                </c:pt>
                <c:pt idx="246">
                  <c:v>Kiri</c:v>
                </c:pt>
                <c:pt idx="247">
                  <c:v>Milleret: A</c:v>
                </c:pt>
                <c:pt idx="248">
                  <c:v>Paysan Bret</c:v>
                </c:pt>
                <c:pt idx="249">
                  <c:v>All Others</c:v>
                </c:pt>
                <c:pt idx="250">
                  <c:v>All Others</c:v>
                </c:pt>
                <c:pt idx="251">
                  <c:v>P'Tit Louis</c:v>
                </c:pt>
                <c:pt idx="252">
                  <c:v>Etoile Du Q</c:v>
                </c:pt>
                <c:pt idx="253">
                  <c:v>Galbani</c:v>
                </c:pt>
                <c:pt idx="254">
                  <c:v>Salakis</c:v>
                </c:pt>
                <c:pt idx="255">
                  <c:v>Mini Babybe</c:v>
                </c:pt>
                <c:pt idx="256">
                  <c:v>All Others</c:v>
                </c:pt>
                <c:pt idx="257">
                  <c:v>All Others</c:v>
                </c:pt>
                <c:pt idx="258">
                  <c:v>Lactalis: A</c:v>
                </c:pt>
                <c:pt idx="259">
                  <c:v>Triballat N</c:v>
                </c:pt>
                <c:pt idx="260">
                  <c:v>Le Brebiou</c:v>
                </c:pt>
                <c:pt idx="261">
                  <c:v>Galbani</c:v>
                </c:pt>
                <c:pt idx="262">
                  <c:v>Caprice Des</c:v>
                </c:pt>
                <c:pt idx="263">
                  <c:v>All Others</c:v>
                </c:pt>
                <c:pt idx="264">
                  <c:v>Boursin</c:v>
                </c:pt>
                <c:pt idx="265">
                  <c:v>All Others</c:v>
                </c:pt>
                <c:pt idx="266">
                  <c:v>All Others</c:v>
                </c:pt>
                <c:pt idx="267">
                  <c:v>Etorki</c:v>
                </c:pt>
                <c:pt idx="268">
                  <c:v>Galbani</c:v>
                </c:pt>
                <c:pt idx="269">
                  <c:v>Saint Agur</c:v>
                </c:pt>
                <c:pt idx="270">
                  <c:v>Paysan Bret</c:v>
                </c:pt>
                <c:pt idx="271">
                  <c:v>Islos</c:v>
                </c:pt>
                <c:pt idx="272">
                  <c:v>All Others</c:v>
                </c:pt>
                <c:pt idx="273">
                  <c:v>Carre Frais</c:v>
                </c:pt>
                <c:pt idx="274">
                  <c:v>Milleret: A</c:v>
                </c:pt>
                <c:pt idx="275">
                  <c:v>Istara</c:v>
                </c:pt>
                <c:pt idx="276">
                  <c:v>All Others</c:v>
                </c:pt>
                <c:pt idx="277">
                  <c:v>Galbani</c:v>
                </c:pt>
                <c:pt idx="278">
                  <c:v>Private Lab</c:v>
                </c:pt>
                <c:pt idx="279">
                  <c:v>Triballat N</c:v>
                </c:pt>
                <c:pt idx="280">
                  <c:v>All Others</c:v>
                </c:pt>
                <c:pt idx="281">
                  <c:v>All Others</c:v>
                </c:pt>
                <c:pt idx="282">
                  <c:v>Chavroux</c:v>
                </c:pt>
                <c:pt idx="283">
                  <c:v>Triballat N</c:v>
                </c:pt>
                <c:pt idx="284">
                  <c:v>All Others</c:v>
                </c:pt>
                <c:pt idx="285">
                  <c:v>Boursin</c:v>
                </c:pt>
                <c:pt idx="286">
                  <c:v>All Others</c:v>
                </c:pt>
                <c:pt idx="287">
                  <c:v>Lactalis: A</c:v>
                </c:pt>
                <c:pt idx="288">
                  <c:v>All Others</c:v>
                </c:pt>
                <c:pt idx="289">
                  <c:v>All Others</c:v>
                </c:pt>
                <c:pt idx="290">
                  <c:v>All Others</c:v>
                </c:pt>
                <c:pt idx="291">
                  <c:v>Lactalis: A</c:v>
                </c:pt>
                <c:pt idx="292">
                  <c:v>All Others</c:v>
                </c:pt>
                <c:pt idx="293">
                  <c:v>All Others</c:v>
                </c:pt>
                <c:pt idx="294">
                  <c:v>Boursin</c:v>
                </c:pt>
                <c:pt idx="295">
                  <c:v>All Others</c:v>
                </c:pt>
                <c:pt idx="296">
                  <c:v>All Others</c:v>
                </c:pt>
                <c:pt idx="297">
                  <c:v>All Others</c:v>
                </c:pt>
                <c:pt idx="298">
                  <c:v>All Others</c:v>
                </c:pt>
                <c:pt idx="299">
                  <c:v>Triballat N</c:v>
                </c:pt>
                <c:pt idx="300">
                  <c:v>Tartare</c:v>
                </c:pt>
                <c:pt idx="301">
                  <c:v>All Others</c:v>
                </c:pt>
                <c:pt idx="302">
                  <c:v>Boursin</c:v>
                </c:pt>
                <c:pt idx="303">
                  <c:v>All Others</c:v>
                </c:pt>
                <c:pt idx="304">
                  <c:v>Mini Babybe</c:v>
                </c:pt>
                <c:pt idx="305">
                  <c:v>All Others</c:v>
                </c:pt>
                <c:pt idx="306">
                  <c:v>All Others</c:v>
                </c:pt>
                <c:pt idx="307">
                  <c:v>All Others</c:v>
                </c:pt>
                <c:pt idx="308">
                  <c:v>All Others</c:v>
                </c:pt>
                <c:pt idx="309">
                  <c:v>Chavroux</c:v>
                </c:pt>
                <c:pt idx="310">
                  <c:v>All Others</c:v>
                </c:pt>
                <c:pt idx="311">
                  <c:v>Soignon</c:v>
                </c:pt>
                <c:pt idx="312">
                  <c:v>All Others</c:v>
                </c:pt>
                <c:pt idx="313">
                  <c:v>All Others</c:v>
                </c:pt>
                <c:pt idx="314">
                  <c:v>All Others</c:v>
                </c:pt>
                <c:pt idx="315">
                  <c:v>All Others</c:v>
                </c:pt>
                <c:pt idx="316">
                  <c:v>All Others</c:v>
                </c:pt>
                <c:pt idx="317">
                  <c:v>All Others</c:v>
                </c:pt>
                <c:pt idx="318">
                  <c:v>All Others</c:v>
                </c:pt>
                <c:pt idx="319">
                  <c:v>All Others</c:v>
                </c:pt>
                <c:pt idx="320">
                  <c:v>All Others</c:v>
                </c:pt>
                <c:pt idx="321">
                  <c:v>All Others</c:v>
                </c:pt>
                <c:pt idx="322">
                  <c:v>Boursin</c:v>
                </c:pt>
                <c:pt idx="323">
                  <c:v>All Others</c:v>
                </c:pt>
                <c:pt idx="324">
                  <c:v>All Others</c:v>
                </c:pt>
                <c:pt idx="325">
                  <c:v>Chavroux</c:v>
                </c:pt>
                <c:pt idx="326">
                  <c:v>Salakis</c:v>
                </c:pt>
                <c:pt idx="327">
                  <c:v>All Others</c:v>
                </c:pt>
                <c:pt idx="328">
                  <c:v>All Others</c:v>
                </c:pt>
                <c:pt idx="329">
                  <c:v>Boursin</c:v>
                </c:pt>
                <c:pt idx="330">
                  <c:v>All Others</c:v>
                </c:pt>
                <c:pt idx="331">
                  <c:v>All Others</c:v>
                </c:pt>
                <c:pt idx="332">
                  <c:v>All Others</c:v>
                </c:pt>
                <c:pt idx="333">
                  <c:v>All Others</c:v>
                </c:pt>
                <c:pt idx="334">
                  <c:v>All Others</c:v>
                </c:pt>
                <c:pt idx="335">
                  <c:v>All Others</c:v>
                </c:pt>
                <c:pt idx="336">
                  <c:v>Etoile Du V</c:v>
                </c:pt>
                <c:pt idx="337">
                  <c:v>President</c:v>
                </c:pt>
                <c:pt idx="338">
                  <c:v>All Others</c:v>
                </c:pt>
                <c:pt idx="339">
                  <c:v>All Others</c:v>
                </c:pt>
                <c:pt idx="340">
                  <c:v>All Others</c:v>
                </c:pt>
                <c:pt idx="341">
                  <c:v>All Others</c:v>
                </c:pt>
                <c:pt idx="342">
                  <c:v>All Others</c:v>
                </c:pt>
                <c:pt idx="343">
                  <c:v>All Others</c:v>
                </c:pt>
                <c:pt idx="344">
                  <c:v>All Others</c:v>
                </c:pt>
                <c:pt idx="345">
                  <c:v>All Others</c:v>
                </c:pt>
                <c:pt idx="346">
                  <c:v>Chavroux</c:v>
                </c:pt>
                <c:pt idx="347">
                  <c:v>All Others</c:v>
                </c:pt>
                <c:pt idx="348">
                  <c:v>All Others</c:v>
                </c:pt>
                <c:pt idx="349">
                  <c:v>All Others</c:v>
                </c:pt>
                <c:pt idx="350">
                  <c:v>Salakis</c:v>
                </c:pt>
                <c:pt idx="351">
                  <c:v>All Others</c:v>
                </c:pt>
                <c:pt idx="352">
                  <c:v>All Others</c:v>
                </c:pt>
                <c:pt idx="353">
                  <c:v>All Others</c:v>
                </c:pt>
                <c:pt idx="354">
                  <c:v>All Others</c:v>
                </c:pt>
                <c:pt idx="355">
                  <c:v>Entremont</c:v>
                </c:pt>
                <c:pt idx="356">
                  <c:v>Petit Billy</c:v>
                </c:pt>
                <c:pt idx="357">
                  <c:v>All Others</c:v>
                </c:pt>
                <c:pt idx="358">
                  <c:v>La Vache Qu</c:v>
                </c:pt>
                <c:pt idx="359">
                  <c:v>Private Lab</c:v>
                </c:pt>
                <c:pt idx="360">
                  <c:v>Lactalis: A</c:v>
                </c:pt>
                <c:pt idx="361">
                  <c:v>Chavroux</c:v>
                </c:pt>
                <c:pt idx="362">
                  <c:v>All Others</c:v>
                </c:pt>
                <c:pt idx="363">
                  <c:v>Entremont</c:v>
                </c:pt>
                <c:pt idx="364">
                  <c:v>All Others</c:v>
                </c:pt>
                <c:pt idx="365">
                  <c:v>All Others</c:v>
                </c:pt>
                <c:pt idx="366">
                  <c:v>All Others</c:v>
                </c:pt>
                <c:pt idx="367">
                  <c:v>All Others</c:v>
                </c:pt>
                <c:pt idx="368">
                  <c:v>Private Lab</c:v>
                </c:pt>
                <c:pt idx="369">
                  <c:v>All Others</c:v>
                </c:pt>
                <c:pt idx="370">
                  <c:v>All Others</c:v>
                </c:pt>
                <c:pt idx="371">
                  <c:v>Mini Babybe</c:v>
                </c:pt>
                <c:pt idx="372">
                  <c:v>All Others</c:v>
                </c:pt>
                <c:pt idx="373">
                  <c:v>All Others</c:v>
                </c:pt>
                <c:pt idx="374">
                  <c:v>All Others</c:v>
                </c:pt>
                <c:pt idx="375">
                  <c:v>All Others</c:v>
                </c:pt>
                <c:pt idx="376">
                  <c:v>All Others</c:v>
                </c:pt>
                <c:pt idx="377">
                  <c:v>All Others</c:v>
                </c:pt>
                <c:pt idx="378">
                  <c:v>All Others</c:v>
                </c:pt>
                <c:pt idx="379">
                  <c:v>All Others</c:v>
                </c:pt>
                <c:pt idx="380">
                  <c:v>All Others</c:v>
                </c:pt>
                <c:pt idx="381">
                  <c:v>All Others</c:v>
                </c:pt>
                <c:pt idx="382">
                  <c:v>All Others</c:v>
                </c:pt>
                <c:pt idx="383">
                  <c:v>All Others</c:v>
                </c:pt>
                <c:pt idx="384">
                  <c:v>All Others</c:v>
                </c:pt>
                <c:pt idx="385">
                  <c:v>All Others</c:v>
                </c:pt>
                <c:pt idx="386">
                  <c:v>Corsica</c:v>
                </c:pt>
                <c:pt idx="387">
                  <c:v>All Others</c:v>
                </c:pt>
                <c:pt idx="388">
                  <c:v>All Others</c:v>
                </c:pt>
                <c:pt idx="389">
                  <c:v>All Others</c:v>
                </c:pt>
                <c:pt idx="390">
                  <c:v>All Others</c:v>
                </c:pt>
                <c:pt idx="391">
                  <c:v>All Others</c:v>
                </c:pt>
                <c:pt idx="392">
                  <c:v>All Others</c:v>
                </c:pt>
                <c:pt idx="393">
                  <c:v>All Others</c:v>
                </c:pt>
                <c:pt idx="394">
                  <c:v>All Others</c:v>
                </c:pt>
                <c:pt idx="395">
                  <c:v>All Others</c:v>
                </c:pt>
                <c:pt idx="396">
                  <c:v>All Others</c:v>
                </c:pt>
                <c:pt idx="397">
                  <c:v>Mini Babybe</c:v>
                </c:pt>
                <c:pt idx="398">
                  <c:v>All Others</c:v>
                </c:pt>
                <c:pt idx="399">
                  <c:v>All Others</c:v>
                </c:pt>
                <c:pt idx="400">
                  <c:v>All Others</c:v>
                </c:pt>
                <c:pt idx="401">
                  <c:v>All Others</c:v>
                </c:pt>
                <c:pt idx="402">
                  <c:v>All Others</c:v>
                </c:pt>
                <c:pt idx="403">
                  <c:v>Entremont</c:v>
                </c:pt>
                <c:pt idx="404">
                  <c:v>Kiri</c:v>
                </c:pt>
                <c:pt idx="405">
                  <c:v>All Others</c:v>
                </c:pt>
                <c:pt idx="406">
                  <c:v>All Others</c:v>
                </c:pt>
                <c:pt idx="407">
                  <c:v>All Others</c:v>
                </c:pt>
                <c:pt idx="408">
                  <c:v>All Others</c:v>
                </c:pt>
                <c:pt idx="409">
                  <c:v>All Others</c:v>
                </c:pt>
                <c:pt idx="410">
                  <c:v>Savencia: A</c:v>
                </c:pt>
                <c:pt idx="411">
                  <c:v>All Others</c:v>
                </c:pt>
                <c:pt idx="412">
                  <c:v>All Others</c:v>
                </c:pt>
                <c:pt idx="413">
                  <c:v>All Others</c:v>
                </c:pt>
                <c:pt idx="414">
                  <c:v>All Others</c:v>
                </c:pt>
                <c:pt idx="415">
                  <c:v>All Others</c:v>
                </c:pt>
                <c:pt idx="416">
                  <c:v>Casa Azzurr</c:v>
                </c:pt>
                <c:pt idx="417">
                  <c:v>All Others</c:v>
                </c:pt>
                <c:pt idx="418">
                  <c:v>All Others</c:v>
                </c:pt>
                <c:pt idx="419">
                  <c:v>All Others</c:v>
                </c:pt>
                <c:pt idx="420">
                  <c:v>All Others</c:v>
                </c:pt>
                <c:pt idx="421">
                  <c:v>All Others</c:v>
                </c:pt>
                <c:pt idx="422">
                  <c:v>Savencia: A</c:v>
                </c:pt>
                <c:pt idx="423">
                  <c:v>All Others</c:v>
                </c:pt>
                <c:pt idx="424">
                  <c:v>All Others</c:v>
                </c:pt>
                <c:pt idx="425">
                  <c:v>All Others</c:v>
                </c:pt>
                <c:pt idx="426">
                  <c:v>All Others</c:v>
                </c:pt>
                <c:pt idx="427">
                  <c:v>All Others</c:v>
                </c:pt>
                <c:pt idx="428">
                  <c:v>All Others</c:v>
                </c:pt>
                <c:pt idx="429">
                  <c:v>All Others</c:v>
                </c:pt>
                <c:pt idx="430">
                  <c:v>All Others</c:v>
                </c:pt>
                <c:pt idx="431">
                  <c:v>All Others</c:v>
                </c:pt>
                <c:pt idx="432">
                  <c:v>All Others</c:v>
                </c:pt>
                <c:pt idx="433">
                  <c:v>All Others</c:v>
                </c:pt>
                <c:pt idx="434">
                  <c:v>All Others</c:v>
                </c:pt>
                <c:pt idx="435">
                  <c:v>All Others</c:v>
                </c:pt>
                <c:pt idx="436">
                  <c:v>All Others</c:v>
                </c:pt>
                <c:pt idx="437">
                  <c:v>All Others</c:v>
                </c:pt>
                <c:pt idx="438">
                  <c:v>All Others</c:v>
                </c:pt>
                <c:pt idx="439">
                  <c:v>All Others</c:v>
                </c:pt>
                <c:pt idx="440">
                  <c:v>All Others</c:v>
                </c:pt>
                <c:pt idx="441">
                  <c:v>All Others</c:v>
                </c:pt>
                <c:pt idx="442">
                  <c:v>All Others</c:v>
                </c:pt>
                <c:pt idx="443">
                  <c:v>All Others</c:v>
                </c:pt>
                <c:pt idx="444">
                  <c:v>All Others</c:v>
                </c:pt>
                <c:pt idx="445">
                  <c:v>Paysan Bret</c:v>
                </c:pt>
                <c:pt idx="446">
                  <c:v>All Others</c:v>
                </c:pt>
                <c:pt idx="447">
                  <c:v>All Others</c:v>
                </c:pt>
                <c:pt idx="448">
                  <c:v>All Others</c:v>
                </c:pt>
                <c:pt idx="449">
                  <c:v>All Others</c:v>
                </c:pt>
                <c:pt idx="450">
                  <c:v>All Others</c:v>
                </c:pt>
                <c:pt idx="451">
                  <c:v>All Others</c:v>
                </c:pt>
                <c:pt idx="452">
                  <c:v>All Others</c:v>
                </c:pt>
                <c:pt idx="453">
                  <c:v>All Others</c:v>
                </c:pt>
                <c:pt idx="454">
                  <c:v>All Others</c:v>
                </c:pt>
                <c:pt idx="455">
                  <c:v>All Others</c:v>
                </c:pt>
                <c:pt idx="456">
                  <c:v>All Others</c:v>
                </c:pt>
                <c:pt idx="457">
                  <c:v>All Others</c:v>
                </c:pt>
                <c:pt idx="458">
                  <c:v>All Others</c:v>
                </c:pt>
                <c:pt idx="459">
                  <c:v>All Others</c:v>
                </c:pt>
                <c:pt idx="460">
                  <c:v>All Others</c:v>
                </c:pt>
                <c:pt idx="461">
                  <c:v>All Others</c:v>
                </c:pt>
                <c:pt idx="462">
                  <c:v>All Others</c:v>
                </c:pt>
                <c:pt idx="463">
                  <c:v>All Others</c:v>
                </c:pt>
                <c:pt idx="464">
                  <c:v>All Others</c:v>
                </c:pt>
                <c:pt idx="465">
                  <c:v>All Others</c:v>
                </c:pt>
                <c:pt idx="466">
                  <c:v>All Others</c:v>
                </c:pt>
                <c:pt idx="467">
                  <c:v>All Others</c:v>
                </c:pt>
                <c:pt idx="468">
                  <c:v>All Others</c:v>
                </c:pt>
                <c:pt idx="469">
                  <c:v>Etoile Du V</c:v>
                </c:pt>
                <c:pt idx="470">
                  <c:v>All Others</c:v>
                </c:pt>
                <c:pt idx="471">
                  <c:v>All Others</c:v>
                </c:pt>
                <c:pt idx="472">
                  <c:v>All Others</c:v>
                </c:pt>
                <c:pt idx="473">
                  <c:v>All Others</c:v>
                </c:pt>
                <c:pt idx="474">
                  <c:v>All Others</c:v>
                </c:pt>
                <c:pt idx="475">
                  <c:v>All Others</c:v>
                </c:pt>
                <c:pt idx="476">
                  <c:v>All Others</c:v>
                </c:pt>
                <c:pt idx="477">
                  <c:v>All Others</c:v>
                </c:pt>
                <c:pt idx="478">
                  <c:v>All Others</c:v>
                </c:pt>
                <c:pt idx="479">
                  <c:v>All Others</c:v>
                </c:pt>
                <c:pt idx="480">
                  <c:v>All Others</c:v>
                </c:pt>
                <c:pt idx="481">
                  <c:v>All Others</c:v>
                </c:pt>
                <c:pt idx="482">
                  <c:v>All Others</c:v>
                </c:pt>
                <c:pt idx="483">
                  <c:v>Lactalis: A</c:v>
                </c:pt>
                <c:pt idx="484">
                  <c:v>All Others</c:v>
                </c:pt>
                <c:pt idx="485">
                  <c:v>All Others</c:v>
                </c:pt>
                <c:pt idx="486">
                  <c:v>All Others</c:v>
                </c:pt>
                <c:pt idx="487">
                  <c:v>All Others</c:v>
                </c:pt>
                <c:pt idx="488">
                  <c:v>All Others</c:v>
                </c:pt>
                <c:pt idx="489">
                  <c:v>All Others</c:v>
                </c:pt>
                <c:pt idx="490">
                  <c:v>Savencia: A</c:v>
                </c:pt>
                <c:pt idx="491">
                  <c:v>All Others</c:v>
                </c:pt>
                <c:pt idx="492">
                  <c:v>All Others</c:v>
                </c:pt>
                <c:pt idx="493">
                  <c:v>All Others</c:v>
                </c:pt>
                <c:pt idx="494">
                  <c:v>All Others</c:v>
                </c:pt>
                <c:pt idx="495">
                  <c:v>All Others</c:v>
                </c:pt>
                <c:pt idx="496">
                  <c:v>All Others</c:v>
                </c:pt>
                <c:pt idx="497">
                  <c:v>All Others</c:v>
                </c:pt>
                <c:pt idx="498">
                  <c:v>All Others</c:v>
                </c:pt>
                <c:pt idx="499">
                  <c:v>All Others</c:v>
                </c:pt>
                <c:pt idx="500">
                  <c:v>All Others</c:v>
                </c:pt>
                <c:pt idx="501">
                  <c:v>All Others</c:v>
                </c:pt>
                <c:pt idx="502">
                  <c:v>All Others</c:v>
                </c:pt>
                <c:pt idx="503">
                  <c:v>All Others</c:v>
                </c:pt>
                <c:pt idx="504">
                  <c:v>All Others</c:v>
                </c:pt>
                <c:pt idx="505">
                  <c:v>All Others</c:v>
                </c:pt>
                <c:pt idx="506">
                  <c:v>All Others</c:v>
                </c:pt>
                <c:pt idx="507">
                  <c:v>All Others</c:v>
                </c:pt>
                <c:pt idx="508">
                  <c:v>All Others</c:v>
                </c:pt>
                <c:pt idx="509">
                  <c:v>All Others</c:v>
                </c:pt>
                <c:pt idx="510">
                  <c:v>All Others</c:v>
                </c:pt>
                <c:pt idx="511">
                  <c:v>All Others</c:v>
                </c:pt>
                <c:pt idx="512">
                  <c:v>All Others</c:v>
                </c:pt>
                <c:pt idx="513">
                  <c:v>All Others</c:v>
                </c:pt>
                <c:pt idx="514">
                  <c:v>All Others</c:v>
                </c:pt>
                <c:pt idx="515">
                  <c:v>All Others</c:v>
                </c:pt>
                <c:pt idx="516">
                  <c:v>All Others</c:v>
                </c:pt>
                <c:pt idx="517">
                  <c:v>All Others</c:v>
                </c:pt>
                <c:pt idx="518">
                  <c:v>Caprice Des</c:v>
                </c:pt>
                <c:pt idx="519">
                  <c:v>All Others</c:v>
                </c:pt>
                <c:pt idx="520">
                  <c:v>All Others</c:v>
                </c:pt>
                <c:pt idx="521">
                  <c:v>All Others</c:v>
                </c:pt>
                <c:pt idx="522">
                  <c:v>All Others</c:v>
                </c:pt>
                <c:pt idx="523">
                  <c:v>All Others</c:v>
                </c:pt>
                <c:pt idx="524">
                  <c:v>All Others</c:v>
                </c:pt>
                <c:pt idx="525">
                  <c:v>All Others</c:v>
                </c:pt>
                <c:pt idx="526">
                  <c:v>All Others</c:v>
                </c:pt>
                <c:pt idx="527">
                  <c:v>All Others</c:v>
                </c:pt>
                <c:pt idx="528">
                  <c:v>All Others</c:v>
                </c:pt>
                <c:pt idx="529">
                  <c:v>All Others</c:v>
                </c:pt>
                <c:pt idx="530">
                  <c:v>All Others</c:v>
                </c:pt>
                <c:pt idx="531">
                  <c:v>All Others</c:v>
                </c:pt>
                <c:pt idx="532">
                  <c:v>Lactalis: A</c:v>
                </c:pt>
                <c:pt idx="533">
                  <c:v>All Others</c:v>
                </c:pt>
                <c:pt idx="534">
                  <c:v>All Others</c:v>
                </c:pt>
                <c:pt idx="535">
                  <c:v>All Others</c:v>
                </c:pt>
                <c:pt idx="536">
                  <c:v>All Others</c:v>
                </c:pt>
                <c:pt idx="537">
                  <c:v>All Others</c:v>
                </c:pt>
                <c:pt idx="538">
                  <c:v>All Others</c:v>
                </c:pt>
                <c:pt idx="539">
                  <c:v>La Vache Qu</c:v>
                </c:pt>
                <c:pt idx="540">
                  <c:v>All Others</c:v>
                </c:pt>
                <c:pt idx="541">
                  <c:v>Savencia: A</c:v>
                </c:pt>
                <c:pt idx="542">
                  <c:v>All Others</c:v>
                </c:pt>
                <c:pt idx="543">
                  <c:v>All Others</c:v>
                </c:pt>
                <c:pt idx="544">
                  <c:v>All Others</c:v>
                </c:pt>
                <c:pt idx="545">
                  <c:v>Lactalis: A</c:v>
                </c:pt>
                <c:pt idx="546">
                  <c:v>All Others</c:v>
                </c:pt>
                <c:pt idx="547">
                  <c:v>All Others</c:v>
                </c:pt>
                <c:pt idx="548">
                  <c:v>All Others</c:v>
                </c:pt>
                <c:pt idx="549">
                  <c:v>All Others</c:v>
                </c:pt>
                <c:pt idx="550">
                  <c:v>All Others</c:v>
                </c:pt>
                <c:pt idx="551">
                  <c:v>All Others</c:v>
                </c:pt>
                <c:pt idx="552">
                  <c:v>All Others</c:v>
                </c:pt>
                <c:pt idx="553">
                  <c:v>All Others</c:v>
                </c:pt>
                <c:pt idx="554">
                  <c:v>All Others</c:v>
                </c:pt>
                <c:pt idx="555">
                  <c:v>All Others</c:v>
                </c:pt>
                <c:pt idx="556">
                  <c:v>All Others</c:v>
                </c:pt>
                <c:pt idx="557">
                  <c:v>Private Lab</c:v>
                </c:pt>
                <c:pt idx="558">
                  <c:v>All Others</c:v>
                </c:pt>
                <c:pt idx="559">
                  <c:v>All Others</c:v>
                </c:pt>
                <c:pt idx="560">
                  <c:v>All Others</c:v>
                </c:pt>
                <c:pt idx="561">
                  <c:v>All Others</c:v>
                </c:pt>
                <c:pt idx="562">
                  <c:v>All Others</c:v>
                </c:pt>
                <c:pt idx="563">
                  <c:v>All Others</c:v>
                </c:pt>
                <c:pt idx="564">
                  <c:v>Private Lab</c:v>
                </c:pt>
                <c:pt idx="565">
                  <c:v>All Others</c:v>
                </c:pt>
                <c:pt idx="566">
                  <c:v>All Others</c:v>
                </c:pt>
                <c:pt idx="567">
                  <c:v>All Others</c:v>
                </c:pt>
              </c:strCache>
            </c:strRef>
          </c:cat>
          <c:val>
            <c:numRef>
              <c:f>Sheet1!$C$2:$C$569</c:f>
              <c:numCache>
                <c:formatCode>General</c:formatCode>
                <c:ptCount val="568"/>
                <c:pt idx="0">
                  <c:v>0.02702826374879708</c:v>
                </c:pt>
                <c:pt idx="1">
                  <c:v>0.04878826133492063</c:v>
                </c:pt>
                <c:pt idx="2">
                  <c:v>0.06950545380880793</c:v>
                </c:pt>
                <c:pt idx="3">
                  <c:v>0.08908139828202896</c:v>
                </c:pt>
                <c:pt idx="4">
                  <c:v>0.10732691851564453</c:v>
                </c:pt>
                <c:pt idx="5">
                  <c:v>0.12494831490904733</c:v>
                </c:pt>
                <c:pt idx="6">
                  <c:v>0.14254672311742933</c:v>
                </c:pt>
                <c:pt idx="7">
                  <c:v>0.1594678224401483</c:v>
                </c:pt>
                <c:pt idx="8">
                  <c:v>0.17612145415993596</c:v>
                </c:pt>
                <c:pt idx="9">
                  <c:v>0.1925981058770035</c:v>
                </c:pt>
                <c:pt idx="10">
                  <c:v>0.20856775834589605</c:v>
                </c:pt>
                <c:pt idx="11">
                  <c:v>0.2236026422145214</c:v>
                </c:pt>
                <c:pt idx="12">
                  <c:v>0.23723479040346773</c:v>
                </c:pt>
                <c:pt idx="13">
                  <c:v>0.25074979059558594</c:v>
                </c:pt>
                <c:pt idx="14">
                  <c:v>0.2631929801188641</c:v>
                </c:pt>
                <c:pt idx="15">
                  <c:v>0.27529416948453905</c:v>
                </c:pt>
                <c:pt idx="16">
                  <c:v>0.2871066490596174</c:v>
                </c:pt>
                <c:pt idx="17">
                  <c:v>0.29891895777972666</c:v>
                </c:pt>
                <c:pt idx="18">
                  <c:v>0.309983974950733</c:v>
                </c:pt>
                <c:pt idx="19">
                  <c:v>0.320671133484936</c:v>
                </c:pt>
                <c:pt idx="20">
                  <c:v>0.331252291723925</c:v>
                </c:pt>
                <c:pt idx="21">
                  <c:v>0.3411851372719387</c:v>
                </c:pt>
                <c:pt idx="22">
                  <c:v>0.3506778955267316</c:v>
                </c:pt>
                <c:pt idx="23">
                  <c:v>0.36013722237907725</c:v>
                </c:pt>
                <c:pt idx="24">
                  <c:v>0.3695514996910767</c:v>
                </c:pt>
                <c:pt idx="25">
                  <c:v>0.3788527318659855</c:v>
                </c:pt>
                <c:pt idx="26">
                  <c:v>0.3881435395473001</c:v>
                </c:pt>
                <c:pt idx="27">
                  <c:v>0.3970444678915195</c:v>
                </c:pt>
                <c:pt idx="28">
                  <c:v>0.4059331742542505</c:v>
                </c:pt>
                <c:pt idx="29">
                  <c:v>0.41475069962827893</c:v>
                </c:pt>
                <c:pt idx="30">
                  <c:v>0.4234979099908453</c:v>
                </c:pt>
                <c:pt idx="31">
                  <c:v>0.43215405465488044</c:v>
                </c:pt>
                <c:pt idx="32">
                  <c:v>0.44052834011043623</c:v>
                </c:pt>
                <c:pt idx="33">
                  <c:v>0.4486190695102168</c:v>
                </c:pt>
                <c:pt idx="34">
                  <c:v>0.4564140793847095</c:v>
                </c:pt>
                <c:pt idx="35">
                  <c:v>0.4641688962128408</c:v>
                </c:pt>
                <c:pt idx="36">
                  <c:v>0.4716670163225313</c:v>
                </c:pt>
                <c:pt idx="37">
                  <c:v>0.4790977587219409</c:v>
                </c:pt>
                <c:pt idx="38">
                  <c:v>0.4864539685666786</c:v>
                </c:pt>
                <c:pt idx="39">
                  <c:v>0.4935733593813671</c:v>
                </c:pt>
                <c:pt idx="40">
                  <c:v>0.5006697386062445</c:v>
                </c:pt>
                <c:pt idx="41">
                  <c:v>0.5073914633101091</c:v>
                </c:pt>
                <c:pt idx="42">
                  <c:v>0.514050549773726</c:v>
                </c:pt>
                <c:pt idx="43">
                  <c:v>0.5205718241511696</c:v>
                </c:pt>
                <c:pt idx="44">
                  <c:v>0.5270595922308371</c:v>
                </c:pt>
                <c:pt idx="45">
                  <c:v>0.5334016842147945</c:v>
                </c:pt>
                <c:pt idx="46">
                  <c:v>0.5397415808294229</c:v>
                </c:pt>
                <c:pt idx="47">
                  <c:v>0.5458928207914565</c:v>
                </c:pt>
                <c:pt idx="48">
                  <c:v>0.5517399225251357</c:v>
                </c:pt>
                <c:pt idx="49">
                  <c:v>0.5575343143306075</c:v>
                </c:pt>
                <c:pt idx="50">
                  <c:v>0.5632529378084802</c:v>
                </c:pt>
                <c:pt idx="51">
                  <c:v>0.5689715378815626</c:v>
                </c:pt>
                <c:pt idx="52">
                  <c:v>0.5744653349439296</c:v>
                </c:pt>
                <c:pt idx="53">
                  <c:v>0.5797700798127459</c:v>
                </c:pt>
                <c:pt idx="54">
                  <c:v>0.5850103000152174</c:v>
                </c:pt>
                <c:pt idx="55">
                  <c:v>0.5899437793766544</c:v>
                </c:pt>
                <c:pt idx="56">
                  <c:v>0.5948504228055473</c:v>
                </c:pt>
                <c:pt idx="57">
                  <c:v>0.5997157146509596</c:v>
                </c:pt>
                <c:pt idx="58">
                  <c:v>0.6043908121490552</c:v>
                </c:pt>
                <c:pt idx="59">
                  <c:v>0.6090072104331087</c:v>
                </c:pt>
                <c:pt idx="60">
                  <c:v>0.613611808021899</c:v>
                </c:pt>
                <c:pt idx="61">
                  <c:v>0.6181098295576342</c:v>
                </c:pt>
                <c:pt idx="62">
                  <c:v>0.6225969748873226</c:v>
                </c:pt>
                <c:pt idx="63">
                  <c:v>0.6270773070825582</c:v>
                </c:pt>
                <c:pt idx="64">
                  <c:v>0.6315319923085962</c:v>
                </c:pt>
                <c:pt idx="65">
                  <c:v>0.6359824693533406</c:v>
                </c:pt>
                <c:pt idx="66">
                  <c:v>0.6403926784563946</c:v>
                </c:pt>
                <c:pt idx="67">
                  <c:v>0.6447847231017061</c:v>
                </c:pt>
                <c:pt idx="68">
                  <c:v>0.6491528808180498</c:v>
                </c:pt>
                <c:pt idx="69">
                  <c:v>0.6535023427879115</c:v>
                </c:pt>
                <c:pt idx="70">
                  <c:v>0.657846667406305</c:v>
                </c:pt>
                <c:pt idx="71">
                  <c:v>0.6621815715966076</c:v>
                </c:pt>
                <c:pt idx="72">
                  <c:v>0.6664958725500197</c:v>
                </c:pt>
                <c:pt idx="73">
                  <c:v>0.6708078096196128</c:v>
                </c:pt>
                <c:pt idx="74">
                  <c:v>0.6750236770465111</c:v>
                </c:pt>
                <c:pt idx="75">
                  <c:v>0.6792158424422848</c:v>
                </c:pt>
                <c:pt idx="76">
                  <c:v>0.6833265615083356</c:v>
                </c:pt>
                <c:pt idx="77">
                  <c:v>0.6874234647266794</c:v>
                </c:pt>
                <c:pt idx="78">
                  <c:v>0.6914771720640678</c:v>
                </c:pt>
                <c:pt idx="79">
                  <c:v>0.695336584534881</c:v>
                </c:pt>
                <c:pt idx="80">
                  <c:v>0.699059167920713</c:v>
                </c:pt>
                <c:pt idx="81">
                  <c:v>0.7027385203184042</c:v>
                </c:pt>
                <c:pt idx="82">
                  <c:v>0.7064107482979318</c:v>
                </c:pt>
                <c:pt idx="83">
                  <c:v>0.7100718824068629</c:v>
                </c:pt>
                <c:pt idx="84">
                  <c:v>0.7136871407863506</c:v>
                </c:pt>
                <c:pt idx="85">
                  <c:v>0.7172738897907887</c:v>
                </c:pt>
                <c:pt idx="86">
                  <c:v>0.7207691658533444</c:v>
                </c:pt>
                <c:pt idx="87">
                  <c:v>0.7242500900984956</c:v>
                </c:pt>
                <c:pt idx="88">
                  <c:v>0.7277254346416422</c:v>
                </c:pt>
                <c:pt idx="89">
                  <c:v>0.7311682137595822</c:v>
                </c:pt>
                <c:pt idx="90">
                  <c:v>0.7346086875056788</c:v>
                </c:pt>
                <c:pt idx="91">
                  <c:v>0.7380075685989547</c:v>
                </c:pt>
                <c:pt idx="92">
                  <c:v>0.7413866820063535</c:v>
                </c:pt>
                <c:pt idx="93">
                  <c:v>0.7447647585815426</c:v>
                </c:pt>
                <c:pt idx="94">
                  <c:v>0.7480957400377143</c:v>
                </c:pt>
                <c:pt idx="95">
                  <c:v>0.7513477022409158</c:v>
                </c:pt>
                <c:pt idx="96">
                  <c:v>0.7545364972556093</c:v>
                </c:pt>
                <c:pt idx="97">
                  <c:v>0.7576820027701864</c:v>
                </c:pt>
                <c:pt idx="98">
                  <c:v>0.7608006278831178</c:v>
                </c:pt>
                <c:pt idx="99">
                  <c:v>0.7638979897440725</c:v>
                </c:pt>
                <c:pt idx="100">
                  <c:v>0.7669427259340649</c:v>
                </c:pt>
                <c:pt idx="101">
                  <c:v>0.7699833499024037</c:v>
                </c:pt>
                <c:pt idx="102">
                  <c:v>0.7727782586799048</c:v>
                </c:pt>
                <c:pt idx="103">
                  <c:v>0.7755138199306728</c:v>
                </c:pt>
                <c:pt idx="104">
                  <c:v>0.7782335735860804</c:v>
                </c:pt>
                <c:pt idx="105">
                  <c:v>0.7809441993732756</c:v>
                </c:pt>
                <c:pt idx="106">
                  <c:v>0.7836315725013199</c:v>
                </c:pt>
                <c:pt idx="107">
                  <c:v>0.7863175904920064</c:v>
                </c:pt>
                <c:pt idx="108">
                  <c:v>0.7889998403114566</c:v>
                </c:pt>
                <c:pt idx="109">
                  <c:v>0.7916228385638139</c:v>
                </c:pt>
                <c:pt idx="110">
                  <c:v>0.7942451065867142</c:v>
                </c:pt>
                <c:pt idx="111">
                  <c:v>0.7968384135221123</c:v>
                </c:pt>
                <c:pt idx="112">
                  <c:v>0.7994146724082646</c:v>
                </c:pt>
                <c:pt idx="113">
                  <c:v>0.8019551289867135</c:v>
                </c:pt>
                <c:pt idx="114">
                  <c:v>0.8044643191058167</c:v>
                </c:pt>
                <c:pt idx="115">
                  <c:v>0.8069585254781777</c:v>
                </c:pt>
                <c:pt idx="116">
                  <c:v>0.809398135496234</c:v>
                </c:pt>
                <c:pt idx="117">
                  <c:v>0.811791464881975</c:v>
                </c:pt>
                <c:pt idx="118">
                  <c:v>0.8141670955653002</c:v>
                </c:pt>
                <c:pt idx="119">
                  <c:v>0.8165219755615561</c:v>
                </c:pt>
                <c:pt idx="120">
                  <c:v>0.8188401615275988</c:v>
                </c:pt>
                <c:pt idx="121">
                  <c:v>0.8211349450438324</c:v>
                </c:pt>
                <c:pt idx="122">
                  <c:v>0.8234146301298514</c:v>
                </c:pt>
                <c:pt idx="123">
                  <c:v>0.8256681369579333</c:v>
                </c:pt>
                <c:pt idx="124">
                  <c:v>0.8279209533447017</c:v>
                </c:pt>
                <c:pt idx="125">
                  <c:v>0.830153522247392</c:v>
                </c:pt>
                <c:pt idx="126">
                  <c:v>0.8323618110206377</c:v>
                </c:pt>
                <c:pt idx="127">
                  <c:v>0.8345285562911223</c:v>
                </c:pt>
                <c:pt idx="128">
                  <c:v>0.8366907703942071</c:v>
                </c:pt>
                <c:pt idx="129">
                  <c:v>0.8388096458471158</c:v>
                </c:pt>
                <c:pt idx="130">
                  <c:v>0.8409207626120441</c:v>
                </c:pt>
                <c:pt idx="131">
                  <c:v>0.8429965545269908</c:v>
                </c:pt>
                <c:pt idx="132">
                  <c:v>0.8450462641436407</c:v>
                </c:pt>
                <c:pt idx="133">
                  <c:v>0.847093808817189</c:v>
                </c:pt>
                <c:pt idx="134">
                  <c:v>0.849139710474459</c:v>
                </c:pt>
                <c:pt idx="135">
                  <c:v>0.8511736920720354</c:v>
                </c:pt>
                <c:pt idx="136">
                  <c:v>0.8531904383820438</c:v>
                </c:pt>
                <c:pt idx="137">
                  <c:v>0.8552045282483545</c:v>
                </c:pt>
                <c:pt idx="138">
                  <c:v>0.8571776082411227</c:v>
                </c:pt>
                <c:pt idx="139">
                  <c:v>0.8590968712591028</c:v>
                </c:pt>
                <c:pt idx="140">
                  <c:v>0.8610025407748838</c:v>
                </c:pt>
                <c:pt idx="141">
                  <c:v>0.8628569959285567</c:v>
                </c:pt>
                <c:pt idx="142">
                  <c:v>0.8647100140281059</c:v>
                </c:pt>
                <c:pt idx="143">
                  <c:v>0.8665295585965853</c:v>
                </c:pt>
                <c:pt idx="144">
                  <c:v>0.8683471558865128</c:v>
                </c:pt>
                <c:pt idx="145">
                  <c:v>0.8701418492486646</c:v>
                </c:pt>
                <c:pt idx="146">
                  <c:v>0.871908800912888</c:v>
                </c:pt>
                <c:pt idx="147">
                  <c:v>0.8736554419000997</c:v>
                </c:pt>
                <c:pt idx="148">
                  <c:v>0.8753904858137237</c:v>
                </c:pt>
                <c:pt idx="149">
                  <c:v>0.8771075033578679</c:v>
                </c:pt>
                <c:pt idx="150">
                  <c:v>0.8787989581900596</c:v>
                </c:pt>
                <c:pt idx="151">
                  <c:v>0.88048087322973</c:v>
                </c:pt>
                <c:pt idx="152">
                  <c:v>0.8821552285221373</c:v>
                </c:pt>
                <c:pt idx="153">
                  <c:v>0.8838204489248953</c:v>
                </c:pt>
                <c:pt idx="154">
                  <c:v>0.8854685931926592</c:v>
                </c:pt>
                <c:pt idx="155">
                  <c:v>0.8871131682299043</c:v>
                </c:pt>
                <c:pt idx="156">
                  <c:v>0.8887572892142177</c:v>
                </c:pt>
                <c:pt idx="157">
                  <c:v>0.8903947070665927</c:v>
                </c:pt>
                <c:pt idx="158">
                  <c:v>0.8920155987965455</c:v>
                </c:pt>
                <c:pt idx="159">
                  <c:v>0.8936263773166148</c:v>
                </c:pt>
                <c:pt idx="160">
                  <c:v>0.8952195086248069</c:v>
                </c:pt>
                <c:pt idx="161">
                  <c:v>0.8968090355952948</c:v>
                </c:pt>
                <c:pt idx="162">
                  <c:v>0.898360466588631</c:v>
                </c:pt>
                <c:pt idx="163">
                  <c:v>0.8999071323666646</c:v>
                </c:pt>
                <c:pt idx="164">
                  <c:v>0.9014138836153412</c:v>
                </c:pt>
                <c:pt idx="165">
                  <c:v>0.9028906626895751</c:v>
                </c:pt>
                <c:pt idx="166">
                  <c:v>0.9043605607554643</c:v>
                </c:pt>
                <c:pt idx="167">
                  <c:v>0.9058202660351832</c:v>
                </c:pt>
                <c:pt idx="168">
                  <c:v>0.907278101272158</c:v>
                </c:pt>
                <c:pt idx="169">
                  <c:v>0.90872480987183</c:v>
                </c:pt>
                <c:pt idx="170">
                  <c:v>0.9101574732568501</c:v>
                </c:pt>
                <c:pt idx="171">
                  <c:v>0.9115883953254729</c:v>
                </c:pt>
                <c:pt idx="172">
                  <c:v>0.9129743474300364</c:v>
                </c:pt>
                <c:pt idx="173">
                  <c:v>0.9143425352987714</c:v>
                </c:pt>
                <c:pt idx="174">
                  <c:v>0.9156986018266163</c:v>
                </c:pt>
                <c:pt idx="175">
                  <c:v>0.9170465351898361</c:v>
                </c:pt>
                <c:pt idx="176">
                  <c:v>0.9183929636250405</c:v>
                </c:pt>
                <c:pt idx="177">
                  <c:v>0.9196803300719533</c:v>
                </c:pt>
                <c:pt idx="178">
                  <c:v>0.9209638019617621</c:v>
                </c:pt>
                <c:pt idx="179">
                  <c:v>0.9222425343815377</c:v>
                </c:pt>
                <c:pt idx="180">
                  <c:v>0.9235021825353125</c:v>
                </c:pt>
                <c:pt idx="181">
                  <c:v>0.9247450190282235</c:v>
                </c:pt>
                <c:pt idx="182">
                  <c:v>0.9259708051314097</c:v>
                </c:pt>
                <c:pt idx="183">
                  <c:v>0.9271699799880386</c:v>
                </c:pt>
                <c:pt idx="184">
                  <c:v>0.9283605652866318</c:v>
                </c:pt>
                <c:pt idx="185">
                  <c:v>0.9295432374256286</c:v>
                </c:pt>
                <c:pt idx="186">
                  <c:v>0.9307093506754968</c:v>
                </c:pt>
                <c:pt idx="187">
                  <c:v>0.9318724821550822</c:v>
                </c:pt>
                <c:pt idx="188">
                  <c:v>0.9330280585683628</c:v>
                </c:pt>
                <c:pt idx="189">
                  <c:v>0.9341272481608817</c:v>
                </c:pt>
                <c:pt idx="190">
                  <c:v>0.9352126780771903</c:v>
                </c:pt>
                <c:pt idx="191">
                  <c:v>0.9362549284958968</c:v>
                </c:pt>
                <c:pt idx="192">
                  <c:v>0.9372951801455126</c:v>
                </c:pt>
                <c:pt idx="193">
                  <c:v>0.9383076198828293</c:v>
                </c:pt>
                <c:pt idx="194">
                  <c:v>0.9393170614665102</c:v>
                </c:pt>
                <c:pt idx="195">
                  <c:v>0.9403180422185019</c:v>
                </c:pt>
                <c:pt idx="196">
                  <c:v>0.9413008514913142</c:v>
                </c:pt>
                <c:pt idx="197">
                  <c:v>0.9422703293955783</c:v>
                </c:pt>
                <c:pt idx="198">
                  <c:v>0.9432365423315974</c:v>
                </c:pt>
                <c:pt idx="199">
                  <c:v>0.9441695157844495</c:v>
                </c:pt>
                <c:pt idx="200">
                  <c:v>0.945101302614434</c:v>
                </c:pt>
                <c:pt idx="201">
                  <c:v>0.9460086244171306</c:v>
                </c:pt>
                <c:pt idx="202">
                  <c:v>0.9469155366359971</c:v>
                </c:pt>
                <c:pt idx="203">
                  <c:v>0.9478219971424111</c:v>
                </c:pt>
                <c:pt idx="204">
                  <c:v>0.9487055584020074</c:v>
                </c:pt>
                <c:pt idx="205">
                  <c:v>0.9495805488274003</c:v>
                </c:pt>
                <c:pt idx="206">
                  <c:v>0.9504269081728339</c:v>
                </c:pt>
                <c:pt idx="207">
                  <c:v>0.9512458815731517</c:v>
                </c:pt>
                <c:pt idx="208">
                  <c:v>0.9520586527040431</c:v>
                </c:pt>
                <c:pt idx="209">
                  <c:v>0.952868292273994</c:v>
                </c:pt>
                <c:pt idx="210">
                  <c:v>0.9536771852311348</c:v>
                </c:pt>
                <c:pt idx="211">
                  <c:v>0.954475950935518</c:v>
                </c:pt>
                <c:pt idx="212">
                  <c:v>0.9552692656642431</c:v>
                </c:pt>
                <c:pt idx="213">
                  <c:v>0.9560612439794427</c:v>
                </c:pt>
                <c:pt idx="214">
                  <c:v>0.9568527261130882</c:v>
                </c:pt>
                <c:pt idx="215">
                  <c:v>0.9576385185422148</c:v>
                </c:pt>
                <c:pt idx="216">
                  <c:v>0.9584221319853656</c:v>
                </c:pt>
                <c:pt idx="217">
                  <c:v>0.9592014951186001</c:v>
                </c:pt>
                <c:pt idx="218">
                  <c:v>0.9599524541983412</c:v>
                </c:pt>
                <c:pt idx="219">
                  <c:v>0.9606838445329225</c:v>
                </c:pt>
                <c:pt idx="220">
                  <c:v>0.9614121150089585</c:v>
                </c:pt>
                <c:pt idx="221">
                  <c:v>0.962133843846109</c:v>
                </c:pt>
                <c:pt idx="222">
                  <c:v>0.9628408112820249</c:v>
                </c:pt>
                <c:pt idx="223">
                  <c:v>0.9635090391090563</c:v>
                </c:pt>
                <c:pt idx="224">
                  <c:v>0.9641764969184872</c:v>
                </c:pt>
                <c:pt idx="225">
                  <c:v>0.9648418014872115</c:v>
                </c:pt>
                <c:pt idx="226">
                  <c:v>0.9655052617584612</c:v>
                </c:pt>
                <c:pt idx="227">
                  <c:v>0.9661618761285516</c:v>
                </c:pt>
                <c:pt idx="228">
                  <c:v>0.966760198527951</c:v>
                </c:pt>
                <c:pt idx="229">
                  <c:v>0.9673576338857985</c:v>
                </c:pt>
                <c:pt idx="230">
                  <c:v>0.9679237442723246</c:v>
                </c:pt>
                <c:pt idx="231">
                  <c:v>0.9684884901595769</c:v>
                </c:pt>
                <c:pt idx="232">
                  <c:v>0.9690413393919259</c:v>
                </c:pt>
                <c:pt idx="233">
                  <c:v>0.9695934537138599</c:v>
                </c:pt>
                <c:pt idx="234">
                  <c:v>0.9701400491862439</c:v>
                </c:pt>
                <c:pt idx="235">
                  <c:v>0.9706850507924093</c:v>
                </c:pt>
                <c:pt idx="236">
                  <c:v>0.9712298440959412</c:v>
                </c:pt>
                <c:pt idx="237">
                  <c:v>0.9717611164521237</c:v>
                </c:pt>
                <c:pt idx="238">
                  <c:v>0.9722843820295487</c:v>
                </c:pt>
                <c:pt idx="239">
                  <c:v>0.9728064680055433</c:v>
                </c:pt>
                <c:pt idx="240">
                  <c:v>0.9733155128323894</c:v>
                </c:pt>
                <c:pt idx="241">
                  <c:v>0.9738100092415926</c:v>
                </c:pt>
                <c:pt idx="242">
                  <c:v>0.9743020832550009</c:v>
                </c:pt>
                <c:pt idx="243">
                  <c:v>0.9747932561839832</c:v>
                </c:pt>
                <c:pt idx="244">
                  <c:v>0.9752803894461617</c:v>
                </c:pt>
                <c:pt idx="245">
                  <c:v>0.9757561573421765</c:v>
                </c:pt>
                <c:pt idx="246">
                  <c:v>0.9762260038262484</c:v>
                </c:pt>
                <c:pt idx="247">
                  <c:v>0.9766899920913112</c:v>
                </c:pt>
                <c:pt idx="248">
                  <c:v>0.9771428584000292</c:v>
                </c:pt>
                <c:pt idx="249">
                  <c:v>0.9775742016635984</c:v>
                </c:pt>
                <c:pt idx="250">
                  <c:v>0.978001673774854</c:v>
                </c:pt>
                <c:pt idx="251">
                  <c:v>0.978416652409054</c:v>
                </c:pt>
                <c:pt idx="252">
                  <c:v>0.9788314344430155</c:v>
                </c:pt>
                <c:pt idx="253">
                  <c:v>0.9792396865404867</c:v>
                </c:pt>
                <c:pt idx="254">
                  <c:v>0.9796158951395747</c:v>
                </c:pt>
                <c:pt idx="255">
                  <c:v>0.9799898475168789</c:v>
                </c:pt>
                <c:pt idx="256">
                  <c:v>0.9803585993497812</c:v>
                </c:pt>
                <c:pt idx="257">
                  <c:v>0.9807215865828356</c:v>
                </c:pt>
                <c:pt idx="258">
                  <c:v>0.9810810045853711</c:v>
                </c:pt>
                <c:pt idx="259">
                  <c:v>0.9814320249491512</c:v>
                </c:pt>
                <c:pt idx="260">
                  <c:v>0.9817805644051608</c:v>
                </c:pt>
                <c:pt idx="261">
                  <c:v>0.9821257382523271</c:v>
                </c:pt>
                <c:pt idx="262">
                  <c:v>0.9824638017242038</c:v>
                </c:pt>
                <c:pt idx="263">
                  <c:v>0.9828013807169216</c:v>
                </c:pt>
                <c:pt idx="264">
                  <c:v>0.9831337193770939</c:v>
                </c:pt>
                <c:pt idx="265">
                  <c:v>0.9834649720549969</c:v>
                </c:pt>
                <c:pt idx="266">
                  <c:v>0.9837955670582929</c:v>
                </c:pt>
                <c:pt idx="267">
                  <c:v>0.9841180242160056</c:v>
                </c:pt>
                <c:pt idx="268">
                  <c:v>0.984433703346451</c:v>
                </c:pt>
                <c:pt idx="269">
                  <c:v>0.9847485796925894</c:v>
                </c:pt>
                <c:pt idx="270">
                  <c:v>0.9850613613099972</c:v>
                </c:pt>
                <c:pt idx="271">
                  <c:v>0.9853620122245987</c:v>
                </c:pt>
                <c:pt idx="272">
                  <c:v>0.9856468836295882</c:v>
                </c:pt>
                <c:pt idx="273">
                  <c:v>0.9859087387638085</c:v>
                </c:pt>
                <c:pt idx="274">
                  <c:v>0.9861520853898691</c:v>
                </c:pt>
                <c:pt idx="275">
                  <c:v>0.9863928879152254</c:v>
                </c:pt>
                <c:pt idx="276">
                  <c:v>0.9866246000200338</c:v>
                </c:pt>
                <c:pt idx="277">
                  <c:v>0.9868542618652131</c:v>
                </c:pt>
                <c:pt idx="278">
                  <c:v>0.9870764107727099</c:v>
                </c:pt>
                <c:pt idx="279">
                  <c:v>0.9872878941172725</c:v>
                </c:pt>
                <c:pt idx="280">
                  <c:v>0.9874977695527423</c:v>
                </c:pt>
                <c:pt idx="281">
                  <c:v>0.987704302784159</c:v>
                </c:pt>
                <c:pt idx="282">
                  <c:v>0.9879060356930877</c:v>
                </c:pt>
                <c:pt idx="283">
                  <c:v>0.9881060015403496</c:v>
                </c:pt>
                <c:pt idx="284">
                  <c:v>0.9883011928103927</c:v>
                </c:pt>
                <c:pt idx="285">
                  <c:v>0.9884900320203518</c:v>
                </c:pt>
                <c:pt idx="286">
                  <c:v>0.9886773311951099</c:v>
                </c:pt>
                <c:pt idx="287">
                  <c:v>0.988861622854316</c:v>
                </c:pt>
                <c:pt idx="288">
                  <c:v>0.989039569474875</c:v>
                </c:pt>
                <c:pt idx="289">
                  <c:v>0.9892165682014274</c:v>
                </c:pt>
                <c:pt idx="290">
                  <c:v>0.9893917577376906</c:v>
                </c:pt>
                <c:pt idx="291">
                  <c:v>0.989565023400192</c:v>
                </c:pt>
                <c:pt idx="292">
                  <c:v>0.989736053905221</c:v>
                </c:pt>
                <c:pt idx="293">
                  <c:v>0.9899048539337355</c:v>
                </c:pt>
                <c:pt idx="294">
                  <c:v>0.9900668150825279</c:v>
                </c:pt>
                <c:pt idx="295">
                  <c:v>0.990224685073978</c:v>
                </c:pt>
                <c:pt idx="296">
                  <c:v>0.9903791309446089</c:v>
                </c:pt>
                <c:pt idx="297">
                  <c:v>0.9905329495668602</c:v>
                </c:pt>
                <c:pt idx="298">
                  <c:v>0.9906792248252017</c:v>
                </c:pt>
                <c:pt idx="299">
                  <c:v>0.9908226610824812</c:v>
                </c:pt>
                <c:pt idx="300">
                  <c:v>0.9909642811280344</c:v>
                </c:pt>
                <c:pt idx="301">
                  <c:v>0.9911019340616337</c:v>
                </c:pt>
                <c:pt idx="302">
                  <c:v>0.9912388076157165</c:v>
                </c:pt>
                <c:pt idx="303">
                  <c:v>0.9913724232229911</c:v>
                </c:pt>
                <c:pt idx="304">
                  <c:v>0.9915050675314688</c:v>
                </c:pt>
                <c:pt idx="305">
                  <c:v>0.991636120314207</c:v>
                </c:pt>
                <c:pt idx="306">
                  <c:v>0.9917623868173313</c:v>
                </c:pt>
                <c:pt idx="307">
                  <c:v>0.991882591479771</c:v>
                </c:pt>
                <c:pt idx="308">
                  <c:v>0.9919999665030649</c:v>
                </c:pt>
                <c:pt idx="309">
                  <c:v>0.9921126980159657</c:v>
                </c:pt>
                <c:pt idx="310">
                  <c:v>0.992223280969118</c:v>
                </c:pt>
                <c:pt idx="311">
                  <c:v>0.9923323753776081</c:v>
                </c:pt>
                <c:pt idx="312">
                  <c:v>0.9924381065177338</c:v>
                </c:pt>
                <c:pt idx="313">
                  <c:v>0.9925432104094798</c:v>
                </c:pt>
                <c:pt idx="314">
                  <c:v>0.9926427182158679</c:v>
                </c:pt>
                <c:pt idx="315">
                  <c:v>0.9927388861586819</c:v>
                </c:pt>
                <c:pt idx="316">
                  <c:v>0.9928336568355157</c:v>
                </c:pt>
                <c:pt idx="317">
                  <c:v>0.9929279992046873</c:v>
                </c:pt>
                <c:pt idx="318">
                  <c:v>0.9930130592340307</c:v>
                </c:pt>
                <c:pt idx="319">
                  <c:v>0.9930975154197846</c:v>
                </c:pt>
                <c:pt idx="320">
                  <c:v>0.993180623489618</c:v>
                </c:pt>
                <c:pt idx="321">
                  <c:v>0.9932632330374183</c:v>
                </c:pt>
                <c:pt idx="322">
                  <c:v>0.9933456600278543</c:v>
                </c:pt>
                <c:pt idx="323">
                  <c:v>0.9934273427459591</c:v>
                </c:pt>
                <c:pt idx="324">
                  <c:v>0.9935073379786842</c:v>
                </c:pt>
                <c:pt idx="325">
                  <c:v>0.9935869657562018</c:v>
                </c:pt>
                <c:pt idx="326">
                  <c:v>0.9936655754253418</c:v>
                </c:pt>
                <c:pt idx="327">
                  <c:v>0.9937429469810757</c:v>
                </c:pt>
                <c:pt idx="328">
                  <c:v>0.9938192372354981</c:v>
                </c:pt>
                <c:pt idx="329">
                  <c:v>0.9938953894016579</c:v>
                </c:pt>
                <c:pt idx="330">
                  <c:v>0.9939710290029103</c:v>
                </c:pt>
                <c:pt idx="331">
                  <c:v>0.994045299423931</c:v>
                </c:pt>
                <c:pt idx="332">
                  <c:v>0.9941147367557572</c:v>
                </c:pt>
                <c:pt idx="333">
                  <c:v>0.9941838932300999</c:v>
                </c:pt>
                <c:pt idx="334">
                  <c:v>0.9942527079945045</c:v>
                </c:pt>
                <c:pt idx="335">
                  <c:v>0.9943212442419046</c:v>
                </c:pt>
                <c:pt idx="336">
                  <c:v>0.9943894364388874</c:v>
                </c:pt>
                <c:pt idx="337">
                  <c:v>0.9944572377758725</c:v>
                </c:pt>
                <c:pt idx="338">
                  <c:v>0.9945233633298729</c:v>
                </c:pt>
                <c:pt idx="339">
                  <c:v>0.9945890254690256</c:v>
                </c:pt>
                <c:pt idx="340">
                  <c:v>0.9946543716435094</c:v>
                </c:pt>
                <c:pt idx="341">
                  <c:v>0.9947194299390728</c:v>
                </c:pt>
                <c:pt idx="342">
                  <c:v>0.9947844016369121</c:v>
                </c:pt>
                <c:pt idx="343">
                  <c:v>0.9948490971582259</c:v>
                </c:pt>
                <c:pt idx="344">
                  <c:v>0.9949133643718775</c:v>
                </c:pt>
                <c:pt idx="345">
                  <c:v>0.994977626904571</c:v>
                </c:pt>
                <c:pt idx="346">
                  <c:v>0.9950415664511586</c:v>
                </c:pt>
                <c:pt idx="347">
                  <c:v>0.9951044668250574</c:v>
                </c:pt>
                <c:pt idx="348">
                  <c:v>0.9951671378320114</c:v>
                </c:pt>
                <c:pt idx="349">
                  <c:v>0.9952289381807666</c:v>
                </c:pt>
                <c:pt idx="350">
                  <c:v>0.9952903897981465</c:v>
                </c:pt>
                <c:pt idx="351">
                  <c:v>0.9953508139452328</c:v>
                </c:pt>
                <c:pt idx="352">
                  <c:v>0.9954104282865752</c:v>
                </c:pt>
                <c:pt idx="353">
                  <c:v>0.9955285967322599</c:v>
                </c:pt>
                <c:pt idx="354">
                  <c:v>0.9955871836033087</c:v>
                </c:pt>
                <c:pt idx="355">
                  <c:v>0.9956456721742382</c:v>
                </c:pt>
                <c:pt idx="356">
                  <c:v>0.9957041115951081</c:v>
                </c:pt>
                <c:pt idx="357">
                  <c:v>0.9957622327108301</c:v>
                </c:pt>
                <c:pt idx="358">
                  <c:v>0.9958202087168523</c:v>
                </c:pt>
                <c:pt idx="359">
                  <c:v>0.9958767968188104</c:v>
                </c:pt>
                <c:pt idx="360">
                  <c:v>0.9959313533849715</c:v>
                </c:pt>
                <c:pt idx="361">
                  <c:v>0.9959853084480222</c:v>
                </c:pt>
                <c:pt idx="362">
                  <c:v>0.9960392330848457</c:v>
                </c:pt>
                <c:pt idx="363">
                  <c:v>0.9960916808794018</c:v>
                </c:pt>
                <c:pt idx="364">
                  <c:v>0.9961436629186313</c:v>
                </c:pt>
                <c:pt idx="365">
                  <c:v>0.9961951019667261</c:v>
                </c:pt>
                <c:pt idx="366">
                  <c:v>0.9962464099479953</c:v>
                </c:pt>
                <c:pt idx="367">
                  <c:v>0.9962958666103527</c:v>
                </c:pt>
                <c:pt idx="368">
                  <c:v>0.996344256014273</c:v>
                </c:pt>
                <c:pt idx="369">
                  <c:v>0.9963908409088621</c:v>
                </c:pt>
                <c:pt idx="370">
                  <c:v>0.9964368125979456</c:v>
                </c:pt>
                <c:pt idx="371">
                  <c:v>0.9964826555606825</c:v>
                </c:pt>
                <c:pt idx="372">
                  <c:v>0.9965279906394702</c:v>
                </c:pt>
                <c:pt idx="373">
                  <c:v>0.9965730401798164</c:v>
                </c:pt>
                <c:pt idx="374">
                  <c:v>0.9966176403481891</c:v>
                </c:pt>
                <c:pt idx="375">
                  <c:v>0.996662179664107</c:v>
                </c:pt>
                <c:pt idx="376">
                  <c:v>0.9967061900317644</c:v>
                </c:pt>
                <c:pt idx="377">
                  <c:v>0.9967497346440951</c:v>
                </c:pt>
                <c:pt idx="378">
                  <c:v>0.9967929632917569</c:v>
                </c:pt>
                <c:pt idx="379">
                  <c:v>0.9968361708751075</c:v>
                </c:pt>
                <c:pt idx="380">
                  <c:v>0.9968786154622946</c:v>
                </c:pt>
                <c:pt idx="381">
                  <c:v>0.9969210553685237</c:v>
                </c:pt>
                <c:pt idx="382">
                  <c:v>0.9969629733479294</c:v>
                </c:pt>
                <c:pt idx="383">
                  <c:v>0.997046100141595</c:v>
                </c:pt>
                <c:pt idx="384">
                  <c:v>0.9970860357352633</c:v>
                </c:pt>
                <c:pt idx="385">
                  <c:v>0.9971253230162407</c:v>
                </c:pt>
                <c:pt idx="386">
                  <c:v>0.9971645845519487</c:v>
                </c:pt>
                <c:pt idx="387">
                  <c:v>0.9972038086399923</c:v>
                </c:pt>
                <c:pt idx="388">
                  <c:v>0.9972425856965412</c:v>
                </c:pt>
                <c:pt idx="389">
                  <c:v>0.9972811965790792</c:v>
                </c:pt>
                <c:pt idx="390">
                  <c:v>0.9973191755322794</c:v>
                </c:pt>
                <c:pt idx="391">
                  <c:v>0.9973570678877556</c:v>
                </c:pt>
                <c:pt idx="392">
                  <c:v>0.9973948549216755</c:v>
                </c:pt>
                <c:pt idx="393">
                  <c:v>0.9974319421523656</c:v>
                </c:pt>
                <c:pt idx="394">
                  <c:v>0.9974687695898837</c:v>
                </c:pt>
                <c:pt idx="395">
                  <c:v>0.9975055900059647</c:v>
                </c:pt>
                <c:pt idx="396">
                  <c:v>0.9975412261396571</c:v>
                </c:pt>
                <c:pt idx="397">
                  <c:v>0.9975766095016144</c:v>
                </c:pt>
                <c:pt idx="398">
                  <c:v>0.997611283698426</c:v>
                </c:pt>
                <c:pt idx="399">
                  <c:v>0.9976458057641007</c:v>
                </c:pt>
                <c:pt idx="400">
                  <c:v>0.9976801171866627</c:v>
                </c:pt>
                <c:pt idx="401">
                  <c:v>0.997714278818567</c:v>
                </c:pt>
                <c:pt idx="402">
                  <c:v>0.9977484240671181</c:v>
                </c:pt>
                <c:pt idx="403">
                  <c:v>0.9977821971795036</c:v>
                </c:pt>
                <c:pt idx="404">
                  <c:v>0.9978153313411142</c:v>
                </c:pt>
                <c:pt idx="405">
                  <c:v>0.9978482197524268</c:v>
                </c:pt>
                <c:pt idx="406">
                  <c:v>0.997881080077991</c:v>
                </c:pt>
                <c:pt idx="407">
                  <c:v>0.9979127327163764</c:v>
                </c:pt>
                <c:pt idx="408">
                  <c:v>0.9979436972539273</c:v>
                </c:pt>
                <c:pt idx="409">
                  <c:v>0.9979745775342331</c:v>
                </c:pt>
                <c:pt idx="410">
                  <c:v>0.9980344493282686</c:v>
                </c:pt>
                <c:pt idx="411">
                  <c:v>0.9980631623249938</c:v>
                </c:pt>
                <c:pt idx="412">
                  <c:v>0.998091793404953</c:v>
                </c:pt>
                <c:pt idx="413">
                  <c:v>0.9981203893777268</c:v>
                </c:pt>
                <c:pt idx="414">
                  <c:v>0.9981766217268726</c:v>
                </c:pt>
                <c:pt idx="415">
                  <c:v>0.9982046747085117</c:v>
                </c:pt>
                <c:pt idx="416">
                  <c:v>0.9982321472513517</c:v>
                </c:pt>
                <c:pt idx="417">
                  <c:v>0.9982591938270083</c:v>
                </c:pt>
                <c:pt idx="418">
                  <c:v>0.9982861280596717</c:v>
                </c:pt>
                <c:pt idx="419">
                  <c:v>0.9983128914373659</c:v>
                </c:pt>
                <c:pt idx="420">
                  <c:v>0.9983396337507489</c:v>
                </c:pt>
                <c:pt idx="421">
                  <c:v>0.9983662777640127</c:v>
                </c:pt>
                <c:pt idx="422">
                  <c:v>0.9983922477193161</c:v>
                </c:pt>
                <c:pt idx="423">
                  <c:v>0.9984181895888713</c:v>
                </c:pt>
                <c:pt idx="424">
                  <c:v>0.9984693969295422</c:v>
                </c:pt>
                <c:pt idx="425">
                  <c:v>0.9984944026074858</c:v>
                </c:pt>
                <c:pt idx="426">
                  <c:v>0.9985182193220827</c:v>
                </c:pt>
                <c:pt idx="427">
                  <c:v>0.9985417013481787</c:v>
                </c:pt>
                <c:pt idx="428">
                  <c:v>0.9985643361208661</c:v>
                </c:pt>
                <c:pt idx="429">
                  <c:v>0.9985868725934344</c:v>
                </c:pt>
                <c:pt idx="430">
                  <c:v>0.9986092171467222</c:v>
                </c:pt>
                <c:pt idx="431">
                  <c:v>0.99863146574037</c:v>
                </c:pt>
                <c:pt idx="432">
                  <c:v>0.9986536090124614</c:v>
                </c:pt>
                <c:pt idx="433">
                  <c:v>0.9986756493034755</c:v>
                </c:pt>
                <c:pt idx="434">
                  <c:v>0.9986975819324543</c:v>
                </c:pt>
                <c:pt idx="435">
                  <c:v>0.998719346046943</c:v>
                </c:pt>
                <c:pt idx="436">
                  <c:v>0.9987406678108953</c:v>
                </c:pt>
                <c:pt idx="437">
                  <c:v>0.9987608708258718</c:v>
                </c:pt>
                <c:pt idx="438">
                  <c:v>0.998781050436058</c:v>
                </c:pt>
                <c:pt idx="439">
                  <c:v>0.9988010662127123</c:v>
                </c:pt>
                <c:pt idx="440">
                  <c:v>0.9988210000726004</c:v>
                </c:pt>
                <c:pt idx="441">
                  <c:v>0.9988409245705725</c:v>
                </c:pt>
                <c:pt idx="442">
                  <c:v>0.9988606290635159</c:v>
                </c:pt>
                <c:pt idx="443">
                  <c:v>0.998899003557672</c:v>
                </c:pt>
                <c:pt idx="444">
                  <c:v>0.9989180129283439</c:v>
                </c:pt>
                <c:pt idx="445">
                  <c:v>0.9989368186773403</c:v>
                </c:pt>
                <c:pt idx="446">
                  <c:v>0.9989556103834625</c:v>
                </c:pt>
                <c:pt idx="447">
                  <c:v>0.9989736812220438</c:v>
                </c:pt>
                <c:pt idx="448">
                  <c:v>0.9990084701023277</c:v>
                </c:pt>
                <c:pt idx="449">
                  <c:v>0.9990253566585204</c:v>
                </c:pt>
                <c:pt idx="450">
                  <c:v>0.9990421800217794</c:v>
                </c:pt>
                <c:pt idx="451">
                  <c:v>0.9990587576347403</c:v>
                </c:pt>
                <c:pt idx="452">
                  <c:v>0.9990752814166836</c:v>
                </c:pt>
                <c:pt idx="453">
                  <c:v>0.9991077649251241</c:v>
                </c:pt>
                <c:pt idx="454">
                  <c:v>0.9991236661396458</c:v>
                </c:pt>
                <c:pt idx="455">
                  <c:v>0.9991395088421916</c:v>
                </c:pt>
                <c:pt idx="456">
                  <c:v>0.9991552719684506</c:v>
                </c:pt>
                <c:pt idx="457">
                  <c:v>0.9991708993469258</c:v>
                </c:pt>
                <c:pt idx="458">
                  <c:v>0.9991858245816925</c:v>
                </c:pt>
                <c:pt idx="459">
                  <c:v>0.9992005953448432</c:v>
                </c:pt>
                <c:pt idx="460">
                  <c:v>0.9992151601458393</c:v>
                </c:pt>
                <c:pt idx="461">
                  <c:v>0.9992435735612489</c:v>
                </c:pt>
                <c:pt idx="462">
                  <c:v>0.9992576843093135</c:v>
                </c:pt>
                <c:pt idx="463">
                  <c:v>0.9992712754710337</c:v>
                </c:pt>
                <c:pt idx="464">
                  <c:v>0.9992846396062881</c:v>
                </c:pt>
                <c:pt idx="465">
                  <c:v>0.9992979265057346</c:v>
                </c:pt>
                <c:pt idx="466">
                  <c:v>0.9993111689360795</c:v>
                </c:pt>
                <c:pt idx="467">
                  <c:v>0.9993243622163648</c:v>
                </c:pt>
                <c:pt idx="468">
                  <c:v>0.9993374946441953</c:v>
                </c:pt>
                <c:pt idx="469">
                  <c:v>0.9993505826029243</c:v>
                </c:pt>
                <c:pt idx="470">
                  <c:v>0.9993635207709954</c:v>
                </c:pt>
                <c:pt idx="471">
                  <c:v>0.9993764402152344</c:v>
                </c:pt>
                <c:pt idx="472">
                  <c:v>0.9993892262521687</c:v>
                </c:pt>
                <c:pt idx="473">
                  <c:v>0.9994019350532951</c:v>
                </c:pt>
                <c:pt idx="474">
                  <c:v>0.9994142295896333</c:v>
                </c:pt>
                <c:pt idx="475">
                  <c:v>0.9994384652499765</c:v>
                </c:pt>
                <c:pt idx="476">
                  <c:v>0.99945045786452</c:v>
                </c:pt>
                <c:pt idx="477">
                  <c:v>0.9994624411171474</c:v>
                </c:pt>
                <c:pt idx="478">
                  <c:v>0.9994743494744459</c:v>
                </c:pt>
                <c:pt idx="479">
                  <c:v>0.9994859535694707</c:v>
                </c:pt>
                <c:pt idx="480">
                  <c:v>0.9994974008524005</c:v>
                </c:pt>
                <c:pt idx="481">
                  <c:v>0.9995086070659903</c:v>
                </c:pt>
                <c:pt idx="482">
                  <c:v>0.9995298960632362</c:v>
                </c:pt>
                <c:pt idx="483">
                  <c:v>0.9995399928897664</c:v>
                </c:pt>
                <c:pt idx="484">
                  <c:v>0.9995500475876741</c:v>
                </c:pt>
                <c:pt idx="485">
                  <c:v>0.9995598986639063</c:v>
                </c:pt>
                <c:pt idx="486">
                  <c:v>0.9995784469602095</c:v>
                </c:pt>
                <c:pt idx="487">
                  <c:v>0.9995960988530447</c:v>
                </c:pt>
                <c:pt idx="488">
                  <c:v>0.999604580749045</c:v>
                </c:pt>
                <c:pt idx="489">
                  <c:v>0.9996292868456729</c:v>
                </c:pt>
                <c:pt idx="490">
                  <c:v>0.9996595281752038</c:v>
                </c:pt>
                <c:pt idx="491">
                  <c:v>0.9996667953625882</c:v>
                </c:pt>
                <c:pt idx="492">
                  <c:v>0.9996740040379969</c:v>
                </c:pt>
                <c:pt idx="493">
                  <c:v>0.9996811120728073</c:v>
                </c:pt>
                <c:pt idx="494">
                  <c:v>0.9996881077646244</c:v>
                </c:pt>
                <c:pt idx="495">
                  <c:v>0.9996951011159624</c:v>
                </c:pt>
                <c:pt idx="496">
                  <c:v>0.9997019985076603</c:v>
                </c:pt>
                <c:pt idx="497">
                  <c:v>0.999708884196963</c:v>
                </c:pt>
                <c:pt idx="498">
                  <c:v>0.999715552221716</c:v>
                </c:pt>
                <c:pt idx="499">
                  <c:v>0.9997287899711028</c:v>
                </c:pt>
                <c:pt idx="500">
                  <c:v>0.9997409440786993</c:v>
                </c:pt>
                <c:pt idx="501">
                  <c:v>0.9997467812333971</c:v>
                </c:pt>
                <c:pt idx="502">
                  <c:v>0.9997525949833046</c:v>
                </c:pt>
                <c:pt idx="503">
                  <c:v>0.9997583595831525</c:v>
                </c:pt>
                <c:pt idx="504">
                  <c:v>0.9997640750329408</c:v>
                </c:pt>
                <c:pt idx="505">
                  <c:v>0.9997694604751861</c:v>
                </c:pt>
                <c:pt idx="506">
                  <c:v>0.9997748108102459</c:v>
                </c:pt>
                <c:pt idx="507">
                  <c:v>0.9997800066736898</c:v>
                </c:pt>
                <c:pt idx="508">
                  <c:v>0.9997852025371338</c:v>
                </c:pt>
                <c:pt idx="509">
                  <c:v>0.9997902649932731</c:v>
                </c:pt>
                <c:pt idx="510">
                  <c:v>0.9997952923422269</c:v>
                </c:pt>
                <c:pt idx="511">
                  <c:v>0.9998002775625582</c:v>
                </c:pt>
                <c:pt idx="512">
                  <c:v>0.9998147674682254</c:v>
                </c:pt>
                <c:pt idx="513">
                  <c:v>0.9998192518260446</c:v>
                </c:pt>
                <c:pt idx="514">
                  <c:v>0.9998236940552412</c:v>
                </c:pt>
                <c:pt idx="515">
                  <c:v>0.9998323912753121</c:v>
                </c:pt>
                <c:pt idx="516">
                  <c:v>0.999845069650211</c:v>
                </c:pt>
                <c:pt idx="517">
                  <c:v>0.9998533877126794</c:v>
                </c:pt>
                <c:pt idx="518">
                  <c:v>0.9998573641865494</c:v>
                </c:pt>
                <c:pt idx="519">
                  <c:v>0.9998611417197019</c:v>
                </c:pt>
                <c:pt idx="520">
                  <c:v>0.9998648794647108</c:v>
                </c:pt>
                <c:pt idx="521">
                  <c:v>0.9998684276309184</c:v>
                </c:pt>
                <c:pt idx="522">
                  <c:v>0.999871882177965</c:v>
                </c:pt>
                <c:pt idx="523">
                  <c:v>0.999875299277347</c:v>
                </c:pt>
                <c:pt idx="524">
                  <c:v>0.9998786765885855</c:v>
                </c:pt>
                <c:pt idx="525">
                  <c:v>0.9998820421974289</c:v>
                </c:pt>
                <c:pt idx="526">
                  <c:v>0.999885300144237</c:v>
                </c:pt>
                <c:pt idx="527">
                  <c:v>0.999888548729129</c:v>
                </c:pt>
                <c:pt idx="528">
                  <c:v>0.9998977280878799</c:v>
                </c:pt>
                <c:pt idx="529">
                  <c:v>0.999903754821379</c:v>
                </c:pt>
                <c:pt idx="530">
                  <c:v>0.9999066476534586</c:v>
                </c:pt>
                <c:pt idx="531">
                  <c:v>0.9999094655902093</c:v>
                </c:pt>
                <c:pt idx="532">
                  <c:v>0.9999147737966466</c:v>
                </c:pt>
                <c:pt idx="533">
                  <c:v>0.9999197543360199</c:v>
                </c:pt>
                <c:pt idx="534">
                  <c:v>0.9999244025273711</c:v>
                </c:pt>
                <c:pt idx="535">
                  <c:v>0.9999266868349033</c:v>
                </c:pt>
                <c:pt idx="536">
                  <c:v>0.9999289383757289</c:v>
                </c:pt>
                <c:pt idx="537">
                  <c:v>0.9999311477879321</c:v>
                </c:pt>
                <c:pt idx="538">
                  <c:v>0.9999355034194047</c:v>
                </c:pt>
                <c:pt idx="539">
                  <c:v>0.999937640276758</c:v>
                </c:pt>
                <c:pt idx="540">
                  <c:v>0.9999417548388907</c:v>
                </c:pt>
                <c:pt idx="541">
                  <c:v>0.9999437512675022</c:v>
                </c:pt>
                <c:pt idx="542">
                  <c:v>0.9999457430151557</c:v>
                </c:pt>
                <c:pt idx="543">
                  <c:v>0.9999476224198158</c:v>
                </c:pt>
                <c:pt idx="544">
                  <c:v>0.9999494082053147</c:v>
                </c:pt>
                <c:pt idx="545">
                  <c:v>0.9999511237764429</c:v>
                </c:pt>
                <c:pt idx="546">
                  <c:v>0.9999542155492399</c:v>
                </c:pt>
                <c:pt idx="547">
                  <c:v>0.9999599778086088</c:v>
                </c:pt>
                <c:pt idx="548">
                  <c:v>0.9999613633721939</c:v>
                </c:pt>
                <c:pt idx="549">
                  <c:v>0.9999640900302624</c:v>
                </c:pt>
                <c:pt idx="550">
                  <c:v>0.9999666458333619</c:v>
                </c:pt>
                <c:pt idx="551">
                  <c:v>0.9999678792658101</c:v>
                </c:pt>
                <c:pt idx="552">
                  <c:v>0.9999691080173002</c:v>
                </c:pt>
                <c:pt idx="553">
                  <c:v>0.9999725438405145</c:v>
                </c:pt>
                <c:pt idx="554">
                  <c:v>0.9999736274823048</c:v>
                </c:pt>
                <c:pt idx="555">
                  <c:v>0.9999746760169097</c:v>
                </c:pt>
                <c:pt idx="556">
                  <c:v>0.9999757034872033</c:v>
                </c:pt>
                <c:pt idx="557">
                  <c:v>0.9999787273861085</c:v>
                </c:pt>
                <c:pt idx="558">
                  <c:v>0.9999802861451417</c:v>
                </c:pt>
                <c:pt idx="559">
                  <c:v>0.9999824557692014</c:v>
                </c:pt>
                <c:pt idx="560">
                  <c:v>0.9999831649343471</c:v>
                </c:pt>
                <c:pt idx="561">
                  <c:v>0.9999838577161396</c:v>
                </c:pt>
                <c:pt idx="562">
                  <c:v>0.999988105685577</c:v>
                </c:pt>
                <c:pt idx="563">
                  <c:v>0.9999896901898795</c:v>
                </c:pt>
                <c:pt idx="564">
                  <c:v>0.9999925081266302</c:v>
                </c:pt>
                <c:pt idx="565">
                  <c:v>0.9999945443433853</c:v>
                </c:pt>
                <c:pt idx="566">
                  <c:v>0.9999953541491292</c:v>
                </c:pt>
                <c:pt idx="567">
                  <c:v>0.9999982867693523</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583</c:f>
              <c:strCache>
                <c:ptCount val="582"/>
                <c:pt idx="0">
                  <c:v>Caprice Des</c:v>
                </c:pt>
                <c:pt idx="1">
                  <c:v>Private Lab</c:v>
                </c:pt>
                <c:pt idx="2">
                  <c:v>Mini Babybe</c:v>
                </c:pt>
                <c:pt idx="3">
                  <c:v>Private Lab</c:v>
                </c:pt>
                <c:pt idx="4">
                  <c:v>President</c:v>
                </c:pt>
                <c:pt idx="5">
                  <c:v>Coeur De Li</c:v>
                </c:pt>
                <c:pt idx="6">
                  <c:v>Private Lab</c:v>
                </c:pt>
                <c:pt idx="7">
                  <c:v>Soignon</c:v>
                </c:pt>
                <c:pt idx="8">
                  <c:v>Caprice Des</c:v>
                </c:pt>
                <c:pt idx="9">
                  <c:v>La Vache Qu</c:v>
                </c:pt>
                <c:pt idx="10">
                  <c:v>Private Lab</c:v>
                </c:pt>
                <c:pt idx="11">
                  <c:v>Private Lab</c:v>
                </c:pt>
                <c:pt idx="12">
                  <c:v>President</c:v>
                </c:pt>
                <c:pt idx="13">
                  <c:v>Private Lab</c:v>
                </c:pt>
                <c:pt idx="14">
                  <c:v>Soignon</c:v>
                </c:pt>
                <c:pt idx="15">
                  <c:v>St Moret</c:v>
                </c:pt>
                <c:pt idx="16">
                  <c:v>Le Rustique</c:v>
                </c:pt>
                <c:pt idx="17">
                  <c:v>St Moret</c:v>
                </c:pt>
                <c:pt idx="18">
                  <c:v>All Others</c:v>
                </c:pt>
                <c:pt idx="19">
                  <c:v>Private Lab</c:v>
                </c:pt>
                <c:pt idx="20">
                  <c:v>President</c:v>
                </c:pt>
                <c:pt idx="21">
                  <c:v>La Vache Qu</c:v>
                </c:pt>
                <c:pt idx="22">
                  <c:v>St Moret</c:v>
                </c:pt>
                <c:pt idx="23">
                  <c:v>Private Lab</c:v>
                </c:pt>
                <c:pt idx="24">
                  <c:v>Coeur De Li</c:v>
                </c:pt>
                <c:pt idx="25">
                  <c:v>La Vache Qu</c:v>
                </c:pt>
                <c:pt idx="26">
                  <c:v>Private Lab</c:v>
                </c:pt>
                <c:pt idx="27">
                  <c:v>St Moret</c:v>
                </c:pt>
                <c:pt idx="28">
                  <c:v>Tartare</c:v>
                </c:pt>
                <c:pt idx="29">
                  <c:v>Mini Babybe</c:v>
                </c:pt>
                <c:pt idx="30">
                  <c:v>Private Lab</c:v>
                </c:pt>
                <c:pt idx="31">
                  <c:v>Soignon</c:v>
                </c:pt>
                <c:pt idx="32">
                  <c:v>Galbani</c:v>
                </c:pt>
                <c:pt idx="33">
                  <c:v>Kiri</c:v>
                </c:pt>
                <c:pt idx="34">
                  <c:v>Private Lab</c:v>
                </c:pt>
                <c:pt idx="35">
                  <c:v>Kiri</c:v>
                </c:pt>
                <c:pt idx="36">
                  <c:v>Galbani</c:v>
                </c:pt>
                <c:pt idx="37">
                  <c:v>Ficello</c:v>
                </c:pt>
                <c:pt idx="38">
                  <c:v>Private Lab</c:v>
                </c:pt>
                <c:pt idx="39">
                  <c:v>Galbani</c:v>
                </c:pt>
                <c:pt idx="40">
                  <c:v>Salakis</c:v>
                </c:pt>
                <c:pt idx="41">
                  <c:v>Private Lab</c:v>
                </c:pt>
                <c:pt idx="42">
                  <c:v>Private Lab</c:v>
                </c:pt>
                <c:pt idx="43">
                  <c:v>Private Lab</c:v>
                </c:pt>
                <c:pt idx="44">
                  <c:v>Private Lab</c:v>
                </c:pt>
                <c:pt idx="45">
                  <c:v>Private Lab</c:v>
                </c:pt>
                <c:pt idx="46">
                  <c:v>Private Lab</c:v>
                </c:pt>
                <c:pt idx="47">
                  <c:v>Paysan Bret</c:v>
                </c:pt>
                <c:pt idx="48">
                  <c:v>Private Lab</c:v>
                </c:pt>
                <c:pt idx="49">
                  <c:v>Istara</c:v>
                </c:pt>
                <c:pt idx="50">
                  <c:v>Private Lab</c:v>
                </c:pt>
                <c:pt idx="51">
                  <c:v>Private Lab</c:v>
                </c:pt>
                <c:pt idx="52">
                  <c:v>Boursin</c:v>
                </c:pt>
                <c:pt idx="53">
                  <c:v>St Moret</c:v>
                </c:pt>
                <c:pt idx="54">
                  <c:v>Paysan Bret</c:v>
                </c:pt>
                <c:pt idx="55">
                  <c:v>Philadelphi</c:v>
                </c:pt>
                <c:pt idx="56">
                  <c:v>Private Lab</c:v>
                </c:pt>
                <c:pt idx="57">
                  <c:v>Kiri</c:v>
                </c:pt>
                <c:pt idx="58">
                  <c:v>President</c:v>
                </c:pt>
                <c:pt idx="59">
                  <c:v>Lou Perac</c:v>
                </c:pt>
                <c:pt idx="60">
                  <c:v>Tartare</c:v>
                </c:pt>
                <c:pt idx="61">
                  <c:v>Boursin</c:v>
                </c:pt>
                <c:pt idx="62">
                  <c:v>Galbani</c:v>
                </c:pt>
                <c:pt idx="63">
                  <c:v>Private Lab</c:v>
                </c:pt>
                <c:pt idx="64">
                  <c:v>All Others</c:v>
                </c:pt>
                <c:pt idx="65">
                  <c:v>Islos</c:v>
                </c:pt>
                <c:pt idx="66">
                  <c:v>Mini Babybe</c:v>
                </c:pt>
                <c:pt idx="67">
                  <c:v>Lepetit</c:v>
                </c:pt>
                <c:pt idx="68">
                  <c:v>Caprice Des</c:v>
                </c:pt>
                <c:pt idx="69">
                  <c:v>Salakis</c:v>
                </c:pt>
                <c:pt idx="70">
                  <c:v>Galbani</c:v>
                </c:pt>
                <c:pt idx="71">
                  <c:v>President</c:v>
                </c:pt>
                <c:pt idx="72">
                  <c:v>All Others</c:v>
                </c:pt>
                <c:pt idx="73">
                  <c:v>Coeur De Li</c:v>
                </c:pt>
                <c:pt idx="74">
                  <c:v>Boursin</c:v>
                </c:pt>
                <c:pt idx="75">
                  <c:v>Private Lab</c:v>
                </c:pt>
                <c:pt idx="76">
                  <c:v>Kiri</c:v>
                </c:pt>
                <c:pt idx="77">
                  <c:v>Carre Frais</c:v>
                </c:pt>
                <c:pt idx="78">
                  <c:v>Carre Frais</c:v>
                </c:pt>
                <c:pt idx="79">
                  <c:v>Coeur De Li</c:v>
                </c:pt>
                <c:pt idx="80">
                  <c:v>Coeur De Li</c:v>
                </c:pt>
                <c:pt idx="81">
                  <c:v>Private Lab</c:v>
                </c:pt>
                <c:pt idx="82">
                  <c:v>St Moret</c:v>
                </c:pt>
                <c:pt idx="83">
                  <c:v>Private Lab</c:v>
                </c:pt>
                <c:pt idx="84">
                  <c:v>Private Lab</c:v>
                </c:pt>
                <c:pt idx="85">
                  <c:v>All Others</c:v>
                </c:pt>
                <c:pt idx="86">
                  <c:v>Private Lab</c:v>
                </c:pt>
                <c:pt idx="87">
                  <c:v>President</c:v>
                </c:pt>
                <c:pt idx="88">
                  <c:v>All Others</c:v>
                </c:pt>
                <c:pt idx="89">
                  <c:v>Galbani</c:v>
                </c:pt>
                <c:pt idx="90">
                  <c:v>President</c:v>
                </c:pt>
                <c:pt idx="91">
                  <c:v>Kiri</c:v>
                </c:pt>
                <c:pt idx="92">
                  <c:v>Salakis</c:v>
                </c:pt>
                <c:pt idx="93">
                  <c:v>Soignon</c:v>
                </c:pt>
                <c:pt idx="94">
                  <c:v>All Others</c:v>
                </c:pt>
                <c:pt idx="95">
                  <c:v>Private Lab</c:v>
                </c:pt>
                <c:pt idx="96">
                  <c:v>President</c:v>
                </c:pt>
                <c:pt idx="97">
                  <c:v>Private Lab</c:v>
                </c:pt>
                <c:pt idx="98">
                  <c:v>Casa Azzurr</c:v>
                </c:pt>
                <c:pt idx="99">
                  <c:v>Lactalis: A</c:v>
                </c:pt>
                <c:pt idx="100">
                  <c:v>All Others</c:v>
                </c:pt>
                <c:pt idx="101">
                  <c:v>Istara</c:v>
                </c:pt>
                <c:pt idx="102">
                  <c:v>Private Lab</c:v>
                </c:pt>
                <c:pt idx="103">
                  <c:v>Private Lab</c:v>
                </c:pt>
                <c:pt idx="104">
                  <c:v>La Vache Qu</c:v>
                </c:pt>
                <c:pt idx="105">
                  <c:v>Private Lab</c:v>
                </c:pt>
                <c:pt idx="106">
                  <c:v>Petit Billy</c:v>
                </c:pt>
                <c:pt idx="107">
                  <c:v>Tartare</c:v>
                </c:pt>
                <c:pt idx="108">
                  <c:v>President</c:v>
                </c:pt>
                <c:pt idx="109">
                  <c:v>La Vache Qu</c:v>
                </c:pt>
                <c:pt idx="110">
                  <c:v>St Moret</c:v>
                </c:pt>
                <c:pt idx="111">
                  <c:v>St Moret</c:v>
                </c:pt>
                <c:pt idx="112">
                  <c:v>Lactalis: A</c:v>
                </c:pt>
                <c:pt idx="113">
                  <c:v>Soignon</c:v>
                </c:pt>
                <c:pt idx="114">
                  <c:v>Private Lab</c:v>
                </c:pt>
                <c:pt idx="115">
                  <c:v>Le Rustique</c:v>
                </c:pt>
                <c:pt idx="116">
                  <c:v>Coeur De Li</c:v>
                </c:pt>
                <c:pt idx="117">
                  <c:v>Casa Azzurr</c:v>
                </c:pt>
                <c:pt idx="118">
                  <c:v>Casa Azzurr</c:v>
                </c:pt>
                <c:pt idx="119">
                  <c:v>Private Lab</c:v>
                </c:pt>
                <c:pt idx="120">
                  <c:v>Soignon</c:v>
                </c:pt>
                <c:pt idx="121">
                  <c:v>Private Lab</c:v>
                </c:pt>
                <c:pt idx="122">
                  <c:v>Casa Azzurr</c:v>
                </c:pt>
                <c:pt idx="123">
                  <c:v>Caprice Des</c:v>
                </c:pt>
                <c:pt idx="124">
                  <c:v>Ficello</c:v>
                </c:pt>
                <c:pt idx="125">
                  <c:v>Philadelphi</c:v>
                </c:pt>
                <c:pt idx="126">
                  <c:v>Private Lab</c:v>
                </c:pt>
                <c:pt idx="127">
                  <c:v>All Others</c:v>
                </c:pt>
                <c:pt idx="128">
                  <c:v>Private Lab</c:v>
                </c:pt>
                <c:pt idx="129">
                  <c:v>President</c:v>
                </c:pt>
                <c:pt idx="130">
                  <c:v>Etorki</c:v>
                </c:pt>
                <c:pt idx="131">
                  <c:v>Paysan Bret</c:v>
                </c:pt>
                <c:pt idx="132">
                  <c:v>P'Tit Louis</c:v>
                </c:pt>
                <c:pt idx="133">
                  <c:v>Ficello</c:v>
                </c:pt>
                <c:pt idx="134">
                  <c:v>Galbani</c:v>
                </c:pt>
                <c:pt idx="135">
                  <c:v>All Others</c:v>
                </c:pt>
                <c:pt idx="136">
                  <c:v>Private Lab</c:v>
                </c:pt>
                <c:pt idx="137">
                  <c:v>Private Lab</c:v>
                </c:pt>
                <c:pt idx="138">
                  <c:v>Le Rustique</c:v>
                </c:pt>
                <c:pt idx="139">
                  <c:v>All Others</c:v>
                </c:pt>
                <c:pt idx="140">
                  <c:v>Chavroux</c:v>
                </c:pt>
                <c:pt idx="141">
                  <c:v>Soignon</c:v>
                </c:pt>
                <c:pt idx="142">
                  <c:v>Lactalis: A</c:v>
                </c:pt>
                <c:pt idx="143">
                  <c:v>Casa Azzurr</c:v>
                </c:pt>
                <c:pt idx="144">
                  <c:v>Private Lab</c:v>
                </c:pt>
                <c:pt idx="145">
                  <c:v>Salakis</c:v>
                </c:pt>
                <c:pt idx="146">
                  <c:v>Boursin</c:v>
                </c:pt>
                <c:pt idx="147">
                  <c:v>Boursin</c:v>
                </c:pt>
                <c:pt idx="148">
                  <c:v>Paysan Bret</c:v>
                </c:pt>
                <c:pt idx="149">
                  <c:v>Soignon</c:v>
                </c:pt>
                <c:pt idx="150">
                  <c:v>Boursin</c:v>
                </c:pt>
                <c:pt idx="151">
                  <c:v>President</c:v>
                </c:pt>
                <c:pt idx="152">
                  <c:v>Paysan Bret</c:v>
                </c:pt>
                <c:pt idx="153">
                  <c:v>Salakis</c:v>
                </c:pt>
                <c:pt idx="154">
                  <c:v>Boursin</c:v>
                </c:pt>
                <c:pt idx="155">
                  <c:v>Private Lab</c:v>
                </c:pt>
                <c:pt idx="156">
                  <c:v>President</c:v>
                </c:pt>
                <c:pt idx="157">
                  <c:v>Tartare</c:v>
                </c:pt>
                <c:pt idx="158">
                  <c:v>Private Lab</c:v>
                </c:pt>
                <c:pt idx="159">
                  <c:v>Carre Frais</c:v>
                </c:pt>
                <c:pt idx="160">
                  <c:v>Le Brebiou</c:v>
                </c:pt>
                <c:pt idx="161">
                  <c:v>Casa Azzurr</c:v>
                </c:pt>
                <c:pt idx="162">
                  <c:v>Soignon</c:v>
                </c:pt>
                <c:pt idx="163">
                  <c:v>Private Lab</c:v>
                </c:pt>
                <c:pt idx="164">
                  <c:v>Soignon</c:v>
                </c:pt>
                <c:pt idx="165">
                  <c:v>Paysan Bret</c:v>
                </c:pt>
                <c:pt idx="166">
                  <c:v>Pave D'Affi</c:v>
                </c:pt>
                <c:pt idx="167">
                  <c:v>Private Lab</c:v>
                </c:pt>
                <c:pt idx="168">
                  <c:v>Boursin</c:v>
                </c:pt>
                <c:pt idx="169">
                  <c:v>Private Lab</c:v>
                </c:pt>
                <c:pt idx="170">
                  <c:v>La Vache Qu</c:v>
                </c:pt>
                <c:pt idx="171">
                  <c:v>Private Lab</c:v>
                </c:pt>
                <c:pt idx="172">
                  <c:v>All Others</c:v>
                </c:pt>
                <c:pt idx="173">
                  <c:v>All Others</c:v>
                </c:pt>
                <c:pt idx="174">
                  <c:v>Galbani</c:v>
                </c:pt>
                <c:pt idx="175">
                  <c:v>Mini Babybe</c:v>
                </c:pt>
                <c:pt idx="176">
                  <c:v>Etorki</c:v>
                </c:pt>
                <c:pt idx="177">
                  <c:v>Galbani</c:v>
                </c:pt>
                <c:pt idx="178">
                  <c:v>Tartare</c:v>
                </c:pt>
                <c:pt idx="179">
                  <c:v>Caprice Des</c:v>
                </c:pt>
                <c:pt idx="180">
                  <c:v>Chavroux</c:v>
                </c:pt>
                <c:pt idx="181">
                  <c:v>Private Lab</c:v>
                </c:pt>
                <c:pt idx="182">
                  <c:v>All Others</c:v>
                </c:pt>
                <c:pt idx="183">
                  <c:v>Private Lab</c:v>
                </c:pt>
                <c:pt idx="184">
                  <c:v>Soignon</c:v>
                </c:pt>
                <c:pt idx="185">
                  <c:v>Private Lab</c:v>
                </c:pt>
                <c:pt idx="186">
                  <c:v>Private Lab</c:v>
                </c:pt>
                <c:pt idx="187">
                  <c:v>Boursin</c:v>
                </c:pt>
                <c:pt idx="188">
                  <c:v>Mini Babybe</c:v>
                </c:pt>
                <c:pt idx="189">
                  <c:v>Paysan Bret</c:v>
                </c:pt>
                <c:pt idx="190">
                  <c:v>All Others</c:v>
                </c:pt>
                <c:pt idx="191">
                  <c:v>Lou Perac</c:v>
                </c:pt>
                <c:pt idx="192">
                  <c:v>Private Lab</c:v>
                </c:pt>
                <c:pt idx="193">
                  <c:v>Private Lab</c:v>
                </c:pt>
                <c:pt idx="194">
                  <c:v>All Others</c:v>
                </c:pt>
                <c:pt idx="195">
                  <c:v>Boursin</c:v>
                </c:pt>
                <c:pt idx="196">
                  <c:v>Galbani</c:v>
                </c:pt>
                <c:pt idx="197">
                  <c:v>Saint Agur</c:v>
                </c:pt>
                <c:pt idx="198">
                  <c:v>Caprice Des</c:v>
                </c:pt>
                <c:pt idx="199">
                  <c:v>Savencia: A</c:v>
                </c:pt>
                <c:pt idx="200">
                  <c:v>Le Rustique</c:v>
                </c:pt>
                <c:pt idx="201">
                  <c:v>Salakis</c:v>
                </c:pt>
                <c:pt idx="202">
                  <c:v>Caprice Des</c:v>
                </c:pt>
                <c:pt idx="203">
                  <c:v>Caprice Des</c:v>
                </c:pt>
                <c:pt idx="204">
                  <c:v>Tartare</c:v>
                </c:pt>
                <c:pt idx="205">
                  <c:v>Tartare</c:v>
                </c:pt>
                <c:pt idx="206">
                  <c:v>All Others</c:v>
                </c:pt>
                <c:pt idx="207">
                  <c:v>Private Lab</c:v>
                </c:pt>
                <c:pt idx="208">
                  <c:v>Casa Azzurr</c:v>
                </c:pt>
                <c:pt idx="209">
                  <c:v>Kiri</c:v>
                </c:pt>
                <c:pt idx="210">
                  <c:v>La Vache Qu</c:v>
                </c:pt>
                <c:pt idx="211">
                  <c:v>St Moret</c:v>
                </c:pt>
                <c:pt idx="212">
                  <c:v>Boursin</c:v>
                </c:pt>
                <c:pt idx="213">
                  <c:v>Private Lab</c:v>
                </c:pt>
                <c:pt idx="214">
                  <c:v>Private Lab</c:v>
                </c:pt>
                <c:pt idx="215">
                  <c:v>All Others</c:v>
                </c:pt>
                <c:pt idx="216">
                  <c:v>Private Lab</c:v>
                </c:pt>
                <c:pt idx="217">
                  <c:v>Paysan Bret</c:v>
                </c:pt>
                <c:pt idx="218">
                  <c:v>Casa Azzurr</c:v>
                </c:pt>
                <c:pt idx="219">
                  <c:v>Lou Perac</c:v>
                </c:pt>
                <c:pt idx="220">
                  <c:v>Private Lab</c:v>
                </c:pt>
                <c:pt idx="221">
                  <c:v>P'Tit Louis</c:v>
                </c:pt>
                <c:pt idx="222">
                  <c:v>Kiri</c:v>
                </c:pt>
                <c:pt idx="223">
                  <c:v>Lactalis: A</c:v>
                </c:pt>
                <c:pt idx="224">
                  <c:v>All Others</c:v>
                </c:pt>
                <c:pt idx="225">
                  <c:v>Soignon</c:v>
                </c:pt>
                <c:pt idx="226">
                  <c:v>Soignon</c:v>
                </c:pt>
                <c:pt idx="227">
                  <c:v>Mini Babybe</c:v>
                </c:pt>
                <c:pt idx="228">
                  <c:v>All Others</c:v>
                </c:pt>
                <c:pt idx="229">
                  <c:v>All Others</c:v>
                </c:pt>
                <c:pt idx="230">
                  <c:v>All Others</c:v>
                </c:pt>
                <c:pt idx="231">
                  <c:v>Soignon</c:v>
                </c:pt>
                <c:pt idx="232">
                  <c:v>Casa Azzurr</c:v>
                </c:pt>
                <c:pt idx="233">
                  <c:v>Islos</c:v>
                </c:pt>
                <c:pt idx="234">
                  <c:v>Kiri</c:v>
                </c:pt>
                <c:pt idx="235">
                  <c:v>All Others</c:v>
                </c:pt>
                <c:pt idx="236">
                  <c:v>Private Lab</c:v>
                </c:pt>
                <c:pt idx="237">
                  <c:v>Istara</c:v>
                </c:pt>
                <c:pt idx="238">
                  <c:v>Paysan Bret</c:v>
                </c:pt>
                <c:pt idx="239">
                  <c:v>Corsica</c:v>
                </c:pt>
                <c:pt idx="240">
                  <c:v>All Others</c:v>
                </c:pt>
                <c:pt idx="241">
                  <c:v>Paysan Bret</c:v>
                </c:pt>
                <c:pt idx="242">
                  <c:v>Kiri</c:v>
                </c:pt>
                <c:pt idx="243">
                  <c:v>Milleret: A</c:v>
                </c:pt>
                <c:pt idx="244">
                  <c:v>Etoile Du Q</c:v>
                </c:pt>
                <c:pt idx="245">
                  <c:v>Boursin</c:v>
                </c:pt>
                <c:pt idx="246">
                  <c:v>All Others</c:v>
                </c:pt>
                <c:pt idx="247">
                  <c:v>Private Lab</c:v>
                </c:pt>
                <c:pt idx="248">
                  <c:v>Galbani</c:v>
                </c:pt>
                <c:pt idx="249">
                  <c:v>Mini Babybe</c:v>
                </c:pt>
                <c:pt idx="250">
                  <c:v>Salakis</c:v>
                </c:pt>
                <c:pt idx="251">
                  <c:v>Private Lab</c:v>
                </c:pt>
                <c:pt idx="252">
                  <c:v>Mini Babybe</c:v>
                </c:pt>
                <c:pt idx="253">
                  <c:v>Soignon</c:v>
                </c:pt>
                <c:pt idx="254">
                  <c:v>Kiri</c:v>
                </c:pt>
                <c:pt idx="255">
                  <c:v>All Others</c:v>
                </c:pt>
                <c:pt idx="256">
                  <c:v>Soignon</c:v>
                </c:pt>
                <c:pt idx="257">
                  <c:v>Galbani</c:v>
                </c:pt>
                <c:pt idx="258">
                  <c:v>All Others</c:v>
                </c:pt>
                <c:pt idx="259">
                  <c:v>Private Lab</c:v>
                </c:pt>
                <c:pt idx="260">
                  <c:v>Carre Frais</c:v>
                </c:pt>
                <c:pt idx="261">
                  <c:v>Triballat N</c:v>
                </c:pt>
                <c:pt idx="262">
                  <c:v>Le Brebiou</c:v>
                </c:pt>
                <c:pt idx="263">
                  <c:v>Boursin</c:v>
                </c:pt>
                <c:pt idx="264">
                  <c:v>All Others</c:v>
                </c:pt>
                <c:pt idx="265">
                  <c:v>All Others</c:v>
                </c:pt>
                <c:pt idx="266">
                  <c:v>Galbani</c:v>
                </c:pt>
                <c:pt idx="267">
                  <c:v>Milleret: A</c:v>
                </c:pt>
                <c:pt idx="268">
                  <c:v>All Others</c:v>
                </c:pt>
                <c:pt idx="269">
                  <c:v>Triballat N</c:v>
                </c:pt>
                <c:pt idx="270">
                  <c:v>Paysan Bret</c:v>
                </c:pt>
                <c:pt idx="271">
                  <c:v>All Others</c:v>
                </c:pt>
                <c:pt idx="272">
                  <c:v>Etorki</c:v>
                </c:pt>
                <c:pt idx="273">
                  <c:v>Saint Agur</c:v>
                </c:pt>
                <c:pt idx="274">
                  <c:v>Private Lab</c:v>
                </c:pt>
                <c:pt idx="275">
                  <c:v>Islos</c:v>
                </c:pt>
                <c:pt idx="276">
                  <c:v>All Others</c:v>
                </c:pt>
                <c:pt idx="277">
                  <c:v>All Others</c:v>
                </c:pt>
                <c:pt idx="278">
                  <c:v>Boursin</c:v>
                </c:pt>
                <c:pt idx="279">
                  <c:v>Galbani</c:v>
                </c:pt>
                <c:pt idx="280">
                  <c:v>Lactalis: A</c:v>
                </c:pt>
                <c:pt idx="281">
                  <c:v>All Others</c:v>
                </c:pt>
                <c:pt idx="282">
                  <c:v>Tartare</c:v>
                </c:pt>
                <c:pt idx="283">
                  <c:v>All Others</c:v>
                </c:pt>
                <c:pt idx="284">
                  <c:v>Triballat N</c:v>
                </c:pt>
                <c:pt idx="285">
                  <c:v>Boursin</c:v>
                </c:pt>
                <c:pt idx="286">
                  <c:v>Mini Babybe</c:v>
                </c:pt>
                <c:pt idx="287">
                  <c:v>All Others</c:v>
                </c:pt>
                <c:pt idx="288">
                  <c:v>All Others</c:v>
                </c:pt>
                <c:pt idx="289">
                  <c:v>All Others</c:v>
                </c:pt>
                <c:pt idx="290">
                  <c:v>Chavroux</c:v>
                </c:pt>
                <c:pt idx="291">
                  <c:v>All Others</c:v>
                </c:pt>
                <c:pt idx="292">
                  <c:v>Lactalis: A</c:v>
                </c:pt>
                <c:pt idx="293">
                  <c:v>All Others</c:v>
                </c:pt>
                <c:pt idx="294">
                  <c:v>All Others</c:v>
                </c:pt>
                <c:pt idx="295">
                  <c:v>Chavroux</c:v>
                </c:pt>
                <c:pt idx="296">
                  <c:v>All Others</c:v>
                </c:pt>
                <c:pt idx="297">
                  <c:v>Boursin</c:v>
                </c:pt>
                <c:pt idx="298">
                  <c:v>All Others</c:v>
                </c:pt>
                <c:pt idx="299">
                  <c:v>All Others</c:v>
                </c:pt>
                <c:pt idx="300">
                  <c:v>All Others</c:v>
                </c:pt>
                <c:pt idx="301">
                  <c:v>Triballat N</c:v>
                </c:pt>
                <c:pt idx="302">
                  <c:v>All Others</c:v>
                </c:pt>
                <c:pt idx="303">
                  <c:v>All Others</c:v>
                </c:pt>
                <c:pt idx="304">
                  <c:v>Istara</c:v>
                </c:pt>
                <c:pt idx="305">
                  <c:v>All Others</c:v>
                </c:pt>
                <c:pt idx="306">
                  <c:v>All Others</c:v>
                </c:pt>
                <c:pt idx="307">
                  <c:v>Chavroux</c:v>
                </c:pt>
                <c:pt idx="308">
                  <c:v>All Others</c:v>
                </c:pt>
                <c:pt idx="309">
                  <c:v>All Others</c:v>
                </c:pt>
                <c:pt idx="310">
                  <c:v>All Others</c:v>
                </c:pt>
                <c:pt idx="311">
                  <c:v>All Others</c:v>
                </c:pt>
                <c:pt idx="312">
                  <c:v>Savencia: A</c:v>
                </c:pt>
                <c:pt idx="313">
                  <c:v>All Others</c:v>
                </c:pt>
                <c:pt idx="314">
                  <c:v>All Others</c:v>
                </c:pt>
                <c:pt idx="315">
                  <c:v>Petit Billy</c:v>
                </c:pt>
                <c:pt idx="316">
                  <c:v>All Others</c:v>
                </c:pt>
                <c:pt idx="317">
                  <c:v>All Others</c:v>
                </c:pt>
                <c:pt idx="318">
                  <c:v>All Others</c:v>
                </c:pt>
                <c:pt idx="319">
                  <c:v>Savencia: A</c:v>
                </c:pt>
                <c:pt idx="320">
                  <c:v>All Others</c:v>
                </c:pt>
                <c:pt idx="321">
                  <c:v>All Others</c:v>
                </c:pt>
                <c:pt idx="322">
                  <c:v>All Others</c:v>
                </c:pt>
                <c:pt idx="323">
                  <c:v>Private Lab</c:v>
                </c:pt>
                <c:pt idx="324">
                  <c:v>All Others</c:v>
                </c:pt>
                <c:pt idx="325">
                  <c:v>All Others</c:v>
                </c:pt>
                <c:pt idx="326">
                  <c:v>Soignon</c:v>
                </c:pt>
                <c:pt idx="327">
                  <c:v>All Others</c:v>
                </c:pt>
                <c:pt idx="328">
                  <c:v>Boursin</c:v>
                </c:pt>
                <c:pt idx="329">
                  <c:v>Boursin</c:v>
                </c:pt>
                <c:pt idx="330">
                  <c:v>All Others</c:v>
                </c:pt>
                <c:pt idx="331">
                  <c:v>All Others</c:v>
                </c:pt>
                <c:pt idx="332">
                  <c:v>President</c:v>
                </c:pt>
                <c:pt idx="333">
                  <c:v>All Others</c:v>
                </c:pt>
                <c:pt idx="334">
                  <c:v>Salakis</c:v>
                </c:pt>
                <c:pt idx="335">
                  <c:v>All Others</c:v>
                </c:pt>
                <c:pt idx="336">
                  <c:v>All Others</c:v>
                </c:pt>
                <c:pt idx="337">
                  <c:v>All Others</c:v>
                </c:pt>
                <c:pt idx="338">
                  <c:v>Entremont</c:v>
                </c:pt>
                <c:pt idx="339">
                  <c:v>All Others</c:v>
                </c:pt>
                <c:pt idx="340">
                  <c:v>All Others</c:v>
                </c:pt>
                <c:pt idx="341">
                  <c:v>Salakis</c:v>
                </c:pt>
                <c:pt idx="342">
                  <c:v>All Others</c:v>
                </c:pt>
                <c:pt idx="343">
                  <c:v>All Others</c:v>
                </c:pt>
                <c:pt idx="344">
                  <c:v>All Others</c:v>
                </c:pt>
                <c:pt idx="345">
                  <c:v>All Others</c:v>
                </c:pt>
                <c:pt idx="346">
                  <c:v>La Vache Qu</c:v>
                </c:pt>
                <c:pt idx="347">
                  <c:v>Chavroux</c:v>
                </c:pt>
                <c:pt idx="348">
                  <c:v>All Others</c:v>
                </c:pt>
                <c:pt idx="349">
                  <c:v>Mini Babybe</c:v>
                </c:pt>
                <c:pt idx="350">
                  <c:v>Entremont</c:v>
                </c:pt>
                <c:pt idx="351">
                  <c:v>All Others</c:v>
                </c:pt>
                <c:pt idx="352">
                  <c:v>All Others</c:v>
                </c:pt>
                <c:pt idx="353">
                  <c:v>All Others</c:v>
                </c:pt>
                <c:pt idx="354">
                  <c:v>All Others</c:v>
                </c:pt>
                <c:pt idx="355">
                  <c:v>Chavroux</c:v>
                </c:pt>
                <c:pt idx="356">
                  <c:v>All Others</c:v>
                </c:pt>
                <c:pt idx="357">
                  <c:v>All Others</c:v>
                </c:pt>
                <c:pt idx="358">
                  <c:v>All Others</c:v>
                </c:pt>
                <c:pt idx="359">
                  <c:v>Corsica</c:v>
                </c:pt>
                <c:pt idx="360">
                  <c:v>All Others</c:v>
                </c:pt>
                <c:pt idx="361">
                  <c:v>All Others</c:v>
                </c:pt>
                <c:pt idx="362">
                  <c:v>All Others</c:v>
                </c:pt>
                <c:pt idx="363">
                  <c:v>All Others</c:v>
                </c:pt>
                <c:pt idx="364">
                  <c:v>Mini Babybe</c:v>
                </c:pt>
                <c:pt idx="365">
                  <c:v>All Others</c:v>
                </c:pt>
                <c:pt idx="366">
                  <c:v>All Others</c:v>
                </c:pt>
                <c:pt idx="367">
                  <c:v>All Others</c:v>
                </c:pt>
                <c:pt idx="368">
                  <c:v>Casa Azzurr</c:v>
                </c:pt>
                <c:pt idx="369">
                  <c:v>All Others</c:v>
                </c:pt>
                <c:pt idx="370">
                  <c:v>All Others</c:v>
                </c:pt>
                <c:pt idx="371">
                  <c:v>All Others</c:v>
                </c:pt>
                <c:pt idx="372">
                  <c:v>All Others</c:v>
                </c:pt>
                <c:pt idx="373">
                  <c:v>All Others</c:v>
                </c:pt>
                <c:pt idx="374">
                  <c:v>All Others</c:v>
                </c:pt>
                <c:pt idx="375">
                  <c:v>Etoile Du V</c:v>
                </c:pt>
                <c:pt idx="376">
                  <c:v>All Others</c:v>
                </c:pt>
                <c:pt idx="377">
                  <c:v>All Others</c:v>
                </c:pt>
                <c:pt idx="378">
                  <c:v>Kiri</c:v>
                </c:pt>
                <c:pt idx="379">
                  <c:v>All Others</c:v>
                </c:pt>
                <c:pt idx="380">
                  <c:v>All Others</c:v>
                </c:pt>
                <c:pt idx="381">
                  <c:v>Lactalis: A</c:v>
                </c:pt>
                <c:pt idx="382">
                  <c:v>All Others</c:v>
                </c:pt>
                <c:pt idx="383">
                  <c:v>All Others</c:v>
                </c:pt>
                <c:pt idx="384">
                  <c:v>All Others</c:v>
                </c:pt>
                <c:pt idx="385">
                  <c:v>All Others</c:v>
                </c:pt>
                <c:pt idx="386">
                  <c:v>Private Lab</c:v>
                </c:pt>
                <c:pt idx="387">
                  <c:v>Lactalis: A</c:v>
                </c:pt>
                <c:pt idx="388">
                  <c:v>All Others</c:v>
                </c:pt>
                <c:pt idx="389">
                  <c:v>All Others</c:v>
                </c:pt>
                <c:pt idx="390">
                  <c:v>All Others</c:v>
                </c:pt>
                <c:pt idx="391">
                  <c:v>All Others</c:v>
                </c:pt>
                <c:pt idx="392">
                  <c:v>All Others</c:v>
                </c:pt>
                <c:pt idx="393">
                  <c:v>All Others</c:v>
                </c:pt>
                <c:pt idx="394">
                  <c:v>All Others</c:v>
                </c:pt>
                <c:pt idx="395">
                  <c:v>All Others</c:v>
                </c:pt>
                <c:pt idx="396">
                  <c:v>Entremont</c:v>
                </c:pt>
                <c:pt idx="397">
                  <c:v>All Others</c:v>
                </c:pt>
                <c:pt idx="398">
                  <c:v>All Others</c:v>
                </c:pt>
                <c:pt idx="399">
                  <c:v>All Others</c:v>
                </c:pt>
                <c:pt idx="400">
                  <c:v>All Others</c:v>
                </c:pt>
                <c:pt idx="401">
                  <c:v>All Others</c:v>
                </c:pt>
                <c:pt idx="402">
                  <c:v>All Others</c:v>
                </c:pt>
                <c:pt idx="403">
                  <c:v>All Others</c:v>
                </c:pt>
                <c:pt idx="404">
                  <c:v>All Others</c:v>
                </c:pt>
                <c:pt idx="405">
                  <c:v>All Others</c:v>
                </c:pt>
                <c:pt idx="406">
                  <c:v>All Others</c:v>
                </c:pt>
                <c:pt idx="407">
                  <c:v>All Others</c:v>
                </c:pt>
                <c:pt idx="408">
                  <c:v>All Others</c:v>
                </c:pt>
                <c:pt idx="409">
                  <c:v>All Others</c:v>
                </c:pt>
                <c:pt idx="410">
                  <c:v>All Others</c:v>
                </c:pt>
                <c:pt idx="411">
                  <c:v>All Others</c:v>
                </c:pt>
                <c:pt idx="412">
                  <c:v>All Others</c:v>
                </c:pt>
                <c:pt idx="413">
                  <c:v>All Others</c:v>
                </c:pt>
                <c:pt idx="414">
                  <c:v>All Others</c:v>
                </c:pt>
                <c:pt idx="415">
                  <c:v>All Others</c:v>
                </c:pt>
                <c:pt idx="416">
                  <c:v>All Others</c:v>
                </c:pt>
                <c:pt idx="417">
                  <c:v>All Others</c:v>
                </c:pt>
                <c:pt idx="418">
                  <c:v>All Others</c:v>
                </c:pt>
                <c:pt idx="419">
                  <c:v>All Others</c:v>
                </c:pt>
                <c:pt idx="420">
                  <c:v>All Others</c:v>
                </c:pt>
                <c:pt idx="421">
                  <c:v>All Others</c:v>
                </c:pt>
                <c:pt idx="422">
                  <c:v>All Others</c:v>
                </c:pt>
                <c:pt idx="423">
                  <c:v>All Others</c:v>
                </c:pt>
                <c:pt idx="424">
                  <c:v>All Others</c:v>
                </c:pt>
                <c:pt idx="425">
                  <c:v>All Others</c:v>
                </c:pt>
                <c:pt idx="426">
                  <c:v>All Others</c:v>
                </c:pt>
                <c:pt idx="427">
                  <c:v>All Others</c:v>
                </c:pt>
                <c:pt idx="428">
                  <c:v>Savencia: A</c:v>
                </c:pt>
                <c:pt idx="429">
                  <c:v>All Others</c:v>
                </c:pt>
                <c:pt idx="430">
                  <c:v>All Others</c:v>
                </c:pt>
                <c:pt idx="431">
                  <c:v>All Others</c:v>
                </c:pt>
                <c:pt idx="432">
                  <c:v>All Others</c:v>
                </c:pt>
                <c:pt idx="433">
                  <c:v>All Others</c:v>
                </c:pt>
                <c:pt idx="434">
                  <c:v>All Others</c:v>
                </c:pt>
                <c:pt idx="435">
                  <c:v>All Others</c:v>
                </c:pt>
                <c:pt idx="436">
                  <c:v>All Others</c:v>
                </c:pt>
                <c:pt idx="437">
                  <c:v>Paysan Bret</c:v>
                </c:pt>
                <c:pt idx="438">
                  <c:v>All Others</c:v>
                </c:pt>
                <c:pt idx="439">
                  <c:v>All Others</c:v>
                </c:pt>
                <c:pt idx="440">
                  <c:v>All Others</c:v>
                </c:pt>
                <c:pt idx="441">
                  <c:v>All Others</c:v>
                </c:pt>
                <c:pt idx="442">
                  <c:v>All Others</c:v>
                </c:pt>
                <c:pt idx="443">
                  <c:v>All Others</c:v>
                </c:pt>
                <c:pt idx="444">
                  <c:v>All Others</c:v>
                </c:pt>
                <c:pt idx="445">
                  <c:v>All Others</c:v>
                </c:pt>
                <c:pt idx="446">
                  <c:v>All Others</c:v>
                </c:pt>
                <c:pt idx="447">
                  <c:v>All Others</c:v>
                </c:pt>
                <c:pt idx="448">
                  <c:v>All Others</c:v>
                </c:pt>
                <c:pt idx="449">
                  <c:v>All Others</c:v>
                </c:pt>
                <c:pt idx="450">
                  <c:v>All Others</c:v>
                </c:pt>
                <c:pt idx="451">
                  <c:v>All Others</c:v>
                </c:pt>
                <c:pt idx="452">
                  <c:v>All Others</c:v>
                </c:pt>
                <c:pt idx="453">
                  <c:v>All Others</c:v>
                </c:pt>
                <c:pt idx="454">
                  <c:v>All Others</c:v>
                </c:pt>
                <c:pt idx="455">
                  <c:v>All Others</c:v>
                </c:pt>
                <c:pt idx="456">
                  <c:v>All Others</c:v>
                </c:pt>
                <c:pt idx="457">
                  <c:v>Savencia: A</c:v>
                </c:pt>
                <c:pt idx="458">
                  <c:v>All Others</c:v>
                </c:pt>
                <c:pt idx="459">
                  <c:v>All Others</c:v>
                </c:pt>
                <c:pt idx="460">
                  <c:v>All Others</c:v>
                </c:pt>
                <c:pt idx="461">
                  <c:v>All Others</c:v>
                </c:pt>
                <c:pt idx="462">
                  <c:v>All Others</c:v>
                </c:pt>
                <c:pt idx="463">
                  <c:v>All Others</c:v>
                </c:pt>
                <c:pt idx="464">
                  <c:v>All Others</c:v>
                </c:pt>
                <c:pt idx="465">
                  <c:v>All Others</c:v>
                </c:pt>
                <c:pt idx="466">
                  <c:v>All Others</c:v>
                </c:pt>
                <c:pt idx="467">
                  <c:v>All Others</c:v>
                </c:pt>
                <c:pt idx="468">
                  <c:v>All Others</c:v>
                </c:pt>
                <c:pt idx="469">
                  <c:v>All Others</c:v>
                </c:pt>
                <c:pt idx="470">
                  <c:v>All Others</c:v>
                </c:pt>
                <c:pt idx="471">
                  <c:v>All Others</c:v>
                </c:pt>
                <c:pt idx="472">
                  <c:v>All Others</c:v>
                </c:pt>
                <c:pt idx="473">
                  <c:v>All Others</c:v>
                </c:pt>
                <c:pt idx="474">
                  <c:v>All Others</c:v>
                </c:pt>
                <c:pt idx="475">
                  <c:v>All Others</c:v>
                </c:pt>
                <c:pt idx="476">
                  <c:v>All Others</c:v>
                </c:pt>
                <c:pt idx="477">
                  <c:v>All Others</c:v>
                </c:pt>
                <c:pt idx="478">
                  <c:v>All Others</c:v>
                </c:pt>
                <c:pt idx="479">
                  <c:v>All Others</c:v>
                </c:pt>
                <c:pt idx="480">
                  <c:v>All Others</c:v>
                </c:pt>
                <c:pt idx="481">
                  <c:v>All Others</c:v>
                </c:pt>
                <c:pt idx="482">
                  <c:v>Lactalis: A</c:v>
                </c:pt>
                <c:pt idx="483">
                  <c:v>All Others</c:v>
                </c:pt>
                <c:pt idx="484">
                  <c:v>All Others</c:v>
                </c:pt>
                <c:pt idx="485">
                  <c:v>All Others</c:v>
                </c:pt>
                <c:pt idx="486">
                  <c:v>Lactalis: A</c:v>
                </c:pt>
                <c:pt idx="487">
                  <c:v>All Others</c:v>
                </c:pt>
                <c:pt idx="488">
                  <c:v>All Others</c:v>
                </c:pt>
                <c:pt idx="489">
                  <c:v>All Others</c:v>
                </c:pt>
                <c:pt idx="490">
                  <c:v>All Others</c:v>
                </c:pt>
                <c:pt idx="491">
                  <c:v>All Others</c:v>
                </c:pt>
                <c:pt idx="492">
                  <c:v>All Others</c:v>
                </c:pt>
                <c:pt idx="493">
                  <c:v>All Others</c:v>
                </c:pt>
                <c:pt idx="494">
                  <c:v>All Others</c:v>
                </c:pt>
                <c:pt idx="495">
                  <c:v>All Others</c:v>
                </c:pt>
                <c:pt idx="496">
                  <c:v>All Others</c:v>
                </c:pt>
                <c:pt idx="497">
                  <c:v>All Others</c:v>
                </c:pt>
                <c:pt idx="498">
                  <c:v>All Others</c:v>
                </c:pt>
                <c:pt idx="499">
                  <c:v>All Others</c:v>
                </c:pt>
                <c:pt idx="500">
                  <c:v>All Others</c:v>
                </c:pt>
                <c:pt idx="501">
                  <c:v>All Others</c:v>
                </c:pt>
                <c:pt idx="502">
                  <c:v>All Others</c:v>
                </c:pt>
                <c:pt idx="503">
                  <c:v>All Others</c:v>
                </c:pt>
                <c:pt idx="504">
                  <c:v>All Others</c:v>
                </c:pt>
                <c:pt idx="505">
                  <c:v>All Others</c:v>
                </c:pt>
                <c:pt idx="506">
                  <c:v>All Others</c:v>
                </c:pt>
                <c:pt idx="507">
                  <c:v>All Others</c:v>
                </c:pt>
                <c:pt idx="508">
                  <c:v>All Others</c:v>
                </c:pt>
                <c:pt idx="509">
                  <c:v>All Others</c:v>
                </c:pt>
                <c:pt idx="510">
                  <c:v>Etoile Du V</c:v>
                </c:pt>
                <c:pt idx="511">
                  <c:v>All Others</c:v>
                </c:pt>
                <c:pt idx="512">
                  <c:v>All Others</c:v>
                </c:pt>
                <c:pt idx="513">
                  <c:v>All Others</c:v>
                </c:pt>
                <c:pt idx="514">
                  <c:v>All Others</c:v>
                </c:pt>
                <c:pt idx="515">
                  <c:v>All Others</c:v>
                </c:pt>
                <c:pt idx="516">
                  <c:v>All Others</c:v>
                </c:pt>
                <c:pt idx="517">
                  <c:v>All Others</c:v>
                </c:pt>
                <c:pt idx="518">
                  <c:v>All Others</c:v>
                </c:pt>
                <c:pt idx="519">
                  <c:v>All Others</c:v>
                </c:pt>
                <c:pt idx="520">
                  <c:v>All Others</c:v>
                </c:pt>
                <c:pt idx="521">
                  <c:v>All Others</c:v>
                </c:pt>
                <c:pt idx="522">
                  <c:v>All Others</c:v>
                </c:pt>
                <c:pt idx="523">
                  <c:v>All Others</c:v>
                </c:pt>
                <c:pt idx="524">
                  <c:v>All Others</c:v>
                </c:pt>
                <c:pt idx="525">
                  <c:v>All Others</c:v>
                </c:pt>
                <c:pt idx="526">
                  <c:v>All Others</c:v>
                </c:pt>
                <c:pt idx="527">
                  <c:v>All Others</c:v>
                </c:pt>
                <c:pt idx="528">
                  <c:v>All Others</c:v>
                </c:pt>
                <c:pt idx="529">
                  <c:v>All Others</c:v>
                </c:pt>
                <c:pt idx="530">
                  <c:v>Etoile Du V</c:v>
                </c:pt>
                <c:pt idx="531">
                  <c:v>All Others</c:v>
                </c:pt>
                <c:pt idx="532">
                  <c:v>All Others</c:v>
                </c:pt>
                <c:pt idx="533">
                  <c:v>All Others</c:v>
                </c:pt>
                <c:pt idx="534">
                  <c:v>All Others</c:v>
                </c:pt>
                <c:pt idx="535">
                  <c:v>All Others</c:v>
                </c:pt>
                <c:pt idx="536">
                  <c:v>All Others</c:v>
                </c:pt>
                <c:pt idx="537">
                  <c:v>All Others</c:v>
                </c:pt>
                <c:pt idx="538">
                  <c:v>All Others</c:v>
                </c:pt>
                <c:pt idx="539">
                  <c:v>All Others</c:v>
                </c:pt>
                <c:pt idx="540">
                  <c:v>All Others</c:v>
                </c:pt>
                <c:pt idx="541">
                  <c:v>All Others</c:v>
                </c:pt>
                <c:pt idx="542">
                  <c:v>All Others</c:v>
                </c:pt>
                <c:pt idx="543">
                  <c:v>La Vache Qu</c:v>
                </c:pt>
                <c:pt idx="544">
                  <c:v>All Others</c:v>
                </c:pt>
                <c:pt idx="545">
                  <c:v>All Others</c:v>
                </c:pt>
                <c:pt idx="546">
                  <c:v>All Others</c:v>
                </c:pt>
                <c:pt idx="547">
                  <c:v>Private Lab</c:v>
                </c:pt>
                <c:pt idx="548">
                  <c:v>All Others</c:v>
                </c:pt>
                <c:pt idx="549">
                  <c:v>All Others</c:v>
                </c:pt>
                <c:pt idx="550">
                  <c:v>All Others</c:v>
                </c:pt>
                <c:pt idx="551">
                  <c:v>All Others</c:v>
                </c:pt>
                <c:pt idx="552">
                  <c:v>All Others</c:v>
                </c:pt>
                <c:pt idx="553">
                  <c:v>All Others</c:v>
                </c:pt>
                <c:pt idx="554">
                  <c:v>All Others</c:v>
                </c:pt>
                <c:pt idx="555">
                  <c:v>All Others</c:v>
                </c:pt>
                <c:pt idx="556">
                  <c:v>All Others</c:v>
                </c:pt>
                <c:pt idx="557">
                  <c:v>All Others</c:v>
                </c:pt>
                <c:pt idx="558">
                  <c:v>All Others</c:v>
                </c:pt>
                <c:pt idx="559">
                  <c:v>All Others</c:v>
                </c:pt>
                <c:pt idx="560">
                  <c:v>Private Lab</c:v>
                </c:pt>
                <c:pt idx="561">
                  <c:v>All Others</c:v>
                </c:pt>
                <c:pt idx="562">
                  <c:v>All Others</c:v>
                </c:pt>
                <c:pt idx="563">
                  <c:v>All Others</c:v>
                </c:pt>
                <c:pt idx="564">
                  <c:v>Private Lab</c:v>
                </c:pt>
                <c:pt idx="565">
                  <c:v>Lactalis: A</c:v>
                </c:pt>
                <c:pt idx="566">
                  <c:v>All Others</c:v>
                </c:pt>
                <c:pt idx="567">
                  <c:v>Lactalis: A</c:v>
                </c:pt>
                <c:pt idx="568">
                  <c:v>All Others</c:v>
                </c:pt>
                <c:pt idx="569">
                  <c:v>All Others</c:v>
                </c:pt>
                <c:pt idx="570">
                  <c:v>All Others</c:v>
                </c:pt>
                <c:pt idx="571">
                  <c:v>All Others</c:v>
                </c:pt>
                <c:pt idx="572">
                  <c:v>Gillot</c:v>
                </c:pt>
                <c:pt idx="573">
                  <c:v>All Others</c:v>
                </c:pt>
                <c:pt idx="574">
                  <c:v>Private Lab</c:v>
                </c:pt>
                <c:pt idx="575">
                  <c:v>All Others</c:v>
                </c:pt>
                <c:pt idx="576">
                  <c:v>All Others</c:v>
                </c:pt>
                <c:pt idx="577">
                  <c:v>All Others</c:v>
                </c:pt>
                <c:pt idx="578">
                  <c:v>Private Lab</c:v>
                </c:pt>
                <c:pt idx="579">
                  <c:v>President</c:v>
                </c:pt>
                <c:pt idx="580">
                  <c:v>All Others</c:v>
                </c:pt>
                <c:pt idx="581">
                  <c:v>All Others</c:v>
                </c:pt>
              </c:strCache>
            </c:strRef>
          </c:cat>
          <c:val>
            <c:numRef>
              <c:f>Sheet1!$B$2:$B$583</c:f>
              <c:numCache>
                <c:formatCode>General</c:formatCode>
                <c:ptCount val="582"/>
                <c:pt idx="0">
                  <c:v>1.0</c:v>
                </c:pt>
                <c:pt idx="1">
                  <c:v>1.0</c:v>
                </c:pt>
                <c:pt idx="2">
                  <c:v>1.0</c:v>
                </c:pt>
                <c:pt idx="3">
                  <c:v>1.0</c:v>
                </c:pt>
                <c:pt idx="4">
                  <c:v>1.0</c:v>
                </c:pt>
                <c:pt idx="5">
                  <c:v>1.0</c:v>
                </c:pt>
                <c:pt idx="6">
                  <c:v>1.0</c:v>
                </c:pt>
                <c:pt idx="7">
                  <c:v>1.0</c:v>
                </c:pt>
                <c:pt idx="8">
                  <c:v>1.0</c:v>
                </c:pt>
                <c:pt idx="9">
                  <c:v>0.99</c:v>
                </c:pt>
                <c:pt idx="10">
                  <c:v>1.0</c:v>
                </c:pt>
                <c:pt idx="11">
                  <c:v>0.99</c:v>
                </c:pt>
                <c:pt idx="12">
                  <c:v>1.0</c:v>
                </c:pt>
                <c:pt idx="13">
                  <c:v>0.99</c:v>
                </c:pt>
                <c:pt idx="14">
                  <c:v>1.0</c:v>
                </c:pt>
                <c:pt idx="15">
                  <c:v>1.0</c:v>
                </c:pt>
                <c:pt idx="16">
                  <c:v>1.0</c:v>
                </c:pt>
                <c:pt idx="17">
                  <c:v>1.0</c:v>
                </c:pt>
                <c:pt idx="18">
                  <c:v>1.0</c:v>
                </c:pt>
                <c:pt idx="19">
                  <c:v>1.0</c:v>
                </c:pt>
                <c:pt idx="20">
                  <c:v>1.0</c:v>
                </c:pt>
                <c:pt idx="21">
                  <c:v>1.0</c:v>
                </c:pt>
                <c:pt idx="22">
                  <c:v>1.0</c:v>
                </c:pt>
                <c:pt idx="23">
                  <c:v>1.0</c:v>
                </c:pt>
                <c:pt idx="24">
                  <c:v>1.0</c:v>
                </c:pt>
                <c:pt idx="25">
                  <c:v>1.0</c:v>
                </c:pt>
                <c:pt idx="26">
                  <c:v>1.0</c:v>
                </c:pt>
                <c:pt idx="27">
                  <c:v>1.0</c:v>
                </c:pt>
                <c:pt idx="28">
                  <c:v>1.0</c:v>
                </c:pt>
                <c:pt idx="29">
                  <c:v>1.0</c:v>
                </c:pt>
                <c:pt idx="30">
                  <c:v>0.99</c:v>
                </c:pt>
                <c:pt idx="31">
                  <c:v>1.0</c:v>
                </c:pt>
                <c:pt idx="32">
                  <c:v>1.0</c:v>
                </c:pt>
                <c:pt idx="33">
                  <c:v>0.99</c:v>
                </c:pt>
                <c:pt idx="34">
                  <c:v>1.0</c:v>
                </c:pt>
                <c:pt idx="35">
                  <c:v>1.0</c:v>
                </c:pt>
                <c:pt idx="36">
                  <c:v>0.99</c:v>
                </c:pt>
                <c:pt idx="37">
                  <c:v>0.99</c:v>
                </c:pt>
                <c:pt idx="38">
                  <c:v>0.99</c:v>
                </c:pt>
                <c:pt idx="39">
                  <c:v>0.98</c:v>
                </c:pt>
                <c:pt idx="40">
                  <c:v>0.99</c:v>
                </c:pt>
                <c:pt idx="41">
                  <c:v>0.99</c:v>
                </c:pt>
                <c:pt idx="42">
                  <c:v>0.99</c:v>
                </c:pt>
                <c:pt idx="43">
                  <c:v>1.0</c:v>
                </c:pt>
                <c:pt idx="44">
                  <c:v>1.0</c:v>
                </c:pt>
                <c:pt idx="45">
                  <c:v>1.0</c:v>
                </c:pt>
                <c:pt idx="46">
                  <c:v>1.0</c:v>
                </c:pt>
                <c:pt idx="47">
                  <c:v>1.0</c:v>
                </c:pt>
                <c:pt idx="48">
                  <c:v>0.99</c:v>
                </c:pt>
                <c:pt idx="49">
                  <c:v>1.0</c:v>
                </c:pt>
                <c:pt idx="50">
                  <c:v>1.0</c:v>
                </c:pt>
                <c:pt idx="51">
                  <c:v>1.0</c:v>
                </c:pt>
                <c:pt idx="52">
                  <c:v>1.0</c:v>
                </c:pt>
                <c:pt idx="53">
                  <c:v>1.0</c:v>
                </c:pt>
                <c:pt idx="54">
                  <c:v>0.99</c:v>
                </c:pt>
                <c:pt idx="55">
                  <c:v>0.98</c:v>
                </c:pt>
                <c:pt idx="56">
                  <c:v>1.0</c:v>
                </c:pt>
                <c:pt idx="57">
                  <c:v>0.99</c:v>
                </c:pt>
                <c:pt idx="58">
                  <c:v>1.0</c:v>
                </c:pt>
                <c:pt idx="59">
                  <c:v>1.0</c:v>
                </c:pt>
                <c:pt idx="60">
                  <c:v>1.0</c:v>
                </c:pt>
                <c:pt idx="61">
                  <c:v>1.0</c:v>
                </c:pt>
                <c:pt idx="62">
                  <c:v>0.99</c:v>
                </c:pt>
                <c:pt idx="63">
                  <c:v>1.0</c:v>
                </c:pt>
                <c:pt idx="64">
                  <c:v>0.99</c:v>
                </c:pt>
                <c:pt idx="65">
                  <c:v>0.98</c:v>
                </c:pt>
                <c:pt idx="66">
                  <c:v>0.98</c:v>
                </c:pt>
                <c:pt idx="67">
                  <c:v>0.99</c:v>
                </c:pt>
                <c:pt idx="68">
                  <c:v>0.99</c:v>
                </c:pt>
                <c:pt idx="69">
                  <c:v>1.0</c:v>
                </c:pt>
                <c:pt idx="70">
                  <c:v>0.99</c:v>
                </c:pt>
                <c:pt idx="71">
                  <c:v>1.0</c:v>
                </c:pt>
                <c:pt idx="72">
                  <c:v>0.66</c:v>
                </c:pt>
                <c:pt idx="73">
                  <c:v>1.0</c:v>
                </c:pt>
                <c:pt idx="74">
                  <c:v>1.0</c:v>
                </c:pt>
                <c:pt idx="75">
                  <c:v>1.0</c:v>
                </c:pt>
                <c:pt idx="76">
                  <c:v>1.0</c:v>
                </c:pt>
                <c:pt idx="77">
                  <c:v>0.99</c:v>
                </c:pt>
                <c:pt idx="78">
                  <c:v>1.0</c:v>
                </c:pt>
                <c:pt idx="79">
                  <c:v>1.0</c:v>
                </c:pt>
                <c:pt idx="80">
                  <c:v>0.99</c:v>
                </c:pt>
                <c:pt idx="81">
                  <c:v>1.0</c:v>
                </c:pt>
                <c:pt idx="82">
                  <c:v>1.0</c:v>
                </c:pt>
                <c:pt idx="83">
                  <c:v>0.98</c:v>
                </c:pt>
                <c:pt idx="84">
                  <c:v>1.0</c:v>
                </c:pt>
                <c:pt idx="85">
                  <c:v>0.97</c:v>
                </c:pt>
                <c:pt idx="86">
                  <c:v>0.98</c:v>
                </c:pt>
                <c:pt idx="87">
                  <c:v>0.99</c:v>
                </c:pt>
                <c:pt idx="88">
                  <c:v>0.97</c:v>
                </c:pt>
                <c:pt idx="89">
                  <c:v>0.99</c:v>
                </c:pt>
                <c:pt idx="90">
                  <c:v>0.99</c:v>
                </c:pt>
                <c:pt idx="91">
                  <c:v>1.0</c:v>
                </c:pt>
                <c:pt idx="92">
                  <c:v>0.99</c:v>
                </c:pt>
                <c:pt idx="93">
                  <c:v>1.0</c:v>
                </c:pt>
                <c:pt idx="94">
                  <c:v>0.99</c:v>
                </c:pt>
                <c:pt idx="95">
                  <c:v>1.0</c:v>
                </c:pt>
                <c:pt idx="96">
                  <c:v>0.94</c:v>
                </c:pt>
                <c:pt idx="97">
                  <c:v>0.95</c:v>
                </c:pt>
                <c:pt idx="98">
                  <c:v>0.98</c:v>
                </c:pt>
                <c:pt idx="99">
                  <c:v>0.98</c:v>
                </c:pt>
                <c:pt idx="100">
                  <c:v>0.98</c:v>
                </c:pt>
                <c:pt idx="101">
                  <c:v>0.97</c:v>
                </c:pt>
                <c:pt idx="102">
                  <c:v>1.0</c:v>
                </c:pt>
                <c:pt idx="103">
                  <c:v>0.85</c:v>
                </c:pt>
                <c:pt idx="104">
                  <c:v>0.98</c:v>
                </c:pt>
                <c:pt idx="105">
                  <c:v>0.98</c:v>
                </c:pt>
                <c:pt idx="106">
                  <c:v>1.0</c:v>
                </c:pt>
                <c:pt idx="107">
                  <c:v>0.99</c:v>
                </c:pt>
                <c:pt idx="108">
                  <c:v>0.99</c:v>
                </c:pt>
                <c:pt idx="109">
                  <c:v>0.99</c:v>
                </c:pt>
                <c:pt idx="110">
                  <c:v>0.99</c:v>
                </c:pt>
                <c:pt idx="111">
                  <c:v>0.78</c:v>
                </c:pt>
                <c:pt idx="112">
                  <c:v>0.97</c:v>
                </c:pt>
                <c:pt idx="113">
                  <c:v>0.99</c:v>
                </c:pt>
                <c:pt idx="114">
                  <c:v>0.98</c:v>
                </c:pt>
                <c:pt idx="115">
                  <c:v>0.99</c:v>
                </c:pt>
                <c:pt idx="116">
                  <c:v>0.99</c:v>
                </c:pt>
                <c:pt idx="117">
                  <c:v>0.97</c:v>
                </c:pt>
                <c:pt idx="118">
                  <c:v>0.96</c:v>
                </c:pt>
                <c:pt idx="119">
                  <c:v>0.97</c:v>
                </c:pt>
                <c:pt idx="120">
                  <c:v>0.99</c:v>
                </c:pt>
                <c:pt idx="121">
                  <c:v>1.0</c:v>
                </c:pt>
                <c:pt idx="122">
                  <c:v>0.98</c:v>
                </c:pt>
                <c:pt idx="123">
                  <c:v>0.97</c:v>
                </c:pt>
                <c:pt idx="124">
                  <c:v>0.98</c:v>
                </c:pt>
                <c:pt idx="125">
                  <c:v>0.99</c:v>
                </c:pt>
                <c:pt idx="126">
                  <c:v>0.99</c:v>
                </c:pt>
                <c:pt idx="127">
                  <c:v>0.98</c:v>
                </c:pt>
                <c:pt idx="128">
                  <c:v>0.98</c:v>
                </c:pt>
                <c:pt idx="129">
                  <c:v>0.99</c:v>
                </c:pt>
                <c:pt idx="130">
                  <c:v>0.99</c:v>
                </c:pt>
                <c:pt idx="131">
                  <c:v>0.63</c:v>
                </c:pt>
                <c:pt idx="132">
                  <c:v>0.99</c:v>
                </c:pt>
                <c:pt idx="133">
                  <c:v>0.99</c:v>
                </c:pt>
                <c:pt idx="134">
                  <c:v>0.98</c:v>
                </c:pt>
                <c:pt idx="135">
                  <c:v>0.98</c:v>
                </c:pt>
                <c:pt idx="136">
                  <c:v>0.98</c:v>
                </c:pt>
                <c:pt idx="137">
                  <c:v>0.99</c:v>
                </c:pt>
                <c:pt idx="138">
                  <c:v>0.99</c:v>
                </c:pt>
                <c:pt idx="139">
                  <c:v>0.99</c:v>
                </c:pt>
                <c:pt idx="140">
                  <c:v>0.99</c:v>
                </c:pt>
                <c:pt idx="141">
                  <c:v>0.99</c:v>
                </c:pt>
                <c:pt idx="142">
                  <c:v>0.85</c:v>
                </c:pt>
                <c:pt idx="143">
                  <c:v>0.96</c:v>
                </c:pt>
                <c:pt idx="144">
                  <c:v>0.99</c:v>
                </c:pt>
                <c:pt idx="145">
                  <c:v>0.99</c:v>
                </c:pt>
                <c:pt idx="146">
                  <c:v>1.0</c:v>
                </c:pt>
                <c:pt idx="147">
                  <c:v>0.99</c:v>
                </c:pt>
                <c:pt idx="148">
                  <c:v>0.68</c:v>
                </c:pt>
                <c:pt idx="149">
                  <c:v>0.99</c:v>
                </c:pt>
                <c:pt idx="150">
                  <c:v>0.99</c:v>
                </c:pt>
                <c:pt idx="151">
                  <c:v>0.99</c:v>
                </c:pt>
                <c:pt idx="152">
                  <c:v>0.79</c:v>
                </c:pt>
                <c:pt idx="153">
                  <c:v>0.88</c:v>
                </c:pt>
                <c:pt idx="154">
                  <c:v>0.99</c:v>
                </c:pt>
                <c:pt idx="155">
                  <c:v>0.95</c:v>
                </c:pt>
                <c:pt idx="156">
                  <c:v>0.99</c:v>
                </c:pt>
                <c:pt idx="157">
                  <c:v>0.99</c:v>
                </c:pt>
                <c:pt idx="158">
                  <c:v>0.96</c:v>
                </c:pt>
                <c:pt idx="159">
                  <c:v>0.93</c:v>
                </c:pt>
                <c:pt idx="160">
                  <c:v>0.99</c:v>
                </c:pt>
                <c:pt idx="161">
                  <c:v>0.96</c:v>
                </c:pt>
                <c:pt idx="162">
                  <c:v>0.99</c:v>
                </c:pt>
                <c:pt idx="163">
                  <c:v>0.99</c:v>
                </c:pt>
                <c:pt idx="164">
                  <c:v>0.95</c:v>
                </c:pt>
                <c:pt idx="165">
                  <c:v>0.72</c:v>
                </c:pt>
                <c:pt idx="166">
                  <c:v>0.97</c:v>
                </c:pt>
                <c:pt idx="167">
                  <c:v>0.96</c:v>
                </c:pt>
                <c:pt idx="168">
                  <c:v>1.0</c:v>
                </c:pt>
                <c:pt idx="169">
                  <c:v>0.78</c:v>
                </c:pt>
                <c:pt idx="170">
                  <c:v>0.97</c:v>
                </c:pt>
                <c:pt idx="171">
                  <c:v>0.98</c:v>
                </c:pt>
                <c:pt idx="172">
                  <c:v>0.97</c:v>
                </c:pt>
                <c:pt idx="173">
                  <c:v>0.28</c:v>
                </c:pt>
                <c:pt idx="174">
                  <c:v>0.97</c:v>
                </c:pt>
                <c:pt idx="175">
                  <c:v>0.97</c:v>
                </c:pt>
                <c:pt idx="176">
                  <c:v>0.83</c:v>
                </c:pt>
                <c:pt idx="177">
                  <c:v>0.8</c:v>
                </c:pt>
                <c:pt idx="178">
                  <c:v>0.98</c:v>
                </c:pt>
                <c:pt idx="179">
                  <c:v>0.96</c:v>
                </c:pt>
                <c:pt idx="180">
                  <c:v>0.98</c:v>
                </c:pt>
                <c:pt idx="181">
                  <c:v>0.99</c:v>
                </c:pt>
                <c:pt idx="182">
                  <c:v>0.94</c:v>
                </c:pt>
                <c:pt idx="183">
                  <c:v>0.99</c:v>
                </c:pt>
                <c:pt idx="184">
                  <c:v>0.98</c:v>
                </c:pt>
                <c:pt idx="185">
                  <c:v>0.94</c:v>
                </c:pt>
                <c:pt idx="186">
                  <c:v>0.93</c:v>
                </c:pt>
                <c:pt idx="187">
                  <c:v>1.0</c:v>
                </c:pt>
                <c:pt idx="188">
                  <c:v>0.97</c:v>
                </c:pt>
                <c:pt idx="189">
                  <c:v>0.7</c:v>
                </c:pt>
                <c:pt idx="190">
                  <c:v>0.57</c:v>
                </c:pt>
                <c:pt idx="191">
                  <c:v>0.91</c:v>
                </c:pt>
                <c:pt idx="192">
                  <c:v>0.96</c:v>
                </c:pt>
                <c:pt idx="193">
                  <c:v>0.92</c:v>
                </c:pt>
                <c:pt idx="194">
                  <c:v>0.57</c:v>
                </c:pt>
                <c:pt idx="195">
                  <c:v>0.99</c:v>
                </c:pt>
                <c:pt idx="196">
                  <c:v>0.76</c:v>
                </c:pt>
                <c:pt idx="197">
                  <c:v>0.99</c:v>
                </c:pt>
                <c:pt idx="198">
                  <c:v>0.45</c:v>
                </c:pt>
                <c:pt idx="199">
                  <c:v>0.97</c:v>
                </c:pt>
                <c:pt idx="200">
                  <c:v>0.94</c:v>
                </c:pt>
                <c:pt idx="201">
                  <c:v>0.98</c:v>
                </c:pt>
                <c:pt idx="202">
                  <c:v>0.94</c:v>
                </c:pt>
                <c:pt idx="203">
                  <c:v>0.96</c:v>
                </c:pt>
                <c:pt idx="204">
                  <c:v>0.98</c:v>
                </c:pt>
                <c:pt idx="205">
                  <c:v>0.99</c:v>
                </c:pt>
                <c:pt idx="206">
                  <c:v>0.73</c:v>
                </c:pt>
                <c:pt idx="207">
                  <c:v>0.97</c:v>
                </c:pt>
                <c:pt idx="208">
                  <c:v>0.53</c:v>
                </c:pt>
                <c:pt idx="209">
                  <c:v>0.99</c:v>
                </c:pt>
                <c:pt idx="210">
                  <c:v>0.92</c:v>
                </c:pt>
                <c:pt idx="211">
                  <c:v>0.93</c:v>
                </c:pt>
                <c:pt idx="212">
                  <c:v>0.98</c:v>
                </c:pt>
                <c:pt idx="213">
                  <c:v>0.96</c:v>
                </c:pt>
                <c:pt idx="214">
                  <c:v>0.74</c:v>
                </c:pt>
                <c:pt idx="215">
                  <c:v>0.23</c:v>
                </c:pt>
                <c:pt idx="216">
                  <c:v>0.82</c:v>
                </c:pt>
                <c:pt idx="217">
                  <c:v>0.7</c:v>
                </c:pt>
                <c:pt idx="218">
                  <c:v>0.68</c:v>
                </c:pt>
                <c:pt idx="219">
                  <c:v>0.96</c:v>
                </c:pt>
                <c:pt idx="220">
                  <c:v>0.78</c:v>
                </c:pt>
                <c:pt idx="221">
                  <c:v>0.78</c:v>
                </c:pt>
                <c:pt idx="222">
                  <c:v>0.87</c:v>
                </c:pt>
                <c:pt idx="223">
                  <c:v>0.68</c:v>
                </c:pt>
                <c:pt idx="224">
                  <c:v>0.55</c:v>
                </c:pt>
                <c:pt idx="225">
                  <c:v>0.98</c:v>
                </c:pt>
                <c:pt idx="226">
                  <c:v>0.99</c:v>
                </c:pt>
                <c:pt idx="227">
                  <c:v>0.95</c:v>
                </c:pt>
                <c:pt idx="228">
                  <c:v>0.1</c:v>
                </c:pt>
                <c:pt idx="229">
                  <c:v>0.44</c:v>
                </c:pt>
                <c:pt idx="230">
                  <c:v>0.98</c:v>
                </c:pt>
                <c:pt idx="231">
                  <c:v>0.93</c:v>
                </c:pt>
                <c:pt idx="232">
                  <c:v>0.94</c:v>
                </c:pt>
                <c:pt idx="233">
                  <c:v>0.84</c:v>
                </c:pt>
                <c:pt idx="234">
                  <c:v>0.88</c:v>
                </c:pt>
                <c:pt idx="235">
                  <c:v>0.94</c:v>
                </c:pt>
                <c:pt idx="236">
                  <c:v>0.64</c:v>
                </c:pt>
                <c:pt idx="237">
                  <c:v>0.47</c:v>
                </c:pt>
                <c:pt idx="238">
                  <c:v>0.61</c:v>
                </c:pt>
                <c:pt idx="239">
                  <c:v>0.44</c:v>
                </c:pt>
                <c:pt idx="240">
                  <c:v>0.29</c:v>
                </c:pt>
                <c:pt idx="241">
                  <c:v>0.28</c:v>
                </c:pt>
                <c:pt idx="242">
                  <c:v>0.98</c:v>
                </c:pt>
                <c:pt idx="243">
                  <c:v>0.23</c:v>
                </c:pt>
                <c:pt idx="244">
                  <c:v>0.41</c:v>
                </c:pt>
                <c:pt idx="245">
                  <c:v>0.95</c:v>
                </c:pt>
                <c:pt idx="246">
                  <c:v>0.22</c:v>
                </c:pt>
                <c:pt idx="247">
                  <c:v>0.89</c:v>
                </c:pt>
                <c:pt idx="248">
                  <c:v>0.76</c:v>
                </c:pt>
                <c:pt idx="249">
                  <c:v>0.92</c:v>
                </c:pt>
                <c:pt idx="250">
                  <c:v>0.73</c:v>
                </c:pt>
                <c:pt idx="251">
                  <c:v>0.85</c:v>
                </c:pt>
                <c:pt idx="252">
                  <c:v>0.95</c:v>
                </c:pt>
                <c:pt idx="253">
                  <c:v>0.92</c:v>
                </c:pt>
                <c:pt idx="254">
                  <c:v>0.94</c:v>
                </c:pt>
                <c:pt idx="255">
                  <c:v>0.22</c:v>
                </c:pt>
                <c:pt idx="256">
                  <c:v>0.94</c:v>
                </c:pt>
                <c:pt idx="257">
                  <c:v>0.56</c:v>
                </c:pt>
                <c:pt idx="258">
                  <c:v>0.98</c:v>
                </c:pt>
                <c:pt idx="259">
                  <c:v>0.97</c:v>
                </c:pt>
                <c:pt idx="260">
                  <c:v>0.59</c:v>
                </c:pt>
                <c:pt idx="261">
                  <c:v>0.84</c:v>
                </c:pt>
                <c:pt idx="262">
                  <c:v>0.98</c:v>
                </c:pt>
                <c:pt idx="263">
                  <c:v>0.97</c:v>
                </c:pt>
                <c:pt idx="264">
                  <c:v>0.12</c:v>
                </c:pt>
                <c:pt idx="265">
                  <c:v>0.36</c:v>
                </c:pt>
                <c:pt idx="266">
                  <c:v>0.71</c:v>
                </c:pt>
                <c:pt idx="267">
                  <c:v>0.15</c:v>
                </c:pt>
                <c:pt idx="268">
                  <c:v>0.12</c:v>
                </c:pt>
                <c:pt idx="269">
                  <c:v>0.8</c:v>
                </c:pt>
                <c:pt idx="270">
                  <c:v>0.06</c:v>
                </c:pt>
                <c:pt idx="271">
                  <c:v>0.23</c:v>
                </c:pt>
                <c:pt idx="272">
                  <c:v>0.69</c:v>
                </c:pt>
                <c:pt idx="273">
                  <c:v>0.94</c:v>
                </c:pt>
                <c:pt idx="274">
                  <c:v>0.86</c:v>
                </c:pt>
                <c:pt idx="275">
                  <c:v>0.77</c:v>
                </c:pt>
                <c:pt idx="276">
                  <c:v>0.31</c:v>
                </c:pt>
                <c:pt idx="277">
                  <c:v>0.17</c:v>
                </c:pt>
                <c:pt idx="278">
                  <c:v>0.7</c:v>
                </c:pt>
                <c:pt idx="279">
                  <c:v>0.86</c:v>
                </c:pt>
                <c:pt idx="280">
                  <c:v>0.73</c:v>
                </c:pt>
                <c:pt idx="281">
                  <c:v>0.31</c:v>
                </c:pt>
                <c:pt idx="282">
                  <c:v>0.82</c:v>
                </c:pt>
                <c:pt idx="283">
                  <c:v>0.45</c:v>
                </c:pt>
                <c:pt idx="284">
                  <c:v>0.41</c:v>
                </c:pt>
                <c:pt idx="285">
                  <c:v>0.93</c:v>
                </c:pt>
                <c:pt idx="286">
                  <c:v>0.9</c:v>
                </c:pt>
                <c:pt idx="287">
                  <c:v>0.25</c:v>
                </c:pt>
                <c:pt idx="288">
                  <c:v>0.21</c:v>
                </c:pt>
                <c:pt idx="289">
                  <c:v>0.19</c:v>
                </c:pt>
                <c:pt idx="290">
                  <c:v>0.66</c:v>
                </c:pt>
                <c:pt idx="291">
                  <c:v>0.11</c:v>
                </c:pt>
                <c:pt idx="292">
                  <c:v>0.08</c:v>
                </c:pt>
                <c:pt idx="293">
                  <c:v>0.12</c:v>
                </c:pt>
                <c:pt idx="294">
                  <c:v>0.25</c:v>
                </c:pt>
                <c:pt idx="295">
                  <c:v>0.94</c:v>
                </c:pt>
                <c:pt idx="296">
                  <c:v>0.11</c:v>
                </c:pt>
                <c:pt idx="297">
                  <c:v>0.99</c:v>
                </c:pt>
                <c:pt idx="298">
                  <c:v>0.12</c:v>
                </c:pt>
                <c:pt idx="299">
                  <c:v>0.22</c:v>
                </c:pt>
                <c:pt idx="300">
                  <c:v>0.12</c:v>
                </c:pt>
                <c:pt idx="301">
                  <c:v>0.45</c:v>
                </c:pt>
                <c:pt idx="302">
                  <c:v>0.16</c:v>
                </c:pt>
                <c:pt idx="303">
                  <c:v>0.05</c:v>
                </c:pt>
                <c:pt idx="304">
                  <c:v>0.18</c:v>
                </c:pt>
                <c:pt idx="305">
                  <c:v>0.22</c:v>
                </c:pt>
                <c:pt idx="306">
                  <c:v>0.11</c:v>
                </c:pt>
                <c:pt idx="307">
                  <c:v>0.72</c:v>
                </c:pt>
                <c:pt idx="308">
                  <c:v>0.12</c:v>
                </c:pt>
                <c:pt idx="309">
                  <c:v>0.08</c:v>
                </c:pt>
                <c:pt idx="310">
                  <c:v>0.21</c:v>
                </c:pt>
                <c:pt idx="311">
                  <c:v>0.02</c:v>
                </c:pt>
                <c:pt idx="312">
                  <c:v>0.89</c:v>
                </c:pt>
                <c:pt idx="313">
                  <c:v>0.15</c:v>
                </c:pt>
                <c:pt idx="314">
                  <c:v>0.09</c:v>
                </c:pt>
                <c:pt idx="315">
                  <c:v>0.38</c:v>
                </c:pt>
                <c:pt idx="316">
                  <c:v>0.02</c:v>
                </c:pt>
                <c:pt idx="317">
                  <c:v>0.05</c:v>
                </c:pt>
                <c:pt idx="318">
                  <c:v>0.18</c:v>
                </c:pt>
                <c:pt idx="319">
                  <c:v>0.86</c:v>
                </c:pt>
                <c:pt idx="320">
                  <c:v>0.02</c:v>
                </c:pt>
                <c:pt idx="321">
                  <c:v>0.39</c:v>
                </c:pt>
                <c:pt idx="322">
                  <c:v>0.1</c:v>
                </c:pt>
                <c:pt idx="323">
                  <c:v>0.5</c:v>
                </c:pt>
                <c:pt idx="324">
                  <c:v>0.08</c:v>
                </c:pt>
                <c:pt idx="325">
                  <c:v>0.09</c:v>
                </c:pt>
                <c:pt idx="326">
                  <c:v>0.84</c:v>
                </c:pt>
                <c:pt idx="327">
                  <c:v>0.31</c:v>
                </c:pt>
                <c:pt idx="328">
                  <c:v>0.92</c:v>
                </c:pt>
                <c:pt idx="329">
                  <c:v>0.73</c:v>
                </c:pt>
                <c:pt idx="330">
                  <c:v>0.37</c:v>
                </c:pt>
                <c:pt idx="331">
                  <c:v>0.06</c:v>
                </c:pt>
                <c:pt idx="332">
                  <c:v>0.8</c:v>
                </c:pt>
                <c:pt idx="333">
                  <c:v>0.07</c:v>
                </c:pt>
                <c:pt idx="334">
                  <c:v>0.45</c:v>
                </c:pt>
                <c:pt idx="335">
                  <c:v>0.2</c:v>
                </c:pt>
                <c:pt idx="336">
                  <c:v>0.14</c:v>
                </c:pt>
                <c:pt idx="337">
                  <c:v>0.18</c:v>
                </c:pt>
                <c:pt idx="338">
                  <c:v>0.65</c:v>
                </c:pt>
                <c:pt idx="339">
                  <c:v>0.06</c:v>
                </c:pt>
                <c:pt idx="340">
                  <c:v>0.09</c:v>
                </c:pt>
                <c:pt idx="341">
                  <c:v>0.4</c:v>
                </c:pt>
                <c:pt idx="342">
                  <c:v>0.16</c:v>
                </c:pt>
                <c:pt idx="343">
                  <c:v>0.14</c:v>
                </c:pt>
                <c:pt idx="344">
                  <c:v>0.33</c:v>
                </c:pt>
                <c:pt idx="345">
                  <c:v>0.02</c:v>
                </c:pt>
                <c:pt idx="346">
                  <c:v>0.32</c:v>
                </c:pt>
                <c:pt idx="347">
                  <c:v>0.84</c:v>
                </c:pt>
                <c:pt idx="348">
                  <c:v>0.07</c:v>
                </c:pt>
                <c:pt idx="349">
                  <c:v>0.24</c:v>
                </c:pt>
                <c:pt idx="350">
                  <c:v>0.67</c:v>
                </c:pt>
                <c:pt idx="351">
                  <c:v>0.07</c:v>
                </c:pt>
                <c:pt idx="352">
                  <c:v>0.09</c:v>
                </c:pt>
                <c:pt idx="353">
                  <c:v>0.03</c:v>
                </c:pt>
                <c:pt idx="354">
                  <c:v>0.03</c:v>
                </c:pt>
                <c:pt idx="355">
                  <c:v>0.81</c:v>
                </c:pt>
                <c:pt idx="356">
                  <c:v>0.05</c:v>
                </c:pt>
                <c:pt idx="357">
                  <c:v>0.09</c:v>
                </c:pt>
                <c:pt idx="358">
                  <c:v>0.24</c:v>
                </c:pt>
                <c:pt idx="359">
                  <c:v>0.21</c:v>
                </c:pt>
                <c:pt idx="360">
                  <c:v>0.02</c:v>
                </c:pt>
                <c:pt idx="361">
                  <c:v>0.14</c:v>
                </c:pt>
                <c:pt idx="362">
                  <c:v>0.13</c:v>
                </c:pt>
                <c:pt idx="363">
                  <c:v>0.06</c:v>
                </c:pt>
                <c:pt idx="364">
                  <c:v>0.55</c:v>
                </c:pt>
                <c:pt idx="365">
                  <c:v>0.04</c:v>
                </c:pt>
                <c:pt idx="366">
                  <c:v>0.08</c:v>
                </c:pt>
                <c:pt idx="367">
                  <c:v>0.03</c:v>
                </c:pt>
                <c:pt idx="368">
                  <c:v>0.21</c:v>
                </c:pt>
                <c:pt idx="369">
                  <c:v>0.08</c:v>
                </c:pt>
                <c:pt idx="370">
                  <c:v>0.06</c:v>
                </c:pt>
                <c:pt idx="371">
                  <c:v>0.01</c:v>
                </c:pt>
                <c:pt idx="372">
                  <c:v>0.04</c:v>
                </c:pt>
                <c:pt idx="373">
                  <c:v>0.14</c:v>
                </c:pt>
                <c:pt idx="374">
                  <c:v>0.43</c:v>
                </c:pt>
                <c:pt idx="375">
                  <c:v>0.1</c:v>
                </c:pt>
                <c:pt idx="376">
                  <c:v>0.15</c:v>
                </c:pt>
                <c:pt idx="377">
                  <c:v>0.11</c:v>
                </c:pt>
                <c:pt idx="378">
                  <c:v>0.64</c:v>
                </c:pt>
                <c:pt idx="379">
                  <c:v>0.04</c:v>
                </c:pt>
                <c:pt idx="380">
                  <c:v>0.12</c:v>
                </c:pt>
                <c:pt idx="381">
                  <c:v>0.11</c:v>
                </c:pt>
                <c:pt idx="382">
                  <c:v>0.02</c:v>
                </c:pt>
                <c:pt idx="383">
                  <c:v>0.09</c:v>
                </c:pt>
                <c:pt idx="384">
                  <c:v>0.08</c:v>
                </c:pt>
                <c:pt idx="385">
                  <c:v>0.02</c:v>
                </c:pt>
                <c:pt idx="386">
                  <c:v>0.26</c:v>
                </c:pt>
                <c:pt idx="387">
                  <c:v>0.06</c:v>
                </c:pt>
                <c:pt idx="388">
                  <c:v>0.01</c:v>
                </c:pt>
                <c:pt idx="389">
                  <c:v>0.11</c:v>
                </c:pt>
                <c:pt idx="390">
                  <c:v>0.2</c:v>
                </c:pt>
                <c:pt idx="391">
                  <c:v>0.5</c:v>
                </c:pt>
                <c:pt idx="392">
                  <c:v>0.03</c:v>
                </c:pt>
                <c:pt idx="393">
                  <c:v>0.09</c:v>
                </c:pt>
                <c:pt idx="394">
                  <c:v>0.14</c:v>
                </c:pt>
                <c:pt idx="395">
                  <c:v>0.04</c:v>
                </c:pt>
                <c:pt idx="396">
                  <c:v>0.51</c:v>
                </c:pt>
                <c:pt idx="397">
                  <c:v>0.15</c:v>
                </c:pt>
                <c:pt idx="398">
                  <c:v>0.05</c:v>
                </c:pt>
                <c:pt idx="399">
                  <c:v>0.03</c:v>
                </c:pt>
                <c:pt idx="400">
                  <c:v>0.07</c:v>
                </c:pt>
                <c:pt idx="401">
                  <c:v>0.09</c:v>
                </c:pt>
                <c:pt idx="402">
                  <c:v>0.16</c:v>
                </c:pt>
                <c:pt idx="403">
                  <c:v>0.05</c:v>
                </c:pt>
                <c:pt idx="404">
                  <c:v>0.05</c:v>
                </c:pt>
                <c:pt idx="405">
                  <c:v>0.02</c:v>
                </c:pt>
                <c:pt idx="406">
                  <c:v>0.08</c:v>
                </c:pt>
                <c:pt idx="407">
                  <c:v>0.03</c:v>
                </c:pt>
                <c:pt idx="408">
                  <c:v>0.05</c:v>
                </c:pt>
                <c:pt idx="409">
                  <c:v>0.08</c:v>
                </c:pt>
                <c:pt idx="410">
                  <c:v>0.13</c:v>
                </c:pt>
                <c:pt idx="411">
                  <c:v>0.44</c:v>
                </c:pt>
                <c:pt idx="412">
                  <c:v>0.09</c:v>
                </c:pt>
                <c:pt idx="413">
                  <c:v>0.09</c:v>
                </c:pt>
                <c:pt idx="414">
                  <c:v>0.05</c:v>
                </c:pt>
                <c:pt idx="415">
                  <c:v>0.17</c:v>
                </c:pt>
                <c:pt idx="416">
                  <c:v>0.4</c:v>
                </c:pt>
                <c:pt idx="417">
                  <c:v>0.08</c:v>
                </c:pt>
                <c:pt idx="418">
                  <c:v>0.03</c:v>
                </c:pt>
                <c:pt idx="419">
                  <c:v>0.1</c:v>
                </c:pt>
                <c:pt idx="420">
                  <c:v>0.15</c:v>
                </c:pt>
                <c:pt idx="421">
                  <c:v>0.06</c:v>
                </c:pt>
                <c:pt idx="422">
                  <c:v>0.02</c:v>
                </c:pt>
                <c:pt idx="423">
                  <c:v>0.04</c:v>
                </c:pt>
                <c:pt idx="424">
                  <c:v>0.04</c:v>
                </c:pt>
                <c:pt idx="425">
                  <c:v>0.15</c:v>
                </c:pt>
                <c:pt idx="426">
                  <c:v>0.09</c:v>
                </c:pt>
                <c:pt idx="427">
                  <c:v>0.15</c:v>
                </c:pt>
                <c:pt idx="428">
                  <c:v>0.08</c:v>
                </c:pt>
                <c:pt idx="429">
                  <c:v>0.03</c:v>
                </c:pt>
                <c:pt idx="430">
                  <c:v>0.01</c:v>
                </c:pt>
                <c:pt idx="431">
                  <c:v>0.03</c:v>
                </c:pt>
                <c:pt idx="432">
                  <c:v>0.04</c:v>
                </c:pt>
                <c:pt idx="433">
                  <c:v>0.01</c:v>
                </c:pt>
                <c:pt idx="434">
                  <c:v>0.01</c:v>
                </c:pt>
                <c:pt idx="435">
                  <c:v>0.02</c:v>
                </c:pt>
                <c:pt idx="436">
                  <c:v>0.04</c:v>
                </c:pt>
                <c:pt idx="437">
                  <c:v>0.23</c:v>
                </c:pt>
                <c:pt idx="438">
                  <c:v>0.06</c:v>
                </c:pt>
                <c:pt idx="439">
                  <c:v>0.04</c:v>
                </c:pt>
                <c:pt idx="440">
                  <c:v>0.21</c:v>
                </c:pt>
                <c:pt idx="441">
                  <c:v>0.06</c:v>
                </c:pt>
                <c:pt idx="442">
                  <c:v>0.03</c:v>
                </c:pt>
                <c:pt idx="443">
                  <c:v>0.05</c:v>
                </c:pt>
                <c:pt idx="444">
                  <c:v>0.03</c:v>
                </c:pt>
                <c:pt idx="445">
                  <c:v>0.04</c:v>
                </c:pt>
                <c:pt idx="446">
                  <c:v>0.03</c:v>
                </c:pt>
                <c:pt idx="447">
                  <c:v>0.11</c:v>
                </c:pt>
                <c:pt idx="448">
                  <c:v>0.02</c:v>
                </c:pt>
                <c:pt idx="449">
                  <c:v>0.14</c:v>
                </c:pt>
                <c:pt idx="450">
                  <c:v>0.03</c:v>
                </c:pt>
                <c:pt idx="451">
                  <c:v>0.15</c:v>
                </c:pt>
                <c:pt idx="452">
                  <c:v>0.05</c:v>
                </c:pt>
                <c:pt idx="453">
                  <c:v>0.09</c:v>
                </c:pt>
                <c:pt idx="454">
                  <c:v>0.02</c:v>
                </c:pt>
                <c:pt idx="455">
                  <c:v>0.03</c:v>
                </c:pt>
                <c:pt idx="456">
                  <c:v>0.11</c:v>
                </c:pt>
                <c:pt idx="457">
                  <c:v>0.06</c:v>
                </c:pt>
                <c:pt idx="458">
                  <c:v>0.13</c:v>
                </c:pt>
                <c:pt idx="459">
                  <c:v>0.01</c:v>
                </c:pt>
                <c:pt idx="460">
                  <c:v>0.06</c:v>
                </c:pt>
                <c:pt idx="461">
                  <c:v>0.15</c:v>
                </c:pt>
                <c:pt idx="462">
                  <c:v>0.02</c:v>
                </c:pt>
                <c:pt idx="463">
                  <c:v>0.04</c:v>
                </c:pt>
                <c:pt idx="464">
                  <c:v>0.14</c:v>
                </c:pt>
                <c:pt idx="465">
                  <c:v>0.41</c:v>
                </c:pt>
                <c:pt idx="466">
                  <c:v>0.02</c:v>
                </c:pt>
                <c:pt idx="467">
                  <c:v>0.01</c:v>
                </c:pt>
                <c:pt idx="468">
                  <c:v>0.06</c:v>
                </c:pt>
                <c:pt idx="469">
                  <c:v>0.04</c:v>
                </c:pt>
                <c:pt idx="470">
                  <c:v>0.04</c:v>
                </c:pt>
                <c:pt idx="471">
                  <c:v>0.08</c:v>
                </c:pt>
                <c:pt idx="472">
                  <c:v>0.06</c:v>
                </c:pt>
                <c:pt idx="473">
                  <c:v>0.06</c:v>
                </c:pt>
                <c:pt idx="474">
                  <c:v>0.05</c:v>
                </c:pt>
                <c:pt idx="475">
                  <c:v>0.05</c:v>
                </c:pt>
                <c:pt idx="476">
                  <c:v>0.04</c:v>
                </c:pt>
                <c:pt idx="477">
                  <c:v>0.01</c:v>
                </c:pt>
                <c:pt idx="478">
                  <c:v>0.03</c:v>
                </c:pt>
                <c:pt idx="479">
                  <c:v>0.08</c:v>
                </c:pt>
                <c:pt idx="480">
                  <c:v>0.01</c:v>
                </c:pt>
                <c:pt idx="481">
                  <c:v>0.09</c:v>
                </c:pt>
                <c:pt idx="482">
                  <c:v>0.05</c:v>
                </c:pt>
                <c:pt idx="483">
                  <c:v>0.02</c:v>
                </c:pt>
                <c:pt idx="484">
                  <c:v>0.08</c:v>
                </c:pt>
                <c:pt idx="485">
                  <c:v>0.09</c:v>
                </c:pt>
                <c:pt idx="486">
                  <c:v>0.02</c:v>
                </c:pt>
                <c:pt idx="487">
                  <c:v>0.03</c:v>
                </c:pt>
                <c:pt idx="488">
                  <c:v>0.03</c:v>
                </c:pt>
                <c:pt idx="489">
                  <c:v>0.1</c:v>
                </c:pt>
                <c:pt idx="490">
                  <c:v>0.1</c:v>
                </c:pt>
                <c:pt idx="491">
                  <c:v>0.02</c:v>
                </c:pt>
                <c:pt idx="492">
                  <c:v>0.06</c:v>
                </c:pt>
                <c:pt idx="493">
                  <c:v>0.04</c:v>
                </c:pt>
                <c:pt idx="494">
                  <c:v>0.12</c:v>
                </c:pt>
                <c:pt idx="495">
                  <c:v>0.02</c:v>
                </c:pt>
                <c:pt idx="496">
                  <c:v>0.03</c:v>
                </c:pt>
                <c:pt idx="497">
                  <c:v>0.02</c:v>
                </c:pt>
                <c:pt idx="498">
                  <c:v>0.1</c:v>
                </c:pt>
                <c:pt idx="499">
                  <c:v>0.04</c:v>
                </c:pt>
                <c:pt idx="500">
                  <c:v>0.04</c:v>
                </c:pt>
                <c:pt idx="501">
                  <c:v>0.07</c:v>
                </c:pt>
                <c:pt idx="502">
                  <c:v>0.12</c:v>
                </c:pt>
                <c:pt idx="503">
                  <c:v>0.04</c:v>
                </c:pt>
                <c:pt idx="504">
                  <c:v>0.01</c:v>
                </c:pt>
                <c:pt idx="505">
                  <c:v>0.02</c:v>
                </c:pt>
                <c:pt idx="506">
                  <c:v>0.04</c:v>
                </c:pt>
                <c:pt idx="507">
                  <c:v>0.06</c:v>
                </c:pt>
                <c:pt idx="508">
                  <c:v>0.02</c:v>
                </c:pt>
                <c:pt idx="509">
                  <c:v>0.03</c:v>
                </c:pt>
                <c:pt idx="510">
                  <c:v>0.09</c:v>
                </c:pt>
                <c:pt idx="511">
                  <c:v>0.02</c:v>
                </c:pt>
                <c:pt idx="512">
                  <c:v>0.07</c:v>
                </c:pt>
                <c:pt idx="513">
                  <c:v>0.06</c:v>
                </c:pt>
                <c:pt idx="514">
                  <c:v>0.04</c:v>
                </c:pt>
                <c:pt idx="515">
                  <c:v>0.03</c:v>
                </c:pt>
                <c:pt idx="516">
                  <c:v>0.06</c:v>
                </c:pt>
                <c:pt idx="517">
                  <c:v>0.04</c:v>
                </c:pt>
                <c:pt idx="518">
                  <c:v>0.02</c:v>
                </c:pt>
                <c:pt idx="519">
                  <c:v>0.02</c:v>
                </c:pt>
                <c:pt idx="520">
                  <c:v>0.02</c:v>
                </c:pt>
                <c:pt idx="521">
                  <c:v>0.01</c:v>
                </c:pt>
                <c:pt idx="522">
                  <c:v>0.02</c:v>
                </c:pt>
                <c:pt idx="523">
                  <c:v>0.11</c:v>
                </c:pt>
                <c:pt idx="524">
                  <c:v>0.01</c:v>
                </c:pt>
                <c:pt idx="525">
                  <c:v>0.04</c:v>
                </c:pt>
                <c:pt idx="526">
                  <c:v>0.02</c:v>
                </c:pt>
                <c:pt idx="527">
                  <c:v>0.03</c:v>
                </c:pt>
                <c:pt idx="528">
                  <c:v>0.01</c:v>
                </c:pt>
                <c:pt idx="529">
                  <c:v>0.05</c:v>
                </c:pt>
                <c:pt idx="530">
                  <c:v>0.01</c:v>
                </c:pt>
                <c:pt idx="531">
                  <c:v>0.09</c:v>
                </c:pt>
                <c:pt idx="532">
                  <c:v>0.02</c:v>
                </c:pt>
                <c:pt idx="533">
                  <c:v>0.06</c:v>
                </c:pt>
                <c:pt idx="534">
                  <c:v>0.04</c:v>
                </c:pt>
                <c:pt idx="535">
                  <c:v>0.02</c:v>
                </c:pt>
                <c:pt idx="536">
                  <c:v>0.04</c:v>
                </c:pt>
                <c:pt idx="537">
                  <c:v>0.02</c:v>
                </c:pt>
                <c:pt idx="538">
                  <c:v>0.03</c:v>
                </c:pt>
                <c:pt idx="539">
                  <c:v>0.05</c:v>
                </c:pt>
                <c:pt idx="540">
                  <c:v>0.04</c:v>
                </c:pt>
                <c:pt idx="541">
                  <c:v>0.08</c:v>
                </c:pt>
                <c:pt idx="542">
                  <c:v>0.04</c:v>
                </c:pt>
                <c:pt idx="543">
                  <c:v>0.13</c:v>
                </c:pt>
                <c:pt idx="544">
                  <c:v>0.02</c:v>
                </c:pt>
                <c:pt idx="545">
                  <c:v>0.01</c:v>
                </c:pt>
                <c:pt idx="546">
                  <c:v>0.08</c:v>
                </c:pt>
                <c:pt idx="547">
                  <c:v>0.02</c:v>
                </c:pt>
                <c:pt idx="548">
                  <c:v>0.02</c:v>
                </c:pt>
                <c:pt idx="549">
                  <c:v>0.02</c:v>
                </c:pt>
                <c:pt idx="550">
                  <c:v>0.01</c:v>
                </c:pt>
                <c:pt idx="551">
                  <c:v>0.04</c:v>
                </c:pt>
                <c:pt idx="552">
                  <c:v>0.01</c:v>
                </c:pt>
                <c:pt idx="553">
                  <c:v>0.01</c:v>
                </c:pt>
                <c:pt idx="554">
                  <c:v>0.02</c:v>
                </c:pt>
                <c:pt idx="555">
                  <c:v>0.02</c:v>
                </c:pt>
                <c:pt idx="556">
                  <c:v>0.02</c:v>
                </c:pt>
                <c:pt idx="557">
                  <c:v>0.01</c:v>
                </c:pt>
                <c:pt idx="558">
                  <c:v>0.01</c:v>
                </c:pt>
                <c:pt idx="559">
                  <c:v>0.02</c:v>
                </c:pt>
                <c:pt idx="560">
                  <c:v>0.04</c:v>
                </c:pt>
                <c:pt idx="561">
                  <c:v>0.01</c:v>
                </c:pt>
                <c:pt idx="562">
                  <c:v>0.02</c:v>
                </c:pt>
                <c:pt idx="563">
                  <c:v>0.02</c:v>
                </c:pt>
                <c:pt idx="564">
                  <c:v>0.01</c:v>
                </c:pt>
                <c:pt idx="565">
                  <c:v>0.01</c:v>
                </c:pt>
                <c:pt idx="566">
                  <c:v>0.01</c:v>
                </c:pt>
                <c:pt idx="567">
                  <c:v>0.01</c:v>
                </c:pt>
                <c:pt idx="568">
                  <c:v>0.04</c:v>
                </c:pt>
                <c:pt idx="569">
                  <c:v>0.03</c:v>
                </c:pt>
                <c:pt idx="570">
                  <c:v>0.01</c:v>
                </c:pt>
                <c:pt idx="571">
                  <c:v>0.02</c:v>
                </c:pt>
                <c:pt idx="572">
                  <c:v>0.01</c:v>
                </c:pt>
                <c:pt idx="573">
                  <c:v>0.03</c:v>
                </c:pt>
                <c:pt idx="574">
                  <c:v>0.01</c:v>
                </c:pt>
                <c:pt idx="575">
                  <c:v>0.01</c:v>
                </c:pt>
                <c:pt idx="576">
                  <c:v>0.01</c:v>
                </c:pt>
                <c:pt idx="577">
                  <c:v>0.01</c:v>
                </c:pt>
                <c:pt idx="578">
                  <c:v>0.01</c:v>
                </c:pt>
                <c:pt idx="579">
                  <c:v>0.02</c:v>
                </c:pt>
                <c:pt idx="580">
                  <c:v>0.01</c:v>
                </c:pt>
                <c:pt idx="581">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Item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00A097"/>
              </a:solidFill>
            </c:spPr>
            <c:extLst>
              <c:ext xmlns:c16="http://schemas.microsoft.com/office/drawing/2014/chart" uri="{C3380CC4-5D6E-409C-BE32-E72D297353CC}">
                <c16:uniqueId val="{000000EB-2993-41DE-A2CB-63102DE87051}"/>
              </c:ext>
            </c:extLst>
          </c:dPt>
          <c:dPt>
            <c:idx val="117"/>
            <c:invertIfNegative val="1"/>
            <c:bubble3D val="0"/>
            <c:spPr>
              <a:solidFill>
                <a:srgbClr val="00A097"/>
              </a:solidFill>
            </c:spPr>
            <c:extLst>
              <c:ext xmlns:c16="http://schemas.microsoft.com/office/drawing/2014/chart" uri="{C3380CC4-5D6E-409C-BE32-E72D297353CC}">
                <c16:uniqueId val="{000000ED-2993-41DE-A2CB-63102DE87051}"/>
              </c:ext>
            </c:extLst>
          </c:dPt>
          <c:dPt>
            <c:idx val="118"/>
            <c:invertIfNegative val="1"/>
            <c:bubble3D val="0"/>
            <c:spPr>
              <a:solidFill>
                <a:srgbClr val="00A097"/>
              </a:solidFill>
            </c:spPr>
            <c:extLst>
              <c:ext xmlns:c16="http://schemas.microsoft.com/office/drawing/2014/chart" uri="{C3380CC4-5D6E-409C-BE32-E72D297353CC}">
                <c16:uniqueId val="{000000EF-2993-41DE-A2CB-63102DE87051}"/>
              </c:ext>
            </c:extLst>
          </c:dPt>
          <c:dPt>
            <c:idx val="119"/>
            <c:invertIfNegative val="1"/>
            <c:bubble3D val="0"/>
            <c:spPr>
              <a:solidFill>
                <a:srgbClr val="00A097"/>
              </a:solidFill>
            </c:spPr>
            <c:extLst>
              <c:ext xmlns:c16="http://schemas.microsoft.com/office/drawing/2014/chart" uri="{C3380CC4-5D6E-409C-BE32-E72D297353CC}">
                <c16:uniqueId val="{000000F1-2993-41DE-A2CB-63102DE87051}"/>
              </c:ext>
            </c:extLst>
          </c:dPt>
          <c:dPt>
            <c:idx val="120"/>
            <c:invertIfNegative val="1"/>
            <c:bubble3D val="0"/>
            <c:spPr>
              <a:solidFill>
                <a:srgbClr val="00A097"/>
              </a:solidFill>
            </c:spPr>
            <c:extLst>
              <c:ext xmlns:c16="http://schemas.microsoft.com/office/drawing/2014/chart" uri="{C3380CC4-5D6E-409C-BE32-E72D297353CC}">
                <c16:uniqueId val="{000000F3-2993-41DE-A2CB-63102DE87051}"/>
              </c:ext>
            </c:extLst>
          </c:dPt>
          <c:dPt>
            <c:idx val="121"/>
            <c:invertIfNegative val="1"/>
            <c:bubble3D val="0"/>
            <c:spPr>
              <a:solidFill>
                <a:srgbClr val="00A097"/>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7ECAC4"/>
              </a:solidFill>
            </c:spPr>
            <c:extLst>
              <c:ext xmlns:c16="http://schemas.microsoft.com/office/drawing/2014/chart" uri="{C3380CC4-5D6E-409C-BE32-E72D297353CC}">
                <c16:uniqueId val="{0000015D-2993-41DE-A2CB-63102DE87051}"/>
              </c:ext>
            </c:extLst>
          </c:dPt>
          <c:dPt>
            <c:idx val="174"/>
            <c:invertIfNegative val="1"/>
            <c:bubble3D val="0"/>
            <c:spPr>
              <a:solidFill>
                <a:srgbClr val="7ECAC4"/>
              </a:solidFill>
            </c:spPr>
            <c:extLst>
              <c:ext xmlns:c16="http://schemas.microsoft.com/office/drawing/2014/chart" uri="{C3380CC4-5D6E-409C-BE32-E72D297353CC}">
                <c16:uniqueId val="{0000015F-2993-41DE-A2CB-63102DE87051}"/>
              </c:ext>
            </c:extLst>
          </c:dPt>
          <c:dPt>
            <c:idx val="175"/>
            <c:invertIfNegative val="1"/>
            <c:bubble3D val="0"/>
            <c:spPr>
              <a:solidFill>
                <a:srgbClr val="7ECAC4"/>
              </a:solidFill>
            </c:spPr>
            <c:extLst>
              <c:ext xmlns:c16="http://schemas.microsoft.com/office/drawing/2014/chart" uri="{C3380CC4-5D6E-409C-BE32-E72D297353CC}">
                <c16:uniqueId val="{00000161-2993-41DE-A2CB-63102DE87051}"/>
              </c:ext>
            </c:extLst>
          </c:dPt>
          <c:dPt>
            <c:idx val="176"/>
            <c:invertIfNegative val="1"/>
            <c:bubble3D val="0"/>
            <c:spPr>
              <a:solidFill>
                <a:srgbClr val="7ECAC4"/>
              </a:solidFill>
            </c:spPr>
            <c:extLst>
              <c:ext xmlns:c16="http://schemas.microsoft.com/office/drawing/2014/chart" uri="{C3380CC4-5D6E-409C-BE32-E72D297353CC}">
                <c16:uniqueId val="{00000163-2993-41DE-A2CB-63102DE87051}"/>
              </c:ext>
            </c:extLst>
          </c:dPt>
          <c:dPt>
            <c:idx val="177"/>
            <c:invertIfNegative val="1"/>
            <c:bubble3D val="0"/>
            <c:spPr>
              <a:solidFill>
                <a:srgbClr val="7ECAC4"/>
              </a:solidFill>
            </c:spPr>
            <c:extLst>
              <c:ext xmlns:c16="http://schemas.microsoft.com/office/drawing/2014/chart" uri="{C3380CC4-5D6E-409C-BE32-E72D297353CC}">
                <c16:uniqueId val="{00000165-2993-41DE-A2CB-63102DE87051}"/>
              </c:ext>
            </c:extLst>
          </c:dPt>
          <c:dPt>
            <c:idx val="178"/>
            <c:invertIfNegative val="1"/>
            <c:bubble3D val="0"/>
            <c:spPr>
              <a:solidFill>
                <a:srgbClr val="7ECAC4"/>
              </a:solidFill>
            </c:spPr>
            <c:extLst>
              <c:ext xmlns:c16="http://schemas.microsoft.com/office/drawing/2014/chart" uri="{C3380CC4-5D6E-409C-BE32-E72D297353CC}">
                <c16:uniqueId val="{00000167-2993-41DE-A2CB-63102DE87051}"/>
              </c:ext>
            </c:extLst>
          </c:dPt>
          <c:dPt>
            <c:idx val="179"/>
            <c:invertIfNegative val="1"/>
            <c:bubble3D val="0"/>
            <c:spPr>
              <a:solidFill>
                <a:srgbClr val="7ECAC4"/>
              </a:solidFill>
            </c:spPr>
            <c:extLst>
              <c:ext xmlns:c16="http://schemas.microsoft.com/office/drawing/2014/chart" uri="{C3380CC4-5D6E-409C-BE32-E72D297353CC}">
                <c16:uniqueId val="{00000169-2993-41DE-A2CB-63102DE87051}"/>
              </c:ext>
            </c:extLst>
          </c:dPt>
          <c:dPt>
            <c:idx val="180"/>
            <c:invertIfNegative val="1"/>
            <c:bubble3D val="0"/>
            <c:spPr>
              <a:solidFill>
                <a:srgbClr val="7ECAC4"/>
              </a:solidFill>
            </c:spPr>
            <c:extLst>
              <c:ext xmlns:c16="http://schemas.microsoft.com/office/drawing/2014/chart" uri="{C3380CC4-5D6E-409C-BE32-E72D297353CC}">
                <c16:uniqueId val="{0000016B-2993-41DE-A2CB-63102DE87051}"/>
              </c:ext>
            </c:extLst>
          </c:dPt>
          <c:dPt>
            <c:idx val="181"/>
            <c:invertIfNegative val="1"/>
            <c:bubble3D val="0"/>
            <c:spPr>
              <a:solidFill>
                <a:srgbClr val="7ECAC4"/>
              </a:solidFill>
            </c:spPr>
            <c:extLst>
              <c:ext xmlns:c16="http://schemas.microsoft.com/office/drawing/2014/chart" uri="{C3380CC4-5D6E-409C-BE32-E72D297353CC}">
                <c16:uniqueId val="{0000016D-2993-41DE-A2CB-63102DE87051}"/>
              </c:ext>
            </c:extLst>
          </c:dPt>
          <c:dPt>
            <c:idx val="182"/>
            <c:invertIfNegative val="1"/>
            <c:bubble3D val="0"/>
            <c:spPr>
              <a:solidFill>
                <a:srgbClr val="7ECAC4"/>
              </a:solidFill>
            </c:spPr>
            <c:extLst>
              <c:ext xmlns:c16="http://schemas.microsoft.com/office/drawing/2014/chart" uri="{C3380CC4-5D6E-409C-BE32-E72D297353CC}">
                <c16:uniqueId val="{0000016F-2993-41DE-A2CB-63102DE87051}"/>
              </c:ext>
            </c:extLst>
          </c:dPt>
          <c:dPt>
            <c:idx val="183"/>
            <c:invertIfNegative val="1"/>
            <c:bubble3D val="0"/>
            <c:spPr>
              <a:solidFill>
                <a:srgbClr val="7ECAC4"/>
              </a:solidFill>
            </c:spPr>
            <c:extLst>
              <c:ext xmlns:c16="http://schemas.microsoft.com/office/drawing/2014/chart" uri="{C3380CC4-5D6E-409C-BE32-E72D297353CC}">
                <c16:uniqueId val="{00000171-2993-41DE-A2CB-63102DE87051}"/>
              </c:ext>
            </c:extLst>
          </c:dPt>
          <c:dPt>
            <c:idx val="184"/>
            <c:invertIfNegative val="1"/>
            <c:bubble3D val="0"/>
            <c:spPr>
              <a:solidFill>
                <a:srgbClr val="7ECAC4"/>
              </a:solidFill>
            </c:spPr>
            <c:extLst>
              <c:ext xmlns:c16="http://schemas.microsoft.com/office/drawing/2014/chart" uri="{C3380CC4-5D6E-409C-BE32-E72D297353CC}">
                <c16:uniqueId val="{00000173-2993-41DE-A2CB-63102DE87051}"/>
              </c:ext>
            </c:extLst>
          </c:dPt>
          <c:dPt>
            <c:idx val="185"/>
            <c:invertIfNegative val="1"/>
            <c:bubble3D val="0"/>
            <c:spPr>
              <a:solidFill>
                <a:srgbClr val="7ECAC4"/>
              </a:solidFill>
            </c:spPr>
            <c:extLst>
              <c:ext xmlns:c16="http://schemas.microsoft.com/office/drawing/2014/chart" uri="{C3380CC4-5D6E-409C-BE32-E72D297353CC}">
                <c16:uniqueId val="{00000175-2993-41DE-A2CB-63102DE87051}"/>
              </c:ext>
            </c:extLst>
          </c:dPt>
          <c:dPt>
            <c:idx val="186"/>
            <c:invertIfNegative val="1"/>
            <c:bubble3D val="0"/>
            <c:spPr>
              <a:solidFill>
                <a:srgbClr val="7ECAC4"/>
              </a:solidFill>
            </c:spPr>
            <c:extLst>
              <c:ext xmlns:c16="http://schemas.microsoft.com/office/drawing/2014/chart" uri="{C3380CC4-5D6E-409C-BE32-E72D297353CC}">
                <c16:uniqueId val="{00000177-2993-41DE-A2CB-63102DE87051}"/>
              </c:ext>
            </c:extLst>
          </c:dPt>
          <c:dPt>
            <c:idx val="187"/>
            <c:invertIfNegative val="1"/>
            <c:bubble3D val="0"/>
            <c:spPr>
              <a:solidFill>
                <a:srgbClr val="7ECAC4"/>
              </a:solidFill>
            </c:spPr>
            <c:extLst>
              <c:ext xmlns:c16="http://schemas.microsoft.com/office/drawing/2014/chart" uri="{C3380CC4-5D6E-409C-BE32-E72D297353CC}">
                <c16:uniqueId val="{00000179-2993-41DE-A2CB-63102DE87051}"/>
              </c:ext>
            </c:extLst>
          </c:dPt>
          <c:dPt>
            <c:idx val="188"/>
            <c:invertIfNegative val="1"/>
            <c:bubble3D val="0"/>
            <c:spPr>
              <a:solidFill>
                <a:srgbClr val="7ECAC4"/>
              </a:solidFill>
            </c:spPr>
            <c:extLst>
              <c:ext xmlns:c16="http://schemas.microsoft.com/office/drawing/2014/chart" uri="{C3380CC4-5D6E-409C-BE32-E72D297353CC}">
                <c16:uniqueId val="{0000017B-2993-41DE-A2CB-63102DE87051}"/>
              </c:ext>
            </c:extLst>
          </c:dPt>
          <c:dPt>
            <c:idx val="189"/>
            <c:invertIfNegative val="1"/>
            <c:bubble3D val="0"/>
            <c:spPr>
              <a:solidFill>
                <a:srgbClr val="7ECAC4"/>
              </a:solidFill>
            </c:spPr>
            <c:extLst>
              <c:ext xmlns:c16="http://schemas.microsoft.com/office/drawing/2014/chart" uri="{C3380CC4-5D6E-409C-BE32-E72D297353CC}">
                <c16:uniqueId val="{0000017D-2993-41DE-A2CB-63102DE87051}"/>
              </c:ext>
            </c:extLst>
          </c:dPt>
          <c:dPt>
            <c:idx val="190"/>
            <c:invertIfNegative val="1"/>
            <c:bubble3D val="0"/>
            <c:spPr>
              <a:solidFill>
                <a:srgbClr val="7ECAC4"/>
              </a:solidFill>
            </c:spPr>
            <c:extLst>
              <c:ext xmlns:c16="http://schemas.microsoft.com/office/drawing/2014/chart" uri="{C3380CC4-5D6E-409C-BE32-E72D297353CC}">
                <c16:uniqueId val="{0000017F-2993-41DE-A2CB-63102DE87051}"/>
              </c:ext>
            </c:extLst>
          </c:dPt>
          <c:dPt>
            <c:idx val="191"/>
            <c:invertIfNegative val="1"/>
            <c:bubble3D val="0"/>
            <c:spPr>
              <a:solidFill>
                <a:srgbClr val="7ECAC4"/>
              </a:solidFill>
            </c:spPr>
            <c:extLst>
              <c:ext xmlns:c16="http://schemas.microsoft.com/office/drawing/2014/chart" uri="{C3380CC4-5D6E-409C-BE32-E72D297353CC}">
                <c16:uniqueId val="{00000181-2993-41DE-A2CB-63102DE87051}"/>
              </c:ext>
            </c:extLst>
          </c:dPt>
          <c:dPt>
            <c:idx val="192"/>
            <c:invertIfNegative val="1"/>
            <c:bubble3D val="0"/>
            <c:spPr>
              <a:solidFill>
                <a:srgbClr val="7ECAC4"/>
              </a:solidFill>
            </c:spPr>
            <c:extLst>
              <c:ext xmlns:c16="http://schemas.microsoft.com/office/drawing/2014/chart" uri="{C3380CC4-5D6E-409C-BE32-E72D297353CC}">
                <c16:uniqueId val="{00000183-2993-41DE-A2CB-63102DE87051}"/>
              </c:ext>
            </c:extLst>
          </c:dPt>
          <c:dPt>
            <c:idx val="193"/>
            <c:invertIfNegative val="1"/>
            <c:bubble3D val="0"/>
            <c:spPr>
              <a:solidFill>
                <a:srgbClr val="7ECAC4"/>
              </a:solidFill>
            </c:spPr>
            <c:extLst>
              <c:ext xmlns:c16="http://schemas.microsoft.com/office/drawing/2014/chart" uri="{C3380CC4-5D6E-409C-BE32-E72D297353CC}">
                <c16:uniqueId val="{00000185-2993-41DE-A2CB-63102DE87051}"/>
              </c:ext>
            </c:extLst>
          </c:dPt>
          <c:dPt>
            <c:idx val="194"/>
            <c:invertIfNegative val="1"/>
            <c:bubble3D val="0"/>
            <c:spPr>
              <a:solidFill>
                <a:srgbClr val="7ECAC4"/>
              </a:solidFill>
            </c:spPr>
            <c:extLst>
              <c:ext xmlns:c16="http://schemas.microsoft.com/office/drawing/2014/chart" uri="{C3380CC4-5D6E-409C-BE32-E72D297353CC}">
                <c16:uniqueId val="{00000187-2993-41DE-A2CB-63102DE87051}"/>
              </c:ext>
            </c:extLst>
          </c:dPt>
          <c:dPt>
            <c:idx val="195"/>
            <c:invertIfNegative val="1"/>
            <c:bubble3D val="0"/>
            <c:spPr>
              <a:solidFill>
                <a:srgbClr val="7ECAC4"/>
              </a:solidFill>
            </c:spPr>
            <c:extLst>
              <c:ext xmlns:c16="http://schemas.microsoft.com/office/drawing/2014/chart" uri="{C3380CC4-5D6E-409C-BE32-E72D297353CC}">
                <c16:uniqueId val="{00000189-2993-41DE-A2CB-63102DE87051}"/>
              </c:ext>
            </c:extLst>
          </c:dPt>
          <c:dPt>
            <c:idx val="196"/>
            <c:invertIfNegative val="1"/>
            <c:bubble3D val="0"/>
            <c:spPr>
              <a:solidFill>
                <a:srgbClr val="7ECAC4"/>
              </a:solidFill>
            </c:spPr>
            <c:extLst>
              <c:ext xmlns:c16="http://schemas.microsoft.com/office/drawing/2014/chart" uri="{C3380CC4-5D6E-409C-BE32-E72D297353CC}">
                <c16:uniqueId val="{0000018B-2993-41DE-A2CB-63102DE87051}"/>
              </c:ext>
            </c:extLst>
          </c:dPt>
          <c:dPt>
            <c:idx val="197"/>
            <c:invertIfNegative val="1"/>
            <c:bubble3D val="0"/>
            <c:spPr>
              <a:solidFill>
                <a:srgbClr val="7ECAC4"/>
              </a:solidFill>
            </c:spPr>
            <c:extLst>
              <c:ext xmlns:c16="http://schemas.microsoft.com/office/drawing/2014/chart" uri="{C3380CC4-5D6E-409C-BE32-E72D297353CC}">
                <c16:uniqueId val="{0000018D-2993-41DE-A2CB-63102DE87051}"/>
              </c:ext>
            </c:extLst>
          </c:dPt>
          <c:dPt>
            <c:idx val="198"/>
            <c:invertIfNegative val="1"/>
            <c:bubble3D val="0"/>
            <c:spPr>
              <a:solidFill>
                <a:srgbClr val="7ECAC4"/>
              </a:solidFill>
            </c:spPr>
            <c:extLst>
              <c:ext xmlns:c16="http://schemas.microsoft.com/office/drawing/2014/chart" uri="{C3380CC4-5D6E-409C-BE32-E72D297353CC}">
                <c16:uniqueId val="{0000018F-2993-41DE-A2CB-63102DE87051}"/>
              </c:ext>
            </c:extLst>
          </c:dPt>
          <c:dPt>
            <c:idx val="199"/>
            <c:invertIfNegative val="1"/>
            <c:bubble3D val="0"/>
            <c:spPr>
              <a:solidFill>
                <a:srgbClr val="7ECAC4"/>
              </a:solidFill>
            </c:spPr>
            <c:extLst>
              <c:ext xmlns:c16="http://schemas.microsoft.com/office/drawing/2014/chart" uri="{C3380CC4-5D6E-409C-BE32-E72D297353CC}">
                <c16:uniqueId val="{00000191-2993-41DE-A2CB-63102DE87051}"/>
              </c:ext>
            </c:extLst>
          </c:dPt>
          <c:dPt>
            <c:idx val="200"/>
            <c:invertIfNegative val="1"/>
            <c:bubble3D val="0"/>
            <c:spPr>
              <a:solidFill>
                <a:srgbClr val="7ECAC4"/>
              </a:solidFill>
            </c:spPr>
            <c:extLst>
              <c:ext xmlns:c16="http://schemas.microsoft.com/office/drawing/2014/chart" uri="{C3380CC4-5D6E-409C-BE32-E72D297353CC}">
                <c16:uniqueId val="{00000193-2993-41DE-A2CB-63102DE87051}"/>
              </c:ext>
            </c:extLst>
          </c:dPt>
          <c:dPt>
            <c:idx val="201"/>
            <c:invertIfNegative val="1"/>
            <c:bubble3D val="0"/>
            <c:spPr>
              <a:solidFill>
                <a:srgbClr val="7ECAC4"/>
              </a:solidFill>
            </c:spPr>
            <c:extLst>
              <c:ext xmlns:c16="http://schemas.microsoft.com/office/drawing/2014/chart" uri="{C3380CC4-5D6E-409C-BE32-E72D297353CC}">
                <c16:uniqueId val="{00000195-2993-41DE-A2CB-63102DE87051}"/>
              </c:ext>
            </c:extLst>
          </c:dPt>
          <c:dPt>
            <c:idx val="202"/>
            <c:invertIfNegative val="1"/>
            <c:bubble3D val="0"/>
            <c:spPr>
              <a:solidFill>
                <a:srgbClr val="7ECAC4"/>
              </a:solidFill>
            </c:spPr>
            <c:extLst>
              <c:ext xmlns:c16="http://schemas.microsoft.com/office/drawing/2014/chart" uri="{C3380CC4-5D6E-409C-BE32-E72D297353CC}">
                <c16:uniqueId val="{00000197-2993-41DE-A2CB-63102DE87051}"/>
              </c:ext>
            </c:extLst>
          </c:dPt>
          <c:dPt>
            <c:idx val="203"/>
            <c:invertIfNegative val="1"/>
            <c:bubble3D val="0"/>
            <c:spPr>
              <a:solidFill>
                <a:srgbClr val="7ECAC4"/>
              </a:solidFill>
            </c:spPr>
            <c:extLst>
              <c:ext xmlns:c16="http://schemas.microsoft.com/office/drawing/2014/chart" uri="{C3380CC4-5D6E-409C-BE32-E72D297353CC}">
                <c16:uniqueId val="{00000199-2993-41DE-A2CB-63102DE87051}"/>
              </c:ext>
            </c:extLst>
          </c:dPt>
          <c:dPt>
            <c:idx val="204"/>
            <c:invertIfNegative val="1"/>
            <c:bubble3D val="0"/>
            <c:spPr>
              <a:solidFill>
                <a:srgbClr val="7ECAC4"/>
              </a:solidFill>
            </c:spPr>
            <c:extLst>
              <c:ext xmlns:c16="http://schemas.microsoft.com/office/drawing/2014/chart" uri="{C3380CC4-5D6E-409C-BE32-E72D297353CC}">
                <c16:uniqueId val="{0000019B-2993-41DE-A2CB-63102DE87051}"/>
              </c:ext>
            </c:extLst>
          </c:dPt>
          <c:dPt>
            <c:idx val="205"/>
            <c:invertIfNegative val="1"/>
            <c:bubble3D val="0"/>
            <c:spPr>
              <a:solidFill>
                <a:srgbClr val="7ECAC4"/>
              </a:solidFill>
            </c:spPr>
            <c:extLst>
              <c:ext xmlns:c16="http://schemas.microsoft.com/office/drawing/2014/chart" uri="{C3380CC4-5D6E-409C-BE32-E72D297353CC}">
                <c16:uniqueId val="{0000019D-2993-41DE-A2CB-63102DE87051}"/>
              </c:ext>
            </c:extLst>
          </c:dPt>
          <c:dPt>
            <c:idx val="206"/>
            <c:invertIfNegative val="1"/>
            <c:bubble3D val="0"/>
            <c:spPr>
              <a:solidFill>
                <a:srgbClr val="7ECAC4"/>
              </a:solidFill>
            </c:spPr>
            <c:extLst>
              <c:ext xmlns:c16="http://schemas.microsoft.com/office/drawing/2014/chart" uri="{C3380CC4-5D6E-409C-BE32-E72D297353CC}">
                <c16:uniqueId val="{0000019F-2993-41DE-A2CB-63102DE87051}"/>
              </c:ext>
            </c:extLst>
          </c:dPt>
          <c:dPt>
            <c:idx val="207"/>
            <c:invertIfNegative val="1"/>
            <c:bubble3D val="0"/>
            <c:spPr>
              <a:solidFill>
                <a:srgbClr val="7ECAC4"/>
              </a:solidFill>
            </c:spPr>
            <c:extLst>
              <c:ext xmlns:c16="http://schemas.microsoft.com/office/drawing/2014/chart" uri="{C3380CC4-5D6E-409C-BE32-E72D297353CC}">
                <c16:uniqueId val="{000001A1-2993-41DE-A2CB-63102DE87051}"/>
              </c:ext>
            </c:extLst>
          </c:dPt>
          <c:dPt>
            <c:idx val="208"/>
            <c:invertIfNegative val="1"/>
            <c:bubble3D val="0"/>
            <c:spPr>
              <a:solidFill>
                <a:srgbClr val="7ECAC4"/>
              </a:solidFill>
            </c:spPr>
            <c:extLst>
              <c:ext xmlns:c16="http://schemas.microsoft.com/office/drawing/2014/chart" uri="{C3380CC4-5D6E-409C-BE32-E72D297353CC}">
                <c16:uniqueId val="{000001A3-2993-41DE-A2CB-63102DE87051}"/>
              </c:ext>
            </c:extLst>
          </c:dPt>
          <c:dPt>
            <c:idx val="209"/>
            <c:invertIfNegative val="1"/>
            <c:bubble3D val="0"/>
            <c:spPr>
              <a:solidFill>
                <a:srgbClr val="7ECAC4"/>
              </a:solidFill>
            </c:spPr>
            <c:extLst>
              <c:ext xmlns:c16="http://schemas.microsoft.com/office/drawing/2014/chart" uri="{C3380CC4-5D6E-409C-BE32-E72D297353CC}">
                <c16:uniqueId val="{000001A5-2993-41DE-A2CB-63102DE87051}"/>
              </c:ext>
            </c:extLst>
          </c:dPt>
          <c:dPt>
            <c:idx val="210"/>
            <c:spPr>
              <a:solidFill>
                <a:srgbClr val="7ECAC4"/>
              </a:solidFill>
            </c:spPr>
          </c:dPt>
          <c:dPt>
            <c:idx val="211"/>
            <c:spPr>
              <a:solidFill>
                <a:srgbClr val="7ECAC4"/>
              </a:solidFill>
            </c:spPr>
          </c:dPt>
          <c:dPt>
            <c:idx val="212"/>
            <c:spPr>
              <a:solidFill>
                <a:srgbClr val="7ECAC4"/>
              </a:solidFill>
            </c:spPr>
          </c:dPt>
          <c:dPt>
            <c:idx val="213"/>
            <c:spPr>
              <a:solidFill>
                <a:srgbClr val="7ECAC4"/>
              </a:solidFill>
            </c:spPr>
          </c:dPt>
          <c:dPt>
            <c:idx val="214"/>
            <c:spPr>
              <a:solidFill>
                <a:srgbClr val="7ECAC4"/>
              </a:solidFill>
            </c:spPr>
          </c:dPt>
          <c:dPt>
            <c:idx val="215"/>
            <c:spPr>
              <a:solidFill>
                <a:srgbClr val="7ECAC4"/>
              </a:solidFill>
            </c:spPr>
          </c:dPt>
          <c:dPt>
            <c:idx val="216"/>
            <c:spPr>
              <a:solidFill>
                <a:srgbClr val="7ECAC4"/>
              </a:solidFill>
            </c:spPr>
          </c:dPt>
          <c:dPt>
            <c:idx val="217"/>
            <c:spPr>
              <a:solidFill>
                <a:srgbClr val="AEABAB"/>
              </a:solidFill>
            </c:spPr>
          </c:dPt>
          <c:dPt>
            <c:idx val="218"/>
            <c:spPr>
              <a:solidFill>
                <a:srgbClr val="AEABAB"/>
              </a:solidFill>
            </c:spPr>
          </c:dPt>
          <c:dPt>
            <c:idx val="219"/>
            <c:spPr>
              <a:solidFill>
                <a:srgbClr val="AEABAB"/>
              </a:solidFill>
            </c:spPr>
          </c:dPt>
          <c:dPt>
            <c:idx val="220"/>
            <c:spPr>
              <a:solidFill>
                <a:srgbClr val="AEABAB"/>
              </a:solidFill>
            </c:spPr>
          </c:dPt>
          <c:dPt>
            <c:idx val="221"/>
            <c:spPr>
              <a:solidFill>
                <a:srgbClr val="AEABAB"/>
              </a:solidFill>
            </c:spPr>
          </c:dPt>
          <c:dPt>
            <c:idx val="222"/>
            <c:spPr>
              <a:solidFill>
                <a:srgbClr val="AEABAB"/>
              </a:solidFill>
            </c:spPr>
          </c:dPt>
          <c:dPt>
            <c:idx val="223"/>
            <c:spPr>
              <a:solidFill>
                <a:srgbClr val="AEABAB"/>
              </a:solidFill>
            </c:spPr>
          </c:dPt>
          <c:dPt>
            <c:idx val="224"/>
            <c:spPr>
              <a:solidFill>
                <a:srgbClr val="AEABAB"/>
              </a:solidFill>
            </c:spPr>
          </c:dPt>
          <c:dPt>
            <c:idx val="225"/>
            <c:spPr>
              <a:solidFill>
                <a:srgbClr val="AEABAB"/>
              </a:solidFill>
            </c:spPr>
          </c:dPt>
          <c:dPt>
            <c:idx val="226"/>
            <c:spPr>
              <a:solidFill>
                <a:srgbClr val="AEABAB"/>
              </a:solidFill>
            </c:spPr>
          </c:dPt>
          <c:dPt>
            <c:idx val="227"/>
            <c:spPr>
              <a:solidFill>
                <a:srgbClr val="AEABAB"/>
              </a:solidFill>
            </c:spPr>
          </c:dPt>
          <c:dPt>
            <c:idx val="228"/>
            <c:spPr>
              <a:solidFill>
                <a:srgbClr val="AEABAB"/>
              </a:solidFill>
            </c:spPr>
          </c:dPt>
          <c:dPt>
            <c:idx val="229"/>
            <c:spPr>
              <a:solidFill>
                <a:srgbClr val="AEABAB"/>
              </a:solidFill>
            </c:spPr>
          </c:dPt>
          <c:dPt>
            <c:idx val="230"/>
            <c:spPr>
              <a:solidFill>
                <a:srgbClr val="AEABAB"/>
              </a:solidFill>
            </c:spPr>
          </c:dPt>
          <c:dPt>
            <c:idx val="231"/>
            <c:spPr>
              <a:solidFill>
                <a:srgbClr val="AEABAB"/>
              </a:solidFill>
            </c:spPr>
          </c:dPt>
          <c:dPt>
            <c:idx val="232"/>
            <c:spPr>
              <a:solidFill>
                <a:srgbClr val="AEABAB"/>
              </a:solidFill>
            </c:spPr>
          </c:dPt>
          <c:dPt>
            <c:idx val="233"/>
            <c:spPr>
              <a:solidFill>
                <a:srgbClr val="AEABAB"/>
              </a:solidFill>
            </c:spPr>
          </c:dPt>
          <c:dPt>
            <c:idx val="234"/>
            <c:spPr>
              <a:solidFill>
                <a:srgbClr val="AEABAB"/>
              </a:solidFill>
            </c:spPr>
          </c:dPt>
          <c:dPt>
            <c:idx val="235"/>
            <c:spPr>
              <a:solidFill>
                <a:srgbClr val="AEABAB"/>
              </a:solidFill>
            </c:spPr>
          </c:dPt>
          <c:dPt>
            <c:idx val="236"/>
            <c:spPr>
              <a:solidFill>
                <a:srgbClr val="AEABAB"/>
              </a:solidFill>
            </c:spPr>
          </c:dPt>
          <c:dPt>
            <c:idx val="237"/>
            <c:spPr>
              <a:solidFill>
                <a:srgbClr val="AEABAB"/>
              </a:solidFill>
            </c:spPr>
          </c:dPt>
          <c:dPt>
            <c:idx val="238"/>
            <c:spPr>
              <a:solidFill>
                <a:srgbClr val="AEABAB"/>
              </a:solidFill>
            </c:spPr>
          </c:dPt>
          <c:dPt>
            <c:idx val="239"/>
            <c:spPr>
              <a:solidFill>
                <a:srgbClr val="AEABAB"/>
              </a:solidFill>
            </c:spPr>
          </c:dPt>
          <c:dPt>
            <c:idx val="240"/>
            <c:spPr>
              <a:solidFill>
                <a:srgbClr val="AEABAB"/>
              </a:solidFill>
            </c:spPr>
          </c:dPt>
          <c:dPt>
            <c:idx val="241"/>
            <c:spPr>
              <a:solidFill>
                <a:srgbClr val="AEABAB"/>
              </a:solidFill>
            </c:spPr>
          </c:dPt>
          <c:dPt>
            <c:idx val="242"/>
            <c:spPr>
              <a:solidFill>
                <a:srgbClr val="AEABAB"/>
              </a:solidFill>
            </c:spPr>
          </c:dPt>
          <c:dPt>
            <c:idx val="243"/>
            <c:spPr>
              <a:solidFill>
                <a:srgbClr val="AEABAB"/>
              </a:solidFill>
            </c:spPr>
          </c:dPt>
          <c:dPt>
            <c:idx val="244"/>
            <c:spPr>
              <a:solidFill>
                <a:srgbClr val="AEABAB"/>
              </a:solidFill>
            </c:spPr>
          </c:dPt>
          <c:dPt>
            <c:idx val="245"/>
            <c:spPr>
              <a:solidFill>
                <a:srgbClr val="AEABAB"/>
              </a:solidFill>
            </c:spPr>
          </c:dPt>
          <c:dPt>
            <c:idx val="246"/>
            <c:spPr>
              <a:solidFill>
                <a:srgbClr val="AEABAB"/>
              </a:solidFill>
            </c:spPr>
          </c:dPt>
          <c:dPt>
            <c:idx val="247"/>
            <c:spPr>
              <a:solidFill>
                <a:srgbClr val="AEABAB"/>
              </a:solidFill>
            </c:spPr>
          </c:dPt>
          <c:dPt>
            <c:idx val="248"/>
            <c:spPr>
              <a:solidFill>
                <a:srgbClr val="AEABAB"/>
              </a:solidFill>
            </c:spPr>
          </c:dPt>
          <c:dPt>
            <c:idx val="249"/>
            <c:spPr>
              <a:solidFill>
                <a:srgbClr val="AEABAB"/>
              </a:solidFill>
            </c:spPr>
          </c:dPt>
          <c:dPt>
            <c:idx val="250"/>
            <c:spPr>
              <a:solidFill>
                <a:srgbClr val="AEABAB"/>
              </a:solidFill>
            </c:spPr>
          </c:dPt>
          <c:dPt>
            <c:idx val="251"/>
            <c:spPr>
              <a:solidFill>
                <a:srgbClr val="AEABAB"/>
              </a:solidFill>
            </c:spPr>
          </c:dPt>
          <c:dPt>
            <c:idx val="252"/>
            <c:spPr>
              <a:solidFill>
                <a:srgbClr val="AEABAB"/>
              </a:solidFill>
            </c:spPr>
          </c:dPt>
          <c:dPt>
            <c:idx val="253"/>
            <c:spPr>
              <a:solidFill>
                <a:srgbClr val="AEABAB"/>
              </a:solidFill>
            </c:spPr>
          </c:dPt>
          <c:dPt>
            <c:idx val="254"/>
            <c:spPr>
              <a:solidFill>
                <a:srgbClr val="AEABAB"/>
              </a:solidFill>
            </c:spPr>
          </c:dPt>
          <c:dPt>
            <c:idx val="255"/>
            <c:spPr>
              <a:solidFill>
                <a:srgbClr val="AEABAB"/>
              </a:solidFill>
            </c:spPr>
          </c:dPt>
          <c:dPt>
            <c:idx val="256"/>
            <c:spPr>
              <a:solidFill>
                <a:srgbClr val="AEABAB"/>
              </a:solidFill>
            </c:spPr>
          </c:dPt>
          <c:dPt>
            <c:idx val="257"/>
            <c:spPr>
              <a:solidFill>
                <a:srgbClr val="AEABAB"/>
              </a:solidFill>
            </c:spPr>
          </c:dPt>
          <c:dPt>
            <c:idx val="258"/>
            <c:spPr>
              <a:solidFill>
                <a:srgbClr val="AEABAB"/>
              </a:solidFill>
            </c:spPr>
          </c:dPt>
          <c:dPt>
            <c:idx val="259"/>
            <c:spPr>
              <a:solidFill>
                <a:srgbClr val="AEABAB"/>
              </a:solidFill>
            </c:spPr>
          </c:dPt>
          <c:dPt>
            <c:idx val="260"/>
            <c:spPr>
              <a:solidFill>
                <a:srgbClr val="AEABAB"/>
              </a:solidFill>
            </c:spPr>
          </c:dPt>
          <c:dPt>
            <c:idx val="261"/>
            <c:spPr>
              <a:solidFill>
                <a:srgbClr val="AEABAB"/>
              </a:solidFill>
            </c:spPr>
          </c:dPt>
          <c:dPt>
            <c:idx val="262"/>
            <c:spPr>
              <a:solidFill>
                <a:srgbClr val="AEABAB"/>
              </a:solidFill>
            </c:spPr>
          </c:dPt>
          <c:dPt>
            <c:idx val="263"/>
            <c:spPr>
              <a:solidFill>
                <a:srgbClr val="AEABAB"/>
              </a:solidFill>
            </c:spPr>
          </c:dPt>
          <c:dPt>
            <c:idx val="264"/>
            <c:spPr>
              <a:solidFill>
                <a:srgbClr val="AEABAB"/>
              </a:solidFill>
            </c:spPr>
          </c:dPt>
          <c:dPt>
            <c:idx val="265"/>
            <c:spPr>
              <a:solidFill>
                <a:srgbClr val="AEABAB"/>
              </a:solidFill>
            </c:spPr>
          </c:dPt>
          <c:dPt>
            <c:idx val="266"/>
            <c:spPr>
              <a:solidFill>
                <a:srgbClr val="AEABAB"/>
              </a:solidFill>
            </c:spPr>
          </c:dPt>
          <c:dPt>
            <c:idx val="267"/>
            <c:spPr>
              <a:solidFill>
                <a:srgbClr val="AEABAB"/>
              </a:solidFill>
            </c:spPr>
          </c:dPt>
          <c:dPt>
            <c:idx val="268"/>
            <c:spPr>
              <a:solidFill>
                <a:srgbClr val="AEABAB"/>
              </a:solidFill>
            </c:spPr>
          </c:dPt>
          <c:dPt>
            <c:idx val="269"/>
            <c:spPr>
              <a:solidFill>
                <a:srgbClr val="AEABAB"/>
              </a:solidFill>
            </c:spPr>
          </c:dPt>
          <c:dPt>
            <c:idx val="270"/>
            <c:spPr>
              <a:solidFill>
                <a:srgbClr val="AEABAB"/>
              </a:solidFill>
            </c:spPr>
          </c:dPt>
          <c:dPt>
            <c:idx val="271"/>
            <c:spPr>
              <a:solidFill>
                <a:srgbClr val="AEABAB"/>
              </a:solidFill>
            </c:spPr>
          </c:dPt>
          <c:dPt>
            <c:idx val="272"/>
            <c:spPr>
              <a:solidFill>
                <a:srgbClr val="AEABAB"/>
              </a:solidFill>
            </c:spPr>
          </c:dPt>
          <c:dPt>
            <c:idx val="273"/>
            <c:spPr>
              <a:solidFill>
                <a:srgbClr val="AEABAB"/>
              </a:solidFill>
            </c:spPr>
          </c:dPt>
          <c:dPt>
            <c:idx val="274"/>
            <c:spPr>
              <a:solidFill>
                <a:srgbClr val="AEABAB"/>
              </a:solidFill>
            </c:spPr>
          </c:dPt>
          <c:dPt>
            <c:idx val="275"/>
            <c:spPr>
              <a:solidFill>
                <a:srgbClr val="AEABAB"/>
              </a:solidFill>
            </c:spPr>
          </c:dPt>
          <c:dPt>
            <c:idx val="276"/>
            <c:spPr>
              <a:solidFill>
                <a:srgbClr val="AEABAB"/>
              </a:solidFill>
            </c:spPr>
          </c:dPt>
          <c:dPt>
            <c:idx val="277"/>
            <c:spPr>
              <a:solidFill>
                <a:srgbClr val="AEABAB"/>
              </a:solidFill>
            </c:spPr>
          </c:dPt>
          <c:dPt>
            <c:idx val="278"/>
            <c:spPr>
              <a:solidFill>
                <a:srgbClr val="AEABAB"/>
              </a:solidFill>
            </c:spPr>
          </c:dPt>
          <c:dPt>
            <c:idx val="279"/>
            <c:spPr>
              <a:solidFill>
                <a:srgbClr val="AEABAB"/>
              </a:solidFill>
            </c:spPr>
          </c:dPt>
          <c:dPt>
            <c:idx val="280"/>
            <c:spPr>
              <a:solidFill>
                <a:srgbClr val="AEABAB"/>
              </a:solidFill>
            </c:spPr>
          </c:dPt>
          <c:dPt>
            <c:idx val="281"/>
            <c:spPr>
              <a:solidFill>
                <a:srgbClr val="AEABAB"/>
              </a:solidFill>
            </c:spPr>
          </c:dPt>
          <c:dPt>
            <c:idx val="282"/>
            <c:spPr>
              <a:solidFill>
                <a:srgbClr val="AEABAB"/>
              </a:solidFill>
            </c:spPr>
          </c:dPt>
          <c:dPt>
            <c:idx val="283"/>
            <c:spPr>
              <a:solidFill>
                <a:srgbClr val="AEABAB"/>
              </a:solidFill>
            </c:spPr>
          </c:dPt>
          <c:dPt>
            <c:idx val="284"/>
            <c:spPr>
              <a:solidFill>
                <a:srgbClr val="AEABAB"/>
              </a:solidFill>
            </c:spPr>
          </c:dPt>
          <c:dPt>
            <c:idx val="285"/>
            <c:spPr>
              <a:solidFill>
                <a:srgbClr val="AEABAB"/>
              </a:solidFill>
            </c:spPr>
          </c:dPt>
          <c:dPt>
            <c:idx val="286"/>
            <c:spPr>
              <a:solidFill>
                <a:srgbClr val="AEABAB"/>
              </a:solidFill>
            </c:spPr>
          </c:dPt>
          <c:dPt>
            <c:idx val="287"/>
            <c:spPr>
              <a:solidFill>
                <a:srgbClr val="AEABAB"/>
              </a:solidFill>
            </c:spPr>
          </c:dPt>
          <c:dPt>
            <c:idx val="288"/>
            <c:spPr>
              <a:solidFill>
                <a:srgbClr val="AEABAB"/>
              </a:solidFill>
            </c:spPr>
          </c:dPt>
          <c:dPt>
            <c:idx val="289"/>
            <c:spPr>
              <a:solidFill>
                <a:srgbClr val="AEABAB"/>
              </a:solidFill>
            </c:spPr>
          </c:dPt>
          <c:dPt>
            <c:idx val="290"/>
            <c:spPr>
              <a:solidFill>
                <a:srgbClr val="AEABAB"/>
              </a:solidFill>
            </c:spPr>
          </c:dPt>
          <c:dPt>
            <c:idx val="291"/>
            <c:spPr>
              <a:solidFill>
                <a:srgbClr val="AEABAB"/>
              </a:solidFill>
            </c:spPr>
          </c:dPt>
          <c:dPt>
            <c:idx val="292"/>
            <c:spPr>
              <a:solidFill>
                <a:srgbClr val="AEABAB"/>
              </a:solidFill>
            </c:spPr>
          </c:dPt>
          <c:dPt>
            <c:idx val="293"/>
            <c:spPr>
              <a:solidFill>
                <a:srgbClr val="AEABAB"/>
              </a:solidFill>
            </c:spPr>
          </c:dPt>
          <c:dPt>
            <c:idx val="294"/>
            <c:spPr>
              <a:solidFill>
                <a:srgbClr val="AEABAB"/>
              </a:solidFill>
            </c:spPr>
          </c:dPt>
          <c:dPt>
            <c:idx val="295"/>
            <c:spPr>
              <a:solidFill>
                <a:srgbClr val="AEABAB"/>
              </a:solidFill>
            </c:spPr>
          </c:dPt>
          <c:dPt>
            <c:idx val="296"/>
            <c:spPr>
              <a:solidFill>
                <a:srgbClr val="AEABAB"/>
              </a:solidFill>
            </c:spPr>
          </c:dPt>
          <c:dPt>
            <c:idx val="297"/>
            <c:spPr>
              <a:solidFill>
                <a:srgbClr val="AEABAB"/>
              </a:solidFill>
            </c:spPr>
          </c:dPt>
          <c:dPt>
            <c:idx val="298"/>
            <c:spPr>
              <a:solidFill>
                <a:srgbClr val="AEABAB"/>
              </a:solidFill>
            </c:spPr>
          </c:dPt>
          <c:dPt>
            <c:idx val="299"/>
            <c:spPr>
              <a:solidFill>
                <a:srgbClr val="AEABAB"/>
              </a:solidFill>
            </c:spPr>
          </c:dPt>
          <c:dPt>
            <c:idx val="300"/>
            <c:spPr>
              <a:solidFill>
                <a:srgbClr val="AEABAB"/>
              </a:solidFill>
            </c:spPr>
          </c:dPt>
          <c:dPt>
            <c:idx val="301"/>
            <c:spPr>
              <a:solidFill>
                <a:srgbClr val="AEABAB"/>
              </a:solidFill>
            </c:spPr>
          </c:dPt>
          <c:dPt>
            <c:idx val="302"/>
            <c:spPr>
              <a:solidFill>
                <a:srgbClr val="AEABAB"/>
              </a:solidFill>
            </c:spPr>
          </c:dPt>
          <c:dPt>
            <c:idx val="303"/>
            <c:spPr>
              <a:solidFill>
                <a:srgbClr val="AEABAB"/>
              </a:solidFill>
            </c:spPr>
          </c:dPt>
          <c:dPt>
            <c:idx val="304"/>
            <c:spPr>
              <a:solidFill>
                <a:srgbClr val="AEABAB"/>
              </a:solidFill>
            </c:spPr>
          </c:dPt>
          <c:dPt>
            <c:idx val="305"/>
            <c:spPr>
              <a:solidFill>
                <a:srgbClr val="AEABAB"/>
              </a:solidFill>
            </c:spPr>
          </c:dPt>
          <c:dPt>
            <c:idx val="306"/>
            <c:spPr>
              <a:solidFill>
                <a:srgbClr val="AEABAB"/>
              </a:solidFill>
            </c:spPr>
          </c:dPt>
          <c:dPt>
            <c:idx val="307"/>
            <c:spPr>
              <a:solidFill>
                <a:srgbClr val="AEABAB"/>
              </a:solidFill>
            </c:spPr>
          </c:dPt>
          <c:dPt>
            <c:idx val="308"/>
            <c:spPr>
              <a:solidFill>
                <a:srgbClr val="AEABAB"/>
              </a:solidFill>
            </c:spPr>
          </c:dPt>
          <c:dPt>
            <c:idx val="309"/>
            <c:spPr>
              <a:solidFill>
                <a:srgbClr val="AEABAB"/>
              </a:solidFill>
            </c:spPr>
          </c:dPt>
          <c:dPt>
            <c:idx val="310"/>
            <c:spPr>
              <a:solidFill>
                <a:srgbClr val="AEABAB"/>
              </a:solidFill>
            </c:spPr>
          </c:dPt>
          <c:dPt>
            <c:idx val="311"/>
            <c:spPr>
              <a:solidFill>
                <a:srgbClr val="AEABAB"/>
              </a:solidFill>
            </c:spPr>
          </c:dPt>
          <c:dPt>
            <c:idx val="312"/>
            <c:spPr>
              <a:solidFill>
                <a:srgbClr val="AEABAB"/>
              </a:solidFill>
            </c:spPr>
          </c:dPt>
          <c:dPt>
            <c:idx val="313"/>
            <c:spPr>
              <a:solidFill>
                <a:srgbClr val="AEABAB"/>
              </a:solidFill>
            </c:spPr>
          </c:dPt>
          <c:dPt>
            <c:idx val="314"/>
            <c:spPr>
              <a:solidFill>
                <a:srgbClr val="AEABAB"/>
              </a:solidFill>
            </c:spPr>
          </c:dPt>
          <c:dPt>
            <c:idx val="315"/>
            <c:spPr>
              <a:solidFill>
                <a:srgbClr val="AEABAB"/>
              </a:solidFill>
            </c:spPr>
          </c:dPt>
          <c:dPt>
            <c:idx val="316"/>
            <c:spPr>
              <a:solidFill>
                <a:srgbClr val="AEABAB"/>
              </a:solidFill>
            </c:spPr>
          </c:dPt>
          <c:dPt>
            <c:idx val="317"/>
            <c:spPr>
              <a:solidFill>
                <a:srgbClr val="AEABAB"/>
              </a:solidFill>
            </c:spPr>
          </c:dPt>
          <c:dPt>
            <c:idx val="318"/>
            <c:spPr>
              <a:solidFill>
                <a:srgbClr val="AEABAB"/>
              </a:solidFill>
            </c:spPr>
          </c:dPt>
          <c:dPt>
            <c:idx val="319"/>
            <c:spPr>
              <a:solidFill>
                <a:srgbClr val="AEABAB"/>
              </a:solidFill>
            </c:spPr>
          </c:dPt>
          <c:dPt>
            <c:idx val="320"/>
            <c:spPr>
              <a:solidFill>
                <a:srgbClr val="AEABAB"/>
              </a:solidFill>
            </c:spPr>
          </c:dPt>
          <c:dPt>
            <c:idx val="321"/>
            <c:spPr>
              <a:solidFill>
                <a:srgbClr val="AEABAB"/>
              </a:solidFill>
            </c:spPr>
          </c:dPt>
          <c:dPt>
            <c:idx val="322"/>
            <c:spPr>
              <a:solidFill>
                <a:srgbClr val="AEABAB"/>
              </a:solidFill>
            </c:spPr>
          </c:dPt>
          <c:dPt>
            <c:idx val="323"/>
            <c:spPr>
              <a:solidFill>
                <a:srgbClr val="AEABAB"/>
              </a:solidFill>
            </c:spPr>
          </c:dPt>
          <c:dPt>
            <c:idx val="324"/>
            <c:spPr>
              <a:solidFill>
                <a:srgbClr val="AEABAB"/>
              </a:solidFill>
            </c:spPr>
          </c:dPt>
          <c:dPt>
            <c:idx val="325"/>
            <c:spPr>
              <a:solidFill>
                <a:srgbClr val="AEABAB"/>
              </a:solidFill>
            </c:spPr>
          </c:dPt>
          <c:dPt>
            <c:idx val="326"/>
            <c:spPr>
              <a:solidFill>
                <a:srgbClr val="AEABAB"/>
              </a:solidFill>
            </c:spPr>
          </c:dPt>
          <c:dPt>
            <c:idx val="327"/>
            <c:spPr>
              <a:solidFill>
                <a:srgbClr val="AEABAB"/>
              </a:solidFill>
            </c:spPr>
          </c:dPt>
          <c:dPt>
            <c:idx val="328"/>
            <c:spPr>
              <a:solidFill>
                <a:srgbClr val="AEABAB"/>
              </a:solidFill>
            </c:spPr>
          </c:dPt>
          <c:dPt>
            <c:idx val="329"/>
            <c:spPr>
              <a:solidFill>
                <a:srgbClr val="AEABAB"/>
              </a:solidFill>
            </c:spPr>
          </c:dPt>
          <c:dPt>
            <c:idx val="330"/>
            <c:spPr>
              <a:solidFill>
                <a:srgbClr val="AEABAB"/>
              </a:solidFill>
            </c:spPr>
          </c:dPt>
          <c:dPt>
            <c:idx val="331"/>
            <c:spPr>
              <a:solidFill>
                <a:srgbClr val="AEABAB"/>
              </a:solidFill>
            </c:spPr>
          </c:dPt>
          <c:dPt>
            <c:idx val="332"/>
            <c:spPr>
              <a:solidFill>
                <a:srgbClr val="AEABAB"/>
              </a:solidFill>
            </c:spPr>
          </c:dPt>
          <c:dPt>
            <c:idx val="333"/>
            <c:spPr>
              <a:solidFill>
                <a:srgbClr val="AEABAB"/>
              </a:solidFill>
            </c:spPr>
          </c:dPt>
          <c:dPt>
            <c:idx val="334"/>
            <c:spPr>
              <a:solidFill>
                <a:srgbClr val="AEABAB"/>
              </a:solidFill>
            </c:spPr>
          </c:dPt>
          <c:dPt>
            <c:idx val="335"/>
            <c:spPr>
              <a:solidFill>
                <a:srgbClr val="AEABAB"/>
              </a:solidFill>
            </c:spPr>
          </c:dPt>
          <c:dPt>
            <c:idx val="336"/>
            <c:spPr>
              <a:solidFill>
                <a:srgbClr val="AEABAB"/>
              </a:solidFill>
            </c:spPr>
          </c:dPt>
          <c:dPt>
            <c:idx val="337"/>
            <c:spPr>
              <a:solidFill>
                <a:srgbClr val="AEABAB"/>
              </a:solidFill>
            </c:spPr>
          </c:dPt>
          <c:dPt>
            <c:idx val="338"/>
            <c:spPr>
              <a:solidFill>
                <a:srgbClr val="AEABAB"/>
              </a:solidFill>
            </c:spPr>
          </c:dPt>
          <c:dPt>
            <c:idx val="339"/>
            <c:spPr>
              <a:solidFill>
                <a:srgbClr val="AEABAB"/>
              </a:solidFill>
            </c:spPr>
          </c:dPt>
          <c:dPt>
            <c:idx val="340"/>
            <c:spPr>
              <a:solidFill>
                <a:srgbClr val="AEABAB"/>
              </a:solidFill>
            </c:spPr>
          </c:dPt>
          <c:dPt>
            <c:idx val="341"/>
            <c:spPr>
              <a:solidFill>
                <a:srgbClr val="AEABAB"/>
              </a:solidFill>
            </c:spPr>
          </c:dPt>
          <c:dPt>
            <c:idx val="342"/>
            <c:spPr>
              <a:solidFill>
                <a:srgbClr val="AEABAB"/>
              </a:solidFill>
            </c:spPr>
          </c:dPt>
          <c:dPt>
            <c:idx val="343"/>
            <c:spPr>
              <a:solidFill>
                <a:srgbClr val="AEABAB"/>
              </a:solidFill>
            </c:spPr>
          </c:dPt>
          <c:dPt>
            <c:idx val="344"/>
            <c:spPr>
              <a:solidFill>
                <a:srgbClr val="AEABAB"/>
              </a:solidFill>
            </c:spPr>
          </c:dPt>
          <c:dPt>
            <c:idx val="345"/>
            <c:spPr>
              <a:solidFill>
                <a:srgbClr val="AEABAB"/>
              </a:solidFill>
            </c:spPr>
          </c:dPt>
          <c:dPt>
            <c:idx val="346"/>
            <c:spPr>
              <a:solidFill>
                <a:srgbClr val="AEABAB"/>
              </a:solidFill>
            </c:spPr>
          </c:dPt>
          <c:dPt>
            <c:idx val="347"/>
            <c:spPr>
              <a:solidFill>
                <a:srgbClr val="AEABAB"/>
              </a:solidFill>
            </c:spPr>
          </c:dPt>
          <c:dPt>
            <c:idx val="348"/>
            <c:spPr>
              <a:solidFill>
                <a:srgbClr val="AEABAB"/>
              </a:solidFill>
            </c:spPr>
          </c:dPt>
          <c:dPt>
            <c:idx val="349"/>
            <c:spPr>
              <a:solidFill>
                <a:srgbClr val="AEABAB"/>
              </a:solidFill>
            </c:spPr>
          </c:dPt>
          <c:dPt>
            <c:idx val="350"/>
            <c:spPr>
              <a:solidFill>
                <a:srgbClr val="AEABAB"/>
              </a:solidFill>
            </c:spPr>
          </c:dPt>
          <c:dPt>
            <c:idx val="351"/>
            <c:spPr>
              <a:solidFill>
                <a:srgbClr val="AEABAB"/>
              </a:solidFill>
            </c:spPr>
          </c:dPt>
          <c:dPt>
            <c:idx val="352"/>
            <c:spPr>
              <a:solidFill>
                <a:srgbClr val="AEABAB"/>
              </a:solidFill>
            </c:spPr>
          </c:dPt>
          <c:dPt>
            <c:idx val="353"/>
            <c:spPr>
              <a:solidFill>
                <a:srgbClr val="AEABAB"/>
              </a:solidFill>
            </c:spPr>
          </c:dPt>
          <c:dPt>
            <c:idx val="354"/>
            <c:spPr>
              <a:solidFill>
                <a:srgbClr val="AEABAB"/>
              </a:solidFill>
            </c:spPr>
          </c:dPt>
          <c:dPt>
            <c:idx val="355"/>
            <c:spPr>
              <a:solidFill>
                <a:srgbClr val="AEABAB"/>
              </a:solidFill>
            </c:spPr>
          </c:dPt>
          <c:dPt>
            <c:idx val="356"/>
            <c:spPr>
              <a:solidFill>
                <a:srgbClr val="AEABAB"/>
              </a:solidFill>
            </c:spPr>
          </c:dPt>
          <c:dPt>
            <c:idx val="357"/>
            <c:spPr>
              <a:solidFill>
                <a:srgbClr val="AEABAB"/>
              </a:solidFill>
            </c:spPr>
          </c:dPt>
          <c:dPt>
            <c:idx val="358"/>
            <c:spPr>
              <a:solidFill>
                <a:srgbClr val="AEABAB"/>
              </a:solidFill>
            </c:spPr>
          </c:dPt>
          <c:dPt>
            <c:idx val="359"/>
            <c:spPr>
              <a:solidFill>
                <a:srgbClr val="AEABAB"/>
              </a:solidFill>
            </c:spPr>
          </c:dPt>
          <c:dPt>
            <c:idx val="360"/>
            <c:spPr>
              <a:solidFill>
                <a:srgbClr val="AEABAB"/>
              </a:solidFill>
            </c:spPr>
          </c:dPt>
          <c:dPt>
            <c:idx val="361"/>
            <c:spPr>
              <a:solidFill>
                <a:srgbClr val="AEABAB"/>
              </a:solidFill>
            </c:spPr>
          </c:dPt>
          <c:dPt>
            <c:idx val="362"/>
            <c:spPr>
              <a:solidFill>
                <a:srgbClr val="AEABAB"/>
              </a:solidFill>
            </c:spPr>
          </c:dPt>
          <c:dPt>
            <c:idx val="363"/>
            <c:spPr>
              <a:solidFill>
                <a:srgbClr val="AEABAB"/>
              </a:solidFill>
            </c:spPr>
          </c:dPt>
          <c:dPt>
            <c:idx val="364"/>
            <c:spPr>
              <a:solidFill>
                <a:srgbClr val="AEABAB"/>
              </a:solidFill>
            </c:spPr>
          </c:dPt>
          <c:dPt>
            <c:idx val="365"/>
            <c:spPr>
              <a:solidFill>
                <a:srgbClr val="AEABAB"/>
              </a:solidFill>
            </c:spPr>
          </c:dPt>
          <c:dPt>
            <c:idx val="366"/>
            <c:spPr>
              <a:solidFill>
                <a:srgbClr val="AEABAB"/>
              </a:solidFill>
            </c:spPr>
          </c:dPt>
          <c:dPt>
            <c:idx val="367"/>
            <c:spPr>
              <a:solidFill>
                <a:srgbClr val="AEABAB"/>
              </a:solidFill>
            </c:spPr>
          </c:dPt>
          <c:dPt>
            <c:idx val="368"/>
            <c:spPr>
              <a:solidFill>
                <a:srgbClr val="AEABAB"/>
              </a:solidFill>
            </c:spPr>
          </c:dPt>
          <c:dPt>
            <c:idx val="369"/>
            <c:spPr>
              <a:solidFill>
                <a:srgbClr val="AEABAB"/>
              </a:solidFill>
            </c:spPr>
          </c:dPt>
          <c:dPt>
            <c:idx val="370"/>
            <c:spPr>
              <a:solidFill>
                <a:srgbClr val="AEABAB"/>
              </a:solidFill>
            </c:spPr>
          </c:dPt>
          <c:dPt>
            <c:idx val="371"/>
            <c:spPr>
              <a:solidFill>
                <a:srgbClr val="AEABAB"/>
              </a:solidFill>
            </c:spPr>
          </c:dPt>
          <c:dPt>
            <c:idx val="372"/>
            <c:spPr>
              <a:solidFill>
                <a:srgbClr val="AEABAB"/>
              </a:solidFill>
            </c:spPr>
          </c:dPt>
          <c:dPt>
            <c:idx val="373"/>
            <c:spPr>
              <a:solidFill>
                <a:srgbClr val="AEABAB"/>
              </a:solidFill>
            </c:spPr>
          </c:dPt>
          <c:dPt>
            <c:idx val="374"/>
            <c:spPr>
              <a:solidFill>
                <a:srgbClr val="AEABAB"/>
              </a:solidFill>
            </c:spPr>
          </c:dPt>
          <c:dPt>
            <c:idx val="375"/>
            <c:spPr>
              <a:solidFill>
                <a:srgbClr val="AEABAB"/>
              </a:solidFill>
            </c:spPr>
          </c:dPt>
          <c:dPt>
            <c:idx val="376"/>
            <c:spPr>
              <a:solidFill>
                <a:srgbClr val="AEABAB"/>
              </a:solidFill>
            </c:spPr>
          </c:dPt>
          <c:dPt>
            <c:idx val="377"/>
            <c:spPr>
              <a:solidFill>
                <a:srgbClr val="AEABAB"/>
              </a:solidFill>
            </c:spPr>
          </c:dPt>
          <c:dPt>
            <c:idx val="378"/>
            <c:spPr>
              <a:solidFill>
                <a:srgbClr val="AEABAB"/>
              </a:solidFill>
            </c:spPr>
          </c:dPt>
          <c:dPt>
            <c:idx val="379"/>
            <c:spPr>
              <a:solidFill>
                <a:srgbClr val="AEABAB"/>
              </a:solidFill>
            </c:spPr>
          </c:dPt>
          <c:dPt>
            <c:idx val="380"/>
            <c:spPr>
              <a:solidFill>
                <a:srgbClr val="AEABAB"/>
              </a:solidFill>
            </c:spPr>
          </c:dPt>
          <c:dPt>
            <c:idx val="381"/>
            <c:spPr>
              <a:solidFill>
                <a:srgbClr val="AEABAB"/>
              </a:solidFill>
            </c:spPr>
          </c:dPt>
          <c:dPt>
            <c:idx val="382"/>
            <c:spPr>
              <a:solidFill>
                <a:srgbClr val="AEABAB"/>
              </a:solidFill>
            </c:spPr>
          </c:dPt>
          <c:dPt>
            <c:idx val="383"/>
            <c:spPr>
              <a:solidFill>
                <a:srgbClr val="AEABAB"/>
              </a:solidFill>
            </c:spPr>
          </c:dPt>
          <c:dPt>
            <c:idx val="384"/>
            <c:spPr>
              <a:solidFill>
                <a:srgbClr val="AEABAB"/>
              </a:solidFill>
            </c:spPr>
          </c:dPt>
          <c:dPt>
            <c:idx val="385"/>
            <c:spPr>
              <a:solidFill>
                <a:srgbClr val="AEABAB"/>
              </a:solidFill>
            </c:spPr>
          </c:dPt>
          <c:dPt>
            <c:idx val="386"/>
            <c:spPr>
              <a:solidFill>
                <a:srgbClr val="AEABAB"/>
              </a:solidFill>
            </c:spPr>
          </c:dPt>
          <c:dPt>
            <c:idx val="387"/>
            <c:spPr>
              <a:solidFill>
                <a:srgbClr val="AEABAB"/>
              </a:solidFill>
            </c:spPr>
          </c:dPt>
          <c:dPt>
            <c:idx val="388"/>
            <c:spPr>
              <a:solidFill>
                <a:srgbClr val="AEABAB"/>
              </a:solidFill>
            </c:spPr>
          </c:dPt>
          <c:dPt>
            <c:idx val="389"/>
            <c:spPr>
              <a:solidFill>
                <a:srgbClr val="AEABAB"/>
              </a:solidFill>
            </c:spPr>
          </c:dPt>
          <c:dPt>
            <c:idx val="390"/>
            <c:spPr>
              <a:solidFill>
                <a:srgbClr val="AEABAB"/>
              </a:solidFill>
            </c:spPr>
          </c:dPt>
          <c:dPt>
            <c:idx val="391"/>
            <c:spPr>
              <a:solidFill>
                <a:srgbClr val="AEABAB"/>
              </a:solidFill>
            </c:spPr>
          </c:dPt>
          <c:dPt>
            <c:idx val="392"/>
            <c:spPr>
              <a:solidFill>
                <a:srgbClr val="AEABAB"/>
              </a:solidFill>
            </c:spPr>
          </c:dPt>
          <c:dPt>
            <c:idx val="393"/>
            <c:spPr>
              <a:solidFill>
                <a:srgbClr val="AEABAB"/>
              </a:solidFill>
            </c:spPr>
          </c:dPt>
          <c:dPt>
            <c:idx val="394"/>
            <c:spPr>
              <a:solidFill>
                <a:srgbClr val="AEABAB"/>
              </a:solidFill>
            </c:spPr>
          </c:dPt>
          <c:dPt>
            <c:idx val="395"/>
            <c:spPr>
              <a:solidFill>
                <a:srgbClr val="AEABAB"/>
              </a:solidFill>
            </c:spPr>
          </c:dPt>
          <c:dPt>
            <c:idx val="396"/>
            <c:spPr>
              <a:solidFill>
                <a:srgbClr val="AEABAB"/>
              </a:solidFill>
            </c:spPr>
          </c:dPt>
          <c:dPt>
            <c:idx val="397"/>
            <c:spPr>
              <a:solidFill>
                <a:srgbClr val="AEABAB"/>
              </a:solidFill>
            </c:spPr>
          </c:dPt>
          <c:dPt>
            <c:idx val="398"/>
            <c:spPr>
              <a:solidFill>
                <a:srgbClr val="AEABAB"/>
              </a:solidFill>
            </c:spPr>
          </c:dPt>
          <c:dPt>
            <c:idx val="399"/>
            <c:spPr>
              <a:solidFill>
                <a:srgbClr val="AEABAB"/>
              </a:solidFill>
            </c:spPr>
          </c:dPt>
          <c:dPt>
            <c:idx val="400"/>
            <c:spPr>
              <a:solidFill>
                <a:srgbClr val="AEABAB"/>
              </a:solidFill>
            </c:spPr>
          </c:dPt>
          <c:dPt>
            <c:idx val="401"/>
            <c:spPr>
              <a:solidFill>
                <a:srgbClr val="AEABAB"/>
              </a:solidFill>
            </c:spPr>
          </c:dPt>
          <c:dPt>
            <c:idx val="402"/>
            <c:spPr>
              <a:solidFill>
                <a:srgbClr val="AEABAB"/>
              </a:solidFill>
            </c:spPr>
          </c:dPt>
          <c:dPt>
            <c:idx val="403"/>
            <c:spPr>
              <a:solidFill>
                <a:srgbClr val="AEABAB"/>
              </a:solidFill>
            </c:spPr>
          </c:dPt>
          <c:dPt>
            <c:idx val="404"/>
            <c:spPr>
              <a:solidFill>
                <a:srgbClr val="AEABAB"/>
              </a:solidFill>
            </c:spPr>
          </c:dPt>
          <c:dPt>
            <c:idx val="405"/>
            <c:spPr>
              <a:solidFill>
                <a:srgbClr val="AEABAB"/>
              </a:solidFill>
            </c:spPr>
          </c:dPt>
          <c:dPt>
            <c:idx val="406"/>
            <c:spPr>
              <a:solidFill>
                <a:srgbClr val="AEABAB"/>
              </a:solidFill>
            </c:spPr>
          </c:dPt>
          <c:dPt>
            <c:idx val="407"/>
            <c:spPr>
              <a:solidFill>
                <a:srgbClr val="AEABAB"/>
              </a:solidFill>
            </c:spPr>
          </c:dPt>
          <c:dPt>
            <c:idx val="408"/>
            <c:spPr>
              <a:solidFill>
                <a:srgbClr val="AEABAB"/>
              </a:solidFill>
            </c:spPr>
          </c:dPt>
          <c:dPt>
            <c:idx val="409"/>
            <c:spPr>
              <a:solidFill>
                <a:srgbClr val="AEABAB"/>
              </a:solidFill>
            </c:spPr>
          </c:dPt>
          <c:dPt>
            <c:idx val="410"/>
            <c:spPr>
              <a:solidFill>
                <a:srgbClr val="AEABAB"/>
              </a:solidFill>
            </c:spPr>
          </c:dPt>
          <c:dPt>
            <c:idx val="411"/>
            <c:spPr>
              <a:solidFill>
                <a:srgbClr val="AEABAB"/>
              </a:solidFill>
            </c:spPr>
          </c:dPt>
          <c:dPt>
            <c:idx val="412"/>
            <c:spPr>
              <a:solidFill>
                <a:srgbClr val="AEABAB"/>
              </a:solidFill>
            </c:spPr>
          </c:dPt>
          <c:dPt>
            <c:idx val="413"/>
            <c:spPr>
              <a:solidFill>
                <a:srgbClr val="AEABAB"/>
              </a:solidFill>
            </c:spPr>
          </c:dPt>
          <c:dPt>
            <c:idx val="414"/>
            <c:spPr>
              <a:solidFill>
                <a:srgbClr val="AEABAB"/>
              </a:solidFill>
            </c:spPr>
          </c:dPt>
          <c:dPt>
            <c:idx val="415"/>
            <c:spPr>
              <a:solidFill>
                <a:srgbClr val="AEABAB"/>
              </a:solidFill>
            </c:spPr>
          </c:dPt>
          <c:dPt>
            <c:idx val="416"/>
            <c:spPr>
              <a:solidFill>
                <a:srgbClr val="AEABAB"/>
              </a:solidFill>
            </c:spPr>
          </c:dPt>
          <c:dPt>
            <c:idx val="417"/>
            <c:spPr>
              <a:solidFill>
                <a:srgbClr val="AEABAB"/>
              </a:solidFill>
            </c:spPr>
          </c:dPt>
          <c:dPt>
            <c:idx val="418"/>
            <c:spPr>
              <a:solidFill>
                <a:srgbClr val="AEABAB"/>
              </a:solidFill>
            </c:spPr>
          </c:dPt>
          <c:dPt>
            <c:idx val="419"/>
            <c:spPr>
              <a:solidFill>
                <a:srgbClr val="AEABAB"/>
              </a:solidFill>
            </c:spPr>
          </c:dPt>
          <c:dPt>
            <c:idx val="420"/>
            <c:spPr>
              <a:solidFill>
                <a:srgbClr val="AEABAB"/>
              </a:solidFill>
            </c:spPr>
          </c:dPt>
          <c:dPt>
            <c:idx val="421"/>
            <c:spPr>
              <a:solidFill>
                <a:srgbClr val="AEABAB"/>
              </a:solidFill>
            </c:spPr>
          </c:dPt>
          <c:dPt>
            <c:idx val="422"/>
            <c:spPr>
              <a:solidFill>
                <a:srgbClr val="AEABAB"/>
              </a:solidFill>
            </c:spPr>
          </c:dPt>
          <c:dPt>
            <c:idx val="423"/>
            <c:spPr>
              <a:solidFill>
                <a:srgbClr val="AEABAB"/>
              </a:solidFill>
            </c:spPr>
          </c:dPt>
          <c:dPt>
            <c:idx val="424"/>
            <c:spPr>
              <a:solidFill>
                <a:srgbClr val="AEABAB"/>
              </a:solidFill>
            </c:spPr>
          </c:dPt>
          <c:dPt>
            <c:idx val="425"/>
            <c:spPr>
              <a:solidFill>
                <a:srgbClr val="AEABAB"/>
              </a:solidFill>
            </c:spPr>
          </c:dPt>
          <c:dPt>
            <c:idx val="426"/>
            <c:spPr>
              <a:solidFill>
                <a:srgbClr val="AEABAB"/>
              </a:solidFill>
            </c:spPr>
          </c:dPt>
          <c:dPt>
            <c:idx val="427"/>
            <c:spPr>
              <a:solidFill>
                <a:srgbClr val="AEABAB"/>
              </a:solidFill>
            </c:spPr>
          </c:dPt>
          <c:dPt>
            <c:idx val="428"/>
            <c:spPr>
              <a:solidFill>
                <a:srgbClr val="AEABAB"/>
              </a:solidFill>
            </c:spPr>
          </c:dPt>
          <c:dPt>
            <c:idx val="429"/>
            <c:spPr>
              <a:solidFill>
                <a:srgbClr val="AEABAB"/>
              </a:solidFill>
            </c:spPr>
          </c:dPt>
          <c:dPt>
            <c:idx val="430"/>
            <c:spPr>
              <a:solidFill>
                <a:srgbClr val="AEABAB"/>
              </a:solidFill>
            </c:spPr>
          </c:dPt>
          <c:dPt>
            <c:idx val="431"/>
            <c:spPr>
              <a:solidFill>
                <a:srgbClr val="AEABAB"/>
              </a:solidFill>
            </c:spPr>
          </c:dPt>
          <c:dPt>
            <c:idx val="432"/>
            <c:spPr>
              <a:solidFill>
                <a:srgbClr val="AEABAB"/>
              </a:solidFill>
            </c:spPr>
          </c:dPt>
          <c:dPt>
            <c:idx val="433"/>
            <c:spPr>
              <a:solidFill>
                <a:srgbClr val="AEABAB"/>
              </a:solidFill>
            </c:spPr>
          </c:dPt>
          <c:dPt>
            <c:idx val="434"/>
            <c:spPr>
              <a:solidFill>
                <a:srgbClr val="AEABAB"/>
              </a:solidFill>
            </c:spPr>
          </c:dPt>
          <c:dPt>
            <c:idx val="435"/>
            <c:spPr>
              <a:solidFill>
                <a:srgbClr val="AEABAB"/>
              </a:solidFill>
            </c:spPr>
          </c:dPt>
          <c:dPt>
            <c:idx val="436"/>
            <c:spPr>
              <a:solidFill>
                <a:srgbClr val="AEABAB"/>
              </a:solidFill>
            </c:spPr>
          </c:dPt>
          <c:dPt>
            <c:idx val="437"/>
            <c:spPr>
              <a:solidFill>
                <a:srgbClr val="AEABAB"/>
              </a:solidFill>
            </c:spPr>
          </c:dPt>
          <c:dPt>
            <c:idx val="438"/>
            <c:spPr>
              <a:solidFill>
                <a:srgbClr val="AEABAB"/>
              </a:solidFill>
            </c:spPr>
          </c:dPt>
          <c:dPt>
            <c:idx val="439"/>
            <c:spPr>
              <a:solidFill>
                <a:srgbClr val="AEABAB"/>
              </a:solidFill>
            </c:spPr>
          </c:dPt>
          <c:dPt>
            <c:idx val="440"/>
            <c:spPr>
              <a:solidFill>
                <a:srgbClr val="AEABAB"/>
              </a:solidFill>
            </c:spPr>
          </c:dPt>
          <c:dPt>
            <c:idx val="441"/>
            <c:spPr>
              <a:solidFill>
                <a:srgbClr val="AEABAB"/>
              </a:solidFill>
            </c:spPr>
          </c:dPt>
          <c:dPt>
            <c:idx val="442"/>
            <c:spPr>
              <a:solidFill>
                <a:srgbClr val="AEABAB"/>
              </a:solidFill>
            </c:spPr>
          </c:dPt>
          <c:dPt>
            <c:idx val="443"/>
            <c:spPr>
              <a:solidFill>
                <a:srgbClr val="AEABAB"/>
              </a:solidFill>
            </c:spPr>
          </c:dPt>
          <c:dPt>
            <c:idx val="444"/>
            <c:spPr>
              <a:solidFill>
                <a:srgbClr val="AEABAB"/>
              </a:solidFill>
            </c:spPr>
          </c:dPt>
          <c:dPt>
            <c:idx val="445"/>
            <c:spPr>
              <a:solidFill>
                <a:srgbClr val="AEABAB"/>
              </a:solidFill>
            </c:spPr>
          </c:dPt>
          <c:dPt>
            <c:idx val="446"/>
            <c:spPr>
              <a:solidFill>
                <a:srgbClr val="AEABAB"/>
              </a:solidFill>
            </c:spPr>
          </c:dPt>
          <c:dPt>
            <c:idx val="447"/>
            <c:spPr>
              <a:solidFill>
                <a:srgbClr val="AEABAB"/>
              </a:solidFill>
            </c:spPr>
          </c:dPt>
          <c:dPt>
            <c:idx val="448"/>
            <c:spPr>
              <a:solidFill>
                <a:srgbClr val="AEABAB"/>
              </a:solidFill>
            </c:spPr>
          </c:dPt>
          <c:dPt>
            <c:idx val="449"/>
            <c:spPr>
              <a:solidFill>
                <a:srgbClr val="AEABAB"/>
              </a:solidFill>
            </c:spPr>
          </c:dPt>
          <c:dPt>
            <c:idx val="450"/>
            <c:spPr>
              <a:solidFill>
                <a:srgbClr val="AEABAB"/>
              </a:solidFill>
            </c:spPr>
          </c:dPt>
          <c:dPt>
            <c:idx val="451"/>
            <c:spPr>
              <a:solidFill>
                <a:srgbClr val="AEABAB"/>
              </a:solidFill>
            </c:spPr>
          </c:dPt>
          <c:dPt>
            <c:idx val="452"/>
            <c:spPr>
              <a:solidFill>
                <a:srgbClr val="AEABAB"/>
              </a:solidFill>
            </c:spPr>
          </c:dPt>
          <c:dPt>
            <c:idx val="453"/>
            <c:spPr>
              <a:solidFill>
                <a:srgbClr val="AEABAB"/>
              </a:solidFill>
            </c:spPr>
          </c:dPt>
          <c:dPt>
            <c:idx val="454"/>
            <c:spPr>
              <a:solidFill>
                <a:srgbClr val="AEABAB"/>
              </a:solidFill>
            </c:spPr>
          </c:dPt>
          <c:dPt>
            <c:idx val="455"/>
            <c:spPr>
              <a:solidFill>
                <a:srgbClr val="AEABAB"/>
              </a:solidFill>
            </c:spPr>
          </c:dPt>
          <c:dPt>
            <c:idx val="456"/>
            <c:spPr>
              <a:solidFill>
                <a:srgbClr val="AEABAB"/>
              </a:solidFill>
            </c:spPr>
          </c:dPt>
          <c:dPt>
            <c:idx val="457"/>
            <c:spPr>
              <a:solidFill>
                <a:srgbClr val="AEABAB"/>
              </a:solidFill>
            </c:spPr>
          </c:dPt>
          <c:dPt>
            <c:idx val="458"/>
            <c:spPr>
              <a:solidFill>
                <a:srgbClr val="AEABAB"/>
              </a:solidFill>
            </c:spPr>
          </c:dPt>
          <c:dPt>
            <c:idx val="459"/>
            <c:spPr>
              <a:solidFill>
                <a:srgbClr val="AEABAB"/>
              </a:solidFill>
            </c:spPr>
          </c:dPt>
          <c:dPt>
            <c:idx val="460"/>
            <c:spPr>
              <a:solidFill>
                <a:srgbClr val="AEABAB"/>
              </a:solidFill>
            </c:spPr>
          </c:dPt>
          <c:dPt>
            <c:idx val="461"/>
            <c:spPr>
              <a:solidFill>
                <a:srgbClr val="AEABAB"/>
              </a:solidFill>
            </c:spPr>
          </c:dPt>
          <c:dPt>
            <c:idx val="462"/>
            <c:spPr>
              <a:solidFill>
                <a:srgbClr val="AEABAB"/>
              </a:solidFill>
            </c:spPr>
          </c:dPt>
          <c:dPt>
            <c:idx val="463"/>
            <c:spPr>
              <a:solidFill>
                <a:srgbClr val="AEABAB"/>
              </a:solidFill>
            </c:spPr>
          </c:dPt>
          <c:dPt>
            <c:idx val="464"/>
            <c:spPr>
              <a:solidFill>
                <a:srgbClr val="AEABAB"/>
              </a:solidFill>
            </c:spPr>
          </c:dPt>
          <c:dPt>
            <c:idx val="465"/>
            <c:spPr>
              <a:solidFill>
                <a:srgbClr val="AEABAB"/>
              </a:solidFill>
            </c:spPr>
          </c:dPt>
          <c:dPt>
            <c:idx val="466"/>
            <c:spPr>
              <a:solidFill>
                <a:srgbClr val="AEABAB"/>
              </a:solidFill>
            </c:spPr>
          </c:dPt>
          <c:dPt>
            <c:idx val="467"/>
            <c:spPr>
              <a:solidFill>
                <a:srgbClr val="AEABAB"/>
              </a:solidFill>
            </c:spPr>
          </c:dPt>
          <c:dPt>
            <c:idx val="468"/>
            <c:spPr>
              <a:solidFill>
                <a:srgbClr val="AEABAB"/>
              </a:solidFill>
            </c:spPr>
          </c:dPt>
          <c:dPt>
            <c:idx val="469"/>
            <c:spPr>
              <a:solidFill>
                <a:srgbClr val="AEABAB"/>
              </a:solidFill>
            </c:spPr>
          </c:dPt>
          <c:dPt>
            <c:idx val="470"/>
            <c:spPr>
              <a:solidFill>
                <a:srgbClr val="AEABAB"/>
              </a:solidFill>
            </c:spPr>
          </c:dPt>
          <c:dPt>
            <c:idx val="471"/>
            <c:spPr>
              <a:solidFill>
                <a:srgbClr val="AEABAB"/>
              </a:solidFill>
            </c:spPr>
          </c:dPt>
          <c:dPt>
            <c:idx val="472"/>
            <c:spPr>
              <a:solidFill>
                <a:srgbClr val="AEABAB"/>
              </a:solidFill>
            </c:spPr>
          </c:dPt>
          <c:dPt>
            <c:idx val="473"/>
            <c:spPr>
              <a:solidFill>
                <a:srgbClr val="AEABAB"/>
              </a:solidFill>
            </c:spPr>
          </c:dPt>
          <c:dPt>
            <c:idx val="474"/>
            <c:spPr>
              <a:solidFill>
                <a:srgbClr val="AEABAB"/>
              </a:solidFill>
            </c:spPr>
          </c:dPt>
          <c:dPt>
            <c:idx val="475"/>
            <c:spPr>
              <a:solidFill>
                <a:srgbClr val="AEABAB"/>
              </a:solidFill>
            </c:spPr>
          </c:dPt>
          <c:dPt>
            <c:idx val="476"/>
            <c:spPr>
              <a:solidFill>
                <a:srgbClr val="AEABAB"/>
              </a:solidFill>
            </c:spPr>
          </c:dPt>
          <c:dPt>
            <c:idx val="477"/>
            <c:spPr>
              <a:solidFill>
                <a:srgbClr val="AEABAB"/>
              </a:solidFill>
            </c:spPr>
          </c:dPt>
          <c:dPt>
            <c:idx val="478"/>
            <c:spPr>
              <a:solidFill>
                <a:srgbClr val="AEABAB"/>
              </a:solidFill>
            </c:spPr>
          </c:dPt>
          <c:dPt>
            <c:idx val="479"/>
            <c:spPr>
              <a:solidFill>
                <a:srgbClr val="AEABAB"/>
              </a:solidFill>
            </c:spPr>
          </c:dPt>
          <c:dPt>
            <c:idx val="480"/>
            <c:spPr>
              <a:solidFill>
                <a:srgbClr val="AEABAB"/>
              </a:solidFill>
            </c:spPr>
          </c:dPt>
          <c:dPt>
            <c:idx val="481"/>
            <c:spPr>
              <a:solidFill>
                <a:srgbClr val="AEABAB"/>
              </a:solidFill>
            </c:spPr>
          </c:dPt>
          <c:dPt>
            <c:idx val="482"/>
            <c:spPr>
              <a:solidFill>
                <a:srgbClr val="AEABAB"/>
              </a:solidFill>
            </c:spPr>
          </c:dPt>
          <c:dPt>
            <c:idx val="483"/>
            <c:spPr>
              <a:solidFill>
                <a:srgbClr val="AEABAB"/>
              </a:solidFill>
            </c:spPr>
          </c:dPt>
          <c:dPt>
            <c:idx val="484"/>
            <c:spPr>
              <a:solidFill>
                <a:srgbClr val="AEABAB"/>
              </a:solidFill>
            </c:spPr>
          </c:dPt>
          <c:dPt>
            <c:idx val="485"/>
            <c:spPr>
              <a:solidFill>
                <a:srgbClr val="AEABAB"/>
              </a:solidFill>
            </c:spPr>
          </c:dPt>
          <c:dPt>
            <c:idx val="486"/>
            <c:spPr>
              <a:solidFill>
                <a:srgbClr val="AEABAB"/>
              </a:solidFill>
            </c:spPr>
          </c:dPt>
          <c:dPt>
            <c:idx val="487"/>
            <c:spPr>
              <a:solidFill>
                <a:srgbClr val="AEABAB"/>
              </a:solidFill>
            </c:spPr>
          </c:dPt>
          <c:dPt>
            <c:idx val="488"/>
            <c:spPr>
              <a:solidFill>
                <a:srgbClr val="AEABAB"/>
              </a:solidFill>
            </c:spPr>
          </c:dPt>
          <c:dPt>
            <c:idx val="489"/>
            <c:spPr>
              <a:solidFill>
                <a:srgbClr val="AEABAB"/>
              </a:solidFill>
            </c:spPr>
          </c:dPt>
          <c:dPt>
            <c:idx val="490"/>
            <c:spPr>
              <a:solidFill>
                <a:srgbClr val="AEABAB"/>
              </a:solidFill>
            </c:spPr>
          </c:dPt>
          <c:dPt>
            <c:idx val="491"/>
            <c:spPr>
              <a:solidFill>
                <a:srgbClr val="AEABAB"/>
              </a:solidFill>
            </c:spPr>
          </c:dPt>
          <c:dPt>
            <c:idx val="492"/>
            <c:spPr>
              <a:solidFill>
                <a:srgbClr val="AEABAB"/>
              </a:solidFill>
            </c:spPr>
          </c:dPt>
          <c:dPt>
            <c:idx val="493"/>
            <c:spPr>
              <a:solidFill>
                <a:srgbClr val="AEABAB"/>
              </a:solidFill>
            </c:spPr>
          </c:dPt>
          <c:dPt>
            <c:idx val="494"/>
            <c:spPr>
              <a:solidFill>
                <a:srgbClr val="AEABAB"/>
              </a:solidFill>
            </c:spPr>
          </c:dPt>
          <c:dPt>
            <c:idx val="495"/>
            <c:spPr>
              <a:solidFill>
                <a:srgbClr val="AEABAB"/>
              </a:solidFill>
            </c:spPr>
          </c:dPt>
          <c:dPt>
            <c:idx val="496"/>
            <c:spPr>
              <a:solidFill>
                <a:srgbClr val="AEABAB"/>
              </a:solidFill>
            </c:spPr>
          </c:dPt>
          <c:dPt>
            <c:idx val="497"/>
            <c:spPr>
              <a:solidFill>
                <a:srgbClr val="AEABAB"/>
              </a:solidFill>
            </c:spPr>
          </c:dPt>
          <c:dPt>
            <c:idx val="498"/>
            <c:spPr>
              <a:solidFill>
                <a:srgbClr val="AEABAB"/>
              </a:solidFill>
            </c:spPr>
          </c:dPt>
          <c:dPt>
            <c:idx val="499"/>
            <c:spPr>
              <a:solidFill>
                <a:srgbClr val="AEABAB"/>
              </a:solidFill>
            </c:spPr>
          </c:dPt>
          <c:dPt>
            <c:idx val="500"/>
            <c:spPr>
              <a:solidFill>
                <a:srgbClr val="AEABAB"/>
              </a:solidFill>
            </c:spPr>
          </c:dPt>
          <c:dPt>
            <c:idx val="501"/>
            <c:spPr>
              <a:solidFill>
                <a:srgbClr val="AEABAB"/>
              </a:solidFill>
            </c:spPr>
          </c:dPt>
          <c:dPt>
            <c:idx val="502"/>
            <c:spPr>
              <a:solidFill>
                <a:srgbClr val="AEABAB"/>
              </a:solidFill>
            </c:spPr>
          </c:dPt>
          <c:dPt>
            <c:idx val="503"/>
            <c:spPr>
              <a:solidFill>
                <a:srgbClr val="AEABAB"/>
              </a:solidFill>
            </c:spPr>
          </c:dPt>
          <c:dPt>
            <c:idx val="504"/>
            <c:spPr>
              <a:solidFill>
                <a:srgbClr val="AEABAB"/>
              </a:solidFill>
            </c:spPr>
          </c:dPt>
          <c:dPt>
            <c:idx val="505"/>
            <c:spPr>
              <a:solidFill>
                <a:srgbClr val="AEABAB"/>
              </a:solidFill>
            </c:spPr>
          </c:dPt>
          <c:dPt>
            <c:idx val="506"/>
            <c:spPr>
              <a:solidFill>
                <a:srgbClr val="AEABAB"/>
              </a:solidFill>
            </c:spPr>
          </c:dPt>
          <c:dPt>
            <c:idx val="507"/>
            <c:spPr>
              <a:solidFill>
                <a:srgbClr val="AEABAB"/>
              </a:solidFill>
            </c:spPr>
          </c:dPt>
          <c:dPt>
            <c:idx val="508"/>
            <c:spPr>
              <a:solidFill>
                <a:srgbClr val="AEABAB"/>
              </a:solidFill>
            </c:spPr>
          </c:dPt>
          <c:dPt>
            <c:idx val="509"/>
            <c:spPr>
              <a:solidFill>
                <a:srgbClr val="AEABAB"/>
              </a:solidFill>
            </c:spPr>
          </c:dPt>
          <c:dPt>
            <c:idx val="510"/>
            <c:spPr>
              <a:solidFill>
                <a:srgbClr val="AEABAB"/>
              </a:solidFill>
            </c:spPr>
          </c:dPt>
          <c:dPt>
            <c:idx val="511"/>
            <c:spPr>
              <a:solidFill>
                <a:srgbClr val="AEABAB"/>
              </a:solidFill>
            </c:spPr>
          </c:dPt>
          <c:dPt>
            <c:idx val="512"/>
            <c:spPr>
              <a:solidFill>
                <a:srgbClr val="AEABAB"/>
              </a:solidFill>
            </c:spPr>
          </c:dPt>
          <c:dPt>
            <c:idx val="513"/>
            <c:spPr>
              <a:solidFill>
                <a:srgbClr val="AEABAB"/>
              </a:solidFill>
            </c:spPr>
          </c:dPt>
          <c:dPt>
            <c:idx val="514"/>
            <c:spPr>
              <a:solidFill>
                <a:srgbClr val="AEABAB"/>
              </a:solidFill>
            </c:spPr>
          </c:dPt>
          <c:dPt>
            <c:idx val="515"/>
            <c:spPr>
              <a:solidFill>
                <a:srgbClr val="AEABAB"/>
              </a:solidFill>
            </c:spPr>
          </c:dPt>
          <c:dPt>
            <c:idx val="516"/>
            <c:spPr>
              <a:solidFill>
                <a:srgbClr val="AEABAB"/>
              </a:solidFill>
            </c:spPr>
          </c:dPt>
          <c:dPt>
            <c:idx val="517"/>
            <c:spPr>
              <a:solidFill>
                <a:srgbClr val="AEABAB"/>
              </a:solidFill>
            </c:spPr>
          </c:dPt>
          <c:dPt>
            <c:idx val="518"/>
            <c:spPr>
              <a:solidFill>
                <a:srgbClr val="AEABAB"/>
              </a:solidFill>
            </c:spPr>
          </c:dPt>
          <c:dPt>
            <c:idx val="519"/>
            <c:spPr>
              <a:solidFill>
                <a:srgbClr val="AEABAB"/>
              </a:solidFill>
            </c:spPr>
          </c:dPt>
          <c:dPt>
            <c:idx val="520"/>
            <c:spPr>
              <a:solidFill>
                <a:srgbClr val="AEABAB"/>
              </a:solidFill>
            </c:spPr>
          </c:dPt>
          <c:dPt>
            <c:idx val="521"/>
            <c:spPr>
              <a:solidFill>
                <a:srgbClr val="AEABAB"/>
              </a:solidFill>
            </c:spPr>
          </c:dPt>
          <c:dPt>
            <c:idx val="522"/>
            <c:spPr>
              <a:solidFill>
                <a:srgbClr val="AEABAB"/>
              </a:solidFill>
            </c:spPr>
          </c:dPt>
          <c:dPt>
            <c:idx val="523"/>
            <c:spPr>
              <a:solidFill>
                <a:srgbClr val="AEABAB"/>
              </a:solidFill>
            </c:spPr>
          </c:dPt>
          <c:dPt>
            <c:idx val="524"/>
            <c:spPr>
              <a:solidFill>
                <a:srgbClr val="AEABAB"/>
              </a:solidFill>
            </c:spPr>
          </c:dPt>
          <c:dPt>
            <c:idx val="525"/>
            <c:spPr>
              <a:solidFill>
                <a:srgbClr val="AEABAB"/>
              </a:solidFill>
            </c:spPr>
          </c:dPt>
          <c:dPt>
            <c:idx val="526"/>
            <c:spPr>
              <a:solidFill>
                <a:srgbClr val="AEABAB"/>
              </a:solidFill>
            </c:spPr>
          </c:dPt>
          <c:dPt>
            <c:idx val="527"/>
            <c:spPr>
              <a:solidFill>
                <a:srgbClr val="AEABAB"/>
              </a:solidFill>
            </c:spPr>
          </c:dPt>
          <c:dPt>
            <c:idx val="528"/>
            <c:spPr>
              <a:solidFill>
                <a:srgbClr val="AEABAB"/>
              </a:solidFill>
            </c:spPr>
          </c:dPt>
          <c:dPt>
            <c:idx val="529"/>
            <c:spPr>
              <a:solidFill>
                <a:srgbClr val="AEABAB"/>
              </a:solidFill>
            </c:spPr>
          </c:dPt>
          <c:dPt>
            <c:idx val="530"/>
            <c:spPr>
              <a:solidFill>
                <a:srgbClr val="AEABAB"/>
              </a:solidFill>
            </c:spPr>
          </c:dPt>
          <c:dPt>
            <c:idx val="531"/>
            <c:spPr>
              <a:solidFill>
                <a:srgbClr val="AEABAB"/>
              </a:solidFill>
            </c:spPr>
          </c:dPt>
          <c:dPt>
            <c:idx val="532"/>
            <c:spPr>
              <a:solidFill>
                <a:srgbClr val="AEABAB"/>
              </a:solidFill>
            </c:spPr>
          </c:dPt>
          <c:dPt>
            <c:idx val="533"/>
            <c:spPr>
              <a:solidFill>
                <a:srgbClr val="AEABAB"/>
              </a:solidFill>
            </c:spPr>
          </c:dPt>
          <c:dPt>
            <c:idx val="534"/>
            <c:spPr>
              <a:solidFill>
                <a:srgbClr val="AEABAB"/>
              </a:solidFill>
            </c:spPr>
          </c:dPt>
          <c:dPt>
            <c:idx val="535"/>
            <c:spPr>
              <a:solidFill>
                <a:srgbClr val="AEABAB"/>
              </a:solidFill>
            </c:spPr>
          </c:dPt>
          <c:dPt>
            <c:idx val="536"/>
            <c:spPr>
              <a:solidFill>
                <a:srgbClr val="AEABAB"/>
              </a:solidFill>
            </c:spPr>
          </c:dPt>
          <c:dPt>
            <c:idx val="537"/>
            <c:spPr>
              <a:solidFill>
                <a:srgbClr val="AEABAB"/>
              </a:solidFill>
            </c:spPr>
          </c:dPt>
          <c:dPt>
            <c:idx val="538"/>
            <c:spPr>
              <a:solidFill>
                <a:srgbClr val="AEABAB"/>
              </a:solidFill>
            </c:spPr>
          </c:dPt>
          <c:dPt>
            <c:idx val="539"/>
            <c:spPr>
              <a:solidFill>
                <a:srgbClr val="AEABAB"/>
              </a:solidFill>
            </c:spPr>
          </c:dPt>
          <c:dPt>
            <c:idx val="540"/>
            <c:spPr>
              <a:solidFill>
                <a:srgbClr val="AEABAB"/>
              </a:solidFill>
            </c:spPr>
          </c:dPt>
          <c:dPt>
            <c:idx val="541"/>
            <c:spPr>
              <a:solidFill>
                <a:srgbClr val="AEABAB"/>
              </a:solidFill>
            </c:spPr>
          </c:dPt>
          <c:dPt>
            <c:idx val="542"/>
            <c:spPr>
              <a:solidFill>
                <a:srgbClr val="AEABAB"/>
              </a:solidFill>
            </c:spPr>
          </c:dPt>
          <c:dPt>
            <c:idx val="543"/>
            <c:spPr>
              <a:solidFill>
                <a:srgbClr val="AEABAB"/>
              </a:solidFill>
            </c:spPr>
          </c:dPt>
          <c:dPt>
            <c:idx val="544"/>
            <c:spPr>
              <a:solidFill>
                <a:srgbClr val="AEABAB"/>
              </a:solidFill>
            </c:spPr>
          </c:dPt>
          <c:dPt>
            <c:idx val="545"/>
            <c:spPr>
              <a:solidFill>
                <a:srgbClr val="AEABAB"/>
              </a:solidFill>
            </c:spPr>
          </c:dPt>
          <c:dPt>
            <c:idx val="546"/>
            <c:spPr>
              <a:solidFill>
                <a:srgbClr val="AEABAB"/>
              </a:solidFill>
            </c:spPr>
          </c:dPt>
          <c:dPt>
            <c:idx val="547"/>
            <c:spPr>
              <a:solidFill>
                <a:srgbClr val="AEABAB"/>
              </a:solidFill>
            </c:spPr>
          </c:dPt>
          <c:dPt>
            <c:idx val="548"/>
            <c:spPr>
              <a:solidFill>
                <a:srgbClr val="AEABAB"/>
              </a:solidFill>
            </c:spPr>
          </c:dPt>
          <c:dPt>
            <c:idx val="549"/>
            <c:spPr>
              <a:solidFill>
                <a:srgbClr val="AEABAB"/>
              </a:solidFill>
            </c:spPr>
          </c:dPt>
          <c:dPt>
            <c:idx val="550"/>
            <c:spPr>
              <a:solidFill>
                <a:srgbClr val="AEABAB"/>
              </a:solidFill>
            </c:spPr>
          </c:dPt>
          <c:dPt>
            <c:idx val="551"/>
            <c:spPr>
              <a:solidFill>
                <a:srgbClr val="AEABAB"/>
              </a:solidFill>
            </c:spPr>
          </c:dPt>
          <c:dPt>
            <c:idx val="552"/>
            <c:spPr>
              <a:solidFill>
                <a:srgbClr val="AEABAB"/>
              </a:solidFill>
            </c:spPr>
          </c:dPt>
          <c:dPt>
            <c:idx val="553"/>
            <c:spPr>
              <a:solidFill>
                <a:srgbClr val="AEABAB"/>
              </a:solidFill>
            </c:spPr>
          </c:dPt>
          <c:dPt>
            <c:idx val="554"/>
            <c:spPr>
              <a:solidFill>
                <a:srgbClr val="AEABAB"/>
              </a:solidFill>
            </c:spPr>
          </c:dPt>
          <c:dPt>
            <c:idx val="555"/>
            <c:spPr>
              <a:solidFill>
                <a:srgbClr val="AEABAB"/>
              </a:solidFill>
            </c:spPr>
          </c:dPt>
          <c:dPt>
            <c:idx val="556"/>
            <c:spPr>
              <a:solidFill>
                <a:srgbClr val="AEABAB"/>
              </a:solidFill>
            </c:spPr>
          </c:dPt>
          <c:dPt>
            <c:idx val="557"/>
            <c:spPr>
              <a:solidFill>
                <a:srgbClr val="AEABAB"/>
              </a:solidFill>
            </c:spPr>
          </c:dPt>
          <c:dPt>
            <c:idx val="558"/>
            <c:spPr>
              <a:solidFill>
                <a:srgbClr val="AEABAB"/>
              </a:solidFill>
            </c:spPr>
          </c:dPt>
          <c:dPt>
            <c:idx val="559"/>
            <c:spPr>
              <a:solidFill>
                <a:srgbClr val="AEABAB"/>
              </a:solidFill>
            </c:spPr>
          </c:dPt>
          <c:dPt>
            <c:idx val="560"/>
            <c:spPr>
              <a:solidFill>
                <a:srgbClr val="AEABAB"/>
              </a:solidFill>
            </c:spPr>
          </c:dPt>
          <c:dPt>
            <c:idx val="561"/>
            <c:spPr>
              <a:solidFill>
                <a:srgbClr val="AEABAB"/>
              </a:solidFill>
            </c:spPr>
          </c:dPt>
          <c:dPt>
            <c:idx val="562"/>
            <c:spPr>
              <a:solidFill>
                <a:srgbClr val="AEABAB"/>
              </a:solidFill>
            </c:spPr>
          </c:dPt>
          <c:dPt>
            <c:idx val="563"/>
            <c:spPr>
              <a:solidFill>
                <a:srgbClr val="AEABAB"/>
              </a:solidFill>
            </c:spPr>
          </c:dPt>
          <c:dPt>
            <c:idx val="564"/>
            <c:spPr>
              <a:solidFill>
                <a:srgbClr val="AEABAB"/>
              </a:solidFill>
            </c:spPr>
          </c:dPt>
          <c:dPt>
            <c:idx val="565"/>
            <c:spPr>
              <a:solidFill>
                <a:srgbClr val="AEABAB"/>
              </a:solidFill>
            </c:spPr>
          </c:dPt>
          <c:dPt>
            <c:idx val="566"/>
            <c:spPr>
              <a:solidFill>
                <a:srgbClr val="AEABAB"/>
              </a:solidFill>
            </c:spPr>
          </c:dPt>
          <c:dPt>
            <c:idx val="567"/>
            <c:spPr>
              <a:solidFill>
                <a:srgbClr val="AEABAB"/>
              </a:solidFill>
            </c:spPr>
          </c:dPt>
          <c:dPt>
            <c:idx val="568"/>
            <c:spPr>
              <a:solidFill>
                <a:srgbClr val="AEABAB"/>
              </a:solidFill>
            </c:spPr>
          </c:dPt>
          <c:dPt>
            <c:idx val="569"/>
            <c:spPr>
              <a:solidFill>
                <a:srgbClr val="AEABAB"/>
              </a:solidFill>
            </c:spPr>
          </c:dPt>
          <c:dPt>
            <c:idx val="570"/>
            <c:spPr>
              <a:solidFill>
                <a:srgbClr val="AEABAB"/>
              </a:solidFill>
            </c:spPr>
          </c:dPt>
          <c:dPt>
            <c:idx val="571"/>
            <c:spPr>
              <a:solidFill>
                <a:srgbClr val="AEABAB"/>
              </a:solidFill>
            </c:spPr>
          </c:dPt>
          <c:dPt>
            <c:idx val="572"/>
            <c:spPr>
              <a:solidFill>
                <a:srgbClr val="AEABAB"/>
              </a:solidFill>
            </c:spPr>
          </c:dPt>
          <c:dPt>
            <c:idx val="573"/>
            <c:spPr>
              <a:solidFill>
                <a:srgbClr val="AEABAB"/>
              </a:solidFill>
            </c:spPr>
          </c:dPt>
          <c:dPt>
            <c:idx val="574"/>
            <c:spPr>
              <a:solidFill>
                <a:srgbClr val="AEABAB"/>
              </a:solidFill>
            </c:spPr>
          </c:dPt>
          <c:dPt>
            <c:idx val="575"/>
            <c:spPr>
              <a:solidFill>
                <a:srgbClr val="AEABAB"/>
              </a:solidFill>
            </c:spPr>
          </c:dPt>
          <c:dPt>
            <c:idx val="576"/>
            <c:spPr>
              <a:solidFill>
                <a:srgbClr val="AEABAB"/>
              </a:solidFill>
            </c:spPr>
          </c:dPt>
          <c:dPt>
            <c:idx val="577"/>
            <c:spPr>
              <a:solidFill>
                <a:srgbClr val="AEABAB"/>
              </a:solidFill>
            </c:spPr>
          </c:dPt>
          <c:dPt>
            <c:idx val="578"/>
            <c:spPr>
              <a:solidFill>
                <a:srgbClr val="AEABAB"/>
              </a:solidFill>
            </c:spPr>
          </c:dPt>
          <c:dPt>
            <c:idx val="579"/>
            <c:spPr>
              <a:solidFill>
                <a:srgbClr val="AEABAB"/>
              </a:solidFill>
            </c:spPr>
          </c:dPt>
          <c:dPt>
            <c:idx val="580"/>
            <c:spPr>
              <a:solidFill>
                <a:srgbClr val="AEABAB"/>
              </a:solidFill>
            </c:spPr>
          </c:dPt>
          <c:dPt>
            <c:idx val="581"/>
            <c:spPr>
              <a:solidFill>
                <a:srgbClr val="AEABAB"/>
              </a:solidFill>
            </c:spPr>
          </c:dPt>
          <c:cat>
            <c:strRef>
              <c:f>Sheet1!$A$2:$A$583</c:f>
              <c:strCache>
                <c:ptCount val="582"/>
                <c:pt idx="0">
                  <c:v>Caprice Des</c:v>
                </c:pt>
                <c:pt idx="1">
                  <c:v>Private Lab</c:v>
                </c:pt>
                <c:pt idx="2">
                  <c:v>Mini Babybe</c:v>
                </c:pt>
                <c:pt idx="3">
                  <c:v>Private Lab</c:v>
                </c:pt>
                <c:pt idx="4">
                  <c:v>President</c:v>
                </c:pt>
                <c:pt idx="5">
                  <c:v>Coeur De Li</c:v>
                </c:pt>
                <c:pt idx="6">
                  <c:v>Private Lab</c:v>
                </c:pt>
                <c:pt idx="7">
                  <c:v>Soignon</c:v>
                </c:pt>
                <c:pt idx="8">
                  <c:v>Caprice Des</c:v>
                </c:pt>
                <c:pt idx="9">
                  <c:v>La Vache Qu</c:v>
                </c:pt>
                <c:pt idx="10">
                  <c:v>Private Lab</c:v>
                </c:pt>
                <c:pt idx="11">
                  <c:v>Private Lab</c:v>
                </c:pt>
                <c:pt idx="12">
                  <c:v>President</c:v>
                </c:pt>
                <c:pt idx="13">
                  <c:v>Private Lab</c:v>
                </c:pt>
                <c:pt idx="14">
                  <c:v>Soignon</c:v>
                </c:pt>
                <c:pt idx="15">
                  <c:v>St Moret</c:v>
                </c:pt>
                <c:pt idx="16">
                  <c:v>Le Rustique</c:v>
                </c:pt>
                <c:pt idx="17">
                  <c:v>St Moret</c:v>
                </c:pt>
                <c:pt idx="18">
                  <c:v>All Others</c:v>
                </c:pt>
                <c:pt idx="19">
                  <c:v>Private Lab</c:v>
                </c:pt>
                <c:pt idx="20">
                  <c:v>President</c:v>
                </c:pt>
                <c:pt idx="21">
                  <c:v>La Vache Qu</c:v>
                </c:pt>
                <c:pt idx="22">
                  <c:v>St Moret</c:v>
                </c:pt>
                <c:pt idx="23">
                  <c:v>Private Lab</c:v>
                </c:pt>
                <c:pt idx="24">
                  <c:v>Coeur De Li</c:v>
                </c:pt>
                <c:pt idx="25">
                  <c:v>La Vache Qu</c:v>
                </c:pt>
                <c:pt idx="26">
                  <c:v>Private Lab</c:v>
                </c:pt>
                <c:pt idx="27">
                  <c:v>St Moret</c:v>
                </c:pt>
                <c:pt idx="28">
                  <c:v>Tartare</c:v>
                </c:pt>
                <c:pt idx="29">
                  <c:v>Mini Babybe</c:v>
                </c:pt>
                <c:pt idx="30">
                  <c:v>Private Lab</c:v>
                </c:pt>
                <c:pt idx="31">
                  <c:v>Soignon</c:v>
                </c:pt>
                <c:pt idx="32">
                  <c:v>Galbani</c:v>
                </c:pt>
                <c:pt idx="33">
                  <c:v>Kiri</c:v>
                </c:pt>
                <c:pt idx="34">
                  <c:v>Private Lab</c:v>
                </c:pt>
                <c:pt idx="35">
                  <c:v>Kiri</c:v>
                </c:pt>
                <c:pt idx="36">
                  <c:v>Galbani</c:v>
                </c:pt>
                <c:pt idx="37">
                  <c:v>Ficello</c:v>
                </c:pt>
                <c:pt idx="38">
                  <c:v>Private Lab</c:v>
                </c:pt>
                <c:pt idx="39">
                  <c:v>Galbani</c:v>
                </c:pt>
                <c:pt idx="40">
                  <c:v>Salakis</c:v>
                </c:pt>
                <c:pt idx="41">
                  <c:v>Private Lab</c:v>
                </c:pt>
                <c:pt idx="42">
                  <c:v>Private Lab</c:v>
                </c:pt>
                <c:pt idx="43">
                  <c:v>Private Lab</c:v>
                </c:pt>
                <c:pt idx="44">
                  <c:v>Private Lab</c:v>
                </c:pt>
                <c:pt idx="45">
                  <c:v>Private Lab</c:v>
                </c:pt>
                <c:pt idx="46">
                  <c:v>Private Lab</c:v>
                </c:pt>
                <c:pt idx="47">
                  <c:v>Paysan Bret</c:v>
                </c:pt>
                <c:pt idx="48">
                  <c:v>Private Lab</c:v>
                </c:pt>
                <c:pt idx="49">
                  <c:v>Istara</c:v>
                </c:pt>
                <c:pt idx="50">
                  <c:v>Private Lab</c:v>
                </c:pt>
                <c:pt idx="51">
                  <c:v>Private Lab</c:v>
                </c:pt>
                <c:pt idx="52">
                  <c:v>Boursin</c:v>
                </c:pt>
                <c:pt idx="53">
                  <c:v>St Moret</c:v>
                </c:pt>
                <c:pt idx="54">
                  <c:v>Paysan Bret</c:v>
                </c:pt>
                <c:pt idx="55">
                  <c:v>Philadelphi</c:v>
                </c:pt>
                <c:pt idx="56">
                  <c:v>Private Lab</c:v>
                </c:pt>
                <c:pt idx="57">
                  <c:v>Kiri</c:v>
                </c:pt>
                <c:pt idx="58">
                  <c:v>President</c:v>
                </c:pt>
                <c:pt idx="59">
                  <c:v>Lou Perac</c:v>
                </c:pt>
                <c:pt idx="60">
                  <c:v>Tartare</c:v>
                </c:pt>
                <c:pt idx="61">
                  <c:v>Boursin</c:v>
                </c:pt>
                <c:pt idx="62">
                  <c:v>Galbani</c:v>
                </c:pt>
                <c:pt idx="63">
                  <c:v>Private Lab</c:v>
                </c:pt>
                <c:pt idx="64">
                  <c:v>All Others</c:v>
                </c:pt>
                <c:pt idx="65">
                  <c:v>Islos</c:v>
                </c:pt>
                <c:pt idx="66">
                  <c:v>Mini Babybe</c:v>
                </c:pt>
                <c:pt idx="67">
                  <c:v>Lepetit</c:v>
                </c:pt>
                <c:pt idx="68">
                  <c:v>Caprice Des</c:v>
                </c:pt>
                <c:pt idx="69">
                  <c:v>Salakis</c:v>
                </c:pt>
                <c:pt idx="70">
                  <c:v>Galbani</c:v>
                </c:pt>
                <c:pt idx="71">
                  <c:v>President</c:v>
                </c:pt>
                <c:pt idx="72">
                  <c:v>All Others</c:v>
                </c:pt>
                <c:pt idx="73">
                  <c:v>Coeur De Li</c:v>
                </c:pt>
                <c:pt idx="74">
                  <c:v>Boursin</c:v>
                </c:pt>
                <c:pt idx="75">
                  <c:v>Private Lab</c:v>
                </c:pt>
                <c:pt idx="76">
                  <c:v>Kiri</c:v>
                </c:pt>
                <c:pt idx="77">
                  <c:v>Carre Frais</c:v>
                </c:pt>
                <c:pt idx="78">
                  <c:v>Carre Frais</c:v>
                </c:pt>
                <c:pt idx="79">
                  <c:v>Coeur De Li</c:v>
                </c:pt>
                <c:pt idx="80">
                  <c:v>Coeur De Li</c:v>
                </c:pt>
                <c:pt idx="81">
                  <c:v>Private Lab</c:v>
                </c:pt>
                <c:pt idx="82">
                  <c:v>St Moret</c:v>
                </c:pt>
                <c:pt idx="83">
                  <c:v>Private Lab</c:v>
                </c:pt>
                <c:pt idx="84">
                  <c:v>Private Lab</c:v>
                </c:pt>
                <c:pt idx="85">
                  <c:v>All Others</c:v>
                </c:pt>
                <c:pt idx="86">
                  <c:v>Private Lab</c:v>
                </c:pt>
                <c:pt idx="87">
                  <c:v>President</c:v>
                </c:pt>
                <c:pt idx="88">
                  <c:v>All Others</c:v>
                </c:pt>
                <c:pt idx="89">
                  <c:v>Galbani</c:v>
                </c:pt>
                <c:pt idx="90">
                  <c:v>President</c:v>
                </c:pt>
                <c:pt idx="91">
                  <c:v>Kiri</c:v>
                </c:pt>
                <c:pt idx="92">
                  <c:v>Salakis</c:v>
                </c:pt>
                <c:pt idx="93">
                  <c:v>Soignon</c:v>
                </c:pt>
                <c:pt idx="94">
                  <c:v>All Others</c:v>
                </c:pt>
                <c:pt idx="95">
                  <c:v>Private Lab</c:v>
                </c:pt>
                <c:pt idx="96">
                  <c:v>President</c:v>
                </c:pt>
                <c:pt idx="97">
                  <c:v>Private Lab</c:v>
                </c:pt>
                <c:pt idx="98">
                  <c:v>Casa Azzurr</c:v>
                </c:pt>
                <c:pt idx="99">
                  <c:v>Lactalis: A</c:v>
                </c:pt>
                <c:pt idx="100">
                  <c:v>All Others</c:v>
                </c:pt>
                <c:pt idx="101">
                  <c:v>Istara</c:v>
                </c:pt>
                <c:pt idx="102">
                  <c:v>Private Lab</c:v>
                </c:pt>
                <c:pt idx="103">
                  <c:v>Private Lab</c:v>
                </c:pt>
                <c:pt idx="104">
                  <c:v>La Vache Qu</c:v>
                </c:pt>
                <c:pt idx="105">
                  <c:v>Private Lab</c:v>
                </c:pt>
                <c:pt idx="106">
                  <c:v>Petit Billy</c:v>
                </c:pt>
                <c:pt idx="107">
                  <c:v>Tartare</c:v>
                </c:pt>
                <c:pt idx="108">
                  <c:v>President</c:v>
                </c:pt>
                <c:pt idx="109">
                  <c:v>La Vache Qu</c:v>
                </c:pt>
                <c:pt idx="110">
                  <c:v>St Moret</c:v>
                </c:pt>
                <c:pt idx="111">
                  <c:v>St Moret</c:v>
                </c:pt>
                <c:pt idx="112">
                  <c:v>Lactalis: A</c:v>
                </c:pt>
                <c:pt idx="113">
                  <c:v>Soignon</c:v>
                </c:pt>
                <c:pt idx="114">
                  <c:v>Private Lab</c:v>
                </c:pt>
                <c:pt idx="115">
                  <c:v>Le Rustique</c:v>
                </c:pt>
                <c:pt idx="116">
                  <c:v>Coeur De Li</c:v>
                </c:pt>
                <c:pt idx="117">
                  <c:v>Casa Azzurr</c:v>
                </c:pt>
                <c:pt idx="118">
                  <c:v>Casa Azzurr</c:v>
                </c:pt>
                <c:pt idx="119">
                  <c:v>Private Lab</c:v>
                </c:pt>
                <c:pt idx="120">
                  <c:v>Soignon</c:v>
                </c:pt>
                <c:pt idx="121">
                  <c:v>Private Lab</c:v>
                </c:pt>
                <c:pt idx="122">
                  <c:v>Casa Azzurr</c:v>
                </c:pt>
                <c:pt idx="123">
                  <c:v>Caprice Des</c:v>
                </c:pt>
                <c:pt idx="124">
                  <c:v>Ficello</c:v>
                </c:pt>
                <c:pt idx="125">
                  <c:v>Philadelphi</c:v>
                </c:pt>
                <c:pt idx="126">
                  <c:v>Private Lab</c:v>
                </c:pt>
                <c:pt idx="127">
                  <c:v>All Others</c:v>
                </c:pt>
                <c:pt idx="128">
                  <c:v>Private Lab</c:v>
                </c:pt>
                <c:pt idx="129">
                  <c:v>President</c:v>
                </c:pt>
                <c:pt idx="130">
                  <c:v>Etorki</c:v>
                </c:pt>
                <c:pt idx="131">
                  <c:v>Paysan Bret</c:v>
                </c:pt>
                <c:pt idx="132">
                  <c:v>P'Tit Louis</c:v>
                </c:pt>
                <c:pt idx="133">
                  <c:v>Ficello</c:v>
                </c:pt>
                <c:pt idx="134">
                  <c:v>Galbani</c:v>
                </c:pt>
                <c:pt idx="135">
                  <c:v>All Others</c:v>
                </c:pt>
                <c:pt idx="136">
                  <c:v>Private Lab</c:v>
                </c:pt>
                <c:pt idx="137">
                  <c:v>Private Lab</c:v>
                </c:pt>
                <c:pt idx="138">
                  <c:v>Le Rustique</c:v>
                </c:pt>
                <c:pt idx="139">
                  <c:v>All Others</c:v>
                </c:pt>
                <c:pt idx="140">
                  <c:v>Chavroux</c:v>
                </c:pt>
                <c:pt idx="141">
                  <c:v>Soignon</c:v>
                </c:pt>
                <c:pt idx="142">
                  <c:v>Lactalis: A</c:v>
                </c:pt>
                <c:pt idx="143">
                  <c:v>Casa Azzurr</c:v>
                </c:pt>
                <c:pt idx="144">
                  <c:v>Private Lab</c:v>
                </c:pt>
                <c:pt idx="145">
                  <c:v>Salakis</c:v>
                </c:pt>
                <c:pt idx="146">
                  <c:v>Boursin</c:v>
                </c:pt>
                <c:pt idx="147">
                  <c:v>Boursin</c:v>
                </c:pt>
                <c:pt idx="148">
                  <c:v>Paysan Bret</c:v>
                </c:pt>
                <c:pt idx="149">
                  <c:v>Soignon</c:v>
                </c:pt>
                <c:pt idx="150">
                  <c:v>Boursin</c:v>
                </c:pt>
                <c:pt idx="151">
                  <c:v>President</c:v>
                </c:pt>
                <c:pt idx="152">
                  <c:v>Paysan Bret</c:v>
                </c:pt>
                <c:pt idx="153">
                  <c:v>Salakis</c:v>
                </c:pt>
                <c:pt idx="154">
                  <c:v>Boursin</c:v>
                </c:pt>
                <c:pt idx="155">
                  <c:v>Private Lab</c:v>
                </c:pt>
                <c:pt idx="156">
                  <c:v>President</c:v>
                </c:pt>
                <c:pt idx="157">
                  <c:v>Tartare</c:v>
                </c:pt>
                <c:pt idx="158">
                  <c:v>Private Lab</c:v>
                </c:pt>
                <c:pt idx="159">
                  <c:v>Carre Frais</c:v>
                </c:pt>
                <c:pt idx="160">
                  <c:v>Le Brebiou</c:v>
                </c:pt>
                <c:pt idx="161">
                  <c:v>Casa Azzurr</c:v>
                </c:pt>
                <c:pt idx="162">
                  <c:v>Soignon</c:v>
                </c:pt>
                <c:pt idx="163">
                  <c:v>Private Lab</c:v>
                </c:pt>
                <c:pt idx="164">
                  <c:v>Soignon</c:v>
                </c:pt>
                <c:pt idx="165">
                  <c:v>Paysan Bret</c:v>
                </c:pt>
                <c:pt idx="166">
                  <c:v>Pave D'Affi</c:v>
                </c:pt>
                <c:pt idx="167">
                  <c:v>Private Lab</c:v>
                </c:pt>
                <c:pt idx="168">
                  <c:v>Boursin</c:v>
                </c:pt>
                <c:pt idx="169">
                  <c:v>Private Lab</c:v>
                </c:pt>
                <c:pt idx="170">
                  <c:v>La Vache Qu</c:v>
                </c:pt>
                <c:pt idx="171">
                  <c:v>Private Lab</c:v>
                </c:pt>
                <c:pt idx="172">
                  <c:v>All Others</c:v>
                </c:pt>
                <c:pt idx="173">
                  <c:v>All Others</c:v>
                </c:pt>
                <c:pt idx="174">
                  <c:v>Galbani</c:v>
                </c:pt>
                <c:pt idx="175">
                  <c:v>Mini Babybe</c:v>
                </c:pt>
                <c:pt idx="176">
                  <c:v>Etorki</c:v>
                </c:pt>
                <c:pt idx="177">
                  <c:v>Galbani</c:v>
                </c:pt>
                <c:pt idx="178">
                  <c:v>Tartare</c:v>
                </c:pt>
                <c:pt idx="179">
                  <c:v>Caprice Des</c:v>
                </c:pt>
                <c:pt idx="180">
                  <c:v>Chavroux</c:v>
                </c:pt>
                <c:pt idx="181">
                  <c:v>Private Lab</c:v>
                </c:pt>
                <c:pt idx="182">
                  <c:v>All Others</c:v>
                </c:pt>
                <c:pt idx="183">
                  <c:v>Private Lab</c:v>
                </c:pt>
                <c:pt idx="184">
                  <c:v>Soignon</c:v>
                </c:pt>
                <c:pt idx="185">
                  <c:v>Private Lab</c:v>
                </c:pt>
                <c:pt idx="186">
                  <c:v>Private Lab</c:v>
                </c:pt>
                <c:pt idx="187">
                  <c:v>Boursin</c:v>
                </c:pt>
                <c:pt idx="188">
                  <c:v>Mini Babybe</c:v>
                </c:pt>
                <c:pt idx="189">
                  <c:v>Paysan Bret</c:v>
                </c:pt>
                <c:pt idx="190">
                  <c:v>All Others</c:v>
                </c:pt>
                <c:pt idx="191">
                  <c:v>Lou Perac</c:v>
                </c:pt>
                <c:pt idx="192">
                  <c:v>Private Lab</c:v>
                </c:pt>
                <c:pt idx="193">
                  <c:v>Private Lab</c:v>
                </c:pt>
                <c:pt idx="194">
                  <c:v>All Others</c:v>
                </c:pt>
                <c:pt idx="195">
                  <c:v>Boursin</c:v>
                </c:pt>
                <c:pt idx="196">
                  <c:v>Galbani</c:v>
                </c:pt>
                <c:pt idx="197">
                  <c:v>Saint Agur</c:v>
                </c:pt>
                <c:pt idx="198">
                  <c:v>Caprice Des</c:v>
                </c:pt>
                <c:pt idx="199">
                  <c:v>Savencia: A</c:v>
                </c:pt>
                <c:pt idx="200">
                  <c:v>Le Rustique</c:v>
                </c:pt>
                <c:pt idx="201">
                  <c:v>Salakis</c:v>
                </c:pt>
                <c:pt idx="202">
                  <c:v>Caprice Des</c:v>
                </c:pt>
                <c:pt idx="203">
                  <c:v>Caprice Des</c:v>
                </c:pt>
                <c:pt idx="204">
                  <c:v>Tartare</c:v>
                </c:pt>
                <c:pt idx="205">
                  <c:v>Tartare</c:v>
                </c:pt>
                <c:pt idx="206">
                  <c:v>All Others</c:v>
                </c:pt>
                <c:pt idx="207">
                  <c:v>Private Lab</c:v>
                </c:pt>
                <c:pt idx="208">
                  <c:v>Casa Azzurr</c:v>
                </c:pt>
                <c:pt idx="209">
                  <c:v>Kiri</c:v>
                </c:pt>
                <c:pt idx="210">
                  <c:v>La Vache Qu</c:v>
                </c:pt>
                <c:pt idx="211">
                  <c:v>St Moret</c:v>
                </c:pt>
                <c:pt idx="212">
                  <c:v>Boursin</c:v>
                </c:pt>
                <c:pt idx="213">
                  <c:v>Private Lab</c:v>
                </c:pt>
                <c:pt idx="214">
                  <c:v>Private Lab</c:v>
                </c:pt>
                <c:pt idx="215">
                  <c:v>All Others</c:v>
                </c:pt>
                <c:pt idx="216">
                  <c:v>Private Lab</c:v>
                </c:pt>
                <c:pt idx="217">
                  <c:v>Paysan Bret</c:v>
                </c:pt>
                <c:pt idx="218">
                  <c:v>Casa Azzurr</c:v>
                </c:pt>
                <c:pt idx="219">
                  <c:v>Lou Perac</c:v>
                </c:pt>
                <c:pt idx="220">
                  <c:v>Private Lab</c:v>
                </c:pt>
                <c:pt idx="221">
                  <c:v>P'Tit Louis</c:v>
                </c:pt>
                <c:pt idx="222">
                  <c:v>Kiri</c:v>
                </c:pt>
                <c:pt idx="223">
                  <c:v>Lactalis: A</c:v>
                </c:pt>
                <c:pt idx="224">
                  <c:v>All Others</c:v>
                </c:pt>
                <c:pt idx="225">
                  <c:v>Soignon</c:v>
                </c:pt>
                <c:pt idx="226">
                  <c:v>Soignon</c:v>
                </c:pt>
                <c:pt idx="227">
                  <c:v>Mini Babybe</c:v>
                </c:pt>
                <c:pt idx="228">
                  <c:v>All Others</c:v>
                </c:pt>
                <c:pt idx="229">
                  <c:v>All Others</c:v>
                </c:pt>
                <c:pt idx="230">
                  <c:v>All Others</c:v>
                </c:pt>
                <c:pt idx="231">
                  <c:v>Soignon</c:v>
                </c:pt>
                <c:pt idx="232">
                  <c:v>Casa Azzurr</c:v>
                </c:pt>
                <c:pt idx="233">
                  <c:v>Islos</c:v>
                </c:pt>
                <c:pt idx="234">
                  <c:v>Kiri</c:v>
                </c:pt>
                <c:pt idx="235">
                  <c:v>All Others</c:v>
                </c:pt>
                <c:pt idx="236">
                  <c:v>Private Lab</c:v>
                </c:pt>
                <c:pt idx="237">
                  <c:v>Istara</c:v>
                </c:pt>
                <c:pt idx="238">
                  <c:v>Paysan Bret</c:v>
                </c:pt>
                <c:pt idx="239">
                  <c:v>Corsica</c:v>
                </c:pt>
                <c:pt idx="240">
                  <c:v>All Others</c:v>
                </c:pt>
                <c:pt idx="241">
                  <c:v>Paysan Bret</c:v>
                </c:pt>
                <c:pt idx="242">
                  <c:v>Kiri</c:v>
                </c:pt>
                <c:pt idx="243">
                  <c:v>Milleret: A</c:v>
                </c:pt>
                <c:pt idx="244">
                  <c:v>Etoile Du Q</c:v>
                </c:pt>
                <c:pt idx="245">
                  <c:v>Boursin</c:v>
                </c:pt>
                <c:pt idx="246">
                  <c:v>All Others</c:v>
                </c:pt>
                <c:pt idx="247">
                  <c:v>Private Lab</c:v>
                </c:pt>
                <c:pt idx="248">
                  <c:v>Galbani</c:v>
                </c:pt>
                <c:pt idx="249">
                  <c:v>Mini Babybe</c:v>
                </c:pt>
                <c:pt idx="250">
                  <c:v>Salakis</c:v>
                </c:pt>
                <c:pt idx="251">
                  <c:v>Private Lab</c:v>
                </c:pt>
                <c:pt idx="252">
                  <c:v>Mini Babybe</c:v>
                </c:pt>
                <c:pt idx="253">
                  <c:v>Soignon</c:v>
                </c:pt>
                <c:pt idx="254">
                  <c:v>Kiri</c:v>
                </c:pt>
                <c:pt idx="255">
                  <c:v>All Others</c:v>
                </c:pt>
                <c:pt idx="256">
                  <c:v>Soignon</c:v>
                </c:pt>
                <c:pt idx="257">
                  <c:v>Galbani</c:v>
                </c:pt>
                <c:pt idx="258">
                  <c:v>All Others</c:v>
                </c:pt>
                <c:pt idx="259">
                  <c:v>Private Lab</c:v>
                </c:pt>
                <c:pt idx="260">
                  <c:v>Carre Frais</c:v>
                </c:pt>
                <c:pt idx="261">
                  <c:v>Triballat N</c:v>
                </c:pt>
                <c:pt idx="262">
                  <c:v>Le Brebiou</c:v>
                </c:pt>
                <c:pt idx="263">
                  <c:v>Boursin</c:v>
                </c:pt>
                <c:pt idx="264">
                  <c:v>All Others</c:v>
                </c:pt>
                <c:pt idx="265">
                  <c:v>All Others</c:v>
                </c:pt>
                <c:pt idx="266">
                  <c:v>Galbani</c:v>
                </c:pt>
                <c:pt idx="267">
                  <c:v>Milleret: A</c:v>
                </c:pt>
                <c:pt idx="268">
                  <c:v>All Others</c:v>
                </c:pt>
                <c:pt idx="269">
                  <c:v>Triballat N</c:v>
                </c:pt>
                <c:pt idx="270">
                  <c:v>Paysan Bret</c:v>
                </c:pt>
                <c:pt idx="271">
                  <c:v>All Others</c:v>
                </c:pt>
                <c:pt idx="272">
                  <c:v>Etorki</c:v>
                </c:pt>
                <c:pt idx="273">
                  <c:v>Saint Agur</c:v>
                </c:pt>
                <c:pt idx="274">
                  <c:v>Private Lab</c:v>
                </c:pt>
                <c:pt idx="275">
                  <c:v>Islos</c:v>
                </c:pt>
                <c:pt idx="276">
                  <c:v>All Others</c:v>
                </c:pt>
                <c:pt idx="277">
                  <c:v>All Others</c:v>
                </c:pt>
                <c:pt idx="278">
                  <c:v>Boursin</c:v>
                </c:pt>
                <c:pt idx="279">
                  <c:v>Galbani</c:v>
                </c:pt>
                <c:pt idx="280">
                  <c:v>Lactalis: A</c:v>
                </c:pt>
                <c:pt idx="281">
                  <c:v>All Others</c:v>
                </c:pt>
                <c:pt idx="282">
                  <c:v>Tartare</c:v>
                </c:pt>
                <c:pt idx="283">
                  <c:v>All Others</c:v>
                </c:pt>
                <c:pt idx="284">
                  <c:v>Triballat N</c:v>
                </c:pt>
                <c:pt idx="285">
                  <c:v>Boursin</c:v>
                </c:pt>
                <c:pt idx="286">
                  <c:v>Mini Babybe</c:v>
                </c:pt>
                <c:pt idx="287">
                  <c:v>All Others</c:v>
                </c:pt>
                <c:pt idx="288">
                  <c:v>All Others</c:v>
                </c:pt>
                <c:pt idx="289">
                  <c:v>All Others</c:v>
                </c:pt>
                <c:pt idx="290">
                  <c:v>Chavroux</c:v>
                </c:pt>
                <c:pt idx="291">
                  <c:v>All Others</c:v>
                </c:pt>
                <c:pt idx="292">
                  <c:v>Lactalis: A</c:v>
                </c:pt>
                <c:pt idx="293">
                  <c:v>All Others</c:v>
                </c:pt>
                <c:pt idx="294">
                  <c:v>All Others</c:v>
                </c:pt>
                <c:pt idx="295">
                  <c:v>Chavroux</c:v>
                </c:pt>
                <c:pt idx="296">
                  <c:v>All Others</c:v>
                </c:pt>
                <c:pt idx="297">
                  <c:v>Boursin</c:v>
                </c:pt>
                <c:pt idx="298">
                  <c:v>All Others</c:v>
                </c:pt>
                <c:pt idx="299">
                  <c:v>All Others</c:v>
                </c:pt>
                <c:pt idx="300">
                  <c:v>All Others</c:v>
                </c:pt>
                <c:pt idx="301">
                  <c:v>Triballat N</c:v>
                </c:pt>
                <c:pt idx="302">
                  <c:v>All Others</c:v>
                </c:pt>
                <c:pt idx="303">
                  <c:v>All Others</c:v>
                </c:pt>
                <c:pt idx="304">
                  <c:v>Istara</c:v>
                </c:pt>
                <c:pt idx="305">
                  <c:v>All Others</c:v>
                </c:pt>
                <c:pt idx="306">
                  <c:v>All Others</c:v>
                </c:pt>
                <c:pt idx="307">
                  <c:v>Chavroux</c:v>
                </c:pt>
                <c:pt idx="308">
                  <c:v>All Others</c:v>
                </c:pt>
                <c:pt idx="309">
                  <c:v>All Others</c:v>
                </c:pt>
                <c:pt idx="310">
                  <c:v>All Others</c:v>
                </c:pt>
                <c:pt idx="311">
                  <c:v>All Others</c:v>
                </c:pt>
                <c:pt idx="312">
                  <c:v>Savencia: A</c:v>
                </c:pt>
                <c:pt idx="313">
                  <c:v>All Others</c:v>
                </c:pt>
                <c:pt idx="314">
                  <c:v>All Others</c:v>
                </c:pt>
                <c:pt idx="315">
                  <c:v>Petit Billy</c:v>
                </c:pt>
                <c:pt idx="316">
                  <c:v>All Others</c:v>
                </c:pt>
                <c:pt idx="317">
                  <c:v>All Others</c:v>
                </c:pt>
                <c:pt idx="318">
                  <c:v>All Others</c:v>
                </c:pt>
                <c:pt idx="319">
                  <c:v>Savencia: A</c:v>
                </c:pt>
                <c:pt idx="320">
                  <c:v>All Others</c:v>
                </c:pt>
                <c:pt idx="321">
                  <c:v>All Others</c:v>
                </c:pt>
                <c:pt idx="322">
                  <c:v>All Others</c:v>
                </c:pt>
                <c:pt idx="323">
                  <c:v>Private Lab</c:v>
                </c:pt>
                <c:pt idx="324">
                  <c:v>All Others</c:v>
                </c:pt>
                <c:pt idx="325">
                  <c:v>All Others</c:v>
                </c:pt>
                <c:pt idx="326">
                  <c:v>Soignon</c:v>
                </c:pt>
                <c:pt idx="327">
                  <c:v>All Others</c:v>
                </c:pt>
                <c:pt idx="328">
                  <c:v>Boursin</c:v>
                </c:pt>
                <c:pt idx="329">
                  <c:v>Boursin</c:v>
                </c:pt>
                <c:pt idx="330">
                  <c:v>All Others</c:v>
                </c:pt>
                <c:pt idx="331">
                  <c:v>All Others</c:v>
                </c:pt>
                <c:pt idx="332">
                  <c:v>President</c:v>
                </c:pt>
                <c:pt idx="333">
                  <c:v>All Others</c:v>
                </c:pt>
                <c:pt idx="334">
                  <c:v>Salakis</c:v>
                </c:pt>
                <c:pt idx="335">
                  <c:v>All Others</c:v>
                </c:pt>
                <c:pt idx="336">
                  <c:v>All Others</c:v>
                </c:pt>
                <c:pt idx="337">
                  <c:v>All Others</c:v>
                </c:pt>
                <c:pt idx="338">
                  <c:v>Entremont</c:v>
                </c:pt>
                <c:pt idx="339">
                  <c:v>All Others</c:v>
                </c:pt>
                <c:pt idx="340">
                  <c:v>All Others</c:v>
                </c:pt>
                <c:pt idx="341">
                  <c:v>Salakis</c:v>
                </c:pt>
                <c:pt idx="342">
                  <c:v>All Others</c:v>
                </c:pt>
                <c:pt idx="343">
                  <c:v>All Others</c:v>
                </c:pt>
                <c:pt idx="344">
                  <c:v>All Others</c:v>
                </c:pt>
                <c:pt idx="345">
                  <c:v>All Others</c:v>
                </c:pt>
                <c:pt idx="346">
                  <c:v>La Vache Qu</c:v>
                </c:pt>
                <c:pt idx="347">
                  <c:v>Chavroux</c:v>
                </c:pt>
                <c:pt idx="348">
                  <c:v>All Others</c:v>
                </c:pt>
                <c:pt idx="349">
                  <c:v>Mini Babybe</c:v>
                </c:pt>
                <c:pt idx="350">
                  <c:v>Entremont</c:v>
                </c:pt>
                <c:pt idx="351">
                  <c:v>All Others</c:v>
                </c:pt>
                <c:pt idx="352">
                  <c:v>All Others</c:v>
                </c:pt>
                <c:pt idx="353">
                  <c:v>All Others</c:v>
                </c:pt>
                <c:pt idx="354">
                  <c:v>All Others</c:v>
                </c:pt>
                <c:pt idx="355">
                  <c:v>Chavroux</c:v>
                </c:pt>
                <c:pt idx="356">
                  <c:v>All Others</c:v>
                </c:pt>
                <c:pt idx="357">
                  <c:v>All Others</c:v>
                </c:pt>
                <c:pt idx="358">
                  <c:v>All Others</c:v>
                </c:pt>
                <c:pt idx="359">
                  <c:v>Corsica</c:v>
                </c:pt>
                <c:pt idx="360">
                  <c:v>All Others</c:v>
                </c:pt>
                <c:pt idx="361">
                  <c:v>All Others</c:v>
                </c:pt>
                <c:pt idx="362">
                  <c:v>All Others</c:v>
                </c:pt>
                <c:pt idx="363">
                  <c:v>All Others</c:v>
                </c:pt>
                <c:pt idx="364">
                  <c:v>Mini Babybe</c:v>
                </c:pt>
                <c:pt idx="365">
                  <c:v>All Others</c:v>
                </c:pt>
                <c:pt idx="366">
                  <c:v>All Others</c:v>
                </c:pt>
                <c:pt idx="367">
                  <c:v>All Others</c:v>
                </c:pt>
                <c:pt idx="368">
                  <c:v>Casa Azzurr</c:v>
                </c:pt>
                <c:pt idx="369">
                  <c:v>All Others</c:v>
                </c:pt>
                <c:pt idx="370">
                  <c:v>All Others</c:v>
                </c:pt>
                <c:pt idx="371">
                  <c:v>All Others</c:v>
                </c:pt>
                <c:pt idx="372">
                  <c:v>All Others</c:v>
                </c:pt>
                <c:pt idx="373">
                  <c:v>All Others</c:v>
                </c:pt>
                <c:pt idx="374">
                  <c:v>All Others</c:v>
                </c:pt>
                <c:pt idx="375">
                  <c:v>Etoile Du V</c:v>
                </c:pt>
                <c:pt idx="376">
                  <c:v>All Others</c:v>
                </c:pt>
                <c:pt idx="377">
                  <c:v>All Others</c:v>
                </c:pt>
                <c:pt idx="378">
                  <c:v>Kiri</c:v>
                </c:pt>
                <c:pt idx="379">
                  <c:v>All Others</c:v>
                </c:pt>
                <c:pt idx="380">
                  <c:v>All Others</c:v>
                </c:pt>
                <c:pt idx="381">
                  <c:v>Lactalis: A</c:v>
                </c:pt>
                <c:pt idx="382">
                  <c:v>All Others</c:v>
                </c:pt>
                <c:pt idx="383">
                  <c:v>All Others</c:v>
                </c:pt>
                <c:pt idx="384">
                  <c:v>All Others</c:v>
                </c:pt>
                <c:pt idx="385">
                  <c:v>All Others</c:v>
                </c:pt>
                <c:pt idx="386">
                  <c:v>Private Lab</c:v>
                </c:pt>
                <c:pt idx="387">
                  <c:v>Lactalis: A</c:v>
                </c:pt>
                <c:pt idx="388">
                  <c:v>All Others</c:v>
                </c:pt>
                <c:pt idx="389">
                  <c:v>All Others</c:v>
                </c:pt>
                <c:pt idx="390">
                  <c:v>All Others</c:v>
                </c:pt>
                <c:pt idx="391">
                  <c:v>All Others</c:v>
                </c:pt>
                <c:pt idx="392">
                  <c:v>All Others</c:v>
                </c:pt>
                <c:pt idx="393">
                  <c:v>All Others</c:v>
                </c:pt>
                <c:pt idx="394">
                  <c:v>All Others</c:v>
                </c:pt>
                <c:pt idx="395">
                  <c:v>All Others</c:v>
                </c:pt>
                <c:pt idx="396">
                  <c:v>Entremont</c:v>
                </c:pt>
                <c:pt idx="397">
                  <c:v>All Others</c:v>
                </c:pt>
                <c:pt idx="398">
                  <c:v>All Others</c:v>
                </c:pt>
                <c:pt idx="399">
                  <c:v>All Others</c:v>
                </c:pt>
                <c:pt idx="400">
                  <c:v>All Others</c:v>
                </c:pt>
                <c:pt idx="401">
                  <c:v>All Others</c:v>
                </c:pt>
                <c:pt idx="402">
                  <c:v>All Others</c:v>
                </c:pt>
                <c:pt idx="403">
                  <c:v>All Others</c:v>
                </c:pt>
                <c:pt idx="404">
                  <c:v>All Others</c:v>
                </c:pt>
                <c:pt idx="405">
                  <c:v>All Others</c:v>
                </c:pt>
                <c:pt idx="406">
                  <c:v>All Others</c:v>
                </c:pt>
                <c:pt idx="407">
                  <c:v>All Others</c:v>
                </c:pt>
                <c:pt idx="408">
                  <c:v>All Others</c:v>
                </c:pt>
                <c:pt idx="409">
                  <c:v>All Others</c:v>
                </c:pt>
                <c:pt idx="410">
                  <c:v>All Others</c:v>
                </c:pt>
                <c:pt idx="411">
                  <c:v>All Others</c:v>
                </c:pt>
                <c:pt idx="412">
                  <c:v>All Others</c:v>
                </c:pt>
                <c:pt idx="413">
                  <c:v>All Others</c:v>
                </c:pt>
                <c:pt idx="414">
                  <c:v>All Others</c:v>
                </c:pt>
                <c:pt idx="415">
                  <c:v>All Others</c:v>
                </c:pt>
                <c:pt idx="416">
                  <c:v>All Others</c:v>
                </c:pt>
                <c:pt idx="417">
                  <c:v>All Others</c:v>
                </c:pt>
                <c:pt idx="418">
                  <c:v>All Others</c:v>
                </c:pt>
                <c:pt idx="419">
                  <c:v>All Others</c:v>
                </c:pt>
                <c:pt idx="420">
                  <c:v>All Others</c:v>
                </c:pt>
                <c:pt idx="421">
                  <c:v>All Others</c:v>
                </c:pt>
                <c:pt idx="422">
                  <c:v>All Others</c:v>
                </c:pt>
                <c:pt idx="423">
                  <c:v>All Others</c:v>
                </c:pt>
                <c:pt idx="424">
                  <c:v>All Others</c:v>
                </c:pt>
                <c:pt idx="425">
                  <c:v>All Others</c:v>
                </c:pt>
                <c:pt idx="426">
                  <c:v>All Others</c:v>
                </c:pt>
                <c:pt idx="427">
                  <c:v>All Others</c:v>
                </c:pt>
                <c:pt idx="428">
                  <c:v>Savencia: A</c:v>
                </c:pt>
                <c:pt idx="429">
                  <c:v>All Others</c:v>
                </c:pt>
                <c:pt idx="430">
                  <c:v>All Others</c:v>
                </c:pt>
                <c:pt idx="431">
                  <c:v>All Others</c:v>
                </c:pt>
                <c:pt idx="432">
                  <c:v>All Others</c:v>
                </c:pt>
                <c:pt idx="433">
                  <c:v>All Others</c:v>
                </c:pt>
                <c:pt idx="434">
                  <c:v>All Others</c:v>
                </c:pt>
                <c:pt idx="435">
                  <c:v>All Others</c:v>
                </c:pt>
                <c:pt idx="436">
                  <c:v>All Others</c:v>
                </c:pt>
                <c:pt idx="437">
                  <c:v>Paysan Bret</c:v>
                </c:pt>
                <c:pt idx="438">
                  <c:v>All Others</c:v>
                </c:pt>
                <c:pt idx="439">
                  <c:v>All Others</c:v>
                </c:pt>
                <c:pt idx="440">
                  <c:v>All Others</c:v>
                </c:pt>
                <c:pt idx="441">
                  <c:v>All Others</c:v>
                </c:pt>
                <c:pt idx="442">
                  <c:v>All Others</c:v>
                </c:pt>
                <c:pt idx="443">
                  <c:v>All Others</c:v>
                </c:pt>
                <c:pt idx="444">
                  <c:v>All Others</c:v>
                </c:pt>
                <c:pt idx="445">
                  <c:v>All Others</c:v>
                </c:pt>
                <c:pt idx="446">
                  <c:v>All Others</c:v>
                </c:pt>
                <c:pt idx="447">
                  <c:v>All Others</c:v>
                </c:pt>
                <c:pt idx="448">
                  <c:v>All Others</c:v>
                </c:pt>
                <c:pt idx="449">
                  <c:v>All Others</c:v>
                </c:pt>
                <c:pt idx="450">
                  <c:v>All Others</c:v>
                </c:pt>
                <c:pt idx="451">
                  <c:v>All Others</c:v>
                </c:pt>
                <c:pt idx="452">
                  <c:v>All Others</c:v>
                </c:pt>
                <c:pt idx="453">
                  <c:v>All Others</c:v>
                </c:pt>
                <c:pt idx="454">
                  <c:v>All Others</c:v>
                </c:pt>
                <c:pt idx="455">
                  <c:v>All Others</c:v>
                </c:pt>
                <c:pt idx="456">
                  <c:v>All Others</c:v>
                </c:pt>
                <c:pt idx="457">
                  <c:v>Savencia: A</c:v>
                </c:pt>
                <c:pt idx="458">
                  <c:v>All Others</c:v>
                </c:pt>
                <c:pt idx="459">
                  <c:v>All Others</c:v>
                </c:pt>
                <c:pt idx="460">
                  <c:v>All Others</c:v>
                </c:pt>
                <c:pt idx="461">
                  <c:v>All Others</c:v>
                </c:pt>
                <c:pt idx="462">
                  <c:v>All Others</c:v>
                </c:pt>
                <c:pt idx="463">
                  <c:v>All Others</c:v>
                </c:pt>
                <c:pt idx="464">
                  <c:v>All Others</c:v>
                </c:pt>
                <c:pt idx="465">
                  <c:v>All Others</c:v>
                </c:pt>
                <c:pt idx="466">
                  <c:v>All Others</c:v>
                </c:pt>
                <c:pt idx="467">
                  <c:v>All Others</c:v>
                </c:pt>
                <c:pt idx="468">
                  <c:v>All Others</c:v>
                </c:pt>
                <c:pt idx="469">
                  <c:v>All Others</c:v>
                </c:pt>
                <c:pt idx="470">
                  <c:v>All Others</c:v>
                </c:pt>
                <c:pt idx="471">
                  <c:v>All Others</c:v>
                </c:pt>
                <c:pt idx="472">
                  <c:v>All Others</c:v>
                </c:pt>
                <c:pt idx="473">
                  <c:v>All Others</c:v>
                </c:pt>
                <c:pt idx="474">
                  <c:v>All Others</c:v>
                </c:pt>
                <c:pt idx="475">
                  <c:v>All Others</c:v>
                </c:pt>
                <c:pt idx="476">
                  <c:v>All Others</c:v>
                </c:pt>
                <c:pt idx="477">
                  <c:v>All Others</c:v>
                </c:pt>
                <c:pt idx="478">
                  <c:v>All Others</c:v>
                </c:pt>
                <c:pt idx="479">
                  <c:v>All Others</c:v>
                </c:pt>
                <c:pt idx="480">
                  <c:v>All Others</c:v>
                </c:pt>
                <c:pt idx="481">
                  <c:v>All Others</c:v>
                </c:pt>
                <c:pt idx="482">
                  <c:v>Lactalis: A</c:v>
                </c:pt>
                <c:pt idx="483">
                  <c:v>All Others</c:v>
                </c:pt>
                <c:pt idx="484">
                  <c:v>All Others</c:v>
                </c:pt>
                <c:pt idx="485">
                  <c:v>All Others</c:v>
                </c:pt>
                <c:pt idx="486">
                  <c:v>Lactalis: A</c:v>
                </c:pt>
                <c:pt idx="487">
                  <c:v>All Others</c:v>
                </c:pt>
                <c:pt idx="488">
                  <c:v>All Others</c:v>
                </c:pt>
                <c:pt idx="489">
                  <c:v>All Others</c:v>
                </c:pt>
                <c:pt idx="490">
                  <c:v>All Others</c:v>
                </c:pt>
                <c:pt idx="491">
                  <c:v>All Others</c:v>
                </c:pt>
                <c:pt idx="492">
                  <c:v>All Others</c:v>
                </c:pt>
                <c:pt idx="493">
                  <c:v>All Others</c:v>
                </c:pt>
                <c:pt idx="494">
                  <c:v>All Others</c:v>
                </c:pt>
                <c:pt idx="495">
                  <c:v>All Others</c:v>
                </c:pt>
                <c:pt idx="496">
                  <c:v>All Others</c:v>
                </c:pt>
                <c:pt idx="497">
                  <c:v>All Others</c:v>
                </c:pt>
                <c:pt idx="498">
                  <c:v>All Others</c:v>
                </c:pt>
                <c:pt idx="499">
                  <c:v>All Others</c:v>
                </c:pt>
                <c:pt idx="500">
                  <c:v>All Others</c:v>
                </c:pt>
                <c:pt idx="501">
                  <c:v>All Others</c:v>
                </c:pt>
                <c:pt idx="502">
                  <c:v>All Others</c:v>
                </c:pt>
                <c:pt idx="503">
                  <c:v>All Others</c:v>
                </c:pt>
                <c:pt idx="504">
                  <c:v>All Others</c:v>
                </c:pt>
                <c:pt idx="505">
                  <c:v>All Others</c:v>
                </c:pt>
                <c:pt idx="506">
                  <c:v>All Others</c:v>
                </c:pt>
                <c:pt idx="507">
                  <c:v>All Others</c:v>
                </c:pt>
                <c:pt idx="508">
                  <c:v>All Others</c:v>
                </c:pt>
                <c:pt idx="509">
                  <c:v>All Others</c:v>
                </c:pt>
                <c:pt idx="510">
                  <c:v>Etoile Du V</c:v>
                </c:pt>
                <c:pt idx="511">
                  <c:v>All Others</c:v>
                </c:pt>
                <c:pt idx="512">
                  <c:v>All Others</c:v>
                </c:pt>
                <c:pt idx="513">
                  <c:v>All Others</c:v>
                </c:pt>
                <c:pt idx="514">
                  <c:v>All Others</c:v>
                </c:pt>
                <c:pt idx="515">
                  <c:v>All Others</c:v>
                </c:pt>
                <c:pt idx="516">
                  <c:v>All Others</c:v>
                </c:pt>
                <c:pt idx="517">
                  <c:v>All Others</c:v>
                </c:pt>
                <c:pt idx="518">
                  <c:v>All Others</c:v>
                </c:pt>
                <c:pt idx="519">
                  <c:v>All Others</c:v>
                </c:pt>
                <c:pt idx="520">
                  <c:v>All Others</c:v>
                </c:pt>
                <c:pt idx="521">
                  <c:v>All Others</c:v>
                </c:pt>
                <c:pt idx="522">
                  <c:v>All Others</c:v>
                </c:pt>
                <c:pt idx="523">
                  <c:v>All Others</c:v>
                </c:pt>
                <c:pt idx="524">
                  <c:v>All Others</c:v>
                </c:pt>
                <c:pt idx="525">
                  <c:v>All Others</c:v>
                </c:pt>
                <c:pt idx="526">
                  <c:v>All Others</c:v>
                </c:pt>
                <c:pt idx="527">
                  <c:v>All Others</c:v>
                </c:pt>
                <c:pt idx="528">
                  <c:v>All Others</c:v>
                </c:pt>
                <c:pt idx="529">
                  <c:v>All Others</c:v>
                </c:pt>
                <c:pt idx="530">
                  <c:v>Etoile Du V</c:v>
                </c:pt>
                <c:pt idx="531">
                  <c:v>All Others</c:v>
                </c:pt>
                <c:pt idx="532">
                  <c:v>All Others</c:v>
                </c:pt>
                <c:pt idx="533">
                  <c:v>All Others</c:v>
                </c:pt>
                <c:pt idx="534">
                  <c:v>All Others</c:v>
                </c:pt>
                <c:pt idx="535">
                  <c:v>All Others</c:v>
                </c:pt>
                <c:pt idx="536">
                  <c:v>All Others</c:v>
                </c:pt>
                <c:pt idx="537">
                  <c:v>All Others</c:v>
                </c:pt>
                <c:pt idx="538">
                  <c:v>All Others</c:v>
                </c:pt>
                <c:pt idx="539">
                  <c:v>All Others</c:v>
                </c:pt>
                <c:pt idx="540">
                  <c:v>All Others</c:v>
                </c:pt>
                <c:pt idx="541">
                  <c:v>All Others</c:v>
                </c:pt>
                <c:pt idx="542">
                  <c:v>All Others</c:v>
                </c:pt>
                <c:pt idx="543">
                  <c:v>La Vache Qu</c:v>
                </c:pt>
                <c:pt idx="544">
                  <c:v>All Others</c:v>
                </c:pt>
                <c:pt idx="545">
                  <c:v>All Others</c:v>
                </c:pt>
                <c:pt idx="546">
                  <c:v>All Others</c:v>
                </c:pt>
                <c:pt idx="547">
                  <c:v>Private Lab</c:v>
                </c:pt>
                <c:pt idx="548">
                  <c:v>All Others</c:v>
                </c:pt>
                <c:pt idx="549">
                  <c:v>All Others</c:v>
                </c:pt>
                <c:pt idx="550">
                  <c:v>All Others</c:v>
                </c:pt>
                <c:pt idx="551">
                  <c:v>All Others</c:v>
                </c:pt>
                <c:pt idx="552">
                  <c:v>All Others</c:v>
                </c:pt>
                <c:pt idx="553">
                  <c:v>All Others</c:v>
                </c:pt>
                <c:pt idx="554">
                  <c:v>All Others</c:v>
                </c:pt>
                <c:pt idx="555">
                  <c:v>All Others</c:v>
                </c:pt>
                <c:pt idx="556">
                  <c:v>All Others</c:v>
                </c:pt>
                <c:pt idx="557">
                  <c:v>All Others</c:v>
                </c:pt>
                <c:pt idx="558">
                  <c:v>All Others</c:v>
                </c:pt>
                <c:pt idx="559">
                  <c:v>All Others</c:v>
                </c:pt>
                <c:pt idx="560">
                  <c:v>Private Lab</c:v>
                </c:pt>
                <c:pt idx="561">
                  <c:v>All Others</c:v>
                </c:pt>
                <c:pt idx="562">
                  <c:v>All Others</c:v>
                </c:pt>
                <c:pt idx="563">
                  <c:v>All Others</c:v>
                </c:pt>
                <c:pt idx="564">
                  <c:v>Private Lab</c:v>
                </c:pt>
                <c:pt idx="565">
                  <c:v>Lactalis: A</c:v>
                </c:pt>
                <c:pt idx="566">
                  <c:v>All Others</c:v>
                </c:pt>
                <c:pt idx="567">
                  <c:v>Lactalis: A</c:v>
                </c:pt>
                <c:pt idx="568">
                  <c:v>All Others</c:v>
                </c:pt>
                <c:pt idx="569">
                  <c:v>All Others</c:v>
                </c:pt>
                <c:pt idx="570">
                  <c:v>All Others</c:v>
                </c:pt>
                <c:pt idx="571">
                  <c:v>All Others</c:v>
                </c:pt>
                <c:pt idx="572">
                  <c:v>Gillot</c:v>
                </c:pt>
                <c:pt idx="573">
                  <c:v>All Others</c:v>
                </c:pt>
                <c:pt idx="574">
                  <c:v>Private Lab</c:v>
                </c:pt>
                <c:pt idx="575">
                  <c:v>All Others</c:v>
                </c:pt>
                <c:pt idx="576">
                  <c:v>All Others</c:v>
                </c:pt>
                <c:pt idx="577">
                  <c:v>All Others</c:v>
                </c:pt>
                <c:pt idx="578">
                  <c:v>Private Lab</c:v>
                </c:pt>
                <c:pt idx="579">
                  <c:v>President</c:v>
                </c:pt>
                <c:pt idx="580">
                  <c:v>All Others</c:v>
                </c:pt>
                <c:pt idx="581">
                  <c:v>All Others</c:v>
                </c:pt>
              </c:strCache>
            </c:strRef>
          </c:cat>
          <c:val>
            <c:numRef>
              <c:f>Sheet1!$C$2:$C$583</c:f>
              <c:numCache>
                <c:formatCode>General</c:formatCode>
                <c:ptCount val="582"/>
                <c:pt idx="0">
                  <c:v>0.026614252789427938</c:v>
                </c:pt>
                <c:pt idx="1">
                  <c:v>0.0467854300955587</c:v>
                </c:pt>
                <c:pt idx="2">
                  <c:v>0.06556272230785674</c:v>
                </c:pt>
                <c:pt idx="3">
                  <c:v>0.08423337597066459</c:v>
                </c:pt>
                <c:pt idx="4">
                  <c:v>0.10230226367950432</c:v>
                </c:pt>
                <c:pt idx="5">
                  <c:v>0.11998806262373635</c:v>
                </c:pt>
                <c:pt idx="6">
                  <c:v>0.13756803038493207</c:v>
                </c:pt>
                <c:pt idx="7">
                  <c:v>0.15439776941325542</c:v>
                </c:pt>
                <c:pt idx="8">
                  <c:v>0.1696052709964547</c:v>
                </c:pt>
                <c:pt idx="9">
                  <c:v>0.18458152165043806</c:v>
                </c:pt>
                <c:pt idx="10">
                  <c:v>0.1993070651672186</c:v>
                </c:pt>
                <c:pt idx="11">
                  <c:v>0.21312732588543512</c:v>
                </c:pt>
                <c:pt idx="12">
                  <c:v>0.22634511916735475</c:v>
                </c:pt>
                <c:pt idx="13">
                  <c:v>0.23901134880611874</c:v>
                </c:pt>
                <c:pt idx="14">
                  <c:v>0.25037440957522844</c:v>
                </c:pt>
                <c:pt idx="15">
                  <c:v>0.26161917130557144</c:v>
                </c:pt>
                <c:pt idx="16">
                  <c:v>0.272773362402408</c:v>
                </c:pt>
                <c:pt idx="17">
                  <c:v>0.28356822248520597</c:v>
                </c:pt>
                <c:pt idx="18">
                  <c:v>0.29405869217937597</c:v>
                </c:pt>
                <c:pt idx="19">
                  <c:v>0.3045390896461459</c:v>
                </c:pt>
                <c:pt idx="20">
                  <c:v>0.314791373000906</c:v>
                </c:pt>
                <c:pt idx="21">
                  <c:v>0.3249863862795032</c:v>
                </c:pt>
                <c:pt idx="22">
                  <c:v>0.3345349107967937</c:v>
                </c:pt>
                <c:pt idx="23">
                  <c:v>0.34377831697209615</c:v>
                </c:pt>
                <c:pt idx="24">
                  <c:v>0.35299116234179195</c:v>
                </c:pt>
                <c:pt idx="25">
                  <c:v>0.3621657570712958</c:v>
                </c:pt>
                <c:pt idx="26">
                  <c:v>0.37128425968552853</c:v>
                </c:pt>
                <c:pt idx="27">
                  <c:v>0.37996993446738836</c:v>
                </c:pt>
                <c:pt idx="28">
                  <c:v>0.38855282223480847</c:v>
                </c:pt>
                <c:pt idx="29">
                  <c:v>0.3969056237983888</c:v>
                </c:pt>
                <c:pt idx="30">
                  <c:v>0.4052136628480835</c:v>
                </c:pt>
                <c:pt idx="31">
                  <c:v>0.41343854315302875</c:v>
                </c:pt>
                <c:pt idx="32">
                  <c:v>0.421344910774161</c:v>
                </c:pt>
                <c:pt idx="33">
                  <c:v>0.42916752405234</c:v>
                </c:pt>
                <c:pt idx="34">
                  <c:v>0.4369510793238731</c:v>
                </c:pt>
                <c:pt idx="35">
                  <c:v>0.44468318814612384</c:v>
                </c:pt>
                <c:pt idx="36">
                  <c:v>0.45194611117454586</c:v>
                </c:pt>
                <c:pt idx="37">
                  <c:v>0.45919896197556787</c:v>
                </c:pt>
                <c:pt idx="38">
                  <c:v>0.4664272608950826</c:v>
                </c:pt>
                <c:pt idx="39">
                  <c:v>0.4734623609928388</c:v>
                </c:pt>
                <c:pt idx="40">
                  <c:v>0.4802917150000122</c:v>
                </c:pt>
                <c:pt idx="41">
                  <c:v>0.48700463617612383</c:v>
                </c:pt>
                <c:pt idx="42">
                  <c:v>0.49369815408631107</c:v>
                </c:pt>
                <c:pt idx="43">
                  <c:v>0.5001969775614727</c:v>
                </c:pt>
                <c:pt idx="44">
                  <c:v>0.5066199350610011</c:v>
                </c:pt>
                <c:pt idx="45">
                  <c:v>0.5127794131507366</c:v>
                </c:pt>
                <c:pt idx="46">
                  <c:v>0.5188945125565401</c:v>
                </c:pt>
                <c:pt idx="47">
                  <c:v>0.524953718379807</c:v>
                </c:pt>
                <c:pt idx="48">
                  <c:v>0.5309338817036875</c:v>
                </c:pt>
                <c:pt idx="49">
                  <c:v>0.5368843842370248</c:v>
                </c:pt>
                <c:pt idx="50">
                  <c:v>0.5428240865896019</c:v>
                </c:pt>
                <c:pt idx="51">
                  <c:v>0.5484766973724892</c:v>
                </c:pt>
                <c:pt idx="52">
                  <c:v>0.5539018293481172</c:v>
                </c:pt>
                <c:pt idx="53">
                  <c:v>0.5591979679883434</c:v>
                </c:pt>
                <c:pt idx="54">
                  <c:v>0.5643988903290745</c:v>
                </c:pt>
                <c:pt idx="55">
                  <c:v>0.5695724151524363</c:v>
                </c:pt>
                <c:pt idx="56">
                  <c:v>0.5747411487191374</c:v>
                </c:pt>
                <c:pt idx="57">
                  <c:v>0.5796693929667076</c:v>
                </c:pt>
                <c:pt idx="58">
                  <c:v>0.5845650910813256</c:v>
                </c:pt>
                <c:pt idx="59">
                  <c:v>0.5893546668315632</c:v>
                </c:pt>
                <c:pt idx="60">
                  <c:v>0.5940768208651442</c:v>
                </c:pt>
                <c:pt idx="61">
                  <c:v>0.5987265236861263</c:v>
                </c:pt>
                <c:pt idx="62">
                  <c:v>0.6033299022023777</c:v>
                </c:pt>
                <c:pt idx="63">
                  <c:v>0.6078769106575295</c:v>
                </c:pt>
                <c:pt idx="64">
                  <c:v>0.6124191013849892</c:v>
                </c:pt>
                <c:pt idx="65">
                  <c:v>0.6168655066857814</c:v>
                </c:pt>
                <c:pt idx="66">
                  <c:v>0.6212947455227921</c:v>
                </c:pt>
                <c:pt idx="67">
                  <c:v>0.6256526714015486</c:v>
                </c:pt>
                <c:pt idx="68">
                  <c:v>0.630003701576658</c:v>
                </c:pt>
                <c:pt idx="69">
                  <c:v>0.6342242957451613</c:v>
                </c:pt>
                <c:pt idx="70">
                  <c:v>0.6383698313044851</c:v>
                </c:pt>
                <c:pt idx="71">
                  <c:v>0.6425105491361169</c:v>
                </c:pt>
                <c:pt idx="72">
                  <c:v>0.6465700009017353</c:v>
                </c:pt>
                <c:pt idx="73">
                  <c:v>0.6506183348342184</c:v>
                </c:pt>
                <c:pt idx="74">
                  <c:v>0.6545897571853327</c:v>
                </c:pt>
                <c:pt idx="75">
                  <c:v>0.658494141649744</c:v>
                </c:pt>
                <c:pt idx="76">
                  <c:v>0.6623526385814404</c:v>
                </c:pt>
                <c:pt idx="77">
                  <c:v>0.6661381284088812</c:v>
                </c:pt>
                <c:pt idx="78">
                  <c:v>0.6698819660686112</c:v>
                </c:pt>
                <c:pt idx="79">
                  <c:v>0.6735563702133076</c:v>
                </c:pt>
                <c:pt idx="80">
                  <c:v>0.6772294905129872</c:v>
                </c:pt>
                <c:pt idx="81">
                  <c:v>0.6808891238222323</c:v>
                </c:pt>
                <c:pt idx="82">
                  <c:v>0.6845448658898801</c:v>
                </c:pt>
                <c:pt idx="83">
                  <c:v>0.6881644882353535</c:v>
                </c:pt>
                <c:pt idx="84">
                  <c:v>0.6917524379919067</c:v>
                </c:pt>
                <c:pt idx="85">
                  <c:v>0.6953303022855442</c:v>
                </c:pt>
                <c:pt idx="86">
                  <c:v>0.698900781161456</c:v>
                </c:pt>
                <c:pt idx="87">
                  <c:v>0.7024004500287081</c:v>
                </c:pt>
                <c:pt idx="88">
                  <c:v>0.7058303677285512</c:v>
                </c:pt>
                <c:pt idx="89">
                  <c:v>0.7092140008302106</c:v>
                </c:pt>
                <c:pt idx="90">
                  <c:v>0.7125919956022084</c:v>
                </c:pt>
                <c:pt idx="91">
                  <c:v>0.7159660858970932</c:v>
                </c:pt>
                <c:pt idx="92">
                  <c:v>0.7193175302247224</c:v>
                </c:pt>
                <c:pt idx="93">
                  <c:v>0.722618083994726</c:v>
                </c:pt>
                <c:pt idx="94">
                  <c:v>0.7258863828131215</c:v>
                </c:pt>
                <c:pt idx="95">
                  <c:v>0.7291325650848868</c:v>
                </c:pt>
                <c:pt idx="96">
                  <c:v>0.7322921606133526</c:v>
                </c:pt>
                <c:pt idx="97">
                  <c:v>0.7354030494442728</c:v>
                </c:pt>
                <c:pt idx="98">
                  <c:v>0.7384905378835462</c:v>
                </c:pt>
                <c:pt idx="99">
                  <c:v>0.7415466846217904</c:v>
                </c:pt>
                <c:pt idx="100">
                  <c:v>0.744573580870476</c:v>
                </c:pt>
                <c:pt idx="101">
                  <c:v>0.7475599367347644</c:v>
                </c:pt>
                <c:pt idx="102">
                  <c:v>0.7505328056086183</c:v>
                </c:pt>
                <c:pt idx="103">
                  <c:v>0.7534701106519547</c:v>
                </c:pt>
                <c:pt idx="104">
                  <c:v>0.7564030479751307</c:v>
                </c:pt>
                <c:pt idx="105">
                  <c:v>0.7593323984735689</c:v>
                </c:pt>
                <c:pt idx="106">
                  <c:v>0.7622279851716163</c:v>
                </c:pt>
                <c:pt idx="107">
                  <c:v>0.7650593266767599</c:v>
                </c:pt>
                <c:pt idx="108">
                  <c:v>0.7678772076625003</c:v>
                </c:pt>
                <c:pt idx="109">
                  <c:v>0.7706181241248096</c:v>
                </c:pt>
                <c:pt idx="110">
                  <c:v>0.7733301209854512</c:v>
                </c:pt>
                <c:pt idx="111">
                  <c:v>0.7760066863707316</c:v>
                </c:pt>
                <c:pt idx="112">
                  <c:v>0.7786734177678933</c:v>
                </c:pt>
                <c:pt idx="113">
                  <c:v>0.7813227312264764</c:v>
                </c:pt>
                <c:pt idx="114">
                  <c:v>0.783949689899148</c:v>
                </c:pt>
                <c:pt idx="115">
                  <c:v>0.7865526261109378</c:v>
                </c:pt>
                <c:pt idx="116">
                  <c:v>0.7890939774684669</c:v>
                </c:pt>
                <c:pt idx="117">
                  <c:v>0.7915969193596164</c:v>
                </c:pt>
                <c:pt idx="118">
                  <c:v>0.7940963008970594</c:v>
                </c:pt>
                <c:pt idx="119">
                  <c:v>0.7965923603200775</c:v>
                </c:pt>
                <c:pt idx="120">
                  <c:v>0.7990850446866081</c:v>
                </c:pt>
                <c:pt idx="121">
                  <c:v>0.8015385651623678</c:v>
                </c:pt>
                <c:pt idx="122">
                  <c:v>0.8039552114915617</c:v>
                </c:pt>
                <c:pt idx="123">
                  <c:v>0.8063615605895897</c:v>
                </c:pt>
                <c:pt idx="124">
                  <c:v>0.8087312208382711</c:v>
                </c:pt>
                <c:pt idx="125">
                  <c:v>0.8110274372106807</c:v>
                </c:pt>
                <c:pt idx="126">
                  <c:v>0.8132987575781765</c:v>
                </c:pt>
                <c:pt idx="127">
                  <c:v>0.815529868449166</c:v>
                </c:pt>
                <c:pt idx="128">
                  <c:v>0.8177019092138659</c:v>
                </c:pt>
                <c:pt idx="129">
                  <c:v>0.8198604497526157</c:v>
                </c:pt>
                <c:pt idx="130">
                  <c:v>0.8220009502835518</c:v>
                </c:pt>
                <c:pt idx="131">
                  <c:v>0.8241259784967078</c:v>
                </c:pt>
                <c:pt idx="132">
                  <c:v>0.8262165017205972</c:v>
                </c:pt>
                <c:pt idx="133">
                  <c:v>0.8283056881574073</c:v>
                </c:pt>
                <c:pt idx="134">
                  <c:v>0.8303895803879625</c:v>
                </c:pt>
                <c:pt idx="135">
                  <c:v>0.8324475310078684</c:v>
                </c:pt>
                <c:pt idx="136">
                  <c:v>0.8344876136816638</c:v>
                </c:pt>
                <c:pt idx="137">
                  <c:v>0.8365188947375604</c:v>
                </c:pt>
                <c:pt idx="138">
                  <c:v>0.8385479257557986</c:v>
                </c:pt>
                <c:pt idx="139">
                  <c:v>0.8405060805877989</c:v>
                </c:pt>
                <c:pt idx="140">
                  <c:v>0.842456135284229</c:v>
                </c:pt>
                <c:pt idx="141">
                  <c:v>0.8443968324711035</c:v>
                </c:pt>
                <c:pt idx="142">
                  <c:v>0.846335306091351</c:v>
                </c:pt>
                <c:pt idx="143">
                  <c:v>0.8482494395983413</c:v>
                </c:pt>
                <c:pt idx="144">
                  <c:v>0.850155168552902</c:v>
                </c:pt>
                <c:pt idx="145">
                  <c:v>0.8520475693432158</c:v>
                </c:pt>
                <c:pt idx="146">
                  <c:v>0.8539394407129041</c:v>
                </c:pt>
                <c:pt idx="147">
                  <c:v>0.8558145956263424</c:v>
                </c:pt>
                <c:pt idx="148">
                  <c:v>0.8576630545047402</c:v>
                </c:pt>
                <c:pt idx="149">
                  <c:v>0.8595087206893385</c:v>
                </c:pt>
                <c:pt idx="150">
                  <c:v>0.8613294908690229</c:v>
                </c:pt>
                <c:pt idx="151">
                  <c:v>0.8631372902433827</c:v>
                </c:pt>
                <c:pt idx="152">
                  <c:v>0.8649440440120072</c:v>
                </c:pt>
                <c:pt idx="153">
                  <c:v>0.8667455168098923</c:v>
                </c:pt>
                <c:pt idx="154">
                  <c:v>0.8685325364247015</c:v>
                </c:pt>
                <c:pt idx="155">
                  <c:v>0.8703152147903817</c:v>
                </c:pt>
                <c:pt idx="156">
                  <c:v>0.8720608998898554</c:v>
                </c:pt>
                <c:pt idx="157">
                  <c:v>0.873776474191254</c:v>
                </c:pt>
                <c:pt idx="158">
                  <c:v>0.8754850469048806</c:v>
                </c:pt>
                <c:pt idx="159">
                  <c:v>0.8771777369997423</c:v>
                </c:pt>
                <c:pt idx="160">
                  <c:v>0.8788664299688815</c:v>
                </c:pt>
                <c:pt idx="161">
                  <c:v>0.8805289033815432</c:v>
                </c:pt>
                <c:pt idx="162">
                  <c:v>0.8821444039492079</c:v>
                </c:pt>
                <c:pt idx="163">
                  <c:v>0.8837398394751663</c:v>
                </c:pt>
                <c:pt idx="164">
                  <c:v>0.8853335940906388</c:v>
                </c:pt>
                <c:pt idx="165">
                  <c:v>0.886925972212485</c:v>
                </c:pt>
                <c:pt idx="166">
                  <c:v>0.888494923471653</c:v>
                </c:pt>
                <c:pt idx="167">
                  <c:v>0.8900292638574294</c:v>
                </c:pt>
                <c:pt idx="168">
                  <c:v>0.891560057125015</c:v>
                </c:pt>
                <c:pt idx="169">
                  <c:v>0.8930719897828173</c:v>
                </c:pt>
                <c:pt idx="170">
                  <c:v>0.8945739693328604</c:v>
                </c:pt>
                <c:pt idx="171">
                  <c:v>0.896072825301213</c:v>
                </c:pt>
                <c:pt idx="172">
                  <c:v>0.897556341306942</c:v>
                </c:pt>
                <c:pt idx="173">
                  <c:v>0.8990234188022492</c:v>
                </c:pt>
                <c:pt idx="174">
                  <c:v>0.9004846594351604</c:v>
                </c:pt>
                <c:pt idx="175">
                  <c:v>0.901925451196412</c:v>
                </c:pt>
                <c:pt idx="176">
                  <c:v>0.903359691377423</c:v>
                </c:pt>
                <c:pt idx="177">
                  <c:v>0.9047890211821326</c:v>
                </c:pt>
                <c:pt idx="178">
                  <c:v>0.9062123950048053</c:v>
                </c:pt>
                <c:pt idx="179">
                  <c:v>0.9076174905803829</c:v>
                </c:pt>
                <c:pt idx="180">
                  <c:v>0.9090065976530706</c:v>
                </c:pt>
                <c:pt idx="181">
                  <c:v>0.9103871281116253</c:v>
                </c:pt>
                <c:pt idx="182">
                  <c:v>0.9117293814589567</c:v>
                </c:pt>
                <c:pt idx="183">
                  <c:v>0.9130673994412841</c:v>
                </c:pt>
                <c:pt idx="184">
                  <c:v>0.9144027835559997</c:v>
                </c:pt>
                <c:pt idx="185">
                  <c:v>0.915720987971418</c:v>
                </c:pt>
                <c:pt idx="186">
                  <c:v>0.9170230053512118</c:v>
                </c:pt>
                <c:pt idx="187">
                  <c:v>0.9183239109476922</c:v>
                </c:pt>
                <c:pt idx="188">
                  <c:v>0.9196245650693753</c:v>
                </c:pt>
                <c:pt idx="189">
                  <c:v>0.9209179264219423</c:v>
                </c:pt>
                <c:pt idx="190">
                  <c:v>0.9221882712128159</c:v>
                </c:pt>
                <c:pt idx="191">
                  <c:v>0.9234512967635421</c:v>
                </c:pt>
                <c:pt idx="192">
                  <c:v>0.9246943631566871</c:v>
                </c:pt>
                <c:pt idx="193">
                  <c:v>0.9259239160883663</c:v>
                </c:pt>
                <c:pt idx="194">
                  <c:v>0.9271235038126426</c:v>
                </c:pt>
                <c:pt idx="195">
                  <c:v>0.9282881497756363</c:v>
                </c:pt>
                <c:pt idx="196">
                  <c:v>0.9294491427363141</c:v>
                </c:pt>
                <c:pt idx="197">
                  <c:v>0.9306076341845364</c:v>
                </c:pt>
                <c:pt idx="198">
                  <c:v>0.9317453194021768</c:v>
                </c:pt>
                <c:pt idx="199">
                  <c:v>0.9328747721290906</c:v>
                </c:pt>
                <c:pt idx="200">
                  <c:v>0.9339731081587411</c:v>
                </c:pt>
                <c:pt idx="201">
                  <c:v>0.9350401686649406</c:v>
                </c:pt>
                <c:pt idx="202">
                  <c:v>0.936105587967201</c:v>
                </c:pt>
                <c:pt idx="203">
                  <c:v>0.9371698954861479</c:v>
                </c:pt>
                <c:pt idx="204">
                  <c:v>0.9382269631780412</c:v>
                </c:pt>
                <c:pt idx="205">
                  <c:v>0.9392826543763082</c:v>
                </c:pt>
                <c:pt idx="206">
                  <c:v>0.9403277174555184</c:v>
                </c:pt>
                <c:pt idx="207">
                  <c:v>0.9413567523252917</c:v>
                </c:pt>
                <c:pt idx="208">
                  <c:v>0.9423817238917643</c:v>
                </c:pt>
                <c:pt idx="209">
                  <c:v>0.9433939364211625</c:v>
                </c:pt>
                <c:pt idx="210">
                  <c:v>0.9443898163242642</c:v>
                </c:pt>
                <c:pt idx="211">
                  <c:v>0.9453791314116098</c:v>
                </c:pt>
                <c:pt idx="212">
                  <c:v>0.94634528434659</c:v>
                </c:pt>
                <c:pt idx="213">
                  <c:v>0.9472441214490387</c:v>
                </c:pt>
                <c:pt idx="214">
                  <c:v>0.9481387628930302</c:v>
                </c:pt>
                <c:pt idx="215">
                  <c:v>0.9490317631330828</c:v>
                </c:pt>
                <c:pt idx="216">
                  <c:v>0.949916491175862</c:v>
                </c:pt>
                <c:pt idx="217">
                  <c:v>0.950792867608274</c:v>
                </c:pt>
                <c:pt idx="218">
                  <c:v>0.951661395379913</c:v>
                </c:pt>
                <c:pt idx="219">
                  <c:v>0.9525235436330148</c:v>
                </c:pt>
                <c:pt idx="220">
                  <c:v>0.953377578515031</c:v>
                </c:pt>
                <c:pt idx="221">
                  <c:v>0.9542081997698847</c:v>
                </c:pt>
                <c:pt idx="222">
                  <c:v>0.9550122705803699</c:v>
                </c:pt>
                <c:pt idx="223">
                  <c:v>0.9558118677865696</c:v>
                </c:pt>
                <c:pt idx="224">
                  <c:v>0.9565788923887858</c:v>
                </c:pt>
                <c:pt idx="225">
                  <c:v>0.9573386374574014</c:v>
                </c:pt>
                <c:pt idx="226">
                  <c:v>0.9580888132482113</c:v>
                </c:pt>
                <c:pt idx="227">
                  <c:v>0.958836143403159</c:v>
                </c:pt>
                <c:pt idx="228">
                  <c:v>0.9595828911954187</c:v>
                </c:pt>
                <c:pt idx="229">
                  <c:v>0.9603233124112038</c:v>
                </c:pt>
                <c:pt idx="230">
                  <c:v>0.9610619203613466</c:v>
                </c:pt>
                <c:pt idx="231">
                  <c:v>0.9617955649931254</c:v>
                </c:pt>
                <c:pt idx="232">
                  <c:v>0.9625282301967469</c:v>
                </c:pt>
                <c:pt idx="233">
                  <c:v>0.9632548732407535</c:v>
                </c:pt>
                <c:pt idx="234">
                  <c:v>0.9639707558105469</c:v>
                </c:pt>
                <c:pt idx="235">
                  <c:v>0.9646749911265795</c:v>
                </c:pt>
                <c:pt idx="236">
                  <c:v>0.9653599687673597</c:v>
                </c:pt>
                <c:pt idx="237">
                  <c:v>0.9660312344139397</c:v>
                </c:pt>
                <c:pt idx="238">
                  <c:v>0.9667009647407057</c:v>
                </c:pt>
                <c:pt idx="239">
                  <c:v>0.9673437740286652</c:v>
                </c:pt>
                <c:pt idx="240">
                  <c:v>0.9679846906378886</c:v>
                </c:pt>
                <c:pt idx="241">
                  <c:v>0.9686092481497842</c:v>
                </c:pt>
                <c:pt idx="242">
                  <c:v>0.9692250172792967</c:v>
                </c:pt>
                <c:pt idx="243">
                  <c:v>0.9698228390496049</c:v>
                </c:pt>
                <c:pt idx="244">
                  <c:v>0.9704172725279099</c:v>
                </c:pt>
                <c:pt idx="245">
                  <c:v>0.9710108324621829</c:v>
                </c:pt>
                <c:pt idx="246">
                  <c:v>0.9716007526296556</c:v>
                </c:pt>
                <c:pt idx="247">
                  <c:v>0.9721858153628894</c:v>
                </c:pt>
                <c:pt idx="248">
                  <c:v>0.9727636647401008</c:v>
                </c:pt>
                <c:pt idx="249">
                  <c:v>0.9733289271419411</c:v>
                </c:pt>
                <c:pt idx="250">
                  <c:v>0.9738879820869475</c:v>
                </c:pt>
                <c:pt idx="251">
                  <c:v>0.9744417295901833</c:v>
                </c:pt>
                <c:pt idx="252">
                  <c:v>0.9749845974995651</c:v>
                </c:pt>
                <c:pt idx="253">
                  <c:v>0.9755061429932552</c:v>
                </c:pt>
                <c:pt idx="254">
                  <c:v>0.976015472106012</c:v>
                </c:pt>
                <c:pt idx="255">
                  <c:v>0.9765151128213223</c:v>
                </c:pt>
                <c:pt idx="256">
                  <c:v>0.9770123049662397</c:v>
                </c:pt>
                <c:pt idx="257">
                  <c:v>0.9774870232056048</c:v>
                </c:pt>
                <c:pt idx="258">
                  <c:v>0.9779572810762001</c:v>
                </c:pt>
                <c:pt idx="259">
                  <c:v>0.9784266389317321</c:v>
                </c:pt>
                <c:pt idx="260">
                  <c:v>0.9788953482469979</c:v>
                </c:pt>
                <c:pt idx="261">
                  <c:v>0.9793536941535196</c:v>
                </c:pt>
                <c:pt idx="262">
                  <c:v>0.9797526655368921</c:v>
                </c:pt>
                <c:pt idx="263">
                  <c:v>0.9801508030827795</c:v>
                </c:pt>
                <c:pt idx="264">
                  <c:v>0.9805488479800574</c:v>
                </c:pt>
                <c:pt idx="265">
                  <c:v>0.9808975111684923</c:v>
                </c:pt>
                <c:pt idx="266">
                  <c:v>0.9812458699400676</c:v>
                </c:pt>
                <c:pt idx="267">
                  <c:v>0.9815871874173238</c:v>
                </c:pt>
                <c:pt idx="268">
                  <c:v>0.9819273401692039</c:v>
                </c:pt>
                <c:pt idx="269">
                  <c:v>0.9822665929060207</c:v>
                </c:pt>
                <c:pt idx="270">
                  <c:v>0.9826047206240083</c:v>
                </c:pt>
                <c:pt idx="271">
                  <c:v>0.9829340996661595</c:v>
                </c:pt>
                <c:pt idx="272">
                  <c:v>0.9832580653824151</c:v>
                </c:pt>
                <c:pt idx="273">
                  <c:v>0.9835795560572466</c:v>
                </c:pt>
                <c:pt idx="274">
                  <c:v>0.983879036069573</c:v>
                </c:pt>
                <c:pt idx="275">
                  <c:v>0.9841745057206615</c:v>
                </c:pt>
                <c:pt idx="276">
                  <c:v>0.9844661900142776</c:v>
                </c:pt>
                <c:pt idx="277">
                  <c:v>0.9847551610271881</c:v>
                </c:pt>
                <c:pt idx="278">
                  <c:v>0.9850391951927657</c:v>
                </c:pt>
                <c:pt idx="279">
                  <c:v>0.9853158968826803</c:v>
                </c:pt>
                <c:pt idx="280">
                  <c:v>0.9855868543588083</c:v>
                </c:pt>
                <c:pt idx="281">
                  <c:v>0.9858560779823878</c:v>
                </c:pt>
                <c:pt idx="282">
                  <c:v>0.9861095513423589</c:v>
                </c:pt>
                <c:pt idx="283">
                  <c:v>0.9863623761620637</c:v>
                </c:pt>
                <c:pt idx="284">
                  <c:v>0.9866086361660124</c:v>
                </c:pt>
                <c:pt idx="285">
                  <c:v>0.9868513622872859</c:v>
                </c:pt>
                <c:pt idx="286">
                  <c:v>0.987091838370901</c:v>
                </c:pt>
                <c:pt idx="287">
                  <c:v>0.9873306997216084</c:v>
                </c:pt>
                <c:pt idx="288">
                  <c:v>0.9875648095222019</c:v>
                </c:pt>
                <c:pt idx="289">
                  <c:v>0.9877890191570988</c:v>
                </c:pt>
                <c:pt idx="290">
                  <c:v>0.9880100655037584</c:v>
                </c:pt>
                <c:pt idx="291">
                  <c:v>0.9882280015042431</c:v>
                </c:pt>
                <c:pt idx="292">
                  <c:v>0.9884292078129622</c:v>
                </c:pt>
                <c:pt idx="293">
                  <c:v>0.9886280317288666</c:v>
                </c:pt>
                <c:pt idx="294">
                  <c:v>0.9888181731465129</c:v>
                </c:pt>
                <c:pt idx="295">
                  <c:v>0.9890075866107991</c:v>
                </c:pt>
                <c:pt idx="296">
                  <c:v>0.9891950676898023</c:v>
                </c:pt>
                <c:pt idx="297">
                  <c:v>0.9893754280613926</c:v>
                </c:pt>
                <c:pt idx="298">
                  <c:v>0.989555603135764</c:v>
                </c:pt>
                <c:pt idx="299">
                  <c:v>0.9897346796623374</c:v>
                </c:pt>
                <c:pt idx="300">
                  <c:v>0.9899077207937802</c:v>
                </c:pt>
                <c:pt idx="301">
                  <c:v>0.9900799545587692</c:v>
                </c:pt>
                <c:pt idx="302">
                  <c:v>0.9902463779323933</c:v>
                </c:pt>
                <c:pt idx="303">
                  <c:v>0.990412563066736</c:v>
                </c:pt>
                <c:pt idx="304">
                  <c:v>0.9905769746419832</c:v>
                </c:pt>
                <c:pt idx="305">
                  <c:v>0.9907380773383212</c:v>
                </c:pt>
                <c:pt idx="306">
                  <c:v>0.9908991403281122</c:v>
                </c:pt>
                <c:pt idx="307">
                  <c:v>0.9910540223321006</c:v>
                </c:pt>
                <c:pt idx="308">
                  <c:v>0.9912078719658692</c:v>
                </c:pt>
                <c:pt idx="309">
                  <c:v>0.9913613377696844</c:v>
                </c:pt>
                <c:pt idx="310">
                  <c:v>0.991510369675761</c:v>
                </c:pt>
                <c:pt idx="311">
                  <c:v>0.9916541206110984</c:v>
                </c:pt>
                <c:pt idx="312">
                  <c:v>0.9917883684462081</c:v>
                </c:pt>
                <c:pt idx="313">
                  <c:v>0.9919210941970196</c:v>
                </c:pt>
                <c:pt idx="314">
                  <c:v>0.9920527081645174</c:v>
                </c:pt>
                <c:pt idx="315">
                  <c:v>0.9921810661951685</c:v>
                </c:pt>
                <c:pt idx="316">
                  <c:v>0.9923075447825992</c:v>
                </c:pt>
                <c:pt idx="317">
                  <c:v>0.9924333615942479</c:v>
                </c:pt>
                <c:pt idx="318">
                  <c:v>0.9925569680747852</c:v>
                </c:pt>
                <c:pt idx="319">
                  <c:v>0.9926729773693467</c:v>
                </c:pt>
                <c:pt idx="320">
                  <c:v>0.9927876631123443</c:v>
                </c:pt>
                <c:pt idx="321">
                  <c:v>0.9928977031893533</c:v>
                </c:pt>
                <c:pt idx="322">
                  <c:v>0.9930072006102212</c:v>
                </c:pt>
                <c:pt idx="323">
                  <c:v>0.9931161024328854</c:v>
                </c:pt>
                <c:pt idx="324">
                  <c:v>0.9932216821411246</c:v>
                </c:pt>
                <c:pt idx="325">
                  <c:v>0.9933263883053317</c:v>
                </c:pt>
                <c:pt idx="326">
                  <c:v>0.9934307371106167</c:v>
                </c:pt>
                <c:pt idx="327">
                  <c:v>0.993534596201823</c:v>
                </c:pt>
                <c:pt idx="328">
                  <c:v>0.9936383361733887</c:v>
                </c:pt>
                <c:pt idx="329">
                  <c:v>0.9937411628943753</c:v>
                </c:pt>
                <c:pt idx="330">
                  <c:v>0.9938433278395801</c:v>
                </c:pt>
                <c:pt idx="331">
                  <c:v>0.9939436927546581</c:v>
                </c:pt>
                <c:pt idx="332">
                  <c:v>0.994043515013595</c:v>
                </c:pt>
                <c:pt idx="333">
                  <c:v>0.9941404254590918</c:v>
                </c:pt>
                <c:pt idx="334">
                  <c:v>0.9942362770633375</c:v>
                </c:pt>
                <c:pt idx="335">
                  <c:v>0.9943318639572705</c:v>
                </c:pt>
                <c:pt idx="336">
                  <c:v>0.9944268949595467</c:v>
                </c:pt>
                <c:pt idx="337">
                  <c:v>0.9945159699797862</c:v>
                </c:pt>
                <c:pt idx="338">
                  <c:v>0.9945951713053601</c:v>
                </c:pt>
                <c:pt idx="339">
                  <c:v>0.9946743461599028</c:v>
                </c:pt>
                <c:pt idx="340">
                  <c:v>0.9947510592085369</c:v>
                </c:pt>
                <c:pt idx="341">
                  <c:v>0.9948275340178896</c:v>
                </c:pt>
                <c:pt idx="342">
                  <c:v>0.9949037176458982</c:v>
                </c:pt>
                <c:pt idx="343">
                  <c:v>0.9949796630346254</c:v>
                </c:pt>
                <c:pt idx="344">
                  <c:v>0.995055079002727</c:v>
                </c:pt>
                <c:pt idx="345">
                  <c:v>0.9951304684997975</c:v>
                </c:pt>
                <c:pt idx="346">
                  <c:v>0.9952055800510394</c:v>
                </c:pt>
                <c:pt idx="347">
                  <c:v>0.9952806518957346</c:v>
                </c:pt>
                <c:pt idx="348">
                  <c:v>0.995354942845007</c:v>
                </c:pt>
                <c:pt idx="349">
                  <c:v>0.9954291014391231</c:v>
                </c:pt>
                <c:pt idx="350">
                  <c:v>0.9955018835396129</c:v>
                </c:pt>
                <c:pt idx="351">
                  <c:v>0.9955738185671019</c:v>
                </c:pt>
                <c:pt idx="352">
                  <c:v>0.9956435035569327</c:v>
                </c:pt>
                <c:pt idx="353">
                  <c:v>0.9957121297055124</c:v>
                </c:pt>
                <c:pt idx="354">
                  <c:v>0.9957801073138258</c:v>
                </c:pt>
                <c:pt idx="355">
                  <c:v>0.9958462584209813</c:v>
                </c:pt>
                <c:pt idx="356">
                  <c:v>0.9959120654047302</c:v>
                </c:pt>
                <c:pt idx="357">
                  <c:v>0.9959773562033692</c:v>
                </c:pt>
                <c:pt idx="358">
                  <c:v>0.9960421043458672</c:v>
                </c:pt>
                <c:pt idx="359">
                  <c:v>0.9961061774770676</c:v>
                </c:pt>
                <c:pt idx="360">
                  <c:v>0.996169813836252</c:v>
                </c:pt>
                <c:pt idx="361">
                  <c:v>0.9962333310757957</c:v>
                </c:pt>
                <c:pt idx="362">
                  <c:v>0.9962950350496971</c:v>
                </c:pt>
                <c:pt idx="363">
                  <c:v>0.9963525168941101</c:v>
                </c:pt>
                <c:pt idx="364">
                  <c:v>0.9964098134413042</c:v>
                </c:pt>
                <c:pt idx="365">
                  <c:v>0.9964666864519979</c:v>
                </c:pt>
                <c:pt idx="366">
                  <c:v>0.9965234535785665</c:v>
                </c:pt>
                <c:pt idx="367">
                  <c:v>0.9965787780339307</c:v>
                </c:pt>
                <c:pt idx="368">
                  <c:v>0.9966336260107319</c:v>
                </c:pt>
                <c:pt idx="369">
                  <c:v>0.9966884078099549</c:v>
                </c:pt>
                <c:pt idx="370">
                  <c:v>0.9967430307829903</c:v>
                </c:pt>
                <c:pt idx="371">
                  <c:v>0.996797203748494</c:v>
                </c:pt>
                <c:pt idx="372">
                  <c:v>0.9968511517102319</c:v>
                </c:pt>
                <c:pt idx="373">
                  <c:v>0.9969047952551101</c:v>
                </c:pt>
                <c:pt idx="374">
                  <c:v>0.9969582932093163</c:v>
                </c:pt>
                <c:pt idx="375">
                  <c:v>0.9970096734810205</c:v>
                </c:pt>
                <c:pt idx="376">
                  <c:v>0.9970606169807087</c:v>
                </c:pt>
                <c:pt idx="377">
                  <c:v>0.9971100648671298</c:v>
                </c:pt>
                <c:pt idx="378">
                  <c:v>0.997159367162879</c:v>
                </c:pt>
                <c:pt idx="379">
                  <c:v>0.9972079415052681</c:v>
                </c:pt>
                <c:pt idx="380">
                  <c:v>0.9972551658250622</c:v>
                </c:pt>
                <c:pt idx="381">
                  <c:v>0.997302218083153</c:v>
                </c:pt>
                <c:pt idx="382">
                  <c:v>0.9973487806271653</c:v>
                </c:pt>
                <c:pt idx="383">
                  <c:v>0.9973950916963804</c:v>
                </c:pt>
                <c:pt idx="384">
                  <c:v>0.9974408468739387</c:v>
                </c:pt>
                <c:pt idx="385">
                  <c:v>0.9974859799822622</c:v>
                </c:pt>
                <c:pt idx="386">
                  <c:v>0.9975296439483499</c:v>
                </c:pt>
                <c:pt idx="387">
                  <c:v>0.9975726064321088</c:v>
                </c:pt>
                <c:pt idx="388">
                  <c:v>0.9976145365456479</c:v>
                </c:pt>
                <c:pt idx="389">
                  <c:v>0.9976561490068118</c:v>
                </c:pt>
                <c:pt idx="390">
                  <c:v>0.9976976952903974</c:v>
                </c:pt>
                <c:pt idx="391">
                  <c:v>0.9977382489103103</c:v>
                </c:pt>
                <c:pt idx="392">
                  <c:v>0.9977782466385664</c:v>
                </c:pt>
                <c:pt idx="393">
                  <c:v>0.9978180723051192</c:v>
                </c:pt>
                <c:pt idx="394">
                  <c:v>0.9978574479641403</c:v>
                </c:pt>
                <c:pt idx="395">
                  <c:v>0.9978961883184109</c:v>
                </c:pt>
                <c:pt idx="396">
                  <c:v>0.9979336448276646</c:v>
                </c:pt>
                <c:pt idx="397">
                  <c:v>0.9979699233760265</c:v>
                </c:pt>
                <c:pt idx="398">
                  <c:v>0.9980058975075289</c:v>
                </c:pt>
                <c:pt idx="399">
                  <c:v>0.9980417525193905</c:v>
                </c:pt>
                <c:pt idx="400">
                  <c:v>0.9980770781106266</c:v>
                </c:pt>
                <c:pt idx="401">
                  <c:v>0.9981116228064402</c:v>
                </c:pt>
                <c:pt idx="402">
                  <c:v>0.9981454660199249</c:v>
                </c:pt>
                <c:pt idx="403">
                  <c:v>0.9981792695268628</c:v>
                </c:pt>
                <c:pt idx="404">
                  <c:v>0.9982130200917381</c:v>
                </c:pt>
                <c:pt idx="405">
                  <c:v>0.9982463206490817</c:v>
                </c:pt>
                <c:pt idx="406">
                  <c:v>0.9982790653147685</c:v>
                </c:pt>
                <c:pt idx="407">
                  <c:v>0.9983105526064698</c:v>
                </c:pt>
                <c:pt idx="408">
                  <c:v>0.9983419604850773</c:v>
                </c:pt>
                <c:pt idx="409">
                  <c:v>0.998372044812121</c:v>
                </c:pt>
                <c:pt idx="410">
                  <c:v>0.9984019703129772</c:v>
                </c:pt>
                <c:pt idx="411">
                  <c:v>0.9984318164007394</c:v>
                </c:pt>
                <c:pt idx="412">
                  <c:v>0.9984611463033918</c:v>
                </c:pt>
                <c:pt idx="413">
                  <c:v>0.9984893908937619</c:v>
                </c:pt>
                <c:pt idx="414">
                  <c:v>0.9985175428355225</c:v>
                </c:pt>
                <c:pt idx="415">
                  <c:v>0.9985453241828454</c:v>
                </c:pt>
                <c:pt idx="416">
                  <c:v>0.9985728408198554</c:v>
                </c:pt>
                <c:pt idx="417">
                  <c:v>0.99859982803624</c:v>
                </c:pt>
                <c:pt idx="418">
                  <c:v>0.9986263917161242</c:v>
                </c:pt>
                <c:pt idx="419">
                  <c:v>0.9986529156894615</c:v>
                </c:pt>
                <c:pt idx="420">
                  <c:v>0.9986794131917675</c:v>
                </c:pt>
                <c:pt idx="421">
                  <c:v>0.9987055798061825</c:v>
                </c:pt>
                <c:pt idx="422">
                  <c:v>0.998731547887863</c:v>
                </c:pt>
                <c:pt idx="423">
                  <c:v>0.9987562453600423</c:v>
                </c:pt>
                <c:pt idx="424">
                  <c:v>0.9987806913574244</c:v>
                </c:pt>
                <c:pt idx="425">
                  <c:v>0.9988045682276342</c:v>
                </c:pt>
                <c:pt idx="426">
                  <c:v>0.9988275186117493</c:v>
                </c:pt>
                <c:pt idx="427">
                  <c:v>0.9988502704631299</c:v>
                </c:pt>
                <c:pt idx="428">
                  <c:v>0.9988729826079636</c:v>
                </c:pt>
                <c:pt idx="429">
                  <c:v>0.9988954300424846</c:v>
                </c:pt>
                <c:pt idx="430">
                  <c:v>0.9989172157012237</c:v>
                </c:pt>
                <c:pt idx="431">
                  <c:v>0.9989383660552122</c:v>
                </c:pt>
                <c:pt idx="432">
                  <c:v>0.99895939728956</c:v>
                </c:pt>
                <c:pt idx="433">
                  <c:v>0.9989798196901885</c:v>
                </c:pt>
                <c:pt idx="434">
                  <c:v>0.9989990508944095</c:v>
                </c:pt>
                <c:pt idx="435">
                  <c:v>0.9990181894500212</c:v>
                </c:pt>
                <c:pt idx="436">
                  <c:v>0.9990371162373826</c:v>
                </c:pt>
                <c:pt idx="437">
                  <c:v>0.9990558841985563</c:v>
                </c:pt>
                <c:pt idx="438">
                  <c:v>0.9990745595111206</c:v>
                </c:pt>
                <c:pt idx="439">
                  <c:v>0.9990930627619816</c:v>
                </c:pt>
                <c:pt idx="440">
                  <c:v>0.9991111424763423</c:v>
                </c:pt>
                <c:pt idx="441">
                  <c:v>0.9991286662990461</c:v>
                </c:pt>
                <c:pt idx="442">
                  <c:v>0.999145859233859</c:v>
                </c:pt>
                <c:pt idx="443">
                  <c:v>0.9991630256976407</c:v>
                </c:pt>
                <c:pt idx="444">
                  <c:v>0.9991796892118281</c:v>
                </c:pt>
                <c:pt idx="445">
                  <c:v>0.9991963394904999</c:v>
                </c:pt>
                <c:pt idx="446">
                  <c:v>0.9992128441784996</c:v>
                </c:pt>
                <c:pt idx="447">
                  <c:v>0.9992291635692805</c:v>
                </c:pt>
                <c:pt idx="448">
                  <c:v>0.9992454829600613</c:v>
                </c:pt>
                <c:pt idx="449">
                  <c:v>0.999261590582592</c:v>
                </c:pt>
                <c:pt idx="450">
                  <c:v>0.9992776982051227</c:v>
                </c:pt>
                <c:pt idx="451">
                  <c:v>0.9992936999435282</c:v>
                </c:pt>
                <c:pt idx="452">
                  <c:v>0.9993096090333243</c:v>
                </c:pt>
                <c:pt idx="453">
                  <c:v>0.9993254916520892</c:v>
                </c:pt>
                <c:pt idx="454">
                  <c:v>0.9993411360315725</c:v>
                </c:pt>
                <c:pt idx="455">
                  <c:v>0.9993566215848682</c:v>
                </c:pt>
                <c:pt idx="456">
                  <c:v>0.9993720806671326</c:v>
                </c:pt>
                <c:pt idx="457">
                  <c:v>0.9993868382670682</c:v>
                </c:pt>
                <c:pt idx="458">
                  <c:v>0.9994015693959726</c:v>
                </c:pt>
                <c:pt idx="459">
                  <c:v>0.9994160755211111</c:v>
                </c:pt>
                <c:pt idx="460">
                  <c:v>0.9994303301714526</c:v>
                </c:pt>
                <c:pt idx="461">
                  <c:v>0.9994444127600907</c:v>
                </c:pt>
                <c:pt idx="462">
                  <c:v>0.999458415935635</c:v>
                </c:pt>
                <c:pt idx="463">
                  <c:v>0.9994723661691168</c:v>
                </c:pt>
                <c:pt idx="464">
                  <c:v>0.9994860913988328</c:v>
                </c:pt>
                <c:pt idx="465">
                  <c:v>0.9994998033930331</c:v>
                </c:pt>
                <c:pt idx="466">
                  <c:v>0.999512985966608</c:v>
                </c:pt>
                <c:pt idx="467">
                  <c:v>0.9995258773588388</c:v>
                </c:pt>
                <c:pt idx="468">
                  <c:v>0.9995383981566317</c:v>
                </c:pt>
                <c:pt idx="469">
                  <c:v>0.9995508924833933</c:v>
                </c:pt>
                <c:pt idx="470">
                  <c:v>0.9995630559222641</c:v>
                </c:pt>
                <c:pt idx="471">
                  <c:v>0.9995749149442752</c:v>
                </c:pt>
                <c:pt idx="472">
                  <c:v>0.9995867077887081</c:v>
                </c:pt>
                <c:pt idx="473">
                  <c:v>0.9995980903321562</c:v>
                </c:pt>
                <c:pt idx="474">
                  <c:v>0.9996094596400886</c:v>
                </c:pt>
                <c:pt idx="475">
                  <c:v>0.9996205510021927</c:v>
                </c:pt>
                <c:pt idx="476">
                  <c:v>0.999631271769859</c:v>
                </c:pt>
                <c:pt idx="477">
                  <c:v>0.9996414631168997</c:v>
                </c:pt>
                <c:pt idx="478">
                  <c:v>0.9996515750508467</c:v>
                </c:pt>
                <c:pt idx="479">
                  <c:v>0.9996613560969027</c:v>
                </c:pt>
                <c:pt idx="480">
                  <c:v>0.9996709518457397</c:v>
                </c:pt>
                <c:pt idx="481">
                  <c:v>0.9996799519963732</c:v>
                </c:pt>
                <c:pt idx="482">
                  <c:v>0.9996888330273658</c:v>
                </c:pt>
                <c:pt idx="483">
                  <c:v>0.9996976478807803</c:v>
                </c:pt>
                <c:pt idx="484">
                  <c:v>0.9997063965566166</c:v>
                </c:pt>
                <c:pt idx="485">
                  <c:v>0.9997150790548748</c:v>
                </c:pt>
                <c:pt idx="486">
                  <c:v>0.9997236424334921</c:v>
                </c:pt>
                <c:pt idx="487">
                  <c:v>0.9997321263990157</c:v>
                </c:pt>
                <c:pt idx="488">
                  <c:v>0.9997402794766482</c:v>
                </c:pt>
                <c:pt idx="489">
                  <c:v>0.9997482604925776</c:v>
                </c:pt>
                <c:pt idx="490">
                  <c:v>0.9997562150374757</c:v>
                </c:pt>
                <c:pt idx="491">
                  <c:v>0.9997637195748421</c:v>
                </c:pt>
                <c:pt idx="492">
                  <c:v>0.9997711976411772</c:v>
                </c:pt>
                <c:pt idx="493">
                  <c:v>0.9997786360009654</c:v>
                </c:pt>
                <c:pt idx="494">
                  <c:v>0.9997932347747134</c:v>
                </c:pt>
                <c:pt idx="495">
                  <c:v>0.9998003951886731</c:v>
                </c:pt>
                <c:pt idx="496">
                  <c:v>0.9998074497185079</c:v>
                </c:pt>
                <c:pt idx="497">
                  <c:v>0.99981445130628</c:v>
                </c:pt>
                <c:pt idx="498">
                  <c:v>0.9998210425930674</c:v>
                </c:pt>
                <c:pt idx="499">
                  <c:v>0.9998276206443392</c:v>
                </c:pt>
                <c:pt idx="500">
                  <c:v>0.9998341457535483</c:v>
                </c:pt>
                <c:pt idx="501">
                  <c:v>0.9998405120365699</c:v>
                </c:pt>
                <c:pt idx="502">
                  <c:v>0.9998467591999507</c:v>
                </c:pt>
                <c:pt idx="503">
                  <c:v>0.9998527813595657</c:v>
                </c:pt>
                <c:pt idx="504">
                  <c:v>0.9998587241060869</c:v>
                </c:pt>
                <c:pt idx="505">
                  <c:v>0.9998645477329673</c:v>
                </c:pt>
                <c:pt idx="506">
                  <c:v>0.9998700007654099</c:v>
                </c:pt>
                <c:pt idx="507">
                  <c:v>0.9998752287940866</c:v>
                </c:pt>
                <c:pt idx="508">
                  <c:v>0.9998799406376535</c:v>
                </c:pt>
                <c:pt idx="509">
                  <c:v>0.9998845333615797</c:v>
                </c:pt>
                <c:pt idx="510">
                  <c:v>0.9998888746107087</c:v>
                </c:pt>
                <c:pt idx="511">
                  <c:v>0.9998928849719468</c:v>
                </c:pt>
                <c:pt idx="512">
                  <c:v>0.999896749742513</c:v>
                </c:pt>
                <c:pt idx="513">
                  <c:v>0.9999004821579227</c:v>
                </c:pt>
                <c:pt idx="514">
                  <c:v>0.9999042013378168</c:v>
                </c:pt>
                <c:pt idx="515">
                  <c:v>0.9999077087494607</c:v>
                </c:pt>
                <c:pt idx="516">
                  <c:v>0.9999111102769794</c:v>
                </c:pt>
                <c:pt idx="517">
                  <c:v>0.9999144720979514</c:v>
                </c:pt>
                <c:pt idx="518">
                  <c:v>0.9999175559730948</c:v>
                </c:pt>
                <c:pt idx="519">
                  <c:v>0.9999206266127227</c:v>
                </c:pt>
                <c:pt idx="520">
                  <c:v>0.999923684016835</c:v>
                </c:pt>
                <c:pt idx="521">
                  <c:v>0.9999267149499159</c:v>
                </c:pt>
                <c:pt idx="522">
                  <c:v>0.9999297061764499</c:v>
                </c:pt>
                <c:pt idx="523">
                  <c:v>0.9999326047543745</c:v>
                </c:pt>
                <c:pt idx="524">
                  <c:v>0.9999354636257521</c:v>
                </c:pt>
                <c:pt idx="525">
                  <c:v>0.9999380710223327</c:v>
                </c:pt>
                <c:pt idx="526">
                  <c:v>0.999940612241335</c:v>
                </c:pt>
                <c:pt idx="527">
                  <c:v>0.9999431534603374</c:v>
                </c:pt>
                <c:pt idx="528">
                  <c:v>0.9999456417372772</c:v>
                </c:pt>
                <c:pt idx="529">
                  <c:v>0.9999481167787013</c:v>
                </c:pt>
                <c:pt idx="530">
                  <c:v>0.9999504462294535</c:v>
                </c:pt>
                <c:pt idx="531">
                  <c:v>0.9999525771474711</c:v>
                </c:pt>
                <c:pt idx="532">
                  <c:v>0.9999546948299731</c:v>
                </c:pt>
                <c:pt idx="533">
                  <c:v>0.99995670662835</c:v>
                </c:pt>
                <c:pt idx="534">
                  <c:v>0.9999586522491487</c:v>
                </c:pt>
                <c:pt idx="535">
                  <c:v>0.9999605846344317</c:v>
                </c:pt>
                <c:pt idx="536">
                  <c:v>0.9999623184869803</c:v>
                </c:pt>
                <c:pt idx="537">
                  <c:v>0.9999639993974662</c:v>
                </c:pt>
                <c:pt idx="538">
                  <c:v>0.9999656538369208</c:v>
                </c:pt>
                <c:pt idx="539">
                  <c:v>0.9999672950408599</c:v>
                </c:pt>
                <c:pt idx="540">
                  <c:v>0.9999688833027364</c:v>
                </c:pt>
                <c:pt idx="541">
                  <c:v>0.9999704186225503</c:v>
                </c:pt>
                <c:pt idx="542">
                  <c:v>0.9999717818806609</c:v>
                </c:pt>
                <c:pt idx="543">
                  <c:v>0.9999731186677403</c:v>
                </c:pt>
                <c:pt idx="544">
                  <c:v>0.999974442219304</c:v>
                </c:pt>
                <c:pt idx="545">
                  <c:v>0.9999757392998364</c:v>
                </c:pt>
                <c:pt idx="546">
                  <c:v>0.9999770231448533</c:v>
                </c:pt>
                <c:pt idx="547">
                  <c:v>0.9999782408122919</c:v>
                </c:pt>
                <c:pt idx="548">
                  <c:v>0.9999794452442149</c:v>
                </c:pt>
                <c:pt idx="549">
                  <c:v>0.9999805040854659</c:v>
                </c:pt>
                <c:pt idx="550">
                  <c:v>0.9999815629267169</c:v>
                </c:pt>
                <c:pt idx="551">
                  <c:v>0.9999826217679679</c:v>
                </c:pt>
                <c:pt idx="552">
                  <c:v>0.9999836673737033</c:v>
                </c:pt>
                <c:pt idx="553">
                  <c:v>0.9999846732728916</c:v>
                </c:pt>
                <c:pt idx="554">
                  <c:v>0.9999865262450809</c:v>
                </c:pt>
                <c:pt idx="555">
                  <c:v>0.9999874130246286</c:v>
                </c:pt>
                <c:pt idx="556">
                  <c:v>0.9999882998041763</c:v>
                </c:pt>
                <c:pt idx="557">
                  <c:v>0.9999899410081152</c:v>
                </c:pt>
                <c:pt idx="558">
                  <c:v>0.9999906954325065</c:v>
                </c:pt>
                <c:pt idx="559">
                  <c:v>0.999991410150351</c:v>
                </c:pt>
                <c:pt idx="560">
                  <c:v>0.9999920586906172</c:v>
                </c:pt>
                <c:pt idx="561">
                  <c:v>0.9999926542888209</c:v>
                </c:pt>
                <c:pt idx="562">
                  <c:v>0.999993236651509</c:v>
                </c:pt>
                <c:pt idx="563">
                  <c:v>0.9999938057786814</c:v>
                </c:pt>
                <c:pt idx="564">
                  <c:v>0.9999943616703382</c:v>
                </c:pt>
                <c:pt idx="565">
                  <c:v>0.999994877855448</c:v>
                </c:pt>
                <c:pt idx="566">
                  <c:v>0.9999953808050422</c:v>
                </c:pt>
                <c:pt idx="567">
                  <c:v>0.9999958308125739</c:v>
                </c:pt>
                <c:pt idx="568">
                  <c:v>0.9999962543490744</c:v>
                </c:pt>
                <c:pt idx="569">
                  <c:v>0.9999966514145435</c:v>
                </c:pt>
                <c:pt idx="570">
                  <c:v>0.999997035244497</c:v>
                </c:pt>
                <c:pt idx="571">
                  <c:v>0.9999973926034192</c:v>
                </c:pt>
                <c:pt idx="572">
                  <c:v>0.9999979749661072</c:v>
                </c:pt>
                <c:pt idx="573">
                  <c:v>0.9999982264409043</c:v>
                </c:pt>
                <c:pt idx="574">
                  <c:v>0.9999987029194674</c:v>
                </c:pt>
                <c:pt idx="575">
                  <c:v>0.9999989279232332</c:v>
                </c:pt>
                <c:pt idx="576">
                  <c:v>0.999999152926999</c:v>
                </c:pt>
                <c:pt idx="577">
                  <c:v>0.9999993779307649</c:v>
                </c:pt>
                <c:pt idx="578">
                  <c:v>0.9999995632279838</c:v>
                </c:pt>
                <c:pt idx="579">
                  <c:v>0.9999997485252027</c:v>
                </c:pt>
                <c:pt idx="580">
                  <c:v>0.9999998808803591</c:v>
                </c:pt>
                <c:pt idx="581">
                  <c:v>0.9999999999999998</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485</c:f>
              <c:strCache>
                <c:ptCount val="484"/>
                <c:pt idx="0">
                  <c:v>Private Lab</c:v>
                </c:pt>
                <c:pt idx="1">
                  <c:v>Private Lab</c:v>
                </c:pt>
                <c:pt idx="2">
                  <c:v>Private Lab</c:v>
                </c:pt>
                <c:pt idx="3">
                  <c:v>Caprice Des</c:v>
                </c:pt>
                <c:pt idx="4">
                  <c:v>Private Lab</c:v>
                </c:pt>
                <c:pt idx="5">
                  <c:v>Private Lab</c:v>
                </c:pt>
                <c:pt idx="6">
                  <c:v>Soignon</c:v>
                </c:pt>
                <c:pt idx="7">
                  <c:v>Private Lab</c:v>
                </c:pt>
                <c:pt idx="8">
                  <c:v>President</c:v>
                </c:pt>
                <c:pt idx="9">
                  <c:v>Private Lab</c:v>
                </c:pt>
                <c:pt idx="10">
                  <c:v>Coeur De Li</c:v>
                </c:pt>
                <c:pt idx="11">
                  <c:v>Mini Babybe</c:v>
                </c:pt>
                <c:pt idx="12">
                  <c:v>Caprice Des</c:v>
                </c:pt>
                <c:pt idx="13">
                  <c:v>President</c:v>
                </c:pt>
                <c:pt idx="14">
                  <c:v>Galbani</c:v>
                </c:pt>
                <c:pt idx="15">
                  <c:v>Private Lab</c:v>
                </c:pt>
                <c:pt idx="16">
                  <c:v>Private Lab</c:v>
                </c:pt>
                <c:pt idx="17">
                  <c:v>La Vache Qu</c:v>
                </c:pt>
                <c:pt idx="18">
                  <c:v>Le Rustique</c:v>
                </c:pt>
                <c:pt idx="19">
                  <c:v>Mini Babybe</c:v>
                </c:pt>
                <c:pt idx="20">
                  <c:v>St Moret</c:v>
                </c:pt>
                <c:pt idx="21">
                  <c:v>St Moret</c:v>
                </c:pt>
                <c:pt idx="22">
                  <c:v>Soignon</c:v>
                </c:pt>
                <c:pt idx="23">
                  <c:v>Private Lab</c:v>
                </c:pt>
                <c:pt idx="24">
                  <c:v>Salakis</c:v>
                </c:pt>
                <c:pt idx="25">
                  <c:v>Private Lab</c:v>
                </c:pt>
                <c:pt idx="26">
                  <c:v>Private Lab</c:v>
                </c:pt>
                <c:pt idx="27">
                  <c:v>Private Lab</c:v>
                </c:pt>
                <c:pt idx="28">
                  <c:v>Private Lab</c:v>
                </c:pt>
                <c:pt idx="29">
                  <c:v>La Vache Qu</c:v>
                </c:pt>
                <c:pt idx="30">
                  <c:v>President</c:v>
                </c:pt>
                <c:pt idx="31">
                  <c:v>Tartare</c:v>
                </c:pt>
                <c:pt idx="32">
                  <c:v>St Moret</c:v>
                </c:pt>
                <c:pt idx="33">
                  <c:v>St Moret</c:v>
                </c:pt>
                <c:pt idx="34">
                  <c:v>Private Lab</c:v>
                </c:pt>
                <c:pt idx="35">
                  <c:v>Kiri</c:v>
                </c:pt>
                <c:pt idx="36">
                  <c:v>Private Lab</c:v>
                </c:pt>
                <c:pt idx="37">
                  <c:v>Private Lab</c:v>
                </c:pt>
                <c:pt idx="38">
                  <c:v>Private Lab</c:v>
                </c:pt>
                <c:pt idx="39">
                  <c:v>Paysan Bret</c:v>
                </c:pt>
                <c:pt idx="40">
                  <c:v>Private Lab</c:v>
                </c:pt>
                <c:pt idx="41">
                  <c:v>La Vache Qu</c:v>
                </c:pt>
                <c:pt idx="42">
                  <c:v>Galbani</c:v>
                </c:pt>
                <c:pt idx="43">
                  <c:v>Private Lab</c:v>
                </c:pt>
                <c:pt idx="44">
                  <c:v>Private Lab</c:v>
                </c:pt>
                <c:pt idx="45">
                  <c:v>Private Lab</c:v>
                </c:pt>
                <c:pt idx="46">
                  <c:v>Coeur De Li</c:v>
                </c:pt>
                <c:pt idx="47">
                  <c:v>Private Lab</c:v>
                </c:pt>
                <c:pt idx="48">
                  <c:v>Private Lab</c:v>
                </c:pt>
                <c:pt idx="49">
                  <c:v>Private Lab</c:v>
                </c:pt>
                <c:pt idx="50">
                  <c:v>Istara</c:v>
                </c:pt>
                <c:pt idx="51">
                  <c:v>Kiri</c:v>
                </c:pt>
                <c:pt idx="52">
                  <c:v>Galbani</c:v>
                </c:pt>
                <c:pt idx="53">
                  <c:v>Private Lab</c:v>
                </c:pt>
                <c:pt idx="54">
                  <c:v>Carre Frais</c:v>
                </c:pt>
                <c:pt idx="55">
                  <c:v>All Others</c:v>
                </c:pt>
                <c:pt idx="56">
                  <c:v>Philadelphi</c:v>
                </c:pt>
                <c:pt idx="57">
                  <c:v>Boursin</c:v>
                </c:pt>
                <c:pt idx="58">
                  <c:v>Carre Frais</c:v>
                </c:pt>
                <c:pt idx="59">
                  <c:v>Private Lab</c:v>
                </c:pt>
                <c:pt idx="60">
                  <c:v>Boursin</c:v>
                </c:pt>
                <c:pt idx="61">
                  <c:v>Galbani</c:v>
                </c:pt>
                <c:pt idx="62">
                  <c:v>Private Lab</c:v>
                </c:pt>
                <c:pt idx="63">
                  <c:v>Paysan Bret</c:v>
                </c:pt>
                <c:pt idx="64">
                  <c:v>Lou Perac</c:v>
                </c:pt>
                <c:pt idx="65">
                  <c:v>Galbani</c:v>
                </c:pt>
                <c:pt idx="66">
                  <c:v>Kiri</c:v>
                </c:pt>
                <c:pt idx="67">
                  <c:v>Private Lab</c:v>
                </c:pt>
                <c:pt idx="68">
                  <c:v>Ficello</c:v>
                </c:pt>
                <c:pt idx="69">
                  <c:v>Soignon</c:v>
                </c:pt>
                <c:pt idx="70">
                  <c:v>Islos</c:v>
                </c:pt>
                <c:pt idx="71">
                  <c:v>Tartare</c:v>
                </c:pt>
                <c:pt idx="72">
                  <c:v>Lepetit</c:v>
                </c:pt>
                <c:pt idx="73">
                  <c:v>Philadelphi</c:v>
                </c:pt>
                <c:pt idx="74">
                  <c:v>Petit Billy</c:v>
                </c:pt>
                <c:pt idx="75">
                  <c:v>Private Lab</c:v>
                </c:pt>
                <c:pt idx="76">
                  <c:v>Galbani</c:v>
                </c:pt>
                <c:pt idx="77">
                  <c:v>Private Lab</c:v>
                </c:pt>
                <c:pt idx="78">
                  <c:v>Private Lab</c:v>
                </c:pt>
                <c:pt idx="79">
                  <c:v>Kiri</c:v>
                </c:pt>
                <c:pt idx="80">
                  <c:v>Private Lab</c:v>
                </c:pt>
                <c:pt idx="81">
                  <c:v>All Others</c:v>
                </c:pt>
                <c:pt idx="82">
                  <c:v>Salakis</c:v>
                </c:pt>
                <c:pt idx="83">
                  <c:v>St Moret</c:v>
                </c:pt>
                <c:pt idx="84">
                  <c:v>Private Lab</c:v>
                </c:pt>
                <c:pt idx="85">
                  <c:v>St Moret</c:v>
                </c:pt>
                <c:pt idx="86">
                  <c:v>Private Lab</c:v>
                </c:pt>
                <c:pt idx="87">
                  <c:v>Boursin</c:v>
                </c:pt>
                <c:pt idx="88">
                  <c:v>Private Lab</c:v>
                </c:pt>
                <c:pt idx="89">
                  <c:v>Kiri</c:v>
                </c:pt>
                <c:pt idx="90">
                  <c:v>Le Rustique</c:v>
                </c:pt>
                <c:pt idx="91">
                  <c:v>Caprice Des</c:v>
                </c:pt>
                <c:pt idx="92">
                  <c:v>Coeur De Li</c:v>
                </c:pt>
                <c:pt idx="93">
                  <c:v>Soignon</c:v>
                </c:pt>
                <c:pt idx="94">
                  <c:v>Private Lab</c:v>
                </c:pt>
                <c:pt idx="95">
                  <c:v>Coeur De Li</c:v>
                </c:pt>
                <c:pt idx="96">
                  <c:v>Soignon</c:v>
                </c:pt>
                <c:pt idx="97">
                  <c:v>Etorki</c:v>
                </c:pt>
                <c:pt idx="98">
                  <c:v>Ficello</c:v>
                </c:pt>
                <c:pt idx="99">
                  <c:v>President</c:v>
                </c:pt>
                <c:pt idx="100">
                  <c:v>St Moret</c:v>
                </c:pt>
                <c:pt idx="101">
                  <c:v>Private Lab</c:v>
                </c:pt>
                <c:pt idx="102">
                  <c:v>Ficello</c:v>
                </c:pt>
                <c:pt idx="103">
                  <c:v>Private Lab</c:v>
                </c:pt>
                <c:pt idx="104">
                  <c:v>All Others</c:v>
                </c:pt>
                <c:pt idx="105">
                  <c:v>All Others</c:v>
                </c:pt>
                <c:pt idx="106">
                  <c:v>President</c:v>
                </c:pt>
                <c:pt idx="107">
                  <c:v>Boursin</c:v>
                </c:pt>
                <c:pt idx="108">
                  <c:v>President</c:v>
                </c:pt>
                <c:pt idx="109">
                  <c:v>Soignon</c:v>
                </c:pt>
                <c:pt idx="110">
                  <c:v>Private Lab</c:v>
                </c:pt>
                <c:pt idx="111">
                  <c:v>La Vache Qu</c:v>
                </c:pt>
                <c:pt idx="112">
                  <c:v>President</c:v>
                </c:pt>
                <c:pt idx="113">
                  <c:v>President</c:v>
                </c:pt>
                <c:pt idx="114">
                  <c:v>Chavroux</c:v>
                </c:pt>
                <c:pt idx="115">
                  <c:v>Casa Azzurr</c:v>
                </c:pt>
                <c:pt idx="116">
                  <c:v>Private Lab</c:v>
                </c:pt>
                <c:pt idx="117">
                  <c:v>Boursin</c:v>
                </c:pt>
                <c:pt idx="118">
                  <c:v>Private Lab</c:v>
                </c:pt>
                <c:pt idx="119">
                  <c:v>President</c:v>
                </c:pt>
                <c:pt idx="120">
                  <c:v>Private Lab</c:v>
                </c:pt>
                <c:pt idx="121">
                  <c:v>P'Tit Louis</c:v>
                </c:pt>
                <c:pt idx="122">
                  <c:v>Le Brebiou</c:v>
                </c:pt>
                <c:pt idx="123">
                  <c:v>Private Lab</c:v>
                </c:pt>
                <c:pt idx="124">
                  <c:v>All Others</c:v>
                </c:pt>
                <c:pt idx="125">
                  <c:v>Boursin</c:v>
                </c:pt>
                <c:pt idx="126">
                  <c:v>Istara</c:v>
                </c:pt>
                <c:pt idx="127">
                  <c:v>Soignon</c:v>
                </c:pt>
                <c:pt idx="128">
                  <c:v>Tartare</c:v>
                </c:pt>
                <c:pt idx="129">
                  <c:v>Lactalis: A</c:v>
                </c:pt>
                <c:pt idx="130">
                  <c:v>Caprice Des</c:v>
                </c:pt>
                <c:pt idx="131">
                  <c:v>Paysan Bret</c:v>
                </c:pt>
                <c:pt idx="132">
                  <c:v>Lou Perac</c:v>
                </c:pt>
                <c:pt idx="133">
                  <c:v>Private Lab</c:v>
                </c:pt>
                <c:pt idx="134">
                  <c:v>Boursin</c:v>
                </c:pt>
                <c:pt idx="135">
                  <c:v>Paysan Bret</c:v>
                </c:pt>
                <c:pt idx="136">
                  <c:v>Private Lab</c:v>
                </c:pt>
                <c:pt idx="137">
                  <c:v>President</c:v>
                </c:pt>
                <c:pt idx="138">
                  <c:v>Casa Azzurr</c:v>
                </c:pt>
                <c:pt idx="139">
                  <c:v>Private Lab</c:v>
                </c:pt>
                <c:pt idx="140">
                  <c:v>Private Lab</c:v>
                </c:pt>
                <c:pt idx="141">
                  <c:v>Boursin</c:v>
                </c:pt>
                <c:pt idx="142">
                  <c:v>All Others</c:v>
                </c:pt>
                <c:pt idx="143">
                  <c:v>Soignon</c:v>
                </c:pt>
                <c:pt idx="144">
                  <c:v>Private Lab</c:v>
                </c:pt>
                <c:pt idx="145">
                  <c:v>Private Lab</c:v>
                </c:pt>
                <c:pt idx="146">
                  <c:v>President</c:v>
                </c:pt>
                <c:pt idx="147">
                  <c:v>All Others</c:v>
                </c:pt>
                <c:pt idx="148">
                  <c:v>Private Lab</c:v>
                </c:pt>
                <c:pt idx="149">
                  <c:v>Salakis</c:v>
                </c:pt>
                <c:pt idx="150">
                  <c:v>Private Lab</c:v>
                </c:pt>
                <c:pt idx="151">
                  <c:v>Galbani</c:v>
                </c:pt>
                <c:pt idx="152">
                  <c:v>All Others</c:v>
                </c:pt>
                <c:pt idx="153">
                  <c:v>Mini Babybe</c:v>
                </c:pt>
                <c:pt idx="154">
                  <c:v>Private Lab</c:v>
                </c:pt>
                <c:pt idx="155">
                  <c:v>Paysan Bret</c:v>
                </c:pt>
                <c:pt idx="156">
                  <c:v>Private Lab</c:v>
                </c:pt>
                <c:pt idx="157">
                  <c:v>La Vache Qu</c:v>
                </c:pt>
                <c:pt idx="158">
                  <c:v>Casa Azzurr</c:v>
                </c:pt>
                <c:pt idx="159">
                  <c:v>Soignon</c:v>
                </c:pt>
                <c:pt idx="160">
                  <c:v>Private Lab</c:v>
                </c:pt>
                <c:pt idx="161">
                  <c:v>Lou Perac</c:v>
                </c:pt>
                <c:pt idx="162">
                  <c:v>Boursin</c:v>
                </c:pt>
                <c:pt idx="163">
                  <c:v>Chavroux</c:v>
                </c:pt>
                <c:pt idx="164">
                  <c:v>Coeur De Li</c:v>
                </c:pt>
                <c:pt idx="165">
                  <c:v>Carre Frais</c:v>
                </c:pt>
                <c:pt idx="166">
                  <c:v>Lactalis: A</c:v>
                </c:pt>
                <c:pt idx="167">
                  <c:v>Private Lab</c:v>
                </c:pt>
                <c:pt idx="168">
                  <c:v>Private Lab</c:v>
                </c:pt>
                <c:pt idx="169">
                  <c:v>Galbani</c:v>
                </c:pt>
                <c:pt idx="170">
                  <c:v>All Others</c:v>
                </c:pt>
                <c:pt idx="171">
                  <c:v>Salakis</c:v>
                </c:pt>
                <c:pt idx="172">
                  <c:v>President</c:v>
                </c:pt>
                <c:pt idx="173">
                  <c:v>La Vache Qu</c:v>
                </c:pt>
                <c:pt idx="174">
                  <c:v>Tartare</c:v>
                </c:pt>
                <c:pt idx="175">
                  <c:v>Paysan Bret</c:v>
                </c:pt>
                <c:pt idx="176">
                  <c:v>All Others</c:v>
                </c:pt>
                <c:pt idx="177">
                  <c:v>Private Lab</c:v>
                </c:pt>
                <c:pt idx="178">
                  <c:v>Private Lab</c:v>
                </c:pt>
                <c:pt idx="179">
                  <c:v>Coeur De Li</c:v>
                </c:pt>
                <c:pt idx="180">
                  <c:v>All Others</c:v>
                </c:pt>
                <c:pt idx="181">
                  <c:v>All Others</c:v>
                </c:pt>
                <c:pt idx="182">
                  <c:v>Mini Babybe</c:v>
                </c:pt>
                <c:pt idx="183">
                  <c:v>Salakis</c:v>
                </c:pt>
                <c:pt idx="184">
                  <c:v>Paysan Bret</c:v>
                </c:pt>
                <c:pt idx="185">
                  <c:v>All Others</c:v>
                </c:pt>
                <c:pt idx="186">
                  <c:v>Lactalis: A</c:v>
                </c:pt>
                <c:pt idx="187">
                  <c:v>Casa Azzurr</c:v>
                </c:pt>
                <c:pt idx="188">
                  <c:v>Private Lab</c:v>
                </c:pt>
                <c:pt idx="189">
                  <c:v>Kiri</c:v>
                </c:pt>
                <c:pt idx="190">
                  <c:v>Triballat N</c:v>
                </c:pt>
                <c:pt idx="191">
                  <c:v>Soignon</c:v>
                </c:pt>
                <c:pt idx="192">
                  <c:v>Boursin</c:v>
                </c:pt>
                <c:pt idx="193">
                  <c:v>Caprice Des</c:v>
                </c:pt>
                <c:pt idx="194">
                  <c:v>Le Rustique</c:v>
                </c:pt>
                <c:pt idx="195">
                  <c:v>St Moret</c:v>
                </c:pt>
                <c:pt idx="196">
                  <c:v>Savencia: A</c:v>
                </c:pt>
                <c:pt idx="197">
                  <c:v>Kiri</c:v>
                </c:pt>
                <c:pt idx="198">
                  <c:v>Private Lab</c:v>
                </c:pt>
                <c:pt idx="199">
                  <c:v>Casa Azzurr</c:v>
                </c:pt>
                <c:pt idx="200">
                  <c:v>Caprice Des</c:v>
                </c:pt>
                <c:pt idx="201">
                  <c:v>Tartare</c:v>
                </c:pt>
                <c:pt idx="202">
                  <c:v>Casa Azzurr</c:v>
                </c:pt>
                <c:pt idx="203">
                  <c:v>All Others</c:v>
                </c:pt>
                <c:pt idx="204">
                  <c:v>Mini Babybe</c:v>
                </c:pt>
                <c:pt idx="205">
                  <c:v>Paysan Bret</c:v>
                </c:pt>
                <c:pt idx="206">
                  <c:v>Soignon</c:v>
                </c:pt>
                <c:pt idx="207">
                  <c:v>Casa Azzurr</c:v>
                </c:pt>
                <c:pt idx="208">
                  <c:v>Caprice Des</c:v>
                </c:pt>
                <c:pt idx="209">
                  <c:v>Galbani</c:v>
                </c:pt>
                <c:pt idx="210">
                  <c:v>All Others</c:v>
                </c:pt>
                <c:pt idx="211">
                  <c:v>Etorki</c:v>
                </c:pt>
                <c:pt idx="212">
                  <c:v>All Others</c:v>
                </c:pt>
                <c:pt idx="213">
                  <c:v>Tartare</c:v>
                </c:pt>
                <c:pt idx="214">
                  <c:v>Milleret: A</c:v>
                </c:pt>
                <c:pt idx="215">
                  <c:v>Soignon</c:v>
                </c:pt>
                <c:pt idx="216">
                  <c:v>Pave D'Affi</c:v>
                </c:pt>
                <c:pt idx="217">
                  <c:v>All Others</c:v>
                </c:pt>
                <c:pt idx="218">
                  <c:v>Private Lab</c:v>
                </c:pt>
                <c:pt idx="219">
                  <c:v>Corsica</c:v>
                </c:pt>
                <c:pt idx="220">
                  <c:v>Kiri</c:v>
                </c:pt>
                <c:pt idx="221">
                  <c:v>Soignon</c:v>
                </c:pt>
                <c:pt idx="222">
                  <c:v>Boursin</c:v>
                </c:pt>
                <c:pt idx="223">
                  <c:v>Salakis</c:v>
                </c:pt>
                <c:pt idx="224">
                  <c:v>Galbani</c:v>
                </c:pt>
                <c:pt idx="225">
                  <c:v>All Others</c:v>
                </c:pt>
                <c:pt idx="226">
                  <c:v>La Vache Qu</c:v>
                </c:pt>
                <c:pt idx="227">
                  <c:v>All Others</c:v>
                </c:pt>
                <c:pt idx="228">
                  <c:v>All Others</c:v>
                </c:pt>
                <c:pt idx="229">
                  <c:v>Kiri</c:v>
                </c:pt>
                <c:pt idx="230">
                  <c:v>Tartare</c:v>
                </c:pt>
                <c:pt idx="231">
                  <c:v>All Others</c:v>
                </c:pt>
                <c:pt idx="232">
                  <c:v>Salakis</c:v>
                </c:pt>
                <c:pt idx="233">
                  <c:v>Galbani</c:v>
                </c:pt>
                <c:pt idx="234">
                  <c:v>All Others</c:v>
                </c:pt>
                <c:pt idx="235">
                  <c:v>Mini Babybe</c:v>
                </c:pt>
                <c:pt idx="236">
                  <c:v>Mini Babybe</c:v>
                </c:pt>
                <c:pt idx="237">
                  <c:v>Saint Agur</c:v>
                </c:pt>
                <c:pt idx="238">
                  <c:v>Triballat N</c:v>
                </c:pt>
                <c:pt idx="239">
                  <c:v>All Others</c:v>
                </c:pt>
                <c:pt idx="240">
                  <c:v>All Others</c:v>
                </c:pt>
                <c:pt idx="241">
                  <c:v>Casa Azzurr</c:v>
                </c:pt>
                <c:pt idx="242">
                  <c:v>Casa Azzurr</c:v>
                </c:pt>
                <c:pt idx="243">
                  <c:v>All Others</c:v>
                </c:pt>
                <c:pt idx="244">
                  <c:v>All Others</c:v>
                </c:pt>
                <c:pt idx="245">
                  <c:v>Lactalis: A</c:v>
                </c:pt>
                <c:pt idx="246">
                  <c:v>Galbani</c:v>
                </c:pt>
                <c:pt idx="247">
                  <c:v>All Others</c:v>
                </c:pt>
                <c:pt idx="248">
                  <c:v>Islos</c:v>
                </c:pt>
                <c:pt idx="249">
                  <c:v>Kiri</c:v>
                </c:pt>
                <c:pt idx="250">
                  <c:v>Istara</c:v>
                </c:pt>
                <c:pt idx="251">
                  <c:v>Lactalis: A</c:v>
                </c:pt>
                <c:pt idx="252">
                  <c:v>Paysan Bret</c:v>
                </c:pt>
                <c:pt idx="253">
                  <c:v>Milleret: A</c:v>
                </c:pt>
                <c:pt idx="254">
                  <c:v>Mini Babybe</c:v>
                </c:pt>
                <c:pt idx="255">
                  <c:v>All Others</c:v>
                </c:pt>
                <c:pt idx="256">
                  <c:v>All Others</c:v>
                </c:pt>
                <c:pt idx="257">
                  <c:v>Private Lab</c:v>
                </c:pt>
                <c:pt idx="258">
                  <c:v>Etoile Du Q</c:v>
                </c:pt>
                <c:pt idx="259">
                  <c:v>Boursin</c:v>
                </c:pt>
                <c:pt idx="260">
                  <c:v>Paysan Bret</c:v>
                </c:pt>
                <c:pt idx="261">
                  <c:v>All Others</c:v>
                </c:pt>
                <c:pt idx="262">
                  <c:v>Galbani</c:v>
                </c:pt>
                <c:pt idx="263">
                  <c:v>All Others</c:v>
                </c:pt>
                <c:pt idx="264">
                  <c:v>All Others</c:v>
                </c:pt>
                <c:pt idx="265">
                  <c:v>All Others</c:v>
                </c:pt>
                <c:pt idx="266">
                  <c:v>Galbani</c:v>
                </c:pt>
                <c:pt idx="267">
                  <c:v>Soignon</c:v>
                </c:pt>
                <c:pt idx="268">
                  <c:v>Soignon</c:v>
                </c:pt>
                <c:pt idx="269">
                  <c:v>All Others</c:v>
                </c:pt>
                <c:pt idx="270">
                  <c:v>Triballat N</c:v>
                </c:pt>
                <c:pt idx="271">
                  <c:v>All Others</c:v>
                </c:pt>
                <c:pt idx="272">
                  <c:v>Paysan Bret</c:v>
                </c:pt>
                <c:pt idx="273">
                  <c:v>All Others</c:v>
                </c:pt>
                <c:pt idx="274">
                  <c:v>Boursin</c:v>
                </c:pt>
                <c:pt idx="275">
                  <c:v>All Others</c:v>
                </c:pt>
                <c:pt idx="276">
                  <c:v>All Others</c:v>
                </c:pt>
                <c:pt idx="277">
                  <c:v>Le Rustique</c:v>
                </c:pt>
                <c:pt idx="278">
                  <c:v>All Others</c:v>
                </c:pt>
                <c:pt idx="279">
                  <c:v>Soignon</c:v>
                </c:pt>
                <c:pt idx="280">
                  <c:v>Islos</c:v>
                </c:pt>
                <c:pt idx="281">
                  <c:v>All Others</c:v>
                </c:pt>
                <c:pt idx="282">
                  <c:v>Carre Frais</c:v>
                </c:pt>
                <c:pt idx="283">
                  <c:v>Triballat N</c:v>
                </c:pt>
                <c:pt idx="284">
                  <c:v>All Others</c:v>
                </c:pt>
                <c:pt idx="285">
                  <c:v>All Others</c:v>
                </c:pt>
                <c:pt idx="286">
                  <c:v>All Others</c:v>
                </c:pt>
                <c:pt idx="287">
                  <c:v>All Others</c:v>
                </c:pt>
                <c:pt idx="288">
                  <c:v>All Others</c:v>
                </c:pt>
                <c:pt idx="289">
                  <c:v>All Others</c:v>
                </c:pt>
                <c:pt idx="290">
                  <c:v>All Others</c:v>
                </c:pt>
                <c:pt idx="291">
                  <c:v>Le Brebiou</c:v>
                </c:pt>
                <c:pt idx="292">
                  <c:v>All Others</c:v>
                </c:pt>
                <c:pt idx="293">
                  <c:v>All Others</c:v>
                </c:pt>
                <c:pt idx="294">
                  <c:v>Boursin</c:v>
                </c:pt>
                <c:pt idx="295">
                  <c:v>All Others</c:v>
                </c:pt>
                <c:pt idx="296">
                  <c:v>All Others</c:v>
                </c:pt>
                <c:pt idx="297">
                  <c:v>Caprice Des</c:v>
                </c:pt>
                <c:pt idx="298">
                  <c:v>All Others</c:v>
                </c:pt>
                <c:pt idx="299">
                  <c:v>All Others</c:v>
                </c:pt>
                <c:pt idx="300">
                  <c:v>P'Tit Louis</c:v>
                </c:pt>
                <c:pt idx="301">
                  <c:v>Boursin</c:v>
                </c:pt>
                <c:pt idx="302">
                  <c:v>All Others</c:v>
                </c:pt>
                <c:pt idx="303">
                  <c:v>All Others</c:v>
                </c:pt>
                <c:pt idx="304">
                  <c:v>Istara</c:v>
                </c:pt>
                <c:pt idx="305">
                  <c:v>Mini Babybe</c:v>
                </c:pt>
                <c:pt idx="306">
                  <c:v>Private Lab</c:v>
                </c:pt>
                <c:pt idx="307">
                  <c:v>Lactalis: A</c:v>
                </c:pt>
                <c:pt idx="308">
                  <c:v>All Others</c:v>
                </c:pt>
                <c:pt idx="309">
                  <c:v>Mini Babybe</c:v>
                </c:pt>
                <c:pt idx="310">
                  <c:v>All Others</c:v>
                </c:pt>
                <c:pt idx="311">
                  <c:v>All Others</c:v>
                </c:pt>
                <c:pt idx="312">
                  <c:v>Casa Azzurr</c:v>
                </c:pt>
                <c:pt idx="313">
                  <c:v>All Others</c:v>
                </c:pt>
                <c:pt idx="314">
                  <c:v>St Moret</c:v>
                </c:pt>
                <c:pt idx="315">
                  <c:v>All Others</c:v>
                </c:pt>
                <c:pt idx="316">
                  <c:v>Chavroux</c:v>
                </c:pt>
                <c:pt idx="317">
                  <c:v>All Others</c:v>
                </c:pt>
                <c:pt idx="318">
                  <c:v>All Others</c:v>
                </c:pt>
                <c:pt idx="319">
                  <c:v>All Others</c:v>
                </c:pt>
                <c:pt idx="320">
                  <c:v>All Others</c:v>
                </c:pt>
                <c:pt idx="321">
                  <c:v>Saint Agur</c:v>
                </c:pt>
                <c:pt idx="322">
                  <c:v>Boursin</c:v>
                </c:pt>
                <c:pt idx="323">
                  <c:v>Private Lab</c:v>
                </c:pt>
                <c:pt idx="324">
                  <c:v>All Others</c:v>
                </c:pt>
                <c:pt idx="325">
                  <c:v>All Others</c:v>
                </c:pt>
                <c:pt idx="326">
                  <c:v>All Others</c:v>
                </c:pt>
                <c:pt idx="327">
                  <c:v>All Others</c:v>
                </c:pt>
                <c:pt idx="328">
                  <c:v>All Others</c:v>
                </c:pt>
                <c:pt idx="329">
                  <c:v>All Others</c:v>
                </c:pt>
                <c:pt idx="330">
                  <c:v>All Others</c:v>
                </c:pt>
                <c:pt idx="331">
                  <c:v>All Others</c:v>
                </c:pt>
                <c:pt idx="332">
                  <c:v>All Others</c:v>
                </c:pt>
                <c:pt idx="333">
                  <c:v>All Others</c:v>
                </c:pt>
                <c:pt idx="334">
                  <c:v>All Others</c:v>
                </c:pt>
                <c:pt idx="335">
                  <c:v>Boursin</c:v>
                </c:pt>
                <c:pt idx="336">
                  <c:v>All Others</c:v>
                </c:pt>
                <c:pt idx="337">
                  <c:v>All Others</c:v>
                </c:pt>
                <c:pt idx="338">
                  <c:v>All Others</c:v>
                </c:pt>
                <c:pt idx="339">
                  <c:v>All Others</c:v>
                </c:pt>
                <c:pt idx="340">
                  <c:v>All Others</c:v>
                </c:pt>
                <c:pt idx="341">
                  <c:v>All Others</c:v>
                </c:pt>
                <c:pt idx="342">
                  <c:v>Lactalis: A</c:v>
                </c:pt>
                <c:pt idx="343">
                  <c:v>All Others</c:v>
                </c:pt>
                <c:pt idx="344">
                  <c:v>All Others</c:v>
                </c:pt>
                <c:pt idx="345">
                  <c:v>All Others</c:v>
                </c:pt>
                <c:pt idx="346">
                  <c:v>All Others</c:v>
                </c:pt>
                <c:pt idx="347">
                  <c:v>All Others</c:v>
                </c:pt>
                <c:pt idx="348">
                  <c:v>All Others</c:v>
                </c:pt>
                <c:pt idx="349">
                  <c:v>All Others</c:v>
                </c:pt>
                <c:pt idx="350">
                  <c:v>President</c:v>
                </c:pt>
                <c:pt idx="351">
                  <c:v>All Others</c:v>
                </c:pt>
                <c:pt idx="352">
                  <c:v>All Others</c:v>
                </c:pt>
                <c:pt idx="353">
                  <c:v>All Others</c:v>
                </c:pt>
                <c:pt idx="354">
                  <c:v>All Others</c:v>
                </c:pt>
                <c:pt idx="355">
                  <c:v>All Others</c:v>
                </c:pt>
                <c:pt idx="356">
                  <c:v>Boursin</c:v>
                </c:pt>
                <c:pt idx="357">
                  <c:v>Chavroux</c:v>
                </c:pt>
                <c:pt idx="358">
                  <c:v>All Others</c:v>
                </c:pt>
                <c:pt idx="359">
                  <c:v>All Others</c:v>
                </c:pt>
                <c:pt idx="360">
                  <c:v>Etorki</c:v>
                </c:pt>
                <c:pt idx="361">
                  <c:v>All Others</c:v>
                </c:pt>
                <c:pt idx="362">
                  <c:v>All Others</c:v>
                </c:pt>
                <c:pt idx="363">
                  <c:v>Salakis</c:v>
                </c:pt>
                <c:pt idx="364">
                  <c:v>All Others</c:v>
                </c:pt>
                <c:pt idx="365">
                  <c:v>Soignon</c:v>
                </c:pt>
                <c:pt idx="366">
                  <c:v>All Others</c:v>
                </c:pt>
                <c:pt idx="367">
                  <c:v>All Others</c:v>
                </c:pt>
                <c:pt idx="368">
                  <c:v>All Others</c:v>
                </c:pt>
                <c:pt idx="369">
                  <c:v>Salakis</c:v>
                </c:pt>
                <c:pt idx="370">
                  <c:v>All Others</c:v>
                </c:pt>
                <c:pt idx="371">
                  <c:v>All Others</c:v>
                </c:pt>
                <c:pt idx="372">
                  <c:v>Tartare</c:v>
                </c:pt>
                <c:pt idx="373">
                  <c:v>All Others</c:v>
                </c:pt>
                <c:pt idx="374">
                  <c:v>All Others</c:v>
                </c:pt>
                <c:pt idx="375">
                  <c:v>All Others</c:v>
                </c:pt>
                <c:pt idx="376">
                  <c:v>All Others</c:v>
                </c:pt>
                <c:pt idx="377">
                  <c:v>All Others</c:v>
                </c:pt>
                <c:pt idx="378">
                  <c:v>All Others</c:v>
                </c:pt>
                <c:pt idx="379">
                  <c:v>All Others</c:v>
                </c:pt>
                <c:pt idx="380">
                  <c:v>All Others</c:v>
                </c:pt>
                <c:pt idx="381">
                  <c:v>All Others</c:v>
                </c:pt>
                <c:pt idx="382">
                  <c:v>All Others</c:v>
                </c:pt>
                <c:pt idx="383">
                  <c:v>All Others</c:v>
                </c:pt>
                <c:pt idx="384">
                  <c:v>All Others</c:v>
                </c:pt>
                <c:pt idx="385">
                  <c:v>All Others</c:v>
                </c:pt>
                <c:pt idx="386">
                  <c:v>All Others</c:v>
                </c:pt>
                <c:pt idx="387">
                  <c:v>All Others</c:v>
                </c:pt>
                <c:pt idx="388">
                  <c:v>All Others</c:v>
                </c:pt>
                <c:pt idx="389">
                  <c:v>All Others</c:v>
                </c:pt>
                <c:pt idx="390">
                  <c:v>All Others</c:v>
                </c:pt>
                <c:pt idx="391">
                  <c:v>All Others</c:v>
                </c:pt>
                <c:pt idx="392">
                  <c:v>All Others</c:v>
                </c:pt>
                <c:pt idx="393">
                  <c:v>All Others</c:v>
                </c:pt>
                <c:pt idx="394">
                  <c:v>All Others</c:v>
                </c:pt>
                <c:pt idx="395">
                  <c:v>All Others</c:v>
                </c:pt>
                <c:pt idx="396">
                  <c:v>All Others</c:v>
                </c:pt>
                <c:pt idx="397">
                  <c:v>Entremont</c:v>
                </c:pt>
                <c:pt idx="398">
                  <c:v>All Others</c:v>
                </c:pt>
                <c:pt idx="399">
                  <c:v>All Others</c:v>
                </c:pt>
                <c:pt idx="400">
                  <c:v>All Others</c:v>
                </c:pt>
                <c:pt idx="401">
                  <c:v>All Others</c:v>
                </c:pt>
                <c:pt idx="402">
                  <c:v>All Others</c:v>
                </c:pt>
                <c:pt idx="403">
                  <c:v>All Others</c:v>
                </c:pt>
                <c:pt idx="404">
                  <c:v>Etoile Du V</c:v>
                </c:pt>
                <c:pt idx="405">
                  <c:v>All Others</c:v>
                </c:pt>
                <c:pt idx="406">
                  <c:v>Entremont</c:v>
                </c:pt>
                <c:pt idx="407">
                  <c:v>All Others</c:v>
                </c:pt>
                <c:pt idx="408">
                  <c:v>All Others</c:v>
                </c:pt>
                <c:pt idx="409">
                  <c:v>Entremont</c:v>
                </c:pt>
                <c:pt idx="410">
                  <c:v>All Others</c:v>
                </c:pt>
                <c:pt idx="411">
                  <c:v>All Others</c:v>
                </c:pt>
                <c:pt idx="412">
                  <c:v>All Others</c:v>
                </c:pt>
                <c:pt idx="413">
                  <c:v>All Others</c:v>
                </c:pt>
                <c:pt idx="414">
                  <c:v>All Others</c:v>
                </c:pt>
                <c:pt idx="415">
                  <c:v>All Others</c:v>
                </c:pt>
                <c:pt idx="416">
                  <c:v>Petit Billy</c:v>
                </c:pt>
                <c:pt idx="417">
                  <c:v>All Others</c:v>
                </c:pt>
                <c:pt idx="418">
                  <c:v>All Others</c:v>
                </c:pt>
                <c:pt idx="419">
                  <c:v>All Others</c:v>
                </c:pt>
                <c:pt idx="420">
                  <c:v>All Others</c:v>
                </c:pt>
                <c:pt idx="421">
                  <c:v>All Others</c:v>
                </c:pt>
                <c:pt idx="422">
                  <c:v>All Others</c:v>
                </c:pt>
                <c:pt idx="423">
                  <c:v>All Others</c:v>
                </c:pt>
                <c:pt idx="424">
                  <c:v>All Others</c:v>
                </c:pt>
                <c:pt idx="425">
                  <c:v>All Others</c:v>
                </c:pt>
                <c:pt idx="426">
                  <c:v>All Others</c:v>
                </c:pt>
                <c:pt idx="427">
                  <c:v>All Others</c:v>
                </c:pt>
                <c:pt idx="428">
                  <c:v>All Others</c:v>
                </c:pt>
                <c:pt idx="429">
                  <c:v>All Others</c:v>
                </c:pt>
                <c:pt idx="430">
                  <c:v>All Others</c:v>
                </c:pt>
                <c:pt idx="431">
                  <c:v>All Others</c:v>
                </c:pt>
                <c:pt idx="432">
                  <c:v>All Others</c:v>
                </c:pt>
                <c:pt idx="433">
                  <c:v>Chavroux</c:v>
                </c:pt>
                <c:pt idx="434">
                  <c:v>All Others</c:v>
                </c:pt>
                <c:pt idx="435">
                  <c:v>All Others</c:v>
                </c:pt>
                <c:pt idx="436">
                  <c:v>All Others</c:v>
                </c:pt>
                <c:pt idx="437">
                  <c:v>All Others</c:v>
                </c:pt>
                <c:pt idx="438">
                  <c:v>All Others</c:v>
                </c:pt>
                <c:pt idx="439">
                  <c:v>All Others</c:v>
                </c:pt>
                <c:pt idx="440">
                  <c:v>Paysan Bret</c:v>
                </c:pt>
                <c:pt idx="441">
                  <c:v>All Others</c:v>
                </c:pt>
                <c:pt idx="442">
                  <c:v>All Others</c:v>
                </c:pt>
                <c:pt idx="443">
                  <c:v>All Others</c:v>
                </c:pt>
                <c:pt idx="444">
                  <c:v>Corsica</c:v>
                </c:pt>
                <c:pt idx="445">
                  <c:v>All Others</c:v>
                </c:pt>
                <c:pt idx="446">
                  <c:v>All Others</c:v>
                </c:pt>
                <c:pt idx="447">
                  <c:v>All Others</c:v>
                </c:pt>
                <c:pt idx="448">
                  <c:v>All Others</c:v>
                </c:pt>
                <c:pt idx="449">
                  <c:v>All Others</c:v>
                </c:pt>
                <c:pt idx="450">
                  <c:v>All Others</c:v>
                </c:pt>
                <c:pt idx="451">
                  <c:v>All Others</c:v>
                </c:pt>
                <c:pt idx="452">
                  <c:v>All Others</c:v>
                </c:pt>
                <c:pt idx="453">
                  <c:v>All Others</c:v>
                </c:pt>
                <c:pt idx="454">
                  <c:v>Savencia: A</c:v>
                </c:pt>
                <c:pt idx="455">
                  <c:v>All Others</c:v>
                </c:pt>
                <c:pt idx="456">
                  <c:v>Savencia: A</c:v>
                </c:pt>
                <c:pt idx="457">
                  <c:v>All Others</c:v>
                </c:pt>
                <c:pt idx="458">
                  <c:v>All Others</c:v>
                </c:pt>
                <c:pt idx="459">
                  <c:v>All Others</c:v>
                </c:pt>
                <c:pt idx="460">
                  <c:v>All Others</c:v>
                </c:pt>
                <c:pt idx="461">
                  <c:v>Mini Babybe</c:v>
                </c:pt>
                <c:pt idx="462">
                  <c:v>All Others</c:v>
                </c:pt>
                <c:pt idx="463">
                  <c:v>All Others</c:v>
                </c:pt>
                <c:pt idx="464">
                  <c:v>All Others</c:v>
                </c:pt>
                <c:pt idx="465">
                  <c:v>All Others</c:v>
                </c:pt>
                <c:pt idx="466">
                  <c:v>All Others</c:v>
                </c:pt>
                <c:pt idx="467">
                  <c:v>All Others</c:v>
                </c:pt>
                <c:pt idx="468">
                  <c:v>All Others</c:v>
                </c:pt>
                <c:pt idx="469">
                  <c:v>Private Lab</c:v>
                </c:pt>
                <c:pt idx="470">
                  <c:v>All Others</c:v>
                </c:pt>
                <c:pt idx="471">
                  <c:v>All Others</c:v>
                </c:pt>
                <c:pt idx="472">
                  <c:v>Lactalis: A</c:v>
                </c:pt>
                <c:pt idx="473">
                  <c:v>All Others</c:v>
                </c:pt>
                <c:pt idx="474">
                  <c:v>All Others</c:v>
                </c:pt>
                <c:pt idx="475">
                  <c:v>All Others</c:v>
                </c:pt>
                <c:pt idx="476">
                  <c:v>All Others</c:v>
                </c:pt>
                <c:pt idx="477">
                  <c:v>La Vache Qu</c:v>
                </c:pt>
                <c:pt idx="478">
                  <c:v>All Others</c:v>
                </c:pt>
                <c:pt idx="479">
                  <c:v>All Others</c:v>
                </c:pt>
                <c:pt idx="480">
                  <c:v>All Others</c:v>
                </c:pt>
                <c:pt idx="481">
                  <c:v>All Others</c:v>
                </c:pt>
                <c:pt idx="482">
                  <c:v>Kiri</c:v>
                </c:pt>
                <c:pt idx="483">
                  <c:v>All Others</c:v>
                </c:pt>
              </c:strCache>
            </c:strRef>
          </c:cat>
          <c:val>
            <c:numRef>
              <c:f>Sheet1!$B$2:$B$485</c:f>
              <c:numCache>
                <c:formatCode>General</c:formatCode>
                <c:ptCount val="484"/>
                <c:pt idx="0">
                  <c:v>0.99</c:v>
                </c:pt>
                <c:pt idx="1">
                  <c:v>0.99</c:v>
                </c:pt>
                <c:pt idx="2">
                  <c:v>0.94</c:v>
                </c:pt>
                <c:pt idx="3">
                  <c:v>0.93</c:v>
                </c:pt>
                <c:pt idx="4">
                  <c:v>1.0</c:v>
                </c:pt>
                <c:pt idx="5">
                  <c:v>0.98</c:v>
                </c:pt>
                <c:pt idx="6">
                  <c:v>0.99</c:v>
                </c:pt>
                <c:pt idx="7">
                  <c:v>1.0</c:v>
                </c:pt>
                <c:pt idx="8">
                  <c:v>0.99</c:v>
                </c:pt>
                <c:pt idx="9">
                  <c:v>0.94</c:v>
                </c:pt>
                <c:pt idx="10">
                  <c:v>0.98</c:v>
                </c:pt>
                <c:pt idx="11">
                  <c:v>0.88</c:v>
                </c:pt>
                <c:pt idx="12">
                  <c:v>0.91</c:v>
                </c:pt>
                <c:pt idx="13">
                  <c:v>0.98</c:v>
                </c:pt>
                <c:pt idx="14">
                  <c:v>0.96</c:v>
                </c:pt>
                <c:pt idx="15">
                  <c:v>0.99</c:v>
                </c:pt>
                <c:pt idx="16">
                  <c:v>0.98</c:v>
                </c:pt>
                <c:pt idx="17">
                  <c:v>0.98</c:v>
                </c:pt>
                <c:pt idx="18">
                  <c:v>0.97</c:v>
                </c:pt>
                <c:pt idx="19">
                  <c:v>0.98</c:v>
                </c:pt>
                <c:pt idx="20">
                  <c:v>0.99</c:v>
                </c:pt>
                <c:pt idx="21">
                  <c:v>0.88</c:v>
                </c:pt>
                <c:pt idx="22">
                  <c:v>0.95</c:v>
                </c:pt>
                <c:pt idx="23">
                  <c:v>0.97</c:v>
                </c:pt>
                <c:pt idx="24">
                  <c:v>0.94</c:v>
                </c:pt>
                <c:pt idx="25">
                  <c:v>1.0</c:v>
                </c:pt>
                <c:pt idx="26">
                  <c:v>0.99</c:v>
                </c:pt>
                <c:pt idx="27">
                  <c:v>0.78</c:v>
                </c:pt>
                <c:pt idx="28">
                  <c:v>0.95</c:v>
                </c:pt>
                <c:pt idx="29">
                  <c:v>0.68</c:v>
                </c:pt>
                <c:pt idx="30">
                  <c:v>0.94</c:v>
                </c:pt>
                <c:pt idx="31">
                  <c:v>0.93</c:v>
                </c:pt>
                <c:pt idx="32">
                  <c:v>0.97</c:v>
                </c:pt>
                <c:pt idx="33">
                  <c:v>0.76</c:v>
                </c:pt>
                <c:pt idx="34">
                  <c:v>0.97</c:v>
                </c:pt>
                <c:pt idx="35">
                  <c:v>0.85</c:v>
                </c:pt>
                <c:pt idx="36">
                  <c:v>0.94</c:v>
                </c:pt>
                <c:pt idx="37">
                  <c:v>0.91</c:v>
                </c:pt>
                <c:pt idx="38">
                  <c:v>0.93</c:v>
                </c:pt>
                <c:pt idx="39">
                  <c:v>0.87</c:v>
                </c:pt>
                <c:pt idx="40">
                  <c:v>0.96</c:v>
                </c:pt>
                <c:pt idx="41">
                  <c:v>0.68</c:v>
                </c:pt>
                <c:pt idx="42">
                  <c:v>0.73</c:v>
                </c:pt>
                <c:pt idx="43">
                  <c:v>0.94</c:v>
                </c:pt>
                <c:pt idx="44">
                  <c:v>0.92</c:v>
                </c:pt>
                <c:pt idx="45">
                  <c:v>0.95</c:v>
                </c:pt>
                <c:pt idx="46">
                  <c:v>0.9</c:v>
                </c:pt>
                <c:pt idx="47">
                  <c:v>0.67</c:v>
                </c:pt>
                <c:pt idx="48">
                  <c:v>0.95</c:v>
                </c:pt>
                <c:pt idx="49">
                  <c:v>0.98</c:v>
                </c:pt>
                <c:pt idx="50">
                  <c:v>0.87</c:v>
                </c:pt>
                <c:pt idx="51">
                  <c:v>0.92</c:v>
                </c:pt>
                <c:pt idx="52">
                  <c:v>0.85</c:v>
                </c:pt>
                <c:pt idx="53">
                  <c:v>0.91</c:v>
                </c:pt>
                <c:pt idx="54">
                  <c:v>0.91</c:v>
                </c:pt>
                <c:pt idx="55">
                  <c:v>0.89</c:v>
                </c:pt>
                <c:pt idx="56">
                  <c:v>0.92</c:v>
                </c:pt>
                <c:pt idx="57">
                  <c:v>0.98</c:v>
                </c:pt>
                <c:pt idx="58">
                  <c:v>0.74</c:v>
                </c:pt>
                <c:pt idx="59">
                  <c:v>0.98</c:v>
                </c:pt>
                <c:pt idx="60">
                  <c:v>0.9</c:v>
                </c:pt>
                <c:pt idx="61">
                  <c:v>0.7</c:v>
                </c:pt>
                <c:pt idx="62">
                  <c:v>0.66</c:v>
                </c:pt>
                <c:pt idx="63">
                  <c:v>0.47</c:v>
                </c:pt>
                <c:pt idx="64">
                  <c:v>0.83</c:v>
                </c:pt>
                <c:pt idx="65">
                  <c:v>0.63</c:v>
                </c:pt>
                <c:pt idx="66">
                  <c:v>0.9</c:v>
                </c:pt>
                <c:pt idx="67">
                  <c:v>0.85</c:v>
                </c:pt>
                <c:pt idx="68">
                  <c:v>0.84</c:v>
                </c:pt>
                <c:pt idx="69">
                  <c:v>0.53</c:v>
                </c:pt>
                <c:pt idx="70">
                  <c:v>0.63</c:v>
                </c:pt>
                <c:pt idx="71">
                  <c:v>0.77</c:v>
                </c:pt>
                <c:pt idx="72">
                  <c:v>0.76</c:v>
                </c:pt>
                <c:pt idx="73">
                  <c:v>0.62</c:v>
                </c:pt>
                <c:pt idx="74">
                  <c:v>0.8</c:v>
                </c:pt>
                <c:pt idx="75">
                  <c:v>0.75</c:v>
                </c:pt>
                <c:pt idx="76">
                  <c:v>0.64</c:v>
                </c:pt>
                <c:pt idx="77">
                  <c:v>0.88</c:v>
                </c:pt>
                <c:pt idx="78">
                  <c:v>0.87</c:v>
                </c:pt>
                <c:pt idx="79">
                  <c:v>0.52</c:v>
                </c:pt>
                <c:pt idx="80">
                  <c:v>0.9</c:v>
                </c:pt>
                <c:pt idx="81">
                  <c:v>0.35</c:v>
                </c:pt>
                <c:pt idx="82">
                  <c:v>0.96</c:v>
                </c:pt>
                <c:pt idx="83">
                  <c:v>0.75</c:v>
                </c:pt>
                <c:pt idx="84">
                  <c:v>0.6</c:v>
                </c:pt>
                <c:pt idx="85">
                  <c:v>0.56</c:v>
                </c:pt>
                <c:pt idx="86">
                  <c:v>0.81</c:v>
                </c:pt>
                <c:pt idx="87">
                  <c:v>0.89</c:v>
                </c:pt>
                <c:pt idx="88">
                  <c:v>0.87</c:v>
                </c:pt>
                <c:pt idx="89">
                  <c:v>0.68</c:v>
                </c:pt>
                <c:pt idx="90">
                  <c:v>0.7</c:v>
                </c:pt>
                <c:pt idx="91">
                  <c:v>0.74</c:v>
                </c:pt>
                <c:pt idx="92">
                  <c:v>0.87</c:v>
                </c:pt>
                <c:pt idx="93">
                  <c:v>0.7</c:v>
                </c:pt>
                <c:pt idx="94">
                  <c:v>0.79</c:v>
                </c:pt>
                <c:pt idx="95">
                  <c:v>0.74</c:v>
                </c:pt>
                <c:pt idx="96">
                  <c:v>0.75</c:v>
                </c:pt>
                <c:pt idx="97">
                  <c:v>0.66</c:v>
                </c:pt>
                <c:pt idx="98">
                  <c:v>0.7</c:v>
                </c:pt>
                <c:pt idx="99">
                  <c:v>0.53</c:v>
                </c:pt>
                <c:pt idx="100">
                  <c:v>0.6</c:v>
                </c:pt>
                <c:pt idx="101">
                  <c:v>0.8</c:v>
                </c:pt>
                <c:pt idx="102">
                  <c:v>0.37</c:v>
                </c:pt>
                <c:pt idx="103">
                  <c:v>0.67</c:v>
                </c:pt>
                <c:pt idx="104">
                  <c:v>0.7</c:v>
                </c:pt>
                <c:pt idx="105">
                  <c:v>0.54</c:v>
                </c:pt>
                <c:pt idx="106">
                  <c:v>0.74</c:v>
                </c:pt>
                <c:pt idx="107">
                  <c:v>0.81</c:v>
                </c:pt>
                <c:pt idx="108">
                  <c:v>0.86</c:v>
                </c:pt>
                <c:pt idx="109">
                  <c:v>0.75</c:v>
                </c:pt>
                <c:pt idx="110">
                  <c:v>0.7</c:v>
                </c:pt>
                <c:pt idx="111">
                  <c:v>0.82</c:v>
                </c:pt>
                <c:pt idx="112">
                  <c:v>0.4</c:v>
                </c:pt>
                <c:pt idx="113">
                  <c:v>0.46</c:v>
                </c:pt>
                <c:pt idx="114">
                  <c:v>0.92</c:v>
                </c:pt>
                <c:pt idx="115">
                  <c:v>0.65</c:v>
                </c:pt>
                <c:pt idx="116">
                  <c:v>0.41</c:v>
                </c:pt>
                <c:pt idx="117">
                  <c:v>0.89</c:v>
                </c:pt>
                <c:pt idx="118">
                  <c:v>0.68</c:v>
                </c:pt>
                <c:pt idx="119">
                  <c:v>0.69</c:v>
                </c:pt>
                <c:pt idx="120">
                  <c:v>0.55</c:v>
                </c:pt>
                <c:pt idx="121">
                  <c:v>0.67</c:v>
                </c:pt>
                <c:pt idx="122">
                  <c:v>0.62</c:v>
                </c:pt>
                <c:pt idx="123">
                  <c:v>0.67</c:v>
                </c:pt>
                <c:pt idx="124">
                  <c:v>0.6</c:v>
                </c:pt>
                <c:pt idx="125">
                  <c:v>0.74</c:v>
                </c:pt>
                <c:pt idx="126">
                  <c:v>0.43</c:v>
                </c:pt>
                <c:pt idx="127">
                  <c:v>0.57</c:v>
                </c:pt>
                <c:pt idx="128">
                  <c:v>0.77</c:v>
                </c:pt>
                <c:pt idx="129">
                  <c:v>0.53</c:v>
                </c:pt>
                <c:pt idx="130">
                  <c:v>0.67</c:v>
                </c:pt>
                <c:pt idx="131">
                  <c:v>0.49</c:v>
                </c:pt>
                <c:pt idx="132">
                  <c:v>0.55</c:v>
                </c:pt>
                <c:pt idx="133">
                  <c:v>0.72</c:v>
                </c:pt>
                <c:pt idx="134">
                  <c:v>0.85</c:v>
                </c:pt>
                <c:pt idx="135">
                  <c:v>0.51</c:v>
                </c:pt>
                <c:pt idx="136">
                  <c:v>0.85</c:v>
                </c:pt>
                <c:pt idx="137">
                  <c:v>0.51</c:v>
                </c:pt>
                <c:pt idx="138">
                  <c:v>0.51</c:v>
                </c:pt>
                <c:pt idx="139">
                  <c:v>0.62</c:v>
                </c:pt>
                <c:pt idx="140">
                  <c:v>0.39</c:v>
                </c:pt>
                <c:pt idx="141">
                  <c:v>0.83</c:v>
                </c:pt>
                <c:pt idx="142">
                  <c:v>0.16</c:v>
                </c:pt>
                <c:pt idx="143">
                  <c:v>0.51</c:v>
                </c:pt>
                <c:pt idx="144">
                  <c:v>0.47</c:v>
                </c:pt>
                <c:pt idx="145">
                  <c:v>0.34</c:v>
                </c:pt>
                <c:pt idx="146">
                  <c:v>0.78</c:v>
                </c:pt>
                <c:pt idx="147">
                  <c:v>0.52</c:v>
                </c:pt>
                <c:pt idx="148">
                  <c:v>0.55</c:v>
                </c:pt>
                <c:pt idx="149">
                  <c:v>0.42</c:v>
                </c:pt>
                <c:pt idx="150">
                  <c:v>0.5</c:v>
                </c:pt>
                <c:pt idx="151">
                  <c:v>0.47</c:v>
                </c:pt>
                <c:pt idx="152">
                  <c:v>0.51</c:v>
                </c:pt>
                <c:pt idx="153">
                  <c:v>0.39</c:v>
                </c:pt>
                <c:pt idx="154">
                  <c:v>0.61</c:v>
                </c:pt>
                <c:pt idx="155">
                  <c:v>0.29</c:v>
                </c:pt>
                <c:pt idx="156">
                  <c:v>0.49</c:v>
                </c:pt>
                <c:pt idx="157">
                  <c:v>0.5</c:v>
                </c:pt>
                <c:pt idx="158">
                  <c:v>0.43</c:v>
                </c:pt>
                <c:pt idx="159">
                  <c:v>0.49</c:v>
                </c:pt>
                <c:pt idx="160">
                  <c:v>0.59</c:v>
                </c:pt>
                <c:pt idx="161">
                  <c:v>0.53</c:v>
                </c:pt>
                <c:pt idx="162">
                  <c:v>0.75</c:v>
                </c:pt>
                <c:pt idx="163">
                  <c:v>0.51</c:v>
                </c:pt>
                <c:pt idx="164">
                  <c:v>0.37</c:v>
                </c:pt>
                <c:pt idx="165">
                  <c:v>0.39</c:v>
                </c:pt>
                <c:pt idx="166">
                  <c:v>0.24</c:v>
                </c:pt>
                <c:pt idx="167">
                  <c:v>0.37</c:v>
                </c:pt>
                <c:pt idx="168">
                  <c:v>0.32</c:v>
                </c:pt>
                <c:pt idx="169">
                  <c:v>0.48</c:v>
                </c:pt>
                <c:pt idx="170">
                  <c:v>0.27</c:v>
                </c:pt>
                <c:pt idx="171">
                  <c:v>0.2</c:v>
                </c:pt>
                <c:pt idx="172">
                  <c:v>0.67</c:v>
                </c:pt>
                <c:pt idx="173">
                  <c:v>0.42</c:v>
                </c:pt>
                <c:pt idx="174">
                  <c:v>0.73</c:v>
                </c:pt>
                <c:pt idx="175">
                  <c:v>0.19</c:v>
                </c:pt>
                <c:pt idx="176">
                  <c:v>0.37</c:v>
                </c:pt>
                <c:pt idx="177">
                  <c:v>0.24</c:v>
                </c:pt>
                <c:pt idx="178">
                  <c:v>0.56</c:v>
                </c:pt>
                <c:pt idx="179">
                  <c:v>0.4</c:v>
                </c:pt>
                <c:pt idx="180">
                  <c:v>0.16</c:v>
                </c:pt>
                <c:pt idx="181">
                  <c:v>0.4</c:v>
                </c:pt>
                <c:pt idx="182">
                  <c:v>0.41</c:v>
                </c:pt>
                <c:pt idx="183">
                  <c:v>0.75</c:v>
                </c:pt>
                <c:pt idx="184">
                  <c:v>0.26</c:v>
                </c:pt>
                <c:pt idx="185">
                  <c:v>0.24</c:v>
                </c:pt>
                <c:pt idx="186">
                  <c:v>0.29</c:v>
                </c:pt>
                <c:pt idx="187">
                  <c:v>0.29</c:v>
                </c:pt>
                <c:pt idx="188">
                  <c:v>0.52</c:v>
                </c:pt>
                <c:pt idx="189">
                  <c:v>0.31</c:v>
                </c:pt>
                <c:pt idx="190">
                  <c:v>0.39</c:v>
                </c:pt>
                <c:pt idx="191">
                  <c:v>0.31</c:v>
                </c:pt>
                <c:pt idx="192">
                  <c:v>0.64</c:v>
                </c:pt>
                <c:pt idx="193">
                  <c:v>0.64</c:v>
                </c:pt>
                <c:pt idx="194">
                  <c:v>0.73</c:v>
                </c:pt>
                <c:pt idx="195">
                  <c:v>0.34</c:v>
                </c:pt>
                <c:pt idx="196">
                  <c:v>0.69</c:v>
                </c:pt>
                <c:pt idx="197">
                  <c:v>0.44</c:v>
                </c:pt>
                <c:pt idx="198">
                  <c:v>0.77</c:v>
                </c:pt>
                <c:pt idx="199">
                  <c:v>0.2</c:v>
                </c:pt>
                <c:pt idx="200">
                  <c:v>0.57</c:v>
                </c:pt>
                <c:pt idx="201">
                  <c:v>0.36</c:v>
                </c:pt>
                <c:pt idx="202">
                  <c:v>0.24</c:v>
                </c:pt>
                <c:pt idx="203">
                  <c:v>0.36</c:v>
                </c:pt>
                <c:pt idx="204">
                  <c:v>0.36</c:v>
                </c:pt>
                <c:pt idx="205">
                  <c:v>0.28</c:v>
                </c:pt>
                <c:pt idx="206">
                  <c:v>0.58</c:v>
                </c:pt>
                <c:pt idx="207">
                  <c:v>0.34</c:v>
                </c:pt>
                <c:pt idx="208">
                  <c:v>0.54</c:v>
                </c:pt>
                <c:pt idx="209">
                  <c:v>0.44</c:v>
                </c:pt>
                <c:pt idx="210">
                  <c:v>0.47</c:v>
                </c:pt>
                <c:pt idx="211">
                  <c:v>0.18</c:v>
                </c:pt>
                <c:pt idx="212">
                  <c:v>0.08</c:v>
                </c:pt>
                <c:pt idx="213">
                  <c:v>0.67</c:v>
                </c:pt>
                <c:pt idx="214">
                  <c:v>0.1</c:v>
                </c:pt>
                <c:pt idx="215">
                  <c:v>0.26</c:v>
                </c:pt>
                <c:pt idx="216">
                  <c:v>0.24</c:v>
                </c:pt>
                <c:pt idx="217">
                  <c:v>0.13</c:v>
                </c:pt>
                <c:pt idx="218">
                  <c:v>0.28</c:v>
                </c:pt>
                <c:pt idx="219">
                  <c:v>0.14</c:v>
                </c:pt>
                <c:pt idx="220">
                  <c:v>0.59</c:v>
                </c:pt>
                <c:pt idx="221">
                  <c:v>0.21</c:v>
                </c:pt>
                <c:pt idx="222">
                  <c:v>0.46</c:v>
                </c:pt>
                <c:pt idx="223">
                  <c:v>0.69</c:v>
                </c:pt>
                <c:pt idx="224">
                  <c:v>0.14</c:v>
                </c:pt>
                <c:pt idx="225">
                  <c:v>0.03</c:v>
                </c:pt>
                <c:pt idx="226">
                  <c:v>0.33</c:v>
                </c:pt>
                <c:pt idx="227">
                  <c:v>0.21</c:v>
                </c:pt>
                <c:pt idx="228">
                  <c:v>0.07</c:v>
                </c:pt>
                <c:pt idx="229">
                  <c:v>0.38</c:v>
                </c:pt>
                <c:pt idx="230">
                  <c:v>0.16</c:v>
                </c:pt>
                <c:pt idx="231">
                  <c:v>0.16</c:v>
                </c:pt>
                <c:pt idx="232">
                  <c:v>0.22</c:v>
                </c:pt>
                <c:pt idx="233">
                  <c:v>0.22</c:v>
                </c:pt>
                <c:pt idx="234">
                  <c:v>0.09</c:v>
                </c:pt>
                <c:pt idx="235">
                  <c:v>0.73</c:v>
                </c:pt>
                <c:pt idx="236">
                  <c:v>0.3</c:v>
                </c:pt>
                <c:pt idx="237">
                  <c:v>0.41</c:v>
                </c:pt>
                <c:pt idx="238">
                  <c:v>0.25</c:v>
                </c:pt>
                <c:pt idx="239">
                  <c:v>0.1</c:v>
                </c:pt>
                <c:pt idx="240">
                  <c:v>0.16</c:v>
                </c:pt>
                <c:pt idx="241">
                  <c:v>0.13</c:v>
                </c:pt>
                <c:pt idx="242">
                  <c:v>0.36</c:v>
                </c:pt>
                <c:pt idx="243">
                  <c:v>0.16</c:v>
                </c:pt>
                <c:pt idx="244">
                  <c:v>0.41</c:v>
                </c:pt>
                <c:pt idx="245">
                  <c:v>0.24</c:v>
                </c:pt>
                <c:pt idx="246">
                  <c:v>0.27</c:v>
                </c:pt>
                <c:pt idx="247">
                  <c:v>0.07</c:v>
                </c:pt>
                <c:pt idx="248">
                  <c:v>0.2</c:v>
                </c:pt>
                <c:pt idx="249">
                  <c:v>0.5</c:v>
                </c:pt>
                <c:pt idx="250">
                  <c:v>0.09</c:v>
                </c:pt>
                <c:pt idx="251">
                  <c:v>0.12</c:v>
                </c:pt>
                <c:pt idx="252">
                  <c:v>0.17</c:v>
                </c:pt>
                <c:pt idx="253">
                  <c:v>0.08</c:v>
                </c:pt>
                <c:pt idx="254">
                  <c:v>0.29</c:v>
                </c:pt>
                <c:pt idx="255">
                  <c:v>0.11</c:v>
                </c:pt>
                <c:pt idx="256">
                  <c:v>0.1</c:v>
                </c:pt>
                <c:pt idx="257">
                  <c:v>0.48</c:v>
                </c:pt>
                <c:pt idx="258">
                  <c:v>0.06</c:v>
                </c:pt>
                <c:pt idx="259">
                  <c:v>0.43</c:v>
                </c:pt>
                <c:pt idx="260">
                  <c:v>0.16</c:v>
                </c:pt>
                <c:pt idx="261">
                  <c:v>0.09</c:v>
                </c:pt>
                <c:pt idx="262">
                  <c:v>0.14</c:v>
                </c:pt>
                <c:pt idx="263">
                  <c:v>0.16</c:v>
                </c:pt>
                <c:pt idx="264">
                  <c:v>0.15</c:v>
                </c:pt>
                <c:pt idx="265">
                  <c:v>0.19</c:v>
                </c:pt>
                <c:pt idx="266">
                  <c:v>0.09</c:v>
                </c:pt>
                <c:pt idx="267">
                  <c:v>0.17</c:v>
                </c:pt>
                <c:pt idx="268">
                  <c:v>0.19</c:v>
                </c:pt>
                <c:pt idx="269">
                  <c:v>0.1</c:v>
                </c:pt>
                <c:pt idx="270">
                  <c:v>0.12</c:v>
                </c:pt>
                <c:pt idx="271">
                  <c:v>0.05</c:v>
                </c:pt>
                <c:pt idx="272">
                  <c:v>0.03</c:v>
                </c:pt>
                <c:pt idx="273">
                  <c:v>0.18</c:v>
                </c:pt>
                <c:pt idx="274">
                  <c:v>0.47</c:v>
                </c:pt>
                <c:pt idx="275">
                  <c:v>0.05</c:v>
                </c:pt>
                <c:pt idx="276">
                  <c:v>0.12</c:v>
                </c:pt>
                <c:pt idx="277">
                  <c:v>0.13</c:v>
                </c:pt>
                <c:pt idx="278">
                  <c:v>0.11</c:v>
                </c:pt>
                <c:pt idx="279">
                  <c:v>0.13</c:v>
                </c:pt>
                <c:pt idx="280">
                  <c:v>0.18</c:v>
                </c:pt>
                <c:pt idx="281">
                  <c:v>0.06</c:v>
                </c:pt>
                <c:pt idx="282">
                  <c:v>0.1</c:v>
                </c:pt>
                <c:pt idx="283">
                  <c:v>0.11</c:v>
                </c:pt>
                <c:pt idx="284">
                  <c:v>0.03</c:v>
                </c:pt>
                <c:pt idx="285">
                  <c:v>0.26</c:v>
                </c:pt>
                <c:pt idx="286">
                  <c:v>0.06</c:v>
                </c:pt>
                <c:pt idx="287">
                  <c:v>0.1</c:v>
                </c:pt>
                <c:pt idx="288">
                  <c:v>0.03</c:v>
                </c:pt>
                <c:pt idx="289">
                  <c:v>0.05</c:v>
                </c:pt>
                <c:pt idx="290">
                  <c:v>0.03</c:v>
                </c:pt>
                <c:pt idx="291">
                  <c:v>0.41</c:v>
                </c:pt>
                <c:pt idx="292">
                  <c:v>0.06</c:v>
                </c:pt>
                <c:pt idx="293">
                  <c:v>0.07</c:v>
                </c:pt>
                <c:pt idx="294">
                  <c:v>0.12</c:v>
                </c:pt>
                <c:pt idx="295">
                  <c:v>0.07</c:v>
                </c:pt>
                <c:pt idx="296">
                  <c:v>0.01</c:v>
                </c:pt>
                <c:pt idx="297">
                  <c:v>0.03</c:v>
                </c:pt>
                <c:pt idx="298">
                  <c:v>0.03</c:v>
                </c:pt>
                <c:pt idx="299">
                  <c:v>0.07</c:v>
                </c:pt>
                <c:pt idx="300">
                  <c:v>0.07</c:v>
                </c:pt>
                <c:pt idx="301">
                  <c:v>0.28</c:v>
                </c:pt>
                <c:pt idx="302">
                  <c:v>0.01</c:v>
                </c:pt>
                <c:pt idx="303">
                  <c:v>0.07</c:v>
                </c:pt>
                <c:pt idx="304">
                  <c:v>0.03</c:v>
                </c:pt>
                <c:pt idx="305">
                  <c:v>0.13</c:v>
                </c:pt>
                <c:pt idx="306">
                  <c:v>0.11</c:v>
                </c:pt>
                <c:pt idx="307">
                  <c:v>0.05</c:v>
                </c:pt>
                <c:pt idx="308">
                  <c:v>0.14</c:v>
                </c:pt>
                <c:pt idx="309">
                  <c:v>0.19</c:v>
                </c:pt>
                <c:pt idx="310">
                  <c:v>0.04</c:v>
                </c:pt>
                <c:pt idx="311">
                  <c:v>0.02</c:v>
                </c:pt>
                <c:pt idx="312">
                  <c:v>0.08</c:v>
                </c:pt>
                <c:pt idx="313">
                  <c:v>0.04</c:v>
                </c:pt>
                <c:pt idx="314">
                  <c:v>0.03</c:v>
                </c:pt>
                <c:pt idx="315">
                  <c:v>0.13</c:v>
                </c:pt>
                <c:pt idx="316">
                  <c:v>0.12</c:v>
                </c:pt>
                <c:pt idx="317">
                  <c:v>0.24</c:v>
                </c:pt>
                <c:pt idx="318">
                  <c:v>0.06</c:v>
                </c:pt>
                <c:pt idx="319">
                  <c:v>0.01</c:v>
                </c:pt>
                <c:pt idx="320">
                  <c:v>0.05</c:v>
                </c:pt>
                <c:pt idx="321">
                  <c:v>0.25</c:v>
                </c:pt>
                <c:pt idx="322">
                  <c:v>0.41</c:v>
                </c:pt>
                <c:pt idx="323">
                  <c:v>0.13</c:v>
                </c:pt>
                <c:pt idx="324">
                  <c:v>0.03</c:v>
                </c:pt>
                <c:pt idx="325">
                  <c:v>0.14</c:v>
                </c:pt>
                <c:pt idx="326">
                  <c:v>0.02</c:v>
                </c:pt>
                <c:pt idx="327">
                  <c:v>0.13</c:v>
                </c:pt>
                <c:pt idx="328">
                  <c:v>0.09</c:v>
                </c:pt>
                <c:pt idx="329">
                  <c:v>0.02</c:v>
                </c:pt>
                <c:pt idx="330">
                  <c:v>0.08</c:v>
                </c:pt>
                <c:pt idx="331">
                  <c:v>0.07</c:v>
                </c:pt>
                <c:pt idx="332">
                  <c:v>0.05</c:v>
                </c:pt>
                <c:pt idx="333">
                  <c:v>0.03</c:v>
                </c:pt>
                <c:pt idx="334">
                  <c:v>0.05</c:v>
                </c:pt>
                <c:pt idx="335">
                  <c:v>0.33</c:v>
                </c:pt>
                <c:pt idx="336">
                  <c:v>0.07</c:v>
                </c:pt>
                <c:pt idx="337">
                  <c:v>0.05</c:v>
                </c:pt>
                <c:pt idx="338">
                  <c:v>0.01</c:v>
                </c:pt>
                <c:pt idx="339">
                  <c:v>0.03</c:v>
                </c:pt>
                <c:pt idx="340">
                  <c:v>0.03</c:v>
                </c:pt>
                <c:pt idx="341">
                  <c:v>0.01</c:v>
                </c:pt>
                <c:pt idx="342">
                  <c:v>0.02</c:v>
                </c:pt>
                <c:pt idx="343">
                  <c:v>0.02</c:v>
                </c:pt>
                <c:pt idx="344">
                  <c:v>0.06</c:v>
                </c:pt>
                <c:pt idx="345">
                  <c:v>0.03</c:v>
                </c:pt>
                <c:pt idx="346">
                  <c:v>0.02</c:v>
                </c:pt>
                <c:pt idx="347">
                  <c:v>0.04</c:v>
                </c:pt>
                <c:pt idx="348">
                  <c:v>0.05</c:v>
                </c:pt>
                <c:pt idx="349">
                  <c:v>0.01</c:v>
                </c:pt>
                <c:pt idx="350">
                  <c:v>0.15</c:v>
                </c:pt>
                <c:pt idx="351">
                  <c:v>0.01</c:v>
                </c:pt>
                <c:pt idx="352">
                  <c:v>0.01</c:v>
                </c:pt>
                <c:pt idx="353">
                  <c:v>0.05</c:v>
                </c:pt>
                <c:pt idx="354">
                  <c:v>0.02</c:v>
                </c:pt>
                <c:pt idx="355">
                  <c:v>0.04</c:v>
                </c:pt>
                <c:pt idx="356">
                  <c:v>0.14</c:v>
                </c:pt>
                <c:pt idx="357">
                  <c:v>0.3</c:v>
                </c:pt>
                <c:pt idx="358">
                  <c:v>0.04</c:v>
                </c:pt>
                <c:pt idx="359">
                  <c:v>0.09</c:v>
                </c:pt>
                <c:pt idx="360">
                  <c:v>0.04</c:v>
                </c:pt>
                <c:pt idx="361">
                  <c:v>0.01</c:v>
                </c:pt>
                <c:pt idx="362">
                  <c:v>0.04</c:v>
                </c:pt>
                <c:pt idx="363">
                  <c:v>0.08</c:v>
                </c:pt>
                <c:pt idx="364">
                  <c:v>0.04</c:v>
                </c:pt>
                <c:pt idx="365">
                  <c:v>0.11</c:v>
                </c:pt>
                <c:pt idx="366">
                  <c:v>0.05</c:v>
                </c:pt>
                <c:pt idx="367">
                  <c:v>0.01</c:v>
                </c:pt>
                <c:pt idx="368">
                  <c:v>0.01</c:v>
                </c:pt>
                <c:pt idx="369">
                  <c:v>0.08</c:v>
                </c:pt>
                <c:pt idx="370">
                  <c:v>0.02</c:v>
                </c:pt>
                <c:pt idx="371">
                  <c:v>0.02</c:v>
                </c:pt>
                <c:pt idx="372">
                  <c:v>0.03</c:v>
                </c:pt>
                <c:pt idx="373">
                  <c:v>0.04</c:v>
                </c:pt>
                <c:pt idx="374">
                  <c:v>0.06</c:v>
                </c:pt>
                <c:pt idx="375">
                  <c:v>0.02</c:v>
                </c:pt>
                <c:pt idx="376">
                  <c:v>0.02</c:v>
                </c:pt>
                <c:pt idx="377">
                  <c:v>0.08</c:v>
                </c:pt>
                <c:pt idx="378">
                  <c:v>0.06</c:v>
                </c:pt>
                <c:pt idx="379">
                  <c:v>0.01</c:v>
                </c:pt>
                <c:pt idx="380">
                  <c:v>0.01</c:v>
                </c:pt>
                <c:pt idx="381">
                  <c:v>0.07</c:v>
                </c:pt>
                <c:pt idx="382">
                  <c:v>0.02</c:v>
                </c:pt>
                <c:pt idx="383">
                  <c:v>0.01</c:v>
                </c:pt>
                <c:pt idx="384">
                  <c:v>0.06</c:v>
                </c:pt>
                <c:pt idx="385">
                  <c:v>0.02</c:v>
                </c:pt>
                <c:pt idx="386">
                  <c:v>0.03</c:v>
                </c:pt>
                <c:pt idx="387">
                  <c:v>0.01</c:v>
                </c:pt>
                <c:pt idx="388">
                  <c:v>0.06</c:v>
                </c:pt>
                <c:pt idx="389">
                  <c:v>0.04</c:v>
                </c:pt>
                <c:pt idx="390">
                  <c:v>0.01</c:v>
                </c:pt>
                <c:pt idx="391">
                  <c:v>0.04</c:v>
                </c:pt>
                <c:pt idx="392">
                  <c:v>0.03</c:v>
                </c:pt>
                <c:pt idx="393">
                  <c:v>0.02</c:v>
                </c:pt>
                <c:pt idx="394">
                  <c:v>0.01</c:v>
                </c:pt>
                <c:pt idx="395">
                  <c:v>0.01</c:v>
                </c:pt>
                <c:pt idx="396">
                  <c:v>0.02</c:v>
                </c:pt>
                <c:pt idx="397">
                  <c:v>0.09</c:v>
                </c:pt>
                <c:pt idx="398">
                  <c:v>0.01</c:v>
                </c:pt>
                <c:pt idx="399">
                  <c:v>0.1</c:v>
                </c:pt>
                <c:pt idx="400">
                  <c:v>0.01</c:v>
                </c:pt>
                <c:pt idx="401">
                  <c:v>0.01</c:v>
                </c:pt>
                <c:pt idx="402">
                  <c:v>0.01</c:v>
                </c:pt>
                <c:pt idx="403">
                  <c:v>0.01</c:v>
                </c:pt>
                <c:pt idx="404">
                  <c:v>0.01</c:v>
                </c:pt>
                <c:pt idx="405">
                  <c:v>0.07</c:v>
                </c:pt>
                <c:pt idx="406">
                  <c:v>0.08</c:v>
                </c:pt>
                <c:pt idx="407">
                  <c:v>0.01</c:v>
                </c:pt>
                <c:pt idx="408">
                  <c:v>0.04</c:v>
                </c:pt>
                <c:pt idx="409">
                  <c:v>0.09</c:v>
                </c:pt>
                <c:pt idx="410">
                  <c:v>0.01</c:v>
                </c:pt>
                <c:pt idx="411">
                  <c:v>0.01</c:v>
                </c:pt>
                <c:pt idx="412">
                  <c:v>0.01</c:v>
                </c:pt>
                <c:pt idx="413">
                  <c:v>0.01</c:v>
                </c:pt>
                <c:pt idx="414">
                  <c:v>0.05</c:v>
                </c:pt>
                <c:pt idx="415">
                  <c:v>0.02</c:v>
                </c:pt>
                <c:pt idx="416">
                  <c:v>0.03</c:v>
                </c:pt>
                <c:pt idx="417">
                  <c:v>0.02</c:v>
                </c:pt>
                <c:pt idx="418">
                  <c:v>0.01</c:v>
                </c:pt>
                <c:pt idx="419">
                  <c:v>0.01</c:v>
                </c:pt>
                <c:pt idx="420">
                  <c:v>0.01</c:v>
                </c:pt>
                <c:pt idx="421">
                  <c:v>0.01</c:v>
                </c:pt>
                <c:pt idx="422">
                  <c:v>0.01</c:v>
                </c:pt>
                <c:pt idx="423">
                  <c:v>0.04</c:v>
                </c:pt>
                <c:pt idx="424">
                  <c:v>0.01</c:v>
                </c:pt>
                <c:pt idx="425">
                  <c:v>0.01</c:v>
                </c:pt>
                <c:pt idx="426">
                  <c:v>0.07</c:v>
                </c:pt>
                <c:pt idx="427">
                  <c:v>0.01</c:v>
                </c:pt>
                <c:pt idx="428">
                  <c:v>0.01</c:v>
                </c:pt>
                <c:pt idx="429">
                  <c:v>0.01</c:v>
                </c:pt>
                <c:pt idx="430">
                  <c:v>0.01</c:v>
                </c:pt>
                <c:pt idx="431">
                  <c:v>0.01</c:v>
                </c:pt>
                <c:pt idx="432">
                  <c:v>0.02</c:v>
                </c:pt>
                <c:pt idx="433">
                  <c:v>0.03</c:v>
                </c:pt>
                <c:pt idx="434">
                  <c:v>0.01</c:v>
                </c:pt>
                <c:pt idx="435">
                  <c:v>0.03</c:v>
                </c:pt>
                <c:pt idx="436">
                  <c:v>0.01</c:v>
                </c:pt>
                <c:pt idx="437">
                  <c:v>0.02</c:v>
                </c:pt>
                <c:pt idx="438">
                  <c:v>0.02</c:v>
                </c:pt>
                <c:pt idx="439">
                  <c:v>0.01</c:v>
                </c:pt>
                <c:pt idx="440">
                  <c:v>0.04</c:v>
                </c:pt>
                <c:pt idx="441">
                  <c:v>0.01</c:v>
                </c:pt>
                <c:pt idx="442">
                  <c:v>0.01</c:v>
                </c:pt>
                <c:pt idx="443">
                  <c:v>0.01</c:v>
                </c:pt>
                <c:pt idx="444">
                  <c:v>0.02</c:v>
                </c:pt>
                <c:pt idx="445">
                  <c:v>0.01</c:v>
                </c:pt>
                <c:pt idx="446">
                  <c:v>0.05</c:v>
                </c:pt>
                <c:pt idx="447">
                  <c:v>0.02</c:v>
                </c:pt>
                <c:pt idx="448">
                  <c:v>0.02</c:v>
                </c:pt>
                <c:pt idx="449">
                  <c:v>0.01</c:v>
                </c:pt>
                <c:pt idx="450">
                  <c:v>0.01</c:v>
                </c:pt>
                <c:pt idx="451">
                  <c:v>0.01</c:v>
                </c:pt>
                <c:pt idx="452">
                  <c:v>0.01</c:v>
                </c:pt>
                <c:pt idx="453">
                  <c:v>0.01</c:v>
                </c:pt>
                <c:pt idx="454">
                  <c:v>0.06</c:v>
                </c:pt>
                <c:pt idx="455">
                  <c:v>0.01</c:v>
                </c:pt>
                <c:pt idx="456">
                  <c:v>0.05</c:v>
                </c:pt>
                <c:pt idx="457">
                  <c:v>0.03</c:v>
                </c:pt>
                <c:pt idx="458">
                  <c:v>0.01</c:v>
                </c:pt>
                <c:pt idx="459">
                  <c:v>0.01</c:v>
                </c:pt>
                <c:pt idx="460">
                  <c:v>0.05</c:v>
                </c:pt>
                <c:pt idx="461">
                  <c:v>0.05</c:v>
                </c:pt>
                <c:pt idx="462">
                  <c:v>0.02</c:v>
                </c:pt>
                <c:pt idx="463">
                  <c:v>0.01</c:v>
                </c:pt>
                <c:pt idx="464">
                  <c:v>0.02</c:v>
                </c:pt>
                <c:pt idx="465">
                  <c:v>0.02</c:v>
                </c:pt>
                <c:pt idx="466">
                  <c:v>0.01</c:v>
                </c:pt>
                <c:pt idx="467">
                  <c:v>0.01</c:v>
                </c:pt>
                <c:pt idx="468">
                  <c:v>0.01</c:v>
                </c:pt>
                <c:pt idx="469">
                  <c:v>0.01</c:v>
                </c:pt>
                <c:pt idx="470">
                  <c:v>0.02</c:v>
                </c:pt>
                <c:pt idx="471">
                  <c:v>0.02</c:v>
                </c:pt>
                <c:pt idx="472">
                  <c:v>0.01</c:v>
                </c:pt>
                <c:pt idx="473">
                  <c:v>0.01</c:v>
                </c:pt>
                <c:pt idx="474">
                  <c:v>0.01</c:v>
                </c:pt>
                <c:pt idx="475">
                  <c:v>0.01</c:v>
                </c:pt>
                <c:pt idx="476">
                  <c:v>0.02</c:v>
                </c:pt>
                <c:pt idx="477">
                  <c:v>0.04</c:v>
                </c:pt>
                <c:pt idx="478">
                  <c:v>0.01</c:v>
                </c:pt>
                <c:pt idx="479">
                  <c:v>0.01</c:v>
                </c:pt>
                <c:pt idx="480">
                  <c:v>0.01</c:v>
                </c:pt>
                <c:pt idx="481">
                  <c:v>0.01</c:v>
                </c:pt>
                <c:pt idx="482">
                  <c:v>0.01</c:v>
                </c:pt>
                <c:pt idx="483">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Item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7ECAC4"/>
              </a:solidFill>
            </c:spPr>
            <c:extLst>
              <c:ext xmlns:c16="http://schemas.microsoft.com/office/drawing/2014/chart" uri="{C3380CC4-5D6E-409C-BE32-E72D297353CC}">
                <c16:uniqueId val="{000000CB-2993-41DE-A2CB-63102DE87051}"/>
              </c:ext>
            </c:extLst>
          </c:dPt>
          <c:dPt>
            <c:idx val="101"/>
            <c:invertIfNegative val="1"/>
            <c:bubble3D val="0"/>
            <c:spPr>
              <a:solidFill>
                <a:srgbClr val="7ECAC4"/>
              </a:solidFill>
            </c:spPr>
            <c:extLst>
              <c:ext xmlns:c16="http://schemas.microsoft.com/office/drawing/2014/chart" uri="{C3380CC4-5D6E-409C-BE32-E72D297353CC}">
                <c16:uniqueId val="{000000CD-2993-41DE-A2CB-63102DE87051}"/>
              </c:ext>
            </c:extLst>
          </c:dPt>
          <c:dPt>
            <c:idx val="102"/>
            <c:invertIfNegative val="1"/>
            <c:bubble3D val="0"/>
            <c:spPr>
              <a:solidFill>
                <a:srgbClr val="7ECAC4"/>
              </a:solidFill>
            </c:spPr>
            <c:extLst>
              <c:ext xmlns:c16="http://schemas.microsoft.com/office/drawing/2014/chart" uri="{C3380CC4-5D6E-409C-BE32-E72D297353CC}">
                <c16:uniqueId val="{000000CF-2993-41DE-A2CB-63102DE87051}"/>
              </c:ext>
            </c:extLst>
          </c:dPt>
          <c:dPt>
            <c:idx val="103"/>
            <c:invertIfNegative val="1"/>
            <c:bubble3D val="0"/>
            <c:spPr>
              <a:solidFill>
                <a:srgbClr val="7ECAC4"/>
              </a:solidFill>
            </c:spPr>
            <c:extLst>
              <c:ext xmlns:c16="http://schemas.microsoft.com/office/drawing/2014/chart" uri="{C3380CC4-5D6E-409C-BE32-E72D297353CC}">
                <c16:uniqueId val="{000000D1-2993-41DE-A2CB-63102DE87051}"/>
              </c:ext>
            </c:extLst>
          </c:dPt>
          <c:dPt>
            <c:idx val="104"/>
            <c:invertIfNegative val="1"/>
            <c:bubble3D val="0"/>
            <c:spPr>
              <a:solidFill>
                <a:srgbClr val="7ECAC4"/>
              </a:solidFill>
            </c:spPr>
            <c:extLst>
              <c:ext xmlns:c16="http://schemas.microsoft.com/office/drawing/2014/chart" uri="{C3380CC4-5D6E-409C-BE32-E72D297353CC}">
                <c16:uniqueId val="{000000D3-2993-41DE-A2CB-63102DE87051}"/>
              </c:ext>
            </c:extLst>
          </c:dPt>
          <c:dPt>
            <c:idx val="105"/>
            <c:invertIfNegative val="1"/>
            <c:bubble3D val="0"/>
            <c:spPr>
              <a:solidFill>
                <a:srgbClr val="7ECAC4"/>
              </a:solidFill>
            </c:spPr>
            <c:extLst>
              <c:ext xmlns:c16="http://schemas.microsoft.com/office/drawing/2014/chart" uri="{C3380CC4-5D6E-409C-BE32-E72D297353CC}">
                <c16:uniqueId val="{000000D5-2993-41DE-A2CB-63102DE87051}"/>
              </c:ext>
            </c:extLst>
          </c:dPt>
          <c:dPt>
            <c:idx val="106"/>
            <c:invertIfNegative val="1"/>
            <c:bubble3D val="0"/>
            <c:spPr>
              <a:solidFill>
                <a:srgbClr val="7ECAC4"/>
              </a:solidFill>
            </c:spPr>
            <c:extLst>
              <c:ext xmlns:c16="http://schemas.microsoft.com/office/drawing/2014/chart" uri="{C3380CC4-5D6E-409C-BE32-E72D297353CC}">
                <c16:uniqueId val="{000000D7-2993-41DE-A2CB-63102DE87051}"/>
              </c:ext>
            </c:extLst>
          </c:dPt>
          <c:dPt>
            <c:idx val="107"/>
            <c:invertIfNegative val="1"/>
            <c:bubble3D val="0"/>
            <c:spPr>
              <a:solidFill>
                <a:srgbClr val="7ECAC4"/>
              </a:solidFill>
            </c:spPr>
            <c:extLst>
              <c:ext xmlns:c16="http://schemas.microsoft.com/office/drawing/2014/chart" uri="{C3380CC4-5D6E-409C-BE32-E72D297353CC}">
                <c16:uniqueId val="{000000D9-2993-41DE-A2CB-63102DE87051}"/>
              </c:ext>
            </c:extLst>
          </c:dPt>
          <c:dPt>
            <c:idx val="108"/>
            <c:invertIfNegative val="1"/>
            <c:bubble3D val="0"/>
            <c:spPr>
              <a:solidFill>
                <a:srgbClr val="7ECAC4"/>
              </a:solidFill>
            </c:spPr>
            <c:extLst>
              <c:ext xmlns:c16="http://schemas.microsoft.com/office/drawing/2014/chart" uri="{C3380CC4-5D6E-409C-BE32-E72D297353CC}">
                <c16:uniqueId val="{000000DB-2993-41DE-A2CB-63102DE87051}"/>
              </c:ext>
            </c:extLst>
          </c:dPt>
          <c:dPt>
            <c:idx val="109"/>
            <c:invertIfNegative val="1"/>
            <c:bubble3D val="0"/>
            <c:spPr>
              <a:solidFill>
                <a:srgbClr val="7ECAC4"/>
              </a:solidFill>
            </c:spPr>
            <c:extLst>
              <c:ext xmlns:c16="http://schemas.microsoft.com/office/drawing/2014/chart" uri="{C3380CC4-5D6E-409C-BE32-E72D297353CC}">
                <c16:uniqueId val="{000000DD-2993-41DE-A2CB-63102DE87051}"/>
              </c:ext>
            </c:extLst>
          </c:dPt>
          <c:dPt>
            <c:idx val="110"/>
            <c:invertIfNegative val="1"/>
            <c:bubble3D val="0"/>
            <c:spPr>
              <a:solidFill>
                <a:srgbClr val="7ECAC4"/>
              </a:solidFill>
            </c:spPr>
            <c:extLst>
              <c:ext xmlns:c16="http://schemas.microsoft.com/office/drawing/2014/chart" uri="{C3380CC4-5D6E-409C-BE32-E72D297353CC}">
                <c16:uniqueId val="{000000DF-2993-41DE-A2CB-63102DE87051}"/>
              </c:ext>
            </c:extLst>
          </c:dPt>
          <c:dPt>
            <c:idx val="111"/>
            <c:invertIfNegative val="1"/>
            <c:bubble3D val="0"/>
            <c:spPr>
              <a:solidFill>
                <a:srgbClr val="7ECAC4"/>
              </a:solidFill>
            </c:spPr>
            <c:extLst>
              <c:ext xmlns:c16="http://schemas.microsoft.com/office/drawing/2014/chart" uri="{C3380CC4-5D6E-409C-BE32-E72D297353CC}">
                <c16:uniqueId val="{000000E1-2993-41DE-A2CB-63102DE87051}"/>
              </c:ext>
            </c:extLst>
          </c:dPt>
          <c:dPt>
            <c:idx val="112"/>
            <c:invertIfNegative val="1"/>
            <c:bubble3D val="0"/>
            <c:spPr>
              <a:solidFill>
                <a:srgbClr val="7ECAC4"/>
              </a:solidFill>
            </c:spPr>
            <c:extLst>
              <c:ext xmlns:c16="http://schemas.microsoft.com/office/drawing/2014/chart" uri="{C3380CC4-5D6E-409C-BE32-E72D297353CC}">
                <c16:uniqueId val="{000000E3-2993-41DE-A2CB-63102DE87051}"/>
              </c:ext>
            </c:extLst>
          </c:dPt>
          <c:dPt>
            <c:idx val="113"/>
            <c:invertIfNegative val="1"/>
            <c:bubble3D val="0"/>
            <c:spPr>
              <a:solidFill>
                <a:srgbClr val="7ECAC4"/>
              </a:solidFill>
            </c:spPr>
            <c:extLst>
              <c:ext xmlns:c16="http://schemas.microsoft.com/office/drawing/2014/chart" uri="{C3380CC4-5D6E-409C-BE32-E72D297353CC}">
                <c16:uniqueId val="{000000E5-2993-41DE-A2CB-63102DE87051}"/>
              </c:ext>
            </c:extLst>
          </c:dPt>
          <c:dPt>
            <c:idx val="114"/>
            <c:invertIfNegative val="1"/>
            <c:bubble3D val="0"/>
            <c:spPr>
              <a:solidFill>
                <a:srgbClr val="7ECAC4"/>
              </a:solidFill>
            </c:spPr>
            <c:extLst>
              <c:ext xmlns:c16="http://schemas.microsoft.com/office/drawing/2014/chart" uri="{C3380CC4-5D6E-409C-BE32-E72D297353CC}">
                <c16:uniqueId val="{000000E7-2993-41DE-A2CB-63102DE87051}"/>
              </c:ext>
            </c:extLst>
          </c:dPt>
          <c:dPt>
            <c:idx val="115"/>
            <c:invertIfNegative val="1"/>
            <c:bubble3D val="0"/>
            <c:spPr>
              <a:solidFill>
                <a:srgbClr val="7ECAC4"/>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7ECAC4"/>
              </a:solidFill>
            </c:spPr>
            <c:extLst>
              <c:ext xmlns:c16="http://schemas.microsoft.com/office/drawing/2014/chart" uri="{C3380CC4-5D6E-409C-BE32-E72D297353CC}">
                <c16:uniqueId val="{0000015D-2993-41DE-A2CB-63102DE87051}"/>
              </c:ext>
            </c:extLst>
          </c:dPt>
          <c:dPt>
            <c:idx val="174"/>
            <c:invertIfNegative val="1"/>
            <c:bubble3D val="0"/>
            <c:spPr>
              <a:solidFill>
                <a:srgbClr val="7ECAC4"/>
              </a:solidFill>
            </c:spPr>
            <c:extLst>
              <c:ext xmlns:c16="http://schemas.microsoft.com/office/drawing/2014/chart" uri="{C3380CC4-5D6E-409C-BE32-E72D297353CC}">
                <c16:uniqueId val="{0000015F-2993-41DE-A2CB-63102DE87051}"/>
              </c:ext>
            </c:extLst>
          </c:dPt>
          <c:dPt>
            <c:idx val="175"/>
            <c:invertIfNegative val="1"/>
            <c:bubble3D val="0"/>
            <c:spPr>
              <a:solidFill>
                <a:srgbClr val="7ECAC4"/>
              </a:solidFill>
            </c:spPr>
            <c:extLst>
              <c:ext xmlns:c16="http://schemas.microsoft.com/office/drawing/2014/chart" uri="{C3380CC4-5D6E-409C-BE32-E72D297353CC}">
                <c16:uniqueId val="{00000161-2993-41DE-A2CB-63102DE87051}"/>
              </c:ext>
            </c:extLst>
          </c:dPt>
          <c:dPt>
            <c:idx val="176"/>
            <c:invertIfNegative val="1"/>
            <c:bubble3D val="0"/>
            <c:spPr>
              <a:solidFill>
                <a:srgbClr val="7ECAC4"/>
              </a:solidFill>
            </c:spPr>
            <c:extLst>
              <c:ext xmlns:c16="http://schemas.microsoft.com/office/drawing/2014/chart" uri="{C3380CC4-5D6E-409C-BE32-E72D297353CC}">
                <c16:uniqueId val="{00000163-2993-41DE-A2CB-63102DE87051}"/>
              </c:ext>
            </c:extLst>
          </c:dPt>
          <c:dPt>
            <c:idx val="177"/>
            <c:invertIfNegative val="1"/>
            <c:bubble3D val="0"/>
            <c:spPr>
              <a:solidFill>
                <a:srgbClr val="7ECAC4"/>
              </a:solidFill>
            </c:spPr>
            <c:extLst>
              <c:ext xmlns:c16="http://schemas.microsoft.com/office/drawing/2014/chart" uri="{C3380CC4-5D6E-409C-BE32-E72D297353CC}">
                <c16:uniqueId val="{00000165-2993-41DE-A2CB-63102DE87051}"/>
              </c:ext>
            </c:extLst>
          </c:dPt>
          <c:dPt>
            <c:idx val="178"/>
            <c:invertIfNegative val="1"/>
            <c:bubble3D val="0"/>
            <c:spPr>
              <a:solidFill>
                <a:srgbClr val="7ECAC4"/>
              </a:solidFill>
            </c:spPr>
            <c:extLst>
              <c:ext xmlns:c16="http://schemas.microsoft.com/office/drawing/2014/chart" uri="{C3380CC4-5D6E-409C-BE32-E72D297353CC}">
                <c16:uniqueId val="{00000167-2993-41DE-A2CB-63102DE87051}"/>
              </c:ext>
            </c:extLst>
          </c:dPt>
          <c:dPt>
            <c:idx val="179"/>
            <c:invertIfNegative val="1"/>
            <c:bubble3D val="0"/>
            <c:spPr>
              <a:solidFill>
                <a:srgbClr val="7ECAC4"/>
              </a:solidFill>
            </c:spPr>
            <c:extLst>
              <c:ext xmlns:c16="http://schemas.microsoft.com/office/drawing/2014/chart" uri="{C3380CC4-5D6E-409C-BE32-E72D297353CC}">
                <c16:uniqueId val="{00000169-2993-41DE-A2CB-63102DE87051}"/>
              </c:ext>
            </c:extLst>
          </c:dPt>
          <c:dPt>
            <c:idx val="180"/>
            <c:invertIfNegative val="1"/>
            <c:bubble3D val="0"/>
            <c:spPr>
              <a:solidFill>
                <a:srgbClr val="7ECAC4"/>
              </a:solidFill>
            </c:spPr>
            <c:extLst>
              <c:ext xmlns:c16="http://schemas.microsoft.com/office/drawing/2014/chart" uri="{C3380CC4-5D6E-409C-BE32-E72D297353CC}">
                <c16:uniqueId val="{0000016B-2993-41DE-A2CB-63102DE87051}"/>
              </c:ext>
            </c:extLst>
          </c:dPt>
          <c:dPt>
            <c:idx val="181"/>
            <c:invertIfNegative val="1"/>
            <c:bubble3D val="0"/>
            <c:spPr>
              <a:solidFill>
                <a:srgbClr val="7ECAC4"/>
              </a:solidFill>
            </c:spPr>
            <c:extLst>
              <c:ext xmlns:c16="http://schemas.microsoft.com/office/drawing/2014/chart" uri="{C3380CC4-5D6E-409C-BE32-E72D297353CC}">
                <c16:uniqueId val="{0000016D-2993-41DE-A2CB-63102DE87051}"/>
              </c:ext>
            </c:extLst>
          </c:dPt>
          <c:dPt>
            <c:idx val="182"/>
            <c:invertIfNegative val="1"/>
            <c:bubble3D val="0"/>
            <c:spPr>
              <a:solidFill>
                <a:srgbClr val="7ECAC4"/>
              </a:solidFill>
            </c:spPr>
            <c:extLst>
              <c:ext xmlns:c16="http://schemas.microsoft.com/office/drawing/2014/chart" uri="{C3380CC4-5D6E-409C-BE32-E72D297353CC}">
                <c16:uniqueId val="{0000016F-2993-41DE-A2CB-63102DE87051}"/>
              </c:ext>
            </c:extLst>
          </c:dPt>
          <c:dPt>
            <c:idx val="183"/>
            <c:invertIfNegative val="1"/>
            <c:bubble3D val="0"/>
            <c:spPr>
              <a:solidFill>
                <a:srgbClr val="7ECAC4"/>
              </a:solidFill>
            </c:spPr>
            <c:extLst>
              <c:ext xmlns:c16="http://schemas.microsoft.com/office/drawing/2014/chart" uri="{C3380CC4-5D6E-409C-BE32-E72D297353CC}">
                <c16:uniqueId val="{00000171-2993-41DE-A2CB-63102DE87051}"/>
              </c:ext>
            </c:extLst>
          </c:dPt>
          <c:dPt>
            <c:idx val="184"/>
            <c:invertIfNegative val="1"/>
            <c:bubble3D val="0"/>
            <c:spPr>
              <a:solidFill>
                <a:srgbClr val="7ECAC4"/>
              </a:solidFill>
            </c:spPr>
            <c:extLst>
              <c:ext xmlns:c16="http://schemas.microsoft.com/office/drawing/2014/chart" uri="{C3380CC4-5D6E-409C-BE32-E72D297353CC}">
                <c16:uniqueId val="{00000173-2993-41DE-A2CB-63102DE87051}"/>
              </c:ext>
            </c:extLst>
          </c:dPt>
          <c:dPt>
            <c:idx val="185"/>
            <c:invertIfNegative val="1"/>
            <c:bubble3D val="0"/>
            <c:spPr>
              <a:solidFill>
                <a:srgbClr val="7ECAC4"/>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dPt>
            <c:idx val="210"/>
            <c:spPr>
              <a:solidFill>
                <a:srgbClr val="AEABAB"/>
              </a:solidFill>
            </c:spPr>
          </c:dPt>
          <c:dPt>
            <c:idx val="211"/>
            <c:spPr>
              <a:solidFill>
                <a:srgbClr val="AEABAB"/>
              </a:solidFill>
            </c:spPr>
          </c:dPt>
          <c:dPt>
            <c:idx val="212"/>
            <c:spPr>
              <a:solidFill>
                <a:srgbClr val="AEABAB"/>
              </a:solidFill>
            </c:spPr>
          </c:dPt>
          <c:dPt>
            <c:idx val="213"/>
            <c:spPr>
              <a:solidFill>
                <a:srgbClr val="AEABAB"/>
              </a:solidFill>
            </c:spPr>
          </c:dPt>
          <c:dPt>
            <c:idx val="214"/>
            <c:spPr>
              <a:solidFill>
                <a:srgbClr val="AEABAB"/>
              </a:solidFill>
            </c:spPr>
          </c:dPt>
          <c:dPt>
            <c:idx val="215"/>
            <c:spPr>
              <a:solidFill>
                <a:srgbClr val="AEABAB"/>
              </a:solidFill>
            </c:spPr>
          </c:dPt>
          <c:dPt>
            <c:idx val="216"/>
            <c:spPr>
              <a:solidFill>
                <a:srgbClr val="AEABAB"/>
              </a:solidFill>
            </c:spPr>
          </c:dPt>
          <c:dPt>
            <c:idx val="217"/>
            <c:spPr>
              <a:solidFill>
                <a:srgbClr val="AEABAB"/>
              </a:solidFill>
            </c:spPr>
          </c:dPt>
          <c:dPt>
            <c:idx val="218"/>
            <c:spPr>
              <a:solidFill>
                <a:srgbClr val="AEABAB"/>
              </a:solidFill>
            </c:spPr>
          </c:dPt>
          <c:dPt>
            <c:idx val="219"/>
            <c:spPr>
              <a:solidFill>
                <a:srgbClr val="AEABAB"/>
              </a:solidFill>
            </c:spPr>
          </c:dPt>
          <c:dPt>
            <c:idx val="220"/>
            <c:spPr>
              <a:solidFill>
                <a:srgbClr val="AEABAB"/>
              </a:solidFill>
            </c:spPr>
          </c:dPt>
          <c:dPt>
            <c:idx val="221"/>
            <c:spPr>
              <a:solidFill>
                <a:srgbClr val="AEABAB"/>
              </a:solidFill>
            </c:spPr>
          </c:dPt>
          <c:dPt>
            <c:idx val="222"/>
            <c:spPr>
              <a:solidFill>
                <a:srgbClr val="AEABAB"/>
              </a:solidFill>
            </c:spPr>
          </c:dPt>
          <c:dPt>
            <c:idx val="223"/>
            <c:spPr>
              <a:solidFill>
                <a:srgbClr val="AEABAB"/>
              </a:solidFill>
            </c:spPr>
          </c:dPt>
          <c:dPt>
            <c:idx val="224"/>
            <c:spPr>
              <a:solidFill>
                <a:srgbClr val="AEABAB"/>
              </a:solidFill>
            </c:spPr>
          </c:dPt>
          <c:dPt>
            <c:idx val="225"/>
            <c:spPr>
              <a:solidFill>
                <a:srgbClr val="AEABAB"/>
              </a:solidFill>
            </c:spPr>
          </c:dPt>
          <c:dPt>
            <c:idx val="226"/>
            <c:spPr>
              <a:solidFill>
                <a:srgbClr val="AEABAB"/>
              </a:solidFill>
            </c:spPr>
          </c:dPt>
          <c:dPt>
            <c:idx val="227"/>
            <c:spPr>
              <a:solidFill>
                <a:srgbClr val="AEABAB"/>
              </a:solidFill>
            </c:spPr>
          </c:dPt>
          <c:dPt>
            <c:idx val="228"/>
            <c:spPr>
              <a:solidFill>
                <a:srgbClr val="AEABAB"/>
              </a:solidFill>
            </c:spPr>
          </c:dPt>
          <c:dPt>
            <c:idx val="229"/>
            <c:spPr>
              <a:solidFill>
                <a:srgbClr val="AEABAB"/>
              </a:solidFill>
            </c:spPr>
          </c:dPt>
          <c:dPt>
            <c:idx val="230"/>
            <c:spPr>
              <a:solidFill>
                <a:srgbClr val="AEABAB"/>
              </a:solidFill>
            </c:spPr>
          </c:dPt>
          <c:dPt>
            <c:idx val="231"/>
            <c:spPr>
              <a:solidFill>
                <a:srgbClr val="AEABAB"/>
              </a:solidFill>
            </c:spPr>
          </c:dPt>
          <c:dPt>
            <c:idx val="232"/>
            <c:spPr>
              <a:solidFill>
                <a:srgbClr val="AEABAB"/>
              </a:solidFill>
            </c:spPr>
          </c:dPt>
          <c:dPt>
            <c:idx val="233"/>
            <c:spPr>
              <a:solidFill>
                <a:srgbClr val="AEABAB"/>
              </a:solidFill>
            </c:spPr>
          </c:dPt>
          <c:dPt>
            <c:idx val="234"/>
            <c:spPr>
              <a:solidFill>
                <a:srgbClr val="AEABAB"/>
              </a:solidFill>
            </c:spPr>
          </c:dPt>
          <c:dPt>
            <c:idx val="235"/>
            <c:spPr>
              <a:solidFill>
                <a:srgbClr val="AEABAB"/>
              </a:solidFill>
            </c:spPr>
          </c:dPt>
          <c:dPt>
            <c:idx val="236"/>
            <c:spPr>
              <a:solidFill>
                <a:srgbClr val="AEABAB"/>
              </a:solidFill>
            </c:spPr>
          </c:dPt>
          <c:dPt>
            <c:idx val="237"/>
            <c:spPr>
              <a:solidFill>
                <a:srgbClr val="AEABAB"/>
              </a:solidFill>
            </c:spPr>
          </c:dPt>
          <c:dPt>
            <c:idx val="238"/>
            <c:spPr>
              <a:solidFill>
                <a:srgbClr val="AEABAB"/>
              </a:solidFill>
            </c:spPr>
          </c:dPt>
          <c:dPt>
            <c:idx val="239"/>
            <c:spPr>
              <a:solidFill>
                <a:srgbClr val="AEABAB"/>
              </a:solidFill>
            </c:spPr>
          </c:dPt>
          <c:dPt>
            <c:idx val="240"/>
            <c:spPr>
              <a:solidFill>
                <a:srgbClr val="AEABAB"/>
              </a:solidFill>
            </c:spPr>
          </c:dPt>
          <c:dPt>
            <c:idx val="241"/>
            <c:spPr>
              <a:solidFill>
                <a:srgbClr val="AEABAB"/>
              </a:solidFill>
            </c:spPr>
          </c:dPt>
          <c:dPt>
            <c:idx val="242"/>
            <c:spPr>
              <a:solidFill>
                <a:srgbClr val="AEABAB"/>
              </a:solidFill>
            </c:spPr>
          </c:dPt>
          <c:dPt>
            <c:idx val="243"/>
            <c:spPr>
              <a:solidFill>
                <a:srgbClr val="AEABAB"/>
              </a:solidFill>
            </c:spPr>
          </c:dPt>
          <c:dPt>
            <c:idx val="244"/>
            <c:spPr>
              <a:solidFill>
                <a:srgbClr val="AEABAB"/>
              </a:solidFill>
            </c:spPr>
          </c:dPt>
          <c:dPt>
            <c:idx val="245"/>
            <c:spPr>
              <a:solidFill>
                <a:srgbClr val="AEABAB"/>
              </a:solidFill>
            </c:spPr>
          </c:dPt>
          <c:dPt>
            <c:idx val="246"/>
            <c:spPr>
              <a:solidFill>
                <a:srgbClr val="AEABAB"/>
              </a:solidFill>
            </c:spPr>
          </c:dPt>
          <c:dPt>
            <c:idx val="247"/>
            <c:spPr>
              <a:solidFill>
                <a:srgbClr val="AEABAB"/>
              </a:solidFill>
            </c:spPr>
          </c:dPt>
          <c:dPt>
            <c:idx val="248"/>
            <c:spPr>
              <a:solidFill>
                <a:srgbClr val="AEABAB"/>
              </a:solidFill>
            </c:spPr>
          </c:dPt>
          <c:dPt>
            <c:idx val="249"/>
            <c:spPr>
              <a:solidFill>
                <a:srgbClr val="AEABAB"/>
              </a:solidFill>
            </c:spPr>
          </c:dPt>
          <c:dPt>
            <c:idx val="250"/>
            <c:spPr>
              <a:solidFill>
                <a:srgbClr val="AEABAB"/>
              </a:solidFill>
            </c:spPr>
          </c:dPt>
          <c:dPt>
            <c:idx val="251"/>
            <c:spPr>
              <a:solidFill>
                <a:srgbClr val="AEABAB"/>
              </a:solidFill>
            </c:spPr>
          </c:dPt>
          <c:dPt>
            <c:idx val="252"/>
            <c:spPr>
              <a:solidFill>
                <a:srgbClr val="AEABAB"/>
              </a:solidFill>
            </c:spPr>
          </c:dPt>
          <c:dPt>
            <c:idx val="253"/>
            <c:spPr>
              <a:solidFill>
                <a:srgbClr val="AEABAB"/>
              </a:solidFill>
            </c:spPr>
          </c:dPt>
          <c:dPt>
            <c:idx val="254"/>
            <c:spPr>
              <a:solidFill>
                <a:srgbClr val="AEABAB"/>
              </a:solidFill>
            </c:spPr>
          </c:dPt>
          <c:dPt>
            <c:idx val="255"/>
            <c:spPr>
              <a:solidFill>
                <a:srgbClr val="AEABAB"/>
              </a:solidFill>
            </c:spPr>
          </c:dPt>
          <c:dPt>
            <c:idx val="256"/>
            <c:spPr>
              <a:solidFill>
                <a:srgbClr val="AEABAB"/>
              </a:solidFill>
            </c:spPr>
          </c:dPt>
          <c:dPt>
            <c:idx val="257"/>
            <c:spPr>
              <a:solidFill>
                <a:srgbClr val="AEABAB"/>
              </a:solidFill>
            </c:spPr>
          </c:dPt>
          <c:dPt>
            <c:idx val="258"/>
            <c:spPr>
              <a:solidFill>
                <a:srgbClr val="AEABAB"/>
              </a:solidFill>
            </c:spPr>
          </c:dPt>
          <c:dPt>
            <c:idx val="259"/>
            <c:spPr>
              <a:solidFill>
                <a:srgbClr val="AEABAB"/>
              </a:solidFill>
            </c:spPr>
          </c:dPt>
          <c:dPt>
            <c:idx val="260"/>
            <c:spPr>
              <a:solidFill>
                <a:srgbClr val="AEABAB"/>
              </a:solidFill>
            </c:spPr>
          </c:dPt>
          <c:dPt>
            <c:idx val="261"/>
            <c:spPr>
              <a:solidFill>
                <a:srgbClr val="AEABAB"/>
              </a:solidFill>
            </c:spPr>
          </c:dPt>
          <c:dPt>
            <c:idx val="262"/>
            <c:spPr>
              <a:solidFill>
                <a:srgbClr val="AEABAB"/>
              </a:solidFill>
            </c:spPr>
          </c:dPt>
          <c:dPt>
            <c:idx val="263"/>
            <c:spPr>
              <a:solidFill>
                <a:srgbClr val="AEABAB"/>
              </a:solidFill>
            </c:spPr>
          </c:dPt>
          <c:dPt>
            <c:idx val="264"/>
            <c:spPr>
              <a:solidFill>
                <a:srgbClr val="AEABAB"/>
              </a:solidFill>
            </c:spPr>
          </c:dPt>
          <c:dPt>
            <c:idx val="265"/>
            <c:spPr>
              <a:solidFill>
                <a:srgbClr val="AEABAB"/>
              </a:solidFill>
            </c:spPr>
          </c:dPt>
          <c:dPt>
            <c:idx val="266"/>
            <c:spPr>
              <a:solidFill>
                <a:srgbClr val="AEABAB"/>
              </a:solidFill>
            </c:spPr>
          </c:dPt>
          <c:dPt>
            <c:idx val="267"/>
            <c:spPr>
              <a:solidFill>
                <a:srgbClr val="AEABAB"/>
              </a:solidFill>
            </c:spPr>
          </c:dPt>
          <c:dPt>
            <c:idx val="268"/>
            <c:spPr>
              <a:solidFill>
                <a:srgbClr val="AEABAB"/>
              </a:solidFill>
            </c:spPr>
          </c:dPt>
          <c:dPt>
            <c:idx val="269"/>
            <c:spPr>
              <a:solidFill>
                <a:srgbClr val="AEABAB"/>
              </a:solidFill>
            </c:spPr>
          </c:dPt>
          <c:dPt>
            <c:idx val="270"/>
            <c:spPr>
              <a:solidFill>
                <a:srgbClr val="AEABAB"/>
              </a:solidFill>
            </c:spPr>
          </c:dPt>
          <c:dPt>
            <c:idx val="271"/>
            <c:spPr>
              <a:solidFill>
                <a:srgbClr val="AEABAB"/>
              </a:solidFill>
            </c:spPr>
          </c:dPt>
          <c:dPt>
            <c:idx val="272"/>
            <c:spPr>
              <a:solidFill>
                <a:srgbClr val="AEABAB"/>
              </a:solidFill>
            </c:spPr>
          </c:dPt>
          <c:dPt>
            <c:idx val="273"/>
            <c:spPr>
              <a:solidFill>
                <a:srgbClr val="AEABAB"/>
              </a:solidFill>
            </c:spPr>
          </c:dPt>
          <c:dPt>
            <c:idx val="274"/>
            <c:spPr>
              <a:solidFill>
                <a:srgbClr val="AEABAB"/>
              </a:solidFill>
            </c:spPr>
          </c:dPt>
          <c:dPt>
            <c:idx val="275"/>
            <c:spPr>
              <a:solidFill>
                <a:srgbClr val="AEABAB"/>
              </a:solidFill>
            </c:spPr>
          </c:dPt>
          <c:dPt>
            <c:idx val="276"/>
            <c:spPr>
              <a:solidFill>
                <a:srgbClr val="AEABAB"/>
              </a:solidFill>
            </c:spPr>
          </c:dPt>
          <c:dPt>
            <c:idx val="277"/>
            <c:spPr>
              <a:solidFill>
                <a:srgbClr val="AEABAB"/>
              </a:solidFill>
            </c:spPr>
          </c:dPt>
          <c:dPt>
            <c:idx val="278"/>
            <c:spPr>
              <a:solidFill>
                <a:srgbClr val="AEABAB"/>
              </a:solidFill>
            </c:spPr>
          </c:dPt>
          <c:dPt>
            <c:idx val="279"/>
            <c:spPr>
              <a:solidFill>
                <a:srgbClr val="AEABAB"/>
              </a:solidFill>
            </c:spPr>
          </c:dPt>
          <c:dPt>
            <c:idx val="280"/>
            <c:spPr>
              <a:solidFill>
                <a:srgbClr val="AEABAB"/>
              </a:solidFill>
            </c:spPr>
          </c:dPt>
          <c:dPt>
            <c:idx val="281"/>
            <c:spPr>
              <a:solidFill>
                <a:srgbClr val="AEABAB"/>
              </a:solidFill>
            </c:spPr>
          </c:dPt>
          <c:dPt>
            <c:idx val="282"/>
            <c:spPr>
              <a:solidFill>
                <a:srgbClr val="AEABAB"/>
              </a:solidFill>
            </c:spPr>
          </c:dPt>
          <c:dPt>
            <c:idx val="283"/>
            <c:spPr>
              <a:solidFill>
                <a:srgbClr val="AEABAB"/>
              </a:solidFill>
            </c:spPr>
          </c:dPt>
          <c:dPt>
            <c:idx val="284"/>
            <c:spPr>
              <a:solidFill>
                <a:srgbClr val="AEABAB"/>
              </a:solidFill>
            </c:spPr>
          </c:dPt>
          <c:dPt>
            <c:idx val="285"/>
            <c:spPr>
              <a:solidFill>
                <a:srgbClr val="AEABAB"/>
              </a:solidFill>
            </c:spPr>
          </c:dPt>
          <c:dPt>
            <c:idx val="286"/>
            <c:spPr>
              <a:solidFill>
                <a:srgbClr val="AEABAB"/>
              </a:solidFill>
            </c:spPr>
          </c:dPt>
          <c:dPt>
            <c:idx val="287"/>
            <c:spPr>
              <a:solidFill>
                <a:srgbClr val="AEABAB"/>
              </a:solidFill>
            </c:spPr>
          </c:dPt>
          <c:dPt>
            <c:idx val="288"/>
            <c:spPr>
              <a:solidFill>
                <a:srgbClr val="AEABAB"/>
              </a:solidFill>
            </c:spPr>
          </c:dPt>
          <c:dPt>
            <c:idx val="289"/>
            <c:spPr>
              <a:solidFill>
                <a:srgbClr val="AEABAB"/>
              </a:solidFill>
            </c:spPr>
          </c:dPt>
          <c:dPt>
            <c:idx val="290"/>
            <c:spPr>
              <a:solidFill>
                <a:srgbClr val="AEABAB"/>
              </a:solidFill>
            </c:spPr>
          </c:dPt>
          <c:dPt>
            <c:idx val="291"/>
            <c:spPr>
              <a:solidFill>
                <a:srgbClr val="AEABAB"/>
              </a:solidFill>
            </c:spPr>
          </c:dPt>
          <c:dPt>
            <c:idx val="292"/>
            <c:spPr>
              <a:solidFill>
                <a:srgbClr val="AEABAB"/>
              </a:solidFill>
            </c:spPr>
          </c:dPt>
          <c:dPt>
            <c:idx val="293"/>
            <c:spPr>
              <a:solidFill>
                <a:srgbClr val="AEABAB"/>
              </a:solidFill>
            </c:spPr>
          </c:dPt>
          <c:dPt>
            <c:idx val="294"/>
            <c:spPr>
              <a:solidFill>
                <a:srgbClr val="AEABAB"/>
              </a:solidFill>
            </c:spPr>
          </c:dPt>
          <c:dPt>
            <c:idx val="295"/>
            <c:spPr>
              <a:solidFill>
                <a:srgbClr val="AEABAB"/>
              </a:solidFill>
            </c:spPr>
          </c:dPt>
          <c:dPt>
            <c:idx val="296"/>
            <c:spPr>
              <a:solidFill>
                <a:srgbClr val="AEABAB"/>
              </a:solidFill>
            </c:spPr>
          </c:dPt>
          <c:dPt>
            <c:idx val="297"/>
            <c:spPr>
              <a:solidFill>
                <a:srgbClr val="AEABAB"/>
              </a:solidFill>
            </c:spPr>
          </c:dPt>
          <c:dPt>
            <c:idx val="298"/>
            <c:spPr>
              <a:solidFill>
                <a:srgbClr val="AEABAB"/>
              </a:solidFill>
            </c:spPr>
          </c:dPt>
          <c:dPt>
            <c:idx val="299"/>
            <c:spPr>
              <a:solidFill>
                <a:srgbClr val="AEABAB"/>
              </a:solidFill>
            </c:spPr>
          </c:dPt>
          <c:dPt>
            <c:idx val="300"/>
            <c:spPr>
              <a:solidFill>
                <a:srgbClr val="AEABAB"/>
              </a:solidFill>
            </c:spPr>
          </c:dPt>
          <c:dPt>
            <c:idx val="301"/>
            <c:spPr>
              <a:solidFill>
                <a:srgbClr val="AEABAB"/>
              </a:solidFill>
            </c:spPr>
          </c:dPt>
          <c:dPt>
            <c:idx val="302"/>
            <c:spPr>
              <a:solidFill>
                <a:srgbClr val="AEABAB"/>
              </a:solidFill>
            </c:spPr>
          </c:dPt>
          <c:dPt>
            <c:idx val="303"/>
            <c:spPr>
              <a:solidFill>
                <a:srgbClr val="AEABAB"/>
              </a:solidFill>
            </c:spPr>
          </c:dPt>
          <c:dPt>
            <c:idx val="304"/>
            <c:spPr>
              <a:solidFill>
                <a:srgbClr val="AEABAB"/>
              </a:solidFill>
            </c:spPr>
          </c:dPt>
          <c:dPt>
            <c:idx val="305"/>
            <c:spPr>
              <a:solidFill>
                <a:srgbClr val="AEABAB"/>
              </a:solidFill>
            </c:spPr>
          </c:dPt>
          <c:dPt>
            <c:idx val="306"/>
            <c:spPr>
              <a:solidFill>
                <a:srgbClr val="AEABAB"/>
              </a:solidFill>
            </c:spPr>
          </c:dPt>
          <c:dPt>
            <c:idx val="307"/>
            <c:spPr>
              <a:solidFill>
                <a:srgbClr val="AEABAB"/>
              </a:solidFill>
            </c:spPr>
          </c:dPt>
          <c:dPt>
            <c:idx val="308"/>
            <c:spPr>
              <a:solidFill>
                <a:srgbClr val="AEABAB"/>
              </a:solidFill>
            </c:spPr>
          </c:dPt>
          <c:dPt>
            <c:idx val="309"/>
            <c:spPr>
              <a:solidFill>
                <a:srgbClr val="AEABAB"/>
              </a:solidFill>
            </c:spPr>
          </c:dPt>
          <c:dPt>
            <c:idx val="310"/>
            <c:spPr>
              <a:solidFill>
                <a:srgbClr val="AEABAB"/>
              </a:solidFill>
            </c:spPr>
          </c:dPt>
          <c:dPt>
            <c:idx val="311"/>
            <c:spPr>
              <a:solidFill>
                <a:srgbClr val="AEABAB"/>
              </a:solidFill>
            </c:spPr>
          </c:dPt>
          <c:dPt>
            <c:idx val="312"/>
            <c:spPr>
              <a:solidFill>
                <a:srgbClr val="AEABAB"/>
              </a:solidFill>
            </c:spPr>
          </c:dPt>
          <c:dPt>
            <c:idx val="313"/>
            <c:spPr>
              <a:solidFill>
                <a:srgbClr val="AEABAB"/>
              </a:solidFill>
            </c:spPr>
          </c:dPt>
          <c:dPt>
            <c:idx val="314"/>
            <c:spPr>
              <a:solidFill>
                <a:srgbClr val="AEABAB"/>
              </a:solidFill>
            </c:spPr>
          </c:dPt>
          <c:dPt>
            <c:idx val="315"/>
            <c:spPr>
              <a:solidFill>
                <a:srgbClr val="AEABAB"/>
              </a:solidFill>
            </c:spPr>
          </c:dPt>
          <c:dPt>
            <c:idx val="316"/>
            <c:spPr>
              <a:solidFill>
                <a:srgbClr val="AEABAB"/>
              </a:solidFill>
            </c:spPr>
          </c:dPt>
          <c:dPt>
            <c:idx val="317"/>
            <c:spPr>
              <a:solidFill>
                <a:srgbClr val="AEABAB"/>
              </a:solidFill>
            </c:spPr>
          </c:dPt>
          <c:dPt>
            <c:idx val="318"/>
            <c:spPr>
              <a:solidFill>
                <a:srgbClr val="AEABAB"/>
              </a:solidFill>
            </c:spPr>
          </c:dPt>
          <c:dPt>
            <c:idx val="319"/>
            <c:spPr>
              <a:solidFill>
                <a:srgbClr val="AEABAB"/>
              </a:solidFill>
            </c:spPr>
          </c:dPt>
          <c:dPt>
            <c:idx val="320"/>
            <c:spPr>
              <a:solidFill>
                <a:srgbClr val="AEABAB"/>
              </a:solidFill>
            </c:spPr>
          </c:dPt>
          <c:dPt>
            <c:idx val="321"/>
            <c:spPr>
              <a:solidFill>
                <a:srgbClr val="AEABAB"/>
              </a:solidFill>
            </c:spPr>
          </c:dPt>
          <c:dPt>
            <c:idx val="322"/>
            <c:spPr>
              <a:solidFill>
                <a:srgbClr val="AEABAB"/>
              </a:solidFill>
            </c:spPr>
          </c:dPt>
          <c:dPt>
            <c:idx val="323"/>
            <c:spPr>
              <a:solidFill>
                <a:srgbClr val="AEABAB"/>
              </a:solidFill>
            </c:spPr>
          </c:dPt>
          <c:dPt>
            <c:idx val="324"/>
            <c:spPr>
              <a:solidFill>
                <a:srgbClr val="AEABAB"/>
              </a:solidFill>
            </c:spPr>
          </c:dPt>
          <c:dPt>
            <c:idx val="325"/>
            <c:spPr>
              <a:solidFill>
                <a:srgbClr val="AEABAB"/>
              </a:solidFill>
            </c:spPr>
          </c:dPt>
          <c:dPt>
            <c:idx val="326"/>
            <c:spPr>
              <a:solidFill>
                <a:srgbClr val="AEABAB"/>
              </a:solidFill>
            </c:spPr>
          </c:dPt>
          <c:dPt>
            <c:idx val="327"/>
            <c:spPr>
              <a:solidFill>
                <a:srgbClr val="AEABAB"/>
              </a:solidFill>
            </c:spPr>
          </c:dPt>
          <c:dPt>
            <c:idx val="328"/>
            <c:spPr>
              <a:solidFill>
                <a:srgbClr val="AEABAB"/>
              </a:solidFill>
            </c:spPr>
          </c:dPt>
          <c:dPt>
            <c:idx val="329"/>
            <c:spPr>
              <a:solidFill>
                <a:srgbClr val="AEABAB"/>
              </a:solidFill>
            </c:spPr>
          </c:dPt>
          <c:dPt>
            <c:idx val="330"/>
            <c:spPr>
              <a:solidFill>
                <a:srgbClr val="AEABAB"/>
              </a:solidFill>
            </c:spPr>
          </c:dPt>
          <c:dPt>
            <c:idx val="331"/>
            <c:spPr>
              <a:solidFill>
                <a:srgbClr val="AEABAB"/>
              </a:solidFill>
            </c:spPr>
          </c:dPt>
          <c:dPt>
            <c:idx val="332"/>
            <c:spPr>
              <a:solidFill>
                <a:srgbClr val="AEABAB"/>
              </a:solidFill>
            </c:spPr>
          </c:dPt>
          <c:dPt>
            <c:idx val="333"/>
            <c:spPr>
              <a:solidFill>
                <a:srgbClr val="AEABAB"/>
              </a:solidFill>
            </c:spPr>
          </c:dPt>
          <c:dPt>
            <c:idx val="334"/>
            <c:spPr>
              <a:solidFill>
                <a:srgbClr val="AEABAB"/>
              </a:solidFill>
            </c:spPr>
          </c:dPt>
          <c:dPt>
            <c:idx val="335"/>
            <c:spPr>
              <a:solidFill>
                <a:srgbClr val="AEABAB"/>
              </a:solidFill>
            </c:spPr>
          </c:dPt>
          <c:dPt>
            <c:idx val="336"/>
            <c:spPr>
              <a:solidFill>
                <a:srgbClr val="AEABAB"/>
              </a:solidFill>
            </c:spPr>
          </c:dPt>
          <c:dPt>
            <c:idx val="337"/>
            <c:spPr>
              <a:solidFill>
                <a:srgbClr val="AEABAB"/>
              </a:solidFill>
            </c:spPr>
          </c:dPt>
          <c:dPt>
            <c:idx val="338"/>
            <c:spPr>
              <a:solidFill>
                <a:srgbClr val="AEABAB"/>
              </a:solidFill>
            </c:spPr>
          </c:dPt>
          <c:dPt>
            <c:idx val="339"/>
            <c:spPr>
              <a:solidFill>
                <a:srgbClr val="AEABAB"/>
              </a:solidFill>
            </c:spPr>
          </c:dPt>
          <c:dPt>
            <c:idx val="340"/>
            <c:spPr>
              <a:solidFill>
                <a:srgbClr val="AEABAB"/>
              </a:solidFill>
            </c:spPr>
          </c:dPt>
          <c:dPt>
            <c:idx val="341"/>
            <c:spPr>
              <a:solidFill>
                <a:srgbClr val="AEABAB"/>
              </a:solidFill>
            </c:spPr>
          </c:dPt>
          <c:dPt>
            <c:idx val="342"/>
            <c:spPr>
              <a:solidFill>
                <a:srgbClr val="AEABAB"/>
              </a:solidFill>
            </c:spPr>
          </c:dPt>
          <c:dPt>
            <c:idx val="343"/>
            <c:spPr>
              <a:solidFill>
                <a:srgbClr val="AEABAB"/>
              </a:solidFill>
            </c:spPr>
          </c:dPt>
          <c:dPt>
            <c:idx val="344"/>
            <c:spPr>
              <a:solidFill>
                <a:srgbClr val="AEABAB"/>
              </a:solidFill>
            </c:spPr>
          </c:dPt>
          <c:dPt>
            <c:idx val="345"/>
            <c:spPr>
              <a:solidFill>
                <a:srgbClr val="AEABAB"/>
              </a:solidFill>
            </c:spPr>
          </c:dPt>
          <c:dPt>
            <c:idx val="346"/>
            <c:spPr>
              <a:solidFill>
                <a:srgbClr val="AEABAB"/>
              </a:solidFill>
            </c:spPr>
          </c:dPt>
          <c:dPt>
            <c:idx val="347"/>
            <c:spPr>
              <a:solidFill>
                <a:srgbClr val="AEABAB"/>
              </a:solidFill>
            </c:spPr>
          </c:dPt>
          <c:dPt>
            <c:idx val="348"/>
            <c:spPr>
              <a:solidFill>
                <a:srgbClr val="AEABAB"/>
              </a:solidFill>
            </c:spPr>
          </c:dPt>
          <c:dPt>
            <c:idx val="349"/>
            <c:spPr>
              <a:solidFill>
                <a:srgbClr val="AEABAB"/>
              </a:solidFill>
            </c:spPr>
          </c:dPt>
          <c:dPt>
            <c:idx val="350"/>
            <c:spPr>
              <a:solidFill>
                <a:srgbClr val="AEABAB"/>
              </a:solidFill>
            </c:spPr>
          </c:dPt>
          <c:dPt>
            <c:idx val="351"/>
            <c:spPr>
              <a:solidFill>
                <a:srgbClr val="AEABAB"/>
              </a:solidFill>
            </c:spPr>
          </c:dPt>
          <c:dPt>
            <c:idx val="352"/>
            <c:spPr>
              <a:solidFill>
                <a:srgbClr val="AEABAB"/>
              </a:solidFill>
            </c:spPr>
          </c:dPt>
          <c:dPt>
            <c:idx val="353"/>
            <c:spPr>
              <a:solidFill>
                <a:srgbClr val="AEABAB"/>
              </a:solidFill>
            </c:spPr>
          </c:dPt>
          <c:dPt>
            <c:idx val="354"/>
            <c:spPr>
              <a:solidFill>
                <a:srgbClr val="AEABAB"/>
              </a:solidFill>
            </c:spPr>
          </c:dPt>
          <c:dPt>
            <c:idx val="355"/>
            <c:spPr>
              <a:solidFill>
                <a:srgbClr val="AEABAB"/>
              </a:solidFill>
            </c:spPr>
          </c:dPt>
          <c:dPt>
            <c:idx val="356"/>
            <c:spPr>
              <a:solidFill>
                <a:srgbClr val="AEABAB"/>
              </a:solidFill>
            </c:spPr>
          </c:dPt>
          <c:dPt>
            <c:idx val="357"/>
            <c:spPr>
              <a:solidFill>
                <a:srgbClr val="AEABAB"/>
              </a:solidFill>
            </c:spPr>
          </c:dPt>
          <c:dPt>
            <c:idx val="358"/>
            <c:spPr>
              <a:solidFill>
                <a:srgbClr val="AEABAB"/>
              </a:solidFill>
            </c:spPr>
          </c:dPt>
          <c:dPt>
            <c:idx val="359"/>
            <c:spPr>
              <a:solidFill>
                <a:srgbClr val="AEABAB"/>
              </a:solidFill>
            </c:spPr>
          </c:dPt>
          <c:dPt>
            <c:idx val="360"/>
            <c:spPr>
              <a:solidFill>
                <a:srgbClr val="AEABAB"/>
              </a:solidFill>
            </c:spPr>
          </c:dPt>
          <c:dPt>
            <c:idx val="361"/>
            <c:spPr>
              <a:solidFill>
                <a:srgbClr val="AEABAB"/>
              </a:solidFill>
            </c:spPr>
          </c:dPt>
          <c:dPt>
            <c:idx val="362"/>
            <c:spPr>
              <a:solidFill>
                <a:srgbClr val="AEABAB"/>
              </a:solidFill>
            </c:spPr>
          </c:dPt>
          <c:dPt>
            <c:idx val="363"/>
            <c:spPr>
              <a:solidFill>
                <a:srgbClr val="AEABAB"/>
              </a:solidFill>
            </c:spPr>
          </c:dPt>
          <c:dPt>
            <c:idx val="364"/>
            <c:spPr>
              <a:solidFill>
                <a:srgbClr val="AEABAB"/>
              </a:solidFill>
            </c:spPr>
          </c:dPt>
          <c:dPt>
            <c:idx val="365"/>
            <c:spPr>
              <a:solidFill>
                <a:srgbClr val="AEABAB"/>
              </a:solidFill>
            </c:spPr>
          </c:dPt>
          <c:dPt>
            <c:idx val="366"/>
            <c:spPr>
              <a:solidFill>
                <a:srgbClr val="AEABAB"/>
              </a:solidFill>
            </c:spPr>
          </c:dPt>
          <c:dPt>
            <c:idx val="367"/>
            <c:spPr>
              <a:solidFill>
                <a:srgbClr val="AEABAB"/>
              </a:solidFill>
            </c:spPr>
          </c:dPt>
          <c:dPt>
            <c:idx val="368"/>
            <c:spPr>
              <a:solidFill>
                <a:srgbClr val="AEABAB"/>
              </a:solidFill>
            </c:spPr>
          </c:dPt>
          <c:dPt>
            <c:idx val="369"/>
            <c:spPr>
              <a:solidFill>
                <a:srgbClr val="AEABAB"/>
              </a:solidFill>
            </c:spPr>
          </c:dPt>
          <c:dPt>
            <c:idx val="370"/>
            <c:spPr>
              <a:solidFill>
                <a:srgbClr val="AEABAB"/>
              </a:solidFill>
            </c:spPr>
          </c:dPt>
          <c:dPt>
            <c:idx val="371"/>
            <c:spPr>
              <a:solidFill>
                <a:srgbClr val="AEABAB"/>
              </a:solidFill>
            </c:spPr>
          </c:dPt>
          <c:dPt>
            <c:idx val="372"/>
            <c:spPr>
              <a:solidFill>
                <a:srgbClr val="AEABAB"/>
              </a:solidFill>
            </c:spPr>
          </c:dPt>
          <c:dPt>
            <c:idx val="373"/>
            <c:spPr>
              <a:solidFill>
                <a:srgbClr val="AEABAB"/>
              </a:solidFill>
            </c:spPr>
          </c:dPt>
          <c:dPt>
            <c:idx val="374"/>
            <c:spPr>
              <a:solidFill>
                <a:srgbClr val="AEABAB"/>
              </a:solidFill>
            </c:spPr>
          </c:dPt>
          <c:dPt>
            <c:idx val="375"/>
            <c:spPr>
              <a:solidFill>
                <a:srgbClr val="AEABAB"/>
              </a:solidFill>
            </c:spPr>
          </c:dPt>
          <c:dPt>
            <c:idx val="376"/>
            <c:spPr>
              <a:solidFill>
                <a:srgbClr val="AEABAB"/>
              </a:solidFill>
            </c:spPr>
          </c:dPt>
          <c:dPt>
            <c:idx val="377"/>
            <c:spPr>
              <a:solidFill>
                <a:srgbClr val="AEABAB"/>
              </a:solidFill>
            </c:spPr>
          </c:dPt>
          <c:dPt>
            <c:idx val="378"/>
            <c:spPr>
              <a:solidFill>
                <a:srgbClr val="AEABAB"/>
              </a:solidFill>
            </c:spPr>
          </c:dPt>
          <c:dPt>
            <c:idx val="379"/>
            <c:spPr>
              <a:solidFill>
                <a:srgbClr val="AEABAB"/>
              </a:solidFill>
            </c:spPr>
          </c:dPt>
          <c:dPt>
            <c:idx val="380"/>
            <c:spPr>
              <a:solidFill>
                <a:srgbClr val="AEABAB"/>
              </a:solidFill>
            </c:spPr>
          </c:dPt>
          <c:dPt>
            <c:idx val="381"/>
            <c:spPr>
              <a:solidFill>
                <a:srgbClr val="AEABAB"/>
              </a:solidFill>
            </c:spPr>
          </c:dPt>
          <c:dPt>
            <c:idx val="382"/>
            <c:spPr>
              <a:solidFill>
                <a:srgbClr val="AEABAB"/>
              </a:solidFill>
            </c:spPr>
          </c:dPt>
          <c:dPt>
            <c:idx val="383"/>
            <c:spPr>
              <a:solidFill>
                <a:srgbClr val="AEABAB"/>
              </a:solidFill>
            </c:spPr>
          </c:dPt>
          <c:dPt>
            <c:idx val="384"/>
            <c:spPr>
              <a:solidFill>
                <a:srgbClr val="AEABAB"/>
              </a:solidFill>
            </c:spPr>
          </c:dPt>
          <c:dPt>
            <c:idx val="385"/>
            <c:spPr>
              <a:solidFill>
                <a:srgbClr val="AEABAB"/>
              </a:solidFill>
            </c:spPr>
          </c:dPt>
          <c:dPt>
            <c:idx val="386"/>
            <c:spPr>
              <a:solidFill>
                <a:srgbClr val="AEABAB"/>
              </a:solidFill>
            </c:spPr>
          </c:dPt>
          <c:dPt>
            <c:idx val="387"/>
            <c:spPr>
              <a:solidFill>
                <a:srgbClr val="AEABAB"/>
              </a:solidFill>
            </c:spPr>
          </c:dPt>
          <c:dPt>
            <c:idx val="388"/>
            <c:spPr>
              <a:solidFill>
                <a:srgbClr val="AEABAB"/>
              </a:solidFill>
            </c:spPr>
          </c:dPt>
          <c:dPt>
            <c:idx val="389"/>
            <c:spPr>
              <a:solidFill>
                <a:srgbClr val="AEABAB"/>
              </a:solidFill>
            </c:spPr>
          </c:dPt>
          <c:dPt>
            <c:idx val="390"/>
            <c:spPr>
              <a:solidFill>
                <a:srgbClr val="AEABAB"/>
              </a:solidFill>
            </c:spPr>
          </c:dPt>
          <c:dPt>
            <c:idx val="391"/>
            <c:spPr>
              <a:solidFill>
                <a:srgbClr val="AEABAB"/>
              </a:solidFill>
            </c:spPr>
          </c:dPt>
          <c:dPt>
            <c:idx val="392"/>
            <c:spPr>
              <a:solidFill>
                <a:srgbClr val="AEABAB"/>
              </a:solidFill>
            </c:spPr>
          </c:dPt>
          <c:dPt>
            <c:idx val="393"/>
            <c:spPr>
              <a:solidFill>
                <a:srgbClr val="AEABAB"/>
              </a:solidFill>
            </c:spPr>
          </c:dPt>
          <c:dPt>
            <c:idx val="394"/>
            <c:spPr>
              <a:solidFill>
                <a:srgbClr val="AEABAB"/>
              </a:solidFill>
            </c:spPr>
          </c:dPt>
          <c:dPt>
            <c:idx val="395"/>
            <c:spPr>
              <a:solidFill>
                <a:srgbClr val="AEABAB"/>
              </a:solidFill>
            </c:spPr>
          </c:dPt>
          <c:dPt>
            <c:idx val="396"/>
            <c:spPr>
              <a:solidFill>
                <a:srgbClr val="AEABAB"/>
              </a:solidFill>
            </c:spPr>
          </c:dPt>
          <c:dPt>
            <c:idx val="397"/>
            <c:spPr>
              <a:solidFill>
                <a:srgbClr val="AEABAB"/>
              </a:solidFill>
            </c:spPr>
          </c:dPt>
          <c:dPt>
            <c:idx val="398"/>
            <c:spPr>
              <a:solidFill>
                <a:srgbClr val="AEABAB"/>
              </a:solidFill>
            </c:spPr>
          </c:dPt>
          <c:dPt>
            <c:idx val="399"/>
            <c:spPr>
              <a:solidFill>
                <a:srgbClr val="AEABAB"/>
              </a:solidFill>
            </c:spPr>
          </c:dPt>
          <c:dPt>
            <c:idx val="400"/>
            <c:spPr>
              <a:solidFill>
                <a:srgbClr val="AEABAB"/>
              </a:solidFill>
            </c:spPr>
          </c:dPt>
          <c:dPt>
            <c:idx val="401"/>
            <c:spPr>
              <a:solidFill>
                <a:srgbClr val="AEABAB"/>
              </a:solidFill>
            </c:spPr>
          </c:dPt>
          <c:dPt>
            <c:idx val="402"/>
            <c:spPr>
              <a:solidFill>
                <a:srgbClr val="AEABAB"/>
              </a:solidFill>
            </c:spPr>
          </c:dPt>
          <c:dPt>
            <c:idx val="403"/>
            <c:spPr>
              <a:solidFill>
                <a:srgbClr val="AEABAB"/>
              </a:solidFill>
            </c:spPr>
          </c:dPt>
          <c:dPt>
            <c:idx val="404"/>
            <c:spPr>
              <a:solidFill>
                <a:srgbClr val="AEABAB"/>
              </a:solidFill>
            </c:spPr>
          </c:dPt>
          <c:dPt>
            <c:idx val="405"/>
            <c:spPr>
              <a:solidFill>
                <a:srgbClr val="AEABAB"/>
              </a:solidFill>
            </c:spPr>
          </c:dPt>
          <c:dPt>
            <c:idx val="406"/>
            <c:spPr>
              <a:solidFill>
                <a:srgbClr val="AEABAB"/>
              </a:solidFill>
            </c:spPr>
          </c:dPt>
          <c:dPt>
            <c:idx val="407"/>
            <c:spPr>
              <a:solidFill>
                <a:srgbClr val="AEABAB"/>
              </a:solidFill>
            </c:spPr>
          </c:dPt>
          <c:dPt>
            <c:idx val="408"/>
            <c:spPr>
              <a:solidFill>
                <a:srgbClr val="AEABAB"/>
              </a:solidFill>
            </c:spPr>
          </c:dPt>
          <c:dPt>
            <c:idx val="409"/>
            <c:spPr>
              <a:solidFill>
                <a:srgbClr val="AEABAB"/>
              </a:solidFill>
            </c:spPr>
          </c:dPt>
          <c:dPt>
            <c:idx val="410"/>
            <c:spPr>
              <a:solidFill>
                <a:srgbClr val="AEABAB"/>
              </a:solidFill>
            </c:spPr>
          </c:dPt>
          <c:dPt>
            <c:idx val="411"/>
            <c:spPr>
              <a:solidFill>
                <a:srgbClr val="AEABAB"/>
              </a:solidFill>
            </c:spPr>
          </c:dPt>
          <c:dPt>
            <c:idx val="412"/>
            <c:spPr>
              <a:solidFill>
                <a:srgbClr val="AEABAB"/>
              </a:solidFill>
            </c:spPr>
          </c:dPt>
          <c:dPt>
            <c:idx val="413"/>
            <c:spPr>
              <a:solidFill>
                <a:srgbClr val="AEABAB"/>
              </a:solidFill>
            </c:spPr>
          </c:dPt>
          <c:dPt>
            <c:idx val="414"/>
            <c:spPr>
              <a:solidFill>
                <a:srgbClr val="AEABAB"/>
              </a:solidFill>
            </c:spPr>
          </c:dPt>
          <c:dPt>
            <c:idx val="415"/>
            <c:spPr>
              <a:solidFill>
                <a:srgbClr val="AEABAB"/>
              </a:solidFill>
            </c:spPr>
          </c:dPt>
          <c:dPt>
            <c:idx val="416"/>
            <c:spPr>
              <a:solidFill>
                <a:srgbClr val="AEABAB"/>
              </a:solidFill>
            </c:spPr>
          </c:dPt>
          <c:dPt>
            <c:idx val="417"/>
            <c:spPr>
              <a:solidFill>
                <a:srgbClr val="AEABAB"/>
              </a:solidFill>
            </c:spPr>
          </c:dPt>
          <c:dPt>
            <c:idx val="418"/>
            <c:spPr>
              <a:solidFill>
                <a:srgbClr val="AEABAB"/>
              </a:solidFill>
            </c:spPr>
          </c:dPt>
          <c:dPt>
            <c:idx val="419"/>
            <c:spPr>
              <a:solidFill>
                <a:srgbClr val="AEABAB"/>
              </a:solidFill>
            </c:spPr>
          </c:dPt>
          <c:dPt>
            <c:idx val="420"/>
            <c:spPr>
              <a:solidFill>
                <a:srgbClr val="AEABAB"/>
              </a:solidFill>
            </c:spPr>
          </c:dPt>
          <c:dPt>
            <c:idx val="421"/>
            <c:spPr>
              <a:solidFill>
                <a:srgbClr val="AEABAB"/>
              </a:solidFill>
            </c:spPr>
          </c:dPt>
          <c:dPt>
            <c:idx val="422"/>
            <c:spPr>
              <a:solidFill>
                <a:srgbClr val="AEABAB"/>
              </a:solidFill>
            </c:spPr>
          </c:dPt>
          <c:dPt>
            <c:idx val="423"/>
            <c:spPr>
              <a:solidFill>
                <a:srgbClr val="AEABAB"/>
              </a:solidFill>
            </c:spPr>
          </c:dPt>
          <c:dPt>
            <c:idx val="424"/>
            <c:spPr>
              <a:solidFill>
                <a:srgbClr val="AEABAB"/>
              </a:solidFill>
            </c:spPr>
          </c:dPt>
          <c:dPt>
            <c:idx val="425"/>
            <c:spPr>
              <a:solidFill>
                <a:srgbClr val="AEABAB"/>
              </a:solidFill>
            </c:spPr>
          </c:dPt>
          <c:dPt>
            <c:idx val="426"/>
            <c:spPr>
              <a:solidFill>
                <a:srgbClr val="AEABAB"/>
              </a:solidFill>
            </c:spPr>
          </c:dPt>
          <c:dPt>
            <c:idx val="427"/>
            <c:spPr>
              <a:solidFill>
                <a:srgbClr val="AEABAB"/>
              </a:solidFill>
            </c:spPr>
          </c:dPt>
          <c:dPt>
            <c:idx val="428"/>
            <c:spPr>
              <a:solidFill>
                <a:srgbClr val="AEABAB"/>
              </a:solidFill>
            </c:spPr>
          </c:dPt>
          <c:dPt>
            <c:idx val="429"/>
            <c:spPr>
              <a:solidFill>
                <a:srgbClr val="AEABAB"/>
              </a:solidFill>
            </c:spPr>
          </c:dPt>
          <c:dPt>
            <c:idx val="430"/>
            <c:spPr>
              <a:solidFill>
                <a:srgbClr val="AEABAB"/>
              </a:solidFill>
            </c:spPr>
          </c:dPt>
          <c:dPt>
            <c:idx val="431"/>
            <c:spPr>
              <a:solidFill>
                <a:srgbClr val="AEABAB"/>
              </a:solidFill>
            </c:spPr>
          </c:dPt>
          <c:dPt>
            <c:idx val="432"/>
            <c:spPr>
              <a:solidFill>
                <a:srgbClr val="AEABAB"/>
              </a:solidFill>
            </c:spPr>
          </c:dPt>
          <c:dPt>
            <c:idx val="433"/>
            <c:spPr>
              <a:solidFill>
                <a:srgbClr val="AEABAB"/>
              </a:solidFill>
            </c:spPr>
          </c:dPt>
          <c:dPt>
            <c:idx val="434"/>
            <c:spPr>
              <a:solidFill>
                <a:srgbClr val="AEABAB"/>
              </a:solidFill>
            </c:spPr>
          </c:dPt>
          <c:dPt>
            <c:idx val="435"/>
            <c:spPr>
              <a:solidFill>
                <a:srgbClr val="AEABAB"/>
              </a:solidFill>
            </c:spPr>
          </c:dPt>
          <c:dPt>
            <c:idx val="436"/>
            <c:spPr>
              <a:solidFill>
                <a:srgbClr val="AEABAB"/>
              </a:solidFill>
            </c:spPr>
          </c:dPt>
          <c:dPt>
            <c:idx val="437"/>
            <c:spPr>
              <a:solidFill>
                <a:srgbClr val="AEABAB"/>
              </a:solidFill>
            </c:spPr>
          </c:dPt>
          <c:dPt>
            <c:idx val="438"/>
            <c:spPr>
              <a:solidFill>
                <a:srgbClr val="AEABAB"/>
              </a:solidFill>
            </c:spPr>
          </c:dPt>
          <c:dPt>
            <c:idx val="439"/>
            <c:spPr>
              <a:solidFill>
                <a:srgbClr val="AEABAB"/>
              </a:solidFill>
            </c:spPr>
          </c:dPt>
          <c:dPt>
            <c:idx val="440"/>
            <c:spPr>
              <a:solidFill>
                <a:srgbClr val="AEABAB"/>
              </a:solidFill>
            </c:spPr>
          </c:dPt>
          <c:dPt>
            <c:idx val="441"/>
            <c:spPr>
              <a:solidFill>
                <a:srgbClr val="AEABAB"/>
              </a:solidFill>
            </c:spPr>
          </c:dPt>
          <c:dPt>
            <c:idx val="442"/>
            <c:spPr>
              <a:solidFill>
                <a:srgbClr val="AEABAB"/>
              </a:solidFill>
            </c:spPr>
          </c:dPt>
          <c:dPt>
            <c:idx val="443"/>
            <c:spPr>
              <a:solidFill>
                <a:srgbClr val="AEABAB"/>
              </a:solidFill>
            </c:spPr>
          </c:dPt>
          <c:dPt>
            <c:idx val="444"/>
            <c:spPr>
              <a:solidFill>
                <a:srgbClr val="AEABAB"/>
              </a:solidFill>
            </c:spPr>
          </c:dPt>
          <c:dPt>
            <c:idx val="445"/>
            <c:spPr>
              <a:solidFill>
                <a:srgbClr val="AEABAB"/>
              </a:solidFill>
            </c:spPr>
          </c:dPt>
          <c:dPt>
            <c:idx val="446"/>
            <c:spPr>
              <a:solidFill>
                <a:srgbClr val="AEABAB"/>
              </a:solidFill>
            </c:spPr>
          </c:dPt>
          <c:dPt>
            <c:idx val="447"/>
            <c:spPr>
              <a:solidFill>
                <a:srgbClr val="AEABAB"/>
              </a:solidFill>
            </c:spPr>
          </c:dPt>
          <c:dPt>
            <c:idx val="448"/>
            <c:spPr>
              <a:solidFill>
                <a:srgbClr val="AEABAB"/>
              </a:solidFill>
            </c:spPr>
          </c:dPt>
          <c:dPt>
            <c:idx val="449"/>
            <c:spPr>
              <a:solidFill>
                <a:srgbClr val="AEABAB"/>
              </a:solidFill>
            </c:spPr>
          </c:dPt>
          <c:dPt>
            <c:idx val="450"/>
            <c:spPr>
              <a:solidFill>
                <a:srgbClr val="AEABAB"/>
              </a:solidFill>
            </c:spPr>
          </c:dPt>
          <c:dPt>
            <c:idx val="451"/>
            <c:spPr>
              <a:solidFill>
                <a:srgbClr val="AEABAB"/>
              </a:solidFill>
            </c:spPr>
          </c:dPt>
          <c:dPt>
            <c:idx val="452"/>
            <c:spPr>
              <a:solidFill>
                <a:srgbClr val="AEABAB"/>
              </a:solidFill>
            </c:spPr>
          </c:dPt>
          <c:dPt>
            <c:idx val="453"/>
            <c:spPr>
              <a:solidFill>
                <a:srgbClr val="AEABAB"/>
              </a:solidFill>
            </c:spPr>
          </c:dPt>
          <c:dPt>
            <c:idx val="454"/>
            <c:spPr>
              <a:solidFill>
                <a:srgbClr val="AEABAB"/>
              </a:solidFill>
            </c:spPr>
          </c:dPt>
          <c:dPt>
            <c:idx val="455"/>
            <c:spPr>
              <a:solidFill>
                <a:srgbClr val="AEABAB"/>
              </a:solidFill>
            </c:spPr>
          </c:dPt>
          <c:dPt>
            <c:idx val="456"/>
            <c:spPr>
              <a:solidFill>
                <a:srgbClr val="AEABAB"/>
              </a:solidFill>
            </c:spPr>
          </c:dPt>
          <c:dPt>
            <c:idx val="457"/>
            <c:spPr>
              <a:solidFill>
                <a:srgbClr val="AEABAB"/>
              </a:solidFill>
            </c:spPr>
          </c:dPt>
          <c:dPt>
            <c:idx val="458"/>
            <c:spPr>
              <a:solidFill>
                <a:srgbClr val="AEABAB"/>
              </a:solidFill>
            </c:spPr>
          </c:dPt>
          <c:dPt>
            <c:idx val="459"/>
            <c:spPr>
              <a:solidFill>
                <a:srgbClr val="AEABAB"/>
              </a:solidFill>
            </c:spPr>
          </c:dPt>
          <c:dPt>
            <c:idx val="460"/>
            <c:spPr>
              <a:solidFill>
                <a:srgbClr val="AEABAB"/>
              </a:solidFill>
            </c:spPr>
          </c:dPt>
          <c:dPt>
            <c:idx val="461"/>
            <c:spPr>
              <a:solidFill>
                <a:srgbClr val="AEABAB"/>
              </a:solidFill>
            </c:spPr>
          </c:dPt>
          <c:dPt>
            <c:idx val="462"/>
            <c:spPr>
              <a:solidFill>
                <a:srgbClr val="AEABAB"/>
              </a:solidFill>
            </c:spPr>
          </c:dPt>
          <c:dPt>
            <c:idx val="463"/>
            <c:spPr>
              <a:solidFill>
                <a:srgbClr val="AEABAB"/>
              </a:solidFill>
            </c:spPr>
          </c:dPt>
          <c:dPt>
            <c:idx val="464"/>
            <c:spPr>
              <a:solidFill>
                <a:srgbClr val="AEABAB"/>
              </a:solidFill>
            </c:spPr>
          </c:dPt>
          <c:dPt>
            <c:idx val="465"/>
            <c:spPr>
              <a:solidFill>
                <a:srgbClr val="AEABAB"/>
              </a:solidFill>
            </c:spPr>
          </c:dPt>
          <c:dPt>
            <c:idx val="466"/>
            <c:spPr>
              <a:solidFill>
                <a:srgbClr val="AEABAB"/>
              </a:solidFill>
            </c:spPr>
          </c:dPt>
          <c:dPt>
            <c:idx val="467"/>
            <c:spPr>
              <a:solidFill>
                <a:srgbClr val="AEABAB"/>
              </a:solidFill>
            </c:spPr>
          </c:dPt>
          <c:dPt>
            <c:idx val="468"/>
            <c:spPr>
              <a:solidFill>
                <a:srgbClr val="AEABAB"/>
              </a:solidFill>
            </c:spPr>
          </c:dPt>
          <c:dPt>
            <c:idx val="469"/>
            <c:spPr>
              <a:solidFill>
                <a:srgbClr val="AEABAB"/>
              </a:solidFill>
            </c:spPr>
          </c:dPt>
          <c:dPt>
            <c:idx val="470"/>
            <c:spPr>
              <a:solidFill>
                <a:srgbClr val="AEABAB"/>
              </a:solidFill>
            </c:spPr>
          </c:dPt>
          <c:dPt>
            <c:idx val="471"/>
            <c:spPr>
              <a:solidFill>
                <a:srgbClr val="AEABAB"/>
              </a:solidFill>
            </c:spPr>
          </c:dPt>
          <c:dPt>
            <c:idx val="472"/>
            <c:spPr>
              <a:solidFill>
                <a:srgbClr val="AEABAB"/>
              </a:solidFill>
            </c:spPr>
          </c:dPt>
          <c:dPt>
            <c:idx val="473"/>
            <c:spPr>
              <a:solidFill>
                <a:srgbClr val="AEABAB"/>
              </a:solidFill>
            </c:spPr>
          </c:dPt>
          <c:dPt>
            <c:idx val="474"/>
            <c:spPr>
              <a:solidFill>
                <a:srgbClr val="AEABAB"/>
              </a:solidFill>
            </c:spPr>
          </c:dPt>
          <c:dPt>
            <c:idx val="475"/>
            <c:spPr>
              <a:solidFill>
                <a:srgbClr val="AEABAB"/>
              </a:solidFill>
            </c:spPr>
          </c:dPt>
          <c:dPt>
            <c:idx val="476"/>
            <c:spPr>
              <a:solidFill>
                <a:srgbClr val="AEABAB"/>
              </a:solidFill>
            </c:spPr>
          </c:dPt>
          <c:dPt>
            <c:idx val="477"/>
            <c:spPr>
              <a:solidFill>
                <a:srgbClr val="AEABAB"/>
              </a:solidFill>
            </c:spPr>
          </c:dPt>
          <c:dPt>
            <c:idx val="478"/>
            <c:spPr>
              <a:solidFill>
                <a:srgbClr val="AEABAB"/>
              </a:solidFill>
            </c:spPr>
          </c:dPt>
          <c:dPt>
            <c:idx val="479"/>
            <c:spPr>
              <a:solidFill>
                <a:srgbClr val="AEABAB"/>
              </a:solidFill>
            </c:spPr>
          </c:dPt>
          <c:dPt>
            <c:idx val="480"/>
            <c:spPr>
              <a:solidFill>
                <a:srgbClr val="AEABAB"/>
              </a:solidFill>
            </c:spPr>
          </c:dPt>
          <c:dPt>
            <c:idx val="481"/>
            <c:spPr>
              <a:solidFill>
                <a:srgbClr val="AEABAB"/>
              </a:solidFill>
            </c:spPr>
          </c:dPt>
          <c:dPt>
            <c:idx val="482"/>
            <c:spPr>
              <a:solidFill>
                <a:srgbClr val="AEABAB"/>
              </a:solidFill>
            </c:spPr>
          </c:dPt>
          <c:dPt>
            <c:idx val="483"/>
            <c:spPr>
              <a:solidFill>
                <a:srgbClr val="AEABAB"/>
              </a:solidFill>
            </c:spPr>
          </c:dPt>
          <c:cat>
            <c:strRef>
              <c:f>Sheet1!$A$2:$A$485</c:f>
              <c:strCache>
                <c:ptCount val="484"/>
                <c:pt idx="0">
                  <c:v>Private Lab</c:v>
                </c:pt>
                <c:pt idx="1">
                  <c:v>Private Lab</c:v>
                </c:pt>
                <c:pt idx="2">
                  <c:v>Private Lab</c:v>
                </c:pt>
                <c:pt idx="3">
                  <c:v>Caprice Des</c:v>
                </c:pt>
                <c:pt idx="4">
                  <c:v>Private Lab</c:v>
                </c:pt>
                <c:pt idx="5">
                  <c:v>Private Lab</c:v>
                </c:pt>
                <c:pt idx="6">
                  <c:v>Soignon</c:v>
                </c:pt>
                <c:pt idx="7">
                  <c:v>Private Lab</c:v>
                </c:pt>
                <c:pt idx="8">
                  <c:v>President</c:v>
                </c:pt>
                <c:pt idx="9">
                  <c:v>Private Lab</c:v>
                </c:pt>
                <c:pt idx="10">
                  <c:v>Coeur De Li</c:v>
                </c:pt>
                <c:pt idx="11">
                  <c:v>Mini Babybe</c:v>
                </c:pt>
                <c:pt idx="12">
                  <c:v>Caprice Des</c:v>
                </c:pt>
                <c:pt idx="13">
                  <c:v>President</c:v>
                </c:pt>
                <c:pt idx="14">
                  <c:v>Galbani</c:v>
                </c:pt>
                <c:pt idx="15">
                  <c:v>Private Lab</c:v>
                </c:pt>
                <c:pt idx="16">
                  <c:v>Private Lab</c:v>
                </c:pt>
                <c:pt idx="17">
                  <c:v>La Vache Qu</c:v>
                </c:pt>
                <c:pt idx="18">
                  <c:v>Le Rustique</c:v>
                </c:pt>
                <c:pt idx="19">
                  <c:v>Mini Babybe</c:v>
                </c:pt>
                <c:pt idx="20">
                  <c:v>St Moret</c:v>
                </c:pt>
                <c:pt idx="21">
                  <c:v>St Moret</c:v>
                </c:pt>
                <c:pt idx="22">
                  <c:v>Soignon</c:v>
                </c:pt>
                <c:pt idx="23">
                  <c:v>Private Lab</c:v>
                </c:pt>
                <c:pt idx="24">
                  <c:v>Salakis</c:v>
                </c:pt>
                <c:pt idx="25">
                  <c:v>Private Lab</c:v>
                </c:pt>
                <c:pt idx="26">
                  <c:v>Private Lab</c:v>
                </c:pt>
                <c:pt idx="27">
                  <c:v>Private Lab</c:v>
                </c:pt>
                <c:pt idx="28">
                  <c:v>Private Lab</c:v>
                </c:pt>
                <c:pt idx="29">
                  <c:v>La Vache Qu</c:v>
                </c:pt>
                <c:pt idx="30">
                  <c:v>President</c:v>
                </c:pt>
                <c:pt idx="31">
                  <c:v>Tartare</c:v>
                </c:pt>
                <c:pt idx="32">
                  <c:v>St Moret</c:v>
                </c:pt>
                <c:pt idx="33">
                  <c:v>St Moret</c:v>
                </c:pt>
                <c:pt idx="34">
                  <c:v>Private Lab</c:v>
                </c:pt>
                <c:pt idx="35">
                  <c:v>Kiri</c:v>
                </c:pt>
                <c:pt idx="36">
                  <c:v>Private Lab</c:v>
                </c:pt>
                <c:pt idx="37">
                  <c:v>Private Lab</c:v>
                </c:pt>
                <c:pt idx="38">
                  <c:v>Private Lab</c:v>
                </c:pt>
                <c:pt idx="39">
                  <c:v>Paysan Bret</c:v>
                </c:pt>
                <c:pt idx="40">
                  <c:v>Private Lab</c:v>
                </c:pt>
                <c:pt idx="41">
                  <c:v>La Vache Qu</c:v>
                </c:pt>
                <c:pt idx="42">
                  <c:v>Galbani</c:v>
                </c:pt>
                <c:pt idx="43">
                  <c:v>Private Lab</c:v>
                </c:pt>
                <c:pt idx="44">
                  <c:v>Private Lab</c:v>
                </c:pt>
                <c:pt idx="45">
                  <c:v>Private Lab</c:v>
                </c:pt>
                <c:pt idx="46">
                  <c:v>Coeur De Li</c:v>
                </c:pt>
                <c:pt idx="47">
                  <c:v>Private Lab</c:v>
                </c:pt>
                <c:pt idx="48">
                  <c:v>Private Lab</c:v>
                </c:pt>
                <c:pt idx="49">
                  <c:v>Private Lab</c:v>
                </c:pt>
                <c:pt idx="50">
                  <c:v>Istara</c:v>
                </c:pt>
                <c:pt idx="51">
                  <c:v>Kiri</c:v>
                </c:pt>
                <c:pt idx="52">
                  <c:v>Galbani</c:v>
                </c:pt>
                <c:pt idx="53">
                  <c:v>Private Lab</c:v>
                </c:pt>
                <c:pt idx="54">
                  <c:v>Carre Frais</c:v>
                </c:pt>
                <c:pt idx="55">
                  <c:v>All Others</c:v>
                </c:pt>
                <c:pt idx="56">
                  <c:v>Philadelphi</c:v>
                </c:pt>
                <c:pt idx="57">
                  <c:v>Boursin</c:v>
                </c:pt>
                <c:pt idx="58">
                  <c:v>Carre Frais</c:v>
                </c:pt>
                <c:pt idx="59">
                  <c:v>Private Lab</c:v>
                </c:pt>
                <c:pt idx="60">
                  <c:v>Boursin</c:v>
                </c:pt>
                <c:pt idx="61">
                  <c:v>Galbani</c:v>
                </c:pt>
                <c:pt idx="62">
                  <c:v>Private Lab</c:v>
                </c:pt>
                <c:pt idx="63">
                  <c:v>Paysan Bret</c:v>
                </c:pt>
                <c:pt idx="64">
                  <c:v>Lou Perac</c:v>
                </c:pt>
                <c:pt idx="65">
                  <c:v>Galbani</c:v>
                </c:pt>
                <c:pt idx="66">
                  <c:v>Kiri</c:v>
                </c:pt>
                <c:pt idx="67">
                  <c:v>Private Lab</c:v>
                </c:pt>
                <c:pt idx="68">
                  <c:v>Ficello</c:v>
                </c:pt>
                <c:pt idx="69">
                  <c:v>Soignon</c:v>
                </c:pt>
                <c:pt idx="70">
                  <c:v>Islos</c:v>
                </c:pt>
                <c:pt idx="71">
                  <c:v>Tartare</c:v>
                </c:pt>
                <c:pt idx="72">
                  <c:v>Lepetit</c:v>
                </c:pt>
                <c:pt idx="73">
                  <c:v>Philadelphi</c:v>
                </c:pt>
                <c:pt idx="74">
                  <c:v>Petit Billy</c:v>
                </c:pt>
                <c:pt idx="75">
                  <c:v>Private Lab</c:v>
                </c:pt>
                <c:pt idx="76">
                  <c:v>Galbani</c:v>
                </c:pt>
                <c:pt idx="77">
                  <c:v>Private Lab</c:v>
                </c:pt>
                <c:pt idx="78">
                  <c:v>Private Lab</c:v>
                </c:pt>
                <c:pt idx="79">
                  <c:v>Kiri</c:v>
                </c:pt>
                <c:pt idx="80">
                  <c:v>Private Lab</c:v>
                </c:pt>
                <c:pt idx="81">
                  <c:v>All Others</c:v>
                </c:pt>
                <c:pt idx="82">
                  <c:v>Salakis</c:v>
                </c:pt>
                <c:pt idx="83">
                  <c:v>St Moret</c:v>
                </c:pt>
                <c:pt idx="84">
                  <c:v>Private Lab</c:v>
                </c:pt>
                <c:pt idx="85">
                  <c:v>St Moret</c:v>
                </c:pt>
                <c:pt idx="86">
                  <c:v>Private Lab</c:v>
                </c:pt>
                <c:pt idx="87">
                  <c:v>Boursin</c:v>
                </c:pt>
                <c:pt idx="88">
                  <c:v>Private Lab</c:v>
                </c:pt>
                <c:pt idx="89">
                  <c:v>Kiri</c:v>
                </c:pt>
                <c:pt idx="90">
                  <c:v>Le Rustique</c:v>
                </c:pt>
                <c:pt idx="91">
                  <c:v>Caprice Des</c:v>
                </c:pt>
                <c:pt idx="92">
                  <c:v>Coeur De Li</c:v>
                </c:pt>
                <c:pt idx="93">
                  <c:v>Soignon</c:v>
                </c:pt>
                <c:pt idx="94">
                  <c:v>Private Lab</c:v>
                </c:pt>
                <c:pt idx="95">
                  <c:v>Coeur De Li</c:v>
                </c:pt>
                <c:pt idx="96">
                  <c:v>Soignon</c:v>
                </c:pt>
                <c:pt idx="97">
                  <c:v>Etorki</c:v>
                </c:pt>
                <c:pt idx="98">
                  <c:v>Ficello</c:v>
                </c:pt>
                <c:pt idx="99">
                  <c:v>President</c:v>
                </c:pt>
                <c:pt idx="100">
                  <c:v>St Moret</c:v>
                </c:pt>
                <c:pt idx="101">
                  <c:v>Private Lab</c:v>
                </c:pt>
                <c:pt idx="102">
                  <c:v>Ficello</c:v>
                </c:pt>
                <c:pt idx="103">
                  <c:v>Private Lab</c:v>
                </c:pt>
                <c:pt idx="104">
                  <c:v>All Others</c:v>
                </c:pt>
                <c:pt idx="105">
                  <c:v>All Others</c:v>
                </c:pt>
                <c:pt idx="106">
                  <c:v>President</c:v>
                </c:pt>
                <c:pt idx="107">
                  <c:v>Boursin</c:v>
                </c:pt>
                <c:pt idx="108">
                  <c:v>President</c:v>
                </c:pt>
                <c:pt idx="109">
                  <c:v>Soignon</c:v>
                </c:pt>
                <c:pt idx="110">
                  <c:v>Private Lab</c:v>
                </c:pt>
                <c:pt idx="111">
                  <c:v>La Vache Qu</c:v>
                </c:pt>
                <c:pt idx="112">
                  <c:v>President</c:v>
                </c:pt>
                <c:pt idx="113">
                  <c:v>President</c:v>
                </c:pt>
                <c:pt idx="114">
                  <c:v>Chavroux</c:v>
                </c:pt>
                <c:pt idx="115">
                  <c:v>Casa Azzurr</c:v>
                </c:pt>
                <c:pt idx="116">
                  <c:v>Private Lab</c:v>
                </c:pt>
                <c:pt idx="117">
                  <c:v>Boursin</c:v>
                </c:pt>
                <c:pt idx="118">
                  <c:v>Private Lab</c:v>
                </c:pt>
                <c:pt idx="119">
                  <c:v>President</c:v>
                </c:pt>
                <c:pt idx="120">
                  <c:v>Private Lab</c:v>
                </c:pt>
                <c:pt idx="121">
                  <c:v>P'Tit Louis</c:v>
                </c:pt>
                <c:pt idx="122">
                  <c:v>Le Brebiou</c:v>
                </c:pt>
                <c:pt idx="123">
                  <c:v>Private Lab</c:v>
                </c:pt>
                <c:pt idx="124">
                  <c:v>All Others</c:v>
                </c:pt>
                <c:pt idx="125">
                  <c:v>Boursin</c:v>
                </c:pt>
                <c:pt idx="126">
                  <c:v>Istara</c:v>
                </c:pt>
                <c:pt idx="127">
                  <c:v>Soignon</c:v>
                </c:pt>
                <c:pt idx="128">
                  <c:v>Tartare</c:v>
                </c:pt>
                <c:pt idx="129">
                  <c:v>Lactalis: A</c:v>
                </c:pt>
                <c:pt idx="130">
                  <c:v>Caprice Des</c:v>
                </c:pt>
                <c:pt idx="131">
                  <c:v>Paysan Bret</c:v>
                </c:pt>
                <c:pt idx="132">
                  <c:v>Lou Perac</c:v>
                </c:pt>
                <c:pt idx="133">
                  <c:v>Private Lab</c:v>
                </c:pt>
                <c:pt idx="134">
                  <c:v>Boursin</c:v>
                </c:pt>
                <c:pt idx="135">
                  <c:v>Paysan Bret</c:v>
                </c:pt>
                <c:pt idx="136">
                  <c:v>Private Lab</c:v>
                </c:pt>
                <c:pt idx="137">
                  <c:v>President</c:v>
                </c:pt>
                <c:pt idx="138">
                  <c:v>Casa Azzurr</c:v>
                </c:pt>
                <c:pt idx="139">
                  <c:v>Private Lab</c:v>
                </c:pt>
                <c:pt idx="140">
                  <c:v>Private Lab</c:v>
                </c:pt>
                <c:pt idx="141">
                  <c:v>Boursin</c:v>
                </c:pt>
                <c:pt idx="142">
                  <c:v>All Others</c:v>
                </c:pt>
                <c:pt idx="143">
                  <c:v>Soignon</c:v>
                </c:pt>
                <c:pt idx="144">
                  <c:v>Private Lab</c:v>
                </c:pt>
                <c:pt idx="145">
                  <c:v>Private Lab</c:v>
                </c:pt>
                <c:pt idx="146">
                  <c:v>President</c:v>
                </c:pt>
                <c:pt idx="147">
                  <c:v>All Others</c:v>
                </c:pt>
                <c:pt idx="148">
                  <c:v>Private Lab</c:v>
                </c:pt>
                <c:pt idx="149">
                  <c:v>Salakis</c:v>
                </c:pt>
                <c:pt idx="150">
                  <c:v>Private Lab</c:v>
                </c:pt>
                <c:pt idx="151">
                  <c:v>Galbani</c:v>
                </c:pt>
                <c:pt idx="152">
                  <c:v>All Others</c:v>
                </c:pt>
                <c:pt idx="153">
                  <c:v>Mini Babybe</c:v>
                </c:pt>
                <c:pt idx="154">
                  <c:v>Private Lab</c:v>
                </c:pt>
                <c:pt idx="155">
                  <c:v>Paysan Bret</c:v>
                </c:pt>
                <c:pt idx="156">
                  <c:v>Private Lab</c:v>
                </c:pt>
                <c:pt idx="157">
                  <c:v>La Vache Qu</c:v>
                </c:pt>
                <c:pt idx="158">
                  <c:v>Casa Azzurr</c:v>
                </c:pt>
                <c:pt idx="159">
                  <c:v>Soignon</c:v>
                </c:pt>
                <c:pt idx="160">
                  <c:v>Private Lab</c:v>
                </c:pt>
                <c:pt idx="161">
                  <c:v>Lou Perac</c:v>
                </c:pt>
                <c:pt idx="162">
                  <c:v>Boursin</c:v>
                </c:pt>
                <c:pt idx="163">
                  <c:v>Chavroux</c:v>
                </c:pt>
                <c:pt idx="164">
                  <c:v>Coeur De Li</c:v>
                </c:pt>
                <c:pt idx="165">
                  <c:v>Carre Frais</c:v>
                </c:pt>
                <c:pt idx="166">
                  <c:v>Lactalis: A</c:v>
                </c:pt>
                <c:pt idx="167">
                  <c:v>Private Lab</c:v>
                </c:pt>
                <c:pt idx="168">
                  <c:v>Private Lab</c:v>
                </c:pt>
                <c:pt idx="169">
                  <c:v>Galbani</c:v>
                </c:pt>
                <c:pt idx="170">
                  <c:v>All Others</c:v>
                </c:pt>
                <c:pt idx="171">
                  <c:v>Salakis</c:v>
                </c:pt>
                <c:pt idx="172">
                  <c:v>President</c:v>
                </c:pt>
                <c:pt idx="173">
                  <c:v>La Vache Qu</c:v>
                </c:pt>
                <c:pt idx="174">
                  <c:v>Tartare</c:v>
                </c:pt>
                <c:pt idx="175">
                  <c:v>Paysan Bret</c:v>
                </c:pt>
                <c:pt idx="176">
                  <c:v>All Others</c:v>
                </c:pt>
                <c:pt idx="177">
                  <c:v>Private Lab</c:v>
                </c:pt>
                <c:pt idx="178">
                  <c:v>Private Lab</c:v>
                </c:pt>
                <c:pt idx="179">
                  <c:v>Coeur De Li</c:v>
                </c:pt>
                <c:pt idx="180">
                  <c:v>All Others</c:v>
                </c:pt>
                <c:pt idx="181">
                  <c:v>All Others</c:v>
                </c:pt>
                <c:pt idx="182">
                  <c:v>Mini Babybe</c:v>
                </c:pt>
                <c:pt idx="183">
                  <c:v>Salakis</c:v>
                </c:pt>
                <c:pt idx="184">
                  <c:v>Paysan Bret</c:v>
                </c:pt>
                <c:pt idx="185">
                  <c:v>All Others</c:v>
                </c:pt>
                <c:pt idx="186">
                  <c:v>Lactalis: A</c:v>
                </c:pt>
                <c:pt idx="187">
                  <c:v>Casa Azzurr</c:v>
                </c:pt>
                <c:pt idx="188">
                  <c:v>Private Lab</c:v>
                </c:pt>
                <c:pt idx="189">
                  <c:v>Kiri</c:v>
                </c:pt>
                <c:pt idx="190">
                  <c:v>Triballat N</c:v>
                </c:pt>
                <c:pt idx="191">
                  <c:v>Soignon</c:v>
                </c:pt>
                <c:pt idx="192">
                  <c:v>Boursin</c:v>
                </c:pt>
                <c:pt idx="193">
                  <c:v>Caprice Des</c:v>
                </c:pt>
                <c:pt idx="194">
                  <c:v>Le Rustique</c:v>
                </c:pt>
                <c:pt idx="195">
                  <c:v>St Moret</c:v>
                </c:pt>
                <c:pt idx="196">
                  <c:v>Savencia: A</c:v>
                </c:pt>
                <c:pt idx="197">
                  <c:v>Kiri</c:v>
                </c:pt>
                <c:pt idx="198">
                  <c:v>Private Lab</c:v>
                </c:pt>
                <c:pt idx="199">
                  <c:v>Casa Azzurr</c:v>
                </c:pt>
                <c:pt idx="200">
                  <c:v>Caprice Des</c:v>
                </c:pt>
                <c:pt idx="201">
                  <c:v>Tartare</c:v>
                </c:pt>
                <c:pt idx="202">
                  <c:v>Casa Azzurr</c:v>
                </c:pt>
                <c:pt idx="203">
                  <c:v>All Others</c:v>
                </c:pt>
                <c:pt idx="204">
                  <c:v>Mini Babybe</c:v>
                </c:pt>
                <c:pt idx="205">
                  <c:v>Paysan Bret</c:v>
                </c:pt>
                <c:pt idx="206">
                  <c:v>Soignon</c:v>
                </c:pt>
                <c:pt idx="207">
                  <c:v>Casa Azzurr</c:v>
                </c:pt>
                <c:pt idx="208">
                  <c:v>Caprice Des</c:v>
                </c:pt>
                <c:pt idx="209">
                  <c:v>Galbani</c:v>
                </c:pt>
                <c:pt idx="210">
                  <c:v>All Others</c:v>
                </c:pt>
                <c:pt idx="211">
                  <c:v>Etorki</c:v>
                </c:pt>
                <c:pt idx="212">
                  <c:v>All Others</c:v>
                </c:pt>
                <c:pt idx="213">
                  <c:v>Tartare</c:v>
                </c:pt>
                <c:pt idx="214">
                  <c:v>Milleret: A</c:v>
                </c:pt>
                <c:pt idx="215">
                  <c:v>Soignon</c:v>
                </c:pt>
                <c:pt idx="216">
                  <c:v>Pave D'Affi</c:v>
                </c:pt>
                <c:pt idx="217">
                  <c:v>All Others</c:v>
                </c:pt>
                <c:pt idx="218">
                  <c:v>Private Lab</c:v>
                </c:pt>
                <c:pt idx="219">
                  <c:v>Corsica</c:v>
                </c:pt>
                <c:pt idx="220">
                  <c:v>Kiri</c:v>
                </c:pt>
                <c:pt idx="221">
                  <c:v>Soignon</c:v>
                </c:pt>
                <c:pt idx="222">
                  <c:v>Boursin</c:v>
                </c:pt>
                <c:pt idx="223">
                  <c:v>Salakis</c:v>
                </c:pt>
                <c:pt idx="224">
                  <c:v>Galbani</c:v>
                </c:pt>
                <c:pt idx="225">
                  <c:v>All Others</c:v>
                </c:pt>
                <c:pt idx="226">
                  <c:v>La Vache Qu</c:v>
                </c:pt>
                <c:pt idx="227">
                  <c:v>All Others</c:v>
                </c:pt>
                <c:pt idx="228">
                  <c:v>All Others</c:v>
                </c:pt>
                <c:pt idx="229">
                  <c:v>Kiri</c:v>
                </c:pt>
                <c:pt idx="230">
                  <c:v>Tartare</c:v>
                </c:pt>
                <c:pt idx="231">
                  <c:v>All Others</c:v>
                </c:pt>
                <c:pt idx="232">
                  <c:v>Salakis</c:v>
                </c:pt>
                <c:pt idx="233">
                  <c:v>Galbani</c:v>
                </c:pt>
                <c:pt idx="234">
                  <c:v>All Others</c:v>
                </c:pt>
                <c:pt idx="235">
                  <c:v>Mini Babybe</c:v>
                </c:pt>
                <c:pt idx="236">
                  <c:v>Mini Babybe</c:v>
                </c:pt>
                <c:pt idx="237">
                  <c:v>Saint Agur</c:v>
                </c:pt>
                <c:pt idx="238">
                  <c:v>Triballat N</c:v>
                </c:pt>
                <c:pt idx="239">
                  <c:v>All Others</c:v>
                </c:pt>
                <c:pt idx="240">
                  <c:v>All Others</c:v>
                </c:pt>
                <c:pt idx="241">
                  <c:v>Casa Azzurr</c:v>
                </c:pt>
                <c:pt idx="242">
                  <c:v>Casa Azzurr</c:v>
                </c:pt>
                <c:pt idx="243">
                  <c:v>All Others</c:v>
                </c:pt>
                <c:pt idx="244">
                  <c:v>All Others</c:v>
                </c:pt>
                <c:pt idx="245">
                  <c:v>Lactalis: A</c:v>
                </c:pt>
                <c:pt idx="246">
                  <c:v>Galbani</c:v>
                </c:pt>
                <c:pt idx="247">
                  <c:v>All Others</c:v>
                </c:pt>
                <c:pt idx="248">
                  <c:v>Islos</c:v>
                </c:pt>
                <c:pt idx="249">
                  <c:v>Kiri</c:v>
                </c:pt>
                <c:pt idx="250">
                  <c:v>Istara</c:v>
                </c:pt>
                <c:pt idx="251">
                  <c:v>Lactalis: A</c:v>
                </c:pt>
                <c:pt idx="252">
                  <c:v>Paysan Bret</c:v>
                </c:pt>
                <c:pt idx="253">
                  <c:v>Milleret: A</c:v>
                </c:pt>
                <c:pt idx="254">
                  <c:v>Mini Babybe</c:v>
                </c:pt>
                <c:pt idx="255">
                  <c:v>All Others</c:v>
                </c:pt>
                <c:pt idx="256">
                  <c:v>All Others</c:v>
                </c:pt>
                <c:pt idx="257">
                  <c:v>Private Lab</c:v>
                </c:pt>
                <c:pt idx="258">
                  <c:v>Etoile Du Q</c:v>
                </c:pt>
                <c:pt idx="259">
                  <c:v>Boursin</c:v>
                </c:pt>
                <c:pt idx="260">
                  <c:v>Paysan Bret</c:v>
                </c:pt>
                <c:pt idx="261">
                  <c:v>All Others</c:v>
                </c:pt>
                <c:pt idx="262">
                  <c:v>Galbani</c:v>
                </c:pt>
                <c:pt idx="263">
                  <c:v>All Others</c:v>
                </c:pt>
                <c:pt idx="264">
                  <c:v>All Others</c:v>
                </c:pt>
                <c:pt idx="265">
                  <c:v>All Others</c:v>
                </c:pt>
                <c:pt idx="266">
                  <c:v>Galbani</c:v>
                </c:pt>
                <c:pt idx="267">
                  <c:v>Soignon</c:v>
                </c:pt>
                <c:pt idx="268">
                  <c:v>Soignon</c:v>
                </c:pt>
                <c:pt idx="269">
                  <c:v>All Others</c:v>
                </c:pt>
                <c:pt idx="270">
                  <c:v>Triballat N</c:v>
                </c:pt>
                <c:pt idx="271">
                  <c:v>All Others</c:v>
                </c:pt>
                <c:pt idx="272">
                  <c:v>Paysan Bret</c:v>
                </c:pt>
                <c:pt idx="273">
                  <c:v>All Others</c:v>
                </c:pt>
                <c:pt idx="274">
                  <c:v>Boursin</c:v>
                </c:pt>
                <c:pt idx="275">
                  <c:v>All Others</c:v>
                </c:pt>
                <c:pt idx="276">
                  <c:v>All Others</c:v>
                </c:pt>
                <c:pt idx="277">
                  <c:v>Le Rustique</c:v>
                </c:pt>
                <c:pt idx="278">
                  <c:v>All Others</c:v>
                </c:pt>
                <c:pt idx="279">
                  <c:v>Soignon</c:v>
                </c:pt>
                <c:pt idx="280">
                  <c:v>Islos</c:v>
                </c:pt>
                <c:pt idx="281">
                  <c:v>All Others</c:v>
                </c:pt>
                <c:pt idx="282">
                  <c:v>Carre Frais</c:v>
                </c:pt>
                <c:pt idx="283">
                  <c:v>Triballat N</c:v>
                </c:pt>
                <c:pt idx="284">
                  <c:v>All Others</c:v>
                </c:pt>
                <c:pt idx="285">
                  <c:v>All Others</c:v>
                </c:pt>
                <c:pt idx="286">
                  <c:v>All Others</c:v>
                </c:pt>
                <c:pt idx="287">
                  <c:v>All Others</c:v>
                </c:pt>
                <c:pt idx="288">
                  <c:v>All Others</c:v>
                </c:pt>
                <c:pt idx="289">
                  <c:v>All Others</c:v>
                </c:pt>
                <c:pt idx="290">
                  <c:v>All Others</c:v>
                </c:pt>
                <c:pt idx="291">
                  <c:v>Le Brebiou</c:v>
                </c:pt>
                <c:pt idx="292">
                  <c:v>All Others</c:v>
                </c:pt>
                <c:pt idx="293">
                  <c:v>All Others</c:v>
                </c:pt>
                <c:pt idx="294">
                  <c:v>Boursin</c:v>
                </c:pt>
                <c:pt idx="295">
                  <c:v>All Others</c:v>
                </c:pt>
                <c:pt idx="296">
                  <c:v>All Others</c:v>
                </c:pt>
                <c:pt idx="297">
                  <c:v>Caprice Des</c:v>
                </c:pt>
                <c:pt idx="298">
                  <c:v>All Others</c:v>
                </c:pt>
                <c:pt idx="299">
                  <c:v>All Others</c:v>
                </c:pt>
                <c:pt idx="300">
                  <c:v>P'Tit Louis</c:v>
                </c:pt>
                <c:pt idx="301">
                  <c:v>Boursin</c:v>
                </c:pt>
                <c:pt idx="302">
                  <c:v>All Others</c:v>
                </c:pt>
                <c:pt idx="303">
                  <c:v>All Others</c:v>
                </c:pt>
                <c:pt idx="304">
                  <c:v>Istara</c:v>
                </c:pt>
                <c:pt idx="305">
                  <c:v>Mini Babybe</c:v>
                </c:pt>
                <c:pt idx="306">
                  <c:v>Private Lab</c:v>
                </c:pt>
                <c:pt idx="307">
                  <c:v>Lactalis: A</c:v>
                </c:pt>
                <c:pt idx="308">
                  <c:v>All Others</c:v>
                </c:pt>
                <c:pt idx="309">
                  <c:v>Mini Babybe</c:v>
                </c:pt>
                <c:pt idx="310">
                  <c:v>All Others</c:v>
                </c:pt>
                <c:pt idx="311">
                  <c:v>All Others</c:v>
                </c:pt>
                <c:pt idx="312">
                  <c:v>Casa Azzurr</c:v>
                </c:pt>
                <c:pt idx="313">
                  <c:v>All Others</c:v>
                </c:pt>
                <c:pt idx="314">
                  <c:v>St Moret</c:v>
                </c:pt>
                <c:pt idx="315">
                  <c:v>All Others</c:v>
                </c:pt>
                <c:pt idx="316">
                  <c:v>Chavroux</c:v>
                </c:pt>
                <c:pt idx="317">
                  <c:v>All Others</c:v>
                </c:pt>
                <c:pt idx="318">
                  <c:v>All Others</c:v>
                </c:pt>
                <c:pt idx="319">
                  <c:v>All Others</c:v>
                </c:pt>
                <c:pt idx="320">
                  <c:v>All Others</c:v>
                </c:pt>
                <c:pt idx="321">
                  <c:v>Saint Agur</c:v>
                </c:pt>
                <c:pt idx="322">
                  <c:v>Boursin</c:v>
                </c:pt>
                <c:pt idx="323">
                  <c:v>Private Lab</c:v>
                </c:pt>
                <c:pt idx="324">
                  <c:v>All Others</c:v>
                </c:pt>
                <c:pt idx="325">
                  <c:v>All Others</c:v>
                </c:pt>
                <c:pt idx="326">
                  <c:v>All Others</c:v>
                </c:pt>
                <c:pt idx="327">
                  <c:v>All Others</c:v>
                </c:pt>
                <c:pt idx="328">
                  <c:v>All Others</c:v>
                </c:pt>
                <c:pt idx="329">
                  <c:v>All Others</c:v>
                </c:pt>
                <c:pt idx="330">
                  <c:v>All Others</c:v>
                </c:pt>
                <c:pt idx="331">
                  <c:v>All Others</c:v>
                </c:pt>
                <c:pt idx="332">
                  <c:v>All Others</c:v>
                </c:pt>
                <c:pt idx="333">
                  <c:v>All Others</c:v>
                </c:pt>
                <c:pt idx="334">
                  <c:v>All Others</c:v>
                </c:pt>
                <c:pt idx="335">
                  <c:v>Boursin</c:v>
                </c:pt>
                <c:pt idx="336">
                  <c:v>All Others</c:v>
                </c:pt>
                <c:pt idx="337">
                  <c:v>All Others</c:v>
                </c:pt>
                <c:pt idx="338">
                  <c:v>All Others</c:v>
                </c:pt>
                <c:pt idx="339">
                  <c:v>All Others</c:v>
                </c:pt>
                <c:pt idx="340">
                  <c:v>All Others</c:v>
                </c:pt>
                <c:pt idx="341">
                  <c:v>All Others</c:v>
                </c:pt>
                <c:pt idx="342">
                  <c:v>Lactalis: A</c:v>
                </c:pt>
                <c:pt idx="343">
                  <c:v>All Others</c:v>
                </c:pt>
                <c:pt idx="344">
                  <c:v>All Others</c:v>
                </c:pt>
                <c:pt idx="345">
                  <c:v>All Others</c:v>
                </c:pt>
                <c:pt idx="346">
                  <c:v>All Others</c:v>
                </c:pt>
                <c:pt idx="347">
                  <c:v>All Others</c:v>
                </c:pt>
                <c:pt idx="348">
                  <c:v>All Others</c:v>
                </c:pt>
                <c:pt idx="349">
                  <c:v>All Others</c:v>
                </c:pt>
                <c:pt idx="350">
                  <c:v>President</c:v>
                </c:pt>
                <c:pt idx="351">
                  <c:v>All Others</c:v>
                </c:pt>
                <c:pt idx="352">
                  <c:v>All Others</c:v>
                </c:pt>
                <c:pt idx="353">
                  <c:v>All Others</c:v>
                </c:pt>
                <c:pt idx="354">
                  <c:v>All Others</c:v>
                </c:pt>
                <c:pt idx="355">
                  <c:v>All Others</c:v>
                </c:pt>
                <c:pt idx="356">
                  <c:v>Boursin</c:v>
                </c:pt>
                <c:pt idx="357">
                  <c:v>Chavroux</c:v>
                </c:pt>
                <c:pt idx="358">
                  <c:v>All Others</c:v>
                </c:pt>
                <c:pt idx="359">
                  <c:v>All Others</c:v>
                </c:pt>
                <c:pt idx="360">
                  <c:v>Etorki</c:v>
                </c:pt>
                <c:pt idx="361">
                  <c:v>All Others</c:v>
                </c:pt>
                <c:pt idx="362">
                  <c:v>All Others</c:v>
                </c:pt>
                <c:pt idx="363">
                  <c:v>Salakis</c:v>
                </c:pt>
                <c:pt idx="364">
                  <c:v>All Others</c:v>
                </c:pt>
                <c:pt idx="365">
                  <c:v>Soignon</c:v>
                </c:pt>
                <c:pt idx="366">
                  <c:v>All Others</c:v>
                </c:pt>
                <c:pt idx="367">
                  <c:v>All Others</c:v>
                </c:pt>
                <c:pt idx="368">
                  <c:v>All Others</c:v>
                </c:pt>
                <c:pt idx="369">
                  <c:v>Salakis</c:v>
                </c:pt>
                <c:pt idx="370">
                  <c:v>All Others</c:v>
                </c:pt>
                <c:pt idx="371">
                  <c:v>All Others</c:v>
                </c:pt>
                <c:pt idx="372">
                  <c:v>Tartare</c:v>
                </c:pt>
                <c:pt idx="373">
                  <c:v>All Others</c:v>
                </c:pt>
                <c:pt idx="374">
                  <c:v>All Others</c:v>
                </c:pt>
                <c:pt idx="375">
                  <c:v>All Others</c:v>
                </c:pt>
                <c:pt idx="376">
                  <c:v>All Others</c:v>
                </c:pt>
                <c:pt idx="377">
                  <c:v>All Others</c:v>
                </c:pt>
                <c:pt idx="378">
                  <c:v>All Others</c:v>
                </c:pt>
                <c:pt idx="379">
                  <c:v>All Others</c:v>
                </c:pt>
                <c:pt idx="380">
                  <c:v>All Others</c:v>
                </c:pt>
                <c:pt idx="381">
                  <c:v>All Others</c:v>
                </c:pt>
                <c:pt idx="382">
                  <c:v>All Others</c:v>
                </c:pt>
                <c:pt idx="383">
                  <c:v>All Others</c:v>
                </c:pt>
                <c:pt idx="384">
                  <c:v>All Others</c:v>
                </c:pt>
                <c:pt idx="385">
                  <c:v>All Others</c:v>
                </c:pt>
                <c:pt idx="386">
                  <c:v>All Others</c:v>
                </c:pt>
                <c:pt idx="387">
                  <c:v>All Others</c:v>
                </c:pt>
                <c:pt idx="388">
                  <c:v>All Others</c:v>
                </c:pt>
                <c:pt idx="389">
                  <c:v>All Others</c:v>
                </c:pt>
                <c:pt idx="390">
                  <c:v>All Others</c:v>
                </c:pt>
                <c:pt idx="391">
                  <c:v>All Others</c:v>
                </c:pt>
                <c:pt idx="392">
                  <c:v>All Others</c:v>
                </c:pt>
                <c:pt idx="393">
                  <c:v>All Others</c:v>
                </c:pt>
                <c:pt idx="394">
                  <c:v>All Others</c:v>
                </c:pt>
                <c:pt idx="395">
                  <c:v>All Others</c:v>
                </c:pt>
                <c:pt idx="396">
                  <c:v>All Others</c:v>
                </c:pt>
                <c:pt idx="397">
                  <c:v>Entremont</c:v>
                </c:pt>
                <c:pt idx="398">
                  <c:v>All Others</c:v>
                </c:pt>
                <c:pt idx="399">
                  <c:v>All Others</c:v>
                </c:pt>
                <c:pt idx="400">
                  <c:v>All Others</c:v>
                </c:pt>
                <c:pt idx="401">
                  <c:v>All Others</c:v>
                </c:pt>
                <c:pt idx="402">
                  <c:v>All Others</c:v>
                </c:pt>
                <c:pt idx="403">
                  <c:v>All Others</c:v>
                </c:pt>
                <c:pt idx="404">
                  <c:v>Etoile Du V</c:v>
                </c:pt>
                <c:pt idx="405">
                  <c:v>All Others</c:v>
                </c:pt>
                <c:pt idx="406">
                  <c:v>Entremont</c:v>
                </c:pt>
                <c:pt idx="407">
                  <c:v>All Others</c:v>
                </c:pt>
                <c:pt idx="408">
                  <c:v>All Others</c:v>
                </c:pt>
                <c:pt idx="409">
                  <c:v>Entremont</c:v>
                </c:pt>
                <c:pt idx="410">
                  <c:v>All Others</c:v>
                </c:pt>
                <c:pt idx="411">
                  <c:v>All Others</c:v>
                </c:pt>
                <c:pt idx="412">
                  <c:v>All Others</c:v>
                </c:pt>
                <c:pt idx="413">
                  <c:v>All Others</c:v>
                </c:pt>
                <c:pt idx="414">
                  <c:v>All Others</c:v>
                </c:pt>
                <c:pt idx="415">
                  <c:v>All Others</c:v>
                </c:pt>
                <c:pt idx="416">
                  <c:v>Petit Billy</c:v>
                </c:pt>
                <c:pt idx="417">
                  <c:v>All Others</c:v>
                </c:pt>
                <c:pt idx="418">
                  <c:v>All Others</c:v>
                </c:pt>
                <c:pt idx="419">
                  <c:v>All Others</c:v>
                </c:pt>
                <c:pt idx="420">
                  <c:v>All Others</c:v>
                </c:pt>
                <c:pt idx="421">
                  <c:v>All Others</c:v>
                </c:pt>
                <c:pt idx="422">
                  <c:v>All Others</c:v>
                </c:pt>
                <c:pt idx="423">
                  <c:v>All Others</c:v>
                </c:pt>
                <c:pt idx="424">
                  <c:v>All Others</c:v>
                </c:pt>
                <c:pt idx="425">
                  <c:v>All Others</c:v>
                </c:pt>
                <c:pt idx="426">
                  <c:v>All Others</c:v>
                </c:pt>
                <c:pt idx="427">
                  <c:v>All Others</c:v>
                </c:pt>
                <c:pt idx="428">
                  <c:v>All Others</c:v>
                </c:pt>
                <c:pt idx="429">
                  <c:v>All Others</c:v>
                </c:pt>
                <c:pt idx="430">
                  <c:v>All Others</c:v>
                </c:pt>
                <c:pt idx="431">
                  <c:v>All Others</c:v>
                </c:pt>
                <c:pt idx="432">
                  <c:v>All Others</c:v>
                </c:pt>
                <c:pt idx="433">
                  <c:v>Chavroux</c:v>
                </c:pt>
                <c:pt idx="434">
                  <c:v>All Others</c:v>
                </c:pt>
                <c:pt idx="435">
                  <c:v>All Others</c:v>
                </c:pt>
                <c:pt idx="436">
                  <c:v>All Others</c:v>
                </c:pt>
                <c:pt idx="437">
                  <c:v>All Others</c:v>
                </c:pt>
                <c:pt idx="438">
                  <c:v>All Others</c:v>
                </c:pt>
                <c:pt idx="439">
                  <c:v>All Others</c:v>
                </c:pt>
                <c:pt idx="440">
                  <c:v>Paysan Bret</c:v>
                </c:pt>
                <c:pt idx="441">
                  <c:v>All Others</c:v>
                </c:pt>
                <c:pt idx="442">
                  <c:v>All Others</c:v>
                </c:pt>
                <c:pt idx="443">
                  <c:v>All Others</c:v>
                </c:pt>
                <c:pt idx="444">
                  <c:v>Corsica</c:v>
                </c:pt>
                <c:pt idx="445">
                  <c:v>All Others</c:v>
                </c:pt>
                <c:pt idx="446">
                  <c:v>All Others</c:v>
                </c:pt>
                <c:pt idx="447">
                  <c:v>All Others</c:v>
                </c:pt>
                <c:pt idx="448">
                  <c:v>All Others</c:v>
                </c:pt>
                <c:pt idx="449">
                  <c:v>All Others</c:v>
                </c:pt>
                <c:pt idx="450">
                  <c:v>All Others</c:v>
                </c:pt>
                <c:pt idx="451">
                  <c:v>All Others</c:v>
                </c:pt>
                <c:pt idx="452">
                  <c:v>All Others</c:v>
                </c:pt>
                <c:pt idx="453">
                  <c:v>All Others</c:v>
                </c:pt>
                <c:pt idx="454">
                  <c:v>Savencia: A</c:v>
                </c:pt>
                <c:pt idx="455">
                  <c:v>All Others</c:v>
                </c:pt>
                <c:pt idx="456">
                  <c:v>Savencia: A</c:v>
                </c:pt>
                <c:pt idx="457">
                  <c:v>All Others</c:v>
                </c:pt>
                <c:pt idx="458">
                  <c:v>All Others</c:v>
                </c:pt>
                <c:pt idx="459">
                  <c:v>All Others</c:v>
                </c:pt>
                <c:pt idx="460">
                  <c:v>All Others</c:v>
                </c:pt>
                <c:pt idx="461">
                  <c:v>Mini Babybe</c:v>
                </c:pt>
                <c:pt idx="462">
                  <c:v>All Others</c:v>
                </c:pt>
                <c:pt idx="463">
                  <c:v>All Others</c:v>
                </c:pt>
                <c:pt idx="464">
                  <c:v>All Others</c:v>
                </c:pt>
                <c:pt idx="465">
                  <c:v>All Others</c:v>
                </c:pt>
                <c:pt idx="466">
                  <c:v>All Others</c:v>
                </c:pt>
                <c:pt idx="467">
                  <c:v>All Others</c:v>
                </c:pt>
                <c:pt idx="468">
                  <c:v>All Others</c:v>
                </c:pt>
                <c:pt idx="469">
                  <c:v>Private Lab</c:v>
                </c:pt>
                <c:pt idx="470">
                  <c:v>All Others</c:v>
                </c:pt>
                <c:pt idx="471">
                  <c:v>All Others</c:v>
                </c:pt>
                <c:pt idx="472">
                  <c:v>Lactalis: A</c:v>
                </c:pt>
                <c:pt idx="473">
                  <c:v>All Others</c:v>
                </c:pt>
                <c:pt idx="474">
                  <c:v>All Others</c:v>
                </c:pt>
                <c:pt idx="475">
                  <c:v>All Others</c:v>
                </c:pt>
                <c:pt idx="476">
                  <c:v>All Others</c:v>
                </c:pt>
                <c:pt idx="477">
                  <c:v>La Vache Qu</c:v>
                </c:pt>
                <c:pt idx="478">
                  <c:v>All Others</c:v>
                </c:pt>
                <c:pt idx="479">
                  <c:v>All Others</c:v>
                </c:pt>
                <c:pt idx="480">
                  <c:v>All Others</c:v>
                </c:pt>
                <c:pt idx="481">
                  <c:v>All Others</c:v>
                </c:pt>
                <c:pt idx="482">
                  <c:v>Kiri</c:v>
                </c:pt>
                <c:pt idx="483">
                  <c:v>All Others</c:v>
                </c:pt>
              </c:strCache>
            </c:strRef>
          </c:cat>
          <c:val>
            <c:numRef>
              <c:f>Sheet1!$C$2:$C$485</c:f>
              <c:numCache>
                <c:formatCode>General</c:formatCode>
                <c:ptCount val="484"/>
                <c:pt idx="0">
                  <c:v>0.030066395604078765</c:v>
                </c:pt>
                <c:pt idx="1">
                  <c:v>0.05765654704329899</c:v>
                </c:pt>
                <c:pt idx="2">
                  <c:v>0.08107528290180904</c:v>
                </c:pt>
                <c:pt idx="3">
                  <c:v>0.10365596545951886</c:v>
                </c:pt>
                <c:pt idx="4">
                  <c:v>0.12353155478436934</c:v>
                </c:pt>
                <c:pt idx="5">
                  <c:v>0.14336408072923587</c:v>
                </c:pt>
                <c:pt idx="6">
                  <c:v>0.16107011700733867</c:v>
                </c:pt>
                <c:pt idx="7">
                  <c:v>0.17872161109059426</c:v>
                </c:pt>
                <c:pt idx="8">
                  <c:v>0.1955624013971586</c:v>
                </c:pt>
                <c:pt idx="9">
                  <c:v>0.21155377366323821</c:v>
                </c:pt>
                <c:pt idx="10">
                  <c:v>0.22617960900190626</c:v>
                </c:pt>
                <c:pt idx="11">
                  <c:v>0.24044201508042498</c:v>
                </c:pt>
                <c:pt idx="12">
                  <c:v>0.25422064258519683</c:v>
                </c:pt>
                <c:pt idx="13">
                  <c:v>0.26777839202508413</c:v>
                </c:pt>
                <c:pt idx="14">
                  <c:v>0.28126601374882537</c:v>
                </c:pt>
                <c:pt idx="15">
                  <c:v>0.29439002084025184</c:v>
                </c:pt>
                <c:pt idx="16">
                  <c:v>0.3073016912458038</c:v>
                </c:pt>
                <c:pt idx="17">
                  <c:v>0.31969969538077236</c:v>
                </c:pt>
                <c:pt idx="18">
                  <c:v>0.3318526660317528</c:v>
                </c:pt>
                <c:pt idx="19">
                  <c:v>0.34360161091834074</c:v>
                </c:pt>
                <c:pt idx="20">
                  <c:v>0.3553056529626871</c:v>
                </c:pt>
                <c:pt idx="21">
                  <c:v>0.3669432319560053</c:v>
                </c:pt>
                <c:pt idx="22">
                  <c:v>0.3785480000760311</c:v>
                </c:pt>
                <c:pt idx="23">
                  <c:v>0.3899716453309721</c:v>
                </c:pt>
                <c:pt idx="24">
                  <c:v>0.4011927643654124</c:v>
                </c:pt>
                <c:pt idx="25">
                  <c:v>0.4105009282083405</c:v>
                </c:pt>
                <c:pt idx="26">
                  <c:v>0.4197463934811397</c:v>
                </c:pt>
                <c:pt idx="27">
                  <c:v>0.4289703270639469</c:v>
                </c:pt>
                <c:pt idx="28">
                  <c:v>0.4378470158025921</c:v>
                </c:pt>
                <c:pt idx="29">
                  <c:v>0.446511538968131</c:v>
                </c:pt>
                <c:pt idx="30">
                  <c:v>0.45515776732687535</c:v>
                </c:pt>
                <c:pt idx="31">
                  <c:v>0.46379157575053165</c:v>
                </c:pt>
                <c:pt idx="32">
                  <c:v>0.4720938531859009</c:v>
                </c:pt>
                <c:pt idx="33">
                  <c:v>0.48037529764174813</c:v>
                </c:pt>
                <c:pt idx="34">
                  <c:v>0.4884370618220878</c:v>
                </c:pt>
                <c:pt idx="35">
                  <c:v>0.4964314075717771</c:v>
                </c:pt>
                <c:pt idx="36">
                  <c:v>0.5042194341012718</c:v>
                </c:pt>
                <c:pt idx="37">
                  <c:v>0.511843634414662</c:v>
                </c:pt>
                <c:pt idx="38">
                  <c:v>0.5193735088146105</c:v>
                </c:pt>
                <c:pt idx="39">
                  <c:v>0.5266523893024804</c:v>
                </c:pt>
                <c:pt idx="40">
                  <c:v>0.5336102337185097</c:v>
                </c:pt>
                <c:pt idx="41">
                  <c:v>0.5405119674059837</c:v>
                </c:pt>
                <c:pt idx="42">
                  <c:v>0.54739708889555</c:v>
                </c:pt>
                <c:pt idx="43">
                  <c:v>0.5542499841471151</c:v>
                </c:pt>
                <c:pt idx="44">
                  <c:v>0.5610774121150208</c:v>
                </c:pt>
                <c:pt idx="45">
                  <c:v>0.5677697465524736</c:v>
                </c:pt>
                <c:pt idx="46">
                  <c:v>0.5741573006310597</c:v>
                </c:pt>
                <c:pt idx="47">
                  <c:v>0.5802852053433785</c:v>
                </c:pt>
                <c:pt idx="48">
                  <c:v>0.5864000769665232</c:v>
                </c:pt>
                <c:pt idx="49">
                  <c:v>0.5924747798673452</c:v>
                </c:pt>
                <c:pt idx="50">
                  <c:v>0.5982665763248289</c:v>
                </c:pt>
                <c:pt idx="51">
                  <c:v>0.6039846516980355</c:v>
                </c:pt>
                <c:pt idx="52">
                  <c:v>0.6096884676738964</c:v>
                </c:pt>
                <c:pt idx="53">
                  <c:v>0.6153467676534299</c:v>
                </c:pt>
                <c:pt idx="54">
                  <c:v>0.6208103413028108</c:v>
                </c:pt>
                <c:pt idx="55">
                  <c:v>0.6262199288738409</c:v>
                </c:pt>
                <c:pt idx="56">
                  <c:v>0.6314925549333659</c:v>
                </c:pt>
                <c:pt idx="57">
                  <c:v>0.6366220166435401</c:v>
                </c:pt>
                <c:pt idx="58">
                  <c:v>0.6417404986177583</c:v>
                </c:pt>
                <c:pt idx="59">
                  <c:v>0.6467574536828752</c:v>
                </c:pt>
                <c:pt idx="60">
                  <c:v>0.6517715996467149</c:v>
                </c:pt>
                <c:pt idx="61">
                  <c:v>0.6567424968584052</c:v>
                </c:pt>
                <c:pt idx="62">
                  <c:v>0.6616352097944492</c:v>
                </c:pt>
                <c:pt idx="63">
                  <c:v>0.6663728660437563</c:v>
                </c:pt>
                <c:pt idx="64">
                  <c:v>0.6710220997701228</c:v>
                </c:pt>
                <c:pt idx="65">
                  <c:v>0.6756118005125712</c:v>
                </c:pt>
                <c:pt idx="66">
                  <c:v>0.6801855735081844</c:v>
                </c:pt>
                <c:pt idx="67">
                  <c:v>0.6847440746892404</c:v>
                </c:pt>
                <c:pt idx="68">
                  <c:v>0.6891832817521024</c:v>
                </c:pt>
                <c:pt idx="69">
                  <c:v>0.6935504503395741</c:v>
                </c:pt>
                <c:pt idx="70">
                  <c:v>0.6979009211727539</c:v>
                </c:pt>
                <c:pt idx="71">
                  <c:v>0.7021745053354459</c:v>
                </c:pt>
                <c:pt idx="72">
                  <c:v>0.7064439400135103</c:v>
                </c:pt>
                <c:pt idx="73">
                  <c:v>0.7106576774855424</c:v>
                </c:pt>
                <c:pt idx="74">
                  <c:v>0.714823047081778</c:v>
                </c:pt>
                <c:pt idx="75">
                  <c:v>0.718865586229278</c:v>
                </c:pt>
                <c:pt idx="76">
                  <c:v>0.7228293849846351</c:v>
                </c:pt>
                <c:pt idx="77">
                  <c:v>0.7267254088244082</c:v>
                </c:pt>
                <c:pt idx="78">
                  <c:v>0.7306141746309323</c:v>
                </c:pt>
                <c:pt idx="79">
                  <c:v>0.7344697730792303</c:v>
                </c:pt>
                <c:pt idx="80">
                  <c:v>0.7383089161829915</c:v>
                </c:pt>
                <c:pt idx="81">
                  <c:v>0.7421345698968637</c:v>
                </c:pt>
                <c:pt idx="82">
                  <c:v>0.745908832742702</c:v>
                </c:pt>
                <c:pt idx="83">
                  <c:v>0.7494807975183972</c:v>
                </c:pt>
                <c:pt idx="84">
                  <c:v>0.7530513791325499</c:v>
                </c:pt>
                <c:pt idx="85">
                  <c:v>0.756584729460233</c:v>
                </c:pt>
                <c:pt idx="86">
                  <c:v>0.7600212869987336</c:v>
                </c:pt>
                <c:pt idx="87">
                  <c:v>0.7634363556254343</c:v>
                </c:pt>
                <c:pt idx="88">
                  <c:v>0.7668285949569846</c:v>
                </c:pt>
                <c:pt idx="89">
                  <c:v>0.7701737069803074</c:v>
                </c:pt>
                <c:pt idx="90">
                  <c:v>0.7735135287672149</c:v>
                </c:pt>
                <c:pt idx="91">
                  <c:v>0.7768137236888988</c:v>
                </c:pt>
                <c:pt idx="92">
                  <c:v>0.7800553410062866</c:v>
                </c:pt>
                <c:pt idx="93">
                  <c:v>0.7832185173788758</c:v>
                </c:pt>
                <c:pt idx="94">
                  <c:v>0.786370471605754</c:v>
                </c:pt>
                <c:pt idx="95">
                  <c:v>0.7894858219596459</c:v>
                </c:pt>
                <c:pt idx="96">
                  <c:v>0.7925820789804919</c:v>
                </c:pt>
                <c:pt idx="97">
                  <c:v>0.7956705646297846</c:v>
                </c:pt>
                <c:pt idx="98">
                  <c:v>0.7987043654902565</c:v>
                </c:pt>
                <c:pt idx="99">
                  <c:v>0.8017229087955685</c:v>
                </c:pt>
                <c:pt idx="100">
                  <c:v>0.8046818763387703</c:v>
                </c:pt>
                <c:pt idx="101">
                  <c:v>0.8075858881646019</c:v>
                </c:pt>
                <c:pt idx="102">
                  <c:v>0.8104336751866994</c:v>
                </c:pt>
                <c:pt idx="103">
                  <c:v>0.8132700261721257</c:v>
                </c:pt>
                <c:pt idx="104">
                  <c:v>0.8160746785172526</c:v>
                </c:pt>
                <c:pt idx="105">
                  <c:v>0.8188659270288745</c:v>
                </c:pt>
                <c:pt idx="106">
                  <c:v>0.8216127004801753</c:v>
                </c:pt>
                <c:pt idx="107">
                  <c:v>0.8243453000905144</c:v>
                </c:pt>
                <c:pt idx="108">
                  <c:v>0.8270277494003888</c:v>
                </c:pt>
                <c:pt idx="109">
                  <c:v>0.8295729805296057</c:v>
                </c:pt>
                <c:pt idx="110">
                  <c:v>0.8320799109175522</c:v>
                </c:pt>
                <c:pt idx="111">
                  <c:v>0.8345685464987042</c:v>
                </c:pt>
                <c:pt idx="112">
                  <c:v>0.8370418247089148</c:v>
                </c:pt>
                <c:pt idx="113">
                  <c:v>0.8394776862604904</c:v>
                </c:pt>
                <c:pt idx="114">
                  <c:v>0.8418619573124693</c:v>
                </c:pt>
                <c:pt idx="115">
                  <c:v>0.8442460429922827</c:v>
                </c:pt>
                <c:pt idx="116">
                  <c:v>0.8465846982321528</c:v>
                </c:pt>
                <c:pt idx="117">
                  <c:v>0.8488808747273301</c:v>
                </c:pt>
                <c:pt idx="118">
                  <c:v>0.8511763810308322</c:v>
                </c:pt>
                <c:pt idx="119">
                  <c:v>0.8534716021463873</c:v>
                </c:pt>
                <c:pt idx="120">
                  <c:v>0.8557651263936583</c:v>
                </c:pt>
                <c:pt idx="121">
                  <c:v>0.8579695579263136</c:v>
                </c:pt>
                <c:pt idx="122">
                  <c:v>0.8601582898624912</c:v>
                </c:pt>
                <c:pt idx="123">
                  <c:v>0.862285193051778</c:v>
                </c:pt>
                <c:pt idx="124">
                  <c:v>0.8643965820167526</c:v>
                </c:pt>
                <c:pt idx="125">
                  <c:v>0.8664969056893871</c:v>
                </c:pt>
                <c:pt idx="126">
                  <c:v>0.8685963452793861</c:v>
                </c:pt>
                <c:pt idx="127">
                  <c:v>0.8706674371874619</c:v>
                </c:pt>
                <c:pt idx="128">
                  <c:v>0.8727342797951286</c:v>
                </c:pt>
                <c:pt idx="129">
                  <c:v>0.8747987410834387</c:v>
                </c:pt>
                <c:pt idx="130">
                  <c:v>0.8768571278684795</c:v>
                </c:pt>
                <c:pt idx="131">
                  <c:v>0.8788787824459577</c:v>
                </c:pt>
                <c:pt idx="132">
                  <c:v>0.8808109735644892</c:v>
                </c:pt>
                <c:pt idx="133">
                  <c:v>0.8826735217863845</c:v>
                </c:pt>
                <c:pt idx="134">
                  <c:v>0.8845307797718645</c:v>
                </c:pt>
                <c:pt idx="135">
                  <c:v>0.8863439191819569</c:v>
                </c:pt>
                <c:pt idx="136">
                  <c:v>0.8881306074099731</c:v>
                </c:pt>
                <c:pt idx="137">
                  <c:v>0.8899172671191946</c:v>
                </c:pt>
                <c:pt idx="138">
                  <c:v>0.891699264005484</c:v>
                </c:pt>
                <c:pt idx="139">
                  <c:v>0.8934796353204761</c:v>
                </c:pt>
                <c:pt idx="140">
                  <c:v>0.8952475581815854</c:v>
                </c:pt>
                <c:pt idx="141">
                  <c:v>0.8970127147196096</c:v>
                </c:pt>
                <c:pt idx="142">
                  <c:v>0.8987491813501743</c:v>
                </c:pt>
                <c:pt idx="143">
                  <c:v>0.9004827961012699</c:v>
                </c:pt>
                <c:pt idx="144">
                  <c:v>0.9021485076022053</c:v>
                </c:pt>
                <c:pt idx="145">
                  <c:v>0.9038057062429254</c:v>
                </c:pt>
                <c:pt idx="146">
                  <c:v>0.9054254311874211</c:v>
                </c:pt>
                <c:pt idx="147">
                  <c:v>0.9069956617637299</c:v>
                </c:pt>
                <c:pt idx="148">
                  <c:v>0.9085025663564266</c:v>
                </c:pt>
                <c:pt idx="149">
                  <c:v>0.9099885524132171</c:v>
                </c:pt>
                <c:pt idx="150">
                  <c:v>0.9114714299213863</c:v>
                </c:pt>
                <c:pt idx="151">
                  <c:v>0.912916006688285</c:v>
                </c:pt>
                <c:pt idx="152">
                  <c:v>0.9143419464228528</c:v>
                </c:pt>
                <c:pt idx="153">
                  <c:v>0.915746368726826</c:v>
                </c:pt>
                <c:pt idx="154">
                  <c:v>0.9171134028909589</c:v>
                </c:pt>
                <c:pt idx="155">
                  <c:v>0.9184765870178084</c:v>
                </c:pt>
                <c:pt idx="156">
                  <c:v>0.9198075591660541</c:v>
                </c:pt>
                <c:pt idx="157">
                  <c:v>0.9211232167215505</c:v>
                </c:pt>
                <c:pt idx="158">
                  <c:v>0.9224187970455842</c:v>
                </c:pt>
                <c:pt idx="159">
                  <c:v>0.9236613894490813</c:v>
                </c:pt>
                <c:pt idx="160">
                  <c:v>0.9249033829578899</c:v>
                </c:pt>
                <c:pt idx="161">
                  <c:v>0.926139872339323</c:v>
                </c:pt>
                <c:pt idx="162">
                  <c:v>0.9273695029506329</c:v>
                </c:pt>
                <c:pt idx="163">
                  <c:v>0.9285870415929937</c:v>
                </c:pt>
                <c:pt idx="164">
                  <c:v>0.9298022702129844</c:v>
                </c:pt>
                <c:pt idx="165">
                  <c:v>0.9309817505238296</c:v>
                </c:pt>
                <c:pt idx="166">
                  <c:v>0.9321186950523926</c:v>
                </c:pt>
                <c:pt idx="167">
                  <c:v>0.9332252955834041</c:v>
                </c:pt>
                <c:pt idx="168">
                  <c:v>0.9343302135055287</c:v>
                </c:pt>
                <c:pt idx="169">
                  <c:v>0.9354233103872538</c:v>
                </c:pt>
                <c:pt idx="170">
                  <c:v>0.9364202133744849</c:v>
                </c:pt>
                <c:pt idx="171">
                  <c:v>0.9374060795881705</c:v>
                </c:pt>
                <c:pt idx="172">
                  <c:v>0.9383515346697784</c:v>
                </c:pt>
                <c:pt idx="173">
                  <c:v>0.9392877639213036</c:v>
                </c:pt>
                <c:pt idx="174">
                  <c:v>0.9402174338500499</c:v>
                </c:pt>
                <c:pt idx="175">
                  <c:v>0.9411021296395679</c:v>
                </c:pt>
                <c:pt idx="176">
                  <c:v>0.9419853994893512</c:v>
                </c:pt>
                <c:pt idx="177">
                  <c:v>0.9428617250126272</c:v>
                </c:pt>
                <c:pt idx="178">
                  <c:v>0.9437364962615926</c:v>
                </c:pt>
                <c:pt idx="179">
                  <c:v>0.9446091000821615</c:v>
                </c:pt>
                <c:pt idx="180">
                  <c:v>0.945480990932863</c:v>
                </c:pt>
                <c:pt idx="181">
                  <c:v>0.9463478196975068</c:v>
                </c:pt>
                <c:pt idx="182">
                  <c:v>0.947213835676502</c:v>
                </c:pt>
                <c:pt idx="183">
                  <c:v>0.9480767573662731</c:v>
                </c:pt>
                <c:pt idx="184">
                  <c:v>0.9489232522303019</c:v>
                </c:pt>
                <c:pt idx="185">
                  <c:v>0.9497669522524511</c:v>
                </c:pt>
                <c:pt idx="186">
                  <c:v>0.9506050911096354</c:v>
                </c:pt>
                <c:pt idx="187">
                  <c:v>0.9514325211594131</c:v>
                </c:pt>
                <c:pt idx="188">
                  <c:v>0.9522084462659782</c:v>
                </c:pt>
                <c:pt idx="189">
                  <c:v>0.9529832448801531</c:v>
                </c:pt>
                <c:pt idx="190">
                  <c:v>0.9537372675523952</c:v>
                </c:pt>
                <c:pt idx="191">
                  <c:v>0.9544899926194789</c:v>
                </c:pt>
                <c:pt idx="192">
                  <c:v>0.9552258345601052</c:v>
                </c:pt>
                <c:pt idx="193">
                  <c:v>0.955959009993428</c:v>
                </c:pt>
                <c:pt idx="194">
                  <c:v>0.956674788961989</c:v>
                </c:pt>
                <c:pt idx="195">
                  <c:v>0.9573872454909684</c:v>
                </c:pt>
                <c:pt idx="196">
                  <c:v>0.9580989177530939</c:v>
                </c:pt>
                <c:pt idx="197">
                  <c:v>0.9588084938838095</c:v>
                </c:pt>
                <c:pt idx="198">
                  <c:v>0.9595079030642177</c:v>
                </c:pt>
                <c:pt idx="199">
                  <c:v>0.9601795777167886</c:v>
                </c:pt>
                <c:pt idx="200">
                  <c:v>0.9608247726684885</c:v>
                </c:pt>
                <c:pt idx="201">
                  <c:v>0.9614509883623213</c:v>
                </c:pt>
                <c:pt idx="202">
                  <c:v>0.9620711010340902</c:v>
                </c:pt>
                <c:pt idx="203">
                  <c:v>0.9626891603526413</c:v>
                </c:pt>
                <c:pt idx="204">
                  <c:v>0.9632955982623557</c:v>
                </c:pt>
                <c:pt idx="205">
                  <c:v>0.9638847110042951</c:v>
                </c:pt>
                <c:pt idx="206">
                  <c:v>0.9644661807092572</c:v>
                </c:pt>
                <c:pt idx="207">
                  <c:v>0.9650467092939944</c:v>
                </c:pt>
                <c:pt idx="208">
                  <c:v>0.9656247852623882</c:v>
                </c:pt>
                <c:pt idx="209">
                  <c:v>0.9661891151717408</c:v>
                </c:pt>
                <c:pt idx="210">
                  <c:v>0.966748397254433</c:v>
                </c:pt>
                <c:pt idx="211">
                  <c:v>0.9672947318043353</c:v>
                </c:pt>
                <c:pt idx="212">
                  <c:v>0.9678408096850855</c:v>
                </c:pt>
                <c:pt idx="213">
                  <c:v>0.9683786741529644</c:v>
                </c:pt>
                <c:pt idx="214">
                  <c:v>0.9689136439631822</c:v>
                </c:pt>
                <c:pt idx="215">
                  <c:v>0.9694477296907646</c:v>
                </c:pt>
                <c:pt idx="216">
                  <c:v>0.9699775661179381</c:v>
                </c:pt>
                <c:pt idx="217">
                  <c:v>0.9705050782633441</c:v>
                </c:pt>
                <c:pt idx="218">
                  <c:v>0.9710236497666144</c:v>
                </c:pt>
                <c:pt idx="219">
                  <c:v>0.971530357451293</c:v>
                </c:pt>
                <c:pt idx="220">
                  <c:v>0.9720299924748883</c:v>
                </c:pt>
                <c:pt idx="221">
                  <c:v>0.9725293850887287</c:v>
                </c:pt>
                <c:pt idx="222">
                  <c:v>0.9730253411878087</c:v>
                </c:pt>
                <c:pt idx="223">
                  <c:v>0.9734984822511357</c:v>
                </c:pt>
                <c:pt idx="224">
                  <c:v>0.973970154596536</c:v>
                </c:pt>
                <c:pt idx="225">
                  <c:v>0.9744399447014868</c:v>
                </c:pt>
                <c:pt idx="226">
                  <c:v>0.9749036888219629</c:v>
                </c:pt>
                <c:pt idx="227">
                  <c:v>0.9753541146653182</c:v>
                </c:pt>
                <c:pt idx="228">
                  <c:v>0.9758042410613292</c:v>
                </c:pt>
                <c:pt idx="229">
                  <c:v>0.9762537828220491</c:v>
                </c:pt>
                <c:pt idx="230">
                  <c:v>0.9766986332410422</c:v>
                </c:pt>
                <c:pt idx="231">
                  <c:v>0.9771399758482884</c:v>
                </c:pt>
                <c:pt idx="232">
                  <c:v>0.9775697398248898</c:v>
                </c:pt>
                <c:pt idx="233">
                  <c:v>0.9779992756511336</c:v>
                </c:pt>
                <c:pt idx="234">
                  <c:v>0.9784154932002567</c:v>
                </c:pt>
                <c:pt idx="235">
                  <c:v>0.9788299283247115</c:v>
                </c:pt>
                <c:pt idx="236">
                  <c:v>0.9792249849281736</c:v>
                </c:pt>
                <c:pt idx="237">
                  <c:v>0.9796002352287224</c:v>
                </c:pt>
                <c:pt idx="238">
                  <c:v>0.9799708512251339</c:v>
                </c:pt>
                <c:pt idx="239">
                  <c:v>0.9803412248117906</c:v>
                </c:pt>
                <c:pt idx="240">
                  <c:v>0.9807104148684677</c:v>
                </c:pt>
                <c:pt idx="241">
                  <c:v>0.9810650888586467</c:v>
                </c:pt>
                <c:pt idx="242">
                  <c:v>0.9814180659805417</c:v>
                </c:pt>
                <c:pt idx="243">
                  <c:v>0.9817651539713329</c:v>
                </c:pt>
                <c:pt idx="244">
                  <c:v>0.9821103597216745</c:v>
                </c:pt>
                <c:pt idx="245">
                  <c:v>0.9824529274835071</c:v>
                </c:pt>
                <c:pt idx="246">
                  <c:v>0.9827658784770527</c:v>
                </c:pt>
                <c:pt idx="247">
                  <c:v>0.983071599956144</c:v>
                </c:pt>
                <c:pt idx="248">
                  <c:v>0.9833748117813025</c:v>
                </c:pt>
                <c:pt idx="249">
                  <c:v>0.983676540629137</c:v>
                </c:pt>
                <c:pt idx="250">
                  <c:v>0.9839762018643564</c:v>
                </c:pt>
                <c:pt idx="251">
                  <c:v>0.9842612757360912</c:v>
                </c:pt>
                <c:pt idx="252">
                  <c:v>0.9845460644198791</c:v>
                </c:pt>
                <c:pt idx="253">
                  <c:v>0.9848232385854845</c:v>
                </c:pt>
                <c:pt idx="254">
                  <c:v>0.985095222330456</c:v>
                </c:pt>
                <c:pt idx="255">
                  <c:v>0.9853641403049982</c:v>
                </c:pt>
                <c:pt idx="256">
                  <c:v>0.9856310049263226</c:v>
                </c:pt>
                <c:pt idx="257">
                  <c:v>0.9858939909915689</c:v>
                </c:pt>
                <c:pt idx="258">
                  <c:v>0.9861569770568153</c:v>
                </c:pt>
                <c:pt idx="259">
                  <c:v>0.9864195781183333</c:v>
                </c:pt>
                <c:pt idx="260">
                  <c:v>0.9866805963867459</c:v>
                </c:pt>
                <c:pt idx="261">
                  <c:v>0.9869363386781407</c:v>
                </c:pt>
                <c:pt idx="262">
                  <c:v>0.9871833256995651</c:v>
                </c:pt>
                <c:pt idx="263">
                  <c:v>0.9874263200897329</c:v>
                </c:pt>
                <c:pt idx="264">
                  <c:v>0.9876660775967031</c:v>
                </c:pt>
                <c:pt idx="265">
                  <c:v>0.9879035678594954</c:v>
                </c:pt>
                <c:pt idx="266">
                  <c:v>0.9881408442313275</c:v>
                </c:pt>
                <c:pt idx="267">
                  <c:v>0.9883776215242526</c:v>
                </c:pt>
                <c:pt idx="268">
                  <c:v>0.9886142134450121</c:v>
                </c:pt>
                <c:pt idx="269">
                  <c:v>0.988844303080582</c:v>
                </c:pt>
                <c:pt idx="270">
                  <c:v>0.9890688743293791</c:v>
                </c:pt>
                <c:pt idx="271">
                  <c:v>0.9892736535346603</c:v>
                </c:pt>
                <c:pt idx="272">
                  <c:v>0.9894773490257434</c:v>
                </c:pt>
                <c:pt idx="273">
                  <c:v>0.9896750555699412</c:v>
                </c:pt>
                <c:pt idx="274">
                  <c:v>0.9898712506180204</c:v>
                </c:pt>
                <c:pt idx="275">
                  <c:v>0.9900647506400012</c:v>
                </c:pt>
                <c:pt idx="276">
                  <c:v>0.9902464581403772</c:v>
                </c:pt>
                <c:pt idx="277">
                  <c:v>0.9904277235994354</c:v>
                </c:pt>
                <c:pt idx="278">
                  <c:v>0.9905980378413323</c:v>
                </c:pt>
                <c:pt idx="279">
                  <c:v>0.9907683235644343</c:v>
                </c:pt>
                <c:pt idx="280">
                  <c:v>0.9909301819837052</c:v>
                </c:pt>
                <c:pt idx="281">
                  <c:v>0.9910910279857644</c:v>
                </c:pt>
                <c:pt idx="282">
                  <c:v>0.9912486513640235</c:v>
                </c:pt>
                <c:pt idx="283">
                  <c:v>0.9914030663778799</c:v>
                </c:pt>
                <c:pt idx="284">
                  <c:v>0.9915519344861687</c:v>
                </c:pt>
                <c:pt idx="285">
                  <c:v>0.9917004603689213</c:v>
                </c:pt>
                <c:pt idx="286">
                  <c:v>0.991847175308211</c:v>
                </c:pt>
                <c:pt idx="287">
                  <c:v>0.9919875733344765</c:v>
                </c:pt>
                <c:pt idx="288">
                  <c:v>0.9921263885676367</c:v>
                </c:pt>
                <c:pt idx="289">
                  <c:v>0.992264875834658</c:v>
                </c:pt>
                <c:pt idx="290">
                  <c:v>0.9924013953048455</c:v>
                </c:pt>
                <c:pt idx="291">
                  <c:v>0.9925322823130814</c:v>
                </c:pt>
                <c:pt idx="292">
                  <c:v>0.992662370795066</c:v>
                </c:pt>
                <c:pt idx="293">
                  <c:v>0.9927904914802169</c:v>
                </c:pt>
                <c:pt idx="294">
                  <c:v>0.9929161595490243</c:v>
                </c:pt>
                <c:pt idx="295">
                  <c:v>0.9930410290915804</c:v>
                </c:pt>
                <c:pt idx="296">
                  <c:v>0.9931611930330124</c:v>
                </c:pt>
                <c:pt idx="297">
                  <c:v>0.993279403437008</c:v>
                </c:pt>
                <c:pt idx="298">
                  <c:v>0.9933962164200638</c:v>
                </c:pt>
                <c:pt idx="299">
                  <c:v>0.9935090652906575</c:v>
                </c:pt>
                <c:pt idx="300">
                  <c:v>0.9936202315523645</c:v>
                </c:pt>
                <c:pt idx="301">
                  <c:v>0.9937272625888411</c:v>
                </c:pt>
                <c:pt idx="302">
                  <c:v>0.9938334238020797</c:v>
                </c:pt>
                <c:pt idx="303">
                  <c:v>0.9939386724138882</c:v>
                </c:pt>
                <c:pt idx="304">
                  <c:v>0.9940419247100682</c:v>
                </c:pt>
                <c:pt idx="305">
                  <c:v>0.9941448062619174</c:v>
                </c:pt>
                <c:pt idx="306">
                  <c:v>0.9942468037311311</c:v>
                </c:pt>
                <c:pt idx="307">
                  <c:v>0.9943452933885977</c:v>
                </c:pt>
                <c:pt idx="308">
                  <c:v>0.9944426422942766</c:v>
                </c:pt>
                <c:pt idx="309">
                  <c:v>0.9945398628653794</c:v>
                </c:pt>
                <c:pt idx="310">
                  <c:v>0.9946360852786681</c:v>
                </c:pt>
                <c:pt idx="311">
                  <c:v>0.9947299548913947</c:v>
                </c:pt>
                <c:pt idx="312">
                  <c:v>0.9948218424478903</c:v>
                </c:pt>
                <c:pt idx="313">
                  <c:v>0.9949125749932008</c:v>
                </c:pt>
                <c:pt idx="314">
                  <c:v>0.9950019671551609</c:v>
                </c:pt>
                <c:pt idx="315">
                  <c:v>0.995087566317427</c:v>
                </c:pt>
                <c:pt idx="316">
                  <c:v>0.9951721388030842</c:v>
                </c:pt>
                <c:pt idx="317">
                  <c:v>0.9952557131309272</c:v>
                </c:pt>
                <c:pt idx="318">
                  <c:v>0.9953383463385455</c:v>
                </c:pt>
                <c:pt idx="319">
                  <c:v>0.995420665839422</c:v>
                </c:pt>
                <c:pt idx="320">
                  <c:v>0.9955012742126171</c:v>
                </c:pt>
                <c:pt idx="321">
                  <c:v>0.9955790877439326</c:v>
                </c:pt>
                <c:pt idx="322">
                  <c:v>0.995655503854308</c:v>
                </c:pt>
                <c:pt idx="323">
                  <c:v>0.9957312212542135</c:v>
                </c:pt>
                <c:pt idx="324">
                  <c:v>0.9958054414173978</c:v>
                </c:pt>
                <c:pt idx="325">
                  <c:v>0.9958792623174564</c:v>
                </c:pt>
                <c:pt idx="326">
                  <c:v>0.9959508017139397</c:v>
                </c:pt>
                <c:pt idx="327">
                  <c:v>0.9960218562909132</c:v>
                </c:pt>
                <c:pt idx="328">
                  <c:v>0.9960926684581318</c:v>
                </c:pt>
                <c:pt idx="329">
                  <c:v>0.9961627106178939</c:v>
                </c:pt>
                <c:pt idx="330">
                  <c:v>0.9962322536987487</c:v>
                </c:pt>
                <c:pt idx="331">
                  <c:v>0.9962999430579487</c:v>
                </c:pt>
                <c:pt idx="332">
                  <c:v>0.9963671761164336</c:v>
                </c:pt>
                <c:pt idx="333">
                  <c:v>0.9964338815772167</c:v>
                </c:pt>
                <c:pt idx="334">
                  <c:v>0.9964967084819217</c:v>
                </c:pt>
                <c:pt idx="335">
                  <c:v>0.9965560275748797</c:v>
                </c:pt>
                <c:pt idx="336">
                  <c:v>0.9966153466678377</c:v>
                </c:pt>
                <c:pt idx="337">
                  <c:v>0.9966743092758621</c:v>
                </c:pt>
                <c:pt idx="338">
                  <c:v>0.996733086511721</c:v>
                </c:pt>
                <c:pt idx="339">
                  <c:v>0.99679046632664</c:v>
                </c:pt>
                <c:pt idx="340">
                  <c:v>0.9969032153814523</c:v>
                </c:pt>
                <c:pt idx="341">
                  <c:v>0.996957158681611</c:v>
                </c:pt>
                <c:pt idx="342">
                  <c:v>0.997011030684783</c:v>
                </c:pt>
                <c:pt idx="343">
                  <c:v>0.9970647458345842</c:v>
                </c:pt>
                <c:pt idx="344">
                  <c:v>0.9971168496724853</c:v>
                </c:pt>
                <c:pt idx="345">
                  <c:v>0.9971688394352076</c:v>
                </c:pt>
                <c:pt idx="346">
                  <c:v>0.9972204727129963</c:v>
                </c:pt>
                <c:pt idx="347">
                  <c:v>0.9972706800510505</c:v>
                </c:pt>
                <c:pt idx="348">
                  <c:v>0.9973207590545284</c:v>
                </c:pt>
                <c:pt idx="349">
                  <c:v>0.9973705956482516</c:v>
                </c:pt>
                <c:pt idx="350">
                  <c:v>0.997418877967664</c:v>
                </c:pt>
                <c:pt idx="351">
                  <c:v>0.9974669463961163</c:v>
                </c:pt>
                <c:pt idx="352">
                  <c:v>0.9975141735201252</c:v>
                </c:pt>
                <c:pt idx="353">
                  <c:v>0.9975610013810083</c:v>
                </c:pt>
                <c:pt idx="354">
                  <c:v>0.9976070164562428</c:v>
                </c:pt>
                <c:pt idx="355">
                  <c:v>0.9976525181931729</c:v>
                </c:pt>
                <c:pt idx="356">
                  <c:v>0.9976955958325542</c:v>
                </c:pt>
                <c:pt idx="357">
                  <c:v>0.9977379605020682</c:v>
                </c:pt>
                <c:pt idx="358">
                  <c:v>0.9977802823933902</c:v>
                </c:pt>
                <c:pt idx="359">
                  <c:v>0.9978221765027918</c:v>
                </c:pt>
                <c:pt idx="360">
                  <c:v>0.9978636998678624</c:v>
                </c:pt>
                <c:pt idx="361">
                  <c:v>0.9979048524886021</c:v>
                </c:pt>
                <c:pt idx="362">
                  <c:v>0.9979453919552558</c:v>
                </c:pt>
                <c:pt idx="363">
                  <c:v>0.9979855036399892</c:v>
                </c:pt>
                <c:pt idx="364">
                  <c:v>0.9980254014337624</c:v>
                </c:pt>
                <c:pt idx="365">
                  <c:v>0.9980644721824895</c:v>
                </c:pt>
                <c:pt idx="366">
                  <c:v>0.9981033718184485</c:v>
                </c:pt>
                <c:pt idx="367">
                  <c:v>0.9981421146010367</c:v>
                </c:pt>
                <c:pt idx="368">
                  <c:v>0.998180814605433</c:v>
                </c:pt>
                <c:pt idx="369">
                  <c:v>0.9982172473656512</c:v>
                </c:pt>
                <c:pt idx="370">
                  <c:v>0.9982528673402207</c:v>
                </c:pt>
                <c:pt idx="371">
                  <c:v>0.9982880310140752</c:v>
                </c:pt>
                <c:pt idx="372">
                  <c:v>0.998322096714334</c:v>
                </c:pt>
                <c:pt idx="373">
                  <c:v>0.9983556062980964</c:v>
                </c:pt>
                <c:pt idx="374">
                  <c:v>0.9983875473481507</c:v>
                </c:pt>
                <c:pt idx="375">
                  <c:v>0.9984185900561723</c:v>
                </c:pt>
                <c:pt idx="376">
                  <c:v>0.9984493618356443</c:v>
                </c:pt>
                <c:pt idx="377">
                  <c:v>0.9984786934159843</c:v>
                </c:pt>
                <c:pt idx="378">
                  <c:v>0.9985077112895827</c:v>
                </c:pt>
                <c:pt idx="379">
                  <c:v>0.9985366008286051</c:v>
                </c:pt>
                <c:pt idx="380">
                  <c:v>0.99859389508714</c:v>
                </c:pt>
                <c:pt idx="381">
                  <c:v>0.9986222998066526</c:v>
                </c:pt>
                <c:pt idx="382">
                  <c:v>0.9986506474885758</c:v>
                </c:pt>
                <c:pt idx="383">
                  <c:v>0.9987069293298992</c:v>
                </c:pt>
                <c:pt idx="384">
                  <c:v>0.9987331095834259</c:v>
                </c:pt>
                <c:pt idx="385">
                  <c:v>0.9987591329835818</c:v>
                </c:pt>
                <c:pt idx="386">
                  <c:v>0.998784799898804</c:v>
                </c:pt>
                <c:pt idx="387">
                  <c:v>0.9988339235226598</c:v>
                </c:pt>
                <c:pt idx="388">
                  <c:v>0.9988579506071872</c:v>
                </c:pt>
                <c:pt idx="389">
                  <c:v>0.9988819634323173</c:v>
                </c:pt>
                <c:pt idx="390">
                  <c:v>0.9989058479228713</c:v>
                </c:pt>
                <c:pt idx="391">
                  <c:v>0.9989288198119952</c:v>
                </c:pt>
                <c:pt idx="392">
                  <c:v>0.9989514066973908</c:v>
                </c:pt>
                <c:pt idx="393">
                  <c:v>0.9989735372820713</c:v>
                </c:pt>
                <c:pt idx="394">
                  <c:v>0.9989954824945863</c:v>
                </c:pt>
                <c:pt idx="395">
                  <c:v>0.9990169856657836</c:v>
                </c:pt>
                <c:pt idx="396">
                  <c:v>0.9990374479009746</c:v>
                </c:pt>
                <c:pt idx="397">
                  <c:v>0.9990578245797815</c:v>
                </c:pt>
                <c:pt idx="398">
                  <c:v>0.9990778162548601</c:v>
                </c:pt>
                <c:pt idx="399">
                  <c:v>0.9990977508923494</c:v>
                </c:pt>
                <c:pt idx="400">
                  <c:v>0.9991373349793811</c:v>
                </c:pt>
                <c:pt idx="401">
                  <c:v>0.9991569844289234</c:v>
                </c:pt>
                <c:pt idx="402">
                  <c:v>0.9991765055438897</c:v>
                </c:pt>
                <c:pt idx="403">
                  <c:v>0.9991956273957303</c:v>
                </c:pt>
                <c:pt idx="404">
                  <c:v>0.9992147349881735</c:v>
                </c:pt>
                <c:pt idx="405">
                  <c:v>0.9992336144302592</c:v>
                </c:pt>
                <c:pt idx="406">
                  <c:v>0.9992524796129475</c:v>
                </c:pt>
                <c:pt idx="407">
                  <c:v>0.9992713447956358</c:v>
                </c:pt>
                <c:pt idx="408">
                  <c:v>0.9992899533091719</c:v>
                </c:pt>
                <c:pt idx="409">
                  <c:v>0.9993259155092777</c:v>
                </c:pt>
                <c:pt idx="410">
                  <c:v>0.9993434830868076</c:v>
                </c:pt>
                <c:pt idx="411">
                  <c:v>0.9993606371418144</c:v>
                </c:pt>
                <c:pt idx="412">
                  <c:v>0.9993776486028478</c:v>
                </c:pt>
                <c:pt idx="413">
                  <c:v>0.9993942322819609</c:v>
                </c:pt>
                <c:pt idx="414">
                  <c:v>0.999410573551319</c:v>
                </c:pt>
                <c:pt idx="415">
                  <c:v>0.9994268863018825</c:v>
                </c:pt>
                <c:pt idx="416">
                  <c:v>0.9994431134960619</c:v>
                </c:pt>
                <c:pt idx="417">
                  <c:v>0.999459169577473</c:v>
                </c:pt>
                <c:pt idx="418">
                  <c:v>0.9994749689897321</c:v>
                </c:pt>
                <c:pt idx="419">
                  <c:v>0.9994904261764548</c:v>
                </c:pt>
                <c:pt idx="420">
                  <c:v>0.99950565521282</c:v>
                </c:pt>
                <c:pt idx="421">
                  <c:v>0.9995203994296754</c:v>
                </c:pt>
                <c:pt idx="422">
                  <c:v>0.9995349154961733</c:v>
                </c:pt>
                <c:pt idx="423">
                  <c:v>0.9995481482169102</c:v>
                </c:pt>
                <c:pt idx="424">
                  <c:v>0.9995722038202324</c:v>
                </c:pt>
                <c:pt idx="425">
                  <c:v>0.9995838394884664</c:v>
                </c:pt>
                <c:pt idx="426">
                  <c:v>0.9995954608973031</c:v>
                </c:pt>
                <c:pt idx="427">
                  <c:v>0.9996069111933716</c:v>
                </c:pt>
                <c:pt idx="428">
                  <c:v>0.9996180477826986</c:v>
                </c:pt>
                <c:pt idx="429">
                  <c:v>0.9996291701126282</c:v>
                </c:pt>
                <c:pt idx="430">
                  <c:v>0.9996501742049183</c:v>
                </c:pt>
                <c:pt idx="431">
                  <c:v>0.9996605265273912</c:v>
                </c:pt>
                <c:pt idx="432">
                  <c:v>0.9996707362558908</c:v>
                </c:pt>
                <c:pt idx="433">
                  <c:v>0.9996809174655956</c:v>
                </c:pt>
                <c:pt idx="434">
                  <c:v>0.9996908134873536</c:v>
                </c:pt>
                <c:pt idx="435">
                  <c:v>0.9997006096933301</c:v>
                </c:pt>
                <c:pt idx="436">
                  <c:v>0.9997103773805118</c:v>
                </c:pt>
                <c:pt idx="437">
                  <c:v>0.9997201308082962</c:v>
                </c:pt>
                <c:pt idx="438">
                  <c:v>0.9997296703451205</c:v>
                </c:pt>
                <c:pt idx="439">
                  <c:v>0.9997389817315873</c:v>
                </c:pt>
                <c:pt idx="440">
                  <c:v>0.9997481362646832</c:v>
                </c:pt>
                <c:pt idx="441">
                  <c:v>0.9997569485722428</c:v>
                </c:pt>
                <c:pt idx="442">
                  <c:v>0.9997654899512529</c:v>
                </c:pt>
                <c:pt idx="443">
                  <c:v>0.9997739315144816</c:v>
                </c:pt>
                <c:pt idx="444">
                  <c:v>0.9997819310363925</c:v>
                </c:pt>
                <c:pt idx="445">
                  <c:v>0.9997962902495195</c:v>
                </c:pt>
                <c:pt idx="446">
                  <c:v>0.999803362910603</c:v>
                </c:pt>
                <c:pt idx="447">
                  <c:v>0.999810378534097</c:v>
                </c:pt>
                <c:pt idx="448">
                  <c:v>0.9998173371200018</c:v>
                </c:pt>
                <c:pt idx="449">
                  <c:v>0.9998239677397674</c:v>
                </c:pt>
                <c:pt idx="450">
                  <c:v>0.9998304272467651</c:v>
                </c:pt>
                <c:pt idx="451">
                  <c:v>0.9998368011973786</c:v>
                </c:pt>
                <c:pt idx="452">
                  <c:v>0.9998431608885948</c:v>
                </c:pt>
                <c:pt idx="453">
                  <c:v>0.9998490642790959</c:v>
                </c:pt>
                <c:pt idx="454">
                  <c:v>0.999860243646615</c:v>
                </c:pt>
                <c:pt idx="455">
                  <c:v>0.9998655624018249</c:v>
                </c:pt>
                <c:pt idx="456">
                  <c:v>0.9998708383788428</c:v>
                </c:pt>
                <c:pt idx="457">
                  <c:v>0.9998759432430926</c:v>
                </c:pt>
                <c:pt idx="458">
                  <c:v>0.9998809625509583</c:v>
                </c:pt>
                <c:pt idx="459">
                  <c:v>0.9998858677836452</c:v>
                </c:pt>
                <c:pt idx="460">
                  <c:v>0.999890687459948</c:v>
                </c:pt>
                <c:pt idx="461">
                  <c:v>0.999899841993044</c:v>
                </c:pt>
                <c:pt idx="462">
                  <c:v>0.9999041340716451</c:v>
                </c:pt>
                <c:pt idx="463">
                  <c:v>0.9999083548532595</c:v>
                </c:pt>
                <c:pt idx="464">
                  <c:v>0.9999125756348738</c:v>
                </c:pt>
                <c:pt idx="465">
                  <c:v>0.9999167964164881</c:v>
                </c:pt>
                <c:pt idx="466">
                  <c:v>0.999928674494477</c:v>
                </c:pt>
                <c:pt idx="467">
                  <c:v>0.9999324247159789</c:v>
                </c:pt>
                <c:pt idx="468">
                  <c:v>0.9999453865081661</c:v>
                </c:pt>
                <c:pt idx="469">
                  <c:v>0.9999480244966751</c:v>
                </c:pt>
                <c:pt idx="470">
                  <c:v>0.9999504771130185</c:v>
                </c:pt>
                <c:pt idx="471">
                  <c:v>0.9999597599806905</c:v>
                </c:pt>
                <c:pt idx="472">
                  <c:v>0.9999618133339083</c:v>
                </c:pt>
                <c:pt idx="473">
                  <c:v>0.9999655207772182</c:v>
                </c:pt>
                <c:pt idx="474">
                  <c:v>0.9999744471599568</c:v>
                </c:pt>
                <c:pt idx="475">
                  <c:v>0.9999866389446873</c:v>
                </c:pt>
                <c:pt idx="476">
                  <c:v>0.9999879650686405</c:v>
                </c:pt>
                <c:pt idx="477">
                  <c:v>0.9999885924821237</c:v>
                </c:pt>
                <c:pt idx="478">
                  <c:v>0.9999925708539832</c:v>
                </c:pt>
                <c:pt idx="479">
                  <c:v>0.999994994951532</c:v>
                </c:pt>
                <c:pt idx="480">
                  <c:v>0.9999954512522471</c:v>
                </c:pt>
                <c:pt idx="481">
                  <c:v>0.9999966062634321</c:v>
                </c:pt>
                <c:pt idx="482">
                  <c:v>0.9999973334926968</c:v>
                </c:pt>
                <c:pt idx="483">
                  <c:v>0.9999996435150668</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101</c:f>
              <c:strCache>
                <c:ptCount val="100"/>
                <c:pt idx="0">
                  <c:v>Apericube</c:v>
                </c:pt>
                <c:pt idx="1">
                  <c:v>Apericube</c:v>
                </c:pt>
                <c:pt idx="2">
                  <c:v>Apericube</c:v>
                </c:pt>
                <c:pt idx="3">
                  <c:v>Boursin</c:v>
                </c:pt>
                <c:pt idx="4">
                  <c:v>Aperivrais</c:v>
                </c:pt>
                <c:pt idx="5">
                  <c:v>Aperivrais</c:v>
                </c:pt>
                <c:pt idx="6">
                  <c:v>Apericube</c:v>
                </c:pt>
                <c:pt idx="7">
                  <c:v>Apericube</c:v>
                </c:pt>
                <c:pt idx="8">
                  <c:v>Apericube</c:v>
                </c:pt>
                <c:pt idx="9">
                  <c:v>Apericube</c:v>
                </c:pt>
                <c:pt idx="10">
                  <c:v>Boursin</c:v>
                </c:pt>
                <c:pt idx="11">
                  <c:v>Apericube</c:v>
                </c:pt>
                <c:pt idx="12">
                  <c:v>Apericube</c:v>
                </c:pt>
                <c:pt idx="13">
                  <c:v>Apericube</c:v>
                </c:pt>
                <c:pt idx="14">
                  <c:v>Private Lab</c:v>
                </c:pt>
                <c:pt idx="15">
                  <c:v>Aperivrais</c:v>
                </c:pt>
                <c:pt idx="16">
                  <c:v>Apericube</c:v>
                </c:pt>
                <c:pt idx="17">
                  <c:v>St Moret</c:v>
                </c:pt>
                <c:pt idx="18">
                  <c:v>Apericube</c:v>
                </c:pt>
                <c:pt idx="19">
                  <c:v>Apericube</c:v>
                </c:pt>
                <c:pt idx="20">
                  <c:v>Aperivrais</c:v>
                </c:pt>
                <c:pt idx="21">
                  <c:v>St Moret</c:v>
                </c:pt>
                <c:pt idx="22">
                  <c:v>Apericube</c:v>
                </c:pt>
                <c:pt idx="23">
                  <c:v>Apericube</c:v>
                </c:pt>
                <c:pt idx="24">
                  <c:v>All Others</c:v>
                </c:pt>
                <c:pt idx="25">
                  <c:v>Apericube</c:v>
                </c:pt>
                <c:pt idx="26">
                  <c:v>Leerdammer</c:v>
                </c:pt>
                <c:pt idx="27">
                  <c:v>Apericube</c:v>
                </c:pt>
                <c:pt idx="28">
                  <c:v>Apericube</c:v>
                </c:pt>
                <c:pt idx="29">
                  <c:v>Apericube</c:v>
                </c:pt>
                <c:pt idx="30">
                  <c:v>All Others</c:v>
                </c:pt>
                <c:pt idx="31">
                  <c:v>Entremont</c:v>
                </c:pt>
                <c:pt idx="32">
                  <c:v>O'Tapas Ape</c:v>
                </c:pt>
                <c:pt idx="33">
                  <c:v>Richesmonts</c:v>
                </c:pt>
                <c:pt idx="34">
                  <c:v>Aperivrais</c:v>
                </c:pt>
                <c:pt idx="35">
                  <c:v>O'Tapas Ape</c:v>
                </c:pt>
                <c:pt idx="36">
                  <c:v>Apericube</c:v>
                </c:pt>
                <c:pt idx="37">
                  <c:v>Entremont</c:v>
                </c:pt>
                <c:pt idx="38">
                  <c:v>Aperivrais</c:v>
                </c:pt>
                <c:pt idx="39">
                  <c:v>O'Tapas Ape</c:v>
                </c:pt>
                <c:pt idx="40">
                  <c:v>Private Lab</c:v>
                </c:pt>
                <c:pt idx="41">
                  <c:v>St Moret</c:v>
                </c:pt>
                <c:pt idx="42">
                  <c:v>Aperivrais</c:v>
                </c:pt>
                <c:pt idx="43">
                  <c:v>Apericube</c:v>
                </c:pt>
                <c:pt idx="44">
                  <c:v>Apericube</c:v>
                </c:pt>
                <c:pt idx="45">
                  <c:v>Apericube</c:v>
                </c:pt>
                <c:pt idx="46">
                  <c:v>All Others</c:v>
                </c:pt>
                <c:pt idx="47">
                  <c:v>Aperivrais</c:v>
                </c:pt>
                <c:pt idx="48">
                  <c:v>Apericube</c:v>
                </c:pt>
                <c:pt idx="49">
                  <c:v>O'Tapas Ape</c:v>
                </c:pt>
                <c:pt idx="50">
                  <c:v>Boursin</c:v>
                </c:pt>
                <c:pt idx="51">
                  <c:v>All Others</c:v>
                </c:pt>
                <c:pt idx="52">
                  <c:v>Boursin</c:v>
                </c:pt>
                <c:pt idx="53">
                  <c:v>Apericube</c:v>
                </c:pt>
                <c:pt idx="54">
                  <c:v>Richesmonts</c:v>
                </c:pt>
                <c:pt idx="55">
                  <c:v>All Others</c:v>
                </c:pt>
                <c:pt idx="56">
                  <c:v>All Others</c:v>
                </c:pt>
                <c:pt idx="57">
                  <c:v>All Others</c:v>
                </c:pt>
                <c:pt idx="58">
                  <c:v>O'Tapas Ape</c:v>
                </c:pt>
                <c:pt idx="59">
                  <c:v>O'Tapas Ape</c:v>
                </c:pt>
                <c:pt idx="60">
                  <c:v>All Others</c:v>
                </c:pt>
                <c:pt idx="61">
                  <c:v>All Others</c:v>
                </c:pt>
                <c:pt idx="62">
                  <c:v>All Others</c:v>
                </c:pt>
                <c:pt idx="63">
                  <c:v>All Others</c:v>
                </c:pt>
                <c:pt idx="64">
                  <c:v>All Others</c:v>
                </c:pt>
                <c:pt idx="65">
                  <c:v>All Others</c:v>
                </c:pt>
                <c:pt idx="66">
                  <c:v>Private Lab</c:v>
                </c:pt>
                <c:pt idx="67">
                  <c:v>St Moret</c:v>
                </c:pt>
                <c:pt idx="68">
                  <c:v>All Others</c:v>
                </c:pt>
                <c:pt idx="69">
                  <c:v>All Others</c:v>
                </c:pt>
                <c:pt idx="70">
                  <c:v>All Others</c:v>
                </c:pt>
                <c:pt idx="71">
                  <c:v>All Others</c:v>
                </c:pt>
                <c:pt idx="72">
                  <c:v>All Others</c:v>
                </c:pt>
                <c:pt idx="73">
                  <c:v>All Others</c:v>
                </c:pt>
                <c:pt idx="74">
                  <c:v>All Others</c:v>
                </c:pt>
                <c:pt idx="75">
                  <c:v>All Others</c:v>
                </c:pt>
                <c:pt idx="76">
                  <c:v>Soignon</c:v>
                </c:pt>
                <c:pt idx="77">
                  <c:v>All Others</c:v>
                </c:pt>
                <c:pt idx="78">
                  <c:v>All Others</c:v>
                </c:pt>
                <c:pt idx="79">
                  <c:v>All Others</c:v>
                </c:pt>
                <c:pt idx="80">
                  <c:v>All Others</c:v>
                </c:pt>
                <c:pt idx="81">
                  <c:v>All Others</c:v>
                </c:pt>
                <c:pt idx="82">
                  <c:v>All Others</c:v>
                </c:pt>
                <c:pt idx="83">
                  <c:v>All Others</c:v>
                </c:pt>
                <c:pt idx="84">
                  <c:v>All Others</c:v>
                </c:pt>
                <c:pt idx="85">
                  <c:v>All Others</c:v>
                </c:pt>
                <c:pt idx="86">
                  <c:v>Leerdammer</c:v>
                </c:pt>
                <c:pt idx="87">
                  <c:v>All Others</c:v>
                </c:pt>
                <c:pt idx="88">
                  <c:v>O'Tapas Ape</c:v>
                </c:pt>
                <c:pt idx="89">
                  <c:v>All Others</c:v>
                </c:pt>
                <c:pt idx="90">
                  <c:v>All Others</c:v>
                </c:pt>
                <c:pt idx="91">
                  <c:v>All Others</c:v>
                </c:pt>
                <c:pt idx="92">
                  <c:v>All Others</c:v>
                </c:pt>
                <c:pt idx="93">
                  <c:v>All Others</c:v>
                </c:pt>
                <c:pt idx="94">
                  <c:v>All Others</c:v>
                </c:pt>
                <c:pt idx="95">
                  <c:v>All Others</c:v>
                </c:pt>
                <c:pt idx="96">
                  <c:v>All Others</c:v>
                </c:pt>
                <c:pt idx="97">
                  <c:v>All Others</c:v>
                </c:pt>
                <c:pt idx="98">
                  <c:v>All Others</c:v>
                </c:pt>
                <c:pt idx="99">
                  <c:v>Boursin</c:v>
                </c:pt>
              </c:strCache>
            </c:strRef>
          </c:cat>
          <c:val>
            <c:numRef>
              <c:f>Sheet1!$B$2:$B$101</c:f>
              <c:numCache>
                <c:formatCode>General</c:formatCode>
                <c:ptCount val="100"/>
                <c:pt idx="0">
                  <c:v>0.908</c:v>
                </c:pt>
                <c:pt idx="1">
                  <c:v>0.878</c:v>
                </c:pt>
                <c:pt idx="2">
                  <c:v>0.858</c:v>
                </c:pt>
                <c:pt idx="3">
                  <c:v>0.905</c:v>
                </c:pt>
                <c:pt idx="4">
                  <c:v>0.963</c:v>
                </c:pt>
                <c:pt idx="5">
                  <c:v>0.939</c:v>
                </c:pt>
                <c:pt idx="6">
                  <c:v>0.757</c:v>
                </c:pt>
                <c:pt idx="7">
                  <c:v>0.762</c:v>
                </c:pt>
                <c:pt idx="8">
                  <c:v>0.85</c:v>
                </c:pt>
                <c:pt idx="9">
                  <c:v>0.638</c:v>
                </c:pt>
                <c:pt idx="10">
                  <c:v>0.788</c:v>
                </c:pt>
                <c:pt idx="11">
                  <c:v>0.763</c:v>
                </c:pt>
                <c:pt idx="12">
                  <c:v>0.654</c:v>
                </c:pt>
                <c:pt idx="13">
                  <c:v>0.816</c:v>
                </c:pt>
                <c:pt idx="14">
                  <c:v>0.877</c:v>
                </c:pt>
                <c:pt idx="15">
                  <c:v>0.794</c:v>
                </c:pt>
                <c:pt idx="16">
                  <c:v>0.54</c:v>
                </c:pt>
                <c:pt idx="17">
                  <c:v>0.735</c:v>
                </c:pt>
                <c:pt idx="18">
                  <c:v>0.779</c:v>
                </c:pt>
                <c:pt idx="19">
                  <c:v>0.106</c:v>
                </c:pt>
                <c:pt idx="20">
                  <c:v>0.686</c:v>
                </c:pt>
                <c:pt idx="21">
                  <c:v>0.636</c:v>
                </c:pt>
                <c:pt idx="22">
                  <c:v>0.759</c:v>
                </c:pt>
                <c:pt idx="23">
                  <c:v>0.505</c:v>
                </c:pt>
                <c:pt idx="24">
                  <c:v>0.526</c:v>
                </c:pt>
                <c:pt idx="25">
                  <c:v>0.516</c:v>
                </c:pt>
                <c:pt idx="26">
                  <c:v>0.792</c:v>
                </c:pt>
                <c:pt idx="27">
                  <c:v>0.494</c:v>
                </c:pt>
                <c:pt idx="28">
                  <c:v>0.468</c:v>
                </c:pt>
                <c:pt idx="29">
                  <c:v>0.063</c:v>
                </c:pt>
                <c:pt idx="30">
                  <c:v>0.462</c:v>
                </c:pt>
                <c:pt idx="31">
                  <c:v>0.674</c:v>
                </c:pt>
                <c:pt idx="32">
                  <c:v>0.407</c:v>
                </c:pt>
                <c:pt idx="33">
                  <c:v>0.709</c:v>
                </c:pt>
                <c:pt idx="34">
                  <c:v>0.656</c:v>
                </c:pt>
                <c:pt idx="35">
                  <c:v>0.232</c:v>
                </c:pt>
                <c:pt idx="36">
                  <c:v>0.472</c:v>
                </c:pt>
                <c:pt idx="37">
                  <c:v>0.688</c:v>
                </c:pt>
                <c:pt idx="38">
                  <c:v>0.596</c:v>
                </c:pt>
                <c:pt idx="39">
                  <c:v>0.368</c:v>
                </c:pt>
                <c:pt idx="40">
                  <c:v>0.484</c:v>
                </c:pt>
                <c:pt idx="41">
                  <c:v>0.473</c:v>
                </c:pt>
                <c:pt idx="42">
                  <c:v>0.573</c:v>
                </c:pt>
                <c:pt idx="43">
                  <c:v>0.351</c:v>
                </c:pt>
                <c:pt idx="44">
                  <c:v>0.06</c:v>
                </c:pt>
                <c:pt idx="45">
                  <c:v>0.386</c:v>
                </c:pt>
                <c:pt idx="46">
                  <c:v>0.016</c:v>
                </c:pt>
                <c:pt idx="47">
                  <c:v>0.524</c:v>
                </c:pt>
                <c:pt idx="48">
                  <c:v>0.141</c:v>
                </c:pt>
                <c:pt idx="49">
                  <c:v>0.18</c:v>
                </c:pt>
                <c:pt idx="50">
                  <c:v>0.352</c:v>
                </c:pt>
                <c:pt idx="51">
                  <c:v>0.053</c:v>
                </c:pt>
                <c:pt idx="52">
                  <c:v>0.409</c:v>
                </c:pt>
                <c:pt idx="53">
                  <c:v>0.269</c:v>
                </c:pt>
                <c:pt idx="54">
                  <c:v>0.361</c:v>
                </c:pt>
                <c:pt idx="55">
                  <c:v>0.058</c:v>
                </c:pt>
                <c:pt idx="56">
                  <c:v>0.062</c:v>
                </c:pt>
                <c:pt idx="57">
                  <c:v>0.037</c:v>
                </c:pt>
                <c:pt idx="58">
                  <c:v>0.105</c:v>
                </c:pt>
                <c:pt idx="59">
                  <c:v>0.034</c:v>
                </c:pt>
                <c:pt idx="60">
                  <c:v>0.05</c:v>
                </c:pt>
                <c:pt idx="61">
                  <c:v>0.005</c:v>
                </c:pt>
                <c:pt idx="62">
                  <c:v>0.016</c:v>
                </c:pt>
                <c:pt idx="63">
                  <c:v>0.005</c:v>
                </c:pt>
                <c:pt idx="64">
                  <c:v>0.019</c:v>
                </c:pt>
                <c:pt idx="65">
                  <c:v>0.005</c:v>
                </c:pt>
                <c:pt idx="66">
                  <c:v>0.347</c:v>
                </c:pt>
                <c:pt idx="67">
                  <c:v>0.064</c:v>
                </c:pt>
                <c:pt idx="68">
                  <c:v>0.005</c:v>
                </c:pt>
                <c:pt idx="69">
                  <c:v>0.055</c:v>
                </c:pt>
                <c:pt idx="70">
                  <c:v>0.014</c:v>
                </c:pt>
                <c:pt idx="71">
                  <c:v>0.059</c:v>
                </c:pt>
                <c:pt idx="72">
                  <c:v>0.005</c:v>
                </c:pt>
                <c:pt idx="73">
                  <c:v>0.004</c:v>
                </c:pt>
                <c:pt idx="74">
                  <c:v>0.005</c:v>
                </c:pt>
                <c:pt idx="75">
                  <c:v>0.031</c:v>
                </c:pt>
                <c:pt idx="76">
                  <c:v>0.041</c:v>
                </c:pt>
                <c:pt idx="77">
                  <c:v>0.017</c:v>
                </c:pt>
                <c:pt idx="78">
                  <c:v>0.055</c:v>
                </c:pt>
                <c:pt idx="79">
                  <c:v>0.023</c:v>
                </c:pt>
                <c:pt idx="80">
                  <c:v>0.009</c:v>
                </c:pt>
                <c:pt idx="81">
                  <c:v>0.037</c:v>
                </c:pt>
                <c:pt idx="82">
                  <c:v>0.018</c:v>
                </c:pt>
                <c:pt idx="83">
                  <c:v>0.035</c:v>
                </c:pt>
                <c:pt idx="84">
                  <c:v>0.013</c:v>
                </c:pt>
                <c:pt idx="85">
                  <c:v>0.017</c:v>
                </c:pt>
                <c:pt idx="86">
                  <c:v>0.011</c:v>
                </c:pt>
                <c:pt idx="87">
                  <c:v>0.017</c:v>
                </c:pt>
                <c:pt idx="88">
                  <c:v>0.037</c:v>
                </c:pt>
                <c:pt idx="89">
                  <c:v>0.032</c:v>
                </c:pt>
                <c:pt idx="90">
                  <c:v>0.013</c:v>
                </c:pt>
                <c:pt idx="91">
                  <c:v>0.027</c:v>
                </c:pt>
                <c:pt idx="92">
                  <c:v>0.005</c:v>
                </c:pt>
                <c:pt idx="93">
                  <c:v>0.005</c:v>
                </c:pt>
                <c:pt idx="94">
                  <c:v>0.009</c:v>
                </c:pt>
                <c:pt idx="95">
                  <c:v>0.004</c:v>
                </c:pt>
                <c:pt idx="96">
                  <c:v>0.005</c:v>
                </c:pt>
                <c:pt idx="97">
                  <c:v>0.009</c:v>
                </c:pt>
                <c:pt idx="98">
                  <c:v>0.005</c:v>
                </c:pt>
                <c:pt idx="99">
                  <c:v>0.009</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Item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7ECAC4"/>
              </a:solidFill>
            </c:spPr>
            <c:extLst>
              <c:ext xmlns:c16="http://schemas.microsoft.com/office/drawing/2014/chart" uri="{C3380CC4-5D6E-409C-BE32-E72D297353CC}">
                <c16:uniqueId val="{0000005D-2993-41DE-A2CB-63102DE87051}"/>
              </c:ext>
            </c:extLst>
          </c:dPt>
          <c:dPt>
            <c:idx val="19"/>
            <c:invertIfNegative val="1"/>
            <c:bubble3D val="0"/>
            <c:spPr>
              <a:solidFill>
                <a:srgbClr val="7ECAC4"/>
              </a:solidFill>
            </c:spPr>
            <c:extLst>
              <c:ext xmlns:c16="http://schemas.microsoft.com/office/drawing/2014/chart" uri="{C3380CC4-5D6E-409C-BE32-E72D297353CC}">
                <c16:uniqueId val="{0000005F-2993-41DE-A2CB-63102DE87051}"/>
              </c:ext>
            </c:extLst>
          </c:dPt>
          <c:dPt>
            <c:idx val="20"/>
            <c:invertIfNegative val="1"/>
            <c:bubble3D val="0"/>
            <c:spPr>
              <a:solidFill>
                <a:srgbClr val="7ECAC4"/>
              </a:solidFill>
            </c:spPr>
            <c:extLst>
              <c:ext xmlns:c16="http://schemas.microsoft.com/office/drawing/2014/chart" uri="{C3380CC4-5D6E-409C-BE32-E72D297353CC}">
                <c16:uniqueId val="{00000061-2993-41DE-A2CB-63102DE87051}"/>
              </c:ext>
            </c:extLst>
          </c:dPt>
          <c:dPt>
            <c:idx val="21"/>
            <c:invertIfNegative val="1"/>
            <c:bubble3D val="0"/>
            <c:spPr>
              <a:solidFill>
                <a:srgbClr val="7ECAC4"/>
              </a:solidFill>
            </c:spPr>
            <c:extLst>
              <c:ext xmlns:c16="http://schemas.microsoft.com/office/drawing/2014/chart" uri="{C3380CC4-5D6E-409C-BE32-E72D297353CC}">
                <c16:uniqueId val="{00000063-2993-41DE-A2CB-63102DE87051}"/>
              </c:ext>
            </c:extLst>
          </c:dPt>
          <c:dPt>
            <c:idx val="22"/>
            <c:invertIfNegative val="1"/>
            <c:bubble3D val="0"/>
            <c:spPr>
              <a:solidFill>
                <a:srgbClr val="7ECAC4"/>
              </a:solidFill>
            </c:spPr>
            <c:extLst>
              <c:ext xmlns:c16="http://schemas.microsoft.com/office/drawing/2014/chart" uri="{C3380CC4-5D6E-409C-BE32-E72D297353CC}">
                <c16:uniqueId val="{00000065-2993-41DE-A2CB-63102DE87051}"/>
              </c:ext>
            </c:extLst>
          </c:dPt>
          <c:dPt>
            <c:idx val="23"/>
            <c:invertIfNegative val="1"/>
            <c:bubble3D val="0"/>
            <c:spPr>
              <a:solidFill>
                <a:srgbClr val="7ECAC4"/>
              </a:solidFill>
            </c:spPr>
            <c:extLst>
              <c:ext xmlns:c16="http://schemas.microsoft.com/office/drawing/2014/chart" uri="{C3380CC4-5D6E-409C-BE32-E72D297353CC}">
                <c16:uniqueId val="{00000067-2993-41DE-A2CB-63102DE87051}"/>
              </c:ext>
            </c:extLst>
          </c:dPt>
          <c:dPt>
            <c:idx val="24"/>
            <c:invertIfNegative val="1"/>
            <c:bubble3D val="0"/>
            <c:spPr>
              <a:solidFill>
                <a:srgbClr val="7ECAC4"/>
              </a:solidFill>
            </c:spPr>
            <c:extLst>
              <c:ext xmlns:c16="http://schemas.microsoft.com/office/drawing/2014/chart" uri="{C3380CC4-5D6E-409C-BE32-E72D297353CC}">
                <c16:uniqueId val="{00000069-2993-41DE-A2CB-63102DE87051}"/>
              </c:ext>
            </c:extLst>
          </c:dPt>
          <c:dPt>
            <c:idx val="25"/>
            <c:invertIfNegative val="1"/>
            <c:bubble3D val="0"/>
            <c:spPr>
              <a:solidFill>
                <a:srgbClr val="7ECAC4"/>
              </a:solidFill>
            </c:spPr>
            <c:extLst>
              <c:ext xmlns:c16="http://schemas.microsoft.com/office/drawing/2014/chart" uri="{C3380CC4-5D6E-409C-BE32-E72D297353CC}">
                <c16:uniqueId val="{0000006B-2993-41DE-A2CB-63102DE87051}"/>
              </c:ext>
            </c:extLst>
          </c:dPt>
          <c:dPt>
            <c:idx val="26"/>
            <c:invertIfNegative val="1"/>
            <c:bubble3D val="0"/>
            <c:spPr>
              <a:solidFill>
                <a:srgbClr val="7ECAC4"/>
              </a:solidFill>
            </c:spPr>
            <c:extLst>
              <c:ext xmlns:c16="http://schemas.microsoft.com/office/drawing/2014/chart" uri="{C3380CC4-5D6E-409C-BE32-E72D297353CC}">
                <c16:uniqueId val="{0000006D-2993-41DE-A2CB-63102DE87051}"/>
              </c:ext>
            </c:extLst>
          </c:dPt>
          <c:dPt>
            <c:idx val="27"/>
            <c:invertIfNegative val="1"/>
            <c:bubble3D val="0"/>
            <c:spPr>
              <a:solidFill>
                <a:srgbClr val="7ECAC4"/>
              </a:solidFill>
            </c:spPr>
            <c:extLst>
              <c:ext xmlns:c16="http://schemas.microsoft.com/office/drawing/2014/chart" uri="{C3380CC4-5D6E-409C-BE32-E72D297353CC}">
                <c16:uniqueId val="{0000006F-2993-41DE-A2CB-63102DE87051}"/>
              </c:ext>
            </c:extLst>
          </c:dPt>
          <c:dPt>
            <c:idx val="28"/>
            <c:invertIfNegative val="1"/>
            <c:bubble3D val="0"/>
            <c:spPr>
              <a:solidFill>
                <a:srgbClr val="7ECAC4"/>
              </a:solidFill>
            </c:spPr>
            <c:extLst>
              <c:ext xmlns:c16="http://schemas.microsoft.com/office/drawing/2014/chart" uri="{C3380CC4-5D6E-409C-BE32-E72D297353CC}">
                <c16:uniqueId val="{00000071-2993-41DE-A2CB-63102DE87051}"/>
              </c:ext>
            </c:extLst>
          </c:dPt>
          <c:dPt>
            <c:idx val="29"/>
            <c:invertIfNegative val="1"/>
            <c:bubble3D val="0"/>
            <c:spPr>
              <a:solidFill>
                <a:srgbClr val="7ECAC4"/>
              </a:solidFill>
            </c:spPr>
            <c:extLst>
              <c:ext xmlns:c16="http://schemas.microsoft.com/office/drawing/2014/chart" uri="{C3380CC4-5D6E-409C-BE32-E72D297353CC}">
                <c16:uniqueId val="{00000073-2993-41DE-A2CB-63102DE87051}"/>
              </c:ext>
            </c:extLst>
          </c:dPt>
          <c:dPt>
            <c:idx val="30"/>
            <c:invertIfNegative val="1"/>
            <c:bubble3D val="0"/>
            <c:spPr>
              <a:solidFill>
                <a:srgbClr val="7ECAC4"/>
              </a:solidFill>
            </c:spPr>
            <c:extLst>
              <c:ext xmlns:c16="http://schemas.microsoft.com/office/drawing/2014/chart" uri="{C3380CC4-5D6E-409C-BE32-E72D297353CC}">
                <c16:uniqueId val="{00000075-2993-41DE-A2CB-63102DE87051}"/>
              </c:ext>
            </c:extLst>
          </c:dPt>
          <c:dPt>
            <c:idx val="31"/>
            <c:invertIfNegative val="1"/>
            <c:bubble3D val="0"/>
            <c:spPr>
              <a:solidFill>
                <a:srgbClr val="7ECAC4"/>
              </a:solidFill>
            </c:spPr>
            <c:extLst>
              <c:ext xmlns:c16="http://schemas.microsoft.com/office/drawing/2014/chart" uri="{C3380CC4-5D6E-409C-BE32-E72D297353CC}">
                <c16:uniqueId val="{00000077-2993-41DE-A2CB-63102DE87051}"/>
              </c:ext>
            </c:extLst>
          </c:dPt>
          <c:dPt>
            <c:idx val="32"/>
            <c:invertIfNegative val="1"/>
            <c:bubble3D val="0"/>
            <c:spPr>
              <a:solidFill>
                <a:srgbClr val="7ECAC4"/>
              </a:solidFill>
            </c:spPr>
            <c:extLst>
              <c:ext xmlns:c16="http://schemas.microsoft.com/office/drawing/2014/chart" uri="{C3380CC4-5D6E-409C-BE32-E72D297353CC}">
                <c16:uniqueId val="{00000079-2993-41DE-A2CB-63102DE87051}"/>
              </c:ext>
            </c:extLst>
          </c:dPt>
          <c:dPt>
            <c:idx val="33"/>
            <c:invertIfNegative val="1"/>
            <c:bubble3D val="0"/>
            <c:spPr>
              <a:solidFill>
                <a:srgbClr val="7ECAC4"/>
              </a:solidFill>
            </c:spPr>
            <c:extLst>
              <c:ext xmlns:c16="http://schemas.microsoft.com/office/drawing/2014/chart" uri="{C3380CC4-5D6E-409C-BE32-E72D297353CC}">
                <c16:uniqueId val="{0000007B-2993-41DE-A2CB-63102DE87051}"/>
              </c:ext>
            </c:extLst>
          </c:dPt>
          <c:dPt>
            <c:idx val="34"/>
            <c:invertIfNegative val="1"/>
            <c:bubble3D val="0"/>
            <c:spPr>
              <a:solidFill>
                <a:srgbClr val="7ECAC4"/>
              </a:solidFill>
            </c:spPr>
            <c:extLst>
              <c:ext xmlns:c16="http://schemas.microsoft.com/office/drawing/2014/chart" uri="{C3380CC4-5D6E-409C-BE32-E72D297353CC}">
                <c16:uniqueId val="{0000007D-2993-41DE-A2CB-63102DE87051}"/>
              </c:ext>
            </c:extLst>
          </c:dPt>
          <c:dPt>
            <c:idx val="35"/>
            <c:invertIfNegative val="1"/>
            <c:bubble3D val="0"/>
            <c:spPr>
              <a:solidFill>
                <a:srgbClr val="7ECAC4"/>
              </a:solidFill>
            </c:spPr>
            <c:extLst>
              <c:ext xmlns:c16="http://schemas.microsoft.com/office/drawing/2014/chart" uri="{C3380CC4-5D6E-409C-BE32-E72D297353CC}">
                <c16:uniqueId val="{0000007F-2993-41DE-A2CB-63102DE87051}"/>
              </c:ext>
            </c:extLst>
          </c:dPt>
          <c:dPt>
            <c:idx val="36"/>
            <c:invertIfNegative val="1"/>
            <c:bubble3D val="0"/>
            <c:spPr>
              <a:solidFill>
                <a:srgbClr val="AEABAB"/>
              </a:solidFill>
            </c:spPr>
            <c:extLst>
              <c:ext xmlns:c16="http://schemas.microsoft.com/office/drawing/2014/chart" uri="{C3380CC4-5D6E-409C-BE32-E72D297353CC}">
                <c16:uniqueId val="{00000081-2993-41DE-A2CB-63102DE87051}"/>
              </c:ext>
            </c:extLst>
          </c:dPt>
          <c:dPt>
            <c:idx val="37"/>
            <c:invertIfNegative val="1"/>
            <c:bubble3D val="0"/>
            <c:spPr>
              <a:solidFill>
                <a:srgbClr val="AEABAB"/>
              </a:solidFill>
            </c:spPr>
            <c:extLst>
              <c:ext xmlns:c16="http://schemas.microsoft.com/office/drawing/2014/chart" uri="{C3380CC4-5D6E-409C-BE32-E72D297353CC}">
                <c16:uniqueId val="{00000083-2993-41DE-A2CB-63102DE87051}"/>
              </c:ext>
            </c:extLst>
          </c:dPt>
          <c:dPt>
            <c:idx val="38"/>
            <c:invertIfNegative val="1"/>
            <c:bubble3D val="0"/>
            <c:spPr>
              <a:solidFill>
                <a:srgbClr val="AEABAB"/>
              </a:solidFill>
            </c:spPr>
            <c:extLst>
              <c:ext xmlns:c16="http://schemas.microsoft.com/office/drawing/2014/chart" uri="{C3380CC4-5D6E-409C-BE32-E72D297353CC}">
                <c16:uniqueId val="{00000085-2993-41DE-A2CB-63102DE87051}"/>
              </c:ext>
            </c:extLst>
          </c:dPt>
          <c:dPt>
            <c:idx val="39"/>
            <c:invertIfNegative val="1"/>
            <c:bubble3D val="0"/>
            <c:spPr>
              <a:solidFill>
                <a:srgbClr val="AEABAB"/>
              </a:solidFill>
            </c:spPr>
            <c:extLst>
              <c:ext xmlns:c16="http://schemas.microsoft.com/office/drawing/2014/chart" uri="{C3380CC4-5D6E-409C-BE32-E72D297353CC}">
                <c16:uniqueId val="{00000087-2993-41DE-A2CB-63102DE87051}"/>
              </c:ext>
            </c:extLst>
          </c:dPt>
          <c:dPt>
            <c:idx val="40"/>
            <c:invertIfNegative val="1"/>
            <c:bubble3D val="0"/>
            <c:spPr>
              <a:solidFill>
                <a:srgbClr val="AEABAB"/>
              </a:solidFill>
            </c:spPr>
            <c:extLst>
              <c:ext xmlns:c16="http://schemas.microsoft.com/office/drawing/2014/chart" uri="{C3380CC4-5D6E-409C-BE32-E72D297353CC}">
                <c16:uniqueId val="{00000089-2993-41DE-A2CB-63102DE87051}"/>
              </c:ext>
            </c:extLst>
          </c:dPt>
          <c:dPt>
            <c:idx val="41"/>
            <c:invertIfNegative val="1"/>
            <c:bubble3D val="0"/>
            <c:spPr>
              <a:solidFill>
                <a:srgbClr val="AEABAB"/>
              </a:solidFill>
            </c:spPr>
            <c:extLst>
              <c:ext xmlns:c16="http://schemas.microsoft.com/office/drawing/2014/chart" uri="{C3380CC4-5D6E-409C-BE32-E72D297353CC}">
                <c16:uniqueId val="{0000008B-2993-41DE-A2CB-63102DE87051}"/>
              </c:ext>
            </c:extLst>
          </c:dPt>
          <c:dPt>
            <c:idx val="42"/>
            <c:invertIfNegative val="1"/>
            <c:bubble3D val="0"/>
            <c:spPr>
              <a:solidFill>
                <a:srgbClr val="AEABAB"/>
              </a:solidFill>
            </c:spPr>
            <c:extLst>
              <c:ext xmlns:c16="http://schemas.microsoft.com/office/drawing/2014/chart" uri="{C3380CC4-5D6E-409C-BE32-E72D297353CC}">
                <c16:uniqueId val="{0000008D-2993-41DE-A2CB-63102DE87051}"/>
              </c:ext>
            </c:extLst>
          </c:dPt>
          <c:dPt>
            <c:idx val="43"/>
            <c:invertIfNegative val="1"/>
            <c:bubble3D val="0"/>
            <c:spPr>
              <a:solidFill>
                <a:srgbClr val="AEABAB"/>
              </a:solidFill>
            </c:spPr>
            <c:extLst>
              <c:ext xmlns:c16="http://schemas.microsoft.com/office/drawing/2014/chart" uri="{C3380CC4-5D6E-409C-BE32-E72D297353CC}">
                <c16:uniqueId val="{0000008F-2993-41DE-A2CB-63102DE87051}"/>
              </c:ext>
            </c:extLst>
          </c:dPt>
          <c:dPt>
            <c:idx val="44"/>
            <c:invertIfNegative val="1"/>
            <c:bubble3D val="0"/>
            <c:spPr>
              <a:solidFill>
                <a:srgbClr val="AEABAB"/>
              </a:solidFill>
            </c:spPr>
            <c:extLst>
              <c:ext xmlns:c16="http://schemas.microsoft.com/office/drawing/2014/chart" uri="{C3380CC4-5D6E-409C-BE32-E72D297353CC}">
                <c16:uniqueId val="{00000091-2993-41DE-A2CB-63102DE87051}"/>
              </c:ext>
            </c:extLst>
          </c:dPt>
          <c:dPt>
            <c:idx val="45"/>
            <c:invertIfNegative val="1"/>
            <c:bubble3D val="0"/>
            <c:spPr>
              <a:solidFill>
                <a:srgbClr val="AEABAB"/>
              </a:solidFill>
            </c:spPr>
            <c:extLst>
              <c:ext xmlns:c16="http://schemas.microsoft.com/office/drawing/2014/chart" uri="{C3380CC4-5D6E-409C-BE32-E72D297353CC}">
                <c16:uniqueId val="{00000093-2993-41DE-A2CB-63102DE87051}"/>
              </c:ext>
            </c:extLst>
          </c:dPt>
          <c:dPt>
            <c:idx val="46"/>
            <c:invertIfNegative val="1"/>
            <c:bubble3D val="0"/>
            <c:spPr>
              <a:solidFill>
                <a:srgbClr val="AEABAB"/>
              </a:solidFill>
            </c:spPr>
            <c:extLst>
              <c:ext xmlns:c16="http://schemas.microsoft.com/office/drawing/2014/chart" uri="{C3380CC4-5D6E-409C-BE32-E72D297353CC}">
                <c16:uniqueId val="{00000095-2993-41DE-A2CB-63102DE87051}"/>
              </c:ext>
            </c:extLst>
          </c:dPt>
          <c:dPt>
            <c:idx val="47"/>
            <c:invertIfNegative val="1"/>
            <c:bubble3D val="0"/>
            <c:spPr>
              <a:solidFill>
                <a:srgbClr val="AEABAB"/>
              </a:solidFill>
            </c:spPr>
            <c:extLst>
              <c:ext xmlns:c16="http://schemas.microsoft.com/office/drawing/2014/chart" uri="{C3380CC4-5D6E-409C-BE32-E72D297353CC}">
                <c16:uniqueId val="{00000097-2993-41DE-A2CB-63102DE87051}"/>
              </c:ext>
            </c:extLst>
          </c:dPt>
          <c:dPt>
            <c:idx val="48"/>
            <c:invertIfNegative val="1"/>
            <c:bubble3D val="0"/>
            <c:spPr>
              <a:solidFill>
                <a:srgbClr val="AEABAB"/>
              </a:solidFill>
            </c:spPr>
            <c:extLst>
              <c:ext xmlns:c16="http://schemas.microsoft.com/office/drawing/2014/chart" uri="{C3380CC4-5D6E-409C-BE32-E72D297353CC}">
                <c16:uniqueId val="{00000099-2993-41DE-A2CB-63102DE87051}"/>
              </c:ext>
            </c:extLst>
          </c:dPt>
          <c:dPt>
            <c:idx val="49"/>
            <c:invertIfNegative val="1"/>
            <c:bubble3D val="0"/>
            <c:spPr>
              <a:solidFill>
                <a:srgbClr val="AEABAB"/>
              </a:solidFill>
            </c:spPr>
            <c:extLst>
              <c:ext xmlns:c16="http://schemas.microsoft.com/office/drawing/2014/chart" uri="{C3380CC4-5D6E-409C-BE32-E72D297353CC}">
                <c16:uniqueId val="{0000009B-2993-41DE-A2CB-63102DE87051}"/>
              </c:ext>
            </c:extLst>
          </c:dPt>
          <c:dPt>
            <c:idx val="50"/>
            <c:invertIfNegative val="1"/>
            <c:bubble3D val="0"/>
            <c:spPr>
              <a:solidFill>
                <a:srgbClr val="AEABAB"/>
              </a:solidFill>
            </c:spPr>
            <c:extLst>
              <c:ext xmlns:c16="http://schemas.microsoft.com/office/drawing/2014/chart" uri="{C3380CC4-5D6E-409C-BE32-E72D297353CC}">
                <c16:uniqueId val="{0000009D-2993-41DE-A2CB-63102DE87051}"/>
              </c:ext>
            </c:extLst>
          </c:dPt>
          <c:dPt>
            <c:idx val="51"/>
            <c:invertIfNegative val="1"/>
            <c:bubble3D val="0"/>
            <c:spPr>
              <a:solidFill>
                <a:srgbClr val="AEABAB"/>
              </a:solidFill>
            </c:spPr>
            <c:extLst>
              <c:ext xmlns:c16="http://schemas.microsoft.com/office/drawing/2014/chart" uri="{C3380CC4-5D6E-409C-BE32-E72D297353CC}">
                <c16:uniqueId val="{0000009F-2993-41DE-A2CB-63102DE87051}"/>
              </c:ext>
            </c:extLst>
          </c:dPt>
          <c:dPt>
            <c:idx val="52"/>
            <c:invertIfNegative val="1"/>
            <c:bubble3D val="0"/>
            <c:spPr>
              <a:solidFill>
                <a:srgbClr val="AEABAB"/>
              </a:solidFill>
            </c:spPr>
            <c:extLst>
              <c:ext xmlns:c16="http://schemas.microsoft.com/office/drawing/2014/chart" uri="{C3380CC4-5D6E-409C-BE32-E72D297353CC}">
                <c16:uniqueId val="{000000A1-2993-41DE-A2CB-63102DE87051}"/>
              </c:ext>
            </c:extLst>
          </c:dPt>
          <c:dPt>
            <c:idx val="53"/>
            <c:invertIfNegative val="1"/>
            <c:bubble3D val="0"/>
            <c:spPr>
              <a:solidFill>
                <a:srgbClr val="AEABAB"/>
              </a:solidFill>
            </c:spPr>
            <c:extLst>
              <c:ext xmlns:c16="http://schemas.microsoft.com/office/drawing/2014/chart" uri="{C3380CC4-5D6E-409C-BE32-E72D297353CC}">
                <c16:uniqueId val="{000000A3-2993-41DE-A2CB-63102DE87051}"/>
              </c:ext>
            </c:extLst>
          </c:dPt>
          <c:dPt>
            <c:idx val="54"/>
            <c:invertIfNegative val="0"/>
            <c:bubble3D val="0"/>
            <c:spPr>
              <a:solidFill>
                <a:srgbClr val="AEABAB"/>
              </a:solidFill>
            </c:spPr>
            <c:extLst>
              <c:ext xmlns:c16="http://schemas.microsoft.com/office/drawing/2014/chart" uri="{C3380CC4-5D6E-409C-BE32-E72D297353CC}">
                <c16:uniqueId val="{00000072-C76F-4230-900D-40618C09729F}"/>
              </c:ext>
            </c:extLst>
          </c:dPt>
          <c:dPt>
            <c:idx val="55"/>
            <c:invertIfNegative val="0"/>
            <c:bubble3D val="0"/>
            <c:spPr>
              <a:solidFill>
                <a:srgbClr val="AEABAB"/>
              </a:solidFill>
            </c:spPr>
            <c:extLst>
              <c:ext xmlns:c16="http://schemas.microsoft.com/office/drawing/2014/chart" uri="{C3380CC4-5D6E-409C-BE32-E72D297353CC}">
                <c16:uniqueId val="{00000074-C76F-4230-900D-40618C09729F}"/>
              </c:ext>
            </c:extLst>
          </c:dPt>
          <c:dPt>
            <c:idx val="56"/>
            <c:invertIfNegative val="0"/>
            <c:bubble3D val="0"/>
            <c:spPr>
              <a:solidFill>
                <a:srgbClr val="AEABAB"/>
              </a:solidFill>
            </c:spPr>
            <c:extLst>
              <c:ext xmlns:c16="http://schemas.microsoft.com/office/drawing/2014/chart" uri="{C3380CC4-5D6E-409C-BE32-E72D297353CC}">
                <c16:uniqueId val="{00000076-C76F-4230-900D-40618C09729F}"/>
              </c:ext>
            </c:extLst>
          </c:dPt>
          <c:dPt>
            <c:idx val="57"/>
            <c:invertIfNegative val="0"/>
            <c:bubble3D val="0"/>
            <c:spPr>
              <a:solidFill>
                <a:srgbClr val="AEABAB"/>
              </a:solidFill>
            </c:spPr>
            <c:extLst>
              <c:ext xmlns:c16="http://schemas.microsoft.com/office/drawing/2014/chart" uri="{C3380CC4-5D6E-409C-BE32-E72D297353CC}">
                <c16:uniqueId val="{00000078-C76F-4230-900D-40618C09729F}"/>
              </c:ext>
            </c:extLst>
          </c:dPt>
          <c:dPt>
            <c:idx val="58"/>
            <c:invertIfNegative val="0"/>
            <c:bubble3D val="0"/>
            <c:spPr>
              <a:solidFill>
                <a:srgbClr val="AEABAB"/>
              </a:solidFill>
            </c:spPr>
            <c:extLst>
              <c:ext xmlns:c16="http://schemas.microsoft.com/office/drawing/2014/chart" uri="{C3380CC4-5D6E-409C-BE32-E72D297353CC}">
                <c16:uniqueId val="{0000007A-C76F-4230-900D-40618C09729F}"/>
              </c:ext>
            </c:extLst>
          </c:dPt>
          <c:dPt>
            <c:idx val="59"/>
            <c:invertIfNegative val="0"/>
            <c:bubble3D val="0"/>
            <c:spPr>
              <a:solidFill>
                <a:srgbClr val="AEABAB"/>
              </a:solidFill>
            </c:spPr>
            <c:extLst>
              <c:ext xmlns:c16="http://schemas.microsoft.com/office/drawing/2014/chart" uri="{C3380CC4-5D6E-409C-BE32-E72D297353CC}">
                <c16:uniqueId val="{0000007C-C76F-4230-900D-40618C09729F}"/>
              </c:ext>
            </c:extLst>
          </c:dPt>
          <c:dPt>
            <c:idx val="60"/>
            <c:invertIfNegative val="0"/>
            <c:bubble3D val="0"/>
            <c:spPr>
              <a:solidFill>
                <a:srgbClr val="AEABAB"/>
              </a:solidFill>
            </c:spPr>
            <c:extLst>
              <c:ext xmlns:c16="http://schemas.microsoft.com/office/drawing/2014/chart" uri="{C3380CC4-5D6E-409C-BE32-E72D297353CC}">
                <c16:uniqueId val="{0000007E-C76F-4230-900D-40618C09729F}"/>
              </c:ext>
            </c:extLst>
          </c:dPt>
          <c:dPt>
            <c:idx val="61"/>
            <c:invertIfNegative val="0"/>
            <c:bubble3D val="0"/>
            <c:spPr>
              <a:solidFill>
                <a:srgbClr val="AEABAB"/>
              </a:solidFill>
            </c:spPr>
            <c:extLst>
              <c:ext xmlns:c16="http://schemas.microsoft.com/office/drawing/2014/chart" uri="{C3380CC4-5D6E-409C-BE32-E72D297353CC}">
                <c16:uniqueId val="{00000080-C76F-4230-900D-40618C09729F}"/>
              </c:ext>
            </c:extLst>
          </c:dPt>
          <c:dPt>
            <c:idx val="62"/>
            <c:invertIfNegative val="0"/>
            <c:bubble3D val="0"/>
            <c:spPr>
              <a:solidFill>
                <a:srgbClr val="AEABAB"/>
              </a:solidFill>
            </c:spPr>
            <c:extLst>
              <c:ext xmlns:c16="http://schemas.microsoft.com/office/drawing/2014/chart" uri="{C3380CC4-5D6E-409C-BE32-E72D297353CC}">
                <c16:uniqueId val="{00000082-C76F-4230-900D-40618C09729F}"/>
              </c:ext>
            </c:extLst>
          </c:dPt>
          <c:dPt>
            <c:idx val="63"/>
            <c:invertIfNegative val="0"/>
            <c:bubble3D val="0"/>
            <c:spPr>
              <a:solidFill>
                <a:srgbClr val="AEABAB"/>
              </a:solidFill>
            </c:spPr>
            <c:extLst>
              <c:ext xmlns:c16="http://schemas.microsoft.com/office/drawing/2014/chart" uri="{C3380CC4-5D6E-409C-BE32-E72D297353CC}">
                <c16:uniqueId val="{00000084-C76F-4230-900D-40618C09729F}"/>
              </c:ext>
            </c:extLst>
          </c:dPt>
          <c:dPt>
            <c:idx val="64"/>
            <c:invertIfNegative val="0"/>
            <c:bubble3D val="0"/>
            <c:spPr>
              <a:solidFill>
                <a:srgbClr val="AEABAB"/>
              </a:solidFill>
            </c:spPr>
            <c:extLst>
              <c:ext xmlns:c16="http://schemas.microsoft.com/office/drawing/2014/chart" uri="{C3380CC4-5D6E-409C-BE32-E72D297353CC}">
                <c16:uniqueId val="{00000086-C76F-4230-900D-40618C09729F}"/>
              </c:ext>
            </c:extLst>
          </c:dPt>
          <c:dPt>
            <c:idx val="65"/>
            <c:invertIfNegative val="0"/>
            <c:bubble3D val="0"/>
            <c:spPr>
              <a:solidFill>
                <a:srgbClr val="AEABAB"/>
              </a:solidFill>
            </c:spPr>
            <c:extLst>
              <c:ext xmlns:c16="http://schemas.microsoft.com/office/drawing/2014/chart" uri="{C3380CC4-5D6E-409C-BE32-E72D297353CC}">
                <c16:uniqueId val="{00000088-C76F-4230-900D-40618C09729F}"/>
              </c:ext>
            </c:extLst>
          </c:dPt>
          <c:dPt>
            <c:idx val="66"/>
            <c:invertIfNegative val="0"/>
            <c:bubble3D val="0"/>
            <c:spPr>
              <a:solidFill>
                <a:srgbClr val="AEABAB"/>
              </a:solidFill>
            </c:spPr>
            <c:extLst>
              <c:ext xmlns:c16="http://schemas.microsoft.com/office/drawing/2014/chart" uri="{C3380CC4-5D6E-409C-BE32-E72D297353CC}">
                <c16:uniqueId val="{0000008A-C76F-4230-900D-40618C09729F}"/>
              </c:ext>
            </c:extLst>
          </c:dPt>
          <c:dPt>
            <c:idx val="67"/>
            <c:invertIfNegative val="0"/>
            <c:bubble3D val="0"/>
            <c:spPr>
              <a:solidFill>
                <a:srgbClr val="AEABAB"/>
              </a:solidFill>
            </c:spPr>
            <c:extLst>
              <c:ext xmlns:c16="http://schemas.microsoft.com/office/drawing/2014/chart" uri="{C3380CC4-5D6E-409C-BE32-E72D297353CC}">
                <c16:uniqueId val="{0000008C-C76F-4230-900D-40618C09729F}"/>
              </c:ext>
            </c:extLst>
          </c:dPt>
          <c:dPt>
            <c:idx val="68"/>
            <c:invertIfNegative val="0"/>
            <c:bubble3D val="0"/>
            <c:spPr>
              <a:solidFill>
                <a:srgbClr val="AEABAB"/>
              </a:solidFill>
            </c:spPr>
            <c:extLst>
              <c:ext xmlns:c16="http://schemas.microsoft.com/office/drawing/2014/chart" uri="{C3380CC4-5D6E-409C-BE32-E72D297353CC}">
                <c16:uniqueId val="{0000008E-C76F-4230-900D-40618C09729F}"/>
              </c:ext>
            </c:extLst>
          </c:dPt>
          <c:dPt>
            <c:idx val="69"/>
            <c:invertIfNegative val="0"/>
            <c:bubble3D val="0"/>
            <c:spPr>
              <a:solidFill>
                <a:srgbClr val="AEABAB"/>
              </a:solidFill>
            </c:spPr>
            <c:extLst>
              <c:ext xmlns:c16="http://schemas.microsoft.com/office/drawing/2014/chart" uri="{C3380CC4-5D6E-409C-BE32-E72D297353CC}">
                <c16:uniqueId val="{00000090-C76F-4230-900D-40618C09729F}"/>
              </c:ext>
            </c:extLst>
          </c:dPt>
          <c:dPt>
            <c:idx val="70"/>
            <c:invertIfNegative val="0"/>
            <c:bubble3D val="0"/>
            <c:spPr>
              <a:solidFill>
                <a:srgbClr val="AEABAB"/>
              </a:solidFill>
            </c:spPr>
            <c:extLst>
              <c:ext xmlns:c16="http://schemas.microsoft.com/office/drawing/2014/chart" uri="{C3380CC4-5D6E-409C-BE32-E72D297353CC}">
                <c16:uniqueId val="{00000092-C76F-4230-900D-40618C09729F}"/>
              </c:ext>
            </c:extLst>
          </c:dPt>
          <c:dPt>
            <c:idx val="71"/>
            <c:invertIfNegative val="0"/>
            <c:bubble3D val="0"/>
            <c:spPr>
              <a:solidFill>
                <a:srgbClr val="AEABAB"/>
              </a:solidFill>
            </c:spPr>
            <c:extLst>
              <c:ext xmlns:c16="http://schemas.microsoft.com/office/drawing/2014/chart" uri="{C3380CC4-5D6E-409C-BE32-E72D297353CC}">
                <c16:uniqueId val="{00000094-C76F-4230-900D-40618C09729F}"/>
              </c:ext>
            </c:extLst>
          </c:dPt>
          <c:dPt>
            <c:idx val="72"/>
            <c:invertIfNegative val="0"/>
            <c:bubble3D val="0"/>
            <c:spPr>
              <a:solidFill>
                <a:srgbClr val="AEABAB"/>
              </a:solidFill>
            </c:spPr>
            <c:extLst>
              <c:ext xmlns:c16="http://schemas.microsoft.com/office/drawing/2014/chart" uri="{C3380CC4-5D6E-409C-BE32-E72D297353CC}">
                <c16:uniqueId val="{00000096-C76F-4230-900D-40618C09729F}"/>
              </c:ext>
            </c:extLst>
          </c:dPt>
          <c:dPt>
            <c:idx val="73"/>
            <c:invertIfNegative val="0"/>
            <c:bubble3D val="0"/>
            <c:spPr>
              <a:solidFill>
                <a:srgbClr val="AEABAB"/>
              </a:solidFill>
            </c:spPr>
            <c:extLst>
              <c:ext xmlns:c16="http://schemas.microsoft.com/office/drawing/2014/chart" uri="{C3380CC4-5D6E-409C-BE32-E72D297353CC}">
                <c16:uniqueId val="{00000098-C76F-4230-900D-40618C09729F}"/>
              </c:ext>
            </c:extLst>
          </c:dPt>
          <c:dPt>
            <c:idx val="74"/>
            <c:invertIfNegative val="0"/>
            <c:bubble3D val="0"/>
            <c:spPr>
              <a:solidFill>
                <a:srgbClr val="AEABAB"/>
              </a:solidFill>
            </c:spPr>
            <c:extLst>
              <c:ext xmlns:c16="http://schemas.microsoft.com/office/drawing/2014/chart" uri="{C3380CC4-5D6E-409C-BE32-E72D297353CC}">
                <c16:uniqueId val="{0000009A-C76F-4230-900D-40618C09729F}"/>
              </c:ext>
            </c:extLst>
          </c:dPt>
          <c:dPt>
            <c:idx val="75"/>
            <c:invertIfNegative val="0"/>
            <c:bubble3D val="0"/>
            <c:spPr>
              <a:solidFill>
                <a:srgbClr val="AEABAB"/>
              </a:solidFill>
            </c:spPr>
            <c:extLst>
              <c:ext xmlns:c16="http://schemas.microsoft.com/office/drawing/2014/chart" uri="{C3380CC4-5D6E-409C-BE32-E72D297353CC}">
                <c16:uniqueId val="{0000009C-C76F-4230-900D-40618C09729F}"/>
              </c:ext>
            </c:extLst>
          </c:dPt>
          <c:dPt>
            <c:idx val="76"/>
            <c:invertIfNegative val="0"/>
            <c:bubble3D val="0"/>
            <c:spPr>
              <a:solidFill>
                <a:srgbClr val="AEABAB"/>
              </a:solidFill>
            </c:spPr>
            <c:extLst>
              <c:ext xmlns:c16="http://schemas.microsoft.com/office/drawing/2014/chart" uri="{C3380CC4-5D6E-409C-BE32-E72D297353CC}">
                <c16:uniqueId val="{0000009E-C76F-4230-900D-40618C09729F}"/>
              </c:ext>
            </c:extLst>
          </c:dPt>
          <c:dPt>
            <c:idx val="77"/>
            <c:invertIfNegative val="0"/>
            <c:bubble3D val="0"/>
            <c:spPr>
              <a:solidFill>
                <a:srgbClr val="AEABAB"/>
              </a:solidFill>
            </c:spPr>
            <c:extLst>
              <c:ext xmlns:c16="http://schemas.microsoft.com/office/drawing/2014/chart" uri="{C3380CC4-5D6E-409C-BE32-E72D297353CC}">
                <c16:uniqueId val="{000000A0-C76F-4230-900D-40618C09729F}"/>
              </c:ext>
            </c:extLst>
          </c:dPt>
          <c:dPt>
            <c:idx val="78"/>
            <c:invertIfNegative val="0"/>
            <c:bubble3D val="0"/>
            <c:spPr>
              <a:solidFill>
                <a:srgbClr val="AEABAB"/>
              </a:solidFill>
            </c:spPr>
            <c:extLst>
              <c:ext xmlns:c16="http://schemas.microsoft.com/office/drawing/2014/chart" uri="{C3380CC4-5D6E-409C-BE32-E72D297353CC}">
                <c16:uniqueId val="{000000A2-C76F-4230-900D-40618C09729F}"/>
              </c:ext>
            </c:extLst>
          </c:dPt>
          <c:dPt>
            <c:idx val="79"/>
            <c:invertIfNegative val="0"/>
            <c:bubble3D val="0"/>
            <c:spPr>
              <a:solidFill>
                <a:srgbClr val="AEABAB"/>
              </a:solidFill>
            </c:spPr>
            <c:extLst>
              <c:ext xmlns:c16="http://schemas.microsoft.com/office/drawing/2014/chart" uri="{C3380CC4-5D6E-409C-BE32-E72D297353CC}">
                <c16:uniqueId val="{000000A4-C76F-4230-900D-40618C09729F}"/>
              </c:ext>
            </c:extLst>
          </c:dPt>
          <c:dPt>
            <c:idx val="80"/>
            <c:invertIfNegative val="0"/>
            <c:bubble3D val="0"/>
            <c:spPr>
              <a:solidFill>
                <a:srgbClr val="AEABAB"/>
              </a:solidFill>
            </c:spPr>
            <c:extLst>
              <c:ext xmlns:c16="http://schemas.microsoft.com/office/drawing/2014/chart" uri="{C3380CC4-5D6E-409C-BE32-E72D297353CC}">
                <c16:uniqueId val="{000000A6-C76F-4230-900D-40618C09729F}"/>
              </c:ext>
            </c:extLst>
          </c:dPt>
          <c:dPt>
            <c:idx val="81"/>
            <c:invertIfNegative val="1"/>
            <c:bubble3D val="0"/>
            <c:spPr>
              <a:solidFill>
                <a:srgbClr val="AEABAB"/>
              </a:solidFill>
            </c:spPr>
            <c:extLst>
              <c:ext xmlns:c16="http://schemas.microsoft.com/office/drawing/2014/chart" uri="{C3380CC4-5D6E-409C-BE32-E72D297353CC}">
                <c16:uniqueId val="{000000A5-2993-41DE-A2CB-63102DE87051}"/>
              </c:ext>
            </c:extLst>
          </c:dPt>
          <c:dPt>
            <c:idx val="82"/>
            <c:invertIfNegative val="1"/>
            <c:bubble3D val="0"/>
            <c:spPr>
              <a:solidFill>
                <a:srgbClr val="AEABAB"/>
              </a:solidFill>
            </c:spPr>
            <c:extLst>
              <c:ext xmlns:c16="http://schemas.microsoft.com/office/drawing/2014/chart" uri="{C3380CC4-5D6E-409C-BE32-E72D297353CC}">
                <c16:uniqueId val="{000000A7-2993-41DE-A2CB-63102DE87051}"/>
              </c:ext>
            </c:extLst>
          </c:dPt>
          <c:dPt>
            <c:idx val="83"/>
            <c:invertIfNegative val="1"/>
            <c:bubble3D val="0"/>
            <c:spPr>
              <a:solidFill>
                <a:srgbClr val="AEABAB"/>
              </a:solidFill>
            </c:spPr>
            <c:extLst>
              <c:ext xmlns:c16="http://schemas.microsoft.com/office/drawing/2014/chart" uri="{C3380CC4-5D6E-409C-BE32-E72D297353CC}">
                <c16:uniqueId val="{000000A9-2993-41DE-A2CB-63102DE87051}"/>
              </c:ext>
            </c:extLst>
          </c:dPt>
          <c:dPt>
            <c:idx val="84"/>
            <c:invertIfNegative val="1"/>
            <c:bubble3D val="0"/>
            <c:spPr>
              <a:solidFill>
                <a:srgbClr val="AEABAB"/>
              </a:solidFill>
            </c:spPr>
            <c:extLst>
              <c:ext xmlns:c16="http://schemas.microsoft.com/office/drawing/2014/chart" uri="{C3380CC4-5D6E-409C-BE32-E72D297353CC}">
                <c16:uniqueId val="{000000AB-2993-41DE-A2CB-63102DE87051}"/>
              </c:ext>
            </c:extLst>
          </c:dPt>
          <c:dPt>
            <c:idx val="85"/>
            <c:invertIfNegative val="1"/>
            <c:bubble3D val="0"/>
            <c:spPr>
              <a:solidFill>
                <a:srgbClr val="AEABAB"/>
              </a:solidFill>
            </c:spPr>
            <c:extLst>
              <c:ext xmlns:c16="http://schemas.microsoft.com/office/drawing/2014/chart" uri="{C3380CC4-5D6E-409C-BE32-E72D297353CC}">
                <c16:uniqueId val="{000000AD-2993-41DE-A2CB-63102DE87051}"/>
              </c:ext>
            </c:extLst>
          </c:dPt>
          <c:dPt>
            <c:idx val="86"/>
            <c:invertIfNegative val="1"/>
            <c:bubble3D val="0"/>
            <c:spPr>
              <a:solidFill>
                <a:srgbClr val="AEABAB"/>
              </a:solidFill>
            </c:spPr>
            <c:extLst>
              <c:ext xmlns:c16="http://schemas.microsoft.com/office/drawing/2014/chart" uri="{C3380CC4-5D6E-409C-BE32-E72D297353CC}">
                <c16:uniqueId val="{000000AF-2993-41DE-A2CB-63102DE87051}"/>
              </c:ext>
            </c:extLst>
          </c:dPt>
          <c:dPt>
            <c:idx val="87"/>
            <c:invertIfNegative val="1"/>
            <c:bubble3D val="0"/>
            <c:spPr>
              <a:solidFill>
                <a:srgbClr val="AEABAB"/>
              </a:solidFill>
            </c:spPr>
            <c:extLst>
              <c:ext xmlns:c16="http://schemas.microsoft.com/office/drawing/2014/chart" uri="{C3380CC4-5D6E-409C-BE32-E72D297353CC}">
                <c16:uniqueId val="{000000B1-2993-41DE-A2CB-63102DE87051}"/>
              </c:ext>
            </c:extLst>
          </c:dPt>
          <c:dPt>
            <c:idx val="88"/>
            <c:invertIfNegative val="1"/>
            <c:bubble3D val="0"/>
            <c:spPr>
              <a:solidFill>
                <a:srgbClr val="AEABAB"/>
              </a:solidFill>
            </c:spPr>
            <c:extLst>
              <c:ext xmlns:c16="http://schemas.microsoft.com/office/drawing/2014/chart" uri="{C3380CC4-5D6E-409C-BE32-E72D297353CC}">
                <c16:uniqueId val="{000000B3-2993-41DE-A2CB-63102DE87051}"/>
              </c:ext>
            </c:extLst>
          </c:dPt>
          <c:dPt>
            <c:idx val="89"/>
            <c:invertIfNegative val="1"/>
            <c:bubble3D val="0"/>
            <c:spPr>
              <a:solidFill>
                <a:srgbClr val="AEABAB"/>
              </a:solidFill>
            </c:spPr>
            <c:extLst>
              <c:ext xmlns:c16="http://schemas.microsoft.com/office/drawing/2014/chart" uri="{C3380CC4-5D6E-409C-BE32-E72D297353CC}">
                <c16:uniqueId val="{000000B5-2993-41DE-A2CB-63102DE87051}"/>
              </c:ext>
            </c:extLst>
          </c:dPt>
          <c:dPt>
            <c:idx val="90"/>
            <c:invertIfNegative val="1"/>
            <c:bubble3D val="0"/>
            <c:spPr>
              <a:solidFill>
                <a:srgbClr val="AEABAB"/>
              </a:solidFill>
            </c:spPr>
            <c:extLst>
              <c:ext xmlns:c16="http://schemas.microsoft.com/office/drawing/2014/chart" uri="{C3380CC4-5D6E-409C-BE32-E72D297353CC}">
                <c16:uniqueId val="{000000B7-2993-41DE-A2CB-63102DE87051}"/>
              </c:ext>
            </c:extLst>
          </c:dPt>
          <c:dPt>
            <c:idx val="91"/>
            <c:invertIfNegative val="1"/>
            <c:bubble3D val="0"/>
            <c:spPr>
              <a:solidFill>
                <a:srgbClr val="AEABAB"/>
              </a:solidFill>
            </c:spPr>
            <c:extLst>
              <c:ext xmlns:c16="http://schemas.microsoft.com/office/drawing/2014/chart" uri="{C3380CC4-5D6E-409C-BE32-E72D297353CC}">
                <c16:uniqueId val="{000000B9-2993-41DE-A2CB-63102DE87051}"/>
              </c:ext>
            </c:extLst>
          </c:dPt>
          <c:dPt>
            <c:idx val="92"/>
            <c:invertIfNegative val="1"/>
            <c:bubble3D val="0"/>
            <c:spPr>
              <a:solidFill>
                <a:srgbClr val="AEABAB"/>
              </a:solidFill>
            </c:spPr>
            <c:extLst>
              <c:ext xmlns:c16="http://schemas.microsoft.com/office/drawing/2014/chart" uri="{C3380CC4-5D6E-409C-BE32-E72D297353CC}">
                <c16:uniqueId val="{000000BB-2993-41DE-A2CB-63102DE87051}"/>
              </c:ext>
            </c:extLst>
          </c:dPt>
          <c:dPt>
            <c:idx val="93"/>
            <c:invertIfNegative val="1"/>
            <c:bubble3D val="0"/>
            <c:spPr>
              <a:solidFill>
                <a:srgbClr val="AEABAB"/>
              </a:solidFill>
            </c:spPr>
            <c:extLst>
              <c:ext xmlns:c16="http://schemas.microsoft.com/office/drawing/2014/chart" uri="{C3380CC4-5D6E-409C-BE32-E72D297353CC}">
                <c16:uniqueId val="{000000BD-2993-41DE-A2CB-63102DE87051}"/>
              </c:ext>
            </c:extLst>
          </c:dPt>
          <c:dPt>
            <c:idx val="94"/>
            <c:invertIfNegative val="1"/>
            <c:bubble3D val="0"/>
            <c:spPr>
              <a:solidFill>
                <a:srgbClr val="AEABAB"/>
              </a:solidFill>
            </c:spPr>
            <c:extLst>
              <c:ext xmlns:c16="http://schemas.microsoft.com/office/drawing/2014/chart" uri="{C3380CC4-5D6E-409C-BE32-E72D297353CC}">
                <c16:uniqueId val="{000000BF-2993-41DE-A2CB-63102DE87051}"/>
              </c:ext>
            </c:extLst>
          </c:dPt>
          <c:dPt>
            <c:idx val="95"/>
            <c:invertIfNegative val="1"/>
            <c:bubble3D val="0"/>
            <c:spPr>
              <a:solidFill>
                <a:srgbClr val="AEABAB"/>
              </a:solidFill>
            </c:spPr>
            <c:extLst>
              <c:ext xmlns:c16="http://schemas.microsoft.com/office/drawing/2014/chart" uri="{C3380CC4-5D6E-409C-BE32-E72D297353CC}">
                <c16:uniqueId val="{000000C1-2993-41DE-A2CB-63102DE87051}"/>
              </c:ext>
            </c:extLst>
          </c:dPt>
          <c:dPt>
            <c:idx val="96"/>
            <c:invertIfNegative val="1"/>
            <c:bubble3D val="0"/>
            <c:spPr>
              <a:solidFill>
                <a:srgbClr val="AEABAB"/>
              </a:solidFill>
            </c:spPr>
            <c:extLst>
              <c:ext xmlns:c16="http://schemas.microsoft.com/office/drawing/2014/chart" uri="{C3380CC4-5D6E-409C-BE32-E72D297353CC}">
                <c16:uniqueId val="{000000C3-2993-41DE-A2CB-63102DE87051}"/>
              </c:ext>
            </c:extLst>
          </c:dPt>
          <c:dPt>
            <c:idx val="97"/>
            <c:invertIfNegative val="1"/>
            <c:bubble3D val="0"/>
            <c:spPr>
              <a:solidFill>
                <a:srgbClr val="AEABAB"/>
              </a:solidFill>
            </c:spPr>
            <c:extLst>
              <c:ext xmlns:c16="http://schemas.microsoft.com/office/drawing/2014/chart" uri="{C3380CC4-5D6E-409C-BE32-E72D297353CC}">
                <c16:uniqueId val="{000000C5-2993-41DE-A2CB-63102DE87051}"/>
              </c:ext>
            </c:extLst>
          </c:dPt>
          <c:dPt>
            <c:idx val="98"/>
            <c:invertIfNegative val="1"/>
            <c:bubble3D val="0"/>
            <c:spPr>
              <a:solidFill>
                <a:srgbClr val="AEABAB"/>
              </a:solidFill>
            </c:spPr>
            <c:extLst>
              <c:ext xmlns:c16="http://schemas.microsoft.com/office/drawing/2014/chart" uri="{C3380CC4-5D6E-409C-BE32-E72D297353CC}">
                <c16:uniqueId val="{000000C7-2993-41DE-A2CB-63102DE87051}"/>
              </c:ext>
            </c:extLst>
          </c:dPt>
          <c:dPt>
            <c:idx val="99"/>
            <c:invertIfNegative val="1"/>
            <c:bubble3D val="0"/>
            <c:spPr>
              <a:solidFill>
                <a:srgbClr val="AEABAB"/>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101</c:f>
              <c:strCache>
                <c:ptCount val="100"/>
                <c:pt idx="0">
                  <c:v>Apericube</c:v>
                </c:pt>
                <c:pt idx="1">
                  <c:v>Apericube</c:v>
                </c:pt>
                <c:pt idx="2">
                  <c:v>Apericube</c:v>
                </c:pt>
                <c:pt idx="3">
                  <c:v>Boursin</c:v>
                </c:pt>
                <c:pt idx="4">
                  <c:v>Aperivrais</c:v>
                </c:pt>
                <c:pt idx="5">
                  <c:v>Aperivrais</c:v>
                </c:pt>
                <c:pt idx="6">
                  <c:v>Apericube</c:v>
                </c:pt>
                <c:pt idx="7">
                  <c:v>Apericube</c:v>
                </c:pt>
                <c:pt idx="8">
                  <c:v>Apericube</c:v>
                </c:pt>
                <c:pt idx="9">
                  <c:v>Apericube</c:v>
                </c:pt>
                <c:pt idx="10">
                  <c:v>Boursin</c:v>
                </c:pt>
                <c:pt idx="11">
                  <c:v>Apericube</c:v>
                </c:pt>
                <c:pt idx="12">
                  <c:v>Apericube</c:v>
                </c:pt>
                <c:pt idx="13">
                  <c:v>Apericube</c:v>
                </c:pt>
                <c:pt idx="14">
                  <c:v>Private Lab</c:v>
                </c:pt>
                <c:pt idx="15">
                  <c:v>Aperivrais</c:v>
                </c:pt>
                <c:pt idx="16">
                  <c:v>Apericube</c:v>
                </c:pt>
                <c:pt idx="17">
                  <c:v>St Moret</c:v>
                </c:pt>
                <c:pt idx="18">
                  <c:v>Apericube</c:v>
                </c:pt>
                <c:pt idx="19">
                  <c:v>Apericube</c:v>
                </c:pt>
                <c:pt idx="20">
                  <c:v>Aperivrais</c:v>
                </c:pt>
                <c:pt idx="21">
                  <c:v>St Moret</c:v>
                </c:pt>
                <c:pt idx="22">
                  <c:v>Apericube</c:v>
                </c:pt>
                <c:pt idx="23">
                  <c:v>Apericube</c:v>
                </c:pt>
                <c:pt idx="24">
                  <c:v>All Others</c:v>
                </c:pt>
                <c:pt idx="25">
                  <c:v>Apericube</c:v>
                </c:pt>
                <c:pt idx="26">
                  <c:v>Leerdammer</c:v>
                </c:pt>
                <c:pt idx="27">
                  <c:v>Apericube</c:v>
                </c:pt>
                <c:pt idx="28">
                  <c:v>Apericube</c:v>
                </c:pt>
                <c:pt idx="29">
                  <c:v>Apericube</c:v>
                </c:pt>
                <c:pt idx="30">
                  <c:v>All Others</c:v>
                </c:pt>
                <c:pt idx="31">
                  <c:v>Entremont</c:v>
                </c:pt>
                <c:pt idx="32">
                  <c:v>O'Tapas Ape</c:v>
                </c:pt>
                <c:pt idx="33">
                  <c:v>Richesmonts</c:v>
                </c:pt>
                <c:pt idx="34">
                  <c:v>Aperivrais</c:v>
                </c:pt>
                <c:pt idx="35">
                  <c:v>O'Tapas Ape</c:v>
                </c:pt>
                <c:pt idx="36">
                  <c:v>Apericube</c:v>
                </c:pt>
                <c:pt idx="37">
                  <c:v>Entremont</c:v>
                </c:pt>
                <c:pt idx="38">
                  <c:v>Aperivrais</c:v>
                </c:pt>
                <c:pt idx="39">
                  <c:v>O'Tapas Ape</c:v>
                </c:pt>
                <c:pt idx="40">
                  <c:v>Private Lab</c:v>
                </c:pt>
                <c:pt idx="41">
                  <c:v>St Moret</c:v>
                </c:pt>
                <c:pt idx="42">
                  <c:v>Aperivrais</c:v>
                </c:pt>
                <c:pt idx="43">
                  <c:v>Apericube</c:v>
                </c:pt>
                <c:pt idx="44">
                  <c:v>Apericube</c:v>
                </c:pt>
                <c:pt idx="45">
                  <c:v>Apericube</c:v>
                </c:pt>
                <c:pt idx="46">
                  <c:v>All Others</c:v>
                </c:pt>
                <c:pt idx="47">
                  <c:v>Aperivrais</c:v>
                </c:pt>
                <c:pt idx="48">
                  <c:v>Apericube</c:v>
                </c:pt>
                <c:pt idx="49">
                  <c:v>O'Tapas Ape</c:v>
                </c:pt>
                <c:pt idx="50">
                  <c:v>Boursin</c:v>
                </c:pt>
                <c:pt idx="51">
                  <c:v>All Others</c:v>
                </c:pt>
                <c:pt idx="52">
                  <c:v>Boursin</c:v>
                </c:pt>
                <c:pt idx="53">
                  <c:v>Apericube</c:v>
                </c:pt>
                <c:pt idx="54">
                  <c:v>Richesmonts</c:v>
                </c:pt>
                <c:pt idx="55">
                  <c:v>All Others</c:v>
                </c:pt>
                <c:pt idx="56">
                  <c:v>All Others</c:v>
                </c:pt>
                <c:pt idx="57">
                  <c:v>All Others</c:v>
                </c:pt>
                <c:pt idx="58">
                  <c:v>O'Tapas Ape</c:v>
                </c:pt>
                <c:pt idx="59">
                  <c:v>O'Tapas Ape</c:v>
                </c:pt>
                <c:pt idx="60">
                  <c:v>All Others</c:v>
                </c:pt>
                <c:pt idx="61">
                  <c:v>All Others</c:v>
                </c:pt>
                <c:pt idx="62">
                  <c:v>All Others</c:v>
                </c:pt>
                <c:pt idx="63">
                  <c:v>All Others</c:v>
                </c:pt>
                <c:pt idx="64">
                  <c:v>All Others</c:v>
                </c:pt>
                <c:pt idx="65">
                  <c:v>All Others</c:v>
                </c:pt>
                <c:pt idx="66">
                  <c:v>Private Lab</c:v>
                </c:pt>
                <c:pt idx="67">
                  <c:v>St Moret</c:v>
                </c:pt>
                <c:pt idx="68">
                  <c:v>All Others</c:v>
                </c:pt>
                <c:pt idx="69">
                  <c:v>All Others</c:v>
                </c:pt>
                <c:pt idx="70">
                  <c:v>All Others</c:v>
                </c:pt>
                <c:pt idx="71">
                  <c:v>All Others</c:v>
                </c:pt>
                <c:pt idx="72">
                  <c:v>All Others</c:v>
                </c:pt>
                <c:pt idx="73">
                  <c:v>All Others</c:v>
                </c:pt>
                <c:pt idx="74">
                  <c:v>All Others</c:v>
                </c:pt>
                <c:pt idx="75">
                  <c:v>All Others</c:v>
                </c:pt>
                <c:pt idx="76">
                  <c:v>Soignon</c:v>
                </c:pt>
                <c:pt idx="77">
                  <c:v>All Others</c:v>
                </c:pt>
                <c:pt idx="78">
                  <c:v>All Others</c:v>
                </c:pt>
                <c:pt idx="79">
                  <c:v>All Others</c:v>
                </c:pt>
                <c:pt idx="80">
                  <c:v>All Others</c:v>
                </c:pt>
                <c:pt idx="81">
                  <c:v>All Others</c:v>
                </c:pt>
                <c:pt idx="82">
                  <c:v>All Others</c:v>
                </c:pt>
                <c:pt idx="83">
                  <c:v>All Others</c:v>
                </c:pt>
                <c:pt idx="84">
                  <c:v>All Others</c:v>
                </c:pt>
                <c:pt idx="85">
                  <c:v>All Others</c:v>
                </c:pt>
                <c:pt idx="86">
                  <c:v>Leerdammer</c:v>
                </c:pt>
                <c:pt idx="87">
                  <c:v>All Others</c:v>
                </c:pt>
                <c:pt idx="88">
                  <c:v>O'Tapas Ape</c:v>
                </c:pt>
                <c:pt idx="89">
                  <c:v>All Others</c:v>
                </c:pt>
                <c:pt idx="90">
                  <c:v>All Others</c:v>
                </c:pt>
                <c:pt idx="91">
                  <c:v>All Others</c:v>
                </c:pt>
                <c:pt idx="92">
                  <c:v>All Others</c:v>
                </c:pt>
                <c:pt idx="93">
                  <c:v>All Others</c:v>
                </c:pt>
                <c:pt idx="94">
                  <c:v>All Others</c:v>
                </c:pt>
                <c:pt idx="95">
                  <c:v>All Others</c:v>
                </c:pt>
                <c:pt idx="96">
                  <c:v>All Others</c:v>
                </c:pt>
                <c:pt idx="97">
                  <c:v>All Others</c:v>
                </c:pt>
                <c:pt idx="98">
                  <c:v>All Others</c:v>
                </c:pt>
                <c:pt idx="99">
                  <c:v>Boursin</c:v>
                </c:pt>
              </c:strCache>
            </c:strRef>
          </c:cat>
          <c:val>
            <c:numRef>
              <c:f>Sheet1!$C$2:$C$101</c:f>
              <c:numCache>
                <c:formatCode>General</c:formatCode>
                <c:ptCount val="100"/>
                <c:pt idx="0">
                  <c:v>0.11003641958744301</c:v>
                </c:pt>
                <c:pt idx="1">
                  <c:v>0.2015660140625039</c:v>
                </c:pt>
                <c:pt idx="2">
                  <c:v>0.2806261107148939</c:v>
                </c:pt>
                <c:pt idx="3">
                  <c:v>0.3471829759673873</c:v>
                </c:pt>
                <c:pt idx="4">
                  <c:v>0.4034678893467268</c:v>
                </c:pt>
                <c:pt idx="5">
                  <c:v>0.4516890290878893</c:v>
                </c:pt>
                <c:pt idx="6">
                  <c:v>0.49776480127314243</c:v>
                </c:pt>
                <c:pt idx="7">
                  <c:v>0.5410966418611911</c:v>
                </c:pt>
                <c:pt idx="8">
                  <c:v>0.581814440645939</c:v>
                </c:pt>
                <c:pt idx="9">
                  <c:v>0.642787829742807</c:v>
                </c:pt>
                <c:pt idx="10">
                  <c:v>0.6687425061466121</c:v>
                </c:pt>
                <c:pt idx="11">
                  <c:v>0.6914374169579054</c:v>
                </c:pt>
                <c:pt idx="12">
                  <c:v>0.7139019098456179</c:v>
                </c:pt>
                <c:pt idx="13">
                  <c:v>0.7359250723441656</c:v>
                </c:pt>
                <c:pt idx="14">
                  <c:v>0.755392683544096</c:v>
                </c:pt>
                <c:pt idx="15">
                  <c:v>0.7741635049414386</c:v>
                </c:pt>
                <c:pt idx="16">
                  <c:v>0.7915449375614507</c:v>
                </c:pt>
                <c:pt idx="17">
                  <c:v>0.8084425365197662</c:v>
                </c:pt>
                <c:pt idx="18">
                  <c:v>0.824478170145903</c:v>
                </c:pt>
                <c:pt idx="19">
                  <c:v>0.8379294081953499</c:v>
                </c:pt>
                <c:pt idx="20">
                  <c:v>0.8508062958754983</c:v>
                </c:pt>
                <c:pt idx="21">
                  <c:v>0.862761356645477</c:v>
                </c:pt>
                <c:pt idx="22">
                  <c:v>0.873446208538646</c:v>
                </c:pt>
                <c:pt idx="23">
                  <c:v>0.8824420015942217</c:v>
                </c:pt>
                <c:pt idx="24">
                  <c:v>0.8911452903877644</c:v>
                </c:pt>
                <c:pt idx="25">
                  <c:v>0.8991871009837138</c:v>
                </c:pt>
                <c:pt idx="26">
                  <c:v>0.9065829549666831</c:v>
                </c:pt>
                <c:pt idx="27">
                  <c:v>0.9130697356081731</c:v>
                </c:pt>
                <c:pt idx="28">
                  <c:v>0.9186350773791088</c:v>
                </c:pt>
                <c:pt idx="29">
                  <c:v>0.9238386886206371</c:v>
                </c:pt>
                <c:pt idx="30">
                  <c:v>0.9281790151952948</c:v>
                </c:pt>
                <c:pt idx="31">
                  <c:v>0.9325147370331839</c:v>
                </c:pt>
                <c:pt idx="32">
                  <c:v>0.9368136727155401</c:v>
                </c:pt>
                <c:pt idx="33">
                  <c:v>0.9408615985053953</c:v>
                </c:pt>
                <c:pt idx="34">
                  <c:v>0.9447818592618081</c:v>
                </c:pt>
                <c:pt idx="35">
                  <c:v>0.9484735129461783</c:v>
                </c:pt>
                <c:pt idx="36">
                  <c:v>0.9520859548104065</c:v>
                </c:pt>
                <c:pt idx="37">
                  <c:v>0.9555548220169638</c:v>
                </c:pt>
                <c:pt idx="38">
                  <c:v>0.9589835400579888</c:v>
                </c:pt>
                <c:pt idx="39">
                  <c:v>0.9621045685533676</c:v>
                </c:pt>
                <c:pt idx="40">
                  <c:v>0.9648936162231806</c:v>
                </c:pt>
                <c:pt idx="41">
                  <c:v>0.9673441640018905</c:v>
                </c:pt>
                <c:pt idx="42">
                  <c:v>0.9697199753506885</c:v>
                </c:pt>
                <c:pt idx="43">
                  <c:v>0.9720752982077974</c:v>
                </c:pt>
                <c:pt idx="44">
                  <c:v>0.9743424067256886</c:v>
                </c:pt>
                <c:pt idx="45">
                  <c:v>0.9765016143612114</c:v>
                </c:pt>
                <c:pt idx="46">
                  <c:v>0.9785112197903719</c:v>
                </c:pt>
                <c:pt idx="47">
                  <c:v>0.9804847892739225</c:v>
                </c:pt>
                <c:pt idx="48">
                  <c:v>0.9822382109490445</c:v>
                </c:pt>
                <c:pt idx="49">
                  <c:v>0.9838061496880405</c:v>
                </c:pt>
                <c:pt idx="50">
                  <c:v>0.9851620118426067</c:v>
                </c:pt>
                <c:pt idx="51">
                  <c:v>0.9865164253159423</c:v>
                </c:pt>
                <c:pt idx="52">
                  <c:v>0.9878357600080524</c:v>
                </c:pt>
                <c:pt idx="53">
                  <c:v>0.9891348131629347</c:v>
                </c:pt>
                <c:pt idx="54">
                  <c:v>0.989993984609883</c:v>
                </c:pt>
                <c:pt idx="55">
                  <c:v>0.9907751083555352</c:v>
                </c:pt>
                <c:pt idx="56">
                  <c:v>0.9914878853902745</c:v>
                </c:pt>
                <c:pt idx="57">
                  <c:v>0.9920705139380335</c:v>
                </c:pt>
                <c:pt idx="58">
                  <c:v>0.9926488223114084</c:v>
                </c:pt>
                <c:pt idx="59">
                  <c:v>0.9931898530124043</c:v>
                </c:pt>
                <c:pt idx="60">
                  <c:v>0.9936511545071044</c:v>
                </c:pt>
                <c:pt idx="61">
                  <c:v>0.9940384697818156</c:v>
                </c:pt>
                <c:pt idx="62">
                  <c:v>0.9944247502842193</c:v>
                </c:pt>
                <c:pt idx="63">
                  <c:v>0.9947747102786284</c:v>
                </c:pt>
                <c:pt idx="64">
                  <c:v>0.99507181927743</c:v>
                </c:pt>
                <c:pt idx="65">
                  <c:v>0.9953678158960011</c:v>
                </c:pt>
                <c:pt idx="66">
                  <c:v>0.9956637866452644</c:v>
                </c:pt>
                <c:pt idx="67">
                  <c:v>0.9959577137192204</c:v>
                </c:pt>
                <c:pt idx="68">
                  <c:v>0.9961897096705702</c:v>
                </c:pt>
                <c:pt idx="69">
                  <c:v>0.9964082535819221</c:v>
                </c:pt>
                <c:pt idx="70">
                  <c:v>0.9965947712903557</c:v>
                </c:pt>
                <c:pt idx="71">
                  <c:v>0.9967668797944068</c:v>
                </c:pt>
                <c:pt idx="72">
                  <c:v>0.9969361944132276</c:v>
                </c:pt>
                <c:pt idx="73">
                  <c:v>0.9971032842715871</c:v>
                </c:pt>
                <c:pt idx="74">
                  <c:v>0.9972702965220236</c:v>
                </c:pt>
                <c:pt idx="75">
                  <c:v>0.9974306862296919</c:v>
                </c:pt>
                <c:pt idx="76">
                  <c:v>0.9975901187729757</c:v>
                </c:pt>
                <c:pt idx="77">
                  <c:v>0.9978939279224687</c:v>
                </c:pt>
                <c:pt idx="78">
                  <c:v>0.9980350449959091</c:v>
                </c:pt>
                <c:pt idx="79">
                  <c:v>0.9984046656641614</c:v>
                </c:pt>
                <c:pt idx="80">
                  <c:v>0.9985216466735285</c:v>
                </c:pt>
                <c:pt idx="81">
                  <c:v>0.9986277625736665</c:v>
                </c:pt>
                <c:pt idx="82">
                  <c:v>0.9989274326339292</c:v>
                </c:pt>
                <c:pt idx="83">
                  <c:v>0.9990244942763763</c:v>
                </c:pt>
                <c:pt idx="84">
                  <c:v>0.9991078193164408</c:v>
                </c:pt>
                <c:pt idx="85">
                  <c:v>0.9991858928870445</c:v>
                </c:pt>
                <c:pt idx="86">
                  <c:v>0.9993728762430164</c:v>
                </c:pt>
                <c:pt idx="87">
                  <c:v>0.9994287539476234</c:v>
                </c:pt>
                <c:pt idx="88">
                  <c:v>0.999482096460077</c:v>
                </c:pt>
                <c:pt idx="89">
                  <c:v>0.9995290751228392</c:v>
                </c:pt>
                <c:pt idx="90">
                  <c:v>0.9995746827122939</c:v>
                </c:pt>
                <c:pt idx="91">
                  <c:v>0.9996603877286656</c:v>
                </c:pt>
                <c:pt idx="92">
                  <c:v>0.9997286309623477</c:v>
                </c:pt>
                <c:pt idx="93">
                  <c:v>0.9998325738406396</c:v>
                </c:pt>
                <c:pt idx="94">
                  <c:v>0.9999392329962391</c:v>
                </c:pt>
                <c:pt idx="95">
                  <c:v>0.9999500204975452</c:v>
                </c:pt>
                <c:pt idx="96">
                  <c:v>0.9999607045216206</c:v>
                </c:pt>
                <c:pt idx="97">
                  <c:v>0.9999737426526955</c:v>
                </c:pt>
                <c:pt idx="98">
                  <c:v>0.9999907905264622</c:v>
                </c:pt>
                <c:pt idx="99">
                  <c:v>0.9999983443643072</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48</c:f>
              <c:strCache>
                <c:ptCount val="47"/>
                <c:pt idx="0">
                  <c:v>Apericube</c:v>
                </c:pt>
                <c:pt idx="1">
                  <c:v>Apericube</c:v>
                </c:pt>
                <c:pt idx="2">
                  <c:v>Apericube</c:v>
                </c:pt>
                <c:pt idx="3">
                  <c:v>Apericube</c:v>
                </c:pt>
                <c:pt idx="4">
                  <c:v>Boursin</c:v>
                </c:pt>
                <c:pt idx="5">
                  <c:v>Apericube</c:v>
                </c:pt>
                <c:pt idx="6">
                  <c:v>Private Lab</c:v>
                </c:pt>
                <c:pt idx="7">
                  <c:v>Apericube</c:v>
                </c:pt>
                <c:pt idx="8">
                  <c:v>Apericube</c:v>
                </c:pt>
                <c:pt idx="9">
                  <c:v>Aperivrais</c:v>
                </c:pt>
                <c:pt idx="10">
                  <c:v>Apericube</c:v>
                </c:pt>
                <c:pt idx="11">
                  <c:v>Boursin</c:v>
                </c:pt>
                <c:pt idx="12">
                  <c:v>Apericube</c:v>
                </c:pt>
                <c:pt idx="13">
                  <c:v>St Moret</c:v>
                </c:pt>
                <c:pt idx="14">
                  <c:v>Apericube</c:v>
                </c:pt>
                <c:pt idx="15">
                  <c:v>Aperivrais</c:v>
                </c:pt>
                <c:pt idx="16">
                  <c:v>Aperivrais</c:v>
                </c:pt>
                <c:pt idx="17">
                  <c:v>Private Lab</c:v>
                </c:pt>
                <c:pt idx="18">
                  <c:v>Boursin</c:v>
                </c:pt>
                <c:pt idx="19">
                  <c:v>St Moret</c:v>
                </c:pt>
                <c:pt idx="20">
                  <c:v>St Moret</c:v>
                </c:pt>
                <c:pt idx="21">
                  <c:v>Apericube</c:v>
                </c:pt>
                <c:pt idx="22">
                  <c:v>Aperivrais</c:v>
                </c:pt>
                <c:pt idx="23">
                  <c:v>Aperivrais</c:v>
                </c:pt>
                <c:pt idx="24">
                  <c:v>St Moret</c:v>
                </c:pt>
                <c:pt idx="25">
                  <c:v>Apericube</c:v>
                </c:pt>
                <c:pt idx="26">
                  <c:v>Entremont</c:v>
                </c:pt>
                <c:pt idx="27">
                  <c:v>Entremont</c:v>
                </c:pt>
                <c:pt idx="28">
                  <c:v>Apericube</c:v>
                </c:pt>
                <c:pt idx="29">
                  <c:v>Apericube</c:v>
                </c:pt>
                <c:pt idx="30">
                  <c:v>Aperivrais</c:v>
                </c:pt>
                <c:pt idx="31">
                  <c:v>Apericube</c:v>
                </c:pt>
                <c:pt idx="32">
                  <c:v>Entremont</c:v>
                </c:pt>
                <c:pt idx="33">
                  <c:v>Apericube</c:v>
                </c:pt>
                <c:pt idx="34">
                  <c:v>Aperivrais</c:v>
                </c:pt>
                <c:pt idx="35">
                  <c:v>Boursin</c:v>
                </c:pt>
                <c:pt idx="36">
                  <c:v>Aperivrais</c:v>
                </c:pt>
                <c:pt idx="37">
                  <c:v>Boursin</c:v>
                </c:pt>
                <c:pt idx="38">
                  <c:v>All Others</c:v>
                </c:pt>
                <c:pt idx="39">
                  <c:v>All Others</c:v>
                </c:pt>
                <c:pt idx="40">
                  <c:v>All Others</c:v>
                </c:pt>
                <c:pt idx="41">
                  <c:v>Ambrosi</c:v>
                </c:pt>
                <c:pt idx="42">
                  <c:v>All Others</c:v>
                </c:pt>
                <c:pt idx="43">
                  <c:v>All Others</c:v>
                </c:pt>
                <c:pt idx="44">
                  <c:v>O'Tapas Ape</c:v>
                </c:pt>
                <c:pt idx="45">
                  <c:v>O'Tapas Ape</c:v>
                </c:pt>
                <c:pt idx="46">
                  <c:v>Apericube</c:v>
                </c:pt>
              </c:strCache>
            </c:strRef>
          </c:cat>
          <c:val>
            <c:numRef>
              <c:f>Sheet1!$B$2:$B$48</c:f>
              <c:numCache>
                <c:formatCode>General</c:formatCode>
                <c:ptCount val="47"/>
                <c:pt idx="0">
                  <c:v>0.956</c:v>
                </c:pt>
                <c:pt idx="1">
                  <c:v>0.964</c:v>
                </c:pt>
                <c:pt idx="2">
                  <c:v>0.935</c:v>
                </c:pt>
                <c:pt idx="3">
                  <c:v>0.934</c:v>
                </c:pt>
                <c:pt idx="4">
                  <c:v>0.966</c:v>
                </c:pt>
                <c:pt idx="5">
                  <c:v>0.865</c:v>
                </c:pt>
                <c:pt idx="6">
                  <c:v>0.874</c:v>
                </c:pt>
                <c:pt idx="7">
                  <c:v>0.884</c:v>
                </c:pt>
                <c:pt idx="8">
                  <c:v>0.94</c:v>
                </c:pt>
                <c:pt idx="9">
                  <c:v>0.981</c:v>
                </c:pt>
                <c:pt idx="10">
                  <c:v>0.868</c:v>
                </c:pt>
                <c:pt idx="11">
                  <c:v>0.911</c:v>
                </c:pt>
                <c:pt idx="12">
                  <c:v>0.92</c:v>
                </c:pt>
                <c:pt idx="13">
                  <c:v>0.926</c:v>
                </c:pt>
                <c:pt idx="14">
                  <c:v>0.836</c:v>
                </c:pt>
                <c:pt idx="15">
                  <c:v>0.948</c:v>
                </c:pt>
                <c:pt idx="16">
                  <c:v>0.958</c:v>
                </c:pt>
                <c:pt idx="17">
                  <c:v>0.893</c:v>
                </c:pt>
                <c:pt idx="18">
                  <c:v>0.873</c:v>
                </c:pt>
                <c:pt idx="19">
                  <c:v>0.86</c:v>
                </c:pt>
                <c:pt idx="20">
                  <c:v>0.867</c:v>
                </c:pt>
                <c:pt idx="21">
                  <c:v>0.767</c:v>
                </c:pt>
                <c:pt idx="22">
                  <c:v>0.861</c:v>
                </c:pt>
                <c:pt idx="23">
                  <c:v>0.862</c:v>
                </c:pt>
                <c:pt idx="24">
                  <c:v>0.82</c:v>
                </c:pt>
                <c:pt idx="25">
                  <c:v>0.767</c:v>
                </c:pt>
                <c:pt idx="26">
                  <c:v>0.863</c:v>
                </c:pt>
                <c:pt idx="27">
                  <c:v>0.885</c:v>
                </c:pt>
                <c:pt idx="28">
                  <c:v>0.501</c:v>
                </c:pt>
                <c:pt idx="29">
                  <c:v>0.667</c:v>
                </c:pt>
                <c:pt idx="30">
                  <c:v>0.313</c:v>
                </c:pt>
                <c:pt idx="31">
                  <c:v>0.284</c:v>
                </c:pt>
                <c:pt idx="32">
                  <c:v>0.782</c:v>
                </c:pt>
                <c:pt idx="33">
                  <c:v>0.271</c:v>
                </c:pt>
                <c:pt idx="34">
                  <c:v>0.735</c:v>
                </c:pt>
                <c:pt idx="35">
                  <c:v>0.75</c:v>
                </c:pt>
                <c:pt idx="36">
                  <c:v>0.722</c:v>
                </c:pt>
                <c:pt idx="37">
                  <c:v>0.661</c:v>
                </c:pt>
                <c:pt idx="38">
                  <c:v>0.042</c:v>
                </c:pt>
                <c:pt idx="39">
                  <c:v>0.029</c:v>
                </c:pt>
                <c:pt idx="40">
                  <c:v>0.009</c:v>
                </c:pt>
                <c:pt idx="41">
                  <c:v>0.01</c:v>
                </c:pt>
                <c:pt idx="42">
                  <c:v>0.009</c:v>
                </c:pt>
                <c:pt idx="43">
                  <c:v>0.008</c:v>
                </c:pt>
                <c:pt idx="44">
                  <c:v>0.019</c:v>
                </c:pt>
                <c:pt idx="45">
                  <c:v>0.015</c:v>
                </c:pt>
                <c:pt idx="46">
                  <c:v>0.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Item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7ECAC4"/>
              </a:solidFill>
            </c:spPr>
            <c:extLst>
              <c:ext xmlns:c16="http://schemas.microsoft.com/office/drawing/2014/chart" uri="{C3380CC4-5D6E-409C-BE32-E72D297353CC}">
                <c16:uniqueId val="{00000059-2993-41DE-A2CB-63102DE87051}"/>
              </c:ext>
            </c:extLst>
          </c:dPt>
          <c:dPt>
            <c:idx val="17"/>
            <c:invertIfNegative val="1"/>
            <c:bubble3D val="0"/>
            <c:spPr>
              <a:solidFill>
                <a:srgbClr val="7ECAC4"/>
              </a:solidFill>
            </c:spPr>
            <c:extLst>
              <c:ext xmlns:c16="http://schemas.microsoft.com/office/drawing/2014/chart" uri="{C3380CC4-5D6E-409C-BE32-E72D297353CC}">
                <c16:uniqueId val="{0000005B-2993-41DE-A2CB-63102DE87051}"/>
              </c:ext>
            </c:extLst>
          </c:dPt>
          <c:dPt>
            <c:idx val="18"/>
            <c:invertIfNegative val="1"/>
            <c:bubble3D val="0"/>
            <c:spPr>
              <a:solidFill>
                <a:srgbClr val="7ECAC4"/>
              </a:solidFill>
            </c:spPr>
            <c:extLst>
              <c:ext xmlns:c16="http://schemas.microsoft.com/office/drawing/2014/chart" uri="{C3380CC4-5D6E-409C-BE32-E72D297353CC}">
                <c16:uniqueId val="{0000005D-2993-41DE-A2CB-63102DE87051}"/>
              </c:ext>
            </c:extLst>
          </c:dPt>
          <c:dPt>
            <c:idx val="19"/>
            <c:invertIfNegative val="1"/>
            <c:bubble3D val="0"/>
            <c:spPr>
              <a:solidFill>
                <a:srgbClr val="7ECAC4"/>
              </a:solidFill>
            </c:spPr>
            <c:extLst>
              <c:ext xmlns:c16="http://schemas.microsoft.com/office/drawing/2014/chart" uri="{C3380CC4-5D6E-409C-BE32-E72D297353CC}">
                <c16:uniqueId val="{0000005F-2993-41DE-A2CB-63102DE87051}"/>
              </c:ext>
            </c:extLst>
          </c:dPt>
          <c:dPt>
            <c:idx val="20"/>
            <c:invertIfNegative val="1"/>
            <c:bubble3D val="0"/>
            <c:spPr>
              <a:solidFill>
                <a:srgbClr val="7ECAC4"/>
              </a:solidFill>
            </c:spPr>
            <c:extLst>
              <c:ext xmlns:c16="http://schemas.microsoft.com/office/drawing/2014/chart" uri="{C3380CC4-5D6E-409C-BE32-E72D297353CC}">
                <c16:uniqueId val="{00000061-2993-41DE-A2CB-63102DE87051}"/>
              </c:ext>
            </c:extLst>
          </c:dPt>
          <c:dPt>
            <c:idx val="21"/>
            <c:invertIfNegative val="1"/>
            <c:bubble3D val="0"/>
            <c:spPr>
              <a:solidFill>
                <a:srgbClr val="7ECAC4"/>
              </a:solidFill>
            </c:spPr>
            <c:extLst>
              <c:ext xmlns:c16="http://schemas.microsoft.com/office/drawing/2014/chart" uri="{C3380CC4-5D6E-409C-BE32-E72D297353CC}">
                <c16:uniqueId val="{00000063-2993-41DE-A2CB-63102DE87051}"/>
              </c:ext>
            </c:extLst>
          </c:dPt>
          <c:dPt>
            <c:idx val="22"/>
            <c:invertIfNegative val="1"/>
            <c:bubble3D val="0"/>
            <c:spPr>
              <a:solidFill>
                <a:srgbClr val="7ECAC4"/>
              </a:solidFill>
            </c:spPr>
            <c:extLst>
              <c:ext xmlns:c16="http://schemas.microsoft.com/office/drawing/2014/chart" uri="{C3380CC4-5D6E-409C-BE32-E72D297353CC}">
                <c16:uniqueId val="{00000065-2993-41DE-A2CB-63102DE87051}"/>
              </c:ext>
            </c:extLst>
          </c:dPt>
          <c:dPt>
            <c:idx val="23"/>
            <c:invertIfNegative val="1"/>
            <c:bubble3D val="0"/>
            <c:spPr>
              <a:solidFill>
                <a:srgbClr val="7ECAC4"/>
              </a:solidFill>
            </c:spPr>
            <c:extLst>
              <c:ext xmlns:c16="http://schemas.microsoft.com/office/drawing/2014/chart" uri="{C3380CC4-5D6E-409C-BE32-E72D297353CC}">
                <c16:uniqueId val="{00000067-2993-41DE-A2CB-63102DE87051}"/>
              </c:ext>
            </c:extLst>
          </c:dPt>
          <c:dPt>
            <c:idx val="24"/>
            <c:invertIfNegative val="1"/>
            <c:bubble3D val="0"/>
            <c:spPr>
              <a:solidFill>
                <a:srgbClr val="AEABAB"/>
              </a:solidFill>
            </c:spPr>
            <c:extLst>
              <c:ext xmlns:c16="http://schemas.microsoft.com/office/drawing/2014/chart" uri="{C3380CC4-5D6E-409C-BE32-E72D297353CC}">
                <c16:uniqueId val="{00000069-2993-41DE-A2CB-63102DE87051}"/>
              </c:ext>
            </c:extLst>
          </c:dPt>
          <c:dPt>
            <c:idx val="25"/>
            <c:invertIfNegative val="1"/>
            <c:bubble3D val="0"/>
            <c:spPr>
              <a:solidFill>
                <a:srgbClr val="AEABAB"/>
              </a:solidFill>
            </c:spPr>
            <c:extLst>
              <c:ext xmlns:c16="http://schemas.microsoft.com/office/drawing/2014/chart" uri="{C3380CC4-5D6E-409C-BE32-E72D297353CC}">
                <c16:uniqueId val="{0000006B-2993-41DE-A2CB-63102DE87051}"/>
              </c:ext>
            </c:extLst>
          </c:dPt>
          <c:dPt>
            <c:idx val="26"/>
            <c:invertIfNegative val="1"/>
            <c:bubble3D val="0"/>
            <c:spPr>
              <a:solidFill>
                <a:srgbClr val="AEABAB"/>
              </a:solidFill>
            </c:spPr>
            <c:extLst>
              <c:ext xmlns:c16="http://schemas.microsoft.com/office/drawing/2014/chart" uri="{C3380CC4-5D6E-409C-BE32-E72D297353CC}">
                <c16:uniqueId val="{0000006D-2993-41DE-A2CB-63102DE87051}"/>
              </c:ext>
            </c:extLst>
          </c:dPt>
          <c:dPt>
            <c:idx val="27"/>
            <c:invertIfNegative val="1"/>
            <c:bubble3D val="0"/>
            <c:spPr>
              <a:solidFill>
                <a:srgbClr val="AEABAB"/>
              </a:solidFill>
            </c:spPr>
            <c:extLst>
              <c:ext xmlns:c16="http://schemas.microsoft.com/office/drawing/2014/chart" uri="{C3380CC4-5D6E-409C-BE32-E72D297353CC}">
                <c16:uniqueId val="{0000006F-2993-41DE-A2CB-63102DE87051}"/>
              </c:ext>
            </c:extLst>
          </c:dPt>
          <c:dPt>
            <c:idx val="28"/>
            <c:invertIfNegative val="1"/>
            <c:bubble3D val="0"/>
            <c:spPr>
              <a:solidFill>
                <a:srgbClr val="AEABAB"/>
              </a:solidFill>
            </c:spPr>
            <c:extLst>
              <c:ext xmlns:c16="http://schemas.microsoft.com/office/drawing/2014/chart" uri="{C3380CC4-5D6E-409C-BE32-E72D297353CC}">
                <c16:uniqueId val="{00000071-2993-41DE-A2CB-63102DE87051}"/>
              </c:ext>
            </c:extLst>
          </c:dPt>
          <c:dPt>
            <c:idx val="29"/>
            <c:invertIfNegative val="1"/>
            <c:bubble3D val="0"/>
            <c:spPr>
              <a:solidFill>
                <a:srgbClr val="AEABAB"/>
              </a:solidFill>
            </c:spPr>
            <c:extLst>
              <c:ext xmlns:c16="http://schemas.microsoft.com/office/drawing/2014/chart" uri="{C3380CC4-5D6E-409C-BE32-E72D297353CC}">
                <c16:uniqueId val="{00000073-2993-41DE-A2CB-63102DE87051}"/>
              </c:ext>
            </c:extLst>
          </c:dPt>
          <c:dPt>
            <c:idx val="30"/>
            <c:invertIfNegative val="1"/>
            <c:bubble3D val="0"/>
            <c:spPr>
              <a:solidFill>
                <a:srgbClr val="AEABAB"/>
              </a:solidFill>
            </c:spPr>
            <c:extLst>
              <c:ext xmlns:c16="http://schemas.microsoft.com/office/drawing/2014/chart" uri="{C3380CC4-5D6E-409C-BE32-E72D297353CC}">
                <c16:uniqueId val="{00000075-2993-41DE-A2CB-63102DE87051}"/>
              </c:ext>
            </c:extLst>
          </c:dPt>
          <c:dPt>
            <c:idx val="31"/>
            <c:invertIfNegative val="1"/>
            <c:bubble3D val="0"/>
            <c:spPr>
              <a:solidFill>
                <a:srgbClr val="AEABAB"/>
              </a:solidFill>
            </c:spPr>
            <c:extLst>
              <c:ext xmlns:c16="http://schemas.microsoft.com/office/drawing/2014/chart" uri="{C3380CC4-5D6E-409C-BE32-E72D297353CC}">
                <c16:uniqueId val="{00000077-2993-41DE-A2CB-63102DE87051}"/>
              </c:ext>
            </c:extLst>
          </c:dPt>
          <c:dPt>
            <c:idx val="32"/>
            <c:invertIfNegative val="1"/>
            <c:bubble3D val="0"/>
            <c:spPr>
              <a:solidFill>
                <a:srgbClr val="AEABAB"/>
              </a:solidFill>
            </c:spPr>
            <c:extLst>
              <c:ext xmlns:c16="http://schemas.microsoft.com/office/drawing/2014/chart" uri="{C3380CC4-5D6E-409C-BE32-E72D297353CC}">
                <c16:uniqueId val="{00000079-2993-41DE-A2CB-63102DE87051}"/>
              </c:ext>
            </c:extLst>
          </c:dPt>
          <c:dPt>
            <c:idx val="33"/>
            <c:invertIfNegative val="1"/>
            <c:bubble3D val="0"/>
            <c:spPr>
              <a:solidFill>
                <a:srgbClr val="AEABAB"/>
              </a:solidFill>
            </c:spPr>
            <c:extLst>
              <c:ext xmlns:c16="http://schemas.microsoft.com/office/drawing/2014/chart" uri="{C3380CC4-5D6E-409C-BE32-E72D297353CC}">
                <c16:uniqueId val="{0000007B-2993-41DE-A2CB-63102DE87051}"/>
              </c:ext>
            </c:extLst>
          </c:dPt>
          <c:dPt>
            <c:idx val="34"/>
            <c:invertIfNegative val="1"/>
            <c:bubble3D val="0"/>
            <c:spPr>
              <a:solidFill>
                <a:srgbClr val="AEABAB"/>
              </a:solidFill>
            </c:spPr>
            <c:extLst>
              <c:ext xmlns:c16="http://schemas.microsoft.com/office/drawing/2014/chart" uri="{C3380CC4-5D6E-409C-BE32-E72D297353CC}">
                <c16:uniqueId val="{0000007D-2993-41DE-A2CB-63102DE87051}"/>
              </c:ext>
            </c:extLst>
          </c:dPt>
          <c:dPt>
            <c:idx val="35"/>
            <c:invertIfNegative val="1"/>
            <c:bubble3D val="0"/>
            <c:spPr>
              <a:solidFill>
                <a:srgbClr val="AEABAB"/>
              </a:solidFill>
            </c:spPr>
            <c:extLst>
              <c:ext xmlns:c16="http://schemas.microsoft.com/office/drawing/2014/chart" uri="{C3380CC4-5D6E-409C-BE32-E72D297353CC}">
                <c16:uniqueId val="{0000007F-2993-41DE-A2CB-63102DE87051}"/>
              </c:ext>
            </c:extLst>
          </c:dPt>
          <c:dPt>
            <c:idx val="36"/>
            <c:invertIfNegative val="1"/>
            <c:bubble3D val="0"/>
            <c:spPr>
              <a:solidFill>
                <a:srgbClr val="AEABAB"/>
              </a:solidFill>
            </c:spPr>
            <c:extLst>
              <c:ext xmlns:c16="http://schemas.microsoft.com/office/drawing/2014/chart" uri="{C3380CC4-5D6E-409C-BE32-E72D297353CC}">
                <c16:uniqueId val="{00000081-2993-41DE-A2CB-63102DE87051}"/>
              </c:ext>
            </c:extLst>
          </c:dPt>
          <c:dPt>
            <c:idx val="37"/>
            <c:invertIfNegative val="1"/>
            <c:bubble3D val="0"/>
            <c:spPr>
              <a:solidFill>
                <a:srgbClr val="AEABAB"/>
              </a:solidFill>
            </c:spPr>
            <c:extLst>
              <c:ext xmlns:c16="http://schemas.microsoft.com/office/drawing/2014/chart" uri="{C3380CC4-5D6E-409C-BE32-E72D297353CC}">
                <c16:uniqueId val="{00000083-2993-41DE-A2CB-63102DE87051}"/>
              </c:ext>
            </c:extLst>
          </c:dPt>
          <c:dPt>
            <c:idx val="38"/>
            <c:invertIfNegative val="1"/>
            <c:bubble3D val="0"/>
            <c:spPr>
              <a:solidFill>
                <a:srgbClr val="AEABAB"/>
              </a:solidFill>
            </c:spPr>
            <c:extLst>
              <c:ext xmlns:c16="http://schemas.microsoft.com/office/drawing/2014/chart" uri="{C3380CC4-5D6E-409C-BE32-E72D297353CC}">
                <c16:uniqueId val="{00000085-2993-41DE-A2CB-63102DE87051}"/>
              </c:ext>
            </c:extLst>
          </c:dPt>
          <c:dPt>
            <c:idx val="39"/>
            <c:invertIfNegative val="1"/>
            <c:bubble3D val="0"/>
            <c:spPr>
              <a:solidFill>
                <a:srgbClr val="AEABAB"/>
              </a:solidFill>
            </c:spPr>
            <c:extLst>
              <c:ext xmlns:c16="http://schemas.microsoft.com/office/drawing/2014/chart" uri="{C3380CC4-5D6E-409C-BE32-E72D297353CC}">
                <c16:uniqueId val="{00000087-2993-41DE-A2CB-63102DE87051}"/>
              </c:ext>
            </c:extLst>
          </c:dPt>
          <c:dPt>
            <c:idx val="40"/>
            <c:invertIfNegative val="1"/>
            <c:bubble3D val="0"/>
            <c:spPr>
              <a:solidFill>
                <a:srgbClr val="AEABAB"/>
              </a:solidFill>
            </c:spPr>
            <c:extLst>
              <c:ext xmlns:c16="http://schemas.microsoft.com/office/drawing/2014/chart" uri="{C3380CC4-5D6E-409C-BE32-E72D297353CC}">
                <c16:uniqueId val="{00000089-2993-41DE-A2CB-63102DE87051}"/>
              </c:ext>
            </c:extLst>
          </c:dPt>
          <c:dPt>
            <c:idx val="41"/>
            <c:invertIfNegative val="1"/>
            <c:bubble3D val="0"/>
            <c:spPr>
              <a:solidFill>
                <a:srgbClr val="AEABAB"/>
              </a:solidFill>
            </c:spPr>
            <c:extLst>
              <c:ext xmlns:c16="http://schemas.microsoft.com/office/drawing/2014/chart" uri="{C3380CC4-5D6E-409C-BE32-E72D297353CC}">
                <c16:uniqueId val="{0000008B-2993-41DE-A2CB-63102DE87051}"/>
              </c:ext>
            </c:extLst>
          </c:dPt>
          <c:dPt>
            <c:idx val="42"/>
            <c:invertIfNegative val="1"/>
            <c:bubble3D val="0"/>
            <c:spPr>
              <a:solidFill>
                <a:srgbClr val="AEABAB"/>
              </a:solidFill>
            </c:spPr>
            <c:extLst>
              <c:ext xmlns:c16="http://schemas.microsoft.com/office/drawing/2014/chart" uri="{C3380CC4-5D6E-409C-BE32-E72D297353CC}">
                <c16:uniqueId val="{0000008D-2993-41DE-A2CB-63102DE87051}"/>
              </c:ext>
            </c:extLst>
          </c:dPt>
          <c:dPt>
            <c:idx val="43"/>
            <c:invertIfNegative val="1"/>
            <c:bubble3D val="0"/>
            <c:spPr>
              <a:solidFill>
                <a:srgbClr val="AEABAB"/>
              </a:solidFill>
            </c:spPr>
            <c:extLst>
              <c:ext xmlns:c16="http://schemas.microsoft.com/office/drawing/2014/chart" uri="{C3380CC4-5D6E-409C-BE32-E72D297353CC}">
                <c16:uniqueId val="{0000008F-2993-41DE-A2CB-63102DE87051}"/>
              </c:ext>
            </c:extLst>
          </c:dPt>
          <c:dPt>
            <c:idx val="44"/>
            <c:invertIfNegative val="1"/>
            <c:bubble3D val="0"/>
            <c:spPr>
              <a:solidFill>
                <a:srgbClr val="AEABAB"/>
              </a:solidFill>
            </c:spPr>
            <c:extLst>
              <c:ext xmlns:c16="http://schemas.microsoft.com/office/drawing/2014/chart" uri="{C3380CC4-5D6E-409C-BE32-E72D297353CC}">
                <c16:uniqueId val="{00000091-2993-41DE-A2CB-63102DE87051}"/>
              </c:ext>
            </c:extLst>
          </c:dPt>
          <c:dPt>
            <c:idx val="45"/>
            <c:invertIfNegative val="1"/>
            <c:bubble3D val="0"/>
            <c:spPr>
              <a:solidFill>
                <a:srgbClr val="AEABAB"/>
              </a:solidFill>
            </c:spPr>
            <c:extLst>
              <c:ext xmlns:c16="http://schemas.microsoft.com/office/drawing/2014/chart" uri="{C3380CC4-5D6E-409C-BE32-E72D297353CC}">
                <c16:uniqueId val="{00000093-2993-41DE-A2CB-63102DE87051}"/>
              </c:ext>
            </c:extLst>
          </c:dPt>
          <c:dPt>
            <c:idx val="46"/>
            <c:invertIfNegative val="1"/>
            <c:bubble3D val="0"/>
            <c:spPr>
              <a:solidFill>
                <a:srgbClr val="AEABAB"/>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48</c:f>
              <c:strCache>
                <c:ptCount val="47"/>
                <c:pt idx="0">
                  <c:v>Apericube</c:v>
                </c:pt>
                <c:pt idx="1">
                  <c:v>Apericube</c:v>
                </c:pt>
                <c:pt idx="2">
                  <c:v>Apericube</c:v>
                </c:pt>
                <c:pt idx="3">
                  <c:v>Apericube</c:v>
                </c:pt>
                <c:pt idx="4">
                  <c:v>Boursin</c:v>
                </c:pt>
                <c:pt idx="5">
                  <c:v>Apericube</c:v>
                </c:pt>
                <c:pt idx="6">
                  <c:v>Private Lab</c:v>
                </c:pt>
                <c:pt idx="7">
                  <c:v>Apericube</c:v>
                </c:pt>
                <c:pt idx="8">
                  <c:v>Apericube</c:v>
                </c:pt>
                <c:pt idx="9">
                  <c:v>Aperivrais</c:v>
                </c:pt>
                <c:pt idx="10">
                  <c:v>Apericube</c:v>
                </c:pt>
                <c:pt idx="11">
                  <c:v>Boursin</c:v>
                </c:pt>
                <c:pt idx="12">
                  <c:v>Apericube</c:v>
                </c:pt>
                <c:pt idx="13">
                  <c:v>St Moret</c:v>
                </c:pt>
                <c:pt idx="14">
                  <c:v>Apericube</c:v>
                </c:pt>
                <c:pt idx="15">
                  <c:v>Aperivrais</c:v>
                </c:pt>
                <c:pt idx="16">
                  <c:v>Aperivrais</c:v>
                </c:pt>
                <c:pt idx="17">
                  <c:v>Private Lab</c:v>
                </c:pt>
                <c:pt idx="18">
                  <c:v>Boursin</c:v>
                </c:pt>
                <c:pt idx="19">
                  <c:v>St Moret</c:v>
                </c:pt>
                <c:pt idx="20">
                  <c:v>St Moret</c:v>
                </c:pt>
                <c:pt idx="21">
                  <c:v>Apericube</c:v>
                </c:pt>
                <c:pt idx="22">
                  <c:v>Aperivrais</c:v>
                </c:pt>
                <c:pt idx="23">
                  <c:v>Aperivrais</c:v>
                </c:pt>
                <c:pt idx="24">
                  <c:v>St Moret</c:v>
                </c:pt>
                <c:pt idx="25">
                  <c:v>Apericube</c:v>
                </c:pt>
                <c:pt idx="26">
                  <c:v>Entremont</c:v>
                </c:pt>
                <c:pt idx="27">
                  <c:v>Entremont</c:v>
                </c:pt>
                <c:pt idx="28">
                  <c:v>Apericube</c:v>
                </c:pt>
                <c:pt idx="29">
                  <c:v>Apericube</c:v>
                </c:pt>
                <c:pt idx="30">
                  <c:v>Aperivrais</c:v>
                </c:pt>
                <c:pt idx="31">
                  <c:v>Apericube</c:v>
                </c:pt>
                <c:pt idx="32">
                  <c:v>Entremont</c:v>
                </c:pt>
                <c:pt idx="33">
                  <c:v>Apericube</c:v>
                </c:pt>
                <c:pt idx="34">
                  <c:v>Aperivrais</c:v>
                </c:pt>
                <c:pt idx="35">
                  <c:v>Boursin</c:v>
                </c:pt>
                <c:pt idx="36">
                  <c:v>Aperivrais</c:v>
                </c:pt>
                <c:pt idx="37">
                  <c:v>Boursin</c:v>
                </c:pt>
                <c:pt idx="38">
                  <c:v>All Others</c:v>
                </c:pt>
                <c:pt idx="39">
                  <c:v>All Others</c:v>
                </c:pt>
                <c:pt idx="40">
                  <c:v>All Others</c:v>
                </c:pt>
                <c:pt idx="41">
                  <c:v>Ambrosi</c:v>
                </c:pt>
                <c:pt idx="42">
                  <c:v>All Others</c:v>
                </c:pt>
                <c:pt idx="43">
                  <c:v>All Others</c:v>
                </c:pt>
                <c:pt idx="44">
                  <c:v>O'Tapas Ape</c:v>
                </c:pt>
                <c:pt idx="45">
                  <c:v>O'Tapas Ape</c:v>
                </c:pt>
                <c:pt idx="46">
                  <c:v>Apericube</c:v>
                </c:pt>
              </c:strCache>
            </c:strRef>
          </c:cat>
          <c:val>
            <c:numRef>
              <c:f>Sheet1!$C$2:$C$48</c:f>
              <c:numCache>
                <c:formatCode>General</c:formatCode>
                <c:ptCount val="47"/>
                <c:pt idx="0">
                  <c:v>0.10176547227955751</c:v>
                </c:pt>
                <c:pt idx="1">
                  <c:v>0.19235621518805618</c:v>
                </c:pt>
                <c:pt idx="2">
                  <c:v>0.2689635120972169</c:v>
                </c:pt>
                <c:pt idx="3">
                  <c:v>0.3321845644295388</c:v>
                </c:pt>
                <c:pt idx="4">
                  <c:v>0.3891730956759638</c:v>
                </c:pt>
                <c:pt idx="5">
                  <c:v>0.4431170300256122</c:v>
                </c:pt>
                <c:pt idx="6">
                  <c:v>0.4929684390941883</c:v>
                </c:pt>
                <c:pt idx="7">
                  <c:v>0.5392100198287343</c:v>
                </c:pt>
                <c:pt idx="8">
                  <c:v>0.5829727071790111</c:v>
                </c:pt>
                <c:pt idx="9">
                  <c:v>0.6262170296741785</c:v>
                </c:pt>
                <c:pt idx="10">
                  <c:v>0.6656511541164675</c:v>
                </c:pt>
                <c:pt idx="11">
                  <c:v>0.700781053752744</c:v>
                </c:pt>
                <c:pt idx="12">
                  <c:v>0.7357886072190694</c:v>
                </c:pt>
                <c:pt idx="13">
                  <c:v>0.764188864300762</c:v>
                </c:pt>
                <c:pt idx="14">
                  <c:v>0.7918823722746638</c:v>
                </c:pt>
                <c:pt idx="15">
                  <c:v>0.8169849476707206</c:v>
                </c:pt>
                <c:pt idx="16">
                  <c:v>0.8417906401849237</c:v>
                </c:pt>
                <c:pt idx="17">
                  <c:v>0.861245674413789</c:v>
                </c:pt>
                <c:pt idx="18">
                  <c:v>0.8784766572162448</c:v>
                </c:pt>
                <c:pt idx="19">
                  <c:v>0.8953183352927081</c:v>
                </c:pt>
                <c:pt idx="20">
                  <c:v>0.9105566359959376</c:v>
                </c:pt>
                <c:pt idx="21">
                  <c:v>0.9234825285210823</c:v>
                </c:pt>
                <c:pt idx="22">
                  <c:v>0.9360681072410209</c:v>
                </c:pt>
                <c:pt idx="23">
                  <c:v>0.9485995284387838</c:v>
                </c:pt>
                <c:pt idx="24">
                  <c:v>0.9581053144291324</c:v>
                </c:pt>
                <c:pt idx="25">
                  <c:v>0.9668496954878576</c:v>
                </c:pt>
                <c:pt idx="26">
                  <c:v>0.9728528404531986</c:v>
                </c:pt>
                <c:pt idx="27">
                  <c:v>0.9773462363039823</c:v>
                </c:pt>
                <c:pt idx="28">
                  <c:v>0.9810169623457566</c:v>
                </c:pt>
                <c:pt idx="29">
                  <c:v>0.9841112320497974</c:v>
                </c:pt>
                <c:pt idx="30">
                  <c:v>0.9867696189361344</c:v>
                </c:pt>
                <c:pt idx="31">
                  <c:v>0.9887064650233937</c:v>
                </c:pt>
                <c:pt idx="32">
                  <c:v>0.9906335286623374</c:v>
                </c:pt>
                <c:pt idx="33">
                  <c:v>0.9923023671374358</c:v>
                </c:pt>
                <c:pt idx="34">
                  <c:v>0.9939476018498425</c:v>
                </c:pt>
                <c:pt idx="35">
                  <c:v>0.9954723000141045</c:v>
                </c:pt>
                <c:pt idx="36">
                  <c:v>0.9969650544195239</c:v>
                </c:pt>
                <c:pt idx="37">
                  <c:v>0.9982315011935373</c:v>
                </c:pt>
                <c:pt idx="38">
                  <c:v>0.9991950330130093</c:v>
                </c:pt>
                <c:pt idx="39">
                  <c:v>0.9998028823551226</c:v>
                </c:pt>
                <c:pt idx="40">
                  <c:v>0.9998955140104854</c:v>
                </c:pt>
                <c:pt idx="41">
                  <c:v>0.9999326243707171</c:v>
                </c:pt>
                <c:pt idx="42">
                  <c:v>0.9999526351161989</c:v>
                </c:pt>
                <c:pt idx="43">
                  <c:v>0.9999637551110669</c:v>
                </c:pt>
                <c:pt idx="44">
                  <c:v>0.9999752685019798</c:v>
                </c:pt>
                <c:pt idx="45">
                  <c:v>0.9999870179305196</c:v>
                </c:pt>
                <c:pt idx="46">
                  <c:v>0.9999928664183865</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95</c:f>
              <c:strCache>
                <c:ptCount val="94"/>
                <c:pt idx="0">
                  <c:v>Apericube</c:v>
                </c:pt>
                <c:pt idx="1">
                  <c:v>Apericube</c:v>
                </c:pt>
                <c:pt idx="2">
                  <c:v>Apericube</c:v>
                </c:pt>
                <c:pt idx="3">
                  <c:v>Apericube</c:v>
                </c:pt>
                <c:pt idx="4">
                  <c:v>Apericube</c:v>
                </c:pt>
                <c:pt idx="5">
                  <c:v>Apericube</c:v>
                </c:pt>
                <c:pt idx="6">
                  <c:v>Boursin</c:v>
                </c:pt>
                <c:pt idx="7">
                  <c:v>Apericube</c:v>
                </c:pt>
                <c:pt idx="8">
                  <c:v>Apericube</c:v>
                </c:pt>
                <c:pt idx="9">
                  <c:v>Apericube</c:v>
                </c:pt>
                <c:pt idx="10">
                  <c:v>Aperivrais</c:v>
                </c:pt>
                <c:pt idx="11">
                  <c:v>Aperivrais</c:v>
                </c:pt>
                <c:pt idx="12">
                  <c:v>Apericube</c:v>
                </c:pt>
                <c:pt idx="13">
                  <c:v>Boursin</c:v>
                </c:pt>
                <c:pt idx="14">
                  <c:v>Aperivrais</c:v>
                </c:pt>
                <c:pt idx="15">
                  <c:v>St Moret</c:v>
                </c:pt>
                <c:pt idx="16">
                  <c:v>Apericube</c:v>
                </c:pt>
                <c:pt idx="17">
                  <c:v>Aperivrais</c:v>
                </c:pt>
                <c:pt idx="18">
                  <c:v>Apericube</c:v>
                </c:pt>
                <c:pt idx="19">
                  <c:v>Apericube</c:v>
                </c:pt>
                <c:pt idx="20">
                  <c:v>St Moret</c:v>
                </c:pt>
                <c:pt idx="21">
                  <c:v>Apericube</c:v>
                </c:pt>
                <c:pt idx="22">
                  <c:v>Private Lab</c:v>
                </c:pt>
                <c:pt idx="23">
                  <c:v>Apericube</c:v>
                </c:pt>
                <c:pt idx="24">
                  <c:v>Apericube</c:v>
                </c:pt>
                <c:pt idx="25">
                  <c:v>Leerdammer</c:v>
                </c:pt>
                <c:pt idx="26">
                  <c:v>All Others</c:v>
                </c:pt>
                <c:pt idx="27">
                  <c:v>Apericube</c:v>
                </c:pt>
                <c:pt idx="28">
                  <c:v>All Others</c:v>
                </c:pt>
                <c:pt idx="29">
                  <c:v>Apericube</c:v>
                </c:pt>
                <c:pt idx="30">
                  <c:v>O'Tapas Ape</c:v>
                </c:pt>
                <c:pt idx="31">
                  <c:v>Aperivrais</c:v>
                </c:pt>
                <c:pt idx="32">
                  <c:v>Private Lab</c:v>
                </c:pt>
                <c:pt idx="33">
                  <c:v>Apericube</c:v>
                </c:pt>
                <c:pt idx="34">
                  <c:v>Apericube</c:v>
                </c:pt>
                <c:pt idx="35">
                  <c:v>O'Tapas Ape</c:v>
                </c:pt>
                <c:pt idx="36">
                  <c:v>St Moret</c:v>
                </c:pt>
                <c:pt idx="37">
                  <c:v>Aperivrais</c:v>
                </c:pt>
                <c:pt idx="38">
                  <c:v>Entremont</c:v>
                </c:pt>
                <c:pt idx="39">
                  <c:v>Richesmonts</c:v>
                </c:pt>
                <c:pt idx="40">
                  <c:v>Aperivrais</c:v>
                </c:pt>
                <c:pt idx="41">
                  <c:v>Apericube</c:v>
                </c:pt>
                <c:pt idx="42">
                  <c:v>Aperivrais</c:v>
                </c:pt>
                <c:pt idx="43">
                  <c:v>Entremont</c:v>
                </c:pt>
                <c:pt idx="44">
                  <c:v>O'Tapas Ape</c:v>
                </c:pt>
                <c:pt idx="45">
                  <c:v>Apericube</c:v>
                </c:pt>
                <c:pt idx="46">
                  <c:v>Apericube</c:v>
                </c:pt>
                <c:pt idx="47">
                  <c:v>O'Tapas Ape</c:v>
                </c:pt>
                <c:pt idx="48">
                  <c:v>Richesmonts</c:v>
                </c:pt>
                <c:pt idx="49">
                  <c:v>Boursin</c:v>
                </c:pt>
                <c:pt idx="50">
                  <c:v>Boursin</c:v>
                </c:pt>
                <c:pt idx="51">
                  <c:v>All Others</c:v>
                </c:pt>
                <c:pt idx="52">
                  <c:v>All Others</c:v>
                </c:pt>
                <c:pt idx="53">
                  <c:v>O'Tapas Ape</c:v>
                </c:pt>
                <c:pt idx="54">
                  <c:v>All Others</c:v>
                </c:pt>
                <c:pt idx="55">
                  <c:v>All Others</c:v>
                </c:pt>
                <c:pt idx="56">
                  <c:v>All Others</c:v>
                </c:pt>
                <c:pt idx="57">
                  <c:v>All Others</c:v>
                </c:pt>
                <c:pt idx="58">
                  <c:v>All Others</c:v>
                </c:pt>
                <c:pt idx="59">
                  <c:v>Private Lab</c:v>
                </c:pt>
                <c:pt idx="60">
                  <c:v>St Moret</c:v>
                </c:pt>
                <c:pt idx="61">
                  <c:v>All Others</c:v>
                </c:pt>
                <c:pt idx="62">
                  <c:v>All Others</c:v>
                </c:pt>
                <c:pt idx="63">
                  <c:v>All Others</c:v>
                </c:pt>
                <c:pt idx="64">
                  <c:v>All Others</c:v>
                </c:pt>
                <c:pt idx="65">
                  <c:v>All Others</c:v>
                </c:pt>
                <c:pt idx="66">
                  <c:v>All Others</c:v>
                </c:pt>
                <c:pt idx="67">
                  <c:v>Soignon</c:v>
                </c:pt>
                <c:pt idx="68">
                  <c:v>All Others</c:v>
                </c:pt>
                <c:pt idx="69">
                  <c:v>All Others</c:v>
                </c:pt>
                <c:pt idx="70">
                  <c:v>All Others</c:v>
                </c:pt>
                <c:pt idx="71">
                  <c:v>All Others</c:v>
                </c:pt>
                <c:pt idx="72">
                  <c:v>All Others</c:v>
                </c:pt>
                <c:pt idx="73">
                  <c:v>All Others</c:v>
                </c:pt>
                <c:pt idx="74">
                  <c:v>All Others</c:v>
                </c:pt>
                <c:pt idx="75">
                  <c:v>All Others</c:v>
                </c:pt>
                <c:pt idx="76">
                  <c:v>All Others</c:v>
                </c:pt>
                <c:pt idx="77">
                  <c:v>All Others</c:v>
                </c:pt>
                <c:pt idx="78">
                  <c:v>All Others</c:v>
                </c:pt>
                <c:pt idx="79">
                  <c:v>O'Tapas Ape</c:v>
                </c:pt>
                <c:pt idx="80">
                  <c:v>All Others</c:v>
                </c:pt>
                <c:pt idx="81">
                  <c:v>All Others</c:v>
                </c:pt>
                <c:pt idx="82">
                  <c:v>All Others</c:v>
                </c:pt>
                <c:pt idx="83">
                  <c:v>All Others</c:v>
                </c:pt>
                <c:pt idx="84">
                  <c:v>All Others</c:v>
                </c:pt>
                <c:pt idx="85">
                  <c:v>All Others</c:v>
                </c:pt>
                <c:pt idx="86">
                  <c:v>All Others</c:v>
                </c:pt>
                <c:pt idx="87">
                  <c:v>All Others</c:v>
                </c:pt>
                <c:pt idx="88">
                  <c:v>All Others</c:v>
                </c:pt>
                <c:pt idx="89">
                  <c:v>All Others</c:v>
                </c:pt>
                <c:pt idx="90">
                  <c:v>All Others</c:v>
                </c:pt>
                <c:pt idx="91">
                  <c:v>All Others</c:v>
                </c:pt>
                <c:pt idx="92">
                  <c:v>All Others</c:v>
                </c:pt>
                <c:pt idx="93">
                  <c:v>Boursin</c:v>
                </c:pt>
              </c:strCache>
            </c:strRef>
          </c:cat>
          <c:val>
            <c:numRef>
              <c:f>Sheet1!$B$2:$B$95</c:f>
              <c:numCache>
                <c:formatCode>General</c:formatCode>
                <c:ptCount val="94"/>
                <c:pt idx="0">
                  <c:v>1.0</c:v>
                </c:pt>
                <c:pt idx="1">
                  <c:v>1.0</c:v>
                </c:pt>
                <c:pt idx="2">
                  <c:v>1.0</c:v>
                </c:pt>
                <c:pt idx="3">
                  <c:v>0.99</c:v>
                </c:pt>
                <c:pt idx="4">
                  <c:v>0.97</c:v>
                </c:pt>
                <c:pt idx="5">
                  <c:v>0.98</c:v>
                </c:pt>
                <c:pt idx="6">
                  <c:v>1.0</c:v>
                </c:pt>
                <c:pt idx="7">
                  <c:v>1.0</c:v>
                </c:pt>
                <c:pt idx="8">
                  <c:v>1.0</c:v>
                </c:pt>
                <c:pt idx="9">
                  <c:v>0.91</c:v>
                </c:pt>
                <c:pt idx="10">
                  <c:v>1.0</c:v>
                </c:pt>
                <c:pt idx="11">
                  <c:v>1.0</c:v>
                </c:pt>
                <c:pt idx="12">
                  <c:v>0.99</c:v>
                </c:pt>
                <c:pt idx="13">
                  <c:v>0.95</c:v>
                </c:pt>
                <c:pt idx="14">
                  <c:v>0.98</c:v>
                </c:pt>
                <c:pt idx="15">
                  <c:v>1.0</c:v>
                </c:pt>
                <c:pt idx="16">
                  <c:v>0.97</c:v>
                </c:pt>
                <c:pt idx="17">
                  <c:v>0.93</c:v>
                </c:pt>
                <c:pt idx="18">
                  <c:v>0.98</c:v>
                </c:pt>
                <c:pt idx="19">
                  <c:v>0.7</c:v>
                </c:pt>
                <c:pt idx="20">
                  <c:v>0.87</c:v>
                </c:pt>
                <c:pt idx="21">
                  <c:v>0.79</c:v>
                </c:pt>
                <c:pt idx="22">
                  <c:v>0.99</c:v>
                </c:pt>
                <c:pt idx="23">
                  <c:v>0.97</c:v>
                </c:pt>
                <c:pt idx="24">
                  <c:v>0.7</c:v>
                </c:pt>
                <c:pt idx="25">
                  <c:v>0.99</c:v>
                </c:pt>
                <c:pt idx="26">
                  <c:v>0.63</c:v>
                </c:pt>
                <c:pt idx="27">
                  <c:v>0.66</c:v>
                </c:pt>
                <c:pt idx="28">
                  <c:v>0.69</c:v>
                </c:pt>
                <c:pt idx="29">
                  <c:v>0.96</c:v>
                </c:pt>
                <c:pt idx="30">
                  <c:v>0.45</c:v>
                </c:pt>
                <c:pt idx="31">
                  <c:v>0.88</c:v>
                </c:pt>
                <c:pt idx="32">
                  <c:v>0.91</c:v>
                </c:pt>
                <c:pt idx="33">
                  <c:v>0.71</c:v>
                </c:pt>
                <c:pt idx="34">
                  <c:v>0.83</c:v>
                </c:pt>
                <c:pt idx="35">
                  <c:v>0.43</c:v>
                </c:pt>
                <c:pt idx="36">
                  <c:v>0.82</c:v>
                </c:pt>
                <c:pt idx="37">
                  <c:v>0.79</c:v>
                </c:pt>
                <c:pt idx="38">
                  <c:v>0.92</c:v>
                </c:pt>
                <c:pt idx="39">
                  <c:v>0.93</c:v>
                </c:pt>
                <c:pt idx="40">
                  <c:v>0.89</c:v>
                </c:pt>
                <c:pt idx="41">
                  <c:v>0.31</c:v>
                </c:pt>
                <c:pt idx="42">
                  <c:v>0.85</c:v>
                </c:pt>
                <c:pt idx="43">
                  <c:v>0.91</c:v>
                </c:pt>
                <c:pt idx="44">
                  <c:v>0.36</c:v>
                </c:pt>
                <c:pt idx="45">
                  <c:v>0.09</c:v>
                </c:pt>
                <c:pt idx="46">
                  <c:v>0.54</c:v>
                </c:pt>
                <c:pt idx="47">
                  <c:v>0.32</c:v>
                </c:pt>
                <c:pt idx="48">
                  <c:v>0.79</c:v>
                </c:pt>
                <c:pt idx="49">
                  <c:v>0.53</c:v>
                </c:pt>
                <c:pt idx="50">
                  <c:v>0.48</c:v>
                </c:pt>
                <c:pt idx="51">
                  <c:v>0.1</c:v>
                </c:pt>
                <c:pt idx="52">
                  <c:v>0.08</c:v>
                </c:pt>
                <c:pt idx="53">
                  <c:v>0.23</c:v>
                </c:pt>
                <c:pt idx="54">
                  <c:v>0.11</c:v>
                </c:pt>
                <c:pt idx="55">
                  <c:v>0.11</c:v>
                </c:pt>
                <c:pt idx="56">
                  <c:v>0.01</c:v>
                </c:pt>
                <c:pt idx="57">
                  <c:v>0.01</c:v>
                </c:pt>
                <c:pt idx="58">
                  <c:v>0.1</c:v>
                </c:pt>
                <c:pt idx="59">
                  <c:v>0.76</c:v>
                </c:pt>
                <c:pt idx="60">
                  <c:v>0.14</c:v>
                </c:pt>
                <c:pt idx="61">
                  <c:v>0.12</c:v>
                </c:pt>
                <c:pt idx="62">
                  <c:v>0.01</c:v>
                </c:pt>
                <c:pt idx="63">
                  <c:v>0.03</c:v>
                </c:pt>
                <c:pt idx="64">
                  <c:v>0.01</c:v>
                </c:pt>
                <c:pt idx="65">
                  <c:v>0.01</c:v>
                </c:pt>
                <c:pt idx="66">
                  <c:v>0.13</c:v>
                </c:pt>
                <c:pt idx="67">
                  <c:v>0.09</c:v>
                </c:pt>
                <c:pt idx="68">
                  <c:v>0.01</c:v>
                </c:pt>
                <c:pt idx="69">
                  <c:v>0.06</c:v>
                </c:pt>
                <c:pt idx="70">
                  <c:v>0.12</c:v>
                </c:pt>
                <c:pt idx="71">
                  <c:v>0.02</c:v>
                </c:pt>
                <c:pt idx="72">
                  <c:v>0.05</c:v>
                </c:pt>
                <c:pt idx="73">
                  <c:v>0.08</c:v>
                </c:pt>
                <c:pt idx="74">
                  <c:v>0.04</c:v>
                </c:pt>
                <c:pt idx="75">
                  <c:v>0.03</c:v>
                </c:pt>
                <c:pt idx="76">
                  <c:v>0.01</c:v>
                </c:pt>
                <c:pt idx="77">
                  <c:v>0.03</c:v>
                </c:pt>
                <c:pt idx="78">
                  <c:v>0.06</c:v>
                </c:pt>
                <c:pt idx="79">
                  <c:v>0.08</c:v>
                </c:pt>
                <c:pt idx="80">
                  <c:v>0.07</c:v>
                </c:pt>
                <c:pt idx="81">
                  <c:v>0.06</c:v>
                </c:pt>
                <c:pt idx="82">
                  <c:v>0.01</c:v>
                </c:pt>
                <c:pt idx="83">
                  <c:v>0.02</c:v>
                </c:pt>
                <c:pt idx="84">
                  <c:v>0.02</c:v>
                </c:pt>
                <c:pt idx="85">
                  <c:v>0.01</c:v>
                </c:pt>
                <c:pt idx="86">
                  <c:v>0.02</c:v>
                </c:pt>
                <c:pt idx="87">
                  <c:v>0.01</c:v>
                </c:pt>
                <c:pt idx="88">
                  <c:v>0.02</c:v>
                </c:pt>
                <c:pt idx="89">
                  <c:v>0.01</c:v>
                </c:pt>
                <c:pt idx="90">
                  <c:v>0.02</c:v>
                </c:pt>
                <c:pt idx="91">
                  <c:v>0.03</c:v>
                </c:pt>
                <c:pt idx="92">
                  <c:v>0.01</c:v>
                </c:pt>
                <c:pt idx="93">
                  <c:v>0.02</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Item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7ECAC4"/>
              </a:solidFill>
            </c:spPr>
            <c:extLst>
              <c:ext xmlns:c16="http://schemas.microsoft.com/office/drawing/2014/chart" uri="{C3380CC4-5D6E-409C-BE32-E72D297353CC}">
                <c16:uniqueId val="{00000061-2993-41DE-A2CB-63102DE87051}"/>
              </c:ext>
            </c:extLst>
          </c:dPt>
          <c:dPt>
            <c:idx val="21"/>
            <c:invertIfNegative val="1"/>
            <c:bubble3D val="0"/>
            <c:spPr>
              <a:solidFill>
                <a:srgbClr val="7ECAC4"/>
              </a:solidFill>
            </c:spPr>
            <c:extLst>
              <c:ext xmlns:c16="http://schemas.microsoft.com/office/drawing/2014/chart" uri="{C3380CC4-5D6E-409C-BE32-E72D297353CC}">
                <c16:uniqueId val="{00000063-2993-41DE-A2CB-63102DE87051}"/>
              </c:ext>
            </c:extLst>
          </c:dPt>
          <c:dPt>
            <c:idx val="22"/>
            <c:invertIfNegative val="1"/>
            <c:bubble3D val="0"/>
            <c:spPr>
              <a:solidFill>
                <a:srgbClr val="7ECAC4"/>
              </a:solidFill>
            </c:spPr>
            <c:extLst>
              <c:ext xmlns:c16="http://schemas.microsoft.com/office/drawing/2014/chart" uri="{C3380CC4-5D6E-409C-BE32-E72D297353CC}">
                <c16:uniqueId val="{00000065-2993-41DE-A2CB-63102DE87051}"/>
              </c:ext>
            </c:extLst>
          </c:dPt>
          <c:dPt>
            <c:idx val="23"/>
            <c:invertIfNegative val="1"/>
            <c:bubble3D val="0"/>
            <c:spPr>
              <a:solidFill>
                <a:srgbClr val="7ECAC4"/>
              </a:solidFill>
            </c:spPr>
            <c:extLst>
              <c:ext xmlns:c16="http://schemas.microsoft.com/office/drawing/2014/chart" uri="{C3380CC4-5D6E-409C-BE32-E72D297353CC}">
                <c16:uniqueId val="{00000067-2993-41DE-A2CB-63102DE87051}"/>
              </c:ext>
            </c:extLst>
          </c:dPt>
          <c:dPt>
            <c:idx val="24"/>
            <c:invertIfNegative val="1"/>
            <c:bubble3D val="0"/>
            <c:spPr>
              <a:solidFill>
                <a:srgbClr val="7ECAC4"/>
              </a:solidFill>
            </c:spPr>
            <c:extLst>
              <c:ext xmlns:c16="http://schemas.microsoft.com/office/drawing/2014/chart" uri="{C3380CC4-5D6E-409C-BE32-E72D297353CC}">
                <c16:uniqueId val="{00000069-2993-41DE-A2CB-63102DE87051}"/>
              </c:ext>
            </c:extLst>
          </c:dPt>
          <c:dPt>
            <c:idx val="25"/>
            <c:invertIfNegative val="1"/>
            <c:bubble3D val="0"/>
            <c:spPr>
              <a:solidFill>
                <a:srgbClr val="7ECAC4"/>
              </a:solidFill>
            </c:spPr>
            <c:extLst>
              <c:ext xmlns:c16="http://schemas.microsoft.com/office/drawing/2014/chart" uri="{C3380CC4-5D6E-409C-BE32-E72D297353CC}">
                <c16:uniqueId val="{0000006B-2993-41DE-A2CB-63102DE87051}"/>
              </c:ext>
            </c:extLst>
          </c:dPt>
          <c:dPt>
            <c:idx val="26"/>
            <c:invertIfNegative val="1"/>
            <c:bubble3D val="0"/>
            <c:spPr>
              <a:solidFill>
                <a:srgbClr val="7ECAC4"/>
              </a:solidFill>
            </c:spPr>
            <c:extLst>
              <c:ext xmlns:c16="http://schemas.microsoft.com/office/drawing/2014/chart" uri="{C3380CC4-5D6E-409C-BE32-E72D297353CC}">
                <c16:uniqueId val="{0000006D-2993-41DE-A2CB-63102DE87051}"/>
              </c:ext>
            </c:extLst>
          </c:dPt>
          <c:dPt>
            <c:idx val="27"/>
            <c:invertIfNegative val="1"/>
            <c:bubble3D val="0"/>
            <c:spPr>
              <a:solidFill>
                <a:srgbClr val="7ECAC4"/>
              </a:solidFill>
            </c:spPr>
            <c:extLst>
              <c:ext xmlns:c16="http://schemas.microsoft.com/office/drawing/2014/chart" uri="{C3380CC4-5D6E-409C-BE32-E72D297353CC}">
                <c16:uniqueId val="{0000006F-2993-41DE-A2CB-63102DE87051}"/>
              </c:ext>
            </c:extLst>
          </c:dPt>
          <c:dPt>
            <c:idx val="28"/>
            <c:invertIfNegative val="1"/>
            <c:bubble3D val="0"/>
            <c:spPr>
              <a:solidFill>
                <a:srgbClr val="7ECAC4"/>
              </a:solidFill>
            </c:spPr>
            <c:extLst>
              <c:ext xmlns:c16="http://schemas.microsoft.com/office/drawing/2014/chart" uri="{C3380CC4-5D6E-409C-BE32-E72D297353CC}">
                <c16:uniqueId val="{00000071-2993-41DE-A2CB-63102DE87051}"/>
              </c:ext>
            </c:extLst>
          </c:dPt>
          <c:dPt>
            <c:idx val="29"/>
            <c:invertIfNegative val="1"/>
            <c:bubble3D val="0"/>
            <c:spPr>
              <a:solidFill>
                <a:srgbClr val="7ECAC4"/>
              </a:solidFill>
            </c:spPr>
            <c:extLst>
              <c:ext xmlns:c16="http://schemas.microsoft.com/office/drawing/2014/chart" uri="{C3380CC4-5D6E-409C-BE32-E72D297353CC}">
                <c16:uniqueId val="{00000073-2993-41DE-A2CB-63102DE87051}"/>
              </c:ext>
            </c:extLst>
          </c:dPt>
          <c:dPt>
            <c:idx val="30"/>
            <c:invertIfNegative val="1"/>
            <c:bubble3D val="0"/>
            <c:spPr>
              <a:solidFill>
                <a:srgbClr val="7ECAC4"/>
              </a:solidFill>
            </c:spPr>
            <c:extLst>
              <c:ext xmlns:c16="http://schemas.microsoft.com/office/drawing/2014/chart" uri="{C3380CC4-5D6E-409C-BE32-E72D297353CC}">
                <c16:uniqueId val="{00000075-2993-41DE-A2CB-63102DE87051}"/>
              </c:ext>
            </c:extLst>
          </c:dPt>
          <c:dPt>
            <c:idx val="31"/>
            <c:invertIfNegative val="1"/>
            <c:bubble3D val="0"/>
            <c:spPr>
              <a:solidFill>
                <a:srgbClr val="7ECAC4"/>
              </a:solidFill>
            </c:spPr>
            <c:extLst>
              <c:ext xmlns:c16="http://schemas.microsoft.com/office/drawing/2014/chart" uri="{C3380CC4-5D6E-409C-BE32-E72D297353CC}">
                <c16:uniqueId val="{00000077-2993-41DE-A2CB-63102DE87051}"/>
              </c:ext>
            </c:extLst>
          </c:dPt>
          <c:dPt>
            <c:idx val="32"/>
            <c:invertIfNegative val="1"/>
            <c:bubble3D val="0"/>
            <c:spPr>
              <a:solidFill>
                <a:srgbClr val="7ECAC4"/>
              </a:solidFill>
            </c:spPr>
            <c:extLst>
              <c:ext xmlns:c16="http://schemas.microsoft.com/office/drawing/2014/chart" uri="{C3380CC4-5D6E-409C-BE32-E72D297353CC}">
                <c16:uniqueId val="{00000079-2993-41DE-A2CB-63102DE87051}"/>
              </c:ext>
            </c:extLst>
          </c:dPt>
          <c:dPt>
            <c:idx val="33"/>
            <c:invertIfNegative val="1"/>
            <c:bubble3D val="0"/>
            <c:spPr>
              <a:solidFill>
                <a:srgbClr val="7ECAC4"/>
              </a:solidFill>
            </c:spPr>
            <c:extLst>
              <c:ext xmlns:c16="http://schemas.microsoft.com/office/drawing/2014/chart" uri="{C3380CC4-5D6E-409C-BE32-E72D297353CC}">
                <c16:uniqueId val="{0000007B-2993-41DE-A2CB-63102DE87051}"/>
              </c:ext>
            </c:extLst>
          </c:dPt>
          <c:dPt>
            <c:idx val="34"/>
            <c:invertIfNegative val="1"/>
            <c:bubble3D val="0"/>
            <c:spPr>
              <a:solidFill>
                <a:srgbClr val="7ECAC4"/>
              </a:solidFill>
            </c:spPr>
            <c:extLst>
              <c:ext xmlns:c16="http://schemas.microsoft.com/office/drawing/2014/chart" uri="{C3380CC4-5D6E-409C-BE32-E72D297353CC}">
                <c16:uniqueId val="{0000007D-2993-41DE-A2CB-63102DE87051}"/>
              </c:ext>
            </c:extLst>
          </c:dPt>
          <c:dPt>
            <c:idx val="35"/>
            <c:invertIfNegative val="1"/>
            <c:bubble3D val="0"/>
            <c:spPr>
              <a:solidFill>
                <a:srgbClr val="7ECAC4"/>
              </a:solidFill>
            </c:spPr>
            <c:extLst>
              <c:ext xmlns:c16="http://schemas.microsoft.com/office/drawing/2014/chart" uri="{C3380CC4-5D6E-409C-BE32-E72D297353CC}">
                <c16:uniqueId val="{0000007F-2993-41DE-A2CB-63102DE87051}"/>
              </c:ext>
            </c:extLst>
          </c:dPt>
          <c:dPt>
            <c:idx val="36"/>
            <c:invertIfNegative val="1"/>
            <c:bubble3D val="0"/>
            <c:spPr>
              <a:solidFill>
                <a:srgbClr val="7ECAC4"/>
              </a:solidFill>
            </c:spPr>
            <c:extLst>
              <c:ext xmlns:c16="http://schemas.microsoft.com/office/drawing/2014/chart" uri="{C3380CC4-5D6E-409C-BE32-E72D297353CC}">
                <c16:uniqueId val="{00000081-2993-41DE-A2CB-63102DE87051}"/>
              </c:ext>
            </c:extLst>
          </c:dPt>
          <c:dPt>
            <c:idx val="37"/>
            <c:invertIfNegative val="1"/>
            <c:bubble3D val="0"/>
            <c:spPr>
              <a:solidFill>
                <a:srgbClr val="7ECAC4"/>
              </a:solidFill>
            </c:spPr>
            <c:extLst>
              <c:ext xmlns:c16="http://schemas.microsoft.com/office/drawing/2014/chart" uri="{C3380CC4-5D6E-409C-BE32-E72D297353CC}">
                <c16:uniqueId val="{00000083-2993-41DE-A2CB-63102DE87051}"/>
              </c:ext>
            </c:extLst>
          </c:dPt>
          <c:dPt>
            <c:idx val="38"/>
            <c:invertIfNegative val="1"/>
            <c:bubble3D val="0"/>
            <c:spPr>
              <a:solidFill>
                <a:srgbClr val="7ECAC4"/>
              </a:solidFill>
            </c:spPr>
            <c:extLst>
              <c:ext xmlns:c16="http://schemas.microsoft.com/office/drawing/2014/chart" uri="{C3380CC4-5D6E-409C-BE32-E72D297353CC}">
                <c16:uniqueId val="{00000085-2993-41DE-A2CB-63102DE87051}"/>
              </c:ext>
            </c:extLst>
          </c:dPt>
          <c:dPt>
            <c:idx val="39"/>
            <c:invertIfNegative val="1"/>
            <c:bubble3D val="0"/>
            <c:spPr>
              <a:solidFill>
                <a:srgbClr val="AEABAB"/>
              </a:solidFill>
            </c:spPr>
            <c:extLst>
              <c:ext xmlns:c16="http://schemas.microsoft.com/office/drawing/2014/chart" uri="{C3380CC4-5D6E-409C-BE32-E72D297353CC}">
                <c16:uniqueId val="{00000087-2993-41DE-A2CB-63102DE87051}"/>
              </c:ext>
            </c:extLst>
          </c:dPt>
          <c:dPt>
            <c:idx val="40"/>
            <c:invertIfNegative val="1"/>
            <c:bubble3D val="0"/>
            <c:spPr>
              <a:solidFill>
                <a:srgbClr val="AEABAB"/>
              </a:solidFill>
            </c:spPr>
            <c:extLst>
              <c:ext xmlns:c16="http://schemas.microsoft.com/office/drawing/2014/chart" uri="{C3380CC4-5D6E-409C-BE32-E72D297353CC}">
                <c16:uniqueId val="{00000089-2993-41DE-A2CB-63102DE87051}"/>
              </c:ext>
            </c:extLst>
          </c:dPt>
          <c:dPt>
            <c:idx val="41"/>
            <c:invertIfNegative val="1"/>
            <c:bubble3D val="0"/>
            <c:spPr>
              <a:solidFill>
                <a:srgbClr val="AEABAB"/>
              </a:solidFill>
            </c:spPr>
            <c:extLst>
              <c:ext xmlns:c16="http://schemas.microsoft.com/office/drawing/2014/chart" uri="{C3380CC4-5D6E-409C-BE32-E72D297353CC}">
                <c16:uniqueId val="{0000008B-2993-41DE-A2CB-63102DE87051}"/>
              </c:ext>
            </c:extLst>
          </c:dPt>
          <c:dPt>
            <c:idx val="42"/>
            <c:invertIfNegative val="1"/>
            <c:bubble3D val="0"/>
            <c:spPr>
              <a:solidFill>
                <a:srgbClr val="AEABAB"/>
              </a:solidFill>
            </c:spPr>
            <c:extLst>
              <c:ext xmlns:c16="http://schemas.microsoft.com/office/drawing/2014/chart" uri="{C3380CC4-5D6E-409C-BE32-E72D297353CC}">
                <c16:uniqueId val="{0000008D-2993-41DE-A2CB-63102DE87051}"/>
              </c:ext>
            </c:extLst>
          </c:dPt>
          <c:dPt>
            <c:idx val="43"/>
            <c:invertIfNegative val="1"/>
            <c:bubble3D val="0"/>
            <c:spPr>
              <a:solidFill>
                <a:srgbClr val="AEABAB"/>
              </a:solidFill>
            </c:spPr>
            <c:extLst>
              <c:ext xmlns:c16="http://schemas.microsoft.com/office/drawing/2014/chart" uri="{C3380CC4-5D6E-409C-BE32-E72D297353CC}">
                <c16:uniqueId val="{0000008F-2993-41DE-A2CB-63102DE87051}"/>
              </c:ext>
            </c:extLst>
          </c:dPt>
          <c:dPt>
            <c:idx val="44"/>
            <c:invertIfNegative val="1"/>
            <c:bubble3D val="0"/>
            <c:spPr>
              <a:solidFill>
                <a:srgbClr val="AEABAB"/>
              </a:solidFill>
            </c:spPr>
            <c:extLst>
              <c:ext xmlns:c16="http://schemas.microsoft.com/office/drawing/2014/chart" uri="{C3380CC4-5D6E-409C-BE32-E72D297353CC}">
                <c16:uniqueId val="{00000091-2993-41DE-A2CB-63102DE87051}"/>
              </c:ext>
            </c:extLst>
          </c:dPt>
          <c:dPt>
            <c:idx val="45"/>
            <c:invertIfNegative val="1"/>
            <c:bubble3D val="0"/>
            <c:spPr>
              <a:solidFill>
                <a:srgbClr val="AEABAB"/>
              </a:solidFill>
            </c:spPr>
            <c:extLst>
              <c:ext xmlns:c16="http://schemas.microsoft.com/office/drawing/2014/chart" uri="{C3380CC4-5D6E-409C-BE32-E72D297353CC}">
                <c16:uniqueId val="{00000093-2993-41DE-A2CB-63102DE87051}"/>
              </c:ext>
            </c:extLst>
          </c:dPt>
          <c:dPt>
            <c:idx val="46"/>
            <c:invertIfNegative val="1"/>
            <c:bubble3D val="0"/>
            <c:spPr>
              <a:solidFill>
                <a:srgbClr val="AEABAB"/>
              </a:solidFill>
            </c:spPr>
            <c:extLst>
              <c:ext xmlns:c16="http://schemas.microsoft.com/office/drawing/2014/chart" uri="{C3380CC4-5D6E-409C-BE32-E72D297353CC}">
                <c16:uniqueId val="{00000095-2993-41DE-A2CB-63102DE87051}"/>
              </c:ext>
            </c:extLst>
          </c:dPt>
          <c:dPt>
            <c:idx val="47"/>
            <c:invertIfNegative val="1"/>
            <c:bubble3D val="0"/>
            <c:spPr>
              <a:solidFill>
                <a:srgbClr val="AEABAB"/>
              </a:solidFill>
            </c:spPr>
            <c:extLst>
              <c:ext xmlns:c16="http://schemas.microsoft.com/office/drawing/2014/chart" uri="{C3380CC4-5D6E-409C-BE32-E72D297353CC}">
                <c16:uniqueId val="{00000097-2993-41DE-A2CB-63102DE87051}"/>
              </c:ext>
            </c:extLst>
          </c:dPt>
          <c:dPt>
            <c:idx val="48"/>
            <c:invertIfNegative val="1"/>
            <c:bubble3D val="0"/>
            <c:spPr>
              <a:solidFill>
                <a:srgbClr val="AEABAB"/>
              </a:solidFill>
            </c:spPr>
            <c:extLst>
              <c:ext xmlns:c16="http://schemas.microsoft.com/office/drawing/2014/chart" uri="{C3380CC4-5D6E-409C-BE32-E72D297353CC}">
                <c16:uniqueId val="{00000099-2993-41DE-A2CB-63102DE87051}"/>
              </c:ext>
            </c:extLst>
          </c:dPt>
          <c:dPt>
            <c:idx val="49"/>
            <c:invertIfNegative val="1"/>
            <c:bubble3D val="0"/>
            <c:spPr>
              <a:solidFill>
                <a:srgbClr val="AEABAB"/>
              </a:solidFill>
            </c:spPr>
            <c:extLst>
              <c:ext xmlns:c16="http://schemas.microsoft.com/office/drawing/2014/chart" uri="{C3380CC4-5D6E-409C-BE32-E72D297353CC}">
                <c16:uniqueId val="{0000009B-2993-41DE-A2CB-63102DE87051}"/>
              </c:ext>
            </c:extLst>
          </c:dPt>
          <c:dPt>
            <c:idx val="50"/>
            <c:invertIfNegative val="1"/>
            <c:bubble3D val="0"/>
            <c:spPr>
              <a:solidFill>
                <a:srgbClr val="AEABAB"/>
              </a:solidFill>
            </c:spPr>
            <c:extLst>
              <c:ext xmlns:c16="http://schemas.microsoft.com/office/drawing/2014/chart" uri="{C3380CC4-5D6E-409C-BE32-E72D297353CC}">
                <c16:uniqueId val="{0000009D-2993-41DE-A2CB-63102DE87051}"/>
              </c:ext>
            </c:extLst>
          </c:dPt>
          <c:dPt>
            <c:idx val="51"/>
            <c:invertIfNegative val="1"/>
            <c:bubble3D val="0"/>
            <c:spPr>
              <a:solidFill>
                <a:srgbClr val="AEABAB"/>
              </a:solidFill>
            </c:spPr>
            <c:extLst>
              <c:ext xmlns:c16="http://schemas.microsoft.com/office/drawing/2014/chart" uri="{C3380CC4-5D6E-409C-BE32-E72D297353CC}">
                <c16:uniqueId val="{0000009F-2993-41DE-A2CB-63102DE87051}"/>
              </c:ext>
            </c:extLst>
          </c:dPt>
          <c:dPt>
            <c:idx val="52"/>
            <c:invertIfNegative val="1"/>
            <c:bubble3D val="0"/>
            <c:spPr>
              <a:solidFill>
                <a:srgbClr val="AEABAB"/>
              </a:solidFill>
            </c:spPr>
            <c:extLst>
              <c:ext xmlns:c16="http://schemas.microsoft.com/office/drawing/2014/chart" uri="{C3380CC4-5D6E-409C-BE32-E72D297353CC}">
                <c16:uniqueId val="{000000A1-2993-41DE-A2CB-63102DE87051}"/>
              </c:ext>
            </c:extLst>
          </c:dPt>
          <c:dPt>
            <c:idx val="53"/>
            <c:invertIfNegative val="1"/>
            <c:bubble3D val="0"/>
            <c:spPr>
              <a:solidFill>
                <a:srgbClr val="AEABAB"/>
              </a:solidFill>
            </c:spPr>
            <c:extLst>
              <c:ext xmlns:c16="http://schemas.microsoft.com/office/drawing/2014/chart" uri="{C3380CC4-5D6E-409C-BE32-E72D297353CC}">
                <c16:uniqueId val="{000000A3-2993-41DE-A2CB-63102DE87051}"/>
              </c:ext>
            </c:extLst>
          </c:dPt>
          <c:dPt>
            <c:idx val="54"/>
            <c:invertIfNegative val="0"/>
            <c:bubble3D val="0"/>
            <c:spPr>
              <a:solidFill>
                <a:srgbClr val="AEABAB"/>
              </a:solidFill>
            </c:spPr>
            <c:extLst>
              <c:ext xmlns:c16="http://schemas.microsoft.com/office/drawing/2014/chart" uri="{C3380CC4-5D6E-409C-BE32-E72D297353CC}">
                <c16:uniqueId val="{00000072-C76F-4230-900D-40618C09729F}"/>
              </c:ext>
            </c:extLst>
          </c:dPt>
          <c:dPt>
            <c:idx val="55"/>
            <c:invertIfNegative val="0"/>
            <c:bubble3D val="0"/>
            <c:spPr>
              <a:solidFill>
                <a:srgbClr val="AEABAB"/>
              </a:solidFill>
            </c:spPr>
            <c:extLst>
              <c:ext xmlns:c16="http://schemas.microsoft.com/office/drawing/2014/chart" uri="{C3380CC4-5D6E-409C-BE32-E72D297353CC}">
                <c16:uniqueId val="{00000074-C76F-4230-900D-40618C09729F}"/>
              </c:ext>
            </c:extLst>
          </c:dPt>
          <c:dPt>
            <c:idx val="56"/>
            <c:invertIfNegative val="0"/>
            <c:bubble3D val="0"/>
            <c:spPr>
              <a:solidFill>
                <a:srgbClr val="AEABAB"/>
              </a:solidFill>
            </c:spPr>
            <c:extLst>
              <c:ext xmlns:c16="http://schemas.microsoft.com/office/drawing/2014/chart" uri="{C3380CC4-5D6E-409C-BE32-E72D297353CC}">
                <c16:uniqueId val="{00000076-C76F-4230-900D-40618C09729F}"/>
              </c:ext>
            </c:extLst>
          </c:dPt>
          <c:dPt>
            <c:idx val="57"/>
            <c:invertIfNegative val="0"/>
            <c:bubble3D val="0"/>
            <c:spPr>
              <a:solidFill>
                <a:srgbClr val="AEABAB"/>
              </a:solidFill>
            </c:spPr>
            <c:extLst>
              <c:ext xmlns:c16="http://schemas.microsoft.com/office/drawing/2014/chart" uri="{C3380CC4-5D6E-409C-BE32-E72D297353CC}">
                <c16:uniqueId val="{00000078-C76F-4230-900D-40618C09729F}"/>
              </c:ext>
            </c:extLst>
          </c:dPt>
          <c:dPt>
            <c:idx val="58"/>
            <c:invertIfNegative val="0"/>
            <c:bubble3D val="0"/>
            <c:spPr>
              <a:solidFill>
                <a:srgbClr val="AEABAB"/>
              </a:solidFill>
            </c:spPr>
            <c:extLst>
              <c:ext xmlns:c16="http://schemas.microsoft.com/office/drawing/2014/chart" uri="{C3380CC4-5D6E-409C-BE32-E72D297353CC}">
                <c16:uniqueId val="{0000007A-C76F-4230-900D-40618C09729F}"/>
              </c:ext>
            </c:extLst>
          </c:dPt>
          <c:dPt>
            <c:idx val="59"/>
            <c:invertIfNegative val="0"/>
            <c:bubble3D val="0"/>
            <c:spPr>
              <a:solidFill>
                <a:srgbClr val="AEABAB"/>
              </a:solidFill>
            </c:spPr>
            <c:extLst>
              <c:ext xmlns:c16="http://schemas.microsoft.com/office/drawing/2014/chart" uri="{C3380CC4-5D6E-409C-BE32-E72D297353CC}">
                <c16:uniqueId val="{0000007C-C76F-4230-900D-40618C09729F}"/>
              </c:ext>
            </c:extLst>
          </c:dPt>
          <c:dPt>
            <c:idx val="60"/>
            <c:invertIfNegative val="0"/>
            <c:bubble3D val="0"/>
            <c:spPr>
              <a:solidFill>
                <a:srgbClr val="AEABAB"/>
              </a:solidFill>
            </c:spPr>
            <c:extLst>
              <c:ext xmlns:c16="http://schemas.microsoft.com/office/drawing/2014/chart" uri="{C3380CC4-5D6E-409C-BE32-E72D297353CC}">
                <c16:uniqueId val="{0000007E-C76F-4230-900D-40618C09729F}"/>
              </c:ext>
            </c:extLst>
          </c:dPt>
          <c:dPt>
            <c:idx val="61"/>
            <c:invertIfNegative val="0"/>
            <c:bubble3D val="0"/>
            <c:spPr>
              <a:solidFill>
                <a:srgbClr val="AEABAB"/>
              </a:solidFill>
            </c:spPr>
            <c:extLst>
              <c:ext xmlns:c16="http://schemas.microsoft.com/office/drawing/2014/chart" uri="{C3380CC4-5D6E-409C-BE32-E72D297353CC}">
                <c16:uniqueId val="{00000080-C76F-4230-900D-40618C09729F}"/>
              </c:ext>
            </c:extLst>
          </c:dPt>
          <c:dPt>
            <c:idx val="62"/>
            <c:invertIfNegative val="0"/>
            <c:bubble3D val="0"/>
            <c:spPr>
              <a:solidFill>
                <a:srgbClr val="AEABAB"/>
              </a:solidFill>
            </c:spPr>
            <c:extLst>
              <c:ext xmlns:c16="http://schemas.microsoft.com/office/drawing/2014/chart" uri="{C3380CC4-5D6E-409C-BE32-E72D297353CC}">
                <c16:uniqueId val="{00000082-C76F-4230-900D-40618C09729F}"/>
              </c:ext>
            </c:extLst>
          </c:dPt>
          <c:dPt>
            <c:idx val="63"/>
            <c:invertIfNegative val="0"/>
            <c:bubble3D val="0"/>
            <c:spPr>
              <a:solidFill>
                <a:srgbClr val="AEABAB"/>
              </a:solidFill>
            </c:spPr>
            <c:extLst>
              <c:ext xmlns:c16="http://schemas.microsoft.com/office/drawing/2014/chart" uri="{C3380CC4-5D6E-409C-BE32-E72D297353CC}">
                <c16:uniqueId val="{00000084-C76F-4230-900D-40618C09729F}"/>
              </c:ext>
            </c:extLst>
          </c:dPt>
          <c:dPt>
            <c:idx val="64"/>
            <c:invertIfNegative val="0"/>
            <c:bubble3D val="0"/>
            <c:spPr>
              <a:solidFill>
                <a:srgbClr val="AEABAB"/>
              </a:solidFill>
            </c:spPr>
            <c:extLst>
              <c:ext xmlns:c16="http://schemas.microsoft.com/office/drawing/2014/chart" uri="{C3380CC4-5D6E-409C-BE32-E72D297353CC}">
                <c16:uniqueId val="{00000086-C76F-4230-900D-40618C09729F}"/>
              </c:ext>
            </c:extLst>
          </c:dPt>
          <c:dPt>
            <c:idx val="65"/>
            <c:invertIfNegative val="0"/>
            <c:bubble3D val="0"/>
            <c:spPr>
              <a:solidFill>
                <a:srgbClr val="AEABAB"/>
              </a:solidFill>
            </c:spPr>
            <c:extLst>
              <c:ext xmlns:c16="http://schemas.microsoft.com/office/drawing/2014/chart" uri="{C3380CC4-5D6E-409C-BE32-E72D297353CC}">
                <c16:uniqueId val="{00000088-C76F-4230-900D-40618C09729F}"/>
              </c:ext>
            </c:extLst>
          </c:dPt>
          <c:dPt>
            <c:idx val="66"/>
            <c:invertIfNegative val="0"/>
            <c:bubble3D val="0"/>
            <c:spPr>
              <a:solidFill>
                <a:srgbClr val="AEABAB"/>
              </a:solidFill>
            </c:spPr>
            <c:extLst>
              <c:ext xmlns:c16="http://schemas.microsoft.com/office/drawing/2014/chart" uri="{C3380CC4-5D6E-409C-BE32-E72D297353CC}">
                <c16:uniqueId val="{0000008A-C76F-4230-900D-40618C09729F}"/>
              </c:ext>
            </c:extLst>
          </c:dPt>
          <c:dPt>
            <c:idx val="67"/>
            <c:invertIfNegative val="0"/>
            <c:bubble3D val="0"/>
            <c:spPr>
              <a:solidFill>
                <a:srgbClr val="AEABAB"/>
              </a:solidFill>
            </c:spPr>
            <c:extLst>
              <c:ext xmlns:c16="http://schemas.microsoft.com/office/drawing/2014/chart" uri="{C3380CC4-5D6E-409C-BE32-E72D297353CC}">
                <c16:uniqueId val="{0000008C-C76F-4230-900D-40618C09729F}"/>
              </c:ext>
            </c:extLst>
          </c:dPt>
          <c:dPt>
            <c:idx val="68"/>
            <c:invertIfNegative val="0"/>
            <c:bubble3D val="0"/>
            <c:spPr>
              <a:solidFill>
                <a:srgbClr val="AEABAB"/>
              </a:solidFill>
            </c:spPr>
            <c:extLst>
              <c:ext xmlns:c16="http://schemas.microsoft.com/office/drawing/2014/chart" uri="{C3380CC4-5D6E-409C-BE32-E72D297353CC}">
                <c16:uniqueId val="{0000008E-C76F-4230-900D-40618C09729F}"/>
              </c:ext>
            </c:extLst>
          </c:dPt>
          <c:dPt>
            <c:idx val="69"/>
            <c:invertIfNegative val="0"/>
            <c:bubble3D val="0"/>
            <c:spPr>
              <a:solidFill>
                <a:srgbClr val="AEABAB"/>
              </a:solidFill>
            </c:spPr>
            <c:extLst>
              <c:ext xmlns:c16="http://schemas.microsoft.com/office/drawing/2014/chart" uri="{C3380CC4-5D6E-409C-BE32-E72D297353CC}">
                <c16:uniqueId val="{00000090-C76F-4230-900D-40618C09729F}"/>
              </c:ext>
            </c:extLst>
          </c:dPt>
          <c:dPt>
            <c:idx val="70"/>
            <c:invertIfNegative val="0"/>
            <c:bubble3D val="0"/>
            <c:spPr>
              <a:solidFill>
                <a:srgbClr val="AEABAB"/>
              </a:solidFill>
            </c:spPr>
            <c:extLst>
              <c:ext xmlns:c16="http://schemas.microsoft.com/office/drawing/2014/chart" uri="{C3380CC4-5D6E-409C-BE32-E72D297353CC}">
                <c16:uniqueId val="{00000092-C76F-4230-900D-40618C09729F}"/>
              </c:ext>
            </c:extLst>
          </c:dPt>
          <c:dPt>
            <c:idx val="71"/>
            <c:invertIfNegative val="0"/>
            <c:bubble3D val="0"/>
            <c:spPr>
              <a:solidFill>
                <a:srgbClr val="AEABAB"/>
              </a:solidFill>
            </c:spPr>
            <c:extLst>
              <c:ext xmlns:c16="http://schemas.microsoft.com/office/drawing/2014/chart" uri="{C3380CC4-5D6E-409C-BE32-E72D297353CC}">
                <c16:uniqueId val="{00000094-C76F-4230-900D-40618C09729F}"/>
              </c:ext>
            </c:extLst>
          </c:dPt>
          <c:dPt>
            <c:idx val="72"/>
            <c:invertIfNegative val="0"/>
            <c:bubble3D val="0"/>
            <c:spPr>
              <a:solidFill>
                <a:srgbClr val="AEABAB"/>
              </a:solidFill>
            </c:spPr>
            <c:extLst>
              <c:ext xmlns:c16="http://schemas.microsoft.com/office/drawing/2014/chart" uri="{C3380CC4-5D6E-409C-BE32-E72D297353CC}">
                <c16:uniqueId val="{00000096-C76F-4230-900D-40618C09729F}"/>
              </c:ext>
            </c:extLst>
          </c:dPt>
          <c:dPt>
            <c:idx val="73"/>
            <c:invertIfNegative val="0"/>
            <c:bubble3D val="0"/>
            <c:spPr>
              <a:solidFill>
                <a:srgbClr val="AEABAB"/>
              </a:solidFill>
            </c:spPr>
            <c:extLst>
              <c:ext xmlns:c16="http://schemas.microsoft.com/office/drawing/2014/chart" uri="{C3380CC4-5D6E-409C-BE32-E72D297353CC}">
                <c16:uniqueId val="{00000098-C76F-4230-900D-40618C09729F}"/>
              </c:ext>
            </c:extLst>
          </c:dPt>
          <c:dPt>
            <c:idx val="74"/>
            <c:invertIfNegative val="0"/>
            <c:bubble3D val="0"/>
            <c:spPr>
              <a:solidFill>
                <a:srgbClr val="AEABAB"/>
              </a:solidFill>
            </c:spPr>
            <c:extLst>
              <c:ext xmlns:c16="http://schemas.microsoft.com/office/drawing/2014/chart" uri="{C3380CC4-5D6E-409C-BE32-E72D297353CC}">
                <c16:uniqueId val="{0000009A-C76F-4230-900D-40618C09729F}"/>
              </c:ext>
            </c:extLst>
          </c:dPt>
          <c:dPt>
            <c:idx val="75"/>
            <c:invertIfNegative val="0"/>
            <c:bubble3D val="0"/>
            <c:spPr>
              <a:solidFill>
                <a:srgbClr val="AEABAB"/>
              </a:solidFill>
            </c:spPr>
            <c:extLst>
              <c:ext xmlns:c16="http://schemas.microsoft.com/office/drawing/2014/chart" uri="{C3380CC4-5D6E-409C-BE32-E72D297353CC}">
                <c16:uniqueId val="{0000009C-C76F-4230-900D-40618C09729F}"/>
              </c:ext>
            </c:extLst>
          </c:dPt>
          <c:dPt>
            <c:idx val="76"/>
            <c:invertIfNegative val="0"/>
            <c:bubble3D val="0"/>
            <c:spPr>
              <a:solidFill>
                <a:srgbClr val="AEABAB"/>
              </a:solidFill>
            </c:spPr>
            <c:extLst>
              <c:ext xmlns:c16="http://schemas.microsoft.com/office/drawing/2014/chart" uri="{C3380CC4-5D6E-409C-BE32-E72D297353CC}">
                <c16:uniqueId val="{0000009E-C76F-4230-900D-40618C09729F}"/>
              </c:ext>
            </c:extLst>
          </c:dPt>
          <c:dPt>
            <c:idx val="77"/>
            <c:invertIfNegative val="0"/>
            <c:bubble3D val="0"/>
            <c:spPr>
              <a:solidFill>
                <a:srgbClr val="AEABAB"/>
              </a:solidFill>
            </c:spPr>
            <c:extLst>
              <c:ext xmlns:c16="http://schemas.microsoft.com/office/drawing/2014/chart" uri="{C3380CC4-5D6E-409C-BE32-E72D297353CC}">
                <c16:uniqueId val="{000000A0-C76F-4230-900D-40618C09729F}"/>
              </c:ext>
            </c:extLst>
          </c:dPt>
          <c:dPt>
            <c:idx val="78"/>
            <c:invertIfNegative val="0"/>
            <c:bubble3D val="0"/>
            <c:spPr>
              <a:solidFill>
                <a:srgbClr val="AEABAB"/>
              </a:solidFill>
            </c:spPr>
            <c:extLst>
              <c:ext xmlns:c16="http://schemas.microsoft.com/office/drawing/2014/chart" uri="{C3380CC4-5D6E-409C-BE32-E72D297353CC}">
                <c16:uniqueId val="{000000A2-C76F-4230-900D-40618C09729F}"/>
              </c:ext>
            </c:extLst>
          </c:dPt>
          <c:dPt>
            <c:idx val="79"/>
            <c:invertIfNegative val="0"/>
            <c:bubble3D val="0"/>
            <c:spPr>
              <a:solidFill>
                <a:srgbClr val="AEABAB"/>
              </a:solidFill>
            </c:spPr>
            <c:extLst>
              <c:ext xmlns:c16="http://schemas.microsoft.com/office/drawing/2014/chart" uri="{C3380CC4-5D6E-409C-BE32-E72D297353CC}">
                <c16:uniqueId val="{000000A4-C76F-4230-900D-40618C09729F}"/>
              </c:ext>
            </c:extLst>
          </c:dPt>
          <c:dPt>
            <c:idx val="80"/>
            <c:invertIfNegative val="0"/>
            <c:bubble3D val="0"/>
            <c:spPr>
              <a:solidFill>
                <a:srgbClr val="AEABAB"/>
              </a:solidFill>
            </c:spPr>
            <c:extLst>
              <c:ext xmlns:c16="http://schemas.microsoft.com/office/drawing/2014/chart" uri="{C3380CC4-5D6E-409C-BE32-E72D297353CC}">
                <c16:uniqueId val="{000000A6-C76F-4230-900D-40618C09729F}"/>
              </c:ext>
            </c:extLst>
          </c:dPt>
          <c:dPt>
            <c:idx val="81"/>
            <c:invertIfNegative val="1"/>
            <c:bubble3D val="0"/>
            <c:spPr>
              <a:solidFill>
                <a:srgbClr val="AEABAB"/>
              </a:solidFill>
            </c:spPr>
            <c:extLst>
              <c:ext xmlns:c16="http://schemas.microsoft.com/office/drawing/2014/chart" uri="{C3380CC4-5D6E-409C-BE32-E72D297353CC}">
                <c16:uniqueId val="{000000A5-2993-41DE-A2CB-63102DE87051}"/>
              </c:ext>
            </c:extLst>
          </c:dPt>
          <c:dPt>
            <c:idx val="82"/>
            <c:invertIfNegative val="1"/>
            <c:bubble3D val="0"/>
            <c:spPr>
              <a:solidFill>
                <a:srgbClr val="AEABAB"/>
              </a:solidFill>
            </c:spPr>
            <c:extLst>
              <c:ext xmlns:c16="http://schemas.microsoft.com/office/drawing/2014/chart" uri="{C3380CC4-5D6E-409C-BE32-E72D297353CC}">
                <c16:uniqueId val="{000000A7-2993-41DE-A2CB-63102DE87051}"/>
              </c:ext>
            </c:extLst>
          </c:dPt>
          <c:dPt>
            <c:idx val="83"/>
            <c:invertIfNegative val="1"/>
            <c:bubble3D val="0"/>
            <c:spPr>
              <a:solidFill>
                <a:srgbClr val="AEABAB"/>
              </a:solidFill>
            </c:spPr>
            <c:extLst>
              <c:ext xmlns:c16="http://schemas.microsoft.com/office/drawing/2014/chart" uri="{C3380CC4-5D6E-409C-BE32-E72D297353CC}">
                <c16:uniqueId val="{000000A9-2993-41DE-A2CB-63102DE87051}"/>
              </c:ext>
            </c:extLst>
          </c:dPt>
          <c:dPt>
            <c:idx val="84"/>
            <c:invertIfNegative val="1"/>
            <c:bubble3D val="0"/>
            <c:spPr>
              <a:solidFill>
                <a:srgbClr val="AEABAB"/>
              </a:solidFill>
            </c:spPr>
            <c:extLst>
              <c:ext xmlns:c16="http://schemas.microsoft.com/office/drawing/2014/chart" uri="{C3380CC4-5D6E-409C-BE32-E72D297353CC}">
                <c16:uniqueId val="{000000AB-2993-41DE-A2CB-63102DE87051}"/>
              </c:ext>
            </c:extLst>
          </c:dPt>
          <c:dPt>
            <c:idx val="85"/>
            <c:invertIfNegative val="1"/>
            <c:bubble3D val="0"/>
            <c:spPr>
              <a:solidFill>
                <a:srgbClr val="AEABAB"/>
              </a:solidFill>
            </c:spPr>
            <c:extLst>
              <c:ext xmlns:c16="http://schemas.microsoft.com/office/drawing/2014/chart" uri="{C3380CC4-5D6E-409C-BE32-E72D297353CC}">
                <c16:uniqueId val="{000000AD-2993-41DE-A2CB-63102DE87051}"/>
              </c:ext>
            </c:extLst>
          </c:dPt>
          <c:dPt>
            <c:idx val="86"/>
            <c:invertIfNegative val="1"/>
            <c:bubble3D val="0"/>
            <c:spPr>
              <a:solidFill>
                <a:srgbClr val="AEABAB"/>
              </a:solidFill>
            </c:spPr>
            <c:extLst>
              <c:ext xmlns:c16="http://schemas.microsoft.com/office/drawing/2014/chart" uri="{C3380CC4-5D6E-409C-BE32-E72D297353CC}">
                <c16:uniqueId val="{000000AF-2993-41DE-A2CB-63102DE87051}"/>
              </c:ext>
            </c:extLst>
          </c:dPt>
          <c:dPt>
            <c:idx val="87"/>
            <c:invertIfNegative val="1"/>
            <c:bubble3D val="0"/>
            <c:spPr>
              <a:solidFill>
                <a:srgbClr val="AEABAB"/>
              </a:solidFill>
            </c:spPr>
            <c:extLst>
              <c:ext xmlns:c16="http://schemas.microsoft.com/office/drawing/2014/chart" uri="{C3380CC4-5D6E-409C-BE32-E72D297353CC}">
                <c16:uniqueId val="{000000B1-2993-41DE-A2CB-63102DE87051}"/>
              </c:ext>
            </c:extLst>
          </c:dPt>
          <c:dPt>
            <c:idx val="88"/>
            <c:invertIfNegative val="1"/>
            <c:bubble3D val="0"/>
            <c:spPr>
              <a:solidFill>
                <a:srgbClr val="AEABAB"/>
              </a:solidFill>
            </c:spPr>
            <c:extLst>
              <c:ext xmlns:c16="http://schemas.microsoft.com/office/drawing/2014/chart" uri="{C3380CC4-5D6E-409C-BE32-E72D297353CC}">
                <c16:uniqueId val="{000000B3-2993-41DE-A2CB-63102DE87051}"/>
              </c:ext>
            </c:extLst>
          </c:dPt>
          <c:dPt>
            <c:idx val="89"/>
            <c:invertIfNegative val="1"/>
            <c:bubble3D val="0"/>
            <c:spPr>
              <a:solidFill>
                <a:srgbClr val="AEABAB"/>
              </a:solidFill>
            </c:spPr>
            <c:extLst>
              <c:ext xmlns:c16="http://schemas.microsoft.com/office/drawing/2014/chart" uri="{C3380CC4-5D6E-409C-BE32-E72D297353CC}">
                <c16:uniqueId val="{000000B5-2993-41DE-A2CB-63102DE87051}"/>
              </c:ext>
            </c:extLst>
          </c:dPt>
          <c:dPt>
            <c:idx val="90"/>
            <c:invertIfNegative val="1"/>
            <c:bubble3D val="0"/>
            <c:spPr>
              <a:solidFill>
                <a:srgbClr val="AEABAB"/>
              </a:solidFill>
            </c:spPr>
            <c:extLst>
              <c:ext xmlns:c16="http://schemas.microsoft.com/office/drawing/2014/chart" uri="{C3380CC4-5D6E-409C-BE32-E72D297353CC}">
                <c16:uniqueId val="{000000B7-2993-41DE-A2CB-63102DE87051}"/>
              </c:ext>
            </c:extLst>
          </c:dPt>
          <c:dPt>
            <c:idx val="91"/>
            <c:invertIfNegative val="1"/>
            <c:bubble3D val="0"/>
            <c:spPr>
              <a:solidFill>
                <a:srgbClr val="AEABAB"/>
              </a:solidFill>
            </c:spPr>
            <c:extLst>
              <c:ext xmlns:c16="http://schemas.microsoft.com/office/drawing/2014/chart" uri="{C3380CC4-5D6E-409C-BE32-E72D297353CC}">
                <c16:uniqueId val="{000000B9-2993-41DE-A2CB-63102DE87051}"/>
              </c:ext>
            </c:extLst>
          </c:dPt>
          <c:dPt>
            <c:idx val="92"/>
            <c:invertIfNegative val="1"/>
            <c:bubble3D val="0"/>
            <c:spPr>
              <a:solidFill>
                <a:srgbClr val="AEABAB"/>
              </a:solidFill>
            </c:spPr>
            <c:extLst>
              <c:ext xmlns:c16="http://schemas.microsoft.com/office/drawing/2014/chart" uri="{C3380CC4-5D6E-409C-BE32-E72D297353CC}">
                <c16:uniqueId val="{000000BB-2993-41DE-A2CB-63102DE87051}"/>
              </c:ext>
            </c:extLst>
          </c:dPt>
          <c:dPt>
            <c:idx val="93"/>
            <c:invertIfNegative val="1"/>
            <c:bubble3D val="0"/>
            <c:spPr>
              <a:solidFill>
                <a:srgbClr val="AEABAB"/>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95</c:f>
              <c:strCache>
                <c:ptCount val="94"/>
                <c:pt idx="0">
                  <c:v>Apericube</c:v>
                </c:pt>
                <c:pt idx="1">
                  <c:v>Apericube</c:v>
                </c:pt>
                <c:pt idx="2">
                  <c:v>Apericube</c:v>
                </c:pt>
                <c:pt idx="3">
                  <c:v>Apericube</c:v>
                </c:pt>
                <c:pt idx="4">
                  <c:v>Apericube</c:v>
                </c:pt>
                <c:pt idx="5">
                  <c:v>Apericube</c:v>
                </c:pt>
                <c:pt idx="6">
                  <c:v>Boursin</c:v>
                </c:pt>
                <c:pt idx="7">
                  <c:v>Apericube</c:v>
                </c:pt>
                <c:pt idx="8">
                  <c:v>Apericube</c:v>
                </c:pt>
                <c:pt idx="9">
                  <c:v>Apericube</c:v>
                </c:pt>
                <c:pt idx="10">
                  <c:v>Aperivrais</c:v>
                </c:pt>
                <c:pt idx="11">
                  <c:v>Aperivrais</c:v>
                </c:pt>
                <c:pt idx="12">
                  <c:v>Apericube</c:v>
                </c:pt>
                <c:pt idx="13">
                  <c:v>Boursin</c:v>
                </c:pt>
                <c:pt idx="14">
                  <c:v>Aperivrais</c:v>
                </c:pt>
                <c:pt idx="15">
                  <c:v>St Moret</c:v>
                </c:pt>
                <c:pt idx="16">
                  <c:v>Apericube</c:v>
                </c:pt>
                <c:pt idx="17">
                  <c:v>Aperivrais</c:v>
                </c:pt>
                <c:pt idx="18">
                  <c:v>Apericube</c:v>
                </c:pt>
                <c:pt idx="19">
                  <c:v>Apericube</c:v>
                </c:pt>
                <c:pt idx="20">
                  <c:v>St Moret</c:v>
                </c:pt>
                <c:pt idx="21">
                  <c:v>Apericube</c:v>
                </c:pt>
                <c:pt idx="22">
                  <c:v>Private Lab</c:v>
                </c:pt>
                <c:pt idx="23">
                  <c:v>Apericube</c:v>
                </c:pt>
                <c:pt idx="24">
                  <c:v>Apericube</c:v>
                </c:pt>
                <c:pt idx="25">
                  <c:v>Leerdammer</c:v>
                </c:pt>
                <c:pt idx="26">
                  <c:v>All Others</c:v>
                </c:pt>
                <c:pt idx="27">
                  <c:v>Apericube</c:v>
                </c:pt>
                <c:pt idx="28">
                  <c:v>All Others</c:v>
                </c:pt>
                <c:pt idx="29">
                  <c:v>Apericube</c:v>
                </c:pt>
                <c:pt idx="30">
                  <c:v>O'Tapas Ape</c:v>
                </c:pt>
                <c:pt idx="31">
                  <c:v>Aperivrais</c:v>
                </c:pt>
                <c:pt idx="32">
                  <c:v>Private Lab</c:v>
                </c:pt>
                <c:pt idx="33">
                  <c:v>Apericube</c:v>
                </c:pt>
                <c:pt idx="34">
                  <c:v>Apericube</c:v>
                </c:pt>
                <c:pt idx="35">
                  <c:v>O'Tapas Ape</c:v>
                </c:pt>
                <c:pt idx="36">
                  <c:v>St Moret</c:v>
                </c:pt>
                <c:pt idx="37">
                  <c:v>Aperivrais</c:v>
                </c:pt>
                <c:pt idx="38">
                  <c:v>Entremont</c:v>
                </c:pt>
                <c:pt idx="39">
                  <c:v>Richesmonts</c:v>
                </c:pt>
                <c:pt idx="40">
                  <c:v>Aperivrais</c:v>
                </c:pt>
                <c:pt idx="41">
                  <c:v>Apericube</c:v>
                </c:pt>
                <c:pt idx="42">
                  <c:v>Aperivrais</c:v>
                </c:pt>
                <c:pt idx="43">
                  <c:v>Entremont</c:v>
                </c:pt>
                <c:pt idx="44">
                  <c:v>O'Tapas Ape</c:v>
                </c:pt>
                <c:pt idx="45">
                  <c:v>Apericube</c:v>
                </c:pt>
                <c:pt idx="46">
                  <c:v>Apericube</c:v>
                </c:pt>
                <c:pt idx="47">
                  <c:v>O'Tapas Ape</c:v>
                </c:pt>
                <c:pt idx="48">
                  <c:v>Richesmonts</c:v>
                </c:pt>
                <c:pt idx="49">
                  <c:v>Boursin</c:v>
                </c:pt>
                <c:pt idx="50">
                  <c:v>Boursin</c:v>
                </c:pt>
                <c:pt idx="51">
                  <c:v>All Others</c:v>
                </c:pt>
                <c:pt idx="52">
                  <c:v>All Others</c:v>
                </c:pt>
                <c:pt idx="53">
                  <c:v>O'Tapas Ape</c:v>
                </c:pt>
                <c:pt idx="54">
                  <c:v>All Others</c:v>
                </c:pt>
                <c:pt idx="55">
                  <c:v>All Others</c:v>
                </c:pt>
                <c:pt idx="56">
                  <c:v>All Others</c:v>
                </c:pt>
                <c:pt idx="57">
                  <c:v>All Others</c:v>
                </c:pt>
                <c:pt idx="58">
                  <c:v>All Others</c:v>
                </c:pt>
                <c:pt idx="59">
                  <c:v>Private Lab</c:v>
                </c:pt>
                <c:pt idx="60">
                  <c:v>St Moret</c:v>
                </c:pt>
                <c:pt idx="61">
                  <c:v>All Others</c:v>
                </c:pt>
                <c:pt idx="62">
                  <c:v>All Others</c:v>
                </c:pt>
                <c:pt idx="63">
                  <c:v>All Others</c:v>
                </c:pt>
                <c:pt idx="64">
                  <c:v>All Others</c:v>
                </c:pt>
                <c:pt idx="65">
                  <c:v>All Others</c:v>
                </c:pt>
                <c:pt idx="66">
                  <c:v>All Others</c:v>
                </c:pt>
                <c:pt idx="67">
                  <c:v>Soignon</c:v>
                </c:pt>
                <c:pt idx="68">
                  <c:v>All Others</c:v>
                </c:pt>
                <c:pt idx="69">
                  <c:v>All Others</c:v>
                </c:pt>
                <c:pt idx="70">
                  <c:v>All Others</c:v>
                </c:pt>
                <c:pt idx="71">
                  <c:v>All Others</c:v>
                </c:pt>
                <c:pt idx="72">
                  <c:v>All Others</c:v>
                </c:pt>
                <c:pt idx="73">
                  <c:v>All Others</c:v>
                </c:pt>
                <c:pt idx="74">
                  <c:v>All Others</c:v>
                </c:pt>
                <c:pt idx="75">
                  <c:v>All Others</c:v>
                </c:pt>
                <c:pt idx="76">
                  <c:v>All Others</c:v>
                </c:pt>
                <c:pt idx="77">
                  <c:v>All Others</c:v>
                </c:pt>
                <c:pt idx="78">
                  <c:v>All Others</c:v>
                </c:pt>
                <c:pt idx="79">
                  <c:v>O'Tapas Ape</c:v>
                </c:pt>
                <c:pt idx="80">
                  <c:v>All Others</c:v>
                </c:pt>
                <c:pt idx="81">
                  <c:v>All Others</c:v>
                </c:pt>
                <c:pt idx="82">
                  <c:v>All Others</c:v>
                </c:pt>
                <c:pt idx="83">
                  <c:v>All Others</c:v>
                </c:pt>
                <c:pt idx="84">
                  <c:v>All Others</c:v>
                </c:pt>
                <c:pt idx="85">
                  <c:v>All Others</c:v>
                </c:pt>
                <c:pt idx="86">
                  <c:v>All Others</c:v>
                </c:pt>
                <c:pt idx="87">
                  <c:v>All Others</c:v>
                </c:pt>
                <c:pt idx="88">
                  <c:v>All Others</c:v>
                </c:pt>
                <c:pt idx="89">
                  <c:v>All Others</c:v>
                </c:pt>
                <c:pt idx="90">
                  <c:v>All Others</c:v>
                </c:pt>
                <c:pt idx="91">
                  <c:v>All Others</c:v>
                </c:pt>
                <c:pt idx="92">
                  <c:v>All Others</c:v>
                </c:pt>
                <c:pt idx="93">
                  <c:v>Boursin</c:v>
                </c:pt>
              </c:strCache>
            </c:strRef>
          </c:cat>
          <c:val>
            <c:numRef>
              <c:f>Sheet1!$C$2:$C$95</c:f>
              <c:numCache>
                <c:formatCode>General</c:formatCode>
                <c:ptCount val="94"/>
                <c:pt idx="0">
                  <c:v>0.08468730414607291</c:v>
                </c:pt>
                <c:pt idx="1">
                  <c:v>0.1628552622483166</c:v>
                </c:pt>
                <c:pt idx="2">
                  <c:v>0.23729084026624297</c:v>
                </c:pt>
                <c:pt idx="3">
                  <c:v>0.2944653423821041</c:v>
                </c:pt>
                <c:pt idx="4">
                  <c:v>0.3477761976826459</c:v>
                </c:pt>
                <c:pt idx="5">
                  <c:v>0.39439333068685506</c:v>
                </c:pt>
                <c:pt idx="6">
                  <c:v>0.440512883491937</c:v>
                </c:pt>
                <c:pt idx="7">
                  <c:v>0.48517047143433306</c:v>
                </c:pt>
                <c:pt idx="8">
                  <c:v>0.527511421820736</c:v>
                </c:pt>
                <c:pt idx="9">
                  <c:v>0.5618176148911329</c:v>
                </c:pt>
                <c:pt idx="10">
                  <c:v>0.5951728142665029</c:v>
                </c:pt>
                <c:pt idx="11">
                  <c:v>0.6270763269348584</c:v>
                </c:pt>
                <c:pt idx="12">
                  <c:v>0.6794282009451087</c:v>
                </c:pt>
                <c:pt idx="13">
                  <c:v>0.7017890627620011</c:v>
                </c:pt>
                <c:pt idx="14">
                  <c:v>0.720733935492298</c:v>
                </c:pt>
                <c:pt idx="15">
                  <c:v>0.7394059966049196</c:v>
                </c:pt>
                <c:pt idx="16">
                  <c:v>0.7577533267306461</c:v>
                </c:pt>
                <c:pt idx="17">
                  <c:v>0.7738036358946321</c:v>
                </c:pt>
                <c:pt idx="18">
                  <c:v>0.7897508111079963</c:v>
                </c:pt>
                <c:pt idx="19">
                  <c:v>0.8039667337800865</c:v>
                </c:pt>
                <c:pt idx="20">
                  <c:v>0.8179060272338234</c:v>
                </c:pt>
                <c:pt idx="21">
                  <c:v>0.8315663421764822</c:v>
                </c:pt>
                <c:pt idx="22">
                  <c:v>0.8437480122781085</c:v>
                </c:pt>
                <c:pt idx="23">
                  <c:v>0.8544936772016587</c:v>
                </c:pt>
                <c:pt idx="24">
                  <c:v>0.8640523619759689</c:v>
                </c:pt>
                <c:pt idx="25">
                  <c:v>0.8719836916797624</c:v>
                </c:pt>
                <c:pt idx="26">
                  <c:v>0.8798695625693298</c:v>
                </c:pt>
                <c:pt idx="27">
                  <c:v>0.8877355232030538</c:v>
                </c:pt>
                <c:pt idx="28">
                  <c:v>0.8953287309514206</c:v>
                </c:pt>
                <c:pt idx="29">
                  <c:v>0.9028553362510374</c:v>
                </c:pt>
                <c:pt idx="30">
                  <c:v>0.909943269866603</c:v>
                </c:pt>
                <c:pt idx="31">
                  <c:v>0.9153745997172273</c:v>
                </c:pt>
                <c:pt idx="32">
                  <c:v>0.9207283441756129</c:v>
                </c:pt>
                <c:pt idx="33">
                  <c:v>0.9255533803062667</c:v>
                </c:pt>
                <c:pt idx="34">
                  <c:v>0.9303086424429918</c:v>
                </c:pt>
                <c:pt idx="35">
                  <c:v>0.9348886473424418</c:v>
                </c:pt>
                <c:pt idx="36">
                  <c:v>0.9394382289011047</c:v>
                </c:pt>
                <c:pt idx="37">
                  <c:v>0.9439650810526545</c:v>
                </c:pt>
                <c:pt idx="38">
                  <c:v>0.9483944962884404</c:v>
                </c:pt>
                <c:pt idx="39">
                  <c:v>0.9526221660114782</c:v>
                </c:pt>
                <c:pt idx="40">
                  <c:v>0.9567290820884577</c:v>
                </c:pt>
                <c:pt idx="41">
                  <c:v>0.960706082277752</c:v>
                </c:pt>
                <c:pt idx="42">
                  <c:v>0.9641725224256141</c:v>
                </c:pt>
                <c:pt idx="43">
                  <c:v>0.9675774111040847</c:v>
                </c:pt>
                <c:pt idx="44">
                  <c:v>0.9706958035347575</c:v>
                </c:pt>
                <c:pt idx="45">
                  <c:v>0.9734435950380822</c:v>
                </c:pt>
                <c:pt idx="46">
                  <c:v>0.975954519102422</c:v>
                </c:pt>
                <c:pt idx="47">
                  <c:v>0.9779981688437854</c:v>
                </c:pt>
                <c:pt idx="48">
                  <c:v>0.979948786593244</c:v>
                </c:pt>
                <c:pt idx="49">
                  <c:v>0.98178816533218</c:v>
                </c:pt>
                <c:pt idx="50">
                  <c:v>0.9833031654781299</c:v>
                </c:pt>
                <c:pt idx="51">
                  <c:v>0.9847118013959613</c:v>
                </c:pt>
                <c:pt idx="52">
                  <c:v>0.9860326912305187</c:v>
                </c:pt>
                <c:pt idx="53">
                  <c:v>0.9873456522021298</c:v>
                </c:pt>
                <c:pt idx="54">
                  <c:v>0.9886578496536053</c:v>
                </c:pt>
                <c:pt idx="55">
                  <c:v>0.9896824349432387</c:v>
                </c:pt>
                <c:pt idx="56">
                  <c:v>0.9904790801062417</c:v>
                </c:pt>
                <c:pt idx="57">
                  <c:v>0.991218402526758</c:v>
                </c:pt>
                <c:pt idx="58">
                  <c:v>0.9918945289729753</c:v>
                </c:pt>
                <c:pt idx="59">
                  <c:v>0.9925664854246059</c:v>
                </c:pt>
                <c:pt idx="60">
                  <c:v>0.993233802023105</c:v>
                </c:pt>
                <c:pt idx="61">
                  <c:v>0.9937270947630094</c:v>
                </c:pt>
                <c:pt idx="62">
                  <c:v>0.9941887895157642</c:v>
                </c:pt>
                <c:pt idx="63">
                  <c:v>0.9946091367165614</c:v>
                </c:pt>
                <c:pt idx="64">
                  <c:v>0.9950198518171866</c:v>
                </c:pt>
                <c:pt idx="65">
                  <c:v>0.9954140631364196</c:v>
                </c:pt>
                <c:pt idx="66">
                  <c:v>0.9958048092488834</c:v>
                </c:pt>
                <c:pt idx="67">
                  <c:v>0.9961638986418796</c:v>
                </c:pt>
                <c:pt idx="68">
                  <c:v>0.9965047810162581</c:v>
                </c:pt>
                <c:pt idx="69">
                  <c:v>0.9968384393155075</c:v>
                </c:pt>
                <c:pt idx="70">
                  <c:v>0.9971588241108615</c:v>
                </c:pt>
                <c:pt idx="71">
                  <c:v>0.9977104967749789</c:v>
                </c:pt>
                <c:pt idx="72">
                  <c:v>0.997960461520905</c:v>
                </c:pt>
                <c:pt idx="73">
                  <c:v>0.9982013814898403</c:v>
                </c:pt>
                <c:pt idx="74">
                  <c:v>0.9984223324706142</c:v>
                </c:pt>
                <c:pt idx="75">
                  <c:v>0.9986031105457929</c:v>
                </c:pt>
                <c:pt idx="76">
                  <c:v>0.9987483555685079</c:v>
                </c:pt>
                <c:pt idx="77">
                  <c:v>0.9988928958034055</c:v>
                </c:pt>
                <c:pt idx="78">
                  <c:v>0.9990312104125821</c:v>
                </c:pt>
                <c:pt idx="79">
                  <c:v>0.9992825847341431</c:v>
                </c:pt>
                <c:pt idx="80">
                  <c:v>0.9993892426238522</c:v>
                </c:pt>
                <c:pt idx="81">
                  <c:v>0.9994824508127114</c:v>
                </c:pt>
                <c:pt idx="82">
                  <c:v>0.999550286640142</c:v>
                </c:pt>
                <c:pt idx="83">
                  <c:v>0.9996126016296691</c:v>
                </c:pt>
                <c:pt idx="84">
                  <c:v>0.9997233120493286</c:v>
                </c:pt>
                <c:pt idx="85">
                  <c:v>0.9997729408581415</c:v>
                </c:pt>
                <c:pt idx="86">
                  <c:v>0.9998543438510582</c:v>
                </c:pt>
                <c:pt idx="87">
                  <c:v>0.9998843560656184</c:v>
                </c:pt>
                <c:pt idx="88">
                  <c:v>0.9999246464358499</c:v>
                </c:pt>
                <c:pt idx="89">
                  <c:v>0.9999437344392395</c:v>
                </c:pt>
                <c:pt idx="90">
                  <c:v>0.99996810835126</c:v>
                </c:pt>
                <c:pt idx="91">
                  <c:v>0.999983026360063</c:v>
                </c:pt>
                <c:pt idx="92">
                  <c:v>0.9999898980412832</c:v>
                </c:pt>
                <c:pt idx="93">
                  <c:v>0.9999974157780028</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69</c:f>
              <c:strCache>
                <c:ptCount val="68"/>
                <c:pt idx="0">
                  <c:v>Apericube</c:v>
                </c:pt>
                <c:pt idx="1">
                  <c:v>Apericube</c:v>
                </c:pt>
                <c:pt idx="2">
                  <c:v>Apericube</c:v>
                </c:pt>
                <c:pt idx="3">
                  <c:v>Boursin</c:v>
                </c:pt>
                <c:pt idx="4">
                  <c:v>Apericube</c:v>
                </c:pt>
                <c:pt idx="5">
                  <c:v>Apericube</c:v>
                </c:pt>
                <c:pt idx="6">
                  <c:v>Apericube</c:v>
                </c:pt>
                <c:pt idx="7">
                  <c:v>Aperivrais</c:v>
                </c:pt>
                <c:pt idx="8">
                  <c:v>Aperivrais</c:v>
                </c:pt>
                <c:pt idx="9">
                  <c:v>Boursin</c:v>
                </c:pt>
                <c:pt idx="10">
                  <c:v>Apericube</c:v>
                </c:pt>
                <c:pt idx="11">
                  <c:v>Apericube</c:v>
                </c:pt>
                <c:pt idx="12">
                  <c:v>Aperivrais</c:v>
                </c:pt>
                <c:pt idx="13">
                  <c:v>Private Lab</c:v>
                </c:pt>
                <c:pt idx="14">
                  <c:v>Apericube</c:v>
                </c:pt>
                <c:pt idx="15">
                  <c:v>St Moret</c:v>
                </c:pt>
                <c:pt idx="16">
                  <c:v>Aperivrais</c:v>
                </c:pt>
                <c:pt idx="17">
                  <c:v>Apericube</c:v>
                </c:pt>
                <c:pt idx="18">
                  <c:v>St Moret</c:v>
                </c:pt>
                <c:pt idx="19">
                  <c:v>All Others</c:v>
                </c:pt>
                <c:pt idx="20">
                  <c:v>Leerdammer</c:v>
                </c:pt>
                <c:pt idx="21">
                  <c:v>Apericube</c:v>
                </c:pt>
                <c:pt idx="22">
                  <c:v>Apericube</c:v>
                </c:pt>
                <c:pt idx="23">
                  <c:v>Apericube</c:v>
                </c:pt>
                <c:pt idx="24">
                  <c:v>Entremont</c:v>
                </c:pt>
                <c:pt idx="25">
                  <c:v>Apericube</c:v>
                </c:pt>
                <c:pt idx="26">
                  <c:v>Apericube</c:v>
                </c:pt>
                <c:pt idx="27">
                  <c:v>Richesmonts</c:v>
                </c:pt>
                <c:pt idx="28">
                  <c:v>Apericube</c:v>
                </c:pt>
                <c:pt idx="29">
                  <c:v>Apericube</c:v>
                </c:pt>
                <c:pt idx="30">
                  <c:v>Entremont</c:v>
                </c:pt>
                <c:pt idx="31">
                  <c:v>O'Tapas Ape</c:v>
                </c:pt>
                <c:pt idx="32">
                  <c:v>All Others</c:v>
                </c:pt>
                <c:pt idx="33">
                  <c:v>Aperivrais</c:v>
                </c:pt>
                <c:pt idx="34">
                  <c:v>Aperivrais</c:v>
                </c:pt>
                <c:pt idx="35">
                  <c:v>Apericube</c:v>
                </c:pt>
                <c:pt idx="36">
                  <c:v>O'Tapas Ape</c:v>
                </c:pt>
                <c:pt idx="37">
                  <c:v>All Others</c:v>
                </c:pt>
                <c:pt idx="38">
                  <c:v>All Others</c:v>
                </c:pt>
                <c:pt idx="39">
                  <c:v>O'Tapas Ape</c:v>
                </c:pt>
                <c:pt idx="40">
                  <c:v>Boursin</c:v>
                </c:pt>
                <c:pt idx="41">
                  <c:v>O'Tapas Ape</c:v>
                </c:pt>
                <c:pt idx="42">
                  <c:v>Aperivrais</c:v>
                </c:pt>
                <c:pt idx="43">
                  <c:v>Boursin</c:v>
                </c:pt>
                <c:pt idx="44">
                  <c:v>Aperivrais</c:v>
                </c:pt>
                <c:pt idx="45">
                  <c:v>St Moret</c:v>
                </c:pt>
                <c:pt idx="46">
                  <c:v>Private Lab</c:v>
                </c:pt>
                <c:pt idx="47">
                  <c:v>O'Tapas Ape</c:v>
                </c:pt>
                <c:pt idx="48">
                  <c:v>All Others</c:v>
                </c:pt>
                <c:pt idx="49">
                  <c:v>All Others</c:v>
                </c:pt>
                <c:pt idx="50">
                  <c:v>Apericube</c:v>
                </c:pt>
                <c:pt idx="51">
                  <c:v>Apericube</c:v>
                </c:pt>
                <c:pt idx="52">
                  <c:v>All Others</c:v>
                </c:pt>
                <c:pt idx="53">
                  <c:v>Apericube</c:v>
                </c:pt>
                <c:pt idx="54">
                  <c:v>All Others</c:v>
                </c:pt>
                <c:pt idx="55">
                  <c:v>All Others</c:v>
                </c:pt>
                <c:pt idx="56">
                  <c:v>All Others</c:v>
                </c:pt>
                <c:pt idx="57">
                  <c:v>Apericube</c:v>
                </c:pt>
                <c:pt idx="58">
                  <c:v>Leerdammer</c:v>
                </c:pt>
                <c:pt idx="59">
                  <c:v>All Others</c:v>
                </c:pt>
                <c:pt idx="60">
                  <c:v>All Others</c:v>
                </c:pt>
                <c:pt idx="61">
                  <c:v>All Others</c:v>
                </c:pt>
                <c:pt idx="62">
                  <c:v>All Others</c:v>
                </c:pt>
                <c:pt idx="63">
                  <c:v>All Others</c:v>
                </c:pt>
                <c:pt idx="64">
                  <c:v>Apericube</c:v>
                </c:pt>
                <c:pt idx="65">
                  <c:v>All Others</c:v>
                </c:pt>
                <c:pt idx="66">
                  <c:v>All Others</c:v>
                </c:pt>
                <c:pt idx="67">
                  <c:v>Apericube</c:v>
                </c:pt>
              </c:strCache>
            </c:strRef>
          </c:cat>
          <c:val>
            <c:numRef>
              <c:f>Sheet1!$B$2:$B$69</c:f>
              <c:numCache>
                <c:formatCode>General</c:formatCode>
                <c:ptCount val="68"/>
                <c:pt idx="0">
                  <c:v>0.96</c:v>
                </c:pt>
                <c:pt idx="1">
                  <c:v>0.96</c:v>
                </c:pt>
                <c:pt idx="2">
                  <c:v>0.95</c:v>
                </c:pt>
                <c:pt idx="3">
                  <c:v>0.94</c:v>
                </c:pt>
                <c:pt idx="4">
                  <c:v>0.83</c:v>
                </c:pt>
                <c:pt idx="5">
                  <c:v>0.83</c:v>
                </c:pt>
                <c:pt idx="6">
                  <c:v>0.96</c:v>
                </c:pt>
                <c:pt idx="7">
                  <c:v>0.99</c:v>
                </c:pt>
                <c:pt idx="8">
                  <c:v>0.99</c:v>
                </c:pt>
                <c:pt idx="9">
                  <c:v>0.86</c:v>
                </c:pt>
                <c:pt idx="10">
                  <c:v>0.82</c:v>
                </c:pt>
                <c:pt idx="11">
                  <c:v>0.89</c:v>
                </c:pt>
                <c:pt idx="12">
                  <c:v>0.91</c:v>
                </c:pt>
                <c:pt idx="13">
                  <c:v>0.96</c:v>
                </c:pt>
                <c:pt idx="14">
                  <c:v>0.77</c:v>
                </c:pt>
                <c:pt idx="15">
                  <c:v>0.63</c:v>
                </c:pt>
                <c:pt idx="16">
                  <c:v>0.69</c:v>
                </c:pt>
                <c:pt idx="17">
                  <c:v>0.83</c:v>
                </c:pt>
                <c:pt idx="18">
                  <c:v>0.63</c:v>
                </c:pt>
                <c:pt idx="19">
                  <c:v>0.53</c:v>
                </c:pt>
                <c:pt idx="20">
                  <c:v>0.87</c:v>
                </c:pt>
                <c:pt idx="21">
                  <c:v>0.49</c:v>
                </c:pt>
                <c:pt idx="22">
                  <c:v>0.52</c:v>
                </c:pt>
                <c:pt idx="23">
                  <c:v>0.49</c:v>
                </c:pt>
                <c:pt idx="24">
                  <c:v>0.67</c:v>
                </c:pt>
                <c:pt idx="25">
                  <c:v>0.46</c:v>
                </c:pt>
                <c:pt idx="26">
                  <c:v>0.33</c:v>
                </c:pt>
                <c:pt idx="27">
                  <c:v>0.75</c:v>
                </c:pt>
                <c:pt idx="28">
                  <c:v>0.44</c:v>
                </c:pt>
                <c:pt idx="29">
                  <c:v>0.41</c:v>
                </c:pt>
                <c:pt idx="30">
                  <c:v>0.72</c:v>
                </c:pt>
                <c:pt idx="31">
                  <c:v>0.6</c:v>
                </c:pt>
                <c:pt idx="32">
                  <c:v>0.03</c:v>
                </c:pt>
                <c:pt idx="33">
                  <c:v>0.67</c:v>
                </c:pt>
                <c:pt idx="34">
                  <c:v>0.62</c:v>
                </c:pt>
                <c:pt idx="35">
                  <c:v>0.05</c:v>
                </c:pt>
                <c:pt idx="36">
                  <c:v>0.44</c:v>
                </c:pt>
                <c:pt idx="37">
                  <c:v>0.46</c:v>
                </c:pt>
                <c:pt idx="38">
                  <c:v>0.02</c:v>
                </c:pt>
                <c:pt idx="39">
                  <c:v>0.09</c:v>
                </c:pt>
                <c:pt idx="40">
                  <c:v>0.5</c:v>
                </c:pt>
                <c:pt idx="41">
                  <c:v>0.07</c:v>
                </c:pt>
                <c:pt idx="42">
                  <c:v>0.44</c:v>
                </c:pt>
                <c:pt idx="43">
                  <c:v>0.29</c:v>
                </c:pt>
                <c:pt idx="44">
                  <c:v>0.36</c:v>
                </c:pt>
                <c:pt idx="45">
                  <c:v>0.26</c:v>
                </c:pt>
                <c:pt idx="46">
                  <c:v>0.18</c:v>
                </c:pt>
                <c:pt idx="47">
                  <c:v>0.08</c:v>
                </c:pt>
                <c:pt idx="48">
                  <c:v>0.03</c:v>
                </c:pt>
                <c:pt idx="49">
                  <c:v>0.04</c:v>
                </c:pt>
                <c:pt idx="50">
                  <c:v>0.09</c:v>
                </c:pt>
                <c:pt idx="51">
                  <c:v>0.07</c:v>
                </c:pt>
                <c:pt idx="52">
                  <c:v>0.02</c:v>
                </c:pt>
                <c:pt idx="53">
                  <c:v>0.06</c:v>
                </c:pt>
                <c:pt idx="54">
                  <c:v>0.01</c:v>
                </c:pt>
                <c:pt idx="55">
                  <c:v>0.01</c:v>
                </c:pt>
                <c:pt idx="56">
                  <c:v>0.01</c:v>
                </c:pt>
                <c:pt idx="57">
                  <c:v>0.02</c:v>
                </c:pt>
                <c:pt idx="58">
                  <c:v>0.03</c:v>
                </c:pt>
                <c:pt idx="59">
                  <c:v>0.01</c:v>
                </c:pt>
                <c:pt idx="60">
                  <c:v>0.02</c:v>
                </c:pt>
                <c:pt idx="61">
                  <c:v>0.01</c:v>
                </c:pt>
                <c:pt idx="62">
                  <c:v>0.02</c:v>
                </c:pt>
                <c:pt idx="63">
                  <c:v>0.01</c:v>
                </c:pt>
                <c:pt idx="64">
                  <c:v>0.01</c:v>
                </c:pt>
                <c:pt idx="65">
                  <c:v>0.01</c:v>
                </c:pt>
                <c:pt idx="66">
                  <c:v>0.01</c:v>
                </c:pt>
                <c:pt idx="67">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Item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7ECAC4"/>
              </a:solidFill>
            </c:spPr>
            <c:extLst>
              <c:ext xmlns:c16="http://schemas.microsoft.com/office/drawing/2014/chart" uri="{C3380CC4-5D6E-409C-BE32-E72D297353CC}">
                <c16:uniqueId val="{00000055-2993-41DE-A2CB-63102DE87051}"/>
              </c:ext>
            </c:extLst>
          </c:dPt>
          <c:dPt>
            <c:idx val="15"/>
            <c:invertIfNegative val="1"/>
            <c:bubble3D val="0"/>
            <c:spPr>
              <a:solidFill>
                <a:srgbClr val="7ECAC4"/>
              </a:solidFill>
            </c:spPr>
            <c:extLst>
              <c:ext xmlns:c16="http://schemas.microsoft.com/office/drawing/2014/chart" uri="{C3380CC4-5D6E-409C-BE32-E72D297353CC}">
                <c16:uniqueId val="{00000057-2993-41DE-A2CB-63102DE87051}"/>
              </c:ext>
            </c:extLst>
          </c:dPt>
          <c:dPt>
            <c:idx val="16"/>
            <c:invertIfNegative val="1"/>
            <c:bubble3D val="0"/>
            <c:spPr>
              <a:solidFill>
                <a:srgbClr val="7ECAC4"/>
              </a:solidFill>
            </c:spPr>
            <c:extLst>
              <c:ext xmlns:c16="http://schemas.microsoft.com/office/drawing/2014/chart" uri="{C3380CC4-5D6E-409C-BE32-E72D297353CC}">
                <c16:uniqueId val="{00000059-2993-41DE-A2CB-63102DE87051}"/>
              </c:ext>
            </c:extLst>
          </c:dPt>
          <c:dPt>
            <c:idx val="17"/>
            <c:invertIfNegative val="1"/>
            <c:bubble3D val="0"/>
            <c:spPr>
              <a:solidFill>
                <a:srgbClr val="7ECAC4"/>
              </a:solidFill>
            </c:spPr>
            <c:extLst>
              <c:ext xmlns:c16="http://schemas.microsoft.com/office/drawing/2014/chart" uri="{C3380CC4-5D6E-409C-BE32-E72D297353CC}">
                <c16:uniqueId val="{0000005B-2993-41DE-A2CB-63102DE87051}"/>
              </c:ext>
            </c:extLst>
          </c:dPt>
          <c:dPt>
            <c:idx val="18"/>
            <c:invertIfNegative val="1"/>
            <c:bubble3D val="0"/>
            <c:spPr>
              <a:solidFill>
                <a:srgbClr val="7ECAC4"/>
              </a:solidFill>
            </c:spPr>
            <c:extLst>
              <c:ext xmlns:c16="http://schemas.microsoft.com/office/drawing/2014/chart" uri="{C3380CC4-5D6E-409C-BE32-E72D297353CC}">
                <c16:uniqueId val="{0000005D-2993-41DE-A2CB-63102DE87051}"/>
              </c:ext>
            </c:extLst>
          </c:dPt>
          <c:dPt>
            <c:idx val="19"/>
            <c:invertIfNegative val="1"/>
            <c:bubble3D val="0"/>
            <c:spPr>
              <a:solidFill>
                <a:srgbClr val="7ECAC4"/>
              </a:solidFill>
            </c:spPr>
            <c:extLst>
              <c:ext xmlns:c16="http://schemas.microsoft.com/office/drawing/2014/chart" uri="{C3380CC4-5D6E-409C-BE32-E72D297353CC}">
                <c16:uniqueId val="{0000005F-2993-41DE-A2CB-63102DE87051}"/>
              </c:ext>
            </c:extLst>
          </c:dPt>
          <c:dPt>
            <c:idx val="20"/>
            <c:invertIfNegative val="1"/>
            <c:bubble3D val="0"/>
            <c:spPr>
              <a:solidFill>
                <a:srgbClr val="7ECAC4"/>
              </a:solidFill>
            </c:spPr>
            <c:extLst>
              <c:ext xmlns:c16="http://schemas.microsoft.com/office/drawing/2014/chart" uri="{C3380CC4-5D6E-409C-BE32-E72D297353CC}">
                <c16:uniqueId val="{00000061-2993-41DE-A2CB-63102DE87051}"/>
              </c:ext>
            </c:extLst>
          </c:dPt>
          <c:dPt>
            <c:idx val="21"/>
            <c:invertIfNegative val="1"/>
            <c:bubble3D val="0"/>
            <c:spPr>
              <a:solidFill>
                <a:srgbClr val="7ECAC4"/>
              </a:solidFill>
            </c:spPr>
            <c:extLst>
              <c:ext xmlns:c16="http://schemas.microsoft.com/office/drawing/2014/chart" uri="{C3380CC4-5D6E-409C-BE32-E72D297353CC}">
                <c16:uniqueId val="{00000063-2993-41DE-A2CB-63102DE87051}"/>
              </c:ext>
            </c:extLst>
          </c:dPt>
          <c:dPt>
            <c:idx val="22"/>
            <c:invertIfNegative val="1"/>
            <c:bubble3D val="0"/>
            <c:spPr>
              <a:solidFill>
                <a:srgbClr val="7ECAC4"/>
              </a:solidFill>
            </c:spPr>
            <c:extLst>
              <c:ext xmlns:c16="http://schemas.microsoft.com/office/drawing/2014/chart" uri="{C3380CC4-5D6E-409C-BE32-E72D297353CC}">
                <c16:uniqueId val="{00000065-2993-41DE-A2CB-63102DE87051}"/>
              </c:ext>
            </c:extLst>
          </c:dPt>
          <c:dPt>
            <c:idx val="23"/>
            <c:invertIfNegative val="1"/>
            <c:bubble3D val="0"/>
            <c:spPr>
              <a:solidFill>
                <a:srgbClr val="7ECAC4"/>
              </a:solidFill>
            </c:spPr>
            <c:extLst>
              <c:ext xmlns:c16="http://schemas.microsoft.com/office/drawing/2014/chart" uri="{C3380CC4-5D6E-409C-BE32-E72D297353CC}">
                <c16:uniqueId val="{00000067-2993-41DE-A2CB-63102DE87051}"/>
              </c:ext>
            </c:extLst>
          </c:dPt>
          <c:dPt>
            <c:idx val="24"/>
            <c:invertIfNegative val="1"/>
            <c:bubble3D val="0"/>
            <c:spPr>
              <a:solidFill>
                <a:srgbClr val="7ECAC4"/>
              </a:solidFill>
            </c:spPr>
            <c:extLst>
              <c:ext xmlns:c16="http://schemas.microsoft.com/office/drawing/2014/chart" uri="{C3380CC4-5D6E-409C-BE32-E72D297353CC}">
                <c16:uniqueId val="{00000069-2993-41DE-A2CB-63102DE87051}"/>
              </c:ext>
            </c:extLst>
          </c:dPt>
          <c:dPt>
            <c:idx val="25"/>
            <c:invertIfNegative val="1"/>
            <c:bubble3D val="0"/>
            <c:spPr>
              <a:solidFill>
                <a:srgbClr val="7ECAC4"/>
              </a:solidFill>
            </c:spPr>
            <c:extLst>
              <c:ext xmlns:c16="http://schemas.microsoft.com/office/drawing/2014/chart" uri="{C3380CC4-5D6E-409C-BE32-E72D297353CC}">
                <c16:uniqueId val="{0000006B-2993-41DE-A2CB-63102DE87051}"/>
              </c:ext>
            </c:extLst>
          </c:dPt>
          <c:dPt>
            <c:idx val="26"/>
            <c:invertIfNegative val="1"/>
            <c:bubble3D val="0"/>
            <c:spPr>
              <a:solidFill>
                <a:srgbClr val="7ECAC4"/>
              </a:solidFill>
            </c:spPr>
            <c:extLst>
              <c:ext xmlns:c16="http://schemas.microsoft.com/office/drawing/2014/chart" uri="{C3380CC4-5D6E-409C-BE32-E72D297353CC}">
                <c16:uniqueId val="{0000006D-2993-41DE-A2CB-63102DE87051}"/>
              </c:ext>
            </c:extLst>
          </c:dPt>
          <c:dPt>
            <c:idx val="27"/>
            <c:invertIfNegative val="1"/>
            <c:bubble3D val="0"/>
            <c:spPr>
              <a:solidFill>
                <a:srgbClr val="7ECAC4"/>
              </a:solidFill>
            </c:spPr>
            <c:extLst>
              <c:ext xmlns:c16="http://schemas.microsoft.com/office/drawing/2014/chart" uri="{C3380CC4-5D6E-409C-BE32-E72D297353CC}">
                <c16:uniqueId val="{0000006F-2993-41DE-A2CB-63102DE87051}"/>
              </c:ext>
            </c:extLst>
          </c:dPt>
          <c:dPt>
            <c:idx val="28"/>
            <c:invertIfNegative val="1"/>
            <c:bubble3D val="0"/>
            <c:spPr>
              <a:solidFill>
                <a:srgbClr val="7ECAC4"/>
              </a:solidFill>
            </c:spPr>
            <c:extLst>
              <c:ext xmlns:c16="http://schemas.microsoft.com/office/drawing/2014/chart" uri="{C3380CC4-5D6E-409C-BE32-E72D297353CC}">
                <c16:uniqueId val="{00000071-2993-41DE-A2CB-63102DE87051}"/>
              </c:ext>
            </c:extLst>
          </c:dPt>
          <c:dPt>
            <c:idx val="29"/>
            <c:invertIfNegative val="1"/>
            <c:bubble3D val="0"/>
            <c:spPr>
              <a:solidFill>
                <a:srgbClr val="AEABAB"/>
              </a:solidFill>
            </c:spPr>
            <c:extLst>
              <c:ext xmlns:c16="http://schemas.microsoft.com/office/drawing/2014/chart" uri="{C3380CC4-5D6E-409C-BE32-E72D297353CC}">
                <c16:uniqueId val="{00000073-2993-41DE-A2CB-63102DE87051}"/>
              </c:ext>
            </c:extLst>
          </c:dPt>
          <c:dPt>
            <c:idx val="30"/>
            <c:invertIfNegative val="1"/>
            <c:bubble3D val="0"/>
            <c:spPr>
              <a:solidFill>
                <a:srgbClr val="AEABAB"/>
              </a:solidFill>
            </c:spPr>
            <c:extLst>
              <c:ext xmlns:c16="http://schemas.microsoft.com/office/drawing/2014/chart" uri="{C3380CC4-5D6E-409C-BE32-E72D297353CC}">
                <c16:uniqueId val="{00000075-2993-41DE-A2CB-63102DE87051}"/>
              </c:ext>
            </c:extLst>
          </c:dPt>
          <c:dPt>
            <c:idx val="31"/>
            <c:invertIfNegative val="1"/>
            <c:bubble3D val="0"/>
            <c:spPr>
              <a:solidFill>
                <a:srgbClr val="AEABAB"/>
              </a:solidFill>
            </c:spPr>
            <c:extLst>
              <c:ext xmlns:c16="http://schemas.microsoft.com/office/drawing/2014/chart" uri="{C3380CC4-5D6E-409C-BE32-E72D297353CC}">
                <c16:uniqueId val="{00000077-2993-41DE-A2CB-63102DE87051}"/>
              </c:ext>
            </c:extLst>
          </c:dPt>
          <c:dPt>
            <c:idx val="32"/>
            <c:invertIfNegative val="1"/>
            <c:bubble3D val="0"/>
            <c:spPr>
              <a:solidFill>
                <a:srgbClr val="AEABAB"/>
              </a:solidFill>
            </c:spPr>
            <c:extLst>
              <c:ext xmlns:c16="http://schemas.microsoft.com/office/drawing/2014/chart" uri="{C3380CC4-5D6E-409C-BE32-E72D297353CC}">
                <c16:uniqueId val="{00000079-2993-41DE-A2CB-63102DE87051}"/>
              </c:ext>
            </c:extLst>
          </c:dPt>
          <c:dPt>
            <c:idx val="33"/>
            <c:invertIfNegative val="1"/>
            <c:bubble3D val="0"/>
            <c:spPr>
              <a:solidFill>
                <a:srgbClr val="AEABAB"/>
              </a:solidFill>
            </c:spPr>
            <c:extLst>
              <c:ext xmlns:c16="http://schemas.microsoft.com/office/drawing/2014/chart" uri="{C3380CC4-5D6E-409C-BE32-E72D297353CC}">
                <c16:uniqueId val="{0000007B-2993-41DE-A2CB-63102DE87051}"/>
              </c:ext>
            </c:extLst>
          </c:dPt>
          <c:dPt>
            <c:idx val="34"/>
            <c:invertIfNegative val="1"/>
            <c:bubble3D val="0"/>
            <c:spPr>
              <a:solidFill>
                <a:srgbClr val="AEABAB"/>
              </a:solidFill>
            </c:spPr>
            <c:extLst>
              <c:ext xmlns:c16="http://schemas.microsoft.com/office/drawing/2014/chart" uri="{C3380CC4-5D6E-409C-BE32-E72D297353CC}">
                <c16:uniqueId val="{0000007D-2993-41DE-A2CB-63102DE87051}"/>
              </c:ext>
            </c:extLst>
          </c:dPt>
          <c:dPt>
            <c:idx val="35"/>
            <c:invertIfNegative val="1"/>
            <c:bubble3D val="0"/>
            <c:spPr>
              <a:solidFill>
                <a:srgbClr val="AEABAB"/>
              </a:solidFill>
            </c:spPr>
            <c:extLst>
              <c:ext xmlns:c16="http://schemas.microsoft.com/office/drawing/2014/chart" uri="{C3380CC4-5D6E-409C-BE32-E72D297353CC}">
                <c16:uniqueId val="{0000007F-2993-41DE-A2CB-63102DE87051}"/>
              </c:ext>
            </c:extLst>
          </c:dPt>
          <c:dPt>
            <c:idx val="36"/>
            <c:invertIfNegative val="1"/>
            <c:bubble3D val="0"/>
            <c:spPr>
              <a:solidFill>
                <a:srgbClr val="AEABAB"/>
              </a:solidFill>
            </c:spPr>
            <c:extLst>
              <c:ext xmlns:c16="http://schemas.microsoft.com/office/drawing/2014/chart" uri="{C3380CC4-5D6E-409C-BE32-E72D297353CC}">
                <c16:uniqueId val="{00000081-2993-41DE-A2CB-63102DE87051}"/>
              </c:ext>
            </c:extLst>
          </c:dPt>
          <c:dPt>
            <c:idx val="37"/>
            <c:invertIfNegative val="1"/>
            <c:bubble3D val="0"/>
            <c:spPr>
              <a:solidFill>
                <a:srgbClr val="AEABAB"/>
              </a:solidFill>
            </c:spPr>
            <c:extLst>
              <c:ext xmlns:c16="http://schemas.microsoft.com/office/drawing/2014/chart" uri="{C3380CC4-5D6E-409C-BE32-E72D297353CC}">
                <c16:uniqueId val="{00000083-2993-41DE-A2CB-63102DE87051}"/>
              </c:ext>
            </c:extLst>
          </c:dPt>
          <c:dPt>
            <c:idx val="38"/>
            <c:invertIfNegative val="1"/>
            <c:bubble3D val="0"/>
            <c:spPr>
              <a:solidFill>
                <a:srgbClr val="AEABAB"/>
              </a:solidFill>
            </c:spPr>
            <c:extLst>
              <c:ext xmlns:c16="http://schemas.microsoft.com/office/drawing/2014/chart" uri="{C3380CC4-5D6E-409C-BE32-E72D297353CC}">
                <c16:uniqueId val="{00000085-2993-41DE-A2CB-63102DE87051}"/>
              </c:ext>
            </c:extLst>
          </c:dPt>
          <c:dPt>
            <c:idx val="39"/>
            <c:invertIfNegative val="1"/>
            <c:bubble3D val="0"/>
            <c:spPr>
              <a:solidFill>
                <a:srgbClr val="AEABAB"/>
              </a:solidFill>
            </c:spPr>
            <c:extLst>
              <c:ext xmlns:c16="http://schemas.microsoft.com/office/drawing/2014/chart" uri="{C3380CC4-5D6E-409C-BE32-E72D297353CC}">
                <c16:uniqueId val="{00000087-2993-41DE-A2CB-63102DE87051}"/>
              </c:ext>
            </c:extLst>
          </c:dPt>
          <c:dPt>
            <c:idx val="40"/>
            <c:invertIfNegative val="1"/>
            <c:bubble3D val="0"/>
            <c:spPr>
              <a:solidFill>
                <a:srgbClr val="AEABAB"/>
              </a:solidFill>
            </c:spPr>
            <c:extLst>
              <c:ext xmlns:c16="http://schemas.microsoft.com/office/drawing/2014/chart" uri="{C3380CC4-5D6E-409C-BE32-E72D297353CC}">
                <c16:uniqueId val="{00000089-2993-41DE-A2CB-63102DE87051}"/>
              </c:ext>
            </c:extLst>
          </c:dPt>
          <c:dPt>
            <c:idx val="41"/>
            <c:invertIfNegative val="1"/>
            <c:bubble3D val="0"/>
            <c:spPr>
              <a:solidFill>
                <a:srgbClr val="AEABAB"/>
              </a:solidFill>
            </c:spPr>
            <c:extLst>
              <c:ext xmlns:c16="http://schemas.microsoft.com/office/drawing/2014/chart" uri="{C3380CC4-5D6E-409C-BE32-E72D297353CC}">
                <c16:uniqueId val="{0000008B-2993-41DE-A2CB-63102DE87051}"/>
              </c:ext>
            </c:extLst>
          </c:dPt>
          <c:dPt>
            <c:idx val="42"/>
            <c:invertIfNegative val="1"/>
            <c:bubble3D val="0"/>
            <c:spPr>
              <a:solidFill>
                <a:srgbClr val="AEABAB"/>
              </a:solidFill>
            </c:spPr>
            <c:extLst>
              <c:ext xmlns:c16="http://schemas.microsoft.com/office/drawing/2014/chart" uri="{C3380CC4-5D6E-409C-BE32-E72D297353CC}">
                <c16:uniqueId val="{0000008D-2993-41DE-A2CB-63102DE87051}"/>
              </c:ext>
            </c:extLst>
          </c:dPt>
          <c:dPt>
            <c:idx val="43"/>
            <c:invertIfNegative val="1"/>
            <c:bubble3D val="0"/>
            <c:spPr>
              <a:solidFill>
                <a:srgbClr val="AEABAB"/>
              </a:solidFill>
            </c:spPr>
            <c:extLst>
              <c:ext xmlns:c16="http://schemas.microsoft.com/office/drawing/2014/chart" uri="{C3380CC4-5D6E-409C-BE32-E72D297353CC}">
                <c16:uniqueId val="{0000008F-2993-41DE-A2CB-63102DE87051}"/>
              </c:ext>
            </c:extLst>
          </c:dPt>
          <c:dPt>
            <c:idx val="44"/>
            <c:invertIfNegative val="1"/>
            <c:bubble3D val="0"/>
            <c:spPr>
              <a:solidFill>
                <a:srgbClr val="AEABAB"/>
              </a:solidFill>
            </c:spPr>
            <c:extLst>
              <c:ext xmlns:c16="http://schemas.microsoft.com/office/drawing/2014/chart" uri="{C3380CC4-5D6E-409C-BE32-E72D297353CC}">
                <c16:uniqueId val="{00000091-2993-41DE-A2CB-63102DE87051}"/>
              </c:ext>
            </c:extLst>
          </c:dPt>
          <c:dPt>
            <c:idx val="45"/>
            <c:invertIfNegative val="1"/>
            <c:bubble3D val="0"/>
            <c:spPr>
              <a:solidFill>
                <a:srgbClr val="AEABAB"/>
              </a:solidFill>
            </c:spPr>
            <c:extLst>
              <c:ext xmlns:c16="http://schemas.microsoft.com/office/drawing/2014/chart" uri="{C3380CC4-5D6E-409C-BE32-E72D297353CC}">
                <c16:uniqueId val="{00000093-2993-41DE-A2CB-63102DE87051}"/>
              </c:ext>
            </c:extLst>
          </c:dPt>
          <c:dPt>
            <c:idx val="46"/>
            <c:invertIfNegative val="1"/>
            <c:bubble3D val="0"/>
            <c:spPr>
              <a:solidFill>
                <a:srgbClr val="AEABAB"/>
              </a:solidFill>
            </c:spPr>
            <c:extLst>
              <c:ext xmlns:c16="http://schemas.microsoft.com/office/drawing/2014/chart" uri="{C3380CC4-5D6E-409C-BE32-E72D297353CC}">
                <c16:uniqueId val="{00000095-2993-41DE-A2CB-63102DE87051}"/>
              </c:ext>
            </c:extLst>
          </c:dPt>
          <c:dPt>
            <c:idx val="47"/>
            <c:invertIfNegative val="1"/>
            <c:bubble3D val="0"/>
            <c:spPr>
              <a:solidFill>
                <a:srgbClr val="AEABAB"/>
              </a:solidFill>
            </c:spPr>
            <c:extLst>
              <c:ext xmlns:c16="http://schemas.microsoft.com/office/drawing/2014/chart" uri="{C3380CC4-5D6E-409C-BE32-E72D297353CC}">
                <c16:uniqueId val="{00000097-2993-41DE-A2CB-63102DE87051}"/>
              </c:ext>
            </c:extLst>
          </c:dPt>
          <c:dPt>
            <c:idx val="48"/>
            <c:invertIfNegative val="1"/>
            <c:bubble3D val="0"/>
            <c:spPr>
              <a:solidFill>
                <a:srgbClr val="AEABAB"/>
              </a:solidFill>
            </c:spPr>
            <c:extLst>
              <c:ext xmlns:c16="http://schemas.microsoft.com/office/drawing/2014/chart" uri="{C3380CC4-5D6E-409C-BE32-E72D297353CC}">
                <c16:uniqueId val="{00000099-2993-41DE-A2CB-63102DE87051}"/>
              </c:ext>
            </c:extLst>
          </c:dPt>
          <c:dPt>
            <c:idx val="49"/>
            <c:invertIfNegative val="1"/>
            <c:bubble3D val="0"/>
            <c:spPr>
              <a:solidFill>
                <a:srgbClr val="AEABAB"/>
              </a:solidFill>
            </c:spPr>
            <c:extLst>
              <c:ext xmlns:c16="http://schemas.microsoft.com/office/drawing/2014/chart" uri="{C3380CC4-5D6E-409C-BE32-E72D297353CC}">
                <c16:uniqueId val="{0000009B-2993-41DE-A2CB-63102DE87051}"/>
              </c:ext>
            </c:extLst>
          </c:dPt>
          <c:dPt>
            <c:idx val="50"/>
            <c:invertIfNegative val="1"/>
            <c:bubble3D val="0"/>
            <c:spPr>
              <a:solidFill>
                <a:srgbClr val="AEABAB"/>
              </a:solidFill>
            </c:spPr>
            <c:extLst>
              <c:ext xmlns:c16="http://schemas.microsoft.com/office/drawing/2014/chart" uri="{C3380CC4-5D6E-409C-BE32-E72D297353CC}">
                <c16:uniqueId val="{0000009D-2993-41DE-A2CB-63102DE87051}"/>
              </c:ext>
            </c:extLst>
          </c:dPt>
          <c:dPt>
            <c:idx val="51"/>
            <c:invertIfNegative val="1"/>
            <c:bubble3D val="0"/>
            <c:spPr>
              <a:solidFill>
                <a:srgbClr val="AEABAB"/>
              </a:solidFill>
            </c:spPr>
            <c:extLst>
              <c:ext xmlns:c16="http://schemas.microsoft.com/office/drawing/2014/chart" uri="{C3380CC4-5D6E-409C-BE32-E72D297353CC}">
                <c16:uniqueId val="{0000009F-2993-41DE-A2CB-63102DE87051}"/>
              </c:ext>
            </c:extLst>
          </c:dPt>
          <c:dPt>
            <c:idx val="52"/>
            <c:invertIfNegative val="1"/>
            <c:bubble3D val="0"/>
            <c:spPr>
              <a:solidFill>
                <a:srgbClr val="AEABAB"/>
              </a:solidFill>
            </c:spPr>
            <c:extLst>
              <c:ext xmlns:c16="http://schemas.microsoft.com/office/drawing/2014/chart" uri="{C3380CC4-5D6E-409C-BE32-E72D297353CC}">
                <c16:uniqueId val="{000000A1-2993-41DE-A2CB-63102DE87051}"/>
              </c:ext>
            </c:extLst>
          </c:dPt>
          <c:dPt>
            <c:idx val="53"/>
            <c:invertIfNegative val="1"/>
            <c:bubble3D val="0"/>
            <c:spPr>
              <a:solidFill>
                <a:srgbClr val="AEABAB"/>
              </a:solidFill>
            </c:spPr>
            <c:extLst>
              <c:ext xmlns:c16="http://schemas.microsoft.com/office/drawing/2014/chart" uri="{C3380CC4-5D6E-409C-BE32-E72D297353CC}">
                <c16:uniqueId val="{000000A3-2993-41DE-A2CB-63102DE87051}"/>
              </c:ext>
            </c:extLst>
          </c:dPt>
          <c:dPt>
            <c:idx val="54"/>
            <c:invertIfNegative val="0"/>
            <c:bubble3D val="0"/>
            <c:spPr>
              <a:solidFill>
                <a:srgbClr val="AEABAB"/>
              </a:solidFill>
            </c:spPr>
            <c:extLst>
              <c:ext xmlns:c16="http://schemas.microsoft.com/office/drawing/2014/chart" uri="{C3380CC4-5D6E-409C-BE32-E72D297353CC}">
                <c16:uniqueId val="{00000072-C76F-4230-900D-40618C09729F}"/>
              </c:ext>
            </c:extLst>
          </c:dPt>
          <c:dPt>
            <c:idx val="55"/>
            <c:invertIfNegative val="0"/>
            <c:bubble3D val="0"/>
            <c:spPr>
              <a:solidFill>
                <a:srgbClr val="AEABAB"/>
              </a:solidFill>
            </c:spPr>
            <c:extLst>
              <c:ext xmlns:c16="http://schemas.microsoft.com/office/drawing/2014/chart" uri="{C3380CC4-5D6E-409C-BE32-E72D297353CC}">
                <c16:uniqueId val="{00000074-C76F-4230-900D-40618C09729F}"/>
              </c:ext>
            </c:extLst>
          </c:dPt>
          <c:dPt>
            <c:idx val="56"/>
            <c:invertIfNegative val="0"/>
            <c:bubble3D val="0"/>
            <c:spPr>
              <a:solidFill>
                <a:srgbClr val="AEABAB"/>
              </a:solidFill>
            </c:spPr>
            <c:extLst>
              <c:ext xmlns:c16="http://schemas.microsoft.com/office/drawing/2014/chart" uri="{C3380CC4-5D6E-409C-BE32-E72D297353CC}">
                <c16:uniqueId val="{00000076-C76F-4230-900D-40618C09729F}"/>
              </c:ext>
            </c:extLst>
          </c:dPt>
          <c:dPt>
            <c:idx val="57"/>
            <c:invertIfNegative val="0"/>
            <c:bubble3D val="0"/>
            <c:spPr>
              <a:solidFill>
                <a:srgbClr val="AEABAB"/>
              </a:solidFill>
            </c:spPr>
            <c:extLst>
              <c:ext xmlns:c16="http://schemas.microsoft.com/office/drawing/2014/chart" uri="{C3380CC4-5D6E-409C-BE32-E72D297353CC}">
                <c16:uniqueId val="{00000078-C76F-4230-900D-40618C09729F}"/>
              </c:ext>
            </c:extLst>
          </c:dPt>
          <c:dPt>
            <c:idx val="58"/>
            <c:invertIfNegative val="0"/>
            <c:bubble3D val="0"/>
            <c:spPr>
              <a:solidFill>
                <a:srgbClr val="AEABAB"/>
              </a:solidFill>
            </c:spPr>
            <c:extLst>
              <c:ext xmlns:c16="http://schemas.microsoft.com/office/drawing/2014/chart" uri="{C3380CC4-5D6E-409C-BE32-E72D297353CC}">
                <c16:uniqueId val="{0000007A-C76F-4230-900D-40618C09729F}"/>
              </c:ext>
            </c:extLst>
          </c:dPt>
          <c:dPt>
            <c:idx val="59"/>
            <c:invertIfNegative val="0"/>
            <c:bubble3D val="0"/>
            <c:spPr>
              <a:solidFill>
                <a:srgbClr val="AEABAB"/>
              </a:solidFill>
            </c:spPr>
            <c:extLst>
              <c:ext xmlns:c16="http://schemas.microsoft.com/office/drawing/2014/chart" uri="{C3380CC4-5D6E-409C-BE32-E72D297353CC}">
                <c16:uniqueId val="{0000007C-C76F-4230-900D-40618C09729F}"/>
              </c:ext>
            </c:extLst>
          </c:dPt>
          <c:dPt>
            <c:idx val="60"/>
            <c:invertIfNegative val="0"/>
            <c:bubble3D val="0"/>
            <c:spPr>
              <a:solidFill>
                <a:srgbClr val="AEABAB"/>
              </a:solidFill>
            </c:spPr>
            <c:extLst>
              <c:ext xmlns:c16="http://schemas.microsoft.com/office/drawing/2014/chart" uri="{C3380CC4-5D6E-409C-BE32-E72D297353CC}">
                <c16:uniqueId val="{0000007E-C76F-4230-900D-40618C09729F}"/>
              </c:ext>
            </c:extLst>
          </c:dPt>
          <c:dPt>
            <c:idx val="61"/>
            <c:invertIfNegative val="0"/>
            <c:bubble3D val="0"/>
            <c:spPr>
              <a:solidFill>
                <a:srgbClr val="AEABAB"/>
              </a:solidFill>
            </c:spPr>
            <c:extLst>
              <c:ext xmlns:c16="http://schemas.microsoft.com/office/drawing/2014/chart" uri="{C3380CC4-5D6E-409C-BE32-E72D297353CC}">
                <c16:uniqueId val="{00000080-C76F-4230-900D-40618C09729F}"/>
              </c:ext>
            </c:extLst>
          </c:dPt>
          <c:dPt>
            <c:idx val="62"/>
            <c:invertIfNegative val="0"/>
            <c:bubble3D val="0"/>
            <c:spPr>
              <a:solidFill>
                <a:srgbClr val="AEABAB"/>
              </a:solidFill>
            </c:spPr>
            <c:extLst>
              <c:ext xmlns:c16="http://schemas.microsoft.com/office/drawing/2014/chart" uri="{C3380CC4-5D6E-409C-BE32-E72D297353CC}">
                <c16:uniqueId val="{00000082-C76F-4230-900D-40618C09729F}"/>
              </c:ext>
            </c:extLst>
          </c:dPt>
          <c:dPt>
            <c:idx val="63"/>
            <c:invertIfNegative val="0"/>
            <c:bubble3D val="0"/>
            <c:spPr>
              <a:solidFill>
                <a:srgbClr val="AEABAB"/>
              </a:solidFill>
            </c:spPr>
            <c:extLst>
              <c:ext xmlns:c16="http://schemas.microsoft.com/office/drawing/2014/chart" uri="{C3380CC4-5D6E-409C-BE32-E72D297353CC}">
                <c16:uniqueId val="{00000084-C76F-4230-900D-40618C09729F}"/>
              </c:ext>
            </c:extLst>
          </c:dPt>
          <c:dPt>
            <c:idx val="64"/>
            <c:invertIfNegative val="0"/>
            <c:bubble3D val="0"/>
            <c:spPr>
              <a:solidFill>
                <a:srgbClr val="AEABAB"/>
              </a:solidFill>
            </c:spPr>
            <c:extLst>
              <c:ext xmlns:c16="http://schemas.microsoft.com/office/drawing/2014/chart" uri="{C3380CC4-5D6E-409C-BE32-E72D297353CC}">
                <c16:uniqueId val="{00000086-C76F-4230-900D-40618C09729F}"/>
              </c:ext>
            </c:extLst>
          </c:dPt>
          <c:dPt>
            <c:idx val="65"/>
            <c:invertIfNegative val="0"/>
            <c:bubble3D val="0"/>
            <c:spPr>
              <a:solidFill>
                <a:srgbClr val="AEABAB"/>
              </a:solidFill>
            </c:spPr>
            <c:extLst>
              <c:ext xmlns:c16="http://schemas.microsoft.com/office/drawing/2014/chart" uri="{C3380CC4-5D6E-409C-BE32-E72D297353CC}">
                <c16:uniqueId val="{00000088-C76F-4230-900D-40618C09729F}"/>
              </c:ext>
            </c:extLst>
          </c:dPt>
          <c:dPt>
            <c:idx val="66"/>
            <c:invertIfNegative val="0"/>
            <c:bubble3D val="0"/>
            <c:spPr>
              <a:solidFill>
                <a:srgbClr val="AEABAB"/>
              </a:solidFill>
            </c:spPr>
            <c:extLst>
              <c:ext xmlns:c16="http://schemas.microsoft.com/office/drawing/2014/chart" uri="{C3380CC4-5D6E-409C-BE32-E72D297353CC}">
                <c16:uniqueId val="{0000008A-C76F-4230-900D-40618C09729F}"/>
              </c:ext>
            </c:extLst>
          </c:dPt>
          <c:dPt>
            <c:idx val="67"/>
            <c:invertIfNegative val="0"/>
            <c:bubble3D val="0"/>
            <c:spPr>
              <a:solidFill>
                <a:srgbClr val="AEABAB"/>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69</c:f>
              <c:strCache>
                <c:ptCount val="68"/>
                <c:pt idx="0">
                  <c:v>Apericube</c:v>
                </c:pt>
                <c:pt idx="1">
                  <c:v>Apericube</c:v>
                </c:pt>
                <c:pt idx="2">
                  <c:v>Apericube</c:v>
                </c:pt>
                <c:pt idx="3">
                  <c:v>Boursin</c:v>
                </c:pt>
                <c:pt idx="4">
                  <c:v>Apericube</c:v>
                </c:pt>
                <c:pt idx="5">
                  <c:v>Apericube</c:v>
                </c:pt>
                <c:pt idx="6">
                  <c:v>Apericube</c:v>
                </c:pt>
                <c:pt idx="7">
                  <c:v>Aperivrais</c:v>
                </c:pt>
                <c:pt idx="8">
                  <c:v>Aperivrais</c:v>
                </c:pt>
                <c:pt idx="9">
                  <c:v>Boursin</c:v>
                </c:pt>
                <c:pt idx="10">
                  <c:v>Apericube</c:v>
                </c:pt>
                <c:pt idx="11">
                  <c:v>Apericube</c:v>
                </c:pt>
                <c:pt idx="12">
                  <c:v>Aperivrais</c:v>
                </c:pt>
                <c:pt idx="13">
                  <c:v>Private Lab</c:v>
                </c:pt>
                <c:pt idx="14">
                  <c:v>Apericube</c:v>
                </c:pt>
                <c:pt idx="15">
                  <c:v>St Moret</c:v>
                </c:pt>
                <c:pt idx="16">
                  <c:v>Aperivrais</c:v>
                </c:pt>
                <c:pt idx="17">
                  <c:v>Apericube</c:v>
                </c:pt>
                <c:pt idx="18">
                  <c:v>St Moret</c:v>
                </c:pt>
                <c:pt idx="19">
                  <c:v>All Others</c:v>
                </c:pt>
                <c:pt idx="20">
                  <c:v>Leerdammer</c:v>
                </c:pt>
                <c:pt idx="21">
                  <c:v>Apericube</c:v>
                </c:pt>
                <c:pt idx="22">
                  <c:v>Apericube</c:v>
                </c:pt>
                <c:pt idx="23">
                  <c:v>Apericube</c:v>
                </c:pt>
                <c:pt idx="24">
                  <c:v>Entremont</c:v>
                </c:pt>
                <c:pt idx="25">
                  <c:v>Apericube</c:v>
                </c:pt>
                <c:pt idx="26">
                  <c:v>Apericube</c:v>
                </c:pt>
                <c:pt idx="27">
                  <c:v>Richesmonts</c:v>
                </c:pt>
                <c:pt idx="28">
                  <c:v>Apericube</c:v>
                </c:pt>
                <c:pt idx="29">
                  <c:v>Apericube</c:v>
                </c:pt>
                <c:pt idx="30">
                  <c:v>Entremont</c:v>
                </c:pt>
                <c:pt idx="31">
                  <c:v>O'Tapas Ape</c:v>
                </c:pt>
                <c:pt idx="32">
                  <c:v>All Others</c:v>
                </c:pt>
                <c:pt idx="33">
                  <c:v>Aperivrais</c:v>
                </c:pt>
                <c:pt idx="34">
                  <c:v>Aperivrais</c:v>
                </c:pt>
                <c:pt idx="35">
                  <c:v>Apericube</c:v>
                </c:pt>
                <c:pt idx="36">
                  <c:v>O'Tapas Ape</c:v>
                </c:pt>
                <c:pt idx="37">
                  <c:v>All Others</c:v>
                </c:pt>
                <c:pt idx="38">
                  <c:v>All Others</c:v>
                </c:pt>
                <c:pt idx="39">
                  <c:v>O'Tapas Ape</c:v>
                </c:pt>
                <c:pt idx="40">
                  <c:v>Boursin</c:v>
                </c:pt>
                <c:pt idx="41">
                  <c:v>O'Tapas Ape</c:v>
                </c:pt>
                <c:pt idx="42">
                  <c:v>Aperivrais</c:v>
                </c:pt>
                <c:pt idx="43">
                  <c:v>Boursin</c:v>
                </c:pt>
                <c:pt idx="44">
                  <c:v>Aperivrais</c:v>
                </c:pt>
                <c:pt idx="45">
                  <c:v>St Moret</c:v>
                </c:pt>
                <c:pt idx="46">
                  <c:v>Private Lab</c:v>
                </c:pt>
                <c:pt idx="47">
                  <c:v>O'Tapas Ape</c:v>
                </c:pt>
                <c:pt idx="48">
                  <c:v>All Others</c:v>
                </c:pt>
                <c:pt idx="49">
                  <c:v>All Others</c:v>
                </c:pt>
                <c:pt idx="50">
                  <c:v>Apericube</c:v>
                </c:pt>
                <c:pt idx="51">
                  <c:v>Apericube</c:v>
                </c:pt>
                <c:pt idx="52">
                  <c:v>All Others</c:v>
                </c:pt>
                <c:pt idx="53">
                  <c:v>Apericube</c:v>
                </c:pt>
                <c:pt idx="54">
                  <c:v>All Others</c:v>
                </c:pt>
                <c:pt idx="55">
                  <c:v>All Others</c:v>
                </c:pt>
                <c:pt idx="56">
                  <c:v>All Others</c:v>
                </c:pt>
                <c:pt idx="57">
                  <c:v>Apericube</c:v>
                </c:pt>
                <c:pt idx="58">
                  <c:v>Leerdammer</c:v>
                </c:pt>
                <c:pt idx="59">
                  <c:v>All Others</c:v>
                </c:pt>
                <c:pt idx="60">
                  <c:v>All Others</c:v>
                </c:pt>
                <c:pt idx="61">
                  <c:v>All Others</c:v>
                </c:pt>
                <c:pt idx="62">
                  <c:v>All Others</c:v>
                </c:pt>
                <c:pt idx="63">
                  <c:v>All Others</c:v>
                </c:pt>
                <c:pt idx="64">
                  <c:v>Apericube</c:v>
                </c:pt>
                <c:pt idx="65">
                  <c:v>All Others</c:v>
                </c:pt>
                <c:pt idx="66">
                  <c:v>All Others</c:v>
                </c:pt>
                <c:pt idx="67">
                  <c:v>Apericube</c:v>
                </c:pt>
              </c:strCache>
            </c:strRef>
          </c:cat>
          <c:val>
            <c:numRef>
              <c:f>Sheet1!$C$2:$C$69</c:f>
              <c:numCache>
                <c:formatCode>General</c:formatCode>
                <c:ptCount val="68"/>
                <c:pt idx="0">
                  <c:v>0.12296904356529756</c:v>
                </c:pt>
                <c:pt idx="1">
                  <c:v>0.233606309052579</c:v>
                </c:pt>
                <c:pt idx="2">
                  <c:v>0.3368802724611654</c:v>
                </c:pt>
                <c:pt idx="3">
                  <c:v>0.39321961448038034</c:v>
                </c:pt>
                <c:pt idx="4">
                  <c:v>0.4473401889436722</c:v>
                </c:pt>
                <c:pt idx="5">
                  <c:v>0.5009634364853974</c:v>
                </c:pt>
                <c:pt idx="6">
                  <c:v>0.5523258836509413</c:v>
                </c:pt>
                <c:pt idx="7">
                  <c:v>0.6008506238371073</c:v>
                </c:pt>
                <c:pt idx="8">
                  <c:v>0.6448596626141047</c:v>
                </c:pt>
                <c:pt idx="9">
                  <c:v>0.6783901159454453</c:v>
                </c:pt>
                <c:pt idx="10">
                  <c:v>0.7375435061197696</c:v>
                </c:pt>
                <c:pt idx="11">
                  <c:v>0.7639981889016393</c:v>
                </c:pt>
                <c:pt idx="12">
                  <c:v>0.7887300176648456</c:v>
                </c:pt>
                <c:pt idx="13">
                  <c:v>0.8104083832616459</c:v>
                </c:pt>
                <c:pt idx="14">
                  <c:v>0.8268566124078671</c:v>
                </c:pt>
                <c:pt idx="15">
                  <c:v>0.840670723366401</c:v>
                </c:pt>
                <c:pt idx="16">
                  <c:v>0.8544643709782301</c:v>
                </c:pt>
                <c:pt idx="17">
                  <c:v>0.868251504731949</c:v>
                </c:pt>
                <c:pt idx="18">
                  <c:v>0.8818093015189946</c:v>
                </c:pt>
                <c:pt idx="19">
                  <c:v>0.8920438016399926</c:v>
                </c:pt>
                <c:pt idx="20">
                  <c:v>0.9005829165590752</c:v>
                </c:pt>
                <c:pt idx="21">
                  <c:v>0.9079044316234782</c:v>
                </c:pt>
                <c:pt idx="22">
                  <c:v>0.9145427904556983</c:v>
                </c:pt>
                <c:pt idx="23">
                  <c:v>0.9210378444094934</c:v>
                </c:pt>
                <c:pt idx="24">
                  <c:v>0.9267026887116927</c:v>
                </c:pt>
                <c:pt idx="25">
                  <c:v>0.932110542875996</c:v>
                </c:pt>
                <c:pt idx="26">
                  <c:v>0.9375018665890574</c:v>
                </c:pt>
                <c:pt idx="27">
                  <c:v>0.9426941489208073</c:v>
                </c:pt>
                <c:pt idx="28">
                  <c:v>0.9476842558451737</c:v>
                </c:pt>
                <c:pt idx="29">
                  <c:v>0.9524944942536095</c:v>
                </c:pt>
                <c:pt idx="30">
                  <c:v>0.9571721203431599</c:v>
                </c:pt>
                <c:pt idx="31">
                  <c:v>0.9615726002055676</c:v>
                </c:pt>
                <c:pt idx="32">
                  <c:v>0.9654932053700247</c:v>
                </c:pt>
                <c:pt idx="33">
                  <c:v>0.9691228377217278</c:v>
                </c:pt>
                <c:pt idx="34">
                  <c:v>0.972531183252158</c:v>
                </c:pt>
                <c:pt idx="35">
                  <c:v>0.9750415995872427</c:v>
                </c:pt>
                <c:pt idx="36">
                  <c:v>0.9773838846412936</c:v>
                </c:pt>
                <c:pt idx="37">
                  <c:v>0.9794431855764992</c:v>
                </c:pt>
                <c:pt idx="38">
                  <c:v>0.9811866872963422</c:v>
                </c:pt>
                <c:pt idx="39">
                  <c:v>0.9827729961006572</c:v>
                </c:pt>
                <c:pt idx="40">
                  <c:v>0.9843218809465841</c:v>
                </c:pt>
                <c:pt idx="41">
                  <c:v>0.9856751656947295</c:v>
                </c:pt>
                <c:pt idx="42">
                  <c:v>0.98701984723405</c:v>
                </c:pt>
                <c:pt idx="43">
                  <c:v>0.9883161049979851</c:v>
                </c:pt>
                <c:pt idx="44">
                  <c:v>0.9893773108065276</c:v>
                </c:pt>
                <c:pt idx="45">
                  <c:v>0.9904382708091036</c:v>
                </c:pt>
                <c:pt idx="46">
                  <c:v>0.9914619297562749</c:v>
                </c:pt>
                <c:pt idx="47">
                  <c:v>0.9924186065775957</c:v>
                </c:pt>
                <c:pt idx="48">
                  <c:v>0.9932652237774504</c:v>
                </c:pt>
                <c:pt idx="49">
                  <c:v>0.9940322612956753</c:v>
                </c:pt>
                <c:pt idx="50">
                  <c:v>0.9947384003857188</c:v>
                </c:pt>
                <c:pt idx="51">
                  <c:v>0.9952849499520617</c:v>
                </c:pt>
                <c:pt idx="52">
                  <c:v>0.995767528515643</c:v>
                </c:pt>
                <c:pt idx="53">
                  <c:v>0.9962262024489895</c:v>
                </c:pt>
                <c:pt idx="54">
                  <c:v>0.9969743743592915</c:v>
                </c:pt>
                <c:pt idx="55">
                  <c:v>0.9984443554899963</c:v>
                </c:pt>
                <c:pt idx="56">
                  <c:v>0.9986007495361333</c:v>
                </c:pt>
                <c:pt idx="57">
                  <c:v>0.9987544397166397</c:v>
                </c:pt>
                <c:pt idx="58">
                  <c:v>0.9990194185484443</c:v>
                </c:pt>
                <c:pt idx="59">
                  <c:v>0.999144533785354</c:v>
                </c:pt>
                <c:pt idx="60">
                  <c:v>0.9993293798721045</c:v>
                </c:pt>
                <c:pt idx="61">
                  <c:v>0.9995407115517372</c:v>
                </c:pt>
                <c:pt idx="62">
                  <c:v>0.9996049283604653</c:v>
                </c:pt>
                <c:pt idx="63">
                  <c:v>0.9996570392253471</c:v>
                </c:pt>
                <c:pt idx="64">
                  <c:v>0.999768082070679</c:v>
                </c:pt>
                <c:pt idx="65">
                  <c:v>0.9998322988794072</c:v>
                </c:pt>
                <c:pt idx="66">
                  <c:v>0.9998890800576511</c:v>
                </c:pt>
                <c:pt idx="67">
                  <c:v>0.9999382412509358</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4</c:f>
              <c:strCache>
                <c:ptCount val="23"/>
                <c:pt idx="0">
                  <c:v>Boursin</c:v>
                </c:pt>
                <c:pt idx="1">
                  <c:v>Aperivrais</c:v>
                </c:pt>
                <c:pt idx="2">
                  <c:v>Apericube</c:v>
                </c:pt>
                <c:pt idx="3">
                  <c:v>Aperivrais</c:v>
                </c:pt>
                <c:pt idx="4">
                  <c:v>Apericube</c:v>
                </c:pt>
                <c:pt idx="5">
                  <c:v>Apericube</c:v>
                </c:pt>
                <c:pt idx="6">
                  <c:v>Apericube</c:v>
                </c:pt>
                <c:pt idx="7">
                  <c:v>Private Lab</c:v>
                </c:pt>
                <c:pt idx="8">
                  <c:v>St Moret</c:v>
                </c:pt>
                <c:pt idx="9">
                  <c:v>Apericube</c:v>
                </c:pt>
                <c:pt idx="10">
                  <c:v>Apericube</c:v>
                </c:pt>
                <c:pt idx="11">
                  <c:v>Boursin</c:v>
                </c:pt>
                <c:pt idx="12">
                  <c:v>Apericube</c:v>
                </c:pt>
                <c:pt idx="13">
                  <c:v>O'Tapas Ape</c:v>
                </c:pt>
                <c:pt idx="14">
                  <c:v>All Others</c:v>
                </c:pt>
                <c:pt idx="15">
                  <c:v>Apericube</c:v>
                </c:pt>
                <c:pt idx="16">
                  <c:v>Leerdammer</c:v>
                </c:pt>
                <c:pt idx="17">
                  <c:v>All Others</c:v>
                </c:pt>
                <c:pt idx="18">
                  <c:v>Apericube</c:v>
                </c:pt>
                <c:pt idx="19">
                  <c:v>O'Tapas Ape</c:v>
                </c:pt>
                <c:pt idx="20">
                  <c:v>O'Tapas Ape</c:v>
                </c:pt>
                <c:pt idx="21">
                  <c:v>All Others</c:v>
                </c:pt>
                <c:pt idx="22">
                  <c:v>Aperivrais</c:v>
                </c:pt>
              </c:strCache>
            </c:strRef>
          </c:cat>
          <c:val>
            <c:numRef>
              <c:f>Sheet1!$B$2:$B$24</c:f>
              <c:numCache>
                <c:formatCode>General</c:formatCode>
                <c:ptCount val="23"/>
                <c:pt idx="0">
                  <c:v>0.56</c:v>
                </c:pt>
                <c:pt idx="1">
                  <c:v>0.8</c:v>
                </c:pt>
                <c:pt idx="2">
                  <c:v>0.53</c:v>
                </c:pt>
                <c:pt idx="3">
                  <c:v>0.65</c:v>
                </c:pt>
                <c:pt idx="4">
                  <c:v>0.62</c:v>
                </c:pt>
                <c:pt idx="5">
                  <c:v>0.35</c:v>
                </c:pt>
                <c:pt idx="6">
                  <c:v>0.36</c:v>
                </c:pt>
                <c:pt idx="7">
                  <c:v>0.37</c:v>
                </c:pt>
                <c:pt idx="8">
                  <c:v>0.24</c:v>
                </c:pt>
                <c:pt idx="9">
                  <c:v>0.22</c:v>
                </c:pt>
                <c:pt idx="10">
                  <c:v>0.24</c:v>
                </c:pt>
                <c:pt idx="11">
                  <c:v>0.17</c:v>
                </c:pt>
                <c:pt idx="12">
                  <c:v>0.25</c:v>
                </c:pt>
                <c:pt idx="13">
                  <c:v>0.09</c:v>
                </c:pt>
                <c:pt idx="14">
                  <c:v>0.06</c:v>
                </c:pt>
                <c:pt idx="15">
                  <c:v>0.18</c:v>
                </c:pt>
                <c:pt idx="16">
                  <c:v>0.06</c:v>
                </c:pt>
                <c:pt idx="17">
                  <c:v>0.01</c:v>
                </c:pt>
                <c:pt idx="18">
                  <c:v>0.01</c:v>
                </c:pt>
                <c:pt idx="19">
                  <c:v>0.02</c:v>
                </c:pt>
                <c:pt idx="20">
                  <c:v>0.03</c:v>
                </c:pt>
                <c:pt idx="21">
                  <c:v>0.01</c:v>
                </c:pt>
                <c:pt idx="22">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Item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7ECAC4"/>
              </a:solidFill>
            </c:spPr>
            <c:extLst>
              <c:ext xmlns:c16="http://schemas.microsoft.com/office/drawing/2014/chart" uri="{C3380CC4-5D6E-409C-BE32-E72D297353CC}">
                <c16:uniqueId val="{00000047-2993-41DE-A2CB-63102DE87051}"/>
              </c:ext>
            </c:extLst>
          </c:dPt>
          <c:dPt>
            <c:idx val="8"/>
            <c:invertIfNegative val="1"/>
            <c:bubble3D val="0"/>
            <c:spPr>
              <a:solidFill>
                <a:srgbClr val="7ECAC4"/>
              </a:solidFill>
            </c:spPr>
            <c:extLst>
              <c:ext xmlns:c16="http://schemas.microsoft.com/office/drawing/2014/chart" uri="{C3380CC4-5D6E-409C-BE32-E72D297353CC}">
                <c16:uniqueId val="{00000049-2993-41DE-A2CB-63102DE87051}"/>
              </c:ext>
            </c:extLst>
          </c:dPt>
          <c:dPt>
            <c:idx val="9"/>
            <c:invertIfNegative val="1"/>
            <c:bubble3D val="0"/>
            <c:spPr>
              <a:solidFill>
                <a:srgbClr val="7ECAC4"/>
              </a:solidFill>
            </c:spPr>
            <c:extLst>
              <c:ext xmlns:c16="http://schemas.microsoft.com/office/drawing/2014/chart" uri="{C3380CC4-5D6E-409C-BE32-E72D297353CC}">
                <c16:uniqueId val="{0000004B-2993-41DE-A2CB-63102DE87051}"/>
              </c:ext>
            </c:extLst>
          </c:dPt>
          <c:dPt>
            <c:idx val="10"/>
            <c:invertIfNegative val="1"/>
            <c:bubble3D val="0"/>
            <c:spPr>
              <a:solidFill>
                <a:srgbClr val="7ECAC4"/>
              </a:solidFill>
            </c:spPr>
            <c:extLst>
              <c:ext xmlns:c16="http://schemas.microsoft.com/office/drawing/2014/chart" uri="{C3380CC4-5D6E-409C-BE32-E72D297353CC}">
                <c16:uniqueId val="{0000004D-2993-41DE-A2CB-63102DE87051}"/>
              </c:ext>
            </c:extLst>
          </c:dPt>
          <c:dPt>
            <c:idx val="11"/>
            <c:invertIfNegative val="1"/>
            <c:bubble3D val="0"/>
            <c:spPr>
              <a:solidFill>
                <a:srgbClr val="AEABAB"/>
              </a:solidFill>
            </c:spPr>
            <c:extLst>
              <c:ext xmlns:c16="http://schemas.microsoft.com/office/drawing/2014/chart" uri="{C3380CC4-5D6E-409C-BE32-E72D297353CC}">
                <c16:uniqueId val="{0000004F-2993-41DE-A2CB-63102DE87051}"/>
              </c:ext>
            </c:extLst>
          </c:dPt>
          <c:dPt>
            <c:idx val="12"/>
            <c:invertIfNegative val="1"/>
            <c:bubble3D val="0"/>
            <c:spPr>
              <a:solidFill>
                <a:srgbClr val="AEABAB"/>
              </a:solidFill>
            </c:spPr>
            <c:extLst>
              <c:ext xmlns:c16="http://schemas.microsoft.com/office/drawing/2014/chart" uri="{C3380CC4-5D6E-409C-BE32-E72D297353CC}">
                <c16:uniqueId val="{00000051-2993-41DE-A2CB-63102DE87051}"/>
              </c:ext>
            </c:extLst>
          </c:dPt>
          <c:dPt>
            <c:idx val="13"/>
            <c:invertIfNegative val="1"/>
            <c:bubble3D val="0"/>
            <c:spPr>
              <a:solidFill>
                <a:srgbClr val="AEABAB"/>
              </a:solidFill>
            </c:spPr>
            <c:extLst>
              <c:ext xmlns:c16="http://schemas.microsoft.com/office/drawing/2014/chart" uri="{C3380CC4-5D6E-409C-BE32-E72D297353CC}">
                <c16:uniqueId val="{00000053-2993-41DE-A2CB-63102DE87051}"/>
              </c:ext>
            </c:extLst>
          </c:dPt>
          <c:dPt>
            <c:idx val="14"/>
            <c:invertIfNegative val="1"/>
            <c:bubble3D val="0"/>
            <c:spPr>
              <a:solidFill>
                <a:srgbClr val="AEABAB"/>
              </a:solidFill>
            </c:spPr>
            <c:extLst>
              <c:ext xmlns:c16="http://schemas.microsoft.com/office/drawing/2014/chart" uri="{C3380CC4-5D6E-409C-BE32-E72D297353CC}">
                <c16:uniqueId val="{00000055-2993-41DE-A2CB-63102DE87051}"/>
              </c:ext>
            </c:extLst>
          </c:dPt>
          <c:dPt>
            <c:idx val="15"/>
            <c:invertIfNegative val="1"/>
            <c:bubble3D val="0"/>
            <c:spPr>
              <a:solidFill>
                <a:srgbClr val="AEABAB"/>
              </a:solidFill>
            </c:spPr>
            <c:extLst>
              <c:ext xmlns:c16="http://schemas.microsoft.com/office/drawing/2014/chart" uri="{C3380CC4-5D6E-409C-BE32-E72D297353CC}">
                <c16:uniqueId val="{00000057-2993-41DE-A2CB-63102DE87051}"/>
              </c:ext>
            </c:extLst>
          </c:dPt>
          <c:dPt>
            <c:idx val="16"/>
            <c:invertIfNegative val="1"/>
            <c:bubble3D val="0"/>
            <c:spPr>
              <a:solidFill>
                <a:srgbClr val="AEABAB"/>
              </a:solidFill>
            </c:spPr>
            <c:extLst>
              <c:ext xmlns:c16="http://schemas.microsoft.com/office/drawing/2014/chart" uri="{C3380CC4-5D6E-409C-BE32-E72D297353CC}">
                <c16:uniqueId val="{00000059-2993-41DE-A2CB-63102DE87051}"/>
              </c:ext>
            </c:extLst>
          </c:dPt>
          <c:dPt>
            <c:idx val="17"/>
            <c:invertIfNegative val="1"/>
            <c:bubble3D val="0"/>
            <c:spPr>
              <a:solidFill>
                <a:srgbClr val="AEABAB"/>
              </a:solidFill>
            </c:spPr>
            <c:extLst>
              <c:ext xmlns:c16="http://schemas.microsoft.com/office/drawing/2014/chart" uri="{C3380CC4-5D6E-409C-BE32-E72D297353CC}">
                <c16:uniqueId val="{0000005B-2993-41DE-A2CB-63102DE87051}"/>
              </c:ext>
            </c:extLst>
          </c:dPt>
          <c:dPt>
            <c:idx val="18"/>
            <c:invertIfNegative val="1"/>
            <c:bubble3D val="0"/>
            <c:spPr>
              <a:solidFill>
                <a:srgbClr val="AEABAB"/>
              </a:solidFill>
            </c:spPr>
            <c:extLst>
              <c:ext xmlns:c16="http://schemas.microsoft.com/office/drawing/2014/chart" uri="{C3380CC4-5D6E-409C-BE32-E72D297353CC}">
                <c16:uniqueId val="{0000005D-2993-41DE-A2CB-63102DE87051}"/>
              </c:ext>
            </c:extLst>
          </c:dPt>
          <c:dPt>
            <c:idx val="19"/>
            <c:invertIfNegative val="1"/>
            <c:bubble3D val="0"/>
            <c:spPr>
              <a:solidFill>
                <a:srgbClr val="AEABAB"/>
              </a:solidFill>
            </c:spPr>
            <c:extLst>
              <c:ext xmlns:c16="http://schemas.microsoft.com/office/drawing/2014/chart" uri="{C3380CC4-5D6E-409C-BE32-E72D297353CC}">
                <c16:uniqueId val="{0000005F-2993-41DE-A2CB-63102DE87051}"/>
              </c:ext>
            </c:extLst>
          </c:dPt>
          <c:dPt>
            <c:idx val="20"/>
            <c:invertIfNegative val="1"/>
            <c:bubble3D val="0"/>
            <c:spPr>
              <a:solidFill>
                <a:srgbClr val="AEABAB"/>
              </a:solidFill>
            </c:spPr>
            <c:extLst>
              <c:ext xmlns:c16="http://schemas.microsoft.com/office/drawing/2014/chart" uri="{C3380CC4-5D6E-409C-BE32-E72D297353CC}">
                <c16:uniqueId val="{00000061-2993-41DE-A2CB-63102DE87051}"/>
              </c:ext>
            </c:extLst>
          </c:dPt>
          <c:dPt>
            <c:idx val="21"/>
            <c:invertIfNegative val="1"/>
            <c:bubble3D val="0"/>
            <c:spPr>
              <a:solidFill>
                <a:srgbClr val="AEABAB"/>
              </a:solidFill>
            </c:spPr>
            <c:extLst>
              <c:ext xmlns:c16="http://schemas.microsoft.com/office/drawing/2014/chart" uri="{C3380CC4-5D6E-409C-BE32-E72D297353CC}">
                <c16:uniqueId val="{00000063-2993-41DE-A2CB-63102DE87051}"/>
              </c:ext>
            </c:extLst>
          </c:dPt>
          <c:dPt>
            <c:idx val="22"/>
            <c:invertIfNegative val="1"/>
            <c:bubble3D val="0"/>
            <c:spPr>
              <a:solidFill>
                <a:srgbClr val="AEABAB"/>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4</c:f>
              <c:strCache>
                <c:ptCount val="23"/>
                <c:pt idx="0">
                  <c:v>Boursin</c:v>
                </c:pt>
                <c:pt idx="1">
                  <c:v>Aperivrais</c:v>
                </c:pt>
                <c:pt idx="2">
                  <c:v>Apericube</c:v>
                </c:pt>
                <c:pt idx="3">
                  <c:v>Aperivrais</c:v>
                </c:pt>
                <c:pt idx="4">
                  <c:v>Apericube</c:v>
                </c:pt>
                <c:pt idx="5">
                  <c:v>Apericube</c:v>
                </c:pt>
                <c:pt idx="6">
                  <c:v>Apericube</c:v>
                </c:pt>
                <c:pt idx="7">
                  <c:v>Private Lab</c:v>
                </c:pt>
                <c:pt idx="8">
                  <c:v>St Moret</c:v>
                </c:pt>
                <c:pt idx="9">
                  <c:v>Apericube</c:v>
                </c:pt>
                <c:pt idx="10">
                  <c:v>Apericube</c:v>
                </c:pt>
                <c:pt idx="11">
                  <c:v>Boursin</c:v>
                </c:pt>
                <c:pt idx="12">
                  <c:v>Apericube</c:v>
                </c:pt>
                <c:pt idx="13">
                  <c:v>O'Tapas Ape</c:v>
                </c:pt>
                <c:pt idx="14">
                  <c:v>All Others</c:v>
                </c:pt>
                <c:pt idx="15">
                  <c:v>Apericube</c:v>
                </c:pt>
                <c:pt idx="16">
                  <c:v>Leerdammer</c:v>
                </c:pt>
                <c:pt idx="17">
                  <c:v>All Others</c:v>
                </c:pt>
                <c:pt idx="18">
                  <c:v>Apericube</c:v>
                </c:pt>
                <c:pt idx="19">
                  <c:v>O'Tapas Ape</c:v>
                </c:pt>
                <c:pt idx="20">
                  <c:v>O'Tapas Ape</c:v>
                </c:pt>
                <c:pt idx="21">
                  <c:v>All Others</c:v>
                </c:pt>
                <c:pt idx="22">
                  <c:v>Aperivrais</c:v>
                </c:pt>
              </c:strCache>
            </c:strRef>
          </c:cat>
          <c:val>
            <c:numRef>
              <c:f>Sheet1!$C$2:$C$24</c:f>
              <c:numCache>
                <c:formatCode>General</c:formatCode>
                <c:ptCount val="23"/>
                <c:pt idx="0">
                  <c:v>0.16256145863826177</c:v>
                </c:pt>
                <c:pt idx="1">
                  <c:v>0.31992245607536934</c:v>
                </c:pt>
                <c:pt idx="2">
                  <c:v>0.4712458703976964</c:v>
                </c:pt>
                <c:pt idx="3">
                  <c:v>0.5795174339412984</c:v>
                </c:pt>
                <c:pt idx="4">
                  <c:v>0.676483744451547</c:v>
                </c:pt>
                <c:pt idx="5">
                  <c:v>0.7643001481578837</c:v>
                </c:pt>
                <c:pt idx="6">
                  <c:v>0.8552994447066413</c:v>
                </c:pt>
                <c:pt idx="7">
                  <c:v>0.8912103692596287</c:v>
                </c:pt>
                <c:pt idx="8">
                  <c:v>0.9126139187760246</c:v>
                </c:pt>
                <c:pt idx="9">
                  <c:v>0.9328583046078296</c:v>
                </c:pt>
                <c:pt idx="10">
                  <c:v>0.9479216450901791</c:v>
                </c:pt>
                <c:pt idx="11">
                  <c:v>0.9622845213843203</c:v>
                </c:pt>
                <c:pt idx="12">
                  <c:v>0.9706182156533583</c:v>
                </c:pt>
                <c:pt idx="13">
                  <c:v>0.9783612199726385</c:v>
                </c:pt>
                <c:pt idx="14">
                  <c:v>0.9859412431521783</c:v>
                </c:pt>
                <c:pt idx="15">
                  <c:v>0.9891609140982979</c:v>
                </c:pt>
                <c:pt idx="16">
                  <c:v>0.9913814154454593</c:v>
                </c:pt>
                <c:pt idx="17">
                  <c:v>0.992475797394094</c:v>
                </c:pt>
                <c:pt idx="18">
                  <c:v>0.9935425490922343</c:v>
                </c:pt>
                <c:pt idx="19">
                  <c:v>0.994540598545902</c:v>
                </c:pt>
                <c:pt idx="20">
                  <c:v>0.9962615150935844</c:v>
                </c:pt>
                <c:pt idx="21">
                  <c:v>0.996925947941621</c:v>
                </c:pt>
                <c:pt idx="22">
                  <c:v>0.9994767054585426</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47</c:f>
              <c:strCache>
                <c:ptCount val="46"/>
                <c:pt idx="0">
                  <c:v>Apericube</c:v>
                </c:pt>
                <c:pt idx="1">
                  <c:v>Apericube</c:v>
                </c:pt>
                <c:pt idx="2">
                  <c:v>Apericube</c:v>
                </c:pt>
                <c:pt idx="3">
                  <c:v>Apericube</c:v>
                </c:pt>
                <c:pt idx="4">
                  <c:v>Boursin</c:v>
                </c:pt>
                <c:pt idx="5">
                  <c:v>Apericube</c:v>
                </c:pt>
                <c:pt idx="6">
                  <c:v>Private Lab</c:v>
                </c:pt>
                <c:pt idx="7">
                  <c:v>Apericube</c:v>
                </c:pt>
                <c:pt idx="8">
                  <c:v>Apericube</c:v>
                </c:pt>
                <c:pt idx="9">
                  <c:v>Aperivrais</c:v>
                </c:pt>
                <c:pt idx="10">
                  <c:v>Apericube</c:v>
                </c:pt>
                <c:pt idx="11">
                  <c:v>Boursin</c:v>
                </c:pt>
                <c:pt idx="12">
                  <c:v>Apericube</c:v>
                </c:pt>
                <c:pt idx="13">
                  <c:v>St Moret</c:v>
                </c:pt>
                <c:pt idx="14">
                  <c:v>Apericube</c:v>
                </c:pt>
                <c:pt idx="15">
                  <c:v>Aperivrais</c:v>
                </c:pt>
                <c:pt idx="16">
                  <c:v>Aperivrais</c:v>
                </c:pt>
                <c:pt idx="17">
                  <c:v>Private Lab</c:v>
                </c:pt>
                <c:pt idx="18">
                  <c:v>Boursin</c:v>
                </c:pt>
                <c:pt idx="19">
                  <c:v>St Moret</c:v>
                </c:pt>
                <c:pt idx="20">
                  <c:v>St Moret</c:v>
                </c:pt>
                <c:pt idx="21">
                  <c:v>Aperivrais</c:v>
                </c:pt>
                <c:pt idx="22">
                  <c:v>Apericube</c:v>
                </c:pt>
                <c:pt idx="23">
                  <c:v>Aperivrais</c:v>
                </c:pt>
                <c:pt idx="24">
                  <c:v>St Moret</c:v>
                </c:pt>
                <c:pt idx="25">
                  <c:v>Apericube</c:v>
                </c:pt>
                <c:pt idx="26">
                  <c:v>Entremont</c:v>
                </c:pt>
                <c:pt idx="27">
                  <c:v>Entremont</c:v>
                </c:pt>
                <c:pt idx="28">
                  <c:v>Apericube</c:v>
                </c:pt>
                <c:pt idx="29">
                  <c:v>Apericube</c:v>
                </c:pt>
                <c:pt idx="30">
                  <c:v>Aperivrais</c:v>
                </c:pt>
                <c:pt idx="31">
                  <c:v>Entremont</c:v>
                </c:pt>
                <c:pt idx="32">
                  <c:v>Aperivrais</c:v>
                </c:pt>
                <c:pt idx="33">
                  <c:v>Apericube</c:v>
                </c:pt>
                <c:pt idx="34">
                  <c:v>Boursin</c:v>
                </c:pt>
                <c:pt idx="35">
                  <c:v>Apericube</c:v>
                </c:pt>
                <c:pt idx="36">
                  <c:v>Aperivrais</c:v>
                </c:pt>
                <c:pt idx="37">
                  <c:v>Boursin</c:v>
                </c:pt>
                <c:pt idx="38">
                  <c:v>All Others</c:v>
                </c:pt>
                <c:pt idx="39">
                  <c:v>All Others</c:v>
                </c:pt>
                <c:pt idx="40">
                  <c:v>All Others</c:v>
                </c:pt>
                <c:pt idx="41">
                  <c:v>Ambrosi</c:v>
                </c:pt>
                <c:pt idx="42">
                  <c:v>All Others</c:v>
                </c:pt>
                <c:pt idx="43">
                  <c:v>All Others</c:v>
                </c:pt>
                <c:pt idx="44">
                  <c:v>O'Tapas Ape</c:v>
                </c:pt>
                <c:pt idx="45">
                  <c:v>O'Tapas Ape</c:v>
                </c:pt>
              </c:strCache>
            </c:strRef>
          </c:cat>
          <c:val>
            <c:numRef>
              <c:f>Sheet1!$B$2:$B$47</c:f>
              <c:numCache>
                <c:formatCode>General</c:formatCode>
                <c:ptCount val="46"/>
                <c:pt idx="0">
                  <c:v>0.98</c:v>
                </c:pt>
                <c:pt idx="1">
                  <c:v>0.98</c:v>
                </c:pt>
                <c:pt idx="2">
                  <c:v>0.96</c:v>
                </c:pt>
                <c:pt idx="3">
                  <c:v>0.96</c:v>
                </c:pt>
                <c:pt idx="4">
                  <c:v>0.98</c:v>
                </c:pt>
                <c:pt idx="5">
                  <c:v>0.91</c:v>
                </c:pt>
                <c:pt idx="6">
                  <c:v>0.91</c:v>
                </c:pt>
                <c:pt idx="7">
                  <c:v>0.93</c:v>
                </c:pt>
                <c:pt idx="8">
                  <c:v>0.96</c:v>
                </c:pt>
                <c:pt idx="9">
                  <c:v>0.99</c:v>
                </c:pt>
                <c:pt idx="10">
                  <c:v>0.91</c:v>
                </c:pt>
                <c:pt idx="11">
                  <c:v>0.95</c:v>
                </c:pt>
                <c:pt idx="12">
                  <c:v>0.94</c:v>
                </c:pt>
                <c:pt idx="13">
                  <c:v>0.95</c:v>
                </c:pt>
                <c:pt idx="14">
                  <c:v>0.87</c:v>
                </c:pt>
                <c:pt idx="15">
                  <c:v>0.97</c:v>
                </c:pt>
                <c:pt idx="16">
                  <c:v>0.98</c:v>
                </c:pt>
                <c:pt idx="17">
                  <c:v>0.9</c:v>
                </c:pt>
                <c:pt idx="18">
                  <c:v>0.9</c:v>
                </c:pt>
                <c:pt idx="19">
                  <c:v>0.89</c:v>
                </c:pt>
                <c:pt idx="20">
                  <c:v>0.91</c:v>
                </c:pt>
                <c:pt idx="21">
                  <c:v>0.89</c:v>
                </c:pt>
                <c:pt idx="22">
                  <c:v>0.79</c:v>
                </c:pt>
                <c:pt idx="23">
                  <c:v>0.89</c:v>
                </c:pt>
                <c:pt idx="24">
                  <c:v>0.84</c:v>
                </c:pt>
                <c:pt idx="25">
                  <c:v>0.8</c:v>
                </c:pt>
                <c:pt idx="26">
                  <c:v>0.93</c:v>
                </c:pt>
                <c:pt idx="27">
                  <c:v>0.95</c:v>
                </c:pt>
                <c:pt idx="28">
                  <c:v>0.5</c:v>
                </c:pt>
                <c:pt idx="29">
                  <c:v>0.67</c:v>
                </c:pt>
                <c:pt idx="30">
                  <c:v>0.28</c:v>
                </c:pt>
                <c:pt idx="31">
                  <c:v>0.84</c:v>
                </c:pt>
                <c:pt idx="32">
                  <c:v>0.8</c:v>
                </c:pt>
                <c:pt idx="33">
                  <c:v>0.24</c:v>
                </c:pt>
                <c:pt idx="34">
                  <c:v>0.8</c:v>
                </c:pt>
                <c:pt idx="35">
                  <c:v>0.23</c:v>
                </c:pt>
                <c:pt idx="36">
                  <c:v>0.72</c:v>
                </c:pt>
                <c:pt idx="37">
                  <c:v>0.7</c:v>
                </c:pt>
                <c:pt idx="38">
                  <c:v>0.04</c:v>
                </c:pt>
                <c:pt idx="39">
                  <c:v>0.03</c:v>
                </c:pt>
                <c:pt idx="40">
                  <c:v>0.01</c:v>
                </c:pt>
                <c:pt idx="41">
                  <c:v>0.01</c:v>
                </c:pt>
                <c:pt idx="42">
                  <c:v>0.01</c:v>
                </c:pt>
                <c:pt idx="43">
                  <c:v>0.01</c:v>
                </c:pt>
                <c:pt idx="44">
                  <c:v>0.02</c:v>
                </c:pt>
                <c:pt idx="45">
                  <c:v>0.02</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Item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7ECAC4"/>
              </a:solidFill>
            </c:spPr>
            <c:extLst>
              <c:ext xmlns:c16="http://schemas.microsoft.com/office/drawing/2014/chart" uri="{C3380CC4-5D6E-409C-BE32-E72D297353CC}">
                <c16:uniqueId val="{00000059-2993-41DE-A2CB-63102DE87051}"/>
              </c:ext>
            </c:extLst>
          </c:dPt>
          <c:dPt>
            <c:idx val="17"/>
            <c:invertIfNegative val="1"/>
            <c:bubble3D val="0"/>
            <c:spPr>
              <a:solidFill>
                <a:srgbClr val="7ECAC4"/>
              </a:solidFill>
            </c:spPr>
            <c:extLst>
              <c:ext xmlns:c16="http://schemas.microsoft.com/office/drawing/2014/chart" uri="{C3380CC4-5D6E-409C-BE32-E72D297353CC}">
                <c16:uniqueId val="{0000005B-2993-41DE-A2CB-63102DE87051}"/>
              </c:ext>
            </c:extLst>
          </c:dPt>
          <c:dPt>
            <c:idx val="18"/>
            <c:invertIfNegative val="1"/>
            <c:bubble3D val="0"/>
            <c:spPr>
              <a:solidFill>
                <a:srgbClr val="7ECAC4"/>
              </a:solidFill>
            </c:spPr>
            <c:extLst>
              <c:ext xmlns:c16="http://schemas.microsoft.com/office/drawing/2014/chart" uri="{C3380CC4-5D6E-409C-BE32-E72D297353CC}">
                <c16:uniqueId val="{0000005D-2993-41DE-A2CB-63102DE87051}"/>
              </c:ext>
            </c:extLst>
          </c:dPt>
          <c:dPt>
            <c:idx val="19"/>
            <c:invertIfNegative val="1"/>
            <c:bubble3D val="0"/>
            <c:spPr>
              <a:solidFill>
                <a:srgbClr val="7ECAC4"/>
              </a:solidFill>
            </c:spPr>
            <c:extLst>
              <c:ext xmlns:c16="http://schemas.microsoft.com/office/drawing/2014/chart" uri="{C3380CC4-5D6E-409C-BE32-E72D297353CC}">
                <c16:uniqueId val="{0000005F-2993-41DE-A2CB-63102DE87051}"/>
              </c:ext>
            </c:extLst>
          </c:dPt>
          <c:dPt>
            <c:idx val="20"/>
            <c:invertIfNegative val="1"/>
            <c:bubble3D val="0"/>
            <c:spPr>
              <a:solidFill>
                <a:srgbClr val="7ECAC4"/>
              </a:solidFill>
            </c:spPr>
            <c:extLst>
              <c:ext xmlns:c16="http://schemas.microsoft.com/office/drawing/2014/chart" uri="{C3380CC4-5D6E-409C-BE32-E72D297353CC}">
                <c16:uniqueId val="{00000061-2993-41DE-A2CB-63102DE87051}"/>
              </c:ext>
            </c:extLst>
          </c:dPt>
          <c:dPt>
            <c:idx val="21"/>
            <c:invertIfNegative val="1"/>
            <c:bubble3D val="0"/>
            <c:spPr>
              <a:solidFill>
                <a:srgbClr val="7ECAC4"/>
              </a:solidFill>
            </c:spPr>
            <c:extLst>
              <c:ext xmlns:c16="http://schemas.microsoft.com/office/drawing/2014/chart" uri="{C3380CC4-5D6E-409C-BE32-E72D297353CC}">
                <c16:uniqueId val="{00000063-2993-41DE-A2CB-63102DE87051}"/>
              </c:ext>
            </c:extLst>
          </c:dPt>
          <c:dPt>
            <c:idx val="22"/>
            <c:invertIfNegative val="1"/>
            <c:bubble3D val="0"/>
            <c:spPr>
              <a:solidFill>
                <a:srgbClr val="7ECAC4"/>
              </a:solidFill>
            </c:spPr>
            <c:extLst>
              <c:ext xmlns:c16="http://schemas.microsoft.com/office/drawing/2014/chart" uri="{C3380CC4-5D6E-409C-BE32-E72D297353CC}">
                <c16:uniqueId val="{00000065-2993-41DE-A2CB-63102DE87051}"/>
              </c:ext>
            </c:extLst>
          </c:dPt>
          <c:dPt>
            <c:idx val="23"/>
            <c:invertIfNegative val="1"/>
            <c:bubble3D val="0"/>
            <c:spPr>
              <a:solidFill>
                <a:srgbClr val="7ECAC4"/>
              </a:solidFill>
            </c:spPr>
            <c:extLst>
              <c:ext xmlns:c16="http://schemas.microsoft.com/office/drawing/2014/chart" uri="{C3380CC4-5D6E-409C-BE32-E72D297353CC}">
                <c16:uniqueId val="{00000067-2993-41DE-A2CB-63102DE87051}"/>
              </c:ext>
            </c:extLst>
          </c:dPt>
          <c:dPt>
            <c:idx val="24"/>
            <c:invertIfNegative val="1"/>
            <c:bubble3D val="0"/>
            <c:spPr>
              <a:solidFill>
                <a:srgbClr val="AEABAB"/>
              </a:solidFill>
            </c:spPr>
            <c:extLst>
              <c:ext xmlns:c16="http://schemas.microsoft.com/office/drawing/2014/chart" uri="{C3380CC4-5D6E-409C-BE32-E72D297353CC}">
                <c16:uniqueId val="{00000069-2993-41DE-A2CB-63102DE87051}"/>
              </c:ext>
            </c:extLst>
          </c:dPt>
          <c:dPt>
            <c:idx val="25"/>
            <c:invertIfNegative val="1"/>
            <c:bubble3D val="0"/>
            <c:spPr>
              <a:solidFill>
                <a:srgbClr val="AEABAB"/>
              </a:solidFill>
            </c:spPr>
            <c:extLst>
              <c:ext xmlns:c16="http://schemas.microsoft.com/office/drawing/2014/chart" uri="{C3380CC4-5D6E-409C-BE32-E72D297353CC}">
                <c16:uniqueId val="{0000006B-2993-41DE-A2CB-63102DE87051}"/>
              </c:ext>
            </c:extLst>
          </c:dPt>
          <c:dPt>
            <c:idx val="26"/>
            <c:invertIfNegative val="1"/>
            <c:bubble3D val="0"/>
            <c:spPr>
              <a:solidFill>
                <a:srgbClr val="AEABAB"/>
              </a:solidFill>
            </c:spPr>
            <c:extLst>
              <c:ext xmlns:c16="http://schemas.microsoft.com/office/drawing/2014/chart" uri="{C3380CC4-5D6E-409C-BE32-E72D297353CC}">
                <c16:uniqueId val="{0000006D-2993-41DE-A2CB-63102DE87051}"/>
              </c:ext>
            </c:extLst>
          </c:dPt>
          <c:dPt>
            <c:idx val="27"/>
            <c:invertIfNegative val="1"/>
            <c:bubble3D val="0"/>
            <c:spPr>
              <a:solidFill>
                <a:srgbClr val="AEABAB"/>
              </a:solidFill>
            </c:spPr>
            <c:extLst>
              <c:ext xmlns:c16="http://schemas.microsoft.com/office/drawing/2014/chart" uri="{C3380CC4-5D6E-409C-BE32-E72D297353CC}">
                <c16:uniqueId val="{0000006F-2993-41DE-A2CB-63102DE87051}"/>
              </c:ext>
            </c:extLst>
          </c:dPt>
          <c:dPt>
            <c:idx val="28"/>
            <c:invertIfNegative val="1"/>
            <c:bubble3D val="0"/>
            <c:spPr>
              <a:solidFill>
                <a:srgbClr val="AEABAB"/>
              </a:solidFill>
            </c:spPr>
            <c:extLst>
              <c:ext xmlns:c16="http://schemas.microsoft.com/office/drawing/2014/chart" uri="{C3380CC4-5D6E-409C-BE32-E72D297353CC}">
                <c16:uniqueId val="{00000071-2993-41DE-A2CB-63102DE87051}"/>
              </c:ext>
            </c:extLst>
          </c:dPt>
          <c:dPt>
            <c:idx val="29"/>
            <c:invertIfNegative val="1"/>
            <c:bubble3D val="0"/>
            <c:spPr>
              <a:solidFill>
                <a:srgbClr val="AEABAB"/>
              </a:solidFill>
            </c:spPr>
            <c:extLst>
              <c:ext xmlns:c16="http://schemas.microsoft.com/office/drawing/2014/chart" uri="{C3380CC4-5D6E-409C-BE32-E72D297353CC}">
                <c16:uniqueId val="{00000073-2993-41DE-A2CB-63102DE87051}"/>
              </c:ext>
            </c:extLst>
          </c:dPt>
          <c:dPt>
            <c:idx val="30"/>
            <c:invertIfNegative val="1"/>
            <c:bubble3D val="0"/>
            <c:spPr>
              <a:solidFill>
                <a:srgbClr val="AEABAB"/>
              </a:solidFill>
            </c:spPr>
            <c:extLst>
              <c:ext xmlns:c16="http://schemas.microsoft.com/office/drawing/2014/chart" uri="{C3380CC4-5D6E-409C-BE32-E72D297353CC}">
                <c16:uniqueId val="{00000075-2993-41DE-A2CB-63102DE87051}"/>
              </c:ext>
            </c:extLst>
          </c:dPt>
          <c:dPt>
            <c:idx val="31"/>
            <c:invertIfNegative val="1"/>
            <c:bubble3D val="0"/>
            <c:spPr>
              <a:solidFill>
                <a:srgbClr val="AEABAB"/>
              </a:solidFill>
            </c:spPr>
            <c:extLst>
              <c:ext xmlns:c16="http://schemas.microsoft.com/office/drawing/2014/chart" uri="{C3380CC4-5D6E-409C-BE32-E72D297353CC}">
                <c16:uniqueId val="{00000077-2993-41DE-A2CB-63102DE87051}"/>
              </c:ext>
            </c:extLst>
          </c:dPt>
          <c:dPt>
            <c:idx val="32"/>
            <c:invertIfNegative val="1"/>
            <c:bubble3D val="0"/>
            <c:spPr>
              <a:solidFill>
                <a:srgbClr val="AEABAB"/>
              </a:solidFill>
            </c:spPr>
            <c:extLst>
              <c:ext xmlns:c16="http://schemas.microsoft.com/office/drawing/2014/chart" uri="{C3380CC4-5D6E-409C-BE32-E72D297353CC}">
                <c16:uniqueId val="{00000079-2993-41DE-A2CB-63102DE87051}"/>
              </c:ext>
            </c:extLst>
          </c:dPt>
          <c:dPt>
            <c:idx val="33"/>
            <c:invertIfNegative val="1"/>
            <c:bubble3D val="0"/>
            <c:spPr>
              <a:solidFill>
                <a:srgbClr val="AEABAB"/>
              </a:solidFill>
            </c:spPr>
            <c:extLst>
              <c:ext xmlns:c16="http://schemas.microsoft.com/office/drawing/2014/chart" uri="{C3380CC4-5D6E-409C-BE32-E72D297353CC}">
                <c16:uniqueId val="{0000007B-2993-41DE-A2CB-63102DE87051}"/>
              </c:ext>
            </c:extLst>
          </c:dPt>
          <c:dPt>
            <c:idx val="34"/>
            <c:invertIfNegative val="1"/>
            <c:bubble3D val="0"/>
            <c:spPr>
              <a:solidFill>
                <a:srgbClr val="AEABAB"/>
              </a:solidFill>
            </c:spPr>
            <c:extLst>
              <c:ext xmlns:c16="http://schemas.microsoft.com/office/drawing/2014/chart" uri="{C3380CC4-5D6E-409C-BE32-E72D297353CC}">
                <c16:uniqueId val="{0000007D-2993-41DE-A2CB-63102DE87051}"/>
              </c:ext>
            </c:extLst>
          </c:dPt>
          <c:dPt>
            <c:idx val="35"/>
            <c:invertIfNegative val="1"/>
            <c:bubble3D val="0"/>
            <c:spPr>
              <a:solidFill>
                <a:srgbClr val="AEABAB"/>
              </a:solidFill>
            </c:spPr>
            <c:extLst>
              <c:ext xmlns:c16="http://schemas.microsoft.com/office/drawing/2014/chart" uri="{C3380CC4-5D6E-409C-BE32-E72D297353CC}">
                <c16:uniqueId val="{0000007F-2993-41DE-A2CB-63102DE87051}"/>
              </c:ext>
            </c:extLst>
          </c:dPt>
          <c:dPt>
            <c:idx val="36"/>
            <c:invertIfNegative val="1"/>
            <c:bubble3D val="0"/>
            <c:spPr>
              <a:solidFill>
                <a:srgbClr val="AEABAB"/>
              </a:solidFill>
            </c:spPr>
            <c:extLst>
              <c:ext xmlns:c16="http://schemas.microsoft.com/office/drawing/2014/chart" uri="{C3380CC4-5D6E-409C-BE32-E72D297353CC}">
                <c16:uniqueId val="{00000081-2993-41DE-A2CB-63102DE87051}"/>
              </c:ext>
            </c:extLst>
          </c:dPt>
          <c:dPt>
            <c:idx val="37"/>
            <c:invertIfNegative val="1"/>
            <c:bubble3D val="0"/>
            <c:spPr>
              <a:solidFill>
                <a:srgbClr val="AEABAB"/>
              </a:solidFill>
            </c:spPr>
            <c:extLst>
              <c:ext xmlns:c16="http://schemas.microsoft.com/office/drawing/2014/chart" uri="{C3380CC4-5D6E-409C-BE32-E72D297353CC}">
                <c16:uniqueId val="{00000083-2993-41DE-A2CB-63102DE87051}"/>
              </c:ext>
            </c:extLst>
          </c:dPt>
          <c:dPt>
            <c:idx val="38"/>
            <c:invertIfNegative val="1"/>
            <c:bubble3D val="0"/>
            <c:spPr>
              <a:solidFill>
                <a:srgbClr val="AEABAB"/>
              </a:solidFill>
            </c:spPr>
            <c:extLst>
              <c:ext xmlns:c16="http://schemas.microsoft.com/office/drawing/2014/chart" uri="{C3380CC4-5D6E-409C-BE32-E72D297353CC}">
                <c16:uniqueId val="{00000085-2993-41DE-A2CB-63102DE87051}"/>
              </c:ext>
            </c:extLst>
          </c:dPt>
          <c:dPt>
            <c:idx val="39"/>
            <c:invertIfNegative val="1"/>
            <c:bubble3D val="0"/>
            <c:spPr>
              <a:solidFill>
                <a:srgbClr val="AEABAB"/>
              </a:solidFill>
            </c:spPr>
            <c:extLst>
              <c:ext xmlns:c16="http://schemas.microsoft.com/office/drawing/2014/chart" uri="{C3380CC4-5D6E-409C-BE32-E72D297353CC}">
                <c16:uniqueId val="{00000087-2993-41DE-A2CB-63102DE87051}"/>
              </c:ext>
            </c:extLst>
          </c:dPt>
          <c:dPt>
            <c:idx val="40"/>
            <c:invertIfNegative val="1"/>
            <c:bubble3D val="0"/>
            <c:spPr>
              <a:solidFill>
                <a:srgbClr val="AEABAB"/>
              </a:solidFill>
            </c:spPr>
            <c:extLst>
              <c:ext xmlns:c16="http://schemas.microsoft.com/office/drawing/2014/chart" uri="{C3380CC4-5D6E-409C-BE32-E72D297353CC}">
                <c16:uniqueId val="{00000089-2993-41DE-A2CB-63102DE87051}"/>
              </c:ext>
            </c:extLst>
          </c:dPt>
          <c:dPt>
            <c:idx val="41"/>
            <c:invertIfNegative val="1"/>
            <c:bubble3D val="0"/>
            <c:spPr>
              <a:solidFill>
                <a:srgbClr val="AEABAB"/>
              </a:solidFill>
            </c:spPr>
            <c:extLst>
              <c:ext xmlns:c16="http://schemas.microsoft.com/office/drawing/2014/chart" uri="{C3380CC4-5D6E-409C-BE32-E72D297353CC}">
                <c16:uniqueId val="{0000008B-2993-41DE-A2CB-63102DE87051}"/>
              </c:ext>
            </c:extLst>
          </c:dPt>
          <c:dPt>
            <c:idx val="42"/>
            <c:invertIfNegative val="1"/>
            <c:bubble3D val="0"/>
            <c:spPr>
              <a:solidFill>
                <a:srgbClr val="AEABAB"/>
              </a:solidFill>
            </c:spPr>
            <c:extLst>
              <c:ext xmlns:c16="http://schemas.microsoft.com/office/drawing/2014/chart" uri="{C3380CC4-5D6E-409C-BE32-E72D297353CC}">
                <c16:uniqueId val="{0000008D-2993-41DE-A2CB-63102DE87051}"/>
              </c:ext>
            </c:extLst>
          </c:dPt>
          <c:dPt>
            <c:idx val="43"/>
            <c:invertIfNegative val="1"/>
            <c:bubble3D val="0"/>
            <c:spPr>
              <a:solidFill>
                <a:srgbClr val="AEABAB"/>
              </a:solidFill>
            </c:spPr>
            <c:extLst>
              <c:ext xmlns:c16="http://schemas.microsoft.com/office/drawing/2014/chart" uri="{C3380CC4-5D6E-409C-BE32-E72D297353CC}">
                <c16:uniqueId val="{0000008F-2993-41DE-A2CB-63102DE87051}"/>
              </c:ext>
            </c:extLst>
          </c:dPt>
          <c:dPt>
            <c:idx val="44"/>
            <c:invertIfNegative val="1"/>
            <c:bubble3D val="0"/>
            <c:spPr>
              <a:solidFill>
                <a:srgbClr val="AEABAB"/>
              </a:solidFill>
            </c:spPr>
            <c:extLst>
              <c:ext xmlns:c16="http://schemas.microsoft.com/office/drawing/2014/chart" uri="{C3380CC4-5D6E-409C-BE32-E72D297353CC}">
                <c16:uniqueId val="{00000091-2993-41DE-A2CB-63102DE87051}"/>
              </c:ext>
            </c:extLst>
          </c:dPt>
          <c:dPt>
            <c:idx val="45"/>
            <c:invertIfNegative val="1"/>
            <c:bubble3D val="0"/>
            <c:spPr>
              <a:solidFill>
                <a:srgbClr val="AEABAB"/>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47</c:f>
              <c:strCache>
                <c:ptCount val="46"/>
                <c:pt idx="0">
                  <c:v>Apericube</c:v>
                </c:pt>
                <c:pt idx="1">
                  <c:v>Apericube</c:v>
                </c:pt>
                <c:pt idx="2">
                  <c:v>Apericube</c:v>
                </c:pt>
                <c:pt idx="3">
                  <c:v>Apericube</c:v>
                </c:pt>
                <c:pt idx="4">
                  <c:v>Boursin</c:v>
                </c:pt>
                <c:pt idx="5">
                  <c:v>Apericube</c:v>
                </c:pt>
                <c:pt idx="6">
                  <c:v>Private Lab</c:v>
                </c:pt>
                <c:pt idx="7">
                  <c:v>Apericube</c:v>
                </c:pt>
                <c:pt idx="8">
                  <c:v>Apericube</c:v>
                </c:pt>
                <c:pt idx="9">
                  <c:v>Aperivrais</c:v>
                </c:pt>
                <c:pt idx="10">
                  <c:v>Apericube</c:v>
                </c:pt>
                <c:pt idx="11">
                  <c:v>Boursin</c:v>
                </c:pt>
                <c:pt idx="12">
                  <c:v>Apericube</c:v>
                </c:pt>
                <c:pt idx="13">
                  <c:v>St Moret</c:v>
                </c:pt>
                <c:pt idx="14">
                  <c:v>Apericube</c:v>
                </c:pt>
                <c:pt idx="15">
                  <c:v>Aperivrais</c:v>
                </c:pt>
                <c:pt idx="16">
                  <c:v>Aperivrais</c:v>
                </c:pt>
                <c:pt idx="17">
                  <c:v>Private Lab</c:v>
                </c:pt>
                <c:pt idx="18">
                  <c:v>Boursin</c:v>
                </c:pt>
                <c:pt idx="19">
                  <c:v>St Moret</c:v>
                </c:pt>
                <c:pt idx="20">
                  <c:v>St Moret</c:v>
                </c:pt>
                <c:pt idx="21">
                  <c:v>Aperivrais</c:v>
                </c:pt>
                <c:pt idx="22">
                  <c:v>Apericube</c:v>
                </c:pt>
                <c:pt idx="23">
                  <c:v>Aperivrais</c:v>
                </c:pt>
                <c:pt idx="24">
                  <c:v>St Moret</c:v>
                </c:pt>
                <c:pt idx="25">
                  <c:v>Apericube</c:v>
                </c:pt>
                <c:pt idx="26">
                  <c:v>Entremont</c:v>
                </c:pt>
                <c:pt idx="27">
                  <c:v>Entremont</c:v>
                </c:pt>
                <c:pt idx="28">
                  <c:v>Apericube</c:v>
                </c:pt>
                <c:pt idx="29">
                  <c:v>Apericube</c:v>
                </c:pt>
                <c:pt idx="30">
                  <c:v>Aperivrais</c:v>
                </c:pt>
                <c:pt idx="31">
                  <c:v>Entremont</c:v>
                </c:pt>
                <c:pt idx="32">
                  <c:v>Aperivrais</c:v>
                </c:pt>
                <c:pt idx="33">
                  <c:v>Apericube</c:v>
                </c:pt>
                <c:pt idx="34">
                  <c:v>Boursin</c:v>
                </c:pt>
                <c:pt idx="35">
                  <c:v>Apericube</c:v>
                </c:pt>
                <c:pt idx="36">
                  <c:v>Aperivrais</c:v>
                </c:pt>
                <c:pt idx="37">
                  <c:v>Boursin</c:v>
                </c:pt>
                <c:pt idx="38">
                  <c:v>All Others</c:v>
                </c:pt>
                <c:pt idx="39">
                  <c:v>All Others</c:v>
                </c:pt>
                <c:pt idx="40">
                  <c:v>All Others</c:v>
                </c:pt>
                <c:pt idx="41">
                  <c:v>Ambrosi</c:v>
                </c:pt>
                <c:pt idx="42">
                  <c:v>All Others</c:v>
                </c:pt>
                <c:pt idx="43">
                  <c:v>All Others</c:v>
                </c:pt>
                <c:pt idx="44">
                  <c:v>O'Tapas Ape</c:v>
                </c:pt>
                <c:pt idx="45">
                  <c:v>O'Tapas Ape</c:v>
                </c:pt>
              </c:strCache>
            </c:strRef>
          </c:cat>
          <c:val>
            <c:numRef>
              <c:f>Sheet1!$C$2:$C$47</c:f>
              <c:numCache>
                <c:formatCode>General</c:formatCode>
                <c:ptCount val="46"/>
                <c:pt idx="0">
                  <c:v>0.10175664596478891</c:v>
                </c:pt>
                <c:pt idx="1">
                  <c:v>0.19264483191069215</c:v>
                </c:pt>
                <c:pt idx="2">
                  <c:v>0.2701963051117258</c:v>
                </c:pt>
                <c:pt idx="3">
                  <c:v>0.33387222238986997</c:v>
                </c:pt>
                <c:pt idx="4">
                  <c:v>0.38875398502229297</c:v>
                </c:pt>
                <c:pt idx="5">
                  <c:v>0.4428717671258796</c:v>
                </c:pt>
                <c:pt idx="6">
                  <c:v>0.4938110970657855</c:v>
                </c:pt>
                <c:pt idx="7">
                  <c:v>0.5405207833293344</c:v>
                </c:pt>
                <c:pt idx="8">
                  <c:v>0.5840542195980016</c:v>
                </c:pt>
                <c:pt idx="9">
                  <c:v>0.6261861474705046</c:v>
                </c:pt>
                <c:pt idx="10">
                  <c:v>0.6661291539656294</c:v>
                </c:pt>
                <c:pt idx="11">
                  <c:v>0.701848744793032</c:v>
                </c:pt>
                <c:pt idx="12">
                  <c:v>0.7364206271783621</c:v>
                </c:pt>
                <c:pt idx="13">
                  <c:v>0.7648676931824191</c:v>
                </c:pt>
                <c:pt idx="14">
                  <c:v>0.7923621835453327</c:v>
                </c:pt>
                <c:pt idx="15">
                  <c:v>0.8177793061440956</c:v>
                </c:pt>
                <c:pt idx="16">
                  <c:v>0.8426633318490485</c:v>
                </c:pt>
                <c:pt idx="17">
                  <c:v>0.8613992807647883</c:v>
                </c:pt>
                <c:pt idx="18">
                  <c:v>0.8788497824618519</c:v>
                </c:pt>
                <c:pt idx="19">
                  <c:v>0.8956833328063037</c:v>
                </c:pt>
                <c:pt idx="20">
                  <c:v>0.9112205971325215</c:v>
                </c:pt>
                <c:pt idx="21">
                  <c:v>0.924018535517146</c:v>
                </c:pt>
                <c:pt idx="22">
                  <c:v>0.9367475184912499</c:v>
                </c:pt>
                <c:pt idx="23">
                  <c:v>0.9491031306272508</c:v>
                </c:pt>
                <c:pt idx="24">
                  <c:v>0.9586910294894831</c:v>
                </c:pt>
                <c:pt idx="25">
                  <c:v>0.9676048238369906</c:v>
                </c:pt>
                <c:pt idx="26">
                  <c:v>0.9737363155424359</c:v>
                </c:pt>
                <c:pt idx="27">
                  <c:v>0.9782889898545051</c:v>
                </c:pt>
                <c:pt idx="28">
                  <c:v>0.9819820957483036</c:v>
                </c:pt>
                <c:pt idx="29">
                  <c:v>0.9847507724709218</c:v>
                </c:pt>
                <c:pt idx="30">
                  <c:v>0.9872189219702432</c:v>
                </c:pt>
                <c:pt idx="31">
                  <c:v>0.9892323236125588</c:v>
                </c:pt>
                <c:pt idx="32">
                  <c:v>0.9909105482818799</c:v>
                </c:pt>
                <c:pt idx="33">
                  <c:v>0.9925595253968384</c:v>
                </c:pt>
                <c:pt idx="34">
                  <c:v>0.9941402008701388</c:v>
                </c:pt>
                <c:pt idx="35">
                  <c:v>0.9956049872103885</c:v>
                </c:pt>
                <c:pt idx="36">
                  <c:v>0.9969797943098642</c:v>
                </c:pt>
                <c:pt idx="37">
                  <c:v>0.9983119687977455</c:v>
                </c:pt>
                <c:pt idx="38">
                  <c:v>0.9991127324273037</c:v>
                </c:pt>
                <c:pt idx="39">
                  <c:v>0.9997566947565913</c:v>
                </c:pt>
                <c:pt idx="40">
                  <c:v>0.999874510787341</c:v>
                </c:pt>
                <c:pt idx="41">
                  <c:v>0.9999178659855725</c:v>
                </c:pt>
                <c:pt idx="42">
                  <c:v>0.9999415393001624</c:v>
                </c:pt>
                <c:pt idx="43">
                  <c:v>0.9999553716729315</c:v>
                </c:pt>
                <c:pt idx="44">
                  <c:v>0.9999809374763331</c:v>
                </c:pt>
                <c:pt idx="45">
                  <c:v>0.9999850321339439</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45</c:f>
              <c:strCache>
                <c:ptCount val="44"/>
                <c:pt idx="0">
                  <c:v>Apericube</c:v>
                </c:pt>
                <c:pt idx="1">
                  <c:v>Apericube</c:v>
                </c:pt>
                <c:pt idx="2">
                  <c:v>Apericube</c:v>
                </c:pt>
                <c:pt idx="3">
                  <c:v>Apericube</c:v>
                </c:pt>
                <c:pt idx="4">
                  <c:v>Apericube</c:v>
                </c:pt>
                <c:pt idx="5">
                  <c:v>Boursin</c:v>
                </c:pt>
                <c:pt idx="6">
                  <c:v>Apericube</c:v>
                </c:pt>
                <c:pt idx="7">
                  <c:v>Private Lab</c:v>
                </c:pt>
                <c:pt idx="8">
                  <c:v>Apericube</c:v>
                </c:pt>
                <c:pt idx="9">
                  <c:v>Apericube</c:v>
                </c:pt>
                <c:pt idx="10">
                  <c:v>Aperivrais</c:v>
                </c:pt>
                <c:pt idx="11">
                  <c:v>Boursin</c:v>
                </c:pt>
                <c:pt idx="12">
                  <c:v>Apericube</c:v>
                </c:pt>
                <c:pt idx="13">
                  <c:v>Apericube</c:v>
                </c:pt>
                <c:pt idx="14">
                  <c:v>St Moret</c:v>
                </c:pt>
                <c:pt idx="15">
                  <c:v>Aperivrais</c:v>
                </c:pt>
                <c:pt idx="16">
                  <c:v>Aperivrais</c:v>
                </c:pt>
                <c:pt idx="17">
                  <c:v>St Moret</c:v>
                </c:pt>
                <c:pt idx="18">
                  <c:v>Boursin</c:v>
                </c:pt>
                <c:pt idx="19">
                  <c:v>Apericube</c:v>
                </c:pt>
                <c:pt idx="20">
                  <c:v>St Moret</c:v>
                </c:pt>
                <c:pt idx="21">
                  <c:v>Private Lab</c:v>
                </c:pt>
                <c:pt idx="22">
                  <c:v>Aperivrais</c:v>
                </c:pt>
                <c:pt idx="23">
                  <c:v>Aperivrais</c:v>
                </c:pt>
                <c:pt idx="24">
                  <c:v>St Moret</c:v>
                </c:pt>
                <c:pt idx="25">
                  <c:v>Apericube</c:v>
                </c:pt>
                <c:pt idx="26">
                  <c:v>Entremont</c:v>
                </c:pt>
                <c:pt idx="27">
                  <c:v>Apericube</c:v>
                </c:pt>
                <c:pt idx="28">
                  <c:v>Entremont</c:v>
                </c:pt>
                <c:pt idx="29">
                  <c:v>Aperivrais</c:v>
                </c:pt>
                <c:pt idx="30">
                  <c:v>Apericube</c:v>
                </c:pt>
                <c:pt idx="31">
                  <c:v>Apericube</c:v>
                </c:pt>
                <c:pt idx="32">
                  <c:v>Apericube</c:v>
                </c:pt>
                <c:pt idx="33">
                  <c:v>Aperivrais</c:v>
                </c:pt>
                <c:pt idx="34">
                  <c:v>Entremont</c:v>
                </c:pt>
                <c:pt idx="35">
                  <c:v>Aperivrais</c:v>
                </c:pt>
                <c:pt idx="36">
                  <c:v>Boursin</c:v>
                </c:pt>
                <c:pt idx="37">
                  <c:v>All Others</c:v>
                </c:pt>
                <c:pt idx="38">
                  <c:v>Boursin</c:v>
                </c:pt>
                <c:pt idx="39">
                  <c:v>All Others</c:v>
                </c:pt>
                <c:pt idx="40">
                  <c:v>All Others</c:v>
                </c:pt>
                <c:pt idx="41">
                  <c:v>Ambrosi</c:v>
                </c:pt>
                <c:pt idx="42">
                  <c:v>O'Tapas Ape</c:v>
                </c:pt>
                <c:pt idx="43">
                  <c:v>Apericube</c:v>
                </c:pt>
              </c:strCache>
            </c:strRef>
          </c:cat>
          <c:val>
            <c:numRef>
              <c:f>Sheet1!$B$2:$B$45</c:f>
              <c:numCache>
                <c:formatCode>General</c:formatCode>
                <c:ptCount val="44"/>
                <c:pt idx="0">
                  <c:v>1.0</c:v>
                </c:pt>
                <c:pt idx="1">
                  <c:v>1.0</c:v>
                </c:pt>
                <c:pt idx="2">
                  <c:v>0.99</c:v>
                </c:pt>
                <c:pt idx="3">
                  <c:v>1.0</c:v>
                </c:pt>
                <c:pt idx="4">
                  <c:v>0.99</c:v>
                </c:pt>
                <c:pt idx="5">
                  <c:v>0.99</c:v>
                </c:pt>
                <c:pt idx="6">
                  <c:v>0.99</c:v>
                </c:pt>
                <c:pt idx="7">
                  <c:v>0.99</c:v>
                </c:pt>
                <c:pt idx="8">
                  <c:v>0.99</c:v>
                </c:pt>
                <c:pt idx="9">
                  <c:v>0.99</c:v>
                </c:pt>
                <c:pt idx="10">
                  <c:v>1.0</c:v>
                </c:pt>
                <c:pt idx="11">
                  <c:v>0.99</c:v>
                </c:pt>
                <c:pt idx="12">
                  <c:v>0.98</c:v>
                </c:pt>
                <c:pt idx="13">
                  <c:v>0.99</c:v>
                </c:pt>
                <c:pt idx="14">
                  <c:v>0.99</c:v>
                </c:pt>
                <c:pt idx="15">
                  <c:v>0.99</c:v>
                </c:pt>
                <c:pt idx="16">
                  <c:v>1.0</c:v>
                </c:pt>
                <c:pt idx="17">
                  <c:v>0.98</c:v>
                </c:pt>
                <c:pt idx="18">
                  <c:v>0.98</c:v>
                </c:pt>
                <c:pt idx="19">
                  <c:v>0.98</c:v>
                </c:pt>
                <c:pt idx="20">
                  <c:v>0.98</c:v>
                </c:pt>
                <c:pt idx="21">
                  <c:v>0.98</c:v>
                </c:pt>
                <c:pt idx="22">
                  <c:v>0.97</c:v>
                </c:pt>
                <c:pt idx="23">
                  <c:v>0.98</c:v>
                </c:pt>
                <c:pt idx="24">
                  <c:v>0.96</c:v>
                </c:pt>
                <c:pt idx="25">
                  <c:v>0.96</c:v>
                </c:pt>
                <c:pt idx="26">
                  <c:v>0.97</c:v>
                </c:pt>
                <c:pt idx="27">
                  <c:v>0.88</c:v>
                </c:pt>
                <c:pt idx="28">
                  <c:v>0.97</c:v>
                </c:pt>
                <c:pt idx="29">
                  <c:v>0.73</c:v>
                </c:pt>
                <c:pt idx="30">
                  <c:v>0.8</c:v>
                </c:pt>
                <c:pt idx="31">
                  <c:v>0.7</c:v>
                </c:pt>
                <c:pt idx="32">
                  <c:v>0.68</c:v>
                </c:pt>
                <c:pt idx="33">
                  <c:v>0.96</c:v>
                </c:pt>
                <c:pt idx="34">
                  <c:v>0.92</c:v>
                </c:pt>
                <c:pt idx="35">
                  <c:v>0.85</c:v>
                </c:pt>
                <c:pt idx="36">
                  <c:v>0.96</c:v>
                </c:pt>
                <c:pt idx="37">
                  <c:v>0.07</c:v>
                </c:pt>
                <c:pt idx="38">
                  <c:v>0.86</c:v>
                </c:pt>
                <c:pt idx="39">
                  <c:v>0.03</c:v>
                </c:pt>
                <c:pt idx="40">
                  <c:v>0.01</c:v>
                </c:pt>
                <c:pt idx="41">
                  <c:v>0.01</c:v>
                </c:pt>
                <c:pt idx="42">
                  <c:v>0.03</c:v>
                </c:pt>
                <c:pt idx="43">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Item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7ECAC4"/>
              </a:solidFill>
            </c:spPr>
            <c:extLst>
              <c:ext xmlns:c16="http://schemas.microsoft.com/office/drawing/2014/chart" uri="{C3380CC4-5D6E-409C-BE32-E72D297353CC}">
                <c16:uniqueId val="{00000059-2993-41DE-A2CB-63102DE87051}"/>
              </c:ext>
            </c:extLst>
          </c:dPt>
          <c:dPt>
            <c:idx val="17"/>
            <c:invertIfNegative val="1"/>
            <c:bubble3D val="0"/>
            <c:spPr>
              <a:solidFill>
                <a:srgbClr val="7ECAC4"/>
              </a:solidFill>
            </c:spPr>
            <c:extLst>
              <c:ext xmlns:c16="http://schemas.microsoft.com/office/drawing/2014/chart" uri="{C3380CC4-5D6E-409C-BE32-E72D297353CC}">
                <c16:uniqueId val="{0000005B-2993-41DE-A2CB-63102DE87051}"/>
              </c:ext>
            </c:extLst>
          </c:dPt>
          <c:dPt>
            <c:idx val="18"/>
            <c:invertIfNegative val="1"/>
            <c:bubble3D val="0"/>
            <c:spPr>
              <a:solidFill>
                <a:srgbClr val="7ECAC4"/>
              </a:solidFill>
            </c:spPr>
            <c:extLst>
              <c:ext xmlns:c16="http://schemas.microsoft.com/office/drawing/2014/chart" uri="{C3380CC4-5D6E-409C-BE32-E72D297353CC}">
                <c16:uniqueId val="{0000005D-2993-41DE-A2CB-63102DE87051}"/>
              </c:ext>
            </c:extLst>
          </c:dPt>
          <c:dPt>
            <c:idx val="19"/>
            <c:invertIfNegative val="1"/>
            <c:bubble3D val="0"/>
            <c:spPr>
              <a:solidFill>
                <a:srgbClr val="7ECAC4"/>
              </a:solidFill>
            </c:spPr>
            <c:extLst>
              <c:ext xmlns:c16="http://schemas.microsoft.com/office/drawing/2014/chart" uri="{C3380CC4-5D6E-409C-BE32-E72D297353CC}">
                <c16:uniqueId val="{0000005F-2993-41DE-A2CB-63102DE87051}"/>
              </c:ext>
            </c:extLst>
          </c:dPt>
          <c:dPt>
            <c:idx val="20"/>
            <c:invertIfNegative val="1"/>
            <c:bubble3D val="0"/>
            <c:spPr>
              <a:solidFill>
                <a:srgbClr val="7ECAC4"/>
              </a:solidFill>
            </c:spPr>
            <c:extLst>
              <c:ext xmlns:c16="http://schemas.microsoft.com/office/drawing/2014/chart" uri="{C3380CC4-5D6E-409C-BE32-E72D297353CC}">
                <c16:uniqueId val="{00000061-2993-41DE-A2CB-63102DE87051}"/>
              </c:ext>
            </c:extLst>
          </c:dPt>
          <c:dPt>
            <c:idx val="21"/>
            <c:invertIfNegative val="1"/>
            <c:bubble3D val="0"/>
            <c:spPr>
              <a:solidFill>
                <a:srgbClr val="7ECAC4"/>
              </a:solidFill>
            </c:spPr>
            <c:extLst>
              <c:ext xmlns:c16="http://schemas.microsoft.com/office/drawing/2014/chart" uri="{C3380CC4-5D6E-409C-BE32-E72D297353CC}">
                <c16:uniqueId val="{00000063-2993-41DE-A2CB-63102DE87051}"/>
              </c:ext>
            </c:extLst>
          </c:dPt>
          <c:dPt>
            <c:idx val="22"/>
            <c:invertIfNegative val="1"/>
            <c:bubble3D val="0"/>
            <c:spPr>
              <a:solidFill>
                <a:srgbClr val="7ECAC4"/>
              </a:solidFill>
            </c:spPr>
            <c:extLst>
              <c:ext xmlns:c16="http://schemas.microsoft.com/office/drawing/2014/chart" uri="{C3380CC4-5D6E-409C-BE32-E72D297353CC}">
                <c16:uniqueId val="{00000065-2993-41DE-A2CB-63102DE87051}"/>
              </c:ext>
            </c:extLst>
          </c:dPt>
          <c:dPt>
            <c:idx val="23"/>
            <c:invertIfNegative val="1"/>
            <c:bubble3D val="0"/>
            <c:spPr>
              <a:solidFill>
                <a:srgbClr val="7ECAC4"/>
              </a:solidFill>
            </c:spPr>
            <c:extLst>
              <c:ext xmlns:c16="http://schemas.microsoft.com/office/drawing/2014/chart" uri="{C3380CC4-5D6E-409C-BE32-E72D297353CC}">
                <c16:uniqueId val="{00000067-2993-41DE-A2CB-63102DE87051}"/>
              </c:ext>
            </c:extLst>
          </c:dPt>
          <c:dPt>
            <c:idx val="24"/>
            <c:invertIfNegative val="1"/>
            <c:bubble3D val="0"/>
            <c:spPr>
              <a:solidFill>
                <a:srgbClr val="7ECAC4"/>
              </a:solidFill>
            </c:spPr>
            <c:extLst>
              <c:ext xmlns:c16="http://schemas.microsoft.com/office/drawing/2014/chart" uri="{C3380CC4-5D6E-409C-BE32-E72D297353CC}">
                <c16:uniqueId val="{00000069-2993-41DE-A2CB-63102DE87051}"/>
              </c:ext>
            </c:extLst>
          </c:dPt>
          <c:dPt>
            <c:idx val="25"/>
            <c:invertIfNegative val="1"/>
            <c:bubble3D val="0"/>
            <c:spPr>
              <a:solidFill>
                <a:srgbClr val="AEABAB"/>
              </a:solidFill>
            </c:spPr>
            <c:extLst>
              <c:ext xmlns:c16="http://schemas.microsoft.com/office/drawing/2014/chart" uri="{C3380CC4-5D6E-409C-BE32-E72D297353CC}">
                <c16:uniqueId val="{0000006B-2993-41DE-A2CB-63102DE87051}"/>
              </c:ext>
            </c:extLst>
          </c:dPt>
          <c:dPt>
            <c:idx val="26"/>
            <c:invertIfNegative val="1"/>
            <c:bubble3D val="0"/>
            <c:spPr>
              <a:solidFill>
                <a:srgbClr val="AEABAB"/>
              </a:solidFill>
            </c:spPr>
            <c:extLst>
              <c:ext xmlns:c16="http://schemas.microsoft.com/office/drawing/2014/chart" uri="{C3380CC4-5D6E-409C-BE32-E72D297353CC}">
                <c16:uniqueId val="{0000006D-2993-41DE-A2CB-63102DE87051}"/>
              </c:ext>
            </c:extLst>
          </c:dPt>
          <c:dPt>
            <c:idx val="27"/>
            <c:invertIfNegative val="1"/>
            <c:bubble3D val="0"/>
            <c:spPr>
              <a:solidFill>
                <a:srgbClr val="AEABAB"/>
              </a:solidFill>
            </c:spPr>
            <c:extLst>
              <c:ext xmlns:c16="http://schemas.microsoft.com/office/drawing/2014/chart" uri="{C3380CC4-5D6E-409C-BE32-E72D297353CC}">
                <c16:uniqueId val="{0000006F-2993-41DE-A2CB-63102DE87051}"/>
              </c:ext>
            </c:extLst>
          </c:dPt>
          <c:dPt>
            <c:idx val="28"/>
            <c:invertIfNegative val="1"/>
            <c:bubble3D val="0"/>
            <c:spPr>
              <a:solidFill>
                <a:srgbClr val="AEABAB"/>
              </a:solidFill>
            </c:spPr>
            <c:extLst>
              <c:ext xmlns:c16="http://schemas.microsoft.com/office/drawing/2014/chart" uri="{C3380CC4-5D6E-409C-BE32-E72D297353CC}">
                <c16:uniqueId val="{00000071-2993-41DE-A2CB-63102DE87051}"/>
              </c:ext>
            </c:extLst>
          </c:dPt>
          <c:dPt>
            <c:idx val="29"/>
            <c:invertIfNegative val="1"/>
            <c:bubble3D val="0"/>
            <c:spPr>
              <a:solidFill>
                <a:srgbClr val="AEABAB"/>
              </a:solidFill>
            </c:spPr>
            <c:extLst>
              <c:ext xmlns:c16="http://schemas.microsoft.com/office/drawing/2014/chart" uri="{C3380CC4-5D6E-409C-BE32-E72D297353CC}">
                <c16:uniqueId val="{00000073-2993-41DE-A2CB-63102DE87051}"/>
              </c:ext>
            </c:extLst>
          </c:dPt>
          <c:dPt>
            <c:idx val="30"/>
            <c:invertIfNegative val="1"/>
            <c:bubble3D val="0"/>
            <c:spPr>
              <a:solidFill>
                <a:srgbClr val="AEABAB"/>
              </a:solidFill>
            </c:spPr>
            <c:extLst>
              <c:ext xmlns:c16="http://schemas.microsoft.com/office/drawing/2014/chart" uri="{C3380CC4-5D6E-409C-BE32-E72D297353CC}">
                <c16:uniqueId val="{00000075-2993-41DE-A2CB-63102DE87051}"/>
              </c:ext>
            </c:extLst>
          </c:dPt>
          <c:dPt>
            <c:idx val="31"/>
            <c:invertIfNegative val="1"/>
            <c:bubble3D val="0"/>
            <c:spPr>
              <a:solidFill>
                <a:srgbClr val="AEABAB"/>
              </a:solidFill>
            </c:spPr>
            <c:extLst>
              <c:ext xmlns:c16="http://schemas.microsoft.com/office/drawing/2014/chart" uri="{C3380CC4-5D6E-409C-BE32-E72D297353CC}">
                <c16:uniqueId val="{00000077-2993-41DE-A2CB-63102DE87051}"/>
              </c:ext>
            </c:extLst>
          </c:dPt>
          <c:dPt>
            <c:idx val="32"/>
            <c:invertIfNegative val="1"/>
            <c:bubble3D val="0"/>
            <c:spPr>
              <a:solidFill>
                <a:srgbClr val="AEABAB"/>
              </a:solidFill>
            </c:spPr>
            <c:extLst>
              <c:ext xmlns:c16="http://schemas.microsoft.com/office/drawing/2014/chart" uri="{C3380CC4-5D6E-409C-BE32-E72D297353CC}">
                <c16:uniqueId val="{00000079-2993-41DE-A2CB-63102DE87051}"/>
              </c:ext>
            </c:extLst>
          </c:dPt>
          <c:dPt>
            <c:idx val="33"/>
            <c:invertIfNegative val="1"/>
            <c:bubble3D val="0"/>
            <c:spPr>
              <a:solidFill>
                <a:srgbClr val="AEABAB"/>
              </a:solidFill>
            </c:spPr>
            <c:extLst>
              <c:ext xmlns:c16="http://schemas.microsoft.com/office/drawing/2014/chart" uri="{C3380CC4-5D6E-409C-BE32-E72D297353CC}">
                <c16:uniqueId val="{0000007B-2993-41DE-A2CB-63102DE87051}"/>
              </c:ext>
            </c:extLst>
          </c:dPt>
          <c:dPt>
            <c:idx val="34"/>
            <c:invertIfNegative val="1"/>
            <c:bubble3D val="0"/>
            <c:spPr>
              <a:solidFill>
                <a:srgbClr val="AEABAB"/>
              </a:solidFill>
            </c:spPr>
            <c:extLst>
              <c:ext xmlns:c16="http://schemas.microsoft.com/office/drawing/2014/chart" uri="{C3380CC4-5D6E-409C-BE32-E72D297353CC}">
                <c16:uniqueId val="{0000007D-2993-41DE-A2CB-63102DE87051}"/>
              </c:ext>
            </c:extLst>
          </c:dPt>
          <c:dPt>
            <c:idx val="35"/>
            <c:invertIfNegative val="1"/>
            <c:bubble3D val="0"/>
            <c:spPr>
              <a:solidFill>
                <a:srgbClr val="AEABAB"/>
              </a:solidFill>
            </c:spPr>
            <c:extLst>
              <c:ext xmlns:c16="http://schemas.microsoft.com/office/drawing/2014/chart" uri="{C3380CC4-5D6E-409C-BE32-E72D297353CC}">
                <c16:uniqueId val="{0000007F-2993-41DE-A2CB-63102DE87051}"/>
              </c:ext>
            </c:extLst>
          </c:dPt>
          <c:dPt>
            <c:idx val="36"/>
            <c:invertIfNegative val="1"/>
            <c:bubble3D val="0"/>
            <c:spPr>
              <a:solidFill>
                <a:srgbClr val="AEABAB"/>
              </a:solidFill>
            </c:spPr>
            <c:extLst>
              <c:ext xmlns:c16="http://schemas.microsoft.com/office/drawing/2014/chart" uri="{C3380CC4-5D6E-409C-BE32-E72D297353CC}">
                <c16:uniqueId val="{00000081-2993-41DE-A2CB-63102DE87051}"/>
              </c:ext>
            </c:extLst>
          </c:dPt>
          <c:dPt>
            <c:idx val="37"/>
            <c:invertIfNegative val="1"/>
            <c:bubble3D val="0"/>
            <c:spPr>
              <a:solidFill>
                <a:srgbClr val="AEABAB"/>
              </a:solidFill>
            </c:spPr>
            <c:extLst>
              <c:ext xmlns:c16="http://schemas.microsoft.com/office/drawing/2014/chart" uri="{C3380CC4-5D6E-409C-BE32-E72D297353CC}">
                <c16:uniqueId val="{00000083-2993-41DE-A2CB-63102DE87051}"/>
              </c:ext>
            </c:extLst>
          </c:dPt>
          <c:dPt>
            <c:idx val="38"/>
            <c:invertIfNegative val="1"/>
            <c:bubble3D val="0"/>
            <c:spPr>
              <a:solidFill>
                <a:srgbClr val="AEABAB"/>
              </a:solidFill>
            </c:spPr>
            <c:extLst>
              <c:ext xmlns:c16="http://schemas.microsoft.com/office/drawing/2014/chart" uri="{C3380CC4-5D6E-409C-BE32-E72D297353CC}">
                <c16:uniqueId val="{00000085-2993-41DE-A2CB-63102DE87051}"/>
              </c:ext>
            </c:extLst>
          </c:dPt>
          <c:dPt>
            <c:idx val="39"/>
            <c:invertIfNegative val="1"/>
            <c:bubble3D val="0"/>
            <c:spPr>
              <a:solidFill>
                <a:srgbClr val="AEABAB"/>
              </a:solidFill>
            </c:spPr>
            <c:extLst>
              <c:ext xmlns:c16="http://schemas.microsoft.com/office/drawing/2014/chart" uri="{C3380CC4-5D6E-409C-BE32-E72D297353CC}">
                <c16:uniqueId val="{00000087-2993-41DE-A2CB-63102DE87051}"/>
              </c:ext>
            </c:extLst>
          </c:dPt>
          <c:dPt>
            <c:idx val="40"/>
            <c:invertIfNegative val="1"/>
            <c:bubble3D val="0"/>
            <c:spPr>
              <a:solidFill>
                <a:srgbClr val="AEABAB"/>
              </a:solidFill>
            </c:spPr>
            <c:extLst>
              <c:ext xmlns:c16="http://schemas.microsoft.com/office/drawing/2014/chart" uri="{C3380CC4-5D6E-409C-BE32-E72D297353CC}">
                <c16:uniqueId val="{00000089-2993-41DE-A2CB-63102DE87051}"/>
              </c:ext>
            </c:extLst>
          </c:dPt>
          <c:dPt>
            <c:idx val="41"/>
            <c:invertIfNegative val="1"/>
            <c:bubble3D val="0"/>
            <c:spPr>
              <a:solidFill>
                <a:srgbClr val="AEABAB"/>
              </a:solidFill>
            </c:spPr>
            <c:extLst>
              <c:ext xmlns:c16="http://schemas.microsoft.com/office/drawing/2014/chart" uri="{C3380CC4-5D6E-409C-BE32-E72D297353CC}">
                <c16:uniqueId val="{0000008B-2993-41DE-A2CB-63102DE87051}"/>
              </c:ext>
            </c:extLst>
          </c:dPt>
          <c:dPt>
            <c:idx val="42"/>
            <c:invertIfNegative val="1"/>
            <c:bubble3D val="0"/>
            <c:spPr>
              <a:solidFill>
                <a:srgbClr val="AEABAB"/>
              </a:solidFill>
            </c:spPr>
            <c:extLst>
              <c:ext xmlns:c16="http://schemas.microsoft.com/office/drawing/2014/chart" uri="{C3380CC4-5D6E-409C-BE32-E72D297353CC}">
                <c16:uniqueId val="{0000008D-2993-41DE-A2CB-63102DE87051}"/>
              </c:ext>
            </c:extLst>
          </c:dPt>
          <c:dPt>
            <c:idx val="43"/>
            <c:invertIfNegative val="1"/>
            <c:bubble3D val="0"/>
            <c:spPr>
              <a:solidFill>
                <a:srgbClr val="AEABAB"/>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45</c:f>
              <c:strCache>
                <c:ptCount val="44"/>
                <c:pt idx="0">
                  <c:v>Apericube</c:v>
                </c:pt>
                <c:pt idx="1">
                  <c:v>Apericube</c:v>
                </c:pt>
                <c:pt idx="2">
                  <c:v>Apericube</c:v>
                </c:pt>
                <c:pt idx="3">
                  <c:v>Apericube</c:v>
                </c:pt>
                <c:pt idx="4">
                  <c:v>Apericube</c:v>
                </c:pt>
                <c:pt idx="5">
                  <c:v>Boursin</c:v>
                </c:pt>
                <c:pt idx="6">
                  <c:v>Apericube</c:v>
                </c:pt>
                <c:pt idx="7">
                  <c:v>Private Lab</c:v>
                </c:pt>
                <c:pt idx="8">
                  <c:v>Apericube</c:v>
                </c:pt>
                <c:pt idx="9">
                  <c:v>Apericube</c:v>
                </c:pt>
                <c:pt idx="10">
                  <c:v>Aperivrais</c:v>
                </c:pt>
                <c:pt idx="11">
                  <c:v>Boursin</c:v>
                </c:pt>
                <c:pt idx="12">
                  <c:v>Apericube</c:v>
                </c:pt>
                <c:pt idx="13">
                  <c:v>Apericube</c:v>
                </c:pt>
                <c:pt idx="14">
                  <c:v>St Moret</c:v>
                </c:pt>
                <c:pt idx="15">
                  <c:v>Aperivrais</c:v>
                </c:pt>
                <c:pt idx="16">
                  <c:v>Aperivrais</c:v>
                </c:pt>
                <c:pt idx="17">
                  <c:v>St Moret</c:v>
                </c:pt>
                <c:pt idx="18">
                  <c:v>Boursin</c:v>
                </c:pt>
                <c:pt idx="19">
                  <c:v>Apericube</c:v>
                </c:pt>
                <c:pt idx="20">
                  <c:v>St Moret</c:v>
                </c:pt>
                <c:pt idx="21">
                  <c:v>Private Lab</c:v>
                </c:pt>
                <c:pt idx="22">
                  <c:v>Aperivrais</c:v>
                </c:pt>
                <c:pt idx="23">
                  <c:v>Aperivrais</c:v>
                </c:pt>
                <c:pt idx="24">
                  <c:v>St Moret</c:v>
                </c:pt>
                <c:pt idx="25">
                  <c:v>Apericube</c:v>
                </c:pt>
                <c:pt idx="26">
                  <c:v>Entremont</c:v>
                </c:pt>
                <c:pt idx="27">
                  <c:v>Apericube</c:v>
                </c:pt>
                <c:pt idx="28">
                  <c:v>Entremont</c:v>
                </c:pt>
                <c:pt idx="29">
                  <c:v>Aperivrais</c:v>
                </c:pt>
                <c:pt idx="30">
                  <c:v>Apericube</c:v>
                </c:pt>
                <c:pt idx="31">
                  <c:v>Apericube</c:v>
                </c:pt>
                <c:pt idx="32">
                  <c:v>Apericube</c:v>
                </c:pt>
                <c:pt idx="33">
                  <c:v>Aperivrais</c:v>
                </c:pt>
                <c:pt idx="34">
                  <c:v>Entremont</c:v>
                </c:pt>
                <c:pt idx="35">
                  <c:v>Aperivrais</c:v>
                </c:pt>
                <c:pt idx="36">
                  <c:v>Boursin</c:v>
                </c:pt>
                <c:pt idx="37">
                  <c:v>All Others</c:v>
                </c:pt>
                <c:pt idx="38">
                  <c:v>Boursin</c:v>
                </c:pt>
                <c:pt idx="39">
                  <c:v>All Others</c:v>
                </c:pt>
                <c:pt idx="40">
                  <c:v>All Others</c:v>
                </c:pt>
                <c:pt idx="41">
                  <c:v>Ambrosi</c:v>
                </c:pt>
                <c:pt idx="42">
                  <c:v>O'Tapas Ape</c:v>
                </c:pt>
                <c:pt idx="43">
                  <c:v>Apericube</c:v>
                </c:pt>
              </c:strCache>
            </c:strRef>
          </c:cat>
          <c:val>
            <c:numRef>
              <c:f>Sheet1!$C$2:$C$45</c:f>
              <c:numCache>
                <c:formatCode>General</c:formatCode>
                <c:ptCount val="44"/>
                <c:pt idx="0">
                  <c:v>0.09700240118609015</c:v>
                </c:pt>
                <c:pt idx="1">
                  <c:v>0.18296821394163607</c:v>
                </c:pt>
                <c:pt idx="2">
                  <c:v>0.261281166215926</c:v>
                </c:pt>
                <c:pt idx="3">
                  <c:v>0.3255396745698164</c:v>
                </c:pt>
                <c:pt idx="4">
                  <c:v>0.38971458394361436</c:v>
                </c:pt>
                <c:pt idx="5">
                  <c:v>0.44528573674478095</c:v>
                </c:pt>
                <c:pt idx="6">
                  <c:v>0.4945534587554955</c:v>
                </c:pt>
                <c:pt idx="7">
                  <c:v>0.5395285254442973</c:v>
                </c:pt>
                <c:pt idx="8">
                  <c:v>0.5843942703899012</c:v>
                </c:pt>
                <c:pt idx="9">
                  <c:v>0.6244527355227805</c:v>
                </c:pt>
                <c:pt idx="10">
                  <c:v>0.6591018051118238</c:v>
                </c:pt>
                <c:pt idx="11">
                  <c:v>0.6936229378001588</c:v>
                </c:pt>
                <c:pt idx="12">
                  <c:v>0.7274030179908728</c:v>
                </c:pt>
                <c:pt idx="13">
                  <c:v>0.7568982273800875</c:v>
                </c:pt>
                <c:pt idx="14">
                  <c:v>0.7830867078806254</c:v>
                </c:pt>
                <c:pt idx="15">
                  <c:v>0.8060500277281233</c:v>
                </c:pt>
                <c:pt idx="16">
                  <c:v>0.8267478829065978</c:v>
                </c:pt>
                <c:pt idx="17">
                  <c:v>0.8465205647568024</c:v>
                </c:pt>
                <c:pt idx="18">
                  <c:v>0.8637773234551155</c:v>
                </c:pt>
                <c:pt idx="19">
                  <c:v>0.8805810569111058</c:v>
                </c:pt>
                <c:pt idx="20">
                  <c:v>0.8958734088059511</c:v>
                </c:pt>
                <c:pt idx="21">
                  <c:v>0.9103263863257792</c:v>
                </c:pt>
                <c:pt idx="22">
                  <c:v>0.9242725238752089</c:v>
                </c:pt>
                <c:pt idx="23">
                  <c:v>0.9378419583281086</c:v>
                </c:pt>
                <c:pt idx="24">
                  <c:v>0.9479279891246867</c:v>
                </c:pt>
                <c:pt idx="25">
                  <c:v>0.9574134272484954</c:v>
                </c:pt>
                <c:pt idx="26">
                  <c:v>0.9642636359836412</c:v>
                </c:pt>
                <c:pt idx="27">
                  <c:v>0.9692565596853566</c:v>
                </c:pt>
                <c:pt idx="28">
                  <c:v>0.9741191772844988</c:v>
                </c:pt>
                <c:pt idx="29">
                  <c:v>0.9784703857382172</c:v>
                </c:pt>
                <c:pt idx="30">
                  <c:v>0.9827445951313242</c:v>
                </c:pt>
                <c:pt idx="31">
                  <c:v>0.9866400706834455</c:v>
                </c:pt>
                <c:pt idx="32">
                  <c:v>0.9897547249923553</c:v>
                </c:pt>
                <c:pt idx="33">
                  <c:v>0.9919025757116534</c:v>
                </c:pt>
                <c:pt idx="34">
                  <c:v>0.9937749220997967</c:v>
                </c:pt>
                <c:pt idx="35">
                  <c:v>0.9956071612849402</c:v>
                </c:pt>
                <c:pt idx="36">
                  <c:v>0.9972324337643083</c:v>
                </c:pt>
                <c:pt idx="37">
                  <c:v>0.9986350012683693</c:v>
                </c:pt>
                <c:pt idx="38">
                  <c:v>0.999845663421368</c:v>
                </c:pt>
                <c:pt idx="39">
                  <c:v>0.9999561697654984</c:v>
                </c:pt>
                <c:pt idx="40">
                  <c:v>0.9999744464655995</c:v>
                </c:pt>
                <c:pt idx="41">
                  <c:v>0.9999923847082914</c:v>
                </c:pt>
                <c:pt idx="42">
                  <c:v>0.9999966154259075</c:v>
                </c:pt>
                <c:pt idx="43">
                  <c:v>1.0000000000000002</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President</c:v>
                </c:pt>
                <c:pt idx="2">
                  <c:v>Entremont</c:v>
                </c:pt>
                <c:pt idx="3">
                  <c:v>Galbani</c:v>
                </c:pt>
                <c:pt idx="4">
                  <c:v>Soignon</c:v>
                </c:pt>
                <c:pt idx="5">
                  <c:v>St Moret</c:v>
                </c:pt>
                <c:pt idx="6">
                  <c:v>Boursin</c:v>
                </c:pt>
                <c:pt idx="7">
                  <c:v>La Vache Qui Rit</c:v>
                </c:pt>
                <c:pt idx="8">
                  <c:v>Kiri</c:v>
                </c:pt>
                <c:pt idx="9">
                  <c:v>Others</c:v>
                </c:pt>
              </c:strCache>
            </c:strRef>
          </c:cat>
          <c:val>
            <c:numRef>
              <c:f>Sheet1!$B$2:$B$11</c:f>
              <c:numCache>
                <c:formatCode>General</c:formatCode>
                <c:ptCount val="10"/>
                <c:pt idx="0">
                  <c:v>0.5135830745178851</c:v>
                </c:pt>
                <c:pt idx="1">
                  <c:v>0.06939315669060217</c:v>
                </c:pt>
                <c:pt idx="2">
                  <c:v>0.041108535198222274</c:v>
                </c:pt>
                <c:pt idx="3">
                  <c:v>0.02457095727042238</c:v>
                </c:pt>
                <c:pt idx="4">
                  <c:v>0.023521723470025232</c:v>
                </c:pt>
                <c:pt idx="5">
                  <c:v>0.02270022856237245</c:v>
                </c:pt>
                <c:pt idx="6">
                  <c:v>0.014799040335453657</c:v>
                </c:pt>
                <c:pt idx="7">
                  <c:v>0.014036093929895816</c:v>
                </c:pt>
                <c:pt idx="8">
                  <c:v>0.011940298867630946</c:v>
                </c:pt>
                <c:pt idx="9">
                  <c:v>0.26434689115749</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President</c:v>
                </c:pt>
                <c:pt idx="2">
                  <c:v>Entremont</c:v>
                </c:pt>
                <c:pt idx="3">
                  <c:v>Galbani</c:v>
                </c:pt>
                <c:pt idx="4">
                  <c:v>Soignon</c:v>
                </c:pt>
                <c:pt idx="5">
                  <c:v>St Moret</c:v>
                </c:pt>
                <c:pt idx="6">
                  <c:v>Boursin</c:v>
                </c:pt>
                <c:pt idx="7">
                  <c:v>La Vache Qui Rit</c:v>
                </c:pt>
                <c:pt idx="8">
                  <c:v>Kiri</c:v>
                </c:pt>
                <c:pt idx="9">
                  <c:v>Others</c:v>
                </c:pt>
              </c:strCache>
            </c:strRef>
          </c:cat>
          <c:val>
            <c:numRef>
              <c:f>Sheet1!$C$2:$C$11</c:f>
              <c:numCache>
                <c:formatCode>General</c:formatCode>
                <c:ptCount val="10"/>
                <c:pt idx="0">
                  <c:v>0.3587553236010937</c:v>
                </c:pt>
                <c:pt idx="1">
                  <c:v>0.06075675143398746</c:v>
                </c:pt>
                <c:pt idx="2">
                  <c:v>0.044656704660151224</c:v>
                </c:pt>
                <c:pt idx="3">
                  <c:v>0.029295192141995566</c:v>
                </c:pt>
                <c:pt idx="4">
                  <c:v>0.024617808522685355</c:v>
                </c:pt>
                <c:pt idx="5">
                  <c:v>0.02065434135053301</c:v>
                </c:pt>
                <c:pt idx="6">
                  <c:v>0.034440314123236816</c:v>
                </c:pt>
                <c:pt idx="7">
                  <c:v>0.012604317963614902</c:v>
                </c:pt>
                <c:pt idx="8">
                  <c:v>0.01622313581644965</c:v>
                </c:pt>
                <c:pt idx="9">
                  <c:v>0.397996110386254</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President</c:v>
                </c:pt>
                <c:pt idx="2">
                  <c:v>Entremont</c:v>
                </c:pt>
                <c:pt idx="3">
                  <c:v>Galbani</c:v>
                </c:pt>
                <c:pt idx="4">
                  <c:v>Soignon</c:v>
                </c:pt>
                <c:pt idx="5">
                  <c:v>St Moret</c:v>
                </c:pt>
                <c:pt idx="6">
                  <c:v>Boursin</c:v>
                </c:pt>
                <c:pt idx="7">
                  <c:v>La Vache Qui Rit</c:v>
                </c:pt>
                <c:pt idx="8">
                  <c:v>Kiri</c:v>
                </c:pt>
                <c:pt idx="9">
                  <c:v>Others</c:v>
                </c:pt>
              </c:strCache>
            </c:strRef>
          </c:cat>
          <c:val>
            <c:numRef>
              <c:f>Sheet1!$D$2:$D$11</c:f>
              <c:numCache>
                <c:formatCode>General</c:formatCode>
                <c:ptCount val="10"/>
                <c:pt idx="0">
                  <c:v>69.85341639964818</c:v>
                </c:pt>
                <c:pt idx="1">
                  <c:v>87.55438480033244</c:v>
                </c:pt>
                <c:pt idx="2">
                  <c:v>108.63122328445891</c:v>
                </c:pt>
                <c:pt idx="3">
                  <c:v>119.2269060565257</c:v>
                </c:pt>
                <c:pt idx="4">
                  <c:v>104.65988410269729</c:v>
                </c:pt>
                <c:pt idx="5">
                  <c:v>90.98737175170706</c:v>
                </c:pt>
                <c:pt idx="6">
                  <c:v>232.71991522807798</c:v>
                </c:pt>
                <c:pt idx="7">
                  <c:v>89.79932755200976</c:v>
                </c:pt>
                <c:pt idx="8">
                  <c:v>135.86875836440814</c:v>
                </c:pt>
                <c:pt idx="9">
                  <c:v>150.55827161180412</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43</c:f>
              <c:strCache>
                <c:ptCount val="42"/>
                <c:pt idx="0">
                  <c:v>Apericube</c:v>
                </c:pt>
                <c:pt idx="1">
                  <c:v>Apericube</c:v>
                </c:pt>
                <c:pt idx="2">
                  <c:v>Boursin</c:v>
                </c:pt>
                <c:pt idx="3">
                  <c:v>Aperivrais</c:v>
                </c:pt>
                <c:pt idx="4">
                  <c:v>Apericube</c:v>
                </c:pt>
                <c:pt idx="5">
                  <c:v>Apericube</c:v>
                </c:pt>
                <c:pt idx="6">
                  <c:v>Apericube</c:v>
                </c:pt>
                <c:pt idx="7">
                  <c:v>Private Lab</c:v>
                </c:pt>
                <c:pt idx="8">
                  <c:v>Apericube</c:v>
                </c:pt>
                <c:pt idx="9">
                  <c:v>Apericube</c:v>
                </c:pt>
                <c:pt idx="10">
                  <c:v>Private Lab</c:v>
                </c:pt>
                <c:pt idx="11">
                  <c:v>Apericube</c:v>
                </c:pt>
                <c:pt idx="12">
                  <c:v>Apericube</c:v>
                </c:pt>
                <c:pt idx="13">
                  <c:v>St Moret</c:v>
                </c:pt>
                <c:pt idx="14">
                  <c:v>Boursin</c:v>
                </c:pt>
                <c:pt idx="15">
                  <c:v>Aperivrais</c:v>
                </c:pt>
                <c:pt idx="16">
                  <c:v>Aperivrais</c:v>
                </c:pt>
                <c:pt idx="17">
                  <c:v>Apericube</c:v>
                </c:pt>
                <c:pt idx="18">
                  <c:v>Boursin</c:v>
                </c:pt>
                <c:pt idx="19">
                  <c:v>St Moret</c:v>
                </c:pt>
                <c:pt idx="20">
                  <c:v>Aperivrais</c:v>
                </c:pt>
                <c:pt idx="21">
                  <c:v>St Moret</c:v>
                </c:pt>
                <c:pt idx="22">
                  <c:v>Aperivrais</c:v>
                </c:pt>
                <c:pt idx="23">
                  <c:v>St Moret</c:v>
                </c:pt>
                <c:pt idx="24">
                  <c:v>Apericube</c:v>
                </c:pt>
                <c:pt idx="25">
                  <c:v>Apericube</c:v>
                </c:pt>
                <c:pt idx="26">
                  <c:v>Entremont</c:v>
                </c:pt>
                <c:pt idx="27">
                  <c:v>Entremont</c:v>
                </c:pt>
                <c:pt idx="28">
                  <c:v>Apericube</c:v>
                </c:pt>
                <c:pt idx="29">
                  <c:v>Apericube</c:v>
                </c:pt>
                <c:pt idx="30">
                  <c:v>Aperivrais</c:v>
                </c:pt>
                <c:pt idx="31">
                  <c:v>All Others</c:v>
                </c:pt>
                <c:pt idx="32">
                  <c:v>Aperivrais</c:v>
                </c:pt>
                <c:pt idx="33">
                  <c:v>Entremont</c:v>
                </c:pt>
                <c:pt idx="34">
                  <c:v>All Others</c:v>
                </c:pt>
                <c:pt idx="35">
                  <c:v>Apericube</c:v>
                </c:pt>
                <c:pt idx="36">
                  <c:v>Apericube</c:v>
                </c:pt>
                <c:pt idx="37">
                  <c:v>Boursin</c:v>
                </c:pt>
                <c:pt idx="38">
                  <c:v>Boursin</c:v>
                </c:pt>
                <c:pt idx="39">
                  <c:v>Aperivrais</c:v>
                </c:pt>
                <c:pt idx="40">
                  <c:v>All Others</c:v>
                </c:pt>
                <c:pt idx="41">
                  <c:v>Ambrosi</c:v>
                </c:pt>
              </c:strCache>
            </c:strRef>
          </c:cat>
          <c:val>
            <c:numRef>
              <c:f>Sheet1!$B$2:$B$43</c:f>
              <c:numCache>
                <c:formatCode>General</c:formatCode>
                <c:ptCount val="42"/>
                <c:pt idx="0">
                  <c:v>0.75</c:v>
                </c:pt>
                <c:pt idx="1">
                  <c:v>0.82</c:v>
                </c:pt>
                <c:pt idx="2">
                  <c:v>0.85</c:v>
                </c:pt>
                <c:pt idx="3">
                  <c:v>0.9</c:v>
                </c:pt>
                <c:pt idx="4">
                  <c:v>0.71</c:v>
                </c:pt>
                <c:pt idx="5">
                  <c:v>0.7</c:v>
                </c:pt>
                <c:pt idx="6">
                  <c:v>0.71</c:v>
                </c:pt>
                <c:pt idx="7">
                  <c:v>0.5</c:v>
                </c:pt>
                <c:pt idx="8">
                  <c:v>0.75</c:v>
                </c:pt>
                <c:pt idx="9">
                  <c:v>0.46</c:v>
                </c:pt>
                <c:pt idx="10">
                  <c:v>0.75</c:v>
                </c:pt>
                <c:pt idx="11">
                  <c:v>0.45</c:v>
                </c:pt>
                <c:pt idx="12">
                  <c:v>0.41</c:v>
                </c:pt>
                <c:pt idx="13">
                  <c:v>0.69</c:v>
                </c:pt>
                <c:pt idx="14">
                  <c:v>0.56</c:v>
                </c:pt>
                <c:pt idx="15">
                  <c:v>0.74</c:v>
                </c:pt>
                <c:pt idx="16">
                  <c:v>0.78</c:v>
                </c:pt>
                <c:pt idx="17">
                  <c:v>0.45</c:v>
                </c:pt>
                <c:pt idx="18">
                  <c:v>0.57</c:v>
                </c:pt>
                <c:pt idx="19">
                  <c:v>0.45</c:v>
                </c:pt>
                <c:pt idx="20">
                  <c:v>0.55</c:v>
                </c:pt>
                <c:pt idx="21">
                  <c:v>0.52</c:v>
                </c:pt>
                <c:pt idx="22">
                  <c:v>0.53</c:v>
                </c:pt>
                <c:pt idx="23">
                  <c:v>0.53</c:v>
                </c:pt>
                <c:pt idx="24">
                  <c:v>0.37</c:v>
                </c:pt>
                <c:pt idx="25">
                  <c:v>0.33</c:v>
                </c:pt>
                <c:pt idx="26">
                  <c:v>0.36</c:v>
                </c:pt>
                <c:pt idx="27">
                  <c:v>0.3</c:v>
                </c:pt>
                <c:pt idx="28">
                  <c:v>0.4</c:v>
                </c:pt>
                <c:pt idx="29">
                  <c:v>0.16</c:v>
                </c:pt>
                <c:pt idx="30">
                  <c:v>0.59</c:v>
                </c:pt>
                <c:pt idx="31">
                  <c:v>0.02</c:v>
                </c:pt>
                <c:pt idx="32">
                  <c:v>0.05</c:v>
                </c:pt>
                <c:pt idx="33">
                  <c:v>0.24</c:v>
                </c:pt>
                <c:pt idx="34">
                  <c:v>0.02</c:v>
                </c:pt>
                <c:pt idx="35">
                  <c:v>0.09</c:v>
                </c:pt>
                <c:pt idx="36">
                  <c:v>0.07</c:v>
                </c:pt>
                <c:pt idx="37">
                  <c:v>0.18</c:v>
                </c:pt>
                <c:pt idx="38">
                  <c:v>0.17</c:v>
                </c:pt>
                <c:pt idx="39">
                  <c:v>0.05</c:v>
                </c:pt>
                <c:pt idx="40">
                  <c:v>0.01</c:v>
                </c:pt>
                <c:pt idx="41">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Item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7ECAC4"/>
              </a:solidFill>
            </c:spPr>
            <c:extLst>
              <c:ext xmlns:c16="http://schemas.microsoft.com/office/drawing/2014/chart" uri="{C3380CC4-5D6E-409C-BE32-E72D297353CC}">
                <c16:uniqueId val="{00000057-2993-41DE-A2CB-63102DE87051}"/>
              </c:ext>
            </c:extLst>
          </c:dPt>
          <c:dPt>
            <c:idx val="16"/>
            <c:invertIfNegative val="1"/>
            <c:bubble3D val="0"/>
            <c:spPr>
              <a:solidFill>
                <a:srgbClr val="7ECAC4"/>
              </a:solidFill>
            </c:spPr>
            <c:extLst>
              <c:ext xmlns:c16="http://schemas.microsoft.com/office/drawing/2014/chart" uri="{C3380CC4-5D6E-409C-BE32-E72D297353CC}">
                <c16:uniqueId val="{00000059-2993-41DE-A2CB-63102DE87051}"/>
              </c:ext>
            </c:extLst>
          </c:dPt>
          <c:dPt>
            <c:idx val="17"/>
            <c:invertIfNegative val="1"/>
            <c:bubble3D val="0"/>
            <c:spPr>
              <a:solidFill>
                <a:srgbClr val="7ECAC4"/>
              </a:solidFill>
            </c:spPr>
            <c:extLst>
              <c:ext xmlns:c16="http://schemas.microsoft.com/office/drawing/2014/chart" uri="{C3380CC4-5D6E-409C-BE32-E72D297353CC}">
                <c16:uniqueId val="{0000005B-2993-41DE-A2CB-63102DE87051}"/>
              </c:ext>
            </c:extLst>
          </c:dPt>
          <c:dPt>
            <c:idx val="18"/>
            <c:invertIfNegative val="1"/>
            <c:bubble3D val="0"/>
            <c:spPr>
              <a:solidFill>
                <a:srgbClr val="7ECAC4"/>
              </a:solidFill>
            </c:spPr>
            <c:extLst>
              <c:ext xmlns:c16="http://schemas.microsoft.com/office/drawing/2014/chart" uri="{C3380CC4-5D6E-409C-BE32-E72D297353CC}">
                <c16:uniqueId val="{0000005D-2993-41DE-A2CB-63102DE87051}"/>
              </c:ext>
            </c:extLst>
          </c:dPt>
          <c:dPt>
            <c:idx val="19"/>
            <c:invertIfNegative val="1"/>
            <c:bubble3D val="0"/>
            <c:spPr>
              <a:solidFill>
                <a:srgbClr val="7ECAC4"/>
              </a:solidFill>
            </c:spPr>
            <c:extLst>
              <c:ext xmlns:c16="http://schemas.microsoft.com/office/drawing/2014/chart" uri="{C3380CC4-5D6E-409C-BE32-E72D297353CC}">
                <c16:uniqueId val="{0000005F-2993-41DE-A2CB-63102DE87051}"/>
              </c:ext>
            </c:extLst>
          </c:dPt>
          <c:dPt>
            <c:idx val="20"/>
            <c:invertIfNegative val="1"/>
            <c:bubble3D val="0"/>
            <c:spPr>
              <a:solidFill>
                <a:srgbClr val="7ECAC4"/>
              </a:solidFill>
            </c:spPr>
            <c:extLst>
              <c:ext xmlns:c16="http://schemas.microsoft.com/office/drawing/2014/chart" uri="{C3380CC4-5D6E-409C-BE32-E72D297353CC}">
                <c16:uniqueId val="{00000061-2993-41DE-A2CB-63102DE87051}"/>
              </c:ext>
            </c:extLst>
          </c:dPt>
          <c:dPt>
            <c:idx val="21"/>
            <c:invertIfNegative val="1"/>
            <c:bubble3D val="0"/>
            <c:spPr>
              <a:solidFill>
                <a:srgbClr val="7ECAC4"/>
              </a:solidFill>
            </c:spPr>
            <c:extLst>
              <c:ext xmlns:c16="http://schemas.microsoft.com/office/drawing/2014/chart" uri="{C3380CC4-5D6E-409C-BE32-E72D297353CC}">
                <c16:uniqueId val="{00000063-2993-41DE-A2CB-63102DE87051}"/>
              </c:ext>
            </c:extLst>
          </c:dPt>
          <c:dPt>
            <c:idx val="22"/>
            <c:invertIfNegative val="1"/>
            <c:bubble3D val="0"/>
            <c:spPr>
              <a:solidFill>
                <a:srgbClr val="AEABAB"/>
              </a:solidFill>
            </c:spPr>
            <c:extLst>
              <c:ext xmlns:c16="http://schemas.microsoft.com/office/drawing/2014/chart" uri="{C3380CC4-5D6E-409C-BE32-E72D297353CC}">
                <c16:uniqueId val="{00000065-2993-41DE-A2CB-63102DE87051}"/>
              </c:ext>
            </c:extLst>
          </c:dPt>
          <c:dPt>
            <c:idx val="23"/>
            <c:invertIfNegative val="1"/>
            <c:bubble3D val="0"/>
            <c:spPr>
              <a:solidFill>
                <a:srgbClr val="AEABAB"/>
              </a:solidFill>
            </c:spPr>
            <c:extLst>
              <c:ext xmlns:c16="http://schemas.microsoft.com/office/drawing/2014/chart" uri="{C3380CC4-5D6E-409C-BE32-E72D297353CC}">
                <c16:uniqueId val="{00000067-2993-41DE-A2CB-63102DE87051}"/>
              </c:ext>
            </c:extLst>
          </c:dPt>
          <c:dPt>
            <c:idx val="24"/>
            <c:invertIfNegative val="1"/>
            <c:bubble3D val="0"/>
            <c:spPr>
              <a:solidFill>
                <a:srgbClr val="AEABAB"/>
              </a:solidFill>
            </c:spPr>
            <c:extLst>
              <c:ext xmlns:c16="http://schemas.microsoft.com/office/drawing/2014/chart" uri="{C3380CC4-5D6E-409C-BE32-E72D297353CC}">
                <c16:uniqueId val="{00000069-2993-41DE-A2CB-63102DE87051}"/>
              </c:ext>
            </c:extLst>
          </c:dPt>
          <c:dPt>
            <c:idx val="25"/>
            <c:invertIfNegative val="1"/>
            <c:bubble3D val="0"/>
            <c:spPr>
              <a:solidFill>
                <a:srgbClr val="AEABAB"/>
              </a:solidFill>
            </c:spPr>
            <c:extLst>
              <c:ext xmlns:c16="http://schemas.microsoft.com/office/drawing/2014/chart" uri="{C3380CC4-5D6E-409C-BE32-E72D297353CC}">
                <c16:uniqueId val="{0000006B-2993-41DE-A2CB-63102DE87051}"/>
              </c:ext>
            </c:extLst>
          </c:dPt>
          <c:dPt>
            <c:idx val="26"/>
            <c:invertIfNegative val="1"/>
            <c:bubble3D val="0"/>
            <c:spPr>
              <a:solidFill>
                <a:srgbClr val="AEABAB"/>
              </a:solidFill>
            </c:spPr>
            <c:extLst>
              <c:ext xmlns:c16="http://schemas.microsoft.com/office/drawing/2014/chart" uri="{C3380CC4-5D6E-409C-BE32-E72D297353CC}">
                <c16:uniqueId val="{0000006D-2993-41DE-A2CB-63102DE87051}"/>
              </c:ext>
            </c:extLst>
          </c:dPt>
          <c:dPt>
            <c:idx val="27"/>
            <c:invertIfNegative val="1"/>
            <c:bubble3D val="0"/>
            <c:spPr>
              <a:solidFill>
                <a:srgbClr val="AEABAB"/>
              </a:solidFill>
            </c:spPr>
            <c:extLst>
              <c:ext xmlns:c16="http://schemas.microsoft.com/office/drawing/2014/chart" uri="{C3380CC4-5D6E-409C-BE32-E72D297353CC}">
                <c16:uniqueId val="{0000006F-2993-41DE-A2CB-63102DE87051}"/>
              </c:ext>
            </c:extLst>
          </c:dPt>
          <c:dPt>
            <c:idx val="28"/>
            <c:invertIfNegative val="1"/>
            <c:bubble3D val="0"/>
            <c:spPr>
              <a:solidFill>
                <a:srgbClr val="AEABAB"/>
              </a:solidFill>
            </c:spPr>
            <c:extLst>
              <c:ext xmlns:c16="http://schemas.microsoft.com/office/drawing/2014/chart" uri="{C3380CC4-5D6E-409C-BE32-E72D297353CC}">
                <c16:uniqueId val="{00000071-2993-41DE-A2CB-63102DE87051}"/>
              </c:ext>
            </c:extLst>
          </c:dPt>
          <c:dPt>
            <c:idx val="29"/>
            <c:invertIfNegative val="1"/>
            <c:bubble3D val="0"/>
            <c:spPr>
              <a:solidFill>
                <a:srgbClr val="AEABAB"/>
              </a:solidFill>
            </c:spPr>
            <c:extLst>
              <c:ext xmlns:c16="http://schemas.microsoft.com/office/drawing/2014/chart" uri="{C3380CC4-5D6E-409C-BE32-E72D297353CC}">
                <c16:uniqueId val="{00000073-2993-41DE-A2CB-63102DE87051}"/>
              </c:ext>
            </c:extLst>
          </c:dPt>
          <c:dPt>
            <c:idx val="30"/>
            <c:invertIfNegative val="1"/>
            <c:bubble3D val="0"/>
            <c:spPr>
              <a:solidFill>
                <a:srgbClr val="AEABAB"/>
              </a:solidFill>
            </c:spPr>
            <c:extLst>
              <c:ext xmlns:c16="http://schemas.microsoft.com/office/drawing/2014/chart" uri="{C3380CC4-5D6E-409C-BE32-E72D297353CC}">
                <c16:uniqueId val="{00000075-2993-41DE-A2CB-63102DE87051}"/>
              </c:ext>
            </c:extLst>
          </c:dPt>
          <c:dPt>
            <c:idx val="31"/>
            <c:invertIfNegative val="1"/>
            <c:bubble3D val="0"/>
            <c:spPr>
              <a:solidFill>
                <a:srgbClr val="AEABAB"/>
              </a:solidFill>
            </c:spPr>
            <c:extLst>
              <c:ext xmlns:c16="http://schemas.microsoft.com/office/drawing/2014/chart" uri="{C3380CC4-5D6E-409C-BE32-E72D297353CC}">
                <c16:uniqueId val="{00000077-2993-41DE-A2CB-63102DE87051}"/>
              </c:ext>
            </c:extLst>
          </c:dPt>
          <c:dPt>
            <c:idx val="32"/>
            <c:invertIfNegative val="1"/>
            <c:bubble3D val="0"/>
            <c:spPr>
              <a:solidFill>
                <a:srgbClr val="AEABAB"/>
              </a:solidFill>
            </c:spPr>
            <c:extLst>
              <c:ext xmlns:c16="http://schemas.microsoft.com/office/drawing/2014/chart" uri="{C3380CC4-5D6E-409C-BE32-E72D297353CC}">
                <c16:uniqueId val="{00000079-2993-41DE-A2CB-63102DE87051}"/>
              </c:ext>
            </c:extLst>
          </c:dPt>
          <c:dPt>
            <c:idx val="33"/>
            <c:invertIfNegative val="1"/>
            <c:bubble3D val="0"/>
            <c:spPr>
              <a:solidFill>
                <a:srgbClr val="AEABAB"/>
              </a:solidFill>
            </c:spPr>
            <c:extLst>
              <c:ext xmlns:c16="http://schemas.microsoft.com/office/drawing/2014/chart" uri="{C3380CC4-5D6E-409C-BE32-E72D297353CC}">
                <c16:uniqueId val="{0000007B-2993-41DE-A2CB-63102DE87051}"/>
              </c:ext>
            </c:extLst>
          </c:dPt>
          <c:dPt>
            <c:idx val="34"/>
            <c:invertIfNegative val="1"/>
            <c:bubble3D val="0"/>
            <c:spPr>
              <a:solidFill>
                <a:srgbClr val="AEABAB"/>
              </a:solidFill>
            </c:spPr>
            <c:extLst>
              <c:ext xmlns:c16="http://schemas.microsoft.com/office/drawing/2014/chart" uri="{C3380CC4-5D6E-409C-BE32-E72D297353CC}">
                <c16:uniqueId val="{0000007D-2993-41DE-A2CB-63102DE87051}"/>
              </c:ext>
            </c:extLst>
          </c:dPt>
          <c:dPt>
            <c:idx val="35"/>
            <c:invertIfNegative val="1"/>
            <c:bubble3D val="0"/>
            <c:spPr>
              <a:solidFill>
                <a:srgbClr val="AEABAB"/>
              </a:solidFill>
            </c:spPr>
            <c:extLst>
              <c:ext xmlns:c16="http://schemas.microsoft.com/office/drawing/2014/chart" uri="{C3380CC4-5D6E-409C-BE32-E72D297353CC}">
                <c16:uniqueId val="{0000007F-2993-41DE-A2CB-63102DE87051}"/>
              </c:ext>
            </c:extLst>
          </c:dPt>
          <c:dPt>
            <c:idx val="36"/>
            <c:invertIfNegative val="1"/>
            <c:bubble3D val="0"/>
            <c:spPr>
              <a:solidFill>
                <a:srgbClr val="AEABAB"/>
              </a:solidFill>
            </c:spPr>
            <c:extLst>
              <c:ext xmlns:c16="http://schemas.microsoft.com/office/drawing/2014/chart" uri="{C3380CC4-5D6E-409C-BE32-E72D297353CC}">
                <c16:uniqueId val="{00000081-2993-41DE-A2CB-63102DE87051}"/>
              </c:ext>
            </c:extLst>
          </c:dPt>
          <c:dPt>
            <c:idx val="37"/>
            <c:invertIfNegative val="1"/>
            <c:bubble3D val="0"/>
            <c:spPr>
              <a:solidFill>
                <a:srgbClr val="AEABAB"/>
              </a:solidFill>
            </c:spPr>
            <c:extLst>
              <c:ext xmlns:c16="http://schemas.microsoft.com/office/drawing/2014/chart" uri="{C3380CC4-5D6E-409C-BE32-E72D297353CC}">
                <c16:uniqueId val="{00000083-2993-41DE-A2CB-63102DE87051}"/>
              </c:ext>
            </c:extLst>
          </c:dPt>
          <c:dPt>
            <c:idx val="38"/>
            <c:invertIfNegative val="1"/>
            <c:bubble3D val="0"/>
            <c:spPr>
              <a:solidFill>
                <a:srgbClr val="AEABAB"/>
              </a:solidFill>
            </c:spPr>
            <c:extLst>
              <c:ext xmlns:c16="http://schemas.microsoft.com/office/drawing/2014/chart" uri="{C3380CC4-5D6E-409C-BE32-E72D297353CC}">
                <c16:uniqueId val="{00000085-2993-41DE-A2CB-63102DE87051}"/>
              </c:ext>
            </c:extLst>
          </c:dPt>
          <c:dPt>
            <c:idx val="39"/>
            <c:invertIfNegative val="1"/>
            <c:bubble3D val="0"/>
            <c:spPr>
              <a:solidFill>
                <a:srgbClr val="AEABAB"/>
              </a:solidFill>
            </c:spPr>
            <c:extLst>
              <c:ext xmlns:c16="http://schemas.microsoft.com/office/drawing/2014/chart" uri="{C3380CC4-5D6E-409C-BE32-E72D297353CC}">
                <c16:uniqueId val="{00000087-2993-41DE-A2CB-63102DE87051}"/>
              </c:ext>
            </c:extLst>
          </c:dPt>
          <c:dPt>
            <c:idx val="40"/>
            <c:invertIfNegative val="1"/>
            <c:bubble3D val="0"/>
            <c:spPr>
              <a:solidFill>
                <a:srgbClr val="AEABAB"/>
              </a:solidFill>
            </c:spPr>
            <c:extLst>
              <c:ext xmlns:c16="http://schemas.microsoft.com/office/drawing/2014/chart" uri="{C3380CC4-5D6E-409C-BE32-E72D297353CC}">
                <c16:uniqueId val="{00000089-2993-41DE-A2CB-63102DE87051}"/>
              </c:ext>
            </c:extLst>
          </c:dPt>
          <c:dPt>
            <c:idx val="41"/>
            <c:invertIfNegative val="1"/>
            <c:bubble3D val="0"/>
            <c:spPr>
              <a:solidFill>
                <a:srgbClr val="AEABAB"/>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43</c:f>
              <c:strCache>
                <c:ptCount val="42"/>
                <c:pt idx="0">
                  <c:v>Apericube</c:v>
                </c:pt>
                <c:pt idx="1">
                  <c:v>Apericube</c:v>
                </c:pt>
                <c:pt idx="2">
                  <c:v>Boursin</c:v>
                </c:pt>
                <c:pt idx="3">
                  <c:v>Aperivrais</c:v>
                </c:pt>
                <c:pt idx="4">
                  <c:v>Apericube</c:v>
                </c:pt>
                <c:pt idx="5">
                  <c:v>Apericube</c:v>
                </c:pt>
                <c:pt idx="6">
                  <c:v>Apericube</c:v>
                </c:pt>
                <c:pt idx="7">
                  <c:v>Private Lab</c:v>
                </c:pt>
                <c:pt idx="8">
                  <c:v>Apericube</c:v>
                </c:pt>
                <c:pt idx="9">
                  <c:v>Apericube</c:v>
                </c:pt>
                <c:pt idx="10">
                  <c:v>Private Lab</c:v>
                </c:pt>
                <c:pt idx="11">
                  <c:v>Apericube</c:v>
                </c:pt>
                <c:pt idx="12">
                  <c:v>Apericube</c:v>
                </c:pt>
                <c:pt idx="13">
                  <c:v>St Moret</c:v>
                </c:pt>
                <c:pt idx="14">
                  <c:v>Boursin</c:v>
                </c:pt>
                <c:pt idx="15">
                  <c:v>Aperivrais</c:v>
                </c:pt>
                <c:pt idx="16">
                  <c:v>Aperivrais</c:v>
                </c:pt>
                <c:pt idx="17">
                  <c:v>Apericube</c:v>
                </c:pt>
                <c:pt idx="18">
                  <c:v>Boursin</c:v>
                </c:pt>
                <c:pt idx="19">
                  <c:v>St Moret</c:v>
                </c:pt>
                <c:pt idx="20">
                  <c:v>Aperivrais</c:v>
                </c:pt>
                <c:pt idx="21">
                  <c:v>St Moret</c:v>
                </c:pt>
                <c:pt idx="22">
                  <c:v>Aperivrais</c:v>
                </c:pt>
                <c:pt idx="23">
                  <c:v>St Moret</c:v>
                </c:pt>
                <c:pt idx="24">
                  <c:v>Apericube</c:v>
                </c:pt>
                <c:pt idx="25">
                  <c:v>Apericube</c:v>
                </c:pt>
                <c:pt idx="26">
                  <c:v>Entremont</c:v>
                </c:pt>
                <c:pt idx="27">
                  <c:v>Entremont</c:v>
                </c:pt>
                <c:pt idx="28">
                  <c:v>Apericube</c:v>
                </c:pt>
                <c:pt idx="29">
                  <c:v>Apericube</c:v>
                </c:pt>
                <c:pt idx="30">
                  <c:v>Aperivrais</c:v>
                </c:pt>
                <c:pt idx="31">
                  <c:v>All Others</c:v>
                </c:pt>
                <c:pt idx="32">
                  <c:v>Aperivrais</c:v>
                </c:pt>
                <c:pt idx="33">
                  <c:v>Entremont</c:v>
                </c:pt>
                <c:pt idx="34">
                  <c:v>All Others</c:v>
                </c:pt>
                <c:pt idx="35">
                  <c:v>Apericube</c:v>
                </c:pt>
                <c:pt idx="36">
                  <c:v>Apericube</c:v>
                </c:pt>
                <c:pt idx="37">
                  <c:v>Boursin</c:v>
                </c:pt>
                <c:pt idx="38">
                  <c:v>Boursin</c:v>
                </c:pt>
                <c:pt idx="39">
                  <c:v>Aperivrais</c:v>
                </c:pt>
                <c:pt idx="40">
                  <c:v>All Others</c:v>
                </c:pt>
                <c:pt idx="41">
                  <c:v>Ambrosi</c:v>
                </c:pt>
              </c:strCache>
            </c:strRef>
          </c:cat>
          <c:val>
            <c:numRef>
              <c:f>Sheet1!$C$2:$C$43</c:f>
              <c:numCache>
                <c:formatCode>General</c:formatCode>
                <c:ptCount val="42"/>
                <c:pt idx="0">
                  <c:v>0.11075896459001194</c:v>
                </c:pt>
                <c:pt idx="1">
                  <c:v>0.20726628609932835</c:v>
                </c:pt>
                <c:pt idx="2">
                  <c:v>0.2862943828108871</c:v>
                </c:pt>
                <c:pt idx="3">
                  <c:v>0.3558582207231455</c:v>
                </c:pt>
                <c:pt idx="4">
                  <c:v>0.4205852774396693</c:v>
                </c:pt>
                <c:pt idx="5">
                  <c:v>0.4778356678652807</c:v>
                </c:pt>
                <c:pt idx="6">
                  <c:v>0.5271667196522457</c:v>
                </c:pt>
                <c:pt idx="7">
                  <c:v>0.5761307776974198</c:v>
                </c:pt>
                <c:pt idx="8">
                  <c:v>0.6199391911318606</c:v>
                </c:pt>
                <c:pt idx="9">
                  <c:v>0.6562107753668986</c:v>
                </c:pt>
                <c:pt idx="10">
                  <c:v>0.6916426120581667</c:v>
                </c:pt>
                <c:pt idx="11">
                  <c:v>0.7252255475774613</c:v>
                </c:pt>
                <c:pt idx="12">
                  <c:v>0.7582698667423241</c:v>
                </c:pt>
                <c:pt idx="13">
                  <c:v>0.7903778610629455</c:v>
                </c:pt>
                <c:pt idx="14">
                  <c:v>0.8212202177770628</c:v>
                </c:pt>
                <c:pt idx="15">
                  <c:v>0.8516699323515591</c:v>
                </c:pt>
                <c:pt idx="16">
                  <c:v>0.8792020625111617</c:v>
                </c:pt>
                <c:pt idx="17">
                  <c:v>0.8973383295990109</c:v>
                </c:pt>
                <c:pt idx="18">
                  <c:v>0.9125009657730047</c:v>
                </c:pt>
                <c:pt idx="19">
                  <c:v>0.9248869253967268</c:v>
                </c:pt>
                <c:pt idx="20">
                  <c:v>0.9363891235594148</c:v>
                </c:pt>
                <c:pt idx="21">
                  <c:v>0.9478213427601221</c:v>
                </c:pt>
                <c:pt idx="22">
                  <c:v>0.9566117769843309</c:v>
                </c:pt>
                <c:pt idx="23">
                  <c:v>0.9642762148791104</c:v>
                </c:pt>
                <c:pt idx="24">
                  <c:v>0.9717582641670982</c:v>
                </c:pt>
                <c:pt idx="25">
                  <c:v>0.9775570186049043</c:v>
                </c:pt>
                <c:pt idx="26">
                  <c:v>0.9808140484824379</c:v>
                </c:pt>
                <c:pt idx="27">
                  <c:v>0.9840511296061037</c:v>
                </c:pt>
                <c:pt idx="28">
                  <c:v>0.9865890544037347</c:v>
                </c:pt>
                <c:pt idx="29">
                  <c:v>0.9889246418407062</c:v>
                </c:pt>
                <c:pt idx="30">
                  <c:v>0.9908675871380566</c:v>
                </c:pt>
                <c:pt idx="31">
                  <c:v>0.9925075013647479</c:v>
                </c:pt>
                <c:pt idx="32">
                  <c:v>0.9937490738078559</c:v>
                </c:pt>
                <c:pt idx="33">
                  <c:v>0.9949839966663414</c:v>
                </c:pt>
                <c:pt idx="34">
                  <c:v>0.9961901046581288</c:v>
                </c:pt>
                <c:pt idx="35">
                  <c:v>0.9971112304518043</c:v>
                </c:pt>
                <c:pt idx="36">
                  <c:v>0.9979525612300083</c:v>
                </c:pt>
                <c:pt idx="37">
                  <c:v>0.9987739432543445</c:v>
                </c:pt>
                <c:pt idx="38">
                  <c:v>0.9995399120734924</c:v>
                </c:pt>
                <c:pt idx="39">
                  <c:v>0.9999411036790568</c:v>
                </c:pt>
                <c:pt idx="40">
                  <c:v>0.9999648521955661</c:v>
                </c:pt>
                <c:pt idx="41">
                  <c:v>0.9999803678930188</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144</c:f>
              <c:strCache>
                <c:ptCount val="143"/>
                <c:pt idx="0">
                  <c:v>Private Lab</c:v>
                </c:pt>
                <c:pt idx="1">
                  <c:v>President</c:v>
                </c:pt>
                <c:pt idx="2">
                  <c:v>Private Lab</c:v>
                </c:pt>
                <c:pt idx="3">
                  <c:v>Private Lab</c:v>
                </c:pt>
                <c:pt idx="4">
                  <c:v>President</c:v>
                </c:pt>
                <c:pt idx="5">
                  <c:v>Private Lab</c:v>
                </c:pt>
                <c:pt idx="6">
                  <c:v>La Vache Qu</c:v>
                </c:pt>
                <c:pt idx="7">
                  <c:v>La Vache Qu</c:v>
                </c:pt>
                <c:pt idx="8">
                  <c:v>Private Lab</c:v>
                </c:pt>
                <c:pt idx="9">
                  <c:v>President</c:v>
                </c:pt>
                <c:pt idx="10">
                  <c:v>Private Lab</c:v>
                </c:pt>
                <c:pt idx="11">
                  <c:v>Boursin</c:v>
                </c:pt>
                <c:pt idx="12">
                  <c:v>President</c:v>
                </c:pt>
                <c:pt idx="13">
                  <c:v>President</c:v>
                </c:pt>
                <c:pt idx="14">
                  <c:v>Private Lab</c:v>
                </c:pt>
                <c:pt idx="15">
                  <c:v>La Belle Et</c:v>
                </c:pt>
                <c:pt idx="16">
                  <c:v>Private Lab</c:v>
                </c:pt>
                <c:pt idx="17">
                  <c:v>Private Lab</c:v>
                </c:pt>
                <c:pt idx="18">
                  <c:v>La Belle Et</c:v>
                </c:pt>
                <c:pt idx="19">
                  <c:v>Fauquet</c:v>
                </c:pt>
                <c:pt idx="20">
                  <c:v>La Belle Et</c:v>
                </c:pt>
                <c:pt idx="21">
                  <c:v>President</c:v>
                </c:pt>
                <c:pt idx="22">
                  <c:v>La Belle Et</c:v>
                </c:pt>
                <c:pt idx="23">
                  <c:v>Leerdammer</c:v>
                </c:pt>
                <c:pt idx="24">
                  <c:v>All Others</c:v>
                </c:pt>
                <c:pt idx="25">
                  <c:v>All Others</c:v>
                </c:pt>
                <c:pt idx="26">
                  <c:v>Leerdammer</c:v>
                </c:pt>
                <c:pt idx="27">
                  <c:v>All Others</c:v>
                </c:pt>
                <c:pt idx="28">
                  <c:v>La Belle Et</c:v>
                </c:pt>
                <c:pt idx="29">
                  <c:v>Raguin</c:v>
                </c:pt>
                <c:pt idx="30">
                  <c:v>La Vache Qu</c:v>
                </c:pt>
                <c:pt idx="31">
                  <c:v>All Others</c:v>
                </c:pt>
                <c:pt idx="32">
                  <c:v>Raguin</c:v>
                </c:pt>
                <c:pt idx="33">
                  <c:v>All Others</c:v>
                </c:pt>
                <c:pt idx="34">
                  <c:v>All Others</c:v>
                </c:pt>
                <c:pt idx="35">
                  <c:v>Raguin</c:v>
                </c:pt>
                <c:pt idx="36">
                  <c:v>La Vache Qu</c:v>
                </c:pt>
                <c:pt idx="37">
                  <c:v>Raguin</c:v>
                </c:pt>
                <c:pt idx="38">
                  <c:v>La Vache Qu</c:v>
                </c:pt>
                <c:pt idx="39">
                  <c:v>Milleret: A</c:v>
                </c:pt>
                <c:pt idx="40">
                  <c:v>La Belle Et</c:v>
                </c:pt>
                <c:pt idx="41">
                  <c:v>La Belle Et</c:v>
                </c:pt>
                <c:pt idx="42">
                  <c:v>All Others</c:v>
                </c:pt>
                <c:pt idx="43">
                  <c:v>La Belle Et</c:v>
                </c:pt>
                <c:pt idx="44">
                  <c:v>La Belle Et</c:v>
                </c:pt>
                <c:pt idx="45">
                  <c:v>La Belle Et</c:v>
                </c:pt>
                <c:pt idx="46">
                  <c:v>Milleret: A</c:v>
                </c:pt>
                <c:pt idx="47">
                  <c:v>La Belle Et</c:v>
                </c:pt>
                <c:pt idx="48">
                  <c:v>La Belle Et</c:v>
                </c:pt>
                <c:pt idx="49">
                  <c:v>La Belle Et</c:v>
                </c:pt>
                <c:pt idx="50">
                  <c:v>Milleret: A</c:v>
                </c:pt>
                <c:pt idx="51">
                  <c:v>La Belle Et</c:v>
                </c:pt>
                <c:pt idx="52">
                  <c:v>Milleret: A</c:v>
                </c:pt>
                <c:pt idx="53">
                  <c:v>All Others</c:v>
                </c:pt>
                <c:pt idx="54">
                  <c:v>All Others</c:v>
                </c:pt>
                <c:pt idx="55">
                  <c:v>La Belle Et</c:v>
                </c:pt>
                <c:pt idx="56">
                  <c:v>All Others</c:v>
                </c:pt>
                <c:pt idx="57">
                  <c:v>All Others</c:v>
                </c:pt>
                <c:pt idx="58">
                  <c:v>All Others</c:v>
                </c:pt>
                <c:pt idx="59">
                  <c:v>All Others</c:v>
                </c:pt>
                <c:pt idx="60">
                  <c:v>La Belle Et</c:v>
                </c:pt>
                <c:pt idx="61">
                  <c:v>La Belle Et</c:v>
                </c:pt>
                <c:pt idx="62">
                  <c:v>La Belle Et</c:v>
                </c:pt>
                <c:pt idx="63">
                  <c:v>Milleret: A</c:v>
                </c:pt>
                <c:pt idx="64">
                  <c:v>Raguin</c:v>
                </c:pt>
                <c:pt idx="65">
                  <c:v>Milleret: A</c:v>
                </c:pt>
                <c:pt idx="66">
                  <c:v>Raguin</c:v>
                </c:pt>
                <c:pt idx="67">
                  <c:v>All Others</c:v>
                </c:pt>
                <c:pt idx="68">
                  <c:v>President</c:v>
                </c:pt>
                <c:pt idx="69">
                  <c:v>Raguin</c:v>
                </c:pt>
                <c:pt idx="70">
                  <c:v>Richesmonts</c:v>
                </c:pt>
                <c:pt idx="71">
                  <c:v>Milleret: A</c:v>
                </c:pt>
                <c:pt idx="72">
                  <c:v>Raguin</c:v>
                </c:pt>
                <c:pt idx="73">
                  <c:v>La Belle Et</c:v>
                </c:pt>
                <c:pt idx="74">
                  <c:v>All Others</c:v>
                </c:pt>
                <c:pt idx="75">
                  <c:v>La Belle Et</c:v>
                </c:pt>
                <c:pt idx="76">
                  <c:v>All Others</c:v>
                </c:pt>
                <c:pt idx="77">
                  <c:v>All Others</c:v>
                </c:pt>
                <c:pt idx="78">
                  <c:v>Richesmonts</c:v>
                </c:pt>
                <c:pt idx="79">
                  <c:v>All Others</c:v>
                </c:pt>
                <c:pt idx="80">
                  <c:v>Raguin</c:v>
                </c:pt>
                <c:pt idx="81">
                  <c:v>All Others</c:v>
                </c:pt>
                <c:pt idx="82">
                  <c:v>Raguin</c:v>
                </c:pt>
                <c:pt idx="83">
                  <c:v>All Others</c:v>
                </c:pt>
                <c:pt idx="84">
                  <c:v>Raguin</c:v>
                </c:pt>
                <c:pt idx="85">
                  <c:v>All Others</c:v>
                </c:pt>
                <c:pt idx="86">
                  <c:v>All Others</c:v>
                </c:pt>
                <c:pt idx="87">
                  <c:v>Raguin</c:v>
                </c:pt>
                <c:pt idx="88">
                  <c:v>All Others</c:v>
                </c:pt>
                <c:pt idx="89">
                  <c:v>All Others</c:v>
                </c:pt>
                <c:pt idx="90">
                  <c:v>All Others</c:v>
                </c:pt>
                <c:pt idx="91">
                  <c:v>All Others</c:v>
                </c:pt>
                <c:pt idx="92">
                  <c:v>Raguin</c:v>
                </c:pt>
                <c:pt idx="93">
                  <c:v>All Others</c:v>
                </c:pt>
                <c:pt idx="94">
                  <c:v>All Others</c:v>
                </c:pt>
                <c:pt idx="95">
                  <c:v>All Others</c:v>
                </c:pt>
                <c:pt idx="96">
                  <c:v>All Others</c:v>
                </c:pt>
                <c:pt idx="97">
                  <c:v>All Others</c:v>
                </c:pt>
                <c:pt idx="98">
                  <c:v>All Others</c:v>
                </c:pt>
                <c:pt idx="99">
                  <c:v>All Others</c:v>
                </c:pt>
                <c:pt idx="100">
                  <c:v>Raguin</c:v>
                </c:pt>
                <c:pt idx="101">
                  <c:v>All Others</c:v>
                </c:pt>
                <c:pt idx="102">
                  <c:v>All Others</c:v>
                </c:pt>
                <c:pt idx="103">
                  <c:v>All Others</c:v>
                </c:pt>
                <c:pt idx="104">
                  <c:v>Raguin</c:v>
                </c:pt>
                <c:pt idx="105">
                  <c:v>Raguin</c:v>
                </c:pt>
                <c:pt idx="106">
                  <c:v>All Others</c:v>
                </c:pt>
                <c:pt idx="107">
                  <c:v>All Others</c:v>
                </c:pt>
                <c:pt idx="108">
                  <c:v>Raguin</c:v>
                </c:pt>
                <c:pt idx="109">
                  <c:v>Raguin</c:v>
                </c:pt>
                <c:pt idx="110">
                  <c:v>Raguin</c:v>
                </c:pt>
                <c:pt idx="111">
                  <c:v>All Others</c:v>
                </c:pt>
                <c:pt idx="112">
                  <c:v>All Others</c:v>
                </c:pt>
                <c:pt idx="113">
                  <c:v>All Others</c:v>
                </c:pt>
                <c:pt idx="114">
                  <c:v>Raguin</c:v>
                </c:pt>
                <c:pt idx="115">
                  <c:v>All Others</c:v>
                </c:pt>
                <c:pt idx="116">
                  <c:v>All Others</c:v>
                </c:pt>
                <c:pt idx="117">
                  <c:v>All Others</c:v>
                </c:pt>
                <c:pt idx="118">
                  <c:v>All Others</c:v>
                </c:pt>
                <c:pt idx="119">
                  <c:v>All Others</c:v>
                </c:pt>
                <c:pt idx="120">
                  <c:v>All Others</c:v>
                </c:pt>
                <c:pt idx="121">
                  <c:v>All Others</c:v>
                </c:pt>
                <c:pt idx="122">
                  <c:v>All Others</c:v>
                </c:pt>
                <c:pt idx="123">
                  <c:v>President</c:v>
                </c:pt>
                <c:pt idx="124">
                  <c:v>All Others</c:v>
                </c:pt>
                <c:pt idx="125">
                  <c:v>All Others</c:v>
                </c:pt>
                <c:pt idx="126">
                  <c:v>All Others</c:v>
                </c:pt>
                <c:pt idx="127">
                  <c:v>All Others</c:v>
                </c:pt>
                <c:pt idx="128">
                  <c:v>All Others</c:v>
                </c:pt>
                <c:pt idx="129">
                  <c:v>All Others</c:v>
                </c:pt>
                <c:pt idx="130">
                  <c:v>All Others</c:v>
                </c:pt>
                <c:pt idx="131">
                  <c:v>All Others</c:v>
                </c:pt>
                <c:pt idx="132">
                  <c:v>All Others</c:v>
                </c:pt>
                <c:pt idx="133">
                  <c:v>All Others</c:v>
                </c:pt>
                <c:pt idx="134">
                  <c:v>All Others</c:v>
                </c:pt>
                <c:pt idx="135">
                  <c:v>Private Lab</c:v>
                </c:pt>
                <c:pt idx="136">
                  <c:v>All Others</c:v>
                </c:pt>
                <c:pt idx="137">
                  <c:v>All Others</c:v>
                </c:pt>
                <c:pt idx="138">
                  <c:v>All Others</c:v>
                </c:pt>
                <c:pt idx="139">
                  <c:v>All Others</c:v>
                </c:pt>
                <c:pt idx="140">
                  <c:v>All Others</c:v>
                </c:pt>
                <c:pt idx="141">
                  <c:v>All Others</c:v>
                </c:pt>
                <c:pt idx="142">
                  <c:v>All Others</c:v>
                </c:pt>
              </c:strCache>
            </c:strRef>
          </c:cat>
          <c:val>
            <c:numRef>
              <c:f>Sheet1!$B$2:$B$144</c:f>
              <c:numCache>
                <c:formatCode>General</c:formatCode>
                <c:ptCount val="143"/>
                <c:pt idx="0">
                  <c:v>0.982</c:v>
                </c:pt>
                <c:pt idx="1">
                  <c:v>0.981</c:v>
                </c:pt>
                <c:pt idx="2">
                  <c:v>0.571</c:v>
                </c:pt>
                <c:pt idx="3">
                  <c:v>0.97</c:v>
                </c:pt>
                <c:pt idx="4">
                  <c:v>0.912</c:v>
                </c:pt>
                <c:pt idx="5">
                  <c:v>0.946</c:v>
                </c:pt>
                <c:pt idx="6">
                  <c:v>0.854</c:v>
                </c:pt>
                <c:pt idx="7">
                  <c:v>0.764</c:v>
                </c:pt>
                <c:pt idx="8">
                  <c:v>0.924</c:v>
                </c:pt>
                <c:pt idx="9">
                  <c:v>0.456</c:v>
                </c:pt>
                <c:pt idx="10">
                  <c:v>0.352</c:v>
                </c:pt>
                <c:pt idx="11">
                  <c:v>0.773</c:v>
                </c:pt>
                <c:pt idx="12">
                  <c:v>0.672</c:v>
                </c:pt>
                <c:pt idx="13">
                  <c:v>0.693</c:v>
                </c:pt>
                <c:pt idx="14">
                  <c:v>0.337</c:v>
                </c:pt>
                <c:pt idx="15">
                  <c:v>0.159</c:v>
                </c:pt>
                <c:pt idx="16">
                  <c:v>0.361</c:v>
                </c:pt>
                <c:pt idx="17">
                  <c:v>0.742</c:v>
                </c:pt>
                <c:pt idx="18">
                  <c:v>0.165</c:v>
                </c:pt>
                <c:pt idx="19">
                  <c:v>0.246</c:v>
                </c:pt>
                <c:pt idx="20">
                  <c:v>0.069</c:v>
                </c:pt>
                <c:pt idx="21">
                  <c:v>0.443</c:v>
                </c:pt>
                <c:pt idx="22">
                  <c:v>0.042</c:v>
                </c:pt>
                <c:pt idx="23">
                  <c:v>0.333</c:v>
                </c:pt>
                <c:pt idx="24">
                  <c:v>0.301</c:v>
                </c:pt>
                <c:pt idx="25">
                  <c:v>0.313</c:v>
                </c:pt>
                <c:pt idx="26">
                  <c:v>0.353</c:v>
                </c:pt>
                <c:pt idx="27">
                  <c:v>0.292</c:v>
                </c:pt>
                <c:pt idx="28">
                  <c:v>0.024</c:v>
                </c:pt>
                <c:pt idx="29">
                  <c:v>0.019</c:v>
                </c:pt>
                <c:pt idx="30">
                  <c:v>0.269</c:v>
                </c:pt>
                <c:pt idx="31">
                  <c:v>0.336</c:v>
                </c:pt>
                <c:pt idx="32">
                  <c:v>0.028</c:v>
                </c:pt>
                <c:pt idx="33">
                  <c:v>0.093</c:v>
                </c:pt>
                <c:pt idx="34">
                  <c:v>0.034</c:v>
                </c:pt>
                <c:pt idx="35">
                  <c:v>0.033</c:v>
                </c:pt>
                <c:pt idx="36">
                  <c:v>0.073</c:v>
                </c:pt>
                <c:pt idx="37">
                  <c:v>0.015</c:v>
                </c:pt>
                <c:pt idx="38">
                  <c:v>0.073</c:v>
                </c:pt>
                <c:pt idx="39">
                  <c:v>0.068</c:v>
                </c:pt>
                <c:pt idx="40">
                  <c:v>0.101</c:v>
                </c:pt>
                <c:pt idx="41">
                  <c:v>0.05</c:v>
                </c:pt>
                <c:pt idx="42">
                  <c:v>0.034</c:v>
                </c:pt>
                <c:pt idx="43">
                  <c:v>0.055</c:v>
                </c:pt>
                <c:pt idx="44">
                  <c:v>0.101</c:v>
                </c:pt>
                <c:pt idx="45">
                  <c:v>0.062</c:v>
                </c:pt>
                <c:pt idx="46">
                  <c:v>0.046</c:v>
                </c:pt>
                <c:pt idx="47">
                  <c:v>0.047</c:v>
                </c:pt>
                <c:pt idx="48">
                  <c:v>0.05</c:v>
                </c:pt>
                <c:pt idx="49">
                  <c:v>0.027</c:v>
                </c:pt>
                <c:pt idx="50">
                  <c:v>0.046</c:v>
                </c:pt>
                <c:pt idx="51">
                  <c:v>0.06</c:v>
                </c:pt>
                <c:pt idx="52">
                  <c:v>0.045</c:v>
                </c:pt>
                <c:pt idx="53">
                  <c:v>0.077</c:v>
                </c:pt>
                <c:pt idx="54">
                  <c:v>0.103</c:v>
                </c:pt>
                <c:pt idx="55">
                  <c:v>0.014</c:v>
                </c:pt>
                <c:pt idx="56">
                  <c:v>0.078</c:v>
                </c:pt>
                <c:pt idx="57">
                  <c:v>0.034</c:v>
                </c:pt>
                <c:pt idx="58">
                  <c:v>0.145</c:v>
                </c:pt>
                <c:pt idx="59">
                  <c:v>0.039</c:v>
                </c:pt>
                <c:pt idx="60">
                  <c:v>0.028</c:v>
                </c:pt>
                <c:pt idx="61">
                  <c:v>0.049</c:v>
                </c:pt>
                <c:pt idx="62">
                  <c:v>0.024</c:v>
                </c:pt>
                <c:pt idx="63">
                  <c:v>0.041</c:v>
                </c:pt>
                <c:pt idx="64">
                  <c:v>0.009</c:v>
                </c:pt>
                <c:pt idx="65">
                  <c:v>0.037</c:v>
                </c:pt>
                <c:pt idx="66">
                  <c:v>0.009</c:v>
                </c:pt>
                <c:pt idx="67">
                  <c:v>0.027</c:v>
                </c:pt>
                <c:pt idx="68">
                  <c:v>0.027</c:v>
                </c:pt>
                <c:pt idx="69">
                  <c:v>0.009</c:v>
                </c:pt>
                <c:pt idx="70">
                  <c:v>0.068</c:v>
                </c:pt>
                <c:pt idx="71">
                  <c:v>0.068</c:v>
                </c:pt>
                <c:pt idx="72">
                  <c:v>0.009</c:v>
                </c:pt>
                <c:pt idx="73">
                  <c:v>0.045</c:v>
                </c:pt>
                <c:pt idx="74">
                  <c:v>0.004</c:v>
                </c:pt>
                <c:pt idx="75">
                  <c:v>0.04</c:v>
                </c:pt>
                <c:pt idx="76">
                  <c:v>0.018</c:v>
                </c:pt>
                <c:pt idx="77">
                  <c:v>0.032</c:v>
                </c:pt>
                <c:pt idx="78">
                  <c:v>0.046</c:v>
                </c:pt>
                <c:pt idx="79">
                  <c:v>0.032</c:v>
                </c:pt>
                <c:pt idx="80">
                  <c:v>0.009</c:v>
                </c:pt>
                <c:pt idx="81">
                  <c:v>0.018</c:v>
                </c:pt>
                <c:pt idx="82">
                  <c:v>0.009</c:v>
                </c:pt>
                <c:pt idx="83">
                  <c:v>0.005</c:v>
                </c:pt>
                <c:pt idx="84">
                  <c:v>0.009</c:v>
                </c:pt>
                <c:pt idx="85">
                  <c:v>0.018</c:v>
                </c:pt>
                <c:pt idx="86">
                  <c:v>0.014</c:v>
                </c:pt>
                <c:pt idx="87">
                  <c:v>0.009</c:v>
                </c:pt>
                <c:pt idx="88">
                  <c:v>0.008</c:v>
                </c:pt>
                <c:pt idx="89">
                  <c:v>0.022</c:v>
                </c:pt>
                <c:pt idx="90">
                  <c:v>0.014</c:v>
                </c:pt>
                <c:pt idx="91">
                  <c:v>0.014</c:v>
                </c:pt>
                <c:pt idx="92">
                  <c:v>0.009</c:v>
                </c:pt>
                <c:pt idx="93">
                  <c:v>0.011</c:v>
                </c:pt>
                <c:pt idx="94">
                  <c:v>0.005</c:v>
                </c:pt>
                <c:pt idx="95">
                  <c:v>0.005</c:v>
                </c:pt>
                <c:pt idx="96">
                  <c:v>0.011</c:v>
                </c:pt>
                <c:pt idx="97">
                  <c:v>0.005</c:v>
                </c:pt>
                <c:pt idx="98">
                  <c:v>0.005</c:v>
                </c:pt>
                <c:pt idx="99">
                  <c:v>0.009</c:v>
                </c:pt>
                <c:pt idx="100">
                  <c:v>0.009</c:v>
                </c:pt>
                <c:pt idx="101">
                  <c:v>0.009</c:v>
                </c:pt>
                <c:pt idx="102">
                  <c:v>0.014</c:v>
                </c:pt>
                <c:pt idx="103">
                  <c:v>0.011</c:v>
                </c:pt>
                <c:pt idx="104">
                  <c:v>0.009</c:v>
                </c:pt>
                <c:pt idx="105">
                  <c:v>0.009</c:v>
                </c:pt>
                <c:pt idx="106">
                  <c:v>0.005</c:v>
                </c:pt>
                <c:pt idx="107">
                  <c:v>0.023</c:v>
                </c:pt>
                <c:pt idx="108">
                  <c:v>0.009</c:v>
                </c:pt>
                <c:pt idx="109">
                  <c:v>0.009</c:v>
                </c:pt>
                <c:pt idx="110">
                  <c:v>0.009</c:v>
                </c:pt>
                <c:pt idx="111">
                  <c:v>0.005</c:v>
                </c:pt>
                <c:pt idx="112">
                  <c:v>0.005</c:v>
                </c:pt>
                <c:pt idx="113">
                  <c:v>0.025</c:v>
                </c:pt>
                <c:pt idx="114">
                  <c:v>0.005</c:v>
                </c:pt>
                <c:pt idx="115">
                  <c:v>0.014</c:v>
                </c:pt>
                <c:pt idx="116">
                  <c:v>0.046</c:v>
                </c:pt>
                <c:pt idx="117">
                  <c:v>0.005</c:v>
                </c:pt>
                <c:pt idx="118">
                  <c:v>0.026</c:v>
                </c:pt>
                <c:pt idx="119">
                  <c:v>0.005</c:v>
                </c:pt>
                <c:pt idx="120">
                  <c:v>0.026</c:v>
                </c:pt>
                <c:pt idx="121">
                  <c:v>0.014</c:v>
                </c:pt>
                <c:pt idx="122">
                  <c:v>0.004</c:v>
                </c:pt>
                <c:pt idx="123">
                  <c:v>0.027</c:v>
                </c:pt>
                <c:pt idx="124">
                  <c:v>0.009</c:v>
                </c:pt>
                <c:pt idx="125">
                  <c:v>0.005</c:v>
                </c:pt>
                <c:pt idx="126">
                  <c:v>0.004</c:v>
                </c:pt>
                <c:pt idx="127">
                  <c:v>0.005</c:v>
                </c:pt>
                <c:pt idx="128">
                  <c:v>0.005</c:v>
                </c:pt>
                <c:pt idx="129">
                  <c:v>0.004</c:v>
                </c:pt>
                <c:pt idx="130">
                  <c:v>0.005</c:v>
                </c:pt>
                <c:pt idx="131">
                  <c:v>0.005</c:v>
                </c:pt>
                <c:pt idx="132">
                  <c:v>0.005</c:v>
                </c:pt>
                <c:pt idx="133">
                  <c:v>0.005</c:v>
                </c:pt>
                <c:pt idx="134">
                  <c:v>0.002</c:v>
                </c:pt>
                <c:pt idx="135">
                  <c:v>0.027</c:v>
                </c:pt>
                <c:pt idx="136">
                  <c:v>0.005</c:v>
                </c:pt>
                <c:pt idx="137">
                  <c:v>0.005</c:v>
                </c:pt>
                <c:pt idx="138">
                  <c:v>0.005</c:v>
                </c:pt>
                <c:pt idx="139">
                  <c:v>0.005</c:v>
                </c:pt>
                <c:pt idx="140">
                  <c:v>0.005</c:v>
                </c:pt>
                <c:pt idx="141">
                  <c:v>0.005</c:v>
                </c:pt>
                <c:pt idx="142">
                  <c:v>0.005</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Item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7ECAC4"/>
              </a:solidFill>
            </c:spPr>
            <c:extLst>
              <c:ext xmlns:c16="http://schemas.microsoft.com/office/drawing/2014/chart" uri="{C3380CC4-5D6E-409C-BE32-E72D297353CC}">
                <c16:uniqueId val="{00000053-2993-41DE-A2CB-63102DE87051}"/>
              </c:ext>
            </c:extLst>
          </c:dPt>
          <c:dPt>
            <c:idx val="14"/>
            <c:invertIfNegative val="1"/>
            <c:bubble3D val="0"/>
            <c:spPr>
              <a:solidFill>
                <a:srgbClr val="7ECAC4"/>
              </a:solidFill>
            </c:spPr>
            <c:extLst>
              <c:ext xmlns:c16="http://schemas.microsoft.com/office/drawing/2014/chart" uri="{C3380CC4-5D6E-409C-BE32-E72D297353CC}">
                <c16:uniqueId val="{00000055-2993-41DE-A2CB-63102DE87051}"/>
              </c:ext>
            </c:extLst>
          </c:dPt>
          <c:dPt>
            <c:idx val="15"/>
            <c:invertIfNegative val="1"/>
            <c:bubble3D val="0"/>
            <c:spPr>
              <a:solidFill>
                <a:srgbClr val="7ECAC4"/>
              </a:solidFill>
            </c:spPr>
            <c:extLst>
              <c:ext xmlns:c16="http://schemas.microsoft.com/office/drawing/2014/chart" uri="{C3380CC4-5D6E-409C-BE32-E72D297353CC}">
                <c16:uniqueId val="{00000057-2993-41DE-A2CB-63102DE87051}"/>
              </c:ext>
            </c:extLst>
          </c:dPt>
          <c:dPt>
            <c:idx val="16"/>
            <c:invertIfNegative val="1"/>
            <c:bubble3D val="0"/>
            <c:spPr>
              <a:solidFill>
                <a:srgbClr val="7ECAC4"/>
              </a:solidFill>
            </c:spPr>
            <c:extLst>
              <c:ext xmlns:c16="http://schemas.microsoft.com/office/drawing/2014/chart" uri="{C3380CC4-5D6E-409C-BE32-E72D297353CC}">
                <c16:uniqueId val="{00000059-2993-41DE-A2CB-63102DE87051}"/>
              </c:ext>
            </c:extLst>
          </c:dPt>
          <c:dPt>
            <c:idx val="17"/>
            <c:invertIfNegative val="1"/>
            <c:bubble3D val="0"/>
            <c:spPr>
              <a:solidFill>
                <a:srgbClr val="7ECAC4"/>
              </a:solidFill>
            </c:spPr>
            <c:extLst>
              <c:ext xmlns:c16="http://schemas.microsoft.com/office/drawing/2014/chart" uri="{C3380CC4-5D6E-409C-BE32-E72D297353CC}">
                <c16:uniqueId val="{0000005B-2993-41DE-A2CB-63102DE87051}"/>
              </c:ext>
            </c:extLst>
          </c:dPt>
          <c:dPt>
            <c:idx val="18"/>
            <c:invertIfNegative val="1"/>
            <c:bubble3D val="0"/>
            <c:spPr>
              <a:solidFill>
                <a:srgbClr val="7ECAC4"/>
              </a:solidFill>
            </c:spPr>
            <c:extLst>
              <c:ext xmlns:c16="http://schemas.microsoft.com/office/drawing/2014/chart" uri="{C3380CC4-5D6E-409C-BE32-E72D297353CC}">
                <c16:uniqueId val="{0000005D-2993-41DE-A2CB-63102DE87051}"/>
              </c:ext>
            </c:extLst>
          </c:dPt>
          <c:dPt>
            <c:idx val="19"/>
            <c:invertIfNegative val="1"/>
            <c:bubble3D val="0"/>
            <c:spPr>
              <a:solidFill>
                <a:srgbClr val="7ECAC4"/>
              </a:solidFill>
            </c:spPr>
            <c:extLst>
              <c:ext xmlns:c16="http://schemas.microsoft.com/office/drawing/2014/chart" uri="{C3380CC4-5D6E-409C-BE32-E72D297353CC}">
                <c16:uniqueId val="{0000005F-2993-41DE-A2CB-63102DE87051}"/>
              </c:ext>
            </c:extLst>
          </c:dPt>
          <c:dPt>
            <c:idx val="20"/>
            <c:invertIfNegative val="1"/>
            <c:bubble3D val="0"/>
            <c:spPr>
              <a:solidFill>
                <a:srgbClr val="7ECAC4"/>
              </a:solidFill>
            </c:spPr>
            <c:extLst>
              <c:ext xmlns:c16="http://schemas.microsoft.com/office/drawing/2014/chart" uri="{C3380CC4-5D6E-409C-BE32-E72D297353CC}">
                <c16:uniqueId val="{00000061-2993-41DE-A2CB-63102DE87051}"/>
              </c:ext>
            </c:extLst>
          </c:dPt>
          <c:dPt>
            <c:idx val="21"/>
            <c:invertIfNegative val="1"/>
            <c:bubble3D val="0"/>
            <c:spPr>
              <a:solidFill>
                <a:srgbClr val="7ECAC4"/>
              </a:solidFill>
            </c:spPr>
            <c:extLst>
              <c:ext xmlns:c16="http://schemas.microsoft.com/office/drawing/2014/chart" uri="{C3380CC4-5D6E-409C-BE32-E72D297353CC}">
                <c16:uniqueId val="{00000063-2993-41DE-A2CB-63102DE87051}"/>
              </c:ext>
            </c:extLst>
          </c:dPt>
          <c:dPt>
            <c:idx val="22"/>
            <c:invertIfNegative val="1"/>
            <c:bubble3D val="0"/>
            <c:spPr>
              <a:solidFill>
                <a:srgbClr val="7ECAC4"/>
              </a:solidFill>
            </c:spPr>
            <c:extLst>
              <c:ext xmlns:c16="http://schemas.microsoft.com/office/drawing/2014/chart" uri="{C3380CC4-5D6E-409C-BE32-E72D297353CC}">
                <c16:uniqueId val="{00000065-2993-41DE-A2CB-63102DE87051}"/>
              </c:ext>
            </c:extLst>
          </c:dPt>
          <c:dPt>
            <c:idx val="23"/>
            <c:invertIfNegative val="1"/>
            <c:bubble3D val="0"/>
            <c:spPr>
              <a:solidFill>
                <a:srgbClr val="7ECAC4"/>
              </a:solidFill>
            </c:spPr>
            <c:extLst>
              <c:ext xmlns:c16="http://schemas.microsoft.com/office/drawing/2014/chart" uri="{C3380CC4-5D6E-409C-BE32-E72D297353CC}">
                <c16:uniqueId val="{00000067-2993-41DE-A2CB-63102DE87051}"/>
              </c:ext>
            </c:extLst>
          </c:dPt>
          <c:dPt>
            <c:idx val="24"/>
            <c:invertIfNegative val="1"/>
            <c:bubble3D val="0"/>
            <c:spPr>
              <a:solidFill>
                <a:srgbClr val="7ECAC4"/>
              </a:solidFill>
            </c:spPr>
            <c:extLst>
              <c:ext xmlns:c16="http://schemas.microsoft.com/office/drawing/2014/chart" uri="{C3380CC4-5D6E-409C-BE32-E72D297353CC}">
                <c16:uniqueId val="{00000069-2993-41DE-A2CB-63102DE87051}"/>
              </c:ext>
            </c:extLst>
          </c:dPt>
          <c:dPt>
            <c:idx val="25"/>
            <c:invertIfNegative val="1"/>
            <c:bubble3D val="0"/>
            <c:spPr>
              <a:solidFill>
                <a:srgbClr val="7ECAC4"/>
              </a:solidFill>
            </c:spPr>
            <c:extLst>
              <c:ext xmlns:c16="http://schemas.microsoft.com/office/drawing/2014/chart" uri="{C3380CC4-5D6E-409C-BE32-E72D297353CC}">
                <c16:uniqueId val="{0000006B-2993-41DE-A2CB-63102DE87051}"/>
              </c:ext>
            </c:extLst>
          </c:dPt>
          <c:dPt>
            <c:idx val="26"/>
            <c:invertIfNegative val="1"/>
            <c:bubble3D val="0"/>
            <c:spPr>
              <a:solidFill>
                <a:srgbClr val="7ECAC4"/>
              </a:solidFill>
            </c:spPr>
            <c:extLst>
              <c:ext xmlns:c16="http://schemas.microsoft.com/office/drawing/2014/chart" uri="{C3380CC4-5D6E-409C-BE32-E72D297353CC}">
                <c16:uniqueId val="{0000006D-2993-41DE-A2CB-63102DE87051}"/>
              </c:ext>
            </c:extLst>
          </c:dPt>
          <c:dPt>
            <c:idx val="27"/>
            <c:invertIfNegative val="1"/>
            <c:bubble3D val="0"/>
            <c:spPr>
              <a:solidFill>
                <a:srgbClr val="7ECAC4"/>
              </a:solidFill>
            </c:spPr>
            <c:extLst>
              <c:ext xmlns:c16="http://schemas.microsoft.com/office/drawing/2014/chart" uri="{C3380CC4-5D6E-409C-BE32-E72D297353CC}">
                <c16:uniqueId val="{0000006F-2993-41DE-A2CB-63102DE87051}"/>
              </c:ext>
            </c:extLst>
          </c:dPt>
          <c:dPt>
            <c:idx val="28"/>
            <c:invertIfNegative val="1"/>
            <c:bubble3D val="0"/>
            <c:spPr>
              <a:solidFill>
                <a:srgbClr val="7ECAC4"/>
              </a:solidFill>
            </c:spPr>
            <c:extLst>
              <c:ext xmlns:c16="http://schemas.microsoft.com/office/drawing/2014/chart" uri="{C3380CC4-5D6E-409C-BE32-E72D297353CC}">
                <c16:uniqueId val="{00000071-2993-41DE-A2CB-63102DE87051}"/>
              </c:ext>
            </c:extLst>
          </c:dPt>
          <c:dPt>
            <c:idx val="29"/>
            <c:invertIfNegative val="1"/>
            <c:bubble3D val="0"/>
            <c:spPr>
              <a:solidFill>
                <a:srgbClr val="7ECAC4"/>
              </a:solidFill>
            </c:spPr>
            <c:extLst>
              <c:ext xmlns:c16="http://schemas.microsoft.com/office/drawing/2014/chart" uri="{C3380CC4-5D6E-409C-BE32-E72D297353CC}">
                <c16:uniqueId val="{00000073-2993-41DE-A2CB-63102DE87051}"/>
              </c:ext>
            </c:extLst>
          </c:dPt>
          <c:dPt>
            <c:idx val="30"/>
            <c:invertIfNegative val="1"/>
            <c:bubble3D val="0"/>
            <c:spPr>
              <a:solidFill>
                <a:srgbClr val="7ECAC4"/>
              </a:solidFill>
            </c:spPr>
            <c:extLst>
              <c:ext xmlns:c16="http://schemas.microsoft.com/office/drawing/2014/chart" uri="{C3380CC4-5D6E-409C-BE32-E72D297353CC}">
                <c16:uniqueId val="{00000075-2993-41DE-A2CB-63102DE87051}"/>
              </c:ext>
            </c:extLst>
          </c:dPt>
          <c:dPt>
            <c:idx val="31"/>
            <c:invertIfNegative val="1"/>
            <c:bubble3D val="0"/>
            <c:spPr>
              <a:solidFill>
                <a:srgbClr val="AEABAB"/>
              </a:solidFill>
            </c:spPr>
            <c:extLst>
              <c:ext xmlns:c16="http://schemas.microsoft.com/office/drawing/2014/chart" uri="{C3380CC4-5D6E-409C-BE32-E72D297353CC}">
                <c16:uniqueId val="{00000077-2993-41DE-A2CB-63102DE87051}"/>
              </c:ext>
            </c:extLst>
          </c:dPt>
          <c:dPt>
            <c:idx val="32"/>
            <c:invertIfNegative val="1"/>
            <c:bubble3D val="0"/>
            <c:spPr>
              <a:solidFill>
                <a:srgbClr val="AEABAB"/>
              </a:solidFill>
            </c:spPr>
            <c:extLst>
              <c:ext xmlns:c16="http://schemas.microsoft.com/office/drawing/2014/chart" uri="{C3380CC4-5D6E-409C-BE32-E72D297353CC}">
                <c16:uniqueId val="{00000079-2993-41DE-A2CB-63102DE87051}"/>
              </c:ext>
            </c:extLst>
          </c:dPt>
          <c:dPt>
            <c:idx val="33"/>
            <c:invertIfNegative val="1"/>
            <c:bubble3D val="0"/>
            <c:spPr>
              <a:solidFill>
                <a:srgbClr val="AEABAB"/>
              </a:solidFill>
            </c:spPr>
            <c:extLst>
              <c:ext xmlns:c16="http://schemas.microsoft.com/office/drawing/2014/chart" uri="{C3380CC4-5D6E-409C-BE32-E72D297353CC}">
                <c16:uniqueId val="{0000007B-2993-41DE-A2CB-63102DE87051}"/>
              </c:ext>
            </c:extLst>
          </c:dPt>
          <c:dPt>
            <c:idx val="34"/>
            <c:invertIfNegative val="1"/>
            <c:bubble3D val="0"/>
            <c:spPr>
              <a:solidFill>
                <a:srgbClr val="AEABAB"/>
              </a:solidFill>
            </c:spPr>
            <c:extLst>
              <c:ext xmlns:c16="http://schemas.microsoft.com/office/drawing/2014/chart" uri="{C3380CC4-5D6E-409C-BE32-E72D297353CC}">
                <c16:uniqueId val="{0000007D-2993-41DE-A2CB-63102DE87051}"/>
              </c:ext>
            </c:extLst>
          </c:dPt>
          <c:dPt>
            <c:idx val="35"/>
            <c:invertIfNegative val="1"/>
            <c:bubble3D val="0"/>
            <c:spPr>
              <a:solidFill>
                <a:srgbClr val="AEABAB"/>
              </a:solidFill>
            </c:spPr>
            <c:extLst>
              <c:ext xmlns:c16="http://schemas.microsoft.com/office/drawing/2014/chart" uri="{C3380CC4-5D6E-409C-BE32-E72D297353CC}">
                <c16:uniqueId val="{0000007F-2993-41DE-A2CB-63102DE87051}"/>
              </c:ext>
            </c:extLst>
          </c:dPt>
          <c:dPt>
            <c:idx val="36"/>
            <c:invertIfNegative val="1"/>
            <c:bubble3D val="0"/>
            <c:spPr>
              <a:solidFill>
                <a:srgbClr val="AEABAB"/>
              </a:solidFill>
            </c:spPr>
            <c:extLst>
              <c:ext xmlns:c16="http://schemas.microsoft.com/office/drawing/2014/chart" uri="{C3380CC4-5D6E-409C-BE32-E72D297353CC}">
                <c16:uniqueId val="{00000081-2993-41DE-A2CB-63102DE87051}"/>
              </c:ext>
            </c:extLst>
          </c:dPt>
          <c:dPt>
            <c:idx val="37"/>
            <c:invertIfNegative val="1"/>
            <c:bubble3D val="0"/>
            <c:spPr>
              <a:solidFill>
                <a:srgbClr val="AEABAB"/>
              </a:solidFill>
            </c:spPr>
            <c:extLst>
              <c:ext xmlns:c16="http://schemas.microsoft.com/office/drawing/2014/chart" uri="{C3380CC4-5D6E-409C-BE32-E72D297353CC}">
                <c16:uniqueId val="{00000083-2993-41DE-A2CB-63102DE87051}"/>
              </c:ext>
            </c:extLst>
          </c:dPt>
          <c:dPt>
            <c:idx val="38"/>
            <c:invertIfNegative val="1"/>
            <c:bubble3D val="0"/>
            <c:spPr>
              <a:solidFill>
                <a:srgbClr val="AEABAB"/>
              </a:solidFill>
            </c:spPr>
            <c:extLst>
              <c:ext xmlns:c16="http://schemas.microsoft.com/office/drawing/2014/chart" uri="{C3380CC4-5D6E-409C-BE32-E72D297353CC}">
                <c16:uniqueId val="{00000085-2993-41DE-A2CB-63102DE87051}"/>
              </c:ext>
            </c:extLst>
          </c:dPt>
          <c:dPt>
            <c:idx val="39"/>
            <c:invertIfNegative val="1"/>
            <c:bubble3D val="0"/>
            <c:spPr>
              <a:solidFill>
                <a:srgbClr val="AEABAB"/>
              </a:solidFill>
            </c:spPr>
            <c:extLst>
              <c:ext xmlns:c16="http://schemas.microsoft.com/office/drawing/2014/chart" uri="{C3380CC4-5D6E-409C-BE32-E72D297353CC}">
                <c16:uniqueId val="{00000087-2993-41DE-A2CB-63102DE87051}"/>
              </c:ext>
            </c:extLst>
          </c:dPt>
          <c:dPt>
            <c:idx val="40"/>
            <c:invertIfNegative val="1"/>
            <c:bubble3D val="0"/>
            <c:spPr>
              <a:solidFill>
                <a:srgbClr val="AEABAB"/>
              </a:solidFill>
            </c:spPr>
            <c:extLst>
              <c:ext xmlns:c16="http://schemas.microsoft.com/office/drawing/2014/chart" uri="{C3380CC4-5D6E-409C-BE32-E72D297353CC}">
                <c16:uniqueId val="{00000089-2993-41DE-A2CB-63102DE87051}"/>
              </c:ext>
            </c:extLst>
          </c:dPt>
          <c:dPt>
            <c:idx val="41"/>
            <c:invertIfNegative val="1"/>
            <c:bubble3D val="0"/>
            <c:spPr>
              <a:solidFill>
                <a:srgbClr val="AEABAB"/>
              </a:solidFill>
            </c:spPr>
            <c:extLst>
              <c:ext xmlns:c16="http://schemas.microsoft.com/office/drawing/2014/chart" uri="{C3380CC4-5D6E-409C-BE32-E72D297353CC}">
                <c16:uniqueId val="{0000008B-2993-41DE-A2CB-63102DE87051}"/>
              </c:ext>
            </c:extLst>
          </c:dPt>
          <c:dPt>
            <c:idx val="42"/>
            <c:invertIfNegative val="1"/>
            <c:bubble3D val="0"/>
            <c:spPr>
              <a:solidFill>
                <a:srgbClr val="AEABAB"/>
              </a:solidFill>
            </c:spPr>
            <c:extLst>
              <c:ext xmlns:c16="http://schemas.microsoft.com/office/drawing/2014/chart" uri="{C3380CC4-5D6E-409C-BE32-E72D297353CC}">
                <c16:uniqueId val="{0000008D-2993-41DE-A2CB-63102DE87051}"/>
              </c:ext>
            </c:extLst>
          </c:dPt>
          <c:dPt>
            <c:idx val="43"/>
            <c:invertIfNegative val="1"/>
            <c:bubble3D val="0"/>
            <c:spPr>
              <a:solidFill>
                <a:srgbClr val="AEABAB"/>
              </a:solidFill>
            </c:spPr>
            <c:extLst>
              <c:ext xmlns:c16="http://schemas.microsoft.com/office/drawing/2014/chart" uri="{C3380CC4-5D6E-409C-BE32-E72D297353CC}">
                <c16:uniqueId val="{0000008F-2993-41DE-A2CB-63102DE87051}"/>
              </c:ext>
            </c:extLst>
          </c:dPt>
          <c:dPt>
            <c:idx val="44"/>
            <c:invertIfNegative val="1"/>
            <c:bubble3D val="0"/>
            <c:spPr>
              <a:solidFill>
                <a:srgbClr val="AEABAB"/>
              </a:solidFill>
            </c:spPr>
            <c:extLst>
              <c:ext xmlns:c16="http://schemas.microsoft.com/office/drawing/2014/chart" uri="{C3380CC4-5D6E-409C-BE32-E72D297353CC}">
                <c16:uniqueId val="{00000091-2993-41DE-A2CB-63102DE87051}"/>
              </c:ext>
            </c:extLst>
          </c:dPt>
          <c:dPt>
            <c:idx val="45"/>
            <c:invertIfNegative val="1"/>
            <c:bubble3D val="0"/>
            <c:spPr>
              <a:solidFill>
                <a:srgbClr val="AEABAB"/>
              </a:solidFill>
            </c:spPr>
            <c:extLst>
              <c:ext xmlns:c16="http://schemas.microsoft.com/office/drawing/2014/chart" uri="{C3380CC4-5D6E-409C-BE32-E72D297353CC}">
                <c16:uniqueId val="{00000093-2993-41DE-A2CB-63102DE87051}"/>
              </c:ext>
            </c:extLst>
          </c:dPt>
          <c:dPt>
            <c:idx val="46"/>
            <c:invertIfNegative val="1"/>
            <c:bubble3D val="0"/>
            <c:spPr>
              <a:solidFill>
                <a:srgbClr val="AEABAB"/>
              </a:solidFill>
            </c:spPr>
            <c:extLst>
              <c:ext xmlns:c16="http://schemas.microsoft.com/office/drawing/2014/chart" uri="{C3380CC4-5D6E-409C-BE32-E72D297353CC}">
                <c16:uniqueId val="{00000095-2993-41DE-A2CB-63102DE87051}"/>
              </c:ext>
            </c:extLst>
          </c:dPt>
          <c:dPt>
            <c:idx val="47"/>
            <c:invertIfNegative val="1"/>
            <c:bubble3D val="0"/>
            <c:spPr>
              <a:solidFill>
                <a:srgbClr val="AEABAB"/>
              </a:solidFill>
            </c:spPr>
            <c:extLst>
              <c:ext xmlns:c16="http://schemas.microsoft.com/office/drawing/2014/chart" uri="{C3380CC4-5D6E-409C-BE32-E72D297353CC}">
                <c16:uniqueId val="{00000097-2993-41DE-A2CB-63102DE87051}"/>
              </c:ext>
            </c:extLst>
          </c:dPt>
          <c:dPt>
            <c:idx val="48"/>
            <c:invertIfNegative val="1"/>
            <c:bubble3D val="0"/>
            <c:spPr>
              <a:solidFill>
                <a:srgbClr val="AEABAB"/>
              </a:solidFill>
            </c:spPr>
            <c:extLst>
              <c:ext xmlns:c16="http://schemas.microsoft.com/office/drawing/2014/chart" uri="{C3380CC4-5D6E-409C-BE32-E72D297353CC}">
                <c16:uniqueId val="{00000099-2993-41DE-A2CB-63102DE87051}"/>
              </c:ext>
            </c:extLst>
          </c:dPt>
          <c:dPt>
            <c:idx val="49"/>
            <c:invertIfNegative val="1"/>
            <c:bubble3D val="0"/>
            <c:spPr>
              <a:solidFill>
                <a:srgbClr val="AEABAB"/>
              </a:solidFill>
            </c:spPr>
            <c:extLst>
              <c:ext xmlns:c16="http://schemas.microsoft.com/office/drawing/2014/chart" uri="{C3380CC4-5D6E-409C-BE32-E72D297353CC}">
                <c16:uniqueId val="{0000009B-2993-41DE-A2CB-63102DE87051}"/>
              </c:ext>
            </c:extLst>
          </c:dPt>
          <c:dPt>
            <c:idx val="50"/>
            <c:invertIfNegative val="1"/>
            <c:bubble3D val="0"/>
            <c:spPr>
              <a:solidFill>
                <a:srgbClr val="AEABAB"/>
              </a:solidFill>
            </c:spPr>
            <c:extLst>
              <c:ext xmlns:c16="http://schemas.microsoft.com/office/drawing/2014/chart" uri="{C3380CC4-5D6E-409C-BE32-E72D297353CC}">
                <c16:uniqueId val="{0000009D-2993-41DE-A2CB-63102DE87051}"/>
              </c:ext>
            </c:extLst>
          </c:dPt>
          <c:dPt>
            <c:idx val="51"/>
            <c:invertIfNegative val="1"/>
            <c:bubble3D val="0"/>
            <c:spPr>
              <a:solidFill>
                <a:srgbClr val="AEABAB"/>
              </a:solidFill>
            </c:spPr>
            <c:extLst>
              <c:ext xmlns:c16="http://schemas.microsoft.com/office/drawing/2014/chart" uri="{C3380CC4-5D6E-409C-BE32-E72D297353CC}">
                <c16:uniqueId val="{0000009F-2993-41DE-A2CB-63102DE87051}"/>
              </c:ext>
            </c:extLst>
          </c:dPt>
          <c:dPt>
            <c:idx val="52"/>
            <c:invertIfNegative val="1"/>
            <c:bubble3D val="0"/>
            <c:spPr>
              <a:solidFill>
                <a:srgbClr val="AEABAB"/>
              </a:solidFill>
            </c:spPr>
            <c:extLst>
              <c:ext xmlns:c16="http://schemas.microsoft.com/office/drawing/2014/chart" uri="{C3380CC4-5D6E-409C-BE32-E72D297353CC}">
                <c16:uniqueId val="{000000A1-2993-41DE-A2CB-63102DE87051}"/>
              </c:ext>
            </c:extLst>
          </c:dPt>
          <c:dPt>
            <c:idx val="53"/>
            <c:invertIfNegative val="1"/>
            <c:bubble3D val="0"/>
            <c:spPr>
              <a:solidFill>
                <a:srgbClr val="AEABAB"/>
              </a:solidFill>
            </c:spPr>
            <c:extLst>
              <c:ext xmlns:c16="http://schemas.microsoft.com/office/drawing/2014/chart" uri="{C3380CC4-5D6E-409C-BE32-E72D297353CC}">
                <c16:uniqueId val="{000000A3-2993-41DE-A2CB-63102DE87051}"/>
              </c:ext>
            </c:extLst>
          </c:dPt>
          <c:dPt>
            <c:idx val="54"/>
            <c:invertIfNegative val="0"/>
            <c:bubble3D val="0"/>
            <c:spPr>
              <a:solidFill>
                <a:srgbClr val="AEABAB"/>
              </a:solidFill>
            </c:spPr>
            <c:extLst>
              <c:ext xmlns:c16="http://schemas.microsoft.com/office/drawing/2014/chart" uri="{C3380CC4-5D6E-409C-BE32-E72D297353CC}">
                <c16:uniqueId val="{00000072-C76F-4230-900D-40618C09729F}"/>
              </c:ext>
            </c:extLst>
          </c:dPt>
          <c:dPt>
            <c:idx val="55"/>
            <c:invertIfNegative val="0"/>
            <c:bubble3D val="0"/>
            <c:spPr>
              <a:solidFill>
                <a:srgbClr val="AEABAB"/>
              </a:solidFill>
            </c:spPr>
            <c:extLst>
              <c:ext xmlns:c16="http://schemas.microsoft.com/office/drawing/2014/chart" uri="{C3380CC4-5D6E-409C-BE32-E72D297353CC}">
                <c16:uniqueId val="{00000074-C76F-4230-900D-40618C09729F}"/>
              </c:ext>
            </c:extLst>
          </c:dPt>
          <c:dPt>
            <c:idx val="56"/>
            <c:invertIfNegative val="0"/>
            <c:bubble3D val="0"/>
            <c:spPr>
              <a:solidFill>
                <a:srgbClr val="AEABAB"/>
              </a:solidFill>
            </c:spPr>
            <c:extLst>
              <c:ext xmlns:c16="http://schemas.microsoft.com/office/drawing/2014/chart" uri="{C3380CC4-5D6E-409C-BE32-E72D297353CC}">
                <c16:uniqueId val="{00000076-C76F-4230-900D-40618C09729F}"/>
              </c:ext>
            </c:extLst>
          </c:dPt>
          <c:dPt>
            <c:idx val="57"/>
            <c:invertIfNegative val="0"/>
            <c:bubble3D val="0"/>
            <c:spPr>
              <a:solidFill>
                <a:srgbClr val="AEABAB"/>
              </a:solidFill>
            </c:spPr>
            <c:extLst>
              <c:ext xmlns:c16="http://schemas.microsoft.com/office/drawing/2014/chart" uri="{C3380CC4-5D6E-409C-BE32-E72D297353CC}">
                <c16:uniqueId val="{00000078-C76F-4230-900D-40618C09729F}"/>
              </c:ext>
            </c:extLst>
          </c:dPt>
          <c:dPt>
            <c:idx val="58"/>
            <c:invertIfNegative val="0"/>
            <c:bubble3D val="0"/>
            <c:spPr>
              <a:solidFill>
                <a:srgbClr val="AEABAB"/>
              </a:solidFill>
            </c:spPr>
            <c:extLst>
              <c:ext xmlns:c16="http://schemas.microsoft.com/office/drawing/2014/chart" uri="{C3380CC4-5D6E-409C-BE32-E72D297353CC}">
                <c16:uniqueId val="{0000007A-C76F-4230-900D-40618C09729F}"/>
              </c:ext>
            </c:extLst>
          </c:dPt>
          <c:dPt>
            <c:idx val="59"/>
            <c:invertIfNegative val="0"/>
            <c:bubble3D val="0"/>
            <c:spPr>
              <a:solidFill>
                <a:srgbClr val="AEABAB"/>
              </a:solidFill>
            </c:spPr>
            <c:extLst>
              <c:ext xmlns:c16="http://schemas.microsoft.com/office/drawing/2014/chart" uri="{C3380CC4-5D6E-409C-BE32-E72D297353CC}">
                <c16:uniqueId val="{0000007C-C76F-4230-900D-40618C09729F}"/>
              </c:ext>
            </c:extLst>
          </c:dPt>
          <c:dPt>
            <c:idx val="60"/>
            <c:invertIfNegative val="0"/>
            <c:bubble3D val="0"/>
            <c:spPr>
              <a:solidFill>
                <a:srgbClr val="AEABAB"/>
              </a:solidFill>
            </c:spPr>
            <c:extLst>
              <c:ext xmlns:c16="http://schemas.microsoft.com/office/drawing/2014/chart" uri="{C3380CC4-5D6E-409C-BE32-E72D297353CC}">
                <c16:uniqueId val="{0000007E-C76F-4230-900D-40618C09729F}"/>
              </c:ext>
            </c:extLst>
          </c:dPt>
          <c:dPt>
            <c:idx val="61"/>
            <c:invertIfNegative val="0"/>
            <c:bubble3D val="0"/>
            <c:spPr>
              <a:solidFill>
                <a:srgbClr val="AEABAB"/>
              </a:solidFill>
            </c:spPr>
            <c:extLst>
              <c:ext xmlns:c16="http://schemas.microsoft.com/office/drawing/2014/chart" uri="{C3380CC4-5D6E-409C-BE32-E72D297353CC}">
                <c16:uniqueId val="{00000080-C76F-4230-900D-40618C09729F}"/>
              </c:ext>
            </c:extLst>
          </c:dPt>
          <c:dPt>
            <c:idx val="62"/>
            <c:invertIfNegative val="0"/>
            <c:bubble3D val="0"/>
            <c:spPr>
              <a:solidFill>
                <a:srgbClr val="AEABAB"/>
              </a:solidFill>
            </c:spPr>
            <c:extLst>
              <c:ext xmlns:c16="http://schemas.microsoft.com/office/drawing/2014/chart" uri="{C3380CC4-5D6E-409C-BE32-E72D297353CC}">
                <c16:uniqueId val="{00000082-C76F-4230-900D-40618C09729F}"/>
              </c:ext>
            </c:extLst>
          </c:dPt>
          <c:dPt>
            <c:idx val="63"/>
            <c:invertIfNegative val="0"/>
            <c:bubble3D val="0"/>
            <c:spPr>
              <a:solidFill>
                <a:srgbClr val="AEABAB"/>
              </a:solidFill>
            </c:spPr>
            <c:extLst>
              <c:ext xmlns:c16="http://schemas.microsoft.com/office/drawing/2014/chart" uri="{C3380CC4-5D6E-409C-BE32-E72D297353CC}">
                <c16:uniqueId val="{00000084-C76F-4230-900D-40618C09729F}"/>
              </c:ext>
            </c:extLst>
          </c:dPt>
          <c:dPt>
            <c:idx val="64"/>
            <c:invertIfNegative val="0"/>
            <c:bubble3D val="0"/>
            <c:spPr>
              <a:solidFill>
                <a:srgbClr val="AEABAB"/>
              </a:solidFill>
            </c:spPr>
            <c:extLst>
              <c:ext xmlns:c16="http://schemas.microsoft.com/office/drawing/2014/chart" uri="{C3380CC4-5D6E-409C-BE32-E72D297353CC}">
                <c16:uniqueId val="{00000086-C76F-4230-900D-40618C09729F}"/>
              </c:ext>
            </c:extLst>
          </c:dPt>
          <c:dPt>
            <c:idx val="65"/>
            <c:invertIfNegative val="0"/>
            <c:bubble3D val="0"/>
            <c:spPr>
              <a:solidFill>
                <a:srgbClr val="AEABAB"/>
              </a:solidFill>
            </c:spPr>
            <c:extLst>
              <c:ext xmlns:c16="http://schemas.microsoft.com/office/drawing/2014/chart" uri="{C3380CC4-5D6E-409C-BE32-E72D297353CC}">
                <c16:uniqueId val="{00000088-C76F-4230-900D-40618C09729F}"/>
              </c:ext>
            </c:extLst>
          </c:dPt>
          <c:dPt>
            <c:idx val="66"/>
            <c:invertIfNegative val="0"/>
            <c:bubble3D val="0"/>
            <c:spPr>
              <a:solidFill>
                <a:srgbClr val="AEABAB"/>
              </a:solidFill>
            </c:spPr>
            <c:extLst>
              <c:ext xmlns:c16="http://schemas.microsoft.com/office/drawing/2014/chart" uri="{C3380CC4-5D6E-409C-BE32-E72D297353CC}">
                <c16:uniqueId val="{0000008A-C76F-4230-900D-40618C09729F}"/>
              </c:ext>
            </c:extLst>
          </c:dPt>
          <c:dPt>
            <c:idx val="67"/>
            <c:invertIfNegative val="0"/>
            <c:bubble3D val="0"/>
            <c:spPr>
              <a:solidFill>
                <a:srgbClr val="AEABAB"/>
              </a:solidFill>
            </c:spPr>
            <c:extLst>
              <c:ext xmlns:c16="http://schemas.microsoft.com/office/drawing/2014/chart" uri="{C3380CC4-5D6E-409C-BE32-E72D297353CC}">
                <c16:uniqueId val="{0000008C-C76F-4230-900D-40618C09729F}"/>
              </c:ext>
            </c:extLst>
          </c:dPt>
          <c:dPt>
            <c:idx val="68"/>
            <c:invertIfNegative val="0"/>
            <c:bubble3D val="0"/>
            <c:spPr>
              <a:solidFill>
                <a:srgbClr val="AEABAB"/>
              </a:solidFill>
            </c:spPr>
            <c:extLst>
              <c:ext xmlns:c16="http://schemas.microsoft.com/office/drawing/2014/chart" uri="{C3380CC4-5D6E-409C-BE32-E72D297353CC}">
                <c16:uniqueId val="{0000008E-C76F-4230-900D-40618C09729F}"/>
              </c:ext>
            </c:extLst>
          </c:dPt>
          <c:dPt>
            <c:idx val="69"/>
            <c:invertIfNegative val="0"/>
            <c:bubble3D val="0"/>
            <c:spPr>
              <a:solidFill>
                <a:srgbClr val="AEABAB"/>
              </a:solidFill>
            </c:spPr>
            <c:extLst>
              <c:ext xmlns:c16="http://schemas.microsoft.com/office/drawing/2014/chart" uri="{C3380CC4-5D6E-409C-BE32-E72D297353CC}">
                <c16:uniqueId val="{00000090-C76F-4230-900D-40618C09729F}"/>
              </c:ext>
            </c:extLst>
          </c:dPt>
          <c:dPt>
            <c:idx val="70"/>
            <c:invertIfNegative val="0"/>
            <c:bubble3D val="0"/>
            <c:spPr>
              <a:solidFill>
                <a:srgbClr val="AEABAB"/>
              </a:solidFill>
            </c:spPr>
            <c:extLst>
              <c:ext xmlns:c16="http://schemas.microsoft.com/office/drawing/2014/chart" uri="{C3380CC4-5D6E-409C-BE32-E72D297353CC}">
                <c16:uniqueId val="{00000092-C76F-4230-900D-40618C09729F}"/>
              </c:ext>
            </c:extLst>
          </c:dPt>
          <c:dPt>
            <c:idx val="71"/>
            <c:invertIfNegative val="0"/>
            <c:bubble3D val="0"/>
            <c:spPr>
              <a:solidFill>
                <a:srgbClr val="AEABAB"/>
              </a:solidFill>
            </c:spPr>
            <c:extLst>
              <c:ext xmlns:c16="http://schemas.microsoft.com/office/drawing/2014/chart" uri="{C3380CC4-5D6E-409C-BE32-E72D297353CC}">
                <c16:uniqueId val="{00000094-C76F-4230-900D-40618C09729F}"/>
              </c:ext>
            </c:extLst>
          </c:dPt>
          <c:dPt>
            <c:idx val="72"/>
            <c:invertIfNegative val="0"/>
            <c:bubble3D val="0"/>
            <c:spPr>
              <a:solidFill>
                <a:srgbClr val="AEABAB"/>
              </a:solidFill>
            </c:spPr>
            <c:extLst>
              <c:ext xmlns:c16="http://schemas.microsoft.com/office/drawing/2014/chart" uri="{C3380CC4-5D6E-409C-BE32-E72D297353CC}">
                <c16:uniqueId val="{00000096-C76F-4230-900D-40618C09729F}"/>
              </c:ext>
            </c:extLst>
          </c:dPt>
          <c:dPt>
            <c:idx val="73"/>
            <c:invertIfNegative val="0"/>
            <c:bubble3D val="0"/>
            <c:spPr>
              <a:solidFill>
                <a:srgbClr val="AEABAB"/>
              </a:solidFill>
            </c:spPr>
            <c:extLst>
              <c:ext xmlns:c16="http://schemas.microsoft.com/office/drawing/2014/chart" uri="{C3380CC4-5D6E-409C-BE32-E72D297353CC}">
                <c16:uniqueId val="{00000098-C76F-4230-900D-40618C09729F}"/>
              </c:ext>
            </c:extLst>
          </c:dPt>
          <c:dPt>
            <c:idx val="74"/>
            <c:invertIfNegative val="0"/>
            <c:bubble3D val="0"/>
            <c:spPr>
              <a:solidFill>
                <a:srgbClr val="AEABAB"/>
              </a:solidFill>
            </c:spPr>
            <c:extLst>
              <c:ext xmlns:c16="http://schemas.microsoft.com/office/drawing/2014/chart" uri="{C3380CC4-5D6E-409C-BE32-E72D297353CC}">
                <c16:uniqueId val="{0000009A-C76F-4230-900D-40618C09729F}"/>
              </c:ext>
            </c:extLst>
          </c:dPt>
          <c:dPt>
            <c:idx val="75"/>
            <c:invertIfNegative val="0"/>
            <c:bubble3D val="0"/>
            <c:spPr>
              <a:solidFill>
                <a:srgbClr val="AEABAB"/>
              </a:solidFill>
            </c:spPr>
            <c:extLst>
              <c:ext xmlns:c16="http://schemas.microsoft.com/office/drawing/2014/chart" uri="{C3380CC4-5D6E-409C-BE32-E72D297353CC}">
                <c16:uniqueId val="{0000009C-C76F-4230-900D-40618C09729F}"/>
              </c:ext>
            </c:extLst>
          </c:dPt>
          <c:dPt>
            <c:idx val="76"/>
            <c:invertIfNegative val="0"/>
            <c:bubble3D val="0"/>
            <c:spPr>
              <a:solidFill>
                <a:srgbClr val="AEABAB"/>
              </a:solidFill>
            </c:spPr>
            <c:extLst>
              <c:ext xmlns:c16="http://schemas.microsoft.com/office/drawing/2014/chart" uri="{C3380CC4-5D6E-409C-BE32-E72D297353CC}">
                <c16:uniqueId val="{0000009E-C76F-4230-900D-40618C09729F}"/>
              </c:ext>
            </c:extLst>
          </c:dPt>
          <c:dPt>
            <c:idx val="77"/>
            <c:invertIfNegative val="0"/>
            <c:bubble3D val="0"/>
            <c:spPr>
              <a:solidFill>
                <a:srgbClr val="AEABAB"/>
              </a:solidFill>
            </c:spPr>
            <c:extLst>
              <c:ext xmlns:c16="http://schemas.microsoft.com/office/drawing/2014/chart" uri="{C3380CC4-5D6E-409C-BE32-E72D297353CC}">
                <c16:uniqueId val="{000000A0-C76F-4230-900D-40618C09729F}"/>
              </c:ext>
            </c:extLst>
          </c:dPt>
          <c:dPt>
            <c:idx val="78"/>
            <c:invertIfNegative val="0"/>
            <c:bubble3D val="0"/>
            <c:spPr>
              <a:solidFill>
                <a:srgbClr val="AEABAB"/>
              </a:solidFill>
            </c:spPr>
            <c:extLst>
              <c:ext xmlns:c16="http://schemas.microsoft.com/office/drawing/2014/chart" uri="{C3380CC4-5D6E-409C-BE32-E72D297353CC}">
                <c16:uniqueId val="{000000A2-C76F-4230-900D-40618C09729F}"/>
              </c:ext>
            </c:extLst>
          </c:dPt>
          <c:dPt>
            <c:idx val="79"/>
            <c:invertIfNegative val="0"/>
            <c:bubble3D val="0"/>
            <c:spPr>
              <a:solidFill>
                <a:srgbClr val="AEABAB"/>
              </a:solidFill>
            </c:spPr>
            <c:extLst>
              <c:ext xmlns:c16="http://schemas.microsoft.com/office/drawing/2014/chart" uri="{C3380CC4-5D6E-409C-BE32-E72D297353CC}">
                <c16:uniqueId val="{000000A4-C76F-4230-900D-40618C09729F}"/>
              </c:ext>
            </c:extLst>
          </c:dPt>
          <c:dPt>
            <c:idx val="80"/>
            <c:invertIfNegative val="0"/>
            <c:bubble3D val="0"/>
            <c:spPr>
              <a:solidFill>
                <a:srgbClr val="AEABAB"/>
              </a:solidFill>
            </c:spPr>
            <c:extLst>
              <c:ext xmlns:c16="http://schemas.microsoft.com/office/drawing/2014/chart" uri="{C3380CC4-5D6E-409C-BE32-E72D297353CC}">
                <c16:uniqueId val="{000000A6-C76F-4230-900D-40618C09729F}"/>
              </c:ext>
            </c:extLst>
          </c:dPt>
          <c:dPt>
            <c:idx val="81"/>
            <c:invertIfNegative val="1"/>
            <c:bubble3D val="0"/>
            <c:spPr>
              <a:solidFill>
                <a:srgbClr val="AEABAB"/>
              </a:solidFill>
            </c:spPr>
            <c:extLst>
              <c:ext xmlns:c16="http://schemas.microsoft.com/office/drawing/2014/chart" uri="{C3380CC4-5D6E-409C-BE32-E72D297353CC}">
                <c16:uniqueId val="{000000A5-2993-41DE-A2CB-63102DE87051}"/>
              </c:ext>
            </c:extLst>
          </c:dPt>
          <c:dPt>
            <c:idx val="82"/>
            <c:invertIfNegative val="1"/>
            <c:bubble3D val="0"/>
            <c:spPr>
              <a:solidFill>
                <a:srgbClr val="AEABAB"/>
              </a:solidFill>
            </c:spPr>
            <c:extLst>
              <c:ext xmlns:c16="http://schemas.microsoft.com/office/drawing/2014/chart" uri="{C3380CC4-5D6E-409C-BE32-E72D297353CC}">
                <c16:uniqueId val="{000000A7-2993-41DE-A2CB-63102DE87051}"/>
              </c:ext>
            </c:extLst>
          </c:dPt>
          <c:dPt>
            <c:idx val="83"/>
            <c:invertIfNegative val="1"/>
            <c:bubble3D val="0"/>
            <c:spPr>
              <a:solidFill>
                <a:srgbClr val="AEABAB"/>
              </a:solidFill>
            </c:spPr>
            <c:extLst>
              <c:ext xmlns:c16="http://schemas.microsoft.com/office/drawing/2014/chart" uri="{C3380CC4-5D6E-409C-BE32-E72D297353CC}">
                <c16:uniqueId val="{000000A9-2993-41DE-A2CB-63102DE87051}"/>
              </c:ext>
            </c:extLst>
          </c:dPt>
          <c:dPt>
            <c:idx val="84"/>
            <c:invertIfNegative val="1"/>
            <c:bubble3D val="0"/>
            <c:spPr>
              <a:solidFill>
                <a:srgbClr val="AEABAB"/>
              </a:solidFill>
            </c:spPr>
            <c:extLst>
              <c:ext xmlns:c16="http://schemas.microsoft.com/office/drawing/2014/chart" uri="{C3380CC4-5D6E-409C-BE32-E72D297353CC}">
                <c16:uniqueId val="{000000AB-2993-41DE-A2CB-63102DE87051}"/>
              </c:ext>
            </c:extLst>
          </c:dPt>
          <c:dPt>
            <c:idx val="85"/>
            <c:invertIfNegative val="1"/>
            <c:bubble3D val="0"/>
            <c:spPr>
              <a:solidFill>
                <a:srgbClr val="AEABAB"/>
              </a:solidFill>
            </c:spPr>
            <c:extLst>
              <c:ext xmlns:c16="http://schemas.microsoft.com/office/drawing/2014/chart" uri="{C3380CC4-5D6E-409C-BE32-E72D297353CC}">
                <c16:uniqueId val="{000000AD-2993-41DE-A2CB-63102DE87051}"/>
              </c:ext>
            </c:extLst>
          </c:dPt>
          <c:dPt>
            <c:idx val="86"/>
            <c:invertIfNegative val="1"/>
            <c:bubble3D val="0"/>
            <c:spPr>
              <a:solidFill>
                <a:srgbClr val="AEABAB"/>
              </a:solidFill>
            </c:spPr>
            <c:extLst>
              <c:ext xmlns:c16="http://schemas.microsoft.com/office/drawing/2014/chart" uri="{C3380CC4-5D6E-409C-BE32-E72D297353CC}">
                <c16:uniqueId val="{000000AF-2993-41DE-A2CB-63102DE87051}"/>
              </c:ext>
            </c:extLst>
          </c:dPt>
          <c:dPt>
            <c:idx val="87"/>
            <c:invertIfNegative val="1"/>
            <c:bubble3D val="0"/>
            <c:spPr>
              <a:solidFill>
                <a:srgbClr val="AEABAB"/>
              </a:solidFill>
            </c:spPr>
            <c:extLst>
              <c:ext xmlns:c16="http://schemas.microsoft.com/office/drawing/2014/chart" uri="{C3380CC4-5D6E-409C-BE32-E72D297353CC}">
                <c16:uniqueId val="{000000B1-2993-41DE-A2CB-63102DE87051}"/>
              </c:ext>
            </c:extLst>
          </c:dPt>
          <c:dPt>
            <c:idx val="88"/>
            <c:invertIfNegative val="1"/>
            <c:bubble3D val="0"/>
            <c:spPr>
              <a:solidFill>
                <a:srgbClr val="AEABAB"/>
              </a:solidFill>
            </c:spPr>
            <c:extLst>
              <c:ext xmlns:c16="http://schemas.microsoft.com/office/drawing/2014/chart" uri="{C3380CC4-5D6E-409C-BE32-E72D297353CC}">
                <c16:uniqueId val="{000000B3-2993-41DE-A2CB-63102DE87051}"/>
              </c:ext>
            </c:extLst>
          </c:dPt>
          <c:dPt>
            <c:idx val="89"/>
            <c:invertIfNegative val="1"/>
            <c:bubble3D val="0"/>
            <c:spPr>
              <a:solidFill>
                <a:srgbClr val="AEABAB"/>
              </a:solidFill>
            </c:spPr>
            <c:extLst>
              <c:ext xmlns:c16="http://schemas.microsoft.com/office/drawing/2014/chart" uri="{C3380CC4-5D6E-409C-BE32-E72D297353CC}">
                <c16:uniqueId val="{000000B5-2993-41DE-A2CB-63102DE87051}"/>
              </c:ext>
            </c:extLst>
          </c:dPt>
          <c:dPt>
            <c:idx val="90"/>
            <c:invertIfNegative val="1"/>
            <c:bubble3D val="0"/>
            <c:spPr>
              <a:solidFill>
                <a:srgbClr val="AEABAB"/>
              </a:solidFill>
            </c:spPr>
            <c:extLst>
              <c:ext xmlns:c16="http://schemas.microsoft.com/office/drawing/2014/chart" uri="{C3380CC4-5D6E-409C-BE32-E72D297353CC}">
                <c16:uniqueId val="{000000B7-2993-41DE-A2CB-63102DE87051}"/>
              </c:ext>
            </c:extLst>
          </c:dPt>
          <c:dPt>
            <c:idx val="91"/>
            <c:invertIfNegative val="1"/>
            <c:bubble3D val="0"/>
            <c:spPr>
              <a:solidFill>
                <a:srgbClr val="AEABAB"/>
              </a:solidFill>
            </c:spPr>
            <c:extLst>
              <c:ext xmlns:c16="http://schemas.microsoft.com/office/drawing/2014/chart" uri="{C3380CC4-5D6E-409C-BE32-E72D297353CC}">
                <c16:uniqueId val="{000000B9-2993-41DE-A2CB-63102DE87051}"/>
              </c:ext>
            </c:extLst>
          </c:dPt>
          <c:dPt>
            <c:idx val="92"/>
            <c:invertIfNegative val="1"/>
            <c:bubble3D val="0"/>
            <c:spPr>
              <a:solidFill>
                <a:srgbClr val="AEABAB"/>
              </a:solidFill>
            </c:spPr>
            <c:extLst>
              <c:ext xmlns:c16="http://schemas.microsoft.com/office/drawing/2014/chart" uri="{C3380CC4-5D6E-409C-BE32-E72D297353CC}">
                <c16:uniqueId val="{000000BB-2993-41DE-A2CB-63102DE87051}"/>
              </c:ext>
            </c:extLst>
          </c:dPt>
          <c:dPt>
            <c:idx val="93"/>
            <c:invertIfNegative val="1"/>
            <c:bubble3D val="0"/>
            <c:spPr>
              <a:solidFill>
                <a:srgbClr val="AEABAB"/>
              </a:solidFill>
            </c:spPr>
            <c:extLst>
              <c:ext xmlns:c16="http://schemas.microsoft.com/office/drawing/2014/chart" uri="{C3380CC4-5D6E-409C-BE32-E72D297353CC}">
                <c16:uniqueId val="{000000BD-2993-41DE-A2CB-63102DE87051}"/>
              </c:ext>
            </c:extLst>
          </c:dPt>
          <c:dPt>
            <c:idx val="94"/>
            <c:invertIfNegative val="1"/>
            <c:bubble3D val="0"/>
            <c:spPr>
              <a:solidFill>
                <a:srgbClr val="AEABAB"/>
              </a:solidFill>
            </c:spPr>
            <c:extLst>
              <c:ext xmlns:c16="http://schemas.microsoft.com/office/drawing/2014/chart" uri="{C3380CC4-5D6E-409C-BE32-E72D297353CC}">
                <c16:uniqueId val="{000000BF-2993-41DE-A2CB-63102DE87051}"/>
              </c:ext>
            </c:extLst>
          </c:dPt>
          <c:dPt>
            <c:idx val="95"/>
            <c:invertIfNegative val="1"/>
            <c:bubble3D val="0"/>
            <c:spPr>
              <a:solidFill>
                <a:srgbClr val="AEABAB"/>
              </a:solidFill>
            </c:spPr>
            <c:extLst>
              <c:ext xmlns:c16="http://schemas.microsoft.com/office/drawing/2014/chart" uri="{C3380CC4-5D6E-409C-BE32-E72D297353CC}">
                <c16:uniqueId val="{000000C1-2993-41DE-A2CB-63102DE87051}"/>
              </c:ext>
            </c:extLst>
          </c:dPt>
          <c:dPt>
            <c:idx val="96"/>
            <c:invertIfNegative val="1"/>
            <c:bubble3D val="0"/>
            <c:spPr>
              <a:solidFill>
                <a:srgbClr val="AEABAB"/>
              </a:solidFill>
            </c:spPr>
            <c:extLst>
              <c:ext xmlns:c16="http://schemas.microsoft.com/office/drawing/2014/chart" uri="{C3380CC4-5D6E-409C-BE32-E72D297353CC}">
                <c16:uniqueId val="{000000C3-2993-41DE-A2CB-63102DE87051}"/>
              </c:ext>
            </c:extLst>
          </c:dPt>
          <c:dPt>
            <c:idx val="97"/>
            <c:invertIfNegative val="1"/>
            <c:bubble3D val="0"/>
            <c:spPr>
              <a:solidFill>
                <a:srgbClr val="AEABAB"/>
              </a:solidFill>
            </c:spPr>
            <c:extLst>
              <c:ext xmlns:c16="http://schemas.microsoft.com/office/drawing/2014/chart" uri="{C3380CC4-5D6E-409C-BE32-E72D297353CC}">
                <c16:uniqueId val="{000000C5-2993-41DE-A2CB-63102DE87051}"/>
              </c:ext>
            </c:extLst>
          </c:dPt>
          <c:dPt>
            <c:idx val="98"/>
            <c:invertIfNegative val="1"/>
            <c:bubble3D val="0"/>
            <c:spPr>
              <a:solidFill>
                <a:srgbClr val="AEABAB"/>
              </a:solidFill>
            </c:spPr>
            <c:extLst>
              <c:ext xmlns:c16="http://schemas.microsoft.com/office/drawing/2014/chart" uri="{C3380CC4-5D6E-409C-BE32-E72D297353CC}">
                <c16:uniqueId val="{000000C7-2993-41DE-A2CB-63102DE87051}"/>
              </c:ext>
            </c:extLst>
          </c:dPt>
          <c:dPt>
            <c:idx val="99"/>
            <c:invertIfNegative val="1"/>
            <c:bubble3D val="0"/>
            <c:spPr>
              <a:solidFill>
                <a:srgbClr val="AEABAB"/>
              </a:solidFill>
            </c:spPr>
            <c:extLst>
              <c:ext xmlns:c16="http://schemas.microsoft.com/office/drawing/2014/chart" uri="{C3380CC4-5D6E-409C-BE32-E72D297353CC}">
                <c16:uniqueId val="{000000C9-2993-41DE-A2CB-63102DE87051}"/>
              </c:ext>
            </c:extLst>
          </c:dPt>
          <c:dPt>
            <c:idx val="100"/>
            <c:invertIfNegative val="1"/>
            <c:bubble3D val="0"/>
            <c:spPr>
              <a:solidFill>
                <a:srgbClr val="AEABAB"/>
              </a:solidFill>
            </c:spPr>
            <c:extLst>
              <c:ext xmlns:c16="http://schemas.microsoft.com/office/drawing/2014/chart" uri="{C3380CC4-5D6E-409C-BE32-E72D297353CC}">
                <c16:uniqueId val="{000000CB-2993-41DE-A2CB-63102DE87051}"/>
              </c:ext>
            </c:extLst>
          </c:dPt>
          <c:dPt>
            <c:idx val="101"/>
            <c:invertIfNegative val="1"/>
            <c:bubble3D val="0"/>
            <c:spPr>
              <a:solidFill>
                <a:srgbClr val="AEABAB"/>
              </a:solidFill>
            </c:spPr>
            <c:extLst>
              <c:ext xmlns:c16="http://schemas.microsoft.com/office/drawing/2014/chart" uri="{C3380CC4-5D6E-409C-BE32-E72D297353CC}">
                <c16:uniqueId val="{000000CD-2993-41DE-A2CB-63102DE87051}"/>
              </c:ext>
            </c:extLst>
          </c:dPt>
          <c:dPt>
            <c:idx val="102"/>
            <c:invertIfNegative val="1"/>
            <c:bubble3D val="0"/>
            <c:spPr>
              <a:solidFill>
                <a:srgbClr val="AEABAB"/>
              </a:solidFill>
            </c:spPr>
            <c:extLst>
              <c:ext xmlns:c16="http://schemas.microsoft.com/office/drawing/2014/chart" uri="{C3380CC4-5D6E-409C-BE32-E72D297353CC}">
                <c16:uniqueId val="{000000CF-2993-41DE-A2CB-63102DE87051}"/>
              </c:ext>
            </c:extLst>
          </c:dPt>
          <c:dPt>
            <c:idx val="103"/>
            <c:invertIfNegative val="1"/>
            <c:bubble3D val="0"/>
            <c:spPr>
              <a:solidFill>
                <a:srgbClr val="AEABAB"/>
              </a:solidFill>
            </c:spPr>
            <c:extLst>
              <c:ext xmlns:c16="http://schemas.microsoft.com/office/drawing/2014/chart" uri="{C3380CC4-5D6E-409C-BE32-E72D297353CC}">
                <c16:uniqueId val="{000000D1-2993-41DE-A2CB-63102DE87051}"/>
              </c:ext>
            </c:extLst>
          </c:dPt>
          <c:dPt>
            <c:idx val="104"/>
            <c:invertIfNegative val="1"/>
            <c:bubble3D val="0"/>
            <c:spPr>
              <a:solidFill>
                <a:srgbClr val="AEABAB"/>
              </a:solidFill>
            </c:spPr>
            <c:extLst>
              <c:ext xmlns:c16="http://schemas.microsoft.com/office/drawing/2014/chart" uri="{C3380CC4-5D6E-409C-BE32-E72D297353CC}">
                <c16:uniqueId val="{000000D3-2993-41DE-A2CB-63102DE87051}"/>
              </c:ext>
            </c:extLst>
          </c:dPt>
          <c:dPt>
            <c:idx val="105"/>
            <c:invertIfNegative val="1"/>
            <c:bubble3D val="0"/>
            <c:spPr>
              <a:solidFill>
                <a:srgbClr val="AEABAB"/>
              </a:solidFill>
            </c:spPr>
            <c:extLst>
              <c:ext xmlns:c16="http://schemas.microsoft.com/office/drawing/2014/chart" uri="{C3380CC4-5D6E-409C-BE32-E72D297353CC}">
                <c16:uniqueId val="{000000D5-2993-41DE-A2CB-63102DE87051}"/>
              </c:ext>
            </c:extLst>
          </c:dPt>
          <c:dPt>
            <c:idx val="106"/>
            <c:invertIfNegative val="1"/>
            <c:bubble3D val="0"/>
            <c:spPr>
              <a:solidFill>
                <a:srgbClr val="AEABAB"/>
              </a:solidFill>
            </c:spPr>
            <c:extLst>
              <c:ext xmlns:c16="http://schemas.microsoft.com/office/drawing/2014/chart" uri="{C3380CC4-5D6E-409C-BE32-E72D297353CC}">
                <c16:uniqueId val="{000000D7-2993-41DE-A2CB-63102DE87051}"/>
              </c:ext>
            </c:extLst>
          </c:dPt>
          <c:dPt>
            <c:idx val="107"/>
            <c:invertIfNegative val="1"/>
            <c:bubble3D val="0"/>
            <c:spPr>
              <a:solidFill>
                <a:srgbClr val="AEABAB"/>
              </a:solidFill>
            </c:spPr>
            <c:extLst>
              <c:ext xmlns:c16="http://schemas.microsoft.com/office/drawing/2014/chart" uri="{C3380CC4-5D6E-409C-BE32-E72D297353CC}">
                <c16:uniqueId val="{000000D9-2993-41DE-A2CB-63102DE87051}"/>
              </c:ext>
            </c:extLst>
          </c:dPt>
          <c:dPt>
            <c:idx val="108"/>
            <c:invertIfNegative val="1"/>
            <c:bubble3D val="0"/>
            <c:spPr>
              <a:solidFill>
                <a:srgbClr val="AEABAB"/>
              </a:solidFill>
            </c:spPr>
            <c:extLst>
              <c:ext xmlns:c16="http://schemas.microsoft.com/office/drawing/2014/chart" uri="{C3380CC4-5D6E-409C-BE32-E72D297353CC}">
                <c16:uniqueId val="{000000DB-2993-41DE-A2CB-63102DE87051}"/>
              </c:ext>
            </c:extLst>
          </c:dPt>
          <c:dPt>
            <c:idx val="109"/>
            <c:invertIfNegative val="1"/>
            <c:bubble3D val="0"/>
            <c:spPr>
              <a:solidFill>
                <a:srgbClr val="AEABAB"/>
              </a:solidFill>
            </c:spPr>
            <c:extLst>
              <c:ext xmlns:c16="http://schemas.microsoft.com/office/drawing/2014/chart" uri="{C3380CC4-5D6E-409C-BE32-E72D297353CC}">
                <c16:uniqueId val="{000000DD-2993-41DE-A2CB-63102DE87051}"/>
              </c:ext>
            </c:extLst>
          </c:dPt>
          <c:dPt>
            <c:idx val="110"/>
            <c:invertIfNegative val="1"/>
            <c:bubble3D val="0"/>
            <c:spPr>
              <a:solidFill>
                <a:srgbClr val="AEABAB"/>
              </a:solidFill>
            </c:spPr>
            <c:extLst>
              <c:ext xmlns:c16="http://schemas.microsoft.com/office/drawing/2014/chart" uri="{C3380CC4-5D6E-409C-BE32-E72D297353CC}">
                <c16:uniqueId val="{000000DF-2993-41DE-A2CB-63102DE87051}"/>
              </c:ext>
            </c:extLst>
          </c:dPt>
          <c:dPt>
            <c:idx val="111"/>
            <c:invertIfNegative val="1"/>
            <c:bubble3D val="0"/>
            <c:spPr>
              <a:solidFill>
                <a:srgbClr val="AEABAB"/>
              </a:solidFill>
            </c:spPr>
            <c:extLst>
              <c:ext xmlns:c16="http://schemas.microsoft.com/office/drawing/2014/chart" uri="{C3380CC4-5D6E-409C-BE32-E72D297353CC}">
                <c16:uniqueId val="{000000E1-2993-41DE-A2CB-63102DE87051}"/>
              </c:ext>
            </c:extLst>
          </c:dPt>
          <c:dPt>
            <c:idx val="112"/>
            <c:invertIfNegative val="1"/>
            <c:bubble3D val="0"/>
            <c:spPr>
              <a:solidFill>
                <a:srgbClr val="AEABAB"/>
              </a:solidFill>
            </c:spPr>
            <c:extLst>
              <c:ext xmlns:c16="http://schemas.microsoft.com/office/drawing/2014/chart" uri="{C3380CC4-5D6E-409C-BE32-E72D297353CC}">
                <c16:uniqueId val="{000000E3-2993-41DE-A2CB-63102DE87051}"/>
              </c:ext>
            </c:extLst>
          </c:dPt>
          <c:dPt>
            <c:idx val="113"/>
            <c:invertIfNegative val="1"/>
            <c:bubble3D val="0"/>
            <c:spPr>
              <a:solidFill>
                <a:srgbClr val="AEABAB"/>
              </a:solidFill>
            </c:spPr>
            <c:extLst>
              <c:ext xmlns:c16="http://schemas.microsoft.com/office/drawing/2014/chart" uri="{C3380CC4-5D6E-409C-BE32-E72D297353CC}">
                <c16:uniqueId val="{000000E5-2993-41DE-A2CB-63102DE87051}"/>
              </c:ext>
            </c:extLst>
          </c:dPt>
          <c:dPt>
            <c:idx val="114"/>
            <c:invertIfNegative val="1"/>
            <c:bubble3D val="0"/>
            <c:spPr>
              <a:solidFill>
                <a:srgbClr val="AEABAB"/>
              </a:solidFill>
            </c:spPr>
            <c:extLst>
              <c:ext xmlns:c16="http://schemas.microsoft.com/office/drawing/2014/chart" uri="{C3380CC4-5D6E-409C-BE32-E72D297353CC}">
                <c16:uniqueId val="{000000E7-2993-41DE-A2CB-63102DE87051}"/>
              </c:ext>
            </c:extLst>
          </c:dPt>
          <c:dPt>
            <c:idx val="115"/>
            <c:invertIfNegative val="1"/>
            <c:bubble3D val="0"/>
            <c:spPr>
              <a:solidFill>
                <a:srgbClr val="AEABAB"/>
              </a:solidFill>
            </c:spPr>
            <c:extLst>
              <c:ext xmlns:c16="http://schemas.microsoft.com/office/drawing/2014/chart" uri="{C3380CC4-5D6E-409C-BE32-E72D297353CC}">
                <c16:uniqueId val="{000000E9-2993-41DE-A2CB-63102DE87051}"/>
              </c:ext>
            </c:extLst>
          </c:dPt>
          <c:dPt>
            <c:idx val="116"/>
            <c:invertIfNegative val="1"/>
            <c:bubble3D val="0"/>
            <c:spPr>
              <a:solidFill>
                <a:srgbClr val="AEABAB"/>
              </a:solidFill>
            </c:spPr>
            <c:extLst>
              <c:ext xmlns:c16="http://schemas.microsoft.com/office/drawing/2014/chart" uri="{C3380CC4-5D6E-409C-BE32-E72D297353CC}">
                <c16:uniqueId val="{000000EB-2993-41DE-A2CB-63102DE87051}"/>
              </c:ext>
            </c:extLst>
          </c:dPt>
          <c:dPt>
            <c:idx val="117"/>
            <c:invertIfNegative val="1"/>
            <c:bubble3D val="0"/>
            <c:spPr>
              <a:solidFill>
                <a:srgbClr val="AEABAB"/>
              </a:solidFill>
            </c:spPr>
            <c:extLst>
              <c:ext xmlns:c16="http://schemas.microsoft.com/office/drawing/2014/chart" uri="{C3380CC4-5D6E-409C-BE32-E72D297353CC}">
                <c16:uniqueId val="{000000ED-2993-41DE-A2CB-63102DE87051}"/>
              </c:ext>
            </c:extLst>
          </c:dPt>
          <c:dPt>
            <c:idx val="118"/>
            <c:invertIfNegative val="1"/>
            <c:bubble3D val="0"/>
            <c:spPr>
              <a:solidFill>
                <a:srgbClr val="AEABAB"/>
              </a:solidFill>
            </c:spPr>
            <c:extLst>
              <c:ext xmlns:c16="http://schemas.microsoft.com/office/drawing/2014/chart" uri="{C3380CC4-5D6E-409C-BE32-E72D297353CC}">
                <c16:uniqueId val="{000000EF-2993-41DE-A2CB-63102DE87051}"/>
              </c:ext>
            </c:extLst>
          </c:dPt>
          <c:dPt>
            <c:idx val="119"/>
            <c:invertIfNegative val="1"/>
            <c:bubble3D val="0"/>
            <c:spPr>
              <a:solidFill>
                <a:srgbClr val="AEABAB"/>
              </a:solidFill>
            </c:spPr>
            <c:extLst>
              <c:ext xmlns:c16="http://schemas.microsoft.com/office/drawing/2014/chart" uri="{C3380CC4-5D6E-409C-BE32-E72D297353CC}">
                <c16:uniqueId val="{000000F1-2993-41DE-A2CB-63102DE87051}"/>
              </c:ext>
            </c:extLst>
          </c:dPt>
          <c:dPt>
            <c:idx val="120"/>
            <c:invertIfNegative val="1"/>
            <c:bubble3D val="0"/>
            <c:spPr>
              <a:solidFill>
                <a:srgbClr val="AEABAB"/>
              </a:solidFill>
            </c:spPr>
            <c:extLst>
              <c:ext xmlns:c16="http://schemas.microsoft.com/office/drawing/2014/chart" uri="{C3380CC4-5D6E-409C-BE32-E72D297353CC}">
                <c16:uniqueId val="{000000F3-2993-41DE-A2CB-63102DE87051}"/>
              </c:ext>
            </c:extLst>
          </c:dPt>
          <c:dPt>
            <c:idx val="121"/>
            <c:invertIfNegative val="1"/>
            <c:bubble3D val="0"/>
            <c:spPr>
              <a:solidFill>
                <a:srgbClr val="AEABAB"/>
              </a:solidFill>
            </c:spPr>
            <c:extLst>
              <c:ext xmlns:c16="http://schemas.microsoft.com/office/drawing/2014/chart" uri="{C3380CC4-5D6E-409C-BE32-E72D297353CC}">
                <c16:uniqueId val="{000000F5-2993-41DE-A2CB-63102DE87051}"/>
              </c:ext>
            </c:extLst>
          </c:dPt>
          <c:dPt>
            <c:idx val="122"/>
            <c:invertIfNegative val="1"/>
            <c:bubble3D val="0"/>
            <c:spPr>
              <a:solidFill>
                <a:srgbClr val="AEABAB"/>
              </a:solidFill>
            </c:spPr>
            <c:extLst>
              <c:ext xmlns:c16="http://schemas.microsoft.com/office/drawing/2014/chart" uri="{C3380CC4-5D6E-409C-BE32-E72D297353CC}">
                <c16:uniqueId val="{000000F7-2993-41DE-A2CB-63102DE87051}"/>
              </c:ext>
            </c:extLst>
          </c:dPt>
          <c:dPt>
            <c:idx val="123"/>
            <c:invertIfNegative val="1"/>
            <c:bubble3D val="0"/>
            <c:spPr>
              <a:solidFill>
                <a:srgbClr val="AEABAB"/>
              </a:solidFill>
            </c:spPr>
            <c:extLst>
              <c:ext xmlns:c16="http://schemas.microsoft.com/office/drawing/2014/chart" uri="{C3380CC4-5D6E-409C-BE32-E72D297353CC}">
                <c16:uniqueId val="{000000F9-2993-41DE-A2CB-63102DE87051}"/>
              </c:ext>
            </c:extLst>
          </c:dPt>
          <c:dPt>
            <c:idx val="124"/>
            <c:invertIfNegative val="1"/>
            <c:bubble3D val="0"/>
            <c:spPr>
              <a:solidFill>
                <a:srgbClr val="AEABAB"/>
              </a:solidFill>
            </c:spPr>
            <c:extLst>
              <c:ext xmlns:c16="http://schemas.microsoft.com/office/drawing/2014/chart" uri="{C3380CC4-5D6E-409C-BE32-E72D297353CC}">
                <c16:uniqueId val="{000000FB-2993-41DE-A2CB-63102DE87051}"/>
              </c:ext>
            </c:extLst>
          </c:dPt>
          <c:dPt>
            <c:idx val="125"/>
            <c:invertIfNegative val="1"/>
            <c:bubble3D val="0"/>
            <c:spPr>
              <a:solidFill>
                <a:srgbClr val="AEABAB"/>
              </a:solidFill>
            </c:spPr>
            <c:extLst>
              <c:ext xmlns:c16="http://schemas.microsoft.com/office/drawing/2014/chart" uri="{C3380CC4-5D6E-409C-BE32-E72D297353CC}">
                <c16:uniqueId val="{000000FD-2993-41DE-A2CB-63102DE87051}"/>
              </c:ext>
            </c:extLst>
          </c:dPt>
          <c:dPt>
            <c:idx val="126"/>
            <c:invertIfNegative val="1"/>
            <c:bubble3D val="0"/>
            <c:spPr>
              <a:solidFill>
                <a:srgbClr val="AEABAB"/>
              </a:solidFill>
            </c:spPr>
            <c:extLst>
              <c:ext xmlns:c16="http://schemas.microsoft.com/office/drawing/2014/chart" uri="{C3380CC4-5D6E-409C-BE32-E72D297353CC}">
                <c16:uniqueId val="{000000FF-2993-41DE-A2CB-63102DE87051}"/>
              </c:ext>
            </c:extLst>
          </c:dPt>
          <c:dPt>
            <c:idx val="127"/>
            <c:invertIfNegative val="1"/>
            <c:bubble3D val="0"/>
            <c:spPr>
              <a:solidFill>
                <a:srgbClr val="AEABAB"/>
              </a:solidFill>
            </c:spPr>
            <c:extLst>
              <c:ext xmlns:c16="http://schemas.microsoft.com/office/drawing/2014/chart" uri="{C3380CC4-5D6E-409C-BE32-E72D297353CC}">
                <c16:uniqueId val="{00000101-2993-41DE-A2CB-63102DE87051}"/>
              </c:ext>
            </c:extLst>
          </c:dPt>
          <c:dPt>
            <c:idx val="128"/>
            <c:invertIfNegative val="1"/>
            <c:bubble3D val="0"/>
            <c:spPr>
              <a:solidFill>
                <a:srgbClr val="AEABAB"/>
              </a:solidFill>
            </c:spPr>
            <c:extLst>
              <c:ext xmlns:c16="http://schemas.microsoft.com/office/drawing/2014/chart" uri="{C3380CC4-5D6E-409C-BE32-E72D297353CC}">
                <c16:uniqueId val="{00000103-2993-41DE-A2CB-63102DE87051}"/>
              </c:ext>
            </c:extLst>
          </c:dPt>
          <c:dPt>
            <c:idx val="129"/>
            <c:invertIfNegative val="1"/>
            <c:bubble3D val="0"/>
            <c:spPr>
              <a:solidFill>
                <a:srgbClr val="AEABAB"/>
              </a:solidFill>
            </c:spPr>
            <c:extLst>
              <c:ext xmlns:c16="http://schemas.microsoft.com/office/drawing/2014/chart" uri="{C3380CC4-5D6E-409C-BE32-E72D297353CC}">
                <c16:uniqueId val="{00000105-2993-41DE-A2CB-63102DE87051}"/>
              </c:ext>
            </c:extLst>
          </c:dPt>
          <c:dPt>
            <c:idx val="130"/>
            <c:invertIfNegative val="1"/>
            <c:bubble3D val="0"/>
            <c:spPr>
              <a:solidFill>
                <a:srgbClr val="AEABAB"/>
              </a:solidFill>
            </c:spPr>
            <c:extLst>
              <c:ext xmlns:c16="http://schemas.microsoft.com/office/drawing/2014/chart" uri="{C3380CC4-5D6E-409C-BE32-E72D297353CC}">
                <c16:uniqueId val="{00000107-2993-41DE-A2CB-63102DE87051}"/>
              </c:ext>
            </c:extLst>
          </c:dPt>
          <c:dPt>
            <c:idx val="131"/>
            <c:invertIfNegative val="1"/>
            <c:bubble3D val="0"/>
            <c:spPr>
              <a:solidFill>
                <a:srgbClr val="AEABAB"/>
              </a:solidFill>
            </c:spPr>
            <c:extLst>
              <c:ext xmlns:c16="http://schemas.microsoft.com/office/drawing/2014/chart" uri="{C3380CC4-5D6E-409C-BE32-E72D297353CC}">
                <c16:uniqueId val="{00000109-2993-41DE-A2CB-63102DE87051}"/>
              </c:ext>
            </c:extLst>
          </c:dPt>
          <c:dPt>
            <c:idx val="132"/>
            <c:invertIfNegative val="1"/>
            <c:bubble3D val="0"/>
            <c:spPr>
              <a:solidFill>
                <a:srgbClr val="AEABAB"/>
              </a:solidFill>
            </c:spPr>
            <c:extLst>
              <c:ext xmlns:c16="http://schemas.microsoft.com/office/drawing/2014/chart" uri="{C3380CC4-5D6E-409C-BE32-E72D297353CC}">
                <c16:uniqueId val="{0000010B-2993-41DE-A2CB-63102DE87051}"/>
              </c:ext>
            </c:extLst>
          </c:dPt>
          <c:dPt>
            <c:idx val="133"/>
            <c:invertIfNegative val="1"/>
            <c:bubble3D val="0"/>
            <c:spPr>
              <a:solidFill>
                <a:srgbClr val="AEABAB"/>
              </a:solidFill>
            </c:spPr>
            <c:extLst>
              <c:ext xmlns:c16="http://schemas.microsoft.com/office/drawing/2014/chart" uri="{C3380CC4-5D6E-409C-BE32-E72D297353CC}">
                <c16:uniqueId val="{0000010D-2993-41DE-A2CB-63102DE87051}"/>
              </c:ext>
            </c:extLst>
          </c:dPt>
          <c:dPt>
            <c:idx val="134"/>
            <c:invertIfNegative val="1"/>
            <c:bubble3D val="0"/>
            <c:spPr>
              <a:solidFill>
                <a:srgbClr val="AEABAB"/>
              </a:solidFill>
            </c:spPr>
            <c:extLst>
              <c:ext xmlns:c16="http://schemas.microsoft.com/office/drawing/2014/chart" uri="{C3380CC4-5D6E-409C-BE32-E72D297353CC}">
                <c16:uniqueId val="{0000010F-2993-41DE-A2CB-63102DE87051}"/>
              </c:ext>
            </c:extLst>
          </c:dPt>
          <c:dPt>
            <c:idx val="135"/>
            <c:invertIfNegative val="1"/>
            <c:bubble3D val="0"/>
            <c:spPr>
              <a:solidFill>
                <a:srgbClr val="AEABAB"/>
              </a:solidFill>
            </c:spPr>
            <c:extLst>
              <c:ext xmlns:c16="http://schemas.microsoft.com/office/drawing/2014/chart" uri="{C3380CC4-5D6E-409C-BE32-E72D297353CC}">
                <c16:uniqueId val="{00000111-2993-41DE-A2CB-63102DE87051}"/>
              </c:ext>
            </c:extLst>
          </c:dPt>
          <c:dPt>
            <c:idx val="136"/>
            <c:invertIfNegative val="1"/>
            <c:bubble3D val="0"/>
            <c:spPr>
              <a:solidFill>
                <a:srgbClr val="AEABAB"/>
              </a:solidFill>
            </c:spPr>
            <c:extLst>
              <c:ext xmlns:c16="http://schemas.microsoft.com/office/drawing/2014/chart" uri="{C3380CC4-5D6E-409C-BE32-E72D297353CC}">
                <c16:uniqueId val="{00000113-2993-41DE-A2CB-63102DE87051}"/>
              </c:ext>
            </c:extLst>
          </c:dPt>
          <c:dPt>
            <c:idx val="137"/>
            <c:invertIfNegative val="1"/>
            <c:bubble3D val="0"/>
            <c:spPr>
              <a:solidFill>
                <a:srgbClr val="AEABAB"/>
              </a:solidFill>
            </c:spPr>
            <c:extLst>
              <c:ext xmlns:c16="http://schemas.microsoft.com/office/drawing/2014/chart" uri="{C3380CC4-5D6E-409C-BE32-E72D297353CC}">
                <c16:uniqueId val="{00000115-2993-41DE-A2CB-63102DE87051}"/>
              </c:ext>
            </c:extLst>
          </c:dPt>
          <c:dPt>
            <c:idx val="138"/>
            <c:invertIfNegative val="1"/>
            <c:bubble3D val="0"/>
            <c:spPr>
              <a:solidFill>
                <a:srgbClr val="AEABAB"/>
              </a:solidFill>
            </c:spPr>
            <c:extLst>
              <c:ext xmlns:c16="http://schemas.microsoft.com/office/drawing/2014/chart" uri="{C3380CC4-5D6E-409C-BE32-E72D297353CC}">
                <c16:uniqueId val="{00000117-2993-41DE-A2CB-63102DE87051}"/>
              </c:ext>
            </c:extLst>
          </c:dPt>
          <c:dPt>
            <c:idx val="139"/>
            <c:invertIfNegative val="1"/>
            <c:bubble3D val="0"/>
            <c:spPr>
              <a:solidFill>
                <a:srgbClr val="AEABAB"/>
              </a:solidFill>
            </c:spPr>
            <c:extLst>
              <c:ext xmlns:c16="http://schemas.microsoft.com/office/drawing/2014/chart" uri="{C3380CC4-5D6E-409C-BE32-E72D297353CC}">
                <c16:uniqueId val="{00000119-2993-41DE-A2CB-63102DE87051}"/>
              </c:ext>
            </c:extLst>
          </c:dPt>
          <c:dPt>
            <c:idx val="140"/>
            <c:invertIfNegative val="1"/>
            <c:bubble3D val="0"/>
            <c:spPr>
              <a:solidFill>
                <a:srgbClr val="AEABAB"/>
              </a:solidFill>
            </c:spPr>
            <c:extLst>
              <c:ext xmlns:c16="http://schemas.microsoft.com/office/drawing/2014/chart" uri="{C3380CC4-5D6E-409C-BE32-E72D297353CC}">
                <c16:uniqueId val="{0000011B-2993-41DE-A2CB-63102DE87051}"/>
              </c:ext>
            </c:extLst>
          </c:dPt>
          <c:dPt>
            <c:idx val="141"/>
            <c:invertIfNegative val="1"/>
            <c:bubble3D val="0"/>
            <c:spPr>
              <a:solidFill>
                <a:srgbClr val="AEABAB"/>
              </a:solidFill>
            </c:spPr>
            <c:extLst>
              <c:ext xmlns:c16="http://schemas.microsoft.com/office/drawing/2014/chart" uri="{C3380CC4-5D6E-409C-BE32-E72D297353CC}">
                <c16:uniqueId val="{0000011D-2993-41DE-A2CB-63102DE87051}"/>
              </c:ext>
            </c:extLst>
          </c:dPt>
          <c:dPt>
            <c:idx val="142"/>
            <c:invertIfNegative val="1"/>
            <c:bubble3D val="0"/>
            <c:spPr>
              <a:solidFill>
                <a:srgbClr val="AEABAB"/>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144</c:f>
              <c:strCache>
                <c:ptCount val="143"/>
                <c:pt idx="0">
                  <c:v>Private Lab</c:v>
                </c:pt>
                <c:pt idx="1">
                  <c:v>President</c:v>
                </c:pt>
                <c:pt idx="2">
                  <c:v>Private Lab</c:v>
                </c:pt>
                <c:pt idx="3">
                  <c:v>Private Lab</c:v>
                </c:pt>
                <c:pt idx="4">
                  <c:v>President</c:v>
                </c:pt>
                <c:pt idx="5">
                  <c:v>Private Lab</c:v>
                </c:pt>
                <c:pt idx="6">
                  <c:v>La Vache Qu</c:v>
                </c:pt>
                <c:pt idx="7">
                  <c:v>La Vache Qu</c:v>
                </c:pt>
                <c:pt idx="8">
                  <c:v>Private Lab</c:v>
                </c:pt>
                <c:pt idx="9">
                  <c:v>President</c:v>
                </c:pt>
                <c:pt idx="10">
                  <c:v>Private Lab</c:v>
                </c:pt>
                <c:pt idx="11">
                  <c:v>Boursin</c:v>
                </c:pt>
                <c:pt idx="12">
                  <c:v>President</c:v>
                </c:pt>
                <c:pt idx="13">
                  <c:v>President</c:v>
                </c:pt>
                <c:pt idx="14">
                  <c:v>Private Lab</c:v>
                </c:pt>
                <c:pt idx="15">
                  <c:v>La Belle Et</c:v>
                </c:pt>
                <c:pt idx="16">
                  <c:v>Private Lab</c:v>
                </c:pt>
                <c:pt idx="17">
                  <c:v>Private Lab</c:v>
                </c:pt>
                <c:pt idx="18">
                  <c:v>La Belle Et</c:v>
                </c:pt>
                <c:pt idx="19">
                  <c:v>Fauquet</c:v>
                </c:pt>
                <c:pt idx="20">
                  <c:v>La Belle Et</c:v>
                </c:pt>
                <c:pt idx="21">
                  <c:v>President</c:v>
                </c:pt>
                <c:pt idx="22">
                  <c:v>La Belle Et</c:v>
                </c:pt>
                <c:pt idx="23">
                  <c:v>Leerdammer</c:v>
                </c:pt>
                <c:pt idx="24">
                  <c:v>All Others</c:v>
                </c:pt>
                <c:pt idx="25">
                  <c:v>All Others</c:v>
                </c:pt>
                <c:pt idx="26">
                  <c:v>Leerdammer</c:v>
                </c:pt>
                <c:pt idx="27">
                  <c:v>All Others</c:v>
                </c:pt>
                <c:pt idx="28">
                  <c:v>La Belle Et</c:v>
                </c:pt>
                <c:pt idx="29">
                  <c:v>Raguin</c:v>
                </c:pt>
                <c:pt idx="30">
                  <c:v>La Vache Qu</c:v>
                </c:pt>
                <c:pt idx="31">
                  <c:v>All Others</c:v>
                </c:pt>
                <c:pt idx="32">
                  <c:v>Raguin</c:v>
                </c:pt>
                <c:pt idx="33">
                  <c:v>All Others</c:v>
                </c:pt>
                <c:pt idx="34">
                  <c:v>All Others</c:v>
                </c:pt>
                <c:pt idx="35">
                  <c:v>Raguin</c:v>
                </c:pt>
                <c:pt idx="36">
                  <c:v>La Vache Qu</c:v>
                </c:pt>
                <c:pt idx="37">
                  <c:v>Raguin</c:v>
                </c:pt>
                <c:pt idx="38">
                  <c:v>La Vache Qu</c:v>
                </c:pt>
                <c:pt idx="39">
                  <c:v>Milleret: A</c:v>
                </c:pt>
                <c:pt idx="40">
                  <c:v>La Belle Et</c:v>
                </c:pt>
                <c:pt idx="41">
                  <c:v>La Belle Et</c:v>
                </c:pt>
                <c:pt idx="42">
                  <c:v>All Others</c:v>
                </c:pt>
                <c:pt idx="43">
                  <c:v>La Belle Et</c:v>
                </c:pt>
                <c:pt idx="44">
                  <c:v>La Belle Et</c:v>
                </c:pt>
                <c:pt idx="45">
                  <c:v>La Belle Et</c:v>
                </c:pt>
                <c:pt idx="46">
                  <c:v>Milleret: A</c:v>
                </c:pt>
                <c:pt idx="47">
                  <c:v>La Belle Et</c:v>
                </c:pt>
                <c:pt idx="48">
                  <c:v>La Belle Et</c:v>
                </c:pt>
                <c:pt idx="49">
                  <c:v>La Belle Et</c:v>
                </c:pt>
                <c:pt idx="50">
                  <c:v>Milleret: A</c:v>
                </c:pt>
                <c:pt idx="51">
                  <c:v>La Belle Et</c:v>
                </c:pt>
                <c:pt idx="52">
                  <c:v>Milleret: A</c:v>
                </c:pt>
                <c:pt idx="53">
                  <c:v>All Others</c:v>
                </c:pt>
                <c:pt idx="54">
                  <c:v>All Others</c:v>
                </c:pt>
                <c:pt idx="55">
                  <c:v>La Belle Et</c:v>
                </c:pt>
                <c:pt idx="56">
                  <c:v>All Others</c:v>
                </c:pt>
                <c:pt idx="57">
                  <c:v>All Others</c:v>
                </c:pt>
                <c:pt idx="58">
                  <c:v>All Others</c:v>
                </c:pt>
                <c:pt idx="59">
                  <c:v>All Others</c:v>
                </c:pt>
                <c:pt idx="60">
                  <c:v>La Belle Et</c:v>
                </c:pt>
                <c:pt idx="61">
                  <c:v>La Belle Et</c:v>
                </c:pt>
                <c:pt idx="62">
                  <c:v>La Belle Et</c:v>
                </c:pt>
                <c:pt idx="63">
                  <c:v>Milleret: A</c:v>
                </c:pt>
                <c:pt idx="64">
                  <c:v>Raguin</c:v>
                </c:pt>
                <c:pt idx="65">
                  <c:v>Milleret: A</c:v>
                </c:pt>
                <c:pt idx="66">
                  <c:v>Raguin</c:v>
                </c:pt>
                <c:pt idx="67">
                  <c:v>All Others</c:v>
                </c:pt>
                <c:pt idx="68">
                  <c:v>President</c:v>
                </c:pt>
                <c:pt idx="69">
                  <c:v>Raguin</c:v>
                </c:pt>
                <c:pt idx="70">
                  <c:v>Richesmonts</c:v>
                </c:pt>
                <c:pt idx="71">
                  <c:v>Milleret: A</c:v>
                </c:pt>
                <c:pt idx="72">
                  <c:v>Raguin</c:v>
                </c:pt>
                <c:pt idx="73">
                  <c:v>La Belle Et</c:v>
                </c:pt>
                <c:pt idx="74">
                  <c:v>All Others</c:v>
                </c:pt>
                <c:pt idx="75">
                  <c:v>La Belle Et</c:v>
                </c:pt>
                <c:pt idx="76">
                  <c:v>All Others</c:v>
                </c:pt>
                <c:pt idx="77">
                  <c:v>All Others</c:v>
                </c:pt>
                <c:pt idx="78">
                  <c:v>Richesmonts</c:v>
                </c:pt>
                <c:pt idx="79">
                  <c:v>All Others</c:v>
                </c:pt>
                <c:pt idx="80">
                  <c:v>Raguin</c:v>
                </c:pt>
                <c:pt idx="81">
                  <c:v>All Others</c:v>
                </c:pt>
                <c:pt idx="82">
                  <c:v>Raguin</c:v>
                </c:pt>
                <c:pt idx="83">
                  <c:v>All Others</c:v>
                </c:pt>
                <c:pt idx="84">
                  <c:v>Raguin</c:v>
                </c:pt>
                <c:pt idx="85">
                  <c:v>All Others</c:v>
                </c:pt>
                <c:pt idx="86">
                  <c:v>All Others</c:v>
                </c:pt>
                <c:pt idx="87">
                  <c:v>Raguin</c:v>
                </c:pt>
                <c:pt idx="88">
                  <c:v>All Others</c:v>
                </c:pt>
                <c:pt idx="89">
                  <c:v>All Others</c:v>
                </c:pt>
                <c:pt idx="90">
                  <c:v>All Others</c:v>
                </c:pt>
                <c:pt idx="91">
                  <c:v>All Others</c:v>
                </c:pt>
                <c:pt idx="92">
                  <c:v>Raguin</c:v>
                </c:pt>
                <c:pt idx="93">
                  <c:v>All Others</c:v>
                </c:pt>
                <c:pt idx="94">
                  <c:v>All Others</c:v>
                </c:pt>
                <c:pt idx="95">
                  <c:v>All Others</c:v>
                </c:pt>
                <c:pt idx="96">
                  <c:v>All Others</c:v>
                </c:pt>
                <c:pt idx="97">
                  <c:v>All Others</c:v>
                </c:pt>
                <c:pt idx="98">
                  <c:v>All Others</c:v>
                </c:pt>
                <c:pt idx="99">
                  <c:v>All Others</c:v>
                </c:pt>
                <c:pt idx="100">
                  <c:v>Raguin</c:v>
                </c:pt>
                <c:pt idx="101">
                  <c:v>All Others</c:v>
                </c:pt>
                <c:pt idx="102">
                  <c:v>All Others</c:v>
                </c:pt>
                <c:pt idx="103">
                  <c:v>All Others</c:v>
                </c:pt>
                <c:pt idx="104">
                  <c:v>Raguin</c:v>
                </c:pt>
                <c:pt idx="105">
                  <c:v>Raguin</c:v>
                </c:pt>
                <c:pt idx="106">
                  <c:v>All Others</c:v>
                </c:pt>
                <c:pt idx="107">
                  <c:v>All Others</c:v>
                </c:pt>
                <c:pt idx="108">
                  <c:v>Raguin</c:v>
                </c:pt>
                <c:pt idx="109">
                  <c:v>Raguin</c:v>
                </c:pt>
                <c:pt idx="110">
                  <c:v>Raguin</c:v>
                </c:pt>
                <c:pt idx="111">
                  <c:v>All Others</c:v>
                </c:pt>
                <c:pt idx="112">
                  <c:v>All Others</c:v>
                </c:pt>
                <c:pt idx="113">
                  <c:v>All Others</c:v>
                </c:pt>
                <c:pt idx="114">
                  <c:v>Raguin</c:v>
                </c:pt>
                <c:pt idx="115">
                  <c:v>All Others</c:v>
                </c:pt>
                <c:pt idx="116">
                  <c:v>All Others</c:v>
                </c:pt>
                <c:pt idx="117">
                  <c:v>All Others</c:v>
                </c:pt>
                <c:pt idx="118">
                  <c:v>All Others</c:v>
                </c:pt>
                <c:pt idx="119">
                  <c:v>All Others</c:v>
                </c:pt>
                <c:pt idx="120">
                  <c:v>All Others</c:v>
                </c:pt>
                <c:pt idx="121">
                  <c:v>All Others</c:v>
                </c:pt>
                <c:pt idx="122">
                  <c:v>All Others</c:v>
                </c:pt>
                <c:pt idx="123">
                  <c:v>President</c:v>
                </c:pt>
                <c:pt idx="124">
                  <c:v>All Others</c:v>
                </c:pt>
                <c:pt idx="125">
                  <c:v>All Others</c:v>
                </c:pt>
                <c:pt idx="126">
                  <c:v>All Others</c:v>
                </c:pt>
                <c:pt idx="127">
                  <c:v>All Others</c:v>
                </c:pt>
                <c:pt idx="128">
                  <c:v>All Others</c:v>
                </c:pt>
                <c:pt idx="129">
                  <c:v>All Others</c:v>
                </c:pt>
                <c:pt idx="130">
                  <c:v>All Others</c:v>
                </c:pt>
                <c:pt idx="131">
                  <c:v>All Others</c:v>
                </c:pt>
                <c:pt idx="132">
                  <c:v>All Others</c:v>
                </c:pt>
                <c:pt idx="133">
                  <c:v>All Others</c:v>
                </c:pt>
                <c:pt idx="134">
                  <c:v>All Others</c:v>
                </c:pt>
                <c:pt idx="135">
                  <c:v>Private Lab</c:v>
                </c:pt>
                <c:pt idx="136">
                  <c:v>All Others</c:v>
                </c:pt>
                <c:pt idx="137">
                  <c:v>All Others</c:v>
                </c:pt>
                <c:pt idx="138">
                  <c:v>All Others</c:v>
                </c:pt>
                <c:pt idx="139">
                  <c:v>All Others</c:v>
                </c:pt>
                <c:pt idx="140">
                  <c:v>All Others</c:v>
                </c:pt>
                <c:pt idx="141">
                  <c:v>All Others</c:v>
                </c:pt>
                <c:pt idx="142">
                  <c:v>All Others</c:v>
                </c:pt>
              </c:strCache>
            </c:strRef>
          </c:cat>
          <c:val>
            <c:numRef>
              <c:f>Sheet1!$C$2:$C$144</c:f>
              <c:numCache>
                <c:formatCode>General</c:formatCode>
                <c:ptCount val="143"/>
                <c:pt idx="0">
                  <c:v>0.16047475777137019</c:v>
                </c:pt>
                <c:pt idx="1">
                  <c:v>0.27940042452499514</c:v>
                </c:pt>
                <c:pt idx="2">
                  <c:v>0.37890298098371655</c:v>
                </c:pt>
                <c:pt idx="3">
                  <c:v>0.47277362842455717</c:v>
                </c:pt>
                <c:pt idx="4">
                  <c:v>0.5335916607385631</c:v>
                </c:pt>
                <c:pt idx="5">
                  <c:v>0.5831359916520044</c:v>
                </c:pt>
                <c:pt idx="6">
                  <c:v>0.6311804070337378</c:v>
                </c:pt>
                <c:pt idx="7">
                  <c:v>0.6735177538559487</c:v>
                </c:pt>
                <c:pt idx="8">
                  <c:v>0.7140744860937609</c:v>
                </c:pt>
                <c:pt idx="9">
                  <c:v>0.7459219627902807</c:v>
                </c:pt>
                <c:pt idx="10">
                  <c:v>0.7768256930709567</c:v>
                </c:pt>
                <c:pt idx="11">
                  <c:v>0.7987199893351598</c:v>
                </c:pt>
                <c:pt idx="12">
                  <c:v>0.8201987820476722</c:v>
                </c:pt>
                <c:pt idx="13">
                  <c:v>0.837285568333699</c:v>
                </c:pt>
                <c:pt idx="14">
                  <c:v>0.8540651658509059</c:v>
                </c:pt>
                <c:pt idx="15">
                  <c:v>0.8639034234366757</c:v>
                </c:pt>
                <c:pt idx="16">
                  <c:v>0.8736144039698948</c:v>
                </c:pt>
                <c:pt idx="17">
                  <c:v>0.8830769787703026</c:v>
                </c:pt>
                <c:pt idx="18">
                  <c:v>0.892002863877336</c:v>
                </c:pt>
                <c:pt idx="19">
                  <c:v>0.9000460266000421</c:v>
                </c:pt>
                <c:pt idx="20">
                  <c:v>0.9067443621724556</c:v>
                </c:pt>
                <c:pt idx="21">
                  <c:v>0.9128018879525231</c:v>
                </c:pt>
                <c:pt idx="22">
                  <c:v>0.9181545919147182</c:v>
                </c:pt>
                <c:pt idx="23">
                  <c:v>0.9232584879141389</c:v>
                </c:pt>
                <c:pt idx="24">
                  <c:v>0.9281905742579719</c:v>
                </c:pt>
                <c:pt idx="25">
                  <c:v>0.9329185001649143</c:v>
                </c:pt>
                <c:pt idx="26">
                  <c:v>0.937145822152298</c:v>
                </c:pt>
                <c:pt idx="27">
                  <c:v>0.9408777692096411</c:v>
                </c:pt>
                <c:pt idx="28">
                  <c:v>0.9436963094826288</c:v>
                </c:pt>
                <c:pt idx="29">
                  <c:v>0.9462034088414742</c:v>
                </c:pt>
                <c:pt idx="30">
                  <c:v>0.9485182997394699</c:v>
                </c:pt>
                <c:pt idx="31">
                  <c:v>0.9506795962530555</c:v>
                </c:pt>
                <c:pt idx="32">
                  <c:v>0.9527940617066732</c:v>
                </c:pt>
                <c:pt idx="33">
                  <c:v>0.9549009997138421</c:v>
                </c:pt>
                <c:pt idx="34">
                  <c:v>0.9566371966180505</c:v>
                </c:pt>
                <c:pt idx="35">
                  <c:v>0.9583729912922959</c:v>
                </c:pt>
                <c:pt idx="36">
                  <c:v>0.9599366890038373</c:v>
                </c:pt>
                <c:pt idx="37">
                  <c:v>0.9614181594186744</c:v>
                </c:pt>
                <c:pt idx="38">
                  <c:v>0.9628527413121202</c:v>
                </c:pt>
                <c:pt idx="39">
                  <c:v>0.9642048660631686</c:v>
                </c:pt>
                <c:pt idx="40">
                  <c:v>0.965549635752038</c:v>
                </c:pt>
                <c:pt idx="41">
                  <c:v>0.9668804423150519</c:v>
                </c:pt>
                <c:pt idx="42">
                  <c:v>0.9682068243484737</c:v>
                </c:pt>
                <c:pt idx="43">
                  <c:v>0.9695061420515337</c:v>
                </c:pt>
                <c:pt idx="44">
                  <c:v>0.9707203019253025</c:v>
                </c:pt>
                <c:pt idx="45">
                  <c:v>0.9719325081106799</c:v>
                </c:pt>
                <c:pt idx="46">
                  <c:v>0.9731100075964001</c:v>
                </c:pt>
                <c:pt idx="47">
                  <c:v>0.9742816460169464</c:v>
                </c:pt>
                <c:pt idx="48">
                  <c:v>0.9753913984846273</c:v>
                </c:pt>
                <c:pt idx="49">
                  <c:v>0.9764154759702074</c:v>
                </c:pt>
                <c:pt idx="50">
                  <c:v>0.9773184822369502</c:v>
                </c:pt>
                <c:pt idx="51">
                  <c:v>0.9781810356617084</c:v>
                </c:pt>
                <c:pt idx="52">
                  <c:v>0.9790397966325307</c:v>
                </c:pt>
                <c:pt idx="53">
                  <c:v>0.9798821236362968</c:v>
                </c:pt>
                <c:pt idx="54">
                  <c:v>0.9807124412025986</c:v>
                </c:pt>
                <c:pt idx="55">
                  <c:v>0.9815386215464248</c:v>
                </c:pt>
                <c:pt idx="56">
                  <c:v>0.9823553782168342</c:v>
                </c:pt>
                <c:pt idx="57">
                  <c:v>0.9831626537524033</c:v>
                </c:pt>
                <c:pt idx="58">
                  <c:v>0.9838502946047171</c:v>
                </c:pt>
                <c:pt idx="59">
                  <c:v>0.9845374183042214</c:v>
                </c:pt>
                <c:pt idx="60">
                  <c:v>0.9851536346074062</c:v>
                </c:pt>
                <c:pt idx="61">
                  <c:v>0.9857431313487689</c:v>
                </c:pt>
                <c:pt idx="62">
                  <c:v>0.9863286057905024</c:v>
                </c:pt>
                <c:pt idx="63">
                  <c:v>0.9868631119497924</c:v>
                </c:pt>
                <c:pt idx="64">
                  <c:v>0.9873751506925824</c:v>
                </c:pt>
                <c:pt idx="65">
                  <c:v>0.9878686868570784</c:v>
                </c:pt>
                <c:pt idx="66">
                  <c:v>0.9883223447938225</c:v>
                </c:pt>
                <c:pt idx="67">
                  <c:v>0.9887708886638954</c:v>
                </c:pt>
                <c:pt idx="68">
                  <c:v>0.9891571443511398</c:v>
                </c:pt>
                <c:pt idx="69">
                  <c:v>0.9895325398293855</c:v>
                </c:pt>
                <c:pt idx="70">
                  <c:v>0.9899016145510711</c:v>
                </c:pt>
                <c:pt idx="71">
                  <c:v>0.9902645983618896</c:v>
                </c:pt>
                <c:pt idx="72">
                  <c:v>0.9906095392858003</c:v>
                </c:pt>
                <c:pt idx="73">
                  <c:v>0.9909541929025947</c:v>
                </c:pt>
                <c:pt idx="74">
                  <c:v>0.9912649442796577</c:v>
                </c:pt>
                <c:pt idx="75">
                  <c:v>0.9915730524312502</c:v>
                </c:pt>
                <c:pt idx="76">
                  <c:v>0.9918778852817159</c:v>
                </c:pt>
                <c:pt idx="77">
                  <c:v>0.9921696169276755</c:v>
                </c:pt>
                <c:pt idx="78">
                  <c:v>0.992452959205837</c:v>
                </c:pt>
                <c:pt idx="79">
                  <c:v>0.9927182011356674</c:v>
                </c:pt>
                <c:pt idx="80">
                  <c:v>0.9929678710197908</c:v>
                </c:pt>
                <c:pt idx="81">
                  <c:v>0.9932110477630842</c:v>
                </c:pt>
                <c:pt idx="82">
                  <c:v>0.9934484783640503</c:v>
                </c:pt>
                <c:pt idx="83">
                  <c:v>0.9936830933552759</c:v>
                </c:pt>
                <c:pt idx="84">
                  <c:v>0.9939070205217727</c:v>
                </c:pt>
                <c:pt idx="85">
                  <c:v>0.9941292813069945</c:v>
                </c:pt>
                <c:pt idx="86">
                  <c:v>0.9943065497977932</c:v>
                </c:pt>
                <c:pt idx="87">
                  <c:v>0.9944734752324027</c:v>
                </c:pt>
                <c:pt idx="88">
                  <c:v>0.9946371253658856</c:v>
                </c:pt>
                <c:pt idx="89">
                  <c:v>0.9947920988244542</c:v>
                </c:pt>
                <c:pt idx="90">
                  <c:v>0.9949414985249653</c:v>
                </c:pt>
                <c:pt idx="91">
                  <c:v>0.9950875080015033</c:v>
                </c:pt>
                <c:pt idx="92">
                  <c:v>0.9952325980952688</c:v>
                </c:pt>
                <c:pt idx="93">
                  <c:v>0.9953742405036379</c:v>
                </c:pt>
                <c:pt idx="94">
                  <c:v>0.9955122053809176</c:v>
                </c:pt>
                <c:pt idx="95">
                  <c:v>0.9956495956439645</c:v>
                </c:pt>
                <c:pt idx="96">
                  <c:v>0.995786698599895</c:v>
                </c:pt>
                <c:pt idx="97">
                  <c:v>0.9959159868022603</c:v>
                </c:pt>
                <c:pt idx="98">
                  <c:v>0.996168472296124</c:v>
                </c:pt>
                <c:pt idx="99">
                  <c:v>0.996288451747919</c:v>
                </c:pt>
                <c:pt idx="100">
                  <c:v>0.9964049835143176</c:v>
                </c:pt>
                <c:pt idx="101">
                  <c:v>0.9965203660522508</c:v>
                </c:pt>
                <c:pt idx="102">
                  <c:v>0.996635748590184</c:v>
                </c:pt>
                <c:pt idx="103">
                  <c:v>0.9968551937656654</c:v>
                </c:pt>
                <c:pt idx="104">
                  <c:v>0.9969617847058377</c:v>
                </c:pt>
                <c:pt idx="105">
                  <c:v>0.9971674391397335</c:v>
                </c:pt>
                <c:pt idx="106">
                  <c:v>0.9974475061167684</c:v>
                </c:pt>
                <c:pt idx="107">
                  <c:v>0.9977114838952867</c:v>
                </c:pt>
                <c:pt idx="108">
                  <c:v>0.9977975036459271</c:v>
                </c:pt>
                <c:pt idx="109">
                  <c:v>0.9978822592452555</c:v>
                </c:pt>
                <c:pt idx="110">
                  <c:v>0.9979663827689279</c:v>
                </c:pt>
                <c:pt idx="111">
                  <c:v>0.998049816755521</c:v>
                </c:pt>
                <c:pt idx="112">
                  <c:v>0.9982111684320729</c:v>
                </c:pt>
                <c:pt idx="113">
                  <c:v>0.9982898905819576</c:v>
                </c:pt>
                <c:pt idx="114">
                  <c:v>0.9983674635033768</c:v>
                </c:pt>
                <c:pt idx="115">
                  <c:v>0.9985088760660529</c:v>
                </c:pt>
                <c:pt idx="116">
                  <c:v>0.9986445424864016</c:v>
                </c:pt>
                <c:pt idx="117">
                  <c:v>0.9987091865875842</c:v>
                </c:pt>
                <c:pt idx="118">
                  <c:v>0.9988193401359995</c:v>
                </c:pt>
                <c:pt idx="119">
                  <c:v>0.9988693890356707</c:v>
                </c:pt>
                <c:pt idx="120">
                  <c:v>0.998967360762352</c:v>
                </c:pt>
                <c:pt idx="121">
                  <c:v>0.9990160305878647</c:v>
                </c:pt>
                <c:pt idx="122">
                  <c:v>0.9991034868740869</c:v>
                </c:pt>
                <c:pt idx="123">
                  <c:v>0.9992668497004533</c:v>
                </c:pt>
                <c:pt idx="124">
                  <c:v>0.9993385615566986</c:v>
                </c:pt>
                <c:pt idx="125">
                  <c:v>0.9993703377237689</c:v>
                </c:pt>
                <c:pt idx="126">
                  <c:v>0.9993994132039453</c:v>
                </c:pt>
                <c:pt idx="127">
                  <c:v>0.9995082451396252</c:v>
                </c:pt>
                <c:pt idx="128">
                  <c:v>0.9995796122273308</c:v>
                </c:pt>
                <c:pt idx="129">
                  <c:v>0.9996232829090186</c:v>
                </c:pt>
                <c:pt idx="130">
                  <c:v>0.9996435667914342</c:v>
                </c:pt>
                <c:pt idx="131">
                  <c:v>0.9997121182693994</c:v>
                </c:pt>
                <c:pt idx="132">
                  <c:v>0.9997422855166179</c:v>
                </c:pt>
                <c:pt idx="133">
                  <c:v>0.999770671459715</c:v>
                </c:pt>
                <c:pt idx="134">
                  <c:v>0.9998418087017276</c:v>
                </c:pt>
                <c:pt idx="135">
                  <c:v>0.9998609433556777</c:v>
                </c:pt>
                <c:pt idx="136">
                  <c:v>0.9999253576111673</c:v>
                </c:pt>
                <c:pt idx="137">
                  <c:v>0.9999309313692248</c:v>
                </c:pt>
                <c:pt idx="138">
                  <c:v>0.9999363327430125</c:v>
                </c:pt>
                <c:pt idx="139">
                  <c:v>0.9999416191939536</c:v>
                </c:pt>
                <c:pt idx="140">
                  <c:v>0.9999808653460496</c:v>
                </c:pt>
                <c:pt idx="141">
                  <c:v>0.9999877607168425</c:v>
                </c:pt>
                <c:pt idx="142">
                  <c:v>0.9999898293280803</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94</c:f>
              <c:strCache>
                <c:ptCount val="93"/>
                <c:pt idx="0">
                  <c:v>Private Lab</c:v>
                </c:pt>
                <c:pt idx="1">
                  <c:v>Private Lab</c:v>
                </c:pt>
                <c:pt idx="2">
                  <c:v>President</c:v>
                </c:pt>
                <c:pt idx="3">
                  <c:v>President</c:v>
                </c:pt>
                <c:pt idx="4">
                  <c:v>President</c:v>
                </c:pt>
                <c:pt idx="5">
                  <c:v>President</c:v>
                </c:pt>
                <c:pt idx="6">
                  <c:v>Private Lab</c:v>
                </c:pt>
                <c:pt idx="7">
                  <c:v>Private Lab</c:v>
                </c:pt>
                <c:pt idx="8">
                  <c:v>Boursin</c:v>
                </c:pt>
                <c:pt idx="9">
                  <c:v>La Belle Et</c:v>
                </c:pt>
                <c:pt idx="10">
                  <c:v>La Belle Et</c:v>
                </c:pt>
                <c:pt idx="11">
                  <c:v>President</c:v>
                </c:pt>
                <c:pt idx="12">
                  <c:v>Richesmonts</c:v>
                </c:pt>
                <c:pt idx="13">
                  <c:v>La Belle Et</c:v>
                </c:pt>
                <c:pt idx="14">
                  <c:v>Raguin</c:v>
                </c:pt>
                <c:pt idx="15">
                  <c:v>La Belle Et</c:v>
                </c:pt>
                <c:pt idx="16">
                  <c:v>Raguin</c:v>
                </c:pt>
                <c:pt idx="17">
                  <c:v>La Belle Et</c:v>
                </c:pt>
                <c:pt idx="18">
                  <c:v>Raguin</c:v>
                </c:pt>
                <c:pt idx="19">
                  <c:v>Raguin</c:v>
                </c:pt>
                <c:pt idx="20">
                  <c:v>All Others</c:v>
                </c:pt>
                <c:pt idx="21">
                  <c:v>Milleret: A</c:v>
                </c:pt>
                <c:pt idx="22">
                  <c:v>Milleret: A</c:v>
                </c:pt>
                <c:pt idx="23">
                  <c:v>All Others</c:v>
                </c:pt>
                <c:pt idx="24">
                  <c:v>La Belle Et</c:v>
                </c:pt>
                <c:pt idx="25">
                  <c:v>President</c:v>
                </c:pt>
                <c:pt idx="26">
                  <c:v>All Others</c:v>
                </c:pt>
                <c:pt idx="27">
                  <c:v>All Others</c:v>
                </c:pt>
                <c:pt idx="28">
                  <c:v>La Belle Et</c:v>
                </c:pt>
                <c:pt idx="29">
                  <c:v>All Others</c:v>
                </c:pt>
                <c:pt idx="30">
                  <c:v>All Others</c:v>
                </c:pt>
                <c:pt idx="31">
                  <c:v>All Others</c:v>
                </c:pt>
                <c:pt idx="32">
                  <c:v>Milleret: A</c:v>
                </c:pt>
                <c:pt idx="33">
                  <c:v>La Belle Et</c:v>
                </c:pt>
                <c:pt idx="34">
                  <c:v>La Belle Et</c:v>
                </c:pt>
                <c:pt idx="35">
                  <c:v>Milleret: A</c:v>
                </c:pt>
                <c:pt idx="36">
                  <c:v>La Belle Et</c:v>
                </c:pt>
                <c:pt idx="37">
                  <c:v>La Belle Et</c:v>
                </c:pt>
                <c:pt idx="38">
                  <c:v>La Belle Et</c:v>
                </c:pt>
                <c:pt idx="39">
                  <c:v>La Belle Et</c:v>
                </c:pt>
                <c:pt idx="40">
                  <c:v>All Others</c:v>
                </c:pt>
                <c:pt idx="41">
                  <c:v>La Belle Et</c:v>
                </c:pt>
                <c:pt idx="42">
                  <c:v>All Others</c:v>
                </c:pt>
                <c:pt idx="43">
                  <c:v>All Others</c:v>
                </c:pt>
                <c:pt idx="44">
                  <c:v>All Others</c:v>
                </c:pt>
                <c:pt idx="45">
                  <c:v>All Others</c:v>
                </c:pt>
                <c:pt idx="46">
                  <c:v>La Belle Et</c:v>
                </c:pt>
                <c:pt idx="47">
                  <c:v>La Belle Et</c:v>
                </c:pt>
                <c:pt idx="48">
                  <c:v>All Others</c:v>
                </c:pt>
                <c:pt idx="49">
                  <c:v>All Others</c:v>
                </c:pt>
                <c:pt idx="50">
                  <c:v>La Belle Et</c:v>
                </c:pt>
                <c:pt idx="51">
                  <c:v>La Belle Et</c:v>
                </c:pt>
                <c:pt idx="52">
                  <c:v>Raguin</c:v>
                </c:pt>
                <c:pt idx="53">
                  <c:v>Raguin</c:v>
                </c:pt>
                <c:pt idx="54">
                  <c:v>All Others</c:v>
                </c:pt>
                <c:pt idx="55">
                  <c:v>Raguin</c:v>
                </c:pt>
                <c:pt idx="56">
                  <c:v>All Others</c:v>
                </c:pt>
                <c:pt idx="57">
                  <c:v>Raguin</c:v>
                </c:pt>
                <c:pt idx="58">
                  <c:v>Raguin</c:v>
                </c:pt>
                <c:pt idx="59">
                  <c:v>La Belle Et</c:v>
                </c:pt>
                <c:pt idx="60">
                  <c:v>All Others</c:v>
                </c:pt>
                <c:pt idx="61">
                  <c:v>All Others</c:v>
                </c:pt>
                <c:pt idx="62">
                  <c:v>All Others</c:v>
                </c:pt>
                <c:pt idx="63">
                  <c:v>Raguin</c:v>
                </c:pt>
                <c:pt idx="64">
                  <c:v>All Others</c:v>
                </c:pt>
                <c:pt idx="65">
                  <c:v>Raguin</c:v>
                </c:pt>
                <c:pt idx="66">
                  <c:v>Raguin</c:v>
                </c:pt>
                <c:pt idx="67">
                  <c:v>All Others</c:v>
                </c:pt>
                <c:pt idx="68">
                  <c:v>All Others</c:v>
                </c:pt>
                <c:pt idx="69">
                  <c:v>All Others</c:v>
                </c:pt>
                <c:pt idx="70">
                  <c:v>Raguin</c:v>
                </c:pt>
                <c:pt idx="71">
                  <c:v>Raguin</c:v>
                </c:pt>
                <c:pt idx="72">
                  <c:v>Raguin</c:v>
                </c:pt>
                <c:pt idx="73">
                  <c:v>Raguin</c:v>
                </c:pt>
                <c:pt idx="74">
                  <c:v>Raguin</c:v>
                </c:pt>
                <c:pt idx="75">
                  <c:v>Raguin</c:v>
                </c:pt>
                <c:pt idx="76">
                  <c:v>Raguin</c:v>
                </c:pt>
                <c:pt idx="77">
                  <c:v>Raguin</c:v>
                </c:pt>
                <c:pt idx="78">
                  <c:v>All Others</c:v>
                </c:pt>
                <c:pt idx="79">
                  <c:v>Raguin</c:v>
                </c:pt>
                <c:pt idx="80">
                  <c:v>Raguin</c:v>
                </c:pt>
                <c:pt idx="81">
                  <c:v>All Others</c:v>
                </c:pt>
                <c:pt idx="82">
                  <c:v>All Others</c:v>
                </c:pt>
                <c:pt idx="83">
                  <c:v>All Others</c:v>
                </c:pt>
                <c:pt idx="84">
                  <c:v>Milleret: A</c:v>
                </c:pt>
                <c:pt idx="85">
                  <c:v>All Others</c:v>
                </c:pt>
                <c:pt idx="86">
                  <c:v>All Others</c:v>
                </c:pt>
                <c:pt idx="87">
                  <c:v>Private Lab</c:v>
                </c:pt>
                <c:pt idx="88">
                  <c:v>All Others</c:v>
                </c:pt>
                <c:pt idx="89">
                  <c:v>La Vache Qu</c:v>
                </c:pt>
                <c:pt idx="90">
                  <c:v>Private Lab</c:v>
                </c:pt>
                <c:pt idx="91">
                  <c:v>La Vache Qu</c:v>
                </c:pt>
                <c:pt idx="92">
                  <c:v>La Vache Qu</c:v>
                </c:pt>
              </c:strCache>
            </c:strRef>
          </c:cat>
          <c:val>
            <c:numRef>
              <c:f>Sheet1!$B$2:$B$94</c:f>
              <c:numCache>
                <c:formatCode>General</c:formatCode>
                <c:ptCount val="93"/>
                <c:pt idx="0">
                  <c:v>0.999</c:v>
                </c:pt>
                <c:pt idx="1">
                  <c:v>0.928</c:v>
                </c:pt>
                <c:pt idx="2">
                  <c:v>0.981</c:v>
                </c:pt>
                <c:pt idx="3">
                  <c:v>0.971</c:v>
                </c:pt>
                <c:pt idx="4">
                  <c:v>0.959</c:v>
                </c:pt>
                <c:pt idx="5">
                  <c:v>0.962</c:v>
                </c:pt>
                <c:pt idx="6">
                  <c:v>0.96</c:v>
                </c:pt>
                <c:pt idx="7">
                  <c:v>0.937</c:v>
                </c:pt>
                <c:pt idx="8">
                  <c:v>0.873</c:v>
                </c:pt>
                <c:pt idx="9">
                  <c:v>0.062</c:v>
                </c:pt>
                <c:pt idx="10">
                  <c:v>0.059</c:v>
                </c:pt>
                <c:pt idx="11">
                  <c:v>0.502</c:v>
                </c:pt>
                <c:pt idx="12">
                  <c:v>0.727</c:v>
                </c:pt>
                <c:pt idx="13">
                  <c:v>0.103</c:v>
                </c:pt>
                <c:pt idx="14">
                  <c:v>0.049</c:v>
                </c:pt>
                <c:pt idx="15">
                  <c:v>0.1</c:v>
                </c:pt>
                <c:pt idx="16">
                  <c:v>0.069</c:v>
                </c:pt>
                <c:pt idx="17">
                  <c:v>0.04</c:v>
                </c:pt>
                <c:pt idx="18">
                  <c:v>0.04</c:v>
                </c:pt>
                <c:pt idx="19">
                  <c:v>0.069</c:v>
                </c:pt>
                <c:pt idx="20">
                  <c:v>0.126</c:v>
                </c:pt>
                <c:pt idx="21">
                  <c:v>0.235</c:v>
                </c:pt>
                <c:pt idx="22">
                  <c:v>0.259</c:v>
                </c:pt>
                <c:pt idx="23">
                  <c:v>0.127</c:v>
                </c:pt>
                <c:pt idx="24">
                  <c:v>0.027</c:v>
                </c:pt>
                <c:pt idx="25">
                  <c:v>0.381</c:v>
                </c:pt>
                <c:pt idx="26">
                  <c:v>0.071</c:v>
                </c:pt>
                <c:pt idx="27">
                  <c:v>0.143</c:v>
                </c:pt>
                <c:pt idx="28">
                  <c:v>0.052</c:v>
                </c:pt>
                <c:pt idx="29">
                  <c:v>0.148</c:v>
                </c:pt>
                <c:pt idx="30">
                  <c:v>0.097</c:v>
                </c:pt>
                <c:pt idx="31">
                  <c:v>0.07</c:v>
                </c:pt>
                <c:pt idx="32">
                  <c:v>0.145</c:v>
                </c:pt>
                <c:pt idx="33">
                  <c:v>0.046</c:v>
                </c:pt>
                <c:pt idx="34">
                  <c:v>0.043</c:v>
                </c:pt>
                <c:pt idx="35">
                  <c:v>0.133</c:v>
                </c:pt>
                <c:pt idx="36">
                  <c:v>0.046</c:v>
                </c:pt>
                <c:pt idx="37">
                  <c:v>0.046</c:v>
                </c:pt>
                <c:pt idx="38">
                  <c:v>0.056</c:v>
                </c:pt>
                <c:pt idx="39">
                  <c:v>0.052</c:v>
                </c:pt>
                <c:pt idx="40">
                  <c:v>0.058</c:v>
                </c:pt>
                <c:pt idx="41">
                  <c:v>0.079</c:v>
                </c:pt>
                <c:pt idx="42">
                  <c:v>0.048</c:v>
                </c:pt>
                <c:pt idx="43">
                  <c:v>0.106</c:v>
                </c:pt>
                <c:pt idx="44">
                  <c:v>0.106</c:v>
                </c:pt>
                <c:pt idx="45">
                  <c:v>0.048</c:v>
                </c:pt>
                <c:pt idx="46">
                  <c:v>0.033</c:v>
                </c:pt>
                <c:pt idx="47">
                  <c:v>0.044</c:v>
                </c:pt>
                <c:pt idx="48">
                  <c:v>0.084</c:v>
                </c:pt>
                <c:pt idx="49">
                  <c:v>0.077</c:v>
                </c:pt>
                <c:pt idx="50">
                  <c:v>0.033</c:v>
                </c:pt>
                <c:pt idx="51">
                  <c:v>0.037</c:v>
                </c:pt>
                <c:pt idx="52">
                  <c:v>0.032</c:v>
                </c:pt>
                <c:pt idx="53">
                  <c:v>0.023</c:v>
                </c:pt>
                <c:pt idx="54">
                  <c:v>0.032</c:v>
                </c:pt>
                <c:pt idx="55">
                  <c:v>0.004</c:v>
                </c:pt>
                <c:pt idx="56">
                  <c:v>0.061</c:v>
                </c:pt>
                <c:pt idx="57">
                  <c:v>0.01</c:v>
                </c:pt>
                <c:pt idx="58">
                  <c:v>0.004</c:v>
                </c:pt>
                <c:pt idx="59">
                  <c:v>0.033</c:v>
                </c:pt>
                <c:pt idx="60">
                  <c:v>0.011</c:v>
                </c:pt>
                <c:pt idx="61">
                  <c:v>0.064</c:v>
                </c:pt>
                <c:pt idx="62">
                  <c:v>0.033</c:v>
                </c:pt>
                <c:pt idx="63">
                  <c:v>0.022</c:v>
                </c:pt>
                <c:pt idx="64">
                  <c:v>0.011</c:v>
                </c:pt>
                <c:pt idx="65">
                  <c:v>0.003</c:v>
                </c:pt>
                <c:pt idx="66">
                  <c:v>0.014</c:v>
                </c:pt>
                <c:pt idx="67">
                  <c:v>0.025</c:v>
                </c:pt>
                <c:pt idx="68">
                  <c:v>0.01</c:v>
                </c:pt>
                <c:pt idx="69">
                  <c:v>0.054</c:v>
                </c:pt>
                <c:pt idx="70">
                  <c:v>0.013</c:v>
                </c:pt>
                <c:pt idx="71">
                  <c:v>0.014</c:v>
                </c:pt>
                <c:pt idx="72">
                  <c:v>0.023</c:v>
                </c:pt>
                <c:pt idx="73">
                  <c:v>0.004</c:v>
                </c:pt>
                <c:pt idx="74">
                  <c:v>0.014</c:v>
                </c:pt>
                <c:pt idx="75">
                  <c:v>0.004</c:v>
                </c:pt>
                <c:pt idx="76">
                  <c:v>0.004</c:v>
                </c:pt>
                <c:pt idx="77">
                  <c:v>0.014</c:v>
                </c:pt>
                <c:pt idx="78">
                  <c:v>0.003</c:v>
                </c:pt>
                <c:pt idx="79">
                  <c:v>0.004</c:v>
                </c:pt>
                <c:pt idx="80">
                  <c:v>0.001</c:v>
                </c:pt>
                <c:pt idx="81">
                  <c:v>0.012</c:v>
                </c:pt>
                <c:pt idx="82">
                  <c:v>0.001</c:v>
                </c:pt>
                <c:pt idx="83">
                  <c:v>0.003</c:v>
                </c:pt>
                <c:pt idx="84">
                  <c:v>0.02</c:v>
                </c:pt>
                <c:pt idx="85">
                  <c:v>0.009</c:v>
                </c:pt>
                <c:pt idx="86">
                  <c:v>0.003</c:v>
                </c:pt>
                <c:pt idx="87">
                  <c:v>0.009</c:v>
                </c:pt>
                <c:pt idx="88">
                  <c:v>0.005</c:v>
                </c:pt>
                <c:pt idx="89">
                  <c:v>0.001</c:v>
                </c:pt>
                <c:pt idx="90">
                  <c:v>0.002</c:v>
                </c:pt>
                <c:pt idx="91">
                  <c:v>0.001</c:v>
                </c:pt>
                <c:pt idx="92">
                  <c:v>0.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Item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7ECAC4"/>
              </a:solidFill>
            </c:spPr>
            <c:extLst>
              <c:ext xmlns:c16="http://schemas.microsoft.com/office/drawing/2014/chart" uri="{C3380CC4-5D6E-409C-BE32-E72D297353CC}">
                <c16:uniqueId val="{00000049-2993-41DE-A2CB-63102DE87051}"/>
              </c:ext>
            </c:extLst>
          </c:dPt>
          <c:dPt>
            <c:idx val="9"/>
            <c:invertIfNegative val="1"/>
            <c:bubble3D val="0"/>
            <c:spPr>
              <a:solidFill>
                <a:srgbClr val="7ECAC4"/>
              </a:solidFill>
            </c:spPr>
            <c:extLst>
              <c:ext xmlns:c16="http://schemas.microsoft.com/office/drawing/2014/chart" uri="{C3380CC4-5D6E-409C-BE32-E72D297353CC}">
                <c16:uniqueId val="{0000004B-2993-41DE-A2CB-63102DE87051}"/>
              </c:ext>
            </c:extLst>
          </c:dPt>
          <c:dPt>
            <c:idx val="10"/>
            <c:invertIfNegative val="1"/>
            <c:bubble3D val="0"/>
            <c:spPr>
              <a:solidFill>
                <a:srgbClr val="7ECAC4"/>
              </a:solidFill>
            </c:spPr>
            <c:extLst>
              <c:ext xmlns:c16="http://schemas.microsoft.com/office/drawing/2014/chart" uri="{C3380CC4-5D6E-409C-BE32-E72D297353CC}">
                <c16:uniqueId val="{0000004D-2993-41DE-A2CB-63102DE87051}"/>
              </c:ext>
            </c:extLst>
          </c:dPt>
          <c:dPt>
            <c:idx val="11"/>
            <c:invertIfNegative val="1"/>
            <c:bubble3D val="0"/>
            <c:spPr>
              <a:solidFill>
                <a:srgbClr val="7ECAC4"/>
              </a:solidFill>
            </c:spPr>
            <c:extLst>
              <c:ext xmlns:c16="http://schemas.microsoft.com/office/drawing/2014/chart" uri="{C3380CC4-5D6E-409C-BE32-E72D297353CC}">
                <c16:uniqueId val="{0000004F-2993-41DE-A2CB-63102DE87051}"/>
              </c:ext>
            </c:extLst>
          </c:dPt>
          <c:dPt>
            <c:idx val="12"/>
            <c:invertIfNegative val="1"/>
            <c:bubble3D val="0"/>
            <c:spPr>
              <a:solidFill>
                <a:srgbClr val="7ECAC4"/>
              </a:solidFill>
            </c:spPr>
            <c:extLst>
              <c:ext xmlns:c16="http://schemas.microsoft.com/office/drawing/2014/chart" uri="{C3380CC4-5D6E-409C-BE32-E72D297353CC}">
                <c16:uniqueId val="{00000051-2993-41DE-A2CB-63102DE87051}"/>
              </c:ext>
            </c:extLst>
          </c:dPt>
          <c:dPt>
            <c:idx val="13"/>
            <c:invertIfNegative val="1"/>
            <c:bubble3D val="0"/>
            <c:spPr>
              <a:solidFill>
                <a:srgbClr val="7ECAC4"/>
              </a:solidFill>
            </c:spPr>
            <c:extLst>
              <c:ext xmlns:c16="http://schemas.microsoft.com/office/drawing/2014/chart" uri="{C3380CC4-5D6E-409C-BE32-E72D297353CC}">
                <c16:uniqueId val="{00000053-2993-41DE-A2CB-63102DE87051}"/>
              </c:ext>
            </c:extLst>
          </c:dPt>
          <c:dPt>
            <c:idx val="14"/>
            <c:invertIfNegative val="1"/>
            <c:bubble3D val="0"/>
            <c:spPr>
              <a:solidFill>
                <a:srgbClr val="7ECAC4"/>
              </a:solidFill>
            </c:spPr>
            <c:extLst>
              <c:ext xmlns:c16="http://schemas.microsoft.com/office/drawing/2014/chart" uri="{C3380CC4-5D6E-409C-BE32-E72D297353CC}">
                <c16:uniqueId val="{00000055-2993-41DE-A2CB-63102DE87051}"/>
              </c:ext>
            </c:extLst>
          </c:dPt>
          <c:dPt>
            <c:idx val="15"/>
            <c:invertIfNegative val="1"/>
            <c:bubble3D val="0"/>
            <c:spPr>
              <a:solidFill>
                <a:srgbClr val="7ECAC4"/>
              </a:solidFill>
            </c:spPr>
            <c:extLst>
              <c:ext xmlns:c16="http://schemas.microsoft.com/office/drawing/2014/chart" uri="{C3380CC4-5D6E-409C-BE32-E72D297353CC}">
                <c16:uniqueId val="{00000057-2993-41DE-A2CB-63102DE87051}"/>
              </c:ext>
            </c:extLst>
          </c:dPt>
          <c:dPt>
            <c:idx val="16"/>
            <c:invertIfNegative val="1"/>
            <c:bubble3D val="0"/>
            <c:spPr>
              <a:solidFill>
                <a:srgbClr val="7ECAC4"/>
              </a:solidFill>
            </c:spPr>
            <c:extLst>
              <c:ext xmlns:c16="http://schemas.microsoft.com/office/drawing/2014/chart" uri="{C3380CC4-5D6E-409C-BE32-E72D297353CC}">
                <c16:uniqueId val="{00000059-2993-41DE-A2CB-63102DE87051}"/>
              </c:ext>
            </c:extLst>
          </c:dPt>
          <c:dPt>
            <c:idx val="17"/>
            <c:invertIfNegative val="1"/>
            <c:bubble3D val="0"/>
            <c:spPr>
              <a:solidFill>
                <a:srgbClr val="7ECAC4"/>
              </a:solidFill>
            </c:spPr>
            <c:extLst>
              <c:ext xmlns:c16="http://schemas.microsoft.com/office/drawing/2014/chart" uri="{C3380CC4-5D6E-409C-BE32-E72D297353CC}">
                <c16:uniqueId val="{0000005B-2993-41DE-A2CB-63102DE87051}"/>
              </c:ext>
            </c:extLst>
          </c:dPt>
          <c:dPt>
            <c:idx val="18"/>
            <c:invertIfNegative val="1"/>
            <c:bubble3D val="0"/>
            <c:spPr>
              <a:solidFill>
                <a:srgbClr val="7ECAC4"/>
              </a:solidFill>
            </c:spPr>
            <c:extLst>
              <c:ext xmlns:c16="http://schemas.microsoft.com/office/drawing/2014/chart" uri="{C3380CC4-5D6E-409C-BE32-E72D297353CC}">
                <c16:uniqueId val="{0000005D-2993-41DE-A2CB-63102DE87051}"/>
              </c:ext>
            </c:extLst>
          </c:dPt>
          <c:dPt>
            <c:idx val="19"/>
            <c:invertIfNegative val="1"/>
            <c:bubble3D val="0"/>
            <c:spPr>
              <a:solidFill>
                <a:srgbClr val="7ECAC4"/>
              </a:solidFill>
            </c:spPr>
            <c:extLst>
              <c:ext xmlns:c16="http://schemas.microsoft.com/office/drawing/2014/chart" uri="{C3380CC4-5D6E-409C-BE32-E72D297353CC}">
                <c16:uniqueId val="{0000005F-2993-41DE-A2CB-63102DE87051}"/>
              </c:ext>
            </c:extLst>
          </c:dPt>
          <c:dPt>
            <c:idx val="20"/>
            <c:invertIfNegative val="1"/>
            <c:bubble3D val="0"/>
            <c:spPr>
              <a:solidFill>
                <a:srgbClr val="7ECAC4"/>
              </a:solidFill>
            </c:spPr>
            <c:extLst>
              <c:ext xmlns:c16="http://schemas.microsoft.com/office/drawing/2014/chart" uri="{C3380CC4-5D6E-409C-BE32-E72D297353CC}">
                <c16:uniqueId val="{00000061-2993-41DE-A2CB-63102DE87051}"/>
              </c:ext>
            </c:extLst>
          </c:dPt>
          <c:dPt>
            <c:idx val="21"/>
            <c:invertIfNegative val="1"/>
            <c:bubble3D val="0"/>
            <c:spPr>
              <a:solidFill>
                <a:srgbClr val="7ECAC4"/>
              </a:solidFill>
            </c:spPr>
            <c:extLst>
              <c:ext xmlns:c16="http://schemas.microsoft.com/office/drawing/2014/chart" uri="{C3380CC4-5D6E-409C-BE32-E72D297353CC}">
                <c16:uniqueId val="{00000063-2993-41DE-A2CB-63102DE87051}"/>
              </c:ext>
            </c:extLst>
          </c:dPt>
          <c:dPt>
            <c:idx val="22"/>
            <c:invertIfNegative val="1"/>
            <c:bubble3D val="0"/>
            <c:spPr>
              <a:solidFill>
                <a:srgbClr val="7ECAC4"/>
              </a:solidFill>
            </c:spPr>
            <c:extLst>
              <c:ext xmlns:c16="http://schemas.microsoft.com/office/drawing/2014/chart" uri="{C3380CC4-5D6E-409C-BE32-E72D297353CC}">
                <c16:uniqueId val="{00000065-2993-41DE-A2CB-63102DE87051}"/>
              </c:ext>
            </c:extLst>
          </c:dPt>
          <c:dPt>
            <c:idx val="23"/>
            <c:invertIfNegative val="1"/>
            <c:bubble3D val="0"/>
            <c:spPr>
              <a:solidFill>
                <a:srgbClr val="7ECAC4"/>
              </a:solidFill>
            </c:spPr>
            <c:extLst>
              <c:ext xmlns:c16="http://schemas.microsoft.com/office/drawing/2014/chart" uri="{C3380CC4-5D6E-409C-BE32-E72D297353CC}">
                <c16:uniqueId val="{00000067-2993-41DE-A2CB-63102DE87051}"/>
              </c:ext>
            </c:extLst>
          </c:dPt>
          <c:dPt>
            <c:idx val="24"/>
            <c:invertIfNegative val="1"/>
            <c:bubble3D val="0"/>
            <c:spPr>
              <a:solidFill>
                <a:srgbClr val="7ECAC4"/>
              </a:solidFill>
            </c:spPr>
            <c:extLst>
              <c:ext xmlns:c16="http://schemas.microsoft.com/office/drawing/2014/chart" uri="{C3380CC4-5D6E-409C-BE32-E72D297353CC}">
                <c16:uniqueId val="{00000069-2993-41DE-A2CB-63102DE87051}"/>
              </c:ext>
            </c:extLst>
          </c:dPt>
          <c:dPt>
            <c:idx val="25"/>
            <c:invertIfNegative val="1"/>
            <c:bubble3D val="0"/>
            <c:spPr>
              <a:solidFill>
                <a:srgbClr val="AEABAB"/>
              </a:solidFill>
            </c:spPr>
            <c:extLst>
              <c:ext xmlns:c16="http://schemas.microsoft.com/office/drawing/2014/chart" uri="{C3380CC4-5D6E-409C-BE32-E72D297353CC}">
                <c16:uniqueId val="{0000006B-2993-41DE-A2CB-63102DE87051}"/>
              </c:ext>
            </c:extLst>
          </c:dPt>
          <c:dPt>
            <c:idx val="26"/>
            <c:invertIfNegative val="1"/>
            <c:bubble3D val="0"/>
            <c:spPr>
              <a:solidFill>
                <a:srgbClr val="AEABAB"/>
              </a:solidFill>
            </c:spPr>
            <c:extLst>
              <c:ext xmlns:c16="http://schemas.microsoft.com/office/drawing/2014/chart" uri="{C3380CC4-5D6E-409C-BE32-E72D297353CC}">
                <c16:uniqueId val="{0000006D-2993-41DE-A2CB-63102DE87051}"/>
              </c:ext>
            </c:extLst>
          </c:dPt>
          <c:dPt>
            <c:idx val="27"/>
            <c:invertIfNegative val="1"/>
            <c:bubble3D val="0"/>
            <c:spPr>
              <a:solidFill>
                <a:srgbClr val="AEABAB"/>
              </a:solidFill>
            </c:spPr>
            <c:extLst>
              <c:ext xmlns:c16="http://schemas.microsoft.com/office/drawing/2014/chart" uri="{C3380CC4-5D6E-409C-BE32-E72D297353CC}">
                <c16:uniqueId val="{0000006F-2993-41DE-A2CB-63102DE87051}"/>
              </c:ext>
            </c:extLst>
          </c:dPt>
          <c:dPt>
            <c:idx val="28"/>
            <c:invertIfNegative val="1"/>
            <c:bubble3D val="0"/>
            <c:spPr>
              <a:solidFill>
                <a:srgbClr val="AEABAB"/>
              </a:solidFill>
            </c:spPr>
            <c:extLst>
              <c:ext xmlns:c16="http://schemas.microsoft.com/office/drawing/2014/chart" uri="{C3380CC4-5D6E-409C-BE32-E72D297353CC}">
                <c16:uniqueId val="{00000071-2993-41DE-A2CB-63102DE87051}"/>
              </c:ext>
            </c:extLst>
          </c:dPt>
          <c:dPt>
            <c:idx val="29"/>
            <c:invertIfNegative val="1"/>
            <c:bubble3D val="0"/>
            <c:spPr>
              <a:solidFill>
                <a:srgbClr val="AEABAB"/>
              </a:solidFill>
            </c:spPr>
            <c:extLst>
              <c:ext xmlns:c16="http://schemas.microsoft.com/office/drawing/2014/chart" uri="{C3380CC4-5D6E-409C-BE32-E72D297353CC}">
                <c16:uniqueId val="{00000073-2993-41DE-A2CB-63102DE87051}"/>
              </c:ext>
            </c:extLst>
          </c:dPt>
          <c:dPt>
            <c:idx val="30"/>
            <c:invertIfNegative val="1"/>
            <c:bubble3D val="0"/>
            <c:spPr>
              <a:solidFill>
                <a:srgbClr val="AEABAB"/>
              </a:solidFill>
            </c:spPr>
            <c:extLst>
              <c:ext xmlns:c16="http://schemas.microsoft.com/office/drawing/2014/chart" uri="{C3380CC4-5D6E-409C-BE32-E72D297353CC}">
                <c16:uniqueId val="{00000075-2993-41DE-A2CB-63102DE87051}"/>
              </c:ext>
            </c:extLst>
          </c:dPt>
          <c:dPt>
            <c:idx val="31"/>
            <c:invertIfNegative val="1"/>
            <c:bubble3D val="0"/>
            <c:spPr>
              <a:solidFill>
                <a:srgbClr val="AEABAB"/>
              </a:solidFill>
            </c:spPr>
            <c:extLst>
              <c:ext xmlns:c16="http://schemas.microsoft.com/office/drawing/2014/chart" uri="{C3380CC4-5D6E-409C-BE32-E72D297353CC}">
                <c16:uniqueId val="{00000077-2993-41DE-A2CB-63102DE87051}"/>
              </c:ext>
            </c:extLst>
          </c:dPt>
          <c:dPt>
            <c:idx val="32"/>
            <c:invertIfNegative val="1"/>
            <c:bubble3D val="0"/>
            <c:spPr>
              <a:solidFill>
                <a:srgbClr val="AEABAB"/>
              </a:solidFill>
            </c:spPr>
            <c:extLst>
              <c:ext xmlns:c16="http://schemas.microsoft.com/office/drawing/2014/chart" uri="{C3380CC4-5D6E-409C-BE32-E72D297353CC}">
                <c16:uniqueId val="{00000079-2993-41DE-A2CB-63102DE87051}"/>
              </c:ext>
            </c:extLst>
          </c:dPt>
          <c:dPt>
            <c:idx val="33"/>
            <c:invertIfNegative val="1"/>
            <c:bubble3D val="0"/>
            <c:spPr>
              <a:solidFill>
                <a:srgbClr val="AEABAB"/>
              </a:solidFill>
            </c:spPr>
            <c:extLst>
              <c:ext xmlns:c16="http://schemas.microsoft.com/office/drawing/2014/chart" uri="{C3380CC4-5D6E-409C-BE32-E72D297353CC}">
                <c16:uniqueId val="{0000007B-2993-41DE-A2CB-63102DE87051}"/>
              </c:ext>
            </c:extLst>
          </c:dPt>
          <c:dPt>
            <c:idx val="34"/>
            <c:invertIfNegative val="1"/>
            <c:bubble3D val="0"/>
            <c:spPr>
              <a:solidFill>
                <a:srgbClr val="AEABAB"/>
              </a:solidFill>
            </c:spPr>
            <c:extLst>
              <c:ext xmlns:c16="http://schemas.microsoft.com/office/drawing/2014/chart" uri="{C3380CC4-5D6E-409C-BE32-E72D297353CC}">
                <c16:uniqueId val="{0000007D-2993-41DE-A2CB-63102DE87051}"/>
              </c:ext>
            </c:extLst>
          </c:dPt>
          <c:dPt>
            <c:idx val="35"/>
            <c:invertIfNegative val="1"/>
            <c:bubble3D val="0"/>
            <c:spPr>
              <a:solidFill>
                <a:srgbClr val="AEABAB"/>
              </a:solidFill>
            </c:spPr>
            <c:extLst>
              <c:ext xmlns:c16="http://schemas.microsoft.com/office/drawing/2014/chart" uri="{C3380CC4-5D6E-409C-BE32-E72D297353CC}">
                <c16:uniqueId val="{0000007F-2993-41DE-A2CB-63102DE87051}"/>
              </c:ext>
            </c:extLst>
          </c:dPt>
          <c:dPt>
            <c:idx val="36"/>
            <c:invertIfNegative val="1"/>
            <c:bubble3D val="0"/>
            <c:spPr>
              <a:solidFill>
                <a:srgbClr val="AEABAB"/>
              </a:solidFill>
            </c:spPr>
            <c:extLst>
              <c:ext xmlns:c16="http://schemas.microsoft.com/office/drawing/2014/chart" uri="{C3380CC4-5D6E-409C-BE32-E72D297353CC}">
                <c16:uniqueId val="{00000081-2993-41DE-A2CB-63102DE87051}"/>
              </c:ext>
            </c:extLst>
          </c:dPt>
          <c:dPt>
            <c:idx val="37"/>
            <c:invertIfNegative val="1"/>
            <c:bubble3D val="0"/>
            <c:spPr>
              <a:solidFill>
                <a:srgbClr val="AEABAB"/>
              </a:solidFill>
            </c:spPr>
            <c:extLst>
              <c:ext xmlns:c16="http://schemas.microsoft.com/office/drawing/2014/chart" uri="{C3380CC4-5D6E-409C-BE32-E72D297353CC}">
                <c16:uniqueId val="{00000083-2993-41DE-A2CB-63102DE87051}"/>
              </c:ext>
            </c:extLst>
          </c:dPt>
          <c:dPt>
            <c:idx val="38"/>
            <c:invertIfNegative val="1"/>
            <c:bubble3D val="0"/>
            <c:spPr>
              <a:solidFill>
                <a:srgbClr val="AEABAB"/>
              </a:solidFill>
            </c:spPr>
            <c:extLst>
              <c:ext xmlns:c16="http://schemas.microsoft.com/office/drawing/2014/chart" uri="{C3380CC4-5D6E-409C-BE32-E72D297353CC}">
                <c16:uniqueId val="{00000085-2993-41DE-A2CB-63102DE87051}"/>
              </c:ext>
            </c:extLst>
          </c:dPt>
          <c:dPt>
            <c:idx val="39"/>
            <c:invertIfNegative val="1"/>
            <c:bubble3D val="0"/>
            <c:spPr>
              <a:solidFill>
                <a:srgbClr val="AEABAB"/>
              </a:solidFill>
            </c:spPr>
            <c:extLst>
              <c:ext xmlns:c16="http://schemas.microsoft.com/office/drawing/2014/chart" uri="{C3380CC4-5D6E-409C-BE32-E72D297353CC}">
                <c16:uniqueId val="{00000087-2993-41DE-A2CB-63102DE87051}"/>
              </c:ext>
            </c:extLst>
          </c:dPt>
          <c:dPt>
            <c:idx val="40"/>
            <c:invertIfNegative val="1"/>
            <c:bubble3D val="0"/>
            <c:spPr>
              <a:solidFill>
                <a:srgbClr val="AEABAB"/>
              </a:solidFill>
            </c:spPr>
            <c:extLst>
              <c:ext xmlns:c16="http://schemas.microsoft.com/office/drawing/2014/chart" uri="{C3380CC4-5D6E-409C-BE32-E72D297353CC}">
                <c16:uniqueId val="{00000089-2993-41DE-A2CB-63102DE87051}"/>
              </c:ext>
            </c:extLst>
          </c:dPt>
          <c:dPt>
            <c:idx val="41"/>
            <c:invertIfNegative val="1"/>
            <c:bubble3D val="0"/>
            <c:spPr>
              <a:solidFill>
                <a:srgbClr val="AEABAB"/>
              </a:solidFill>
            </c:spPr>
            <c:extLst>
              <c:ext xmlns:c16="http://schemas.microsoft.com/office/drawing/2014/chart" uri="{C3380CC4-5D6E-409C-BE32-E72D297353CC}">
                <c16:uniqueId val="{0000008B-2993-41DE-A2CB-63102DE87051}"/>
              </c:ext>
            </c:extLst>
          </c:dPt>
          <c:dPt>
            <c:idx val="42"/>
            <c:invertIfNegative val="1"/>
            <c:bubble3D val="0"/>
            <c:spPr>
              <a:solidFill>
                <a:srgbClr val="AEABAB"/>
              </a:solidFill>
            </c:spPr>
            <c:extLst>
              <c:ext xmlns:c16="http://schemas.microsoft.com/office/drawing/2014/chart" uri="{C3380CC4-5D6E-409C-BE32-E72D297353CC}">
                <c16:uniqueId val="{0000008D-2993-41DE-A2CB-63102DE87051}"/>
              </c:ext>
            </c:extLst>
          </c:dPt>
          <c:dPt>
            <c:idx val="43"/>
            <c:invertIfNegative val="1"/>
            <c:bubble3D val="0"/>
            <c:spPr>
              <a:solidFill>
                <a:srgbClr val="AEABAB"/>
              </a:solidFill>
            </c:spPr>
            <c:extLst>
              <c:ext xmlns:c16="http://schemas.microsoft.com/office/drawing/2014/chart" uri="{C3380CC4-5D6E-409C-BE32-E72D297353CC}">
                <c16:uniqueId val="{0000008F-2993-41DE-A2CB-63102DE87051}"/>
              </c:ext>
            </c:extLst>
          </c:dPt>
          <c:dPt>
            <c:idx val="44"/>
            <c:invertIfNegative val="1"/>
            <c:bubble3D val="0"/>
            <c:spPr>
              <a:solidFill>
                <a:srgbClr val="AEABAB"/>
              </a:solidFill>
            </c:spPr>
            <c:extLst>
              <c:ext xmlns:c16="http://schemas.microsoft.com/office/drawing/2014/chart" uri="{C3380CC4-5D6E-409C-BE32-E72D297353CC}">
                <c16:uniqueId val="{00000091-2993-41DE-A2CB-63102DE87051}"/>
              </c:ext>
            </c:extLst>
          </c:dPt>
          <c:dPt>
            <c:idx val="45"/>
            <c:invertIfNegative val="1"/>
            <c:bubble3D val="0"/>
            <c:spPr>
              <a:solidFill>
                <a:srgbClr val="AEABAB"/>
              </a:solidFill>
            </c:spPr>
            <c:extLst>
              <c:ext xmlns:c16="http://schemas.microsoft.com/office/drawing/2014/chart" uri="{C3380CC4-5D6E-409C-BE32-E72D297353CC}">
                <c16:uniqueId val="{00000093-2993-41DE-A2CB-63102DE87051}"/>
              </c:ext>
            </c:extLst>
          </c:dPt>
          <c:dPt>
            <c:idx val="46"/>
            <c:invertIfNegative val="1"/>
            <c:bubble3D val="0"/>
            <c:spPr>
              <a:solidFill>
                <a:srgbClr val="AEABAB"/>
              </a:solidFill>
            </c:spPr>
            <c:extLst>
              <c:ext xmlns:c16="http://schemas.microsoft.com/office/drawing/2014/chart" uri="{C3380CC4-5D6E-409C-BE32-E72D297353CC}">
                <c16:uniqueId val="{00000095-2993-41DE-A2CB-63102DE87051}"/>
              </c:ext>
            </c:extLst>
          </c:dPt>
          <c:dPt>
            <c:idx val="47"/>
            <c:invertIfNegative val="1"/>
            <c:bubble3D val="0"/>
            <c:spPr>
              <a:solidFill>
                <a:srgbClr val="AEABAB"/>
              </a:solidFill>
            </c:spPr>
            <c:extLst>
              <c:ext xmlns:c16="http://schemas.microsoft.com/office/drawing/2014/chart" uri="{C3380CC4-5D6E-409C-BE32-E72D297353CC}">
                <c16:uniqueId val="{00000097-2993-41DE-A2CB-63102DE87051}"/>
              </c:ext>
            </c:extLst>
          </c:dPt>
          <c:dPt>
            <c:idx val="48"/>
            <c:invertIfNegative val="1"/>
            <c:bubble3D val="0"/>
            <c:spPr>
              <a:solidFill>
                <a:srgbClr val="AEABAB"/>
              </a:solidFill>
            </c:spPr>
            <c:extLst>
              <c:ext xmlns:c16="http://schemas.microsoft.com/office/drawing/2014/chart" uri="{C3380CC4-5D6E-409C-BE32-E72D297353CC}">
                <c16:uniqueId val="{00000099-2993-41DE-A2CB-63102DE87051}"/>
              </c:ext>
            </c:extLst>
          </c:dPt>
          <c:dPt>
            <c:idx val="49"/>
            <c:invertIfNegative val="1"/>
            <c:bubble3D val="0"/>
            <c:spPr>
              <a:solidFill>
                <a:srgbClr val="AEABAB"/>
              </a:solidFill>
            </c:spPr>
            <c:extLst>
              <c:ext xmlns:c16="http://schemas.microsoft.com/office/drawing/2014/chart" uri="{C3380CC4-5D6E-409C-BE32-E72D297353CC}">
                <c16:uniqueId val="{0000009B-2993-41DE-A2CB-63102DE87051}"/>
              </c:ext>
            </c:extLst>
          </c:dPt>
          <c:dPt>
            <c:idx val="50"/>
            <c:invertIfNegative val="1"/>
            <c:bubble3D val="0"/>
            <c:spPr>
              <a:solidFill>
                <a:srgbClr val="AEABAB"/>
              </a:solidFill>
            </c:spPr>
            <c:extLst>
              <c:ext xmlns:c16="http://schemas.microsoft.com/office/drawing/2014/chart" uri="{C3380CC4-5D6E-409C-BE32-E72D297353CC}">
                <c16:uniqueId val="{0000009D-2993-41DE-A2CB-63102DE87051}"/>
              </c:ext>
            </c:extLst>
          </c:dPt>
          <c:dPt>
            <c:idx val="51"/>
            <c:invertIfNegative val="1"/>
            <c:bubble3D val="0"/>
            <c:spPr>
              <a:solidFill>
                <a:srgbClr val="AEABAB"/>
              </a:solidFill>
            </c:spPr>
            <c:extLst>
              <c:ext xmlns:c16="http://schemas.microsoft.com/office/drawing/2014/chart" uri="{C3380CC4-5D6E-409C-BE32-E72D297353CC}">
                <c16:uniqueId val="{0000009F-2993-41DE-A2CB-63102DE87051}"/>
              </c:ext>
            </c:extLst>
          </c:dPt>
          <c:dPt>
            <c:idx val="52"/>
            <c:invertIfNegative val="1"/>
            <c:bubble3D val="0"/>
            <c:spPr>
              <a:solidFill>
                <a:srgbClr val="AEABAB"/>
              </a:solidFill>
            </c:spPr>
            <c:extLst>
              <c:ext xmlns:c16="http://schemas.microsoft.com/office/drawing/2014/chart" uri="{C3380CC4-5D6E-409C-BE32-E72D297353CC}">
                <c16:uniqueId val="{000000A1-2993-41DE-A2CB-63102DE87051}"/>
              </c:ext>
            </c:extLst>
          </c:dPt>
          <c:dPt>
            <c:idx val="53"/>
            <c:invertIfNegative val="1"/>
            <c:bubble3D val="0"/>
            <c:spPr>
              <a:solidFill>
                <a:srgbClr val="AEABAB"/>
              </a:solidFill>
            </c:spPr>
            <c:extLst>
              <c:ext xmlns:c16="http://schemas.microsoft.com/office/drawing/2014/chart" uri="{C3380CC4-5D6E-409C-BE32-E72D297353CC}">
                <c16:uniqueId val="{000000A3-2993-41DE-A2CB-63102DE87051}"/>
              </c:ext>
            </c:extLst>
          </c:dPt>
          <c:dPt>
            <c:idx val="54"/>
            <c:invertIfNegative val="0"/>
            <c:bubble3D val="0"/>
            <c:spPr>
              <a:solidFill>
                <a:srgbClr val="AEABAB"/>
              </a:solidFill>
            </c:spPr>
            <c:extLst>
              <c:ext xmlns:c16="http://schemas.microsoft.com/office/drawing/2014/chart" uri="{C3380CC4-5D6E-409C-BE32-E72D297353CC}">
                <c16:uniqueId val="{00000072-C76F-4230-900D-40618C09729F}"/>
              </c:ext>
            </c:extLst>
          </c:dPt>
          <c:dPt>
            <c:idx val="55"/>
            <c:invertIfNegative val="0"/>
            <c:bubble3D val="0"/>
            <c:spPr>
              <a:solidFill>
                <a:srgbClr val="AEABAB"/>
              </a:solidFill>
            </c:spPr>
            <c:extLst>
              <c:ext xmlns:c16="http://schemas.microsoft.com/office/drawing/2014/chart" uri="{C3380CC4-5D6E-409C-BE32-E72D297353CC}">
                <c16:uniqueId val="{00000074-C76F-4230-900D-40618C09729F}"/>
              </c:ext>
            </c:extLst>
          </c:dPt>
          <c:dPt>
            <c:idx val="56"/>
            <c:invertIfNegative val="0"/>
            <c:bubble3D val="0"/>
            <c:spPr>
              <a:solidFill>
                <a:srgbClr val="AEABAB"/>
              </a:solidFill>
            </c:spPr>
            <c:extLst>
              <c:ext xmlns:c16="http://schemas.microsoft.com/office/drawing/2014/chart" uri="{C3380CC4-5D6E-409C-BE32-E72D297353CC}">
                <c16:uniqueId val="{00000076-C76F-4230-900D-40618C09729F}"/>
              </c:ext>
            </c:extLst>
          </c:dPt>
          <c:dPt>
            <c:idx val="57"/>
            <c:invertIfNegative val="0"/>
            <c:bubble3D val="0"/>
            <c:spPr>
              <a:solidFill>
                <a:srgbClr val="AEABAB"/>
              </a:solidFill>
            </c:spPr>
            <c:extLst>
              <c:ext xmlns:c16="http://schemas.microsoft.com/office/drawing/2014/chart" uri="{C3380CC4-5D6E-409C-BE32-E72D297353CC}">
                <c16:uniqueId val="{00000078-C76F-4230-900D-40618C09729F}"/>
              </c:ext>
            </c:extLst>
          </c:dPt>
          <c:dPt>
            <c:idx val="58"/>
            <c:invertIfNegative val="0"/>
            <c:bubble3D val="0"/>
            <c:spPr>
              <a:solidFill>
                <a:srgbClr val="AEABAB"/>
              </a:solidFill>
            </c:spPr>
            <c:extLst>
              <c:ext xmlns:c16="http://schemas.microsoft.com/office/drawing/2014/chart" uri="{C3380CC4-5D6E-409C-BE32-E72D297353CC}">
                <c16:uniqueId val="{0000007A-C76F-4230-900D-40618C09729F}"/>
              </c:ext>
            </c:extLst>
          </c:dPt>
          <c:dPt>
            <c:idx val="59"/>
            <c:invertIfNegative val="0"/>
            <c:bubble3D val="0"/>
            <c:spPr>
              <a:solidFill>
                <a:srgbClr val="AEABAB"/>
              </a:solidFill>
            </c:spPr>
            <c:extLst>
              <c:ext xmlns:c16="http://schemas.microsoft.com/office/drawing/2014/chart" uri="{C3380CC4-5D6E-409C-BE32-E72D297353CC}">
                <c16:uniqueId val="{0000007C-C76F-4230-900D-40618C09729F}"/>
              </c:ext>
            </c:extLst>
          </c:dPt>
          <c:dPt>
            <c:idx val="60"/>
            <c:invertIfNegative val="0"/>
            <c:bubble3D val="0"/>
            <c:spPr>
              <a:solidFill>
                <a:srgbClr val="AEABAB"/>
              </a:solidFill>
            </c:spPr>
            <c:extLst>
              <c:ext xmlns:c16="http://schemas.microsoft.com/office/drawing/2014/chart" uri="{C3380CC4-5D6E-409C-BE32-E72D297353CC}">
                <c16:uniqueId val="{0000007E-C76F-4230-900D-40618C09729F}"/>
              </c:ext>
            </c:extLst>
          </c:dPt>
          <c:dPt>
            <c:idx val="61"/>
            <c:invertIfNegative val="0"/>
            <c:bubble3D val="0"/>
            <c:spPr>
              <a:solidFill>
                <a:srgbClr val="AEABAB"/>
              </a:solidFill>
            </c:spPr>
            <c:extLst>
              <c:ext xmlns:c16="http://schemas.microsoft.com/office/drawing/2014/chart" uri="{C3380CC4-5D6E-409C-BE32-E72D297353CC}">
                <c16:uniqueId val="{00000080-C76F-4230-900D-40618C09729F}"/>
              </c:ext>
            </c:extLst>
          </c:dPt>
          <c:dPt>
            <c:idx val="62"/>
            <c:invertIfNegative val="0"/>
            <c:bubble3D val="0"/>
            <c:spPr>
              <a:solidFill>
                <a:srgbClr val="AEABAB"/>
              </a:solidFill>
            </c:spPr>
            <c:extLst>
              <c:ext xmlns:c16="http://schemas.microsoft.com/office/drawing/2014/chart" uri="{C3380CC4-5D6E-409C-BE32-E72D297353CC}">
                <c16:uniqueId val="{00000082-C76F-4230-900D-40618C09729F}"/>
              </c:ext>
            </c:extLst>
          </c:dPt>
          <c:dPt>
            <c:idx val="63"/>
            <c:invertIfNegative val="0"/>
            <c:bubble3D val="0"/>
            <c:spPr>
              <a:solidFill>
                <a:srgbClr val="AEABAB"/>
              </a:solidFill>
            </c:spPr>
            <c:extLst>
              <c:ext xmlns:c16="http://schemas.microsoft.com/office/drawing/2014/chart" uri="{C3380CC4-5D6E-409C-BE32-E72D297353CC}">
                <c16:uniqueId val="{00000084-C76F-4230-900D-40618C09729F}"/>
              </c:ext>
            </c:extLst>
          </c:dPt>
          <c:dPt>
            <c:idx val="64"/>
            <c:invertIfNegative val="0"/>
            <c:bubble3D val="0"/>
            <c:spPr>
              <a:solidFill>
                <a:srgbClr val="AEABAB"/>
              </a:solidFill>
            </c:spPr>
            <c:extLst>
              <c:ext xmlns:c16="http://schemas.microsoft.com/office/drawing/2014/chart" uri="{C3380CC4-5D6E-409C-BE32-E72D297353CC}">
                <c16:uniqueId val="{00000086-C76F-4230-900D-40618C09729F}"/>
              </c:ext>
            </c:extLst>
          </c:dPt>
          <c:dPt>
            <c:idx val="65"/>
            <c:invertIfNegative val="0"/>
            <c:bubble3D val="0"/>
            <c:spPr>
              <a:solidFill>
                <a:srgbClr val="AEABAB"/>
              </a:solidFill>
            </c:spPr>
            <c:extLst>
              <c:ext xmlns:c16="http://schemas.microsoft.com/office/drawing/2014/chart" uri="{C3380CC4-5D6E-409C-BE32-E72D297353CC}">
                <c16:uniqueId val="{00000088-C76F-4230-900D-40618C09729F}"/>
              </c:ext>
            </c:extLst>
          </c:dPt>
          <c:dPt>
            <c:idx val="66"/>
            <c:invertIfNegative val="0"/>
            <c:bubble3D val="0"/>
            <c:spPr>
              <a:solidFill>
                <a:srgbClr val="AEABAB"/>
              </a:solidFill>
            </c:spPr>
            <c:extLst>
              <c:ext xmlns:c16="http://schemas.microsoft.com/office/drawing/2014/chart" uri="{C3380CC4-5D6E-409C-BE32-E72D297353CC}">
                <c16:uniqueId val="{0000008A-C76F-4230-900D-40618C09729F}"/>
              </c:ext>
            </c:extLst>
          </c:dPt>
          <c:dPt>
            <c:idx val="67"/>
            <c:invertIfNegative val="0"/>
            <c:bubble3D val="0"/>
            <c:spPr>
              <a:solidFill>
                <a:srgbClr val="AEABAB"/>
              </a:solidFill>
            </c:spPr>
            <c:extLst>
              <c:ext xmlns:c16="http://schemas.microsoft.com/office/drawing/2014/chart" uri="{C3380CC4-5D6E-409C-BE32-E72D297353CC}">
                <c16:uniqueId val="{0000008C-C76F-4230-900D-40618C09729F}"/>
              </c:ext>
            </c:extLst>
          </c:dPt>
          <c:dPt>
            <c:idx val="68"/>
            <c:invertIfNegative val="0"/>
            <c:bubble3D val="0"/>
            <c:spPr>
              <a:solidFill>
                <a:srgbClr val="AEABAB"/>
              </a:solidFill>
            </c:spPr>
            <c:extLst>
              <c:ext xmlns:c16="http://schemas.microsoft.com/office/drawing/2014/chart" uri="{C3380CC4-5D6E-409C-BE32-E72D297353CC}">
                <c16:uniqueId val="{0000008E-C76F-4230-900D-40618C09729F}"/>
              </c:ext>
            </c:extLst>
          </c:dPt>
          <c:dPt>
            <c:idx val="69"/>
            <c:invertIfNegative val="0"/>
            <c:bubble3D val="0"/>
            <c:spPr>
              <a:solidFill>
                <a:srgbClr val="AEABAB"/>
              </a:solidFill>
            </c:spPr>
            <c:extLst>
              <c:ext xmlns:c16="http://schemas.microsoft.com/office/drawing/2014/chart" uri="{C3380CC4-5D6E-409C-BE32-E72D297353CC}">
                <c16:uniqueId val="{00000090-C76F-4230-900D-40618C09729F}"/>
              </c:ext>
            </c:extLst>
          </c:dPt>
          <c:dPt>
            <c:idx val="70"/>
            <c:invertIfNegative val="0"/>
            <c:bubble3D val="0"/>
            <c:spPr>
              <a:solidFill>
                <a:srgbClr val="AEABAB"/>
              </a:solidFill>
            </c:spPr>
            <c:extLst>
              <c:ext xmlns:c16="http://schemas.microsoft.com/office/drawing/2014/chart" uri="{C3380CC4-5D6E-409C-BE32-E72D297353CC}">
                <c16:uniqueId val="{00000092-C76F-4230-900D-40618C09729F}"/>
              </c:ext>
            </c:extLst>
          </c:dPt>
          <c:dPt>
            <c:idx val="71"/>
            <c:invertIfNegative val="0"/>
            <c:bubble3D val="0"/>
            <c:spPr>
              <a:solidFill>
                <a:srgbClr val="AEABAB"/>
              </a:solidFill>
            </c:spPr>
            <c:extLst>
              <c:ext xmlns:c16="http://schemas.microsoft.com/office/drawing/2014/chart" uri="{C3380CC4-5D6E-409C-BE32-E72D297353CC}">
                <c16:uniqueId val="{00000094-C76F-4230-900D-40618C09729F}"/>
              </c:ext>
            </c:extLst>
          </c:dPt>
          <c:dPt>
            <c:idx val="72"/>
            <c:invertIfNegative val="0"/>
            <c:bubble3D val="0"/>
            <c:spPr>
              <a:solidFill>
                <a:srgbClr val="AEABAB"/>
              </a:solidFill>
            </c:spPr>
            <c:extLst>
              <c:ext xmlns:c16="http://schemas.microsoft.com/office/drawing/2014/chart" uri="{C3380CC4-5D6E-409C-BE32-E72D297353CC}">
                <c16:uniqueId val="{00000096-C76F-4230-900D-40618C09729F}"/>
              </c:ext>
            </c:extLst>
          </c:dPt>
          <c:dPt>
            <c:idx val="73"/>
            <c:invertIfNegative val="0"/>
            <c:bubble3D val="0"/>
            <c:spPr>
              <a:solidFill>
                <a:srgbClr val="AEABAB"/>
              </a:solidFill>
            </c:spPr>
            <c:extLst>
              <c:ext xmlns:c16="http://schemas.microsoft.com/office/drawing/2014/chart" uri="{C3380CC4-5D6E-409C-BE32-E72D297353CC}">
                <c16:uniqueId val="{00000098-C76F-4230-900D-40618C09729F}"/>
              </c:ext>
            </c:extLst>
          </c:dPt>
          <c:dPt>
            <c:idx val="74"/>
            <c:invertIfNegative val="0"/>
            <c:bubble3D val="0"/>
            <c:spPr>
              <a:solidFill>
                <a:srgbClr val="AEABAB"/>
              </a:solidFill>
            </c:spPr>
            <c:extLst>
              <c:ext xmlns:c16="http://schemas.microsoft.com/office/drawing/2014/chart" uri="{C3380CC4-5D6E-409C-BE32-E72D297353CC}">
                <c16:uniqueId val="{0000009A-C76F-4230-900D-40618C09729F}"/>
              </c:ext>
            </c:extLst>
          </c:dPt>
          <c:dPt>
            <c:idx val="75"/>
            <c:invertIfNegative val="0"/>
            <c:bubble3D val="0"/>
            <c:spPr>
              <a:solidFill>
                <a:srgbClr val="AEABAB"/>
              </a:solidFill>
            </c:spPr>
            <c:extLst>
              <c:ext xmlns:c16="http://schemas.microsoft.com/office/drawing/2014/chart" uri="{C3380CC4-5D6E-409C-BE32-E72D297353CC}">
                <c16:uniqueId val="{0000009C-C76F-4230-900D-40618C09729F}"/>
              </c:ext>
            </c:extLst>
          </c:dPt>
          <c:dPt>
            <c:idx val="76"/>
            <c:invertIfNegative val="0"/>
            <c:bubble3D val="0"/>
            <c:spPr>
              <a:solidFill>
                <a:srgbClr val="AEABAB"/>
              </a:solidFill>
            </c:spPr>
            <c:extLst>
              <c:ext xmlns:c16="http://schemas.microsoft.com/office/drawing/2014/chart" uri="{C3380CC4-5D6E-409C-BE32-E72D297353CC}">
                <c16:uniqueId val="{0000009E-C76F-4230-900D-40618C09729F}"/>
              </c:ext>
            </c:extLst>
          </c:dPt>
          <c:dPt>
            <c:idx val="77"/>
            <c:invertIfNegative val="0"/>
            <c:bubble3D val="0"/>
            <c:spPr>
              <a:solidFill>
                <a:srgbClr val="AEABAB"/>
              </a:solidFill>
            </c:spPr>
            <c:extLst>
              <c:ext xmlns:c16="http://schemas.microsoft.com/office/drawing/2014/chart" uri="{C3380CC4-5D6E-409C-BE32-E72D297353CC}">
                <c16:uniqueId val="{000000A0-C76F-4230-900D-40618C09729F}"/>
              </c:ext>
            </c:extLst>
          </c:dPt>
          <c:dPt>
            <c:idx val="78"/>
            <c:invertIfNegative val="0"/>
            <c:bubble3D val="0"/>
            <c:spPr>
              <a:solidFill>
                <a:srgbClr val="AEABAB"/>
              </a:solidFill>
            </c:spPr>
            <c:extLst>
              <c:ext xmlns:c16="http://schemas.microsoft.com/office/drawing/2014/chart" uri="{C3380CC4-5D6E-409C-BE32-E72D297353CC}">
                <c16:uniqueId val="{000000A2-C76F-4230-900D-40618C09729F}"/>
              </c:ext>
            </c:extLst>
          </c:dPt>
          <c:dPt>
            <c:idx val="79"/>
            <c:invertIfNegative val="0"/>
            <c:bubble3D val="0"/>
            <c:spPr>
              <a:solidFill>
                <a:srgbClr val="AEABAB"/>
              </a:solidFill>
            </c:spPr>
            <c:extLst>
              <c:ext xmlns:c16="http://schemas.microsoft.com/office/drawing/2014/chart" uri="{C3380CC4-5D6E-409C-BE32-E72D297353CC}">
                <c16:uniqueId val="{000000A4-C76F-4230-900D-40618C09729F}"/>
              </c:ext>
            </c:extLst>
          </c:dPt>
          <c:dPt>
            <c:idx val="80"/>
            <c:invertIfNegative val="0"/>
            <c:bubble3D val="0"/>
            <c:spPr>
              <a:solidFill>
                <a:srgbClr val="AEABAB"/>
              </a:solidFill>
            </c:spPr>
            <c:extLst>
              <c:ext xmlns:c16="http://schemas.microsoft.com/office/drawing/2014/chart" uri="{C3380CC4-5D6E-409C-BE32-E72D297353CC}">
                <c16:uniqueId val="{000000A6-C76F-4230-900D-40618C09729F}"/>
              </c:ext>
            </c:extLst>
          </c:dPt>
          <c:dPt>
            <c:idx val="81"/>
            <c:invertIfNegative val="1"/>
            <c:bubble3D val="0"/>
            <c:spPr>
              <a:solidFill>
                <a:srgbClr val="AEABAB"/>
              </a:solidFill>
            </c:spPr>
            <c:extLst>
              <c:ext xmlns:c16="http://schemas.microsoft.com/office/drawing/2014/chart" uri="{C3380CC4-5D6E-409C-BE32-E72D297353CC}">
                <c16:uniqueId val="{000000A5-2993-41DE-A2CB-63102DE87051}"/>
              </c:ext>
            </c:extLst>
          </c:dPt>
          <c:dPt>
            <c:idx val="82"/>
            <c:invertIfNegative val="1"/>
            <c:bubble3D val="0"/>
            <c:spPr>
              <a:solidFill>
                <a:srgbClr val="AEABAB"/>
              </a:solidFill>
            </c:spPr>
            <c:extLst>
              <c:ext xmlns:c16="http://schemas.microsoft.com/office/drawing/2014/chart" uri="{C3380CC4-5D6E-409C-BE32-E72D297353CC}">
                <c16:uniqueId val="{000000A7-2993-41DE-A2CB-63102DE87051}"/>
              </c:ext>
            </c:extLst>
          </c:dPt>
          <c:dPt>
            <c:idx val="83"/>
            <c:invertIfNegative val="1"/>
            <c:bubble3D val="0"/>
            <c:spPr>
              <a:solidFill>
                <a:srgbClr val="AEABAB"/>
              </a:solidFill>
            </c:spPr>
            <c:extLst>
              <c:ext xmlns:c16="http://schemas.microsoft.com/office/drawing/2014/chart" uri="{C3380CC4-5D6E-409C-BE32-E72D297353CC}">
                <c16:uniqueId val="{000000A9-2993-41DE-A2CB-63102DE87051}"/>
              </c:ext>
            </c:extLst>
          </c:dPt>
          <c:dPt>
            <c:idx val="84"/>
            <c:invertIfNegative val="1"/>
            <c:bubble3D val="0"/>
            <c:spPr>
              <a:solidFill>
                <a:srgbClr val="AEABAB"/>
              </a:solidFill>
            </c:spPr>
            <c:extLst>
              <c:ext xmlns:c16="http://schemas.microsoft.com/office/drawing/2014/chart" uri="{C3380CC4-5D6E-409C-BE32-E72D297353CC}">
                <c16:uniqueId val="{000000AB-2993-41DE-A2CB-63102DE87051}"/>
              </c:ext>
            </c:extLst>
          </c:dPt>
          <c:dPt>
            <c:idx val="85"/>
            <c:invertIfNegative val="1"/>
            <c:bubble3D val="0"/>
            <c:spPr>
              <a:solidFill>
                <a:srgbClr val="AEABAB"/>
              </a:solidFill>
            </c:spPr>
            <c:extLst>
              <c:ext xmlns:c16="http://schemas.microsoft.com/office/drawing/2014/chart" uri="{C3380CC4-5D6E-409C-BE32-E72D297353CC}">
                <c16:uniqueId val="{000000AD-2993-41DE-A2CB-63102DE87051}"/>
              </c:ext>
            </c:extLst>
          </c:dPt>
          <c:dPt>
            <c:idx val="86"/>
            <c:invertIfNegative val="1"/>
            <c:bubble3D val="0"/>
            <c:spPr>
              <a:solidFill>
                <a:srgbClr val="AEABAB"/>
              </a:solidFill>
            </c:spPr>
            <c:extLst>
              <c:ext xmlns:c16="http://schemas.microsoft.com/office/drawing/2014/chart" uri="{C3380CC4-5D6E-409C-BE32-E72D297353CC}">
                <c16:uniqueId val="{000000AF-2993-41DE-A2CB-63102DE87051}"/>
              </c:ext>
            </c:extLst>
          </c:dPt>
          <c:dPt>
            <c:idx val="87"/>
            <c:invertIfNegative val="1"/>
            <c:bubble3D val="0"/>
            <c:spPr>
              <a:solidFill>
                <a:srgbClr val="AEABAB"/>
              </a:solidFill>
            </c:spPr>
            <c:extLst>
              <c:ext xmlns:c16="http://schemas.microsoft.com/office/drawing/2014/chart" uri="{C3380CC4-5D6E-409C-BE32-E72D297353CC}">
                <c16:uniqueId val="{000000B1-2993-41DE-A2CB-63102DE87051}"/>
              </c:ext>
            </c:extLst>
          </c:dPt>
          <c:dPt>
            <c:idx val="88"/>
            <c:invertIfNegative val="1"/>
            <c:bubble3D val="0"/>
            <c:spPr>
              <a:solidFill>
                <a:srgbClr val="AEABAB"/>
              </a:solidFill>
            </c:spPr>
            <c:extLst>
              <c:ext xmlns:c16="http://schemas.microsoft.com/office/drawing/2014/chart" uri="{C3380CC4-5D6E-409C-BE32-E72D297353CC}">
                <c16:uniqueId val="{000000B3-2993-41DE-A2CB-63102DE87051}"/>
              </c:ext>
            </c:extLst>
          </c:dPt>
          <c:dPt>
            <c:idx val="89"/>
            <c:invertIfNegative val="1"/>
            <c:bubble3D val="0"/>
            <c:spPr>
              <a:solidFill>
                <a:srgbClr val="AEABAB"/>
              </a:solidFill>
            </c:spPr>
            <c:extLst>
              <c:ext xmlns:c16="http://schemas.microsoft.com/office/drawing/2014/chart" uri="{C3380CC4-5D6E-409C-BE32-E72D297353CC}">
                <c16:uniqueId val="{000000B5-2993-41DE-A2CB-63102DE87051}"/>
              </c:ext>
            </c:extLst>
          </c:dPt>
          <c:dPt>
            <c:idx val="90"/>
            <c:invertIfNegative val="1"/>
            <c:bubble3D val="0"/>
            <c:spPr>
              <a:solidFill>
                <a:srgbClr val="AEABAB"/>
              </a:solidFill>
            </c:spPr>
            <c:extLst>
              <c:ext xmlns:c16="http://schemas.microsoft.com/office/drawing/2014/chart" uri="{C3380CC4-5D6E-409C-BE32-E72D297353CC}">
                <c16:uniqueId val="{000000B7-2993-41DE-A2CB-63102DE87051}"/>
              </c:ext>
            </c:extLst>
          </c:dPt>
          <c:dPt>
            <c:idx val="91"/>
            <c:invertIfNegative val="1"/>
            <c:bubble3D val="0"/>
            <c:spPr>
              <a:solidFill>
                <a:srgbClr val="AEABAB"/>
              </a:solidFill>
            </c:spPr>
            <c:extLst>
              <c:ext xmlns:c16="http://schemas.microsoft.com/office/drawing/2014/chart" uri="{C3380CC4-5D6E-409C-BE32-E72D297353CC}">
                <c16:uniqueId val="{000000B9-2993-41DE-A2CB-63102DE87051}"/>
              </c:ext>
            </c:extLst>
          </c:dPt>
          <c:dPt>
            <c:idx val="92"/>
            <c:invertIfNegative val="1"/>
            <c:bubble3D val="0"/>
            <c:spPr>
              <a:solidFill>
                <a:srgbClr val="AEABAB"/>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94</c:f>
              <c:strCache>
                <c:ptCount val="93"/>
                <c:pt idx="0">
                  <c:v>Private Lab</c:v>
                </c:pt>
                <c:pt idx="1">
                  <c:v>Private Lab</c:v>
                </c:pt>
                <c:pt idx="2">
                  <c:v>President</c:v>
                </c:pt>
                <c:pt idx="3">
                  <c:v>President</c:v>
                </c:pt>
                <c:pt idx="4">
                  <c:v>President</c:v>
                </c:pt>
                <c:pt idx="5">
                  <c:v>President</c:v>
                </c:pt>
                <c:pt idx="6">
                  <c:v>Private Lab</c:v>
                </c:pt>
                <c:pt idx="7">
                  <c:v>Private Lab</c:v>
                </c:pt>
                <c:pt idx="8">
                  <c:v>Boursin</c:v>
                </c:pt>
                <c:pt idx="9">
                  <c:v>La Belle Et</c:v>
                </c:pt>
                <c:pt idx="10">
                  <c:v>La Belle Et</c:v>
                </c:pt>
                <c:pt idx="11">
                  <c:v>President</c:v>
                </c:pt>
                <c:pt idx="12">
                  <c:v>Richesmonts</c:v>
                </c:pt>
                <c:pt idx="13">
                  <c:v>La Belle Et</c:v>
                </c:pt>
                <c:pt idx="14">
                  <c:v>Raguin</c:v>
                </c:pt>
                <c:pt idx="15">
                  <c:v>La Belle Et</c:v>
                </c:pt>
                <c:pt idx="16">
                  <c:v>Raguin</c:v>
                </c:pt>
                <c:pt idx="17">
                  <c:v>La Belle Et</c:v>
                </c:pt>
                <c:pt idx="18">
                  <c:v>Raguin</c:v>
                </c:pt>
                <c:pt idx="19">
                  <c:v>Raguin</c:v>
                </c:pt>
                <c:pt idx="20">
                  <c:v>All Others</c:v>
                </c:pt>
                <c:pt idx="21">
                  <c:v>Milleret: A</c:v>
                </c:pt>
                <c:pt idx="22">
                  <c:v>Milleret: A</c:v>
                </c:pt>
                <c:pt idx="23">
                  <c:v>All Others</c:v>
                </c:pt>
                <c:pt idx="24">
                  <c:v>La Belle Et</c:v>
                </c:pt>
                <c:pt idx="25">
                  <c:v>President</c:v>
                </c:pt>
                <c:pt idx="26">
                  <c:v>All Others</c:v>
                </c:pt>
                <c:pt idx="27">
                  <c:v>All Others</c:v>
                </c:pt>
                <c:pt idx="28">
                  <c:v>La Belle Et</c:v>
                </c:pt>
                <c:pt idx="29">
                  <c:v>All Others</c:v>
                </c:pt>
                <c:pt idx="30">
                  <c:v>All Others</c:v>
                </c:pt>
                <c:pt idx="31">
                  <c:v>All Others</c:v>
                </c:pt>
                <c:pt idx="32">
                  <c:v>Milleret: A</c:v>
                </c:pt>
                <c:pt idx="33">
                  <c:v>La Belle Et</c:v>
                </c:pt>
                <c:pt idx="34">
                  <c:v>La Belle Et</c:v>
                </c:pt>
                <c:pt idx="35">
                  <c:v>Milleret: A</c:v>
                </c:pt>
                <c:pt idx="36">
                  <c:v>La Belle Et</c:v>
                </c:pt>
                <c:pt idx="37">
                  <c:v>La Belle Et</c:v>
                </c:pt>
                <c:pt idx="38">
                  <c:v>La Belle Et</c:v>
                </c:pt>
                <c:pt idx="39">
                  <c:v>La Belle Et</c:v>
                </c:pt>
                <c:pt idx="40">
                  <c:v>All Others</c:v>
                </c:pt>
                <c:pt idx="41">
                  <c:v>La Belle Et</c:v>
                </c:pt>
                <c:pt idx="42">
                  <c:v>All Others</c:v>
                </c:pt>
                <c:pt idx="43">
                  <c:v>All Others</c:v>
                </c:pt>
                <c:pt idx="44">
                  <c:v>All Others</c:v>
                </c:pt>
                <c:pt idx="45">
                  <c:v>All Others</c:v>
                </c:pt>
                <c:pt idx="46">
                  <c:v>La Belle Et</c:v>
                </c:pt>
                <c:pt idx="47">
                  <c:v>La Belle Et</c:v>
                </c:pt>
                <c:pt idx="48">
                  <c:v>All Others</c:v>
                </c:pt>
                <c:pt idx="49">
                  <c:v>All Others</c:v>
                </c:pt>
                <c:pt idx="50">
                  <c:v>La Belle Et</c:v>
                </c:pt>
                <c:pt idx="51">
                  <c:v>La Belle Et</c:v>
                </c:pt>
                <c:pt idx="52">
                  <c:v>Raguin</c:v>
                </c:pt>
                <c:pt idx="53">
                  <c:v>Raguin</c:v>
                </c:pt>
                <c:pt idx="54">
                  <c:v>All Others</c:v>
                </c:pt>
                <c:pt idx="55">
                  <c:v>Raguin</c:v>
                </c:pt>
                <c:pt idx="56">
                  <c:v>All Others</c:v>
                </c:pt>
                <c:pt idx="57">
                  <c:v>Raguin</c:v>
                </c:pt>
                <c:pt idx="58">
                  <c:v>Raguin</c:v>
                </c:pt>
                <c:pt idx="59">
                  <c:v>La Belle Et</c:v>
                </c:pt>
                <c:pt idx="60">
                  <c:v>All Others</c:v>
                </c:pt>
                <c:pt idx="61">
                  <c:v>All Others</c:v>
                </c:pt>
                <c:pt idx="62">
                  <c:v>All Others</c:v>
                </c:pt>
                <c:pt idx="63">
                  <c:v>Raguin</c:v>
                </c:pt>
                <c:pt idx="64">
                  <c:v>All Others</c:v>
                </c:pt>
                <c:pt idx="65">
                  <c:v>Raguin</c:v>
                </c:pt>
                <c:pt idx="66">
                  <c:v>Raguin</c:v>
                </c:pt>
                <c:pt idx="67">
                  <c:v>All Others</c:v>
                </c:pt>
                <c:pt idx="68">
                  <c:v>All Others</c:v>
                </c:pt>
                <c:pt idx="69">
                  <c:v>All Others</c:v>
                </c:pt>
                <c:pt idx="70">
                  <c:v>Raguin</c:v>
                </c:pt>
                <c:pt idx="71">
                  <c:v>Raguin</c:v>
                </c:pt>
                <c:pt idx="72">
                  <c:v>Raguin</c:v>
                </c:pt>
                <c:pt idx="73">
                  <c:v>Raguin</c:v>
                </c:pt>
                <c:pt idx="74">
                  <c:v>Raguin</c:v>
                </c:pt>
                <c:pt idx="75">
                  <c:v>Raguin</c:v>
                </c:pt>
                <c:pt idx="76">
                  <c:v>Raguin</c:v>
                </c:pt>
                <c:pt idx="77">
                  <c:v>Raguin</c:v>
                </c:pt>
                <c:pt idx="78">
                  <c:v>All Others</c:v>
                </c:pt>
                <c:pt idx="79">
                  <c:v>Raguin</c:v>
                </c:pt>
                <c:pt idx="80">
                  <c:v>Raguin</c:v>
                </c:pt>
                <c:pt idx="81">
                  <c:v>All Others</c:v>
                </c:pt>
                <c:pt idx="82">
                  <c:v>All Others</c:v>
                </c:pt>
                <c:pt idx="83">
                  <c:v>All Others</c:v>
                </c:pt>
                <c:pt idx="84">
                  <c:v>Milleret: A</c:v>
                </c:pt>
                <c:pt idx="85">
                  <c:v>All Others</c:v>
                </c:pt>
                <c:pt idx="86">
                  <c:v>All Others</c:v>
                </c:pt>
                <c:pt idx="87">
                  <c:v>Private Lab</c:v>
                </c:pt>
                <c:pt idx="88">
                  <c:v>All Others</c:v>
                </c:pt>
                <c:pt idx="89">
                  <c:v>La Vache Qu</c:v>
                </c:pt>
                <c:pt idx="90">
                  <c:v>Private Lab</c:v>
                </c:pt>
                <c:pt idx="91">
                  <c:v>La Vache Qu</c:v>
                </c:pt>
                <c:pt idx="92">
                  <c:v>La Vache Qu</c:v>
                </c:pt>
              </c:strCache>
            </c:strRef>
          </c:cat>
          <c:val>
            <c:numRef>
              <c:f>Sheet1!$C$2:$C$94</c:f>
              <c:numCache>
                <c:formatCode>General</c:formatCode>
                <c:ptCount val="93"/>
                <c:pt idx="0">
                  <c:v>0.203340277775598</c:v>
                </c:pt>
                <c:pt idx="1">
                  <c:v>0.36657104397284684</c:v>
                </c:pt>
                <c:pt idx="2">
                  <c:v>0.4984709795144898</c:v>
                </c:pt>
                <c:pt idx="3">
                  <c:v>0.5988616247232684</c:v>
                </c:pt>
                <c:pt idx="4">
                  <c:v>0.6626710037637757</c:v>
                </c:pt>
                <c:pt idx="5">
                  <c:v>0.7172668241262761</c:v>
                </c:pt>
                <c:pt idx="6">
                  <c:v>0.7697009824499148</c:v>
                </c:pt>
                <c:pt idx="7">
                  <c:v>0.8103207334732686</c:v>
                </c:pt>
                <c:pt idx="8">
                  <c:v>0.8305493690263342</c:v>
                </c:pt>
                <c:pt idx="9">
                  <c:v>0.8477440473895765</c:v>
                </c:pt>
                <c:pt idx="10">
                  <c:v>0.8607214673323342</c:v>
                </c:pt>
                <c:pt idx="11">
                  <c:v>0.8712110954550683</c:v>
                </c:pt>
                <c:pt idx="12">
                  <c:v>0.8794759414867988</c:v>
                </c:pt>
                <c:pt idx="13">
                  <c:v>0.8875507710505305</c:v>
                </c:pt>
                <c:pt idx="14">
                  <c:v>0.895454189152591</c:v>
                </c:pt>
                <c:pt idx="15">
                  <c:v>0.902933002202268</c:v>
                </c:pt>
                <c:pt idx="16">
                  <c:v>0.910213837439214</c:v>
                </c:pt>
                <c:pt idx="17">
                  <c:v>0.916441178460505</c:v>
                </c:pt>
                <c:pt idx="18">
                  <c:v>0.9220122935147487</c:v>
                </c:pt>
                <c:pt idx="19">
                  <c:v>0.9275405200344674</c:v>
                </c:pt>
                <c:pt idx="20">
                  <c:v>0.9327543733107648</c:v>
                </c:pt>
                <c:pt idx="21">
                  <c:v>0.9375701308151669</c:v>
                </c:pt>
                <c:pt idx="22">
                  <c:v>0.9419586580208938</c:v>
                </c:pt>
                <c:pt idx="23">
                  <c:v>0.9454700676123624</c:v>
                </c:pt>
                <c:pt idx="24">
                  <c:v>0.9489766262052487</c:v>
                </c:pt>
                <c:pt idx="25">
                  <c:v>0.952309947078174</c:v>
                </c:pt>
                <c:pt idx="26">
                  <c:v>0.9555195960225353</c:v>
                </c:pt>
                <c:pt idx="27">
                  <c:v>0.9580716493061321</c:v>
                </c:pt>
                <c:pt idx="28">
                  <c:v>0.9605440320718354</c:v>
                </c:pt>
                <c:pt idx="29">
                  <c:v>0.9629004474361349</c:v>
                </c:pt>
                <c:pt idx="30">
                  <c:v>0.9650798013521791</c:v>
                </c:pt>
                <c:pt idx="31">
                  <c:v>0.9672453727251923</c:v>
                </c:pt>
                <c:pt idx="32">
                  <c:v>0.9693403192659038</c:v>
                </c:pt>
                <c:pt idx="33">
                  <c:v>0.9711258577029195</c:v>
                </c:pt>
                <c:pt idx="34">
                  <c:v>0.972779905543068</c:v>
                </c:pt>
                <c:pt idx="35">
                  <c:v>0.9744111536898795</c:v>
                </c:pt>
                <c:pt idx="36">
                  <c:v>0.9759841327831315</c:v>
                </c:pt>
                <c:pt idx="37">
                  <c:v>0.9775316584014689</c:v>
                </c:pt>
                <c:pt idx="38">
                  <c:v>0.9790092154990777</c:v>
                </c:pt>
                <c:pt idx="39">
                  <c:v>0.9804310431835611</c:v>
                </c:pt>
                <c:pt idx="40">
                  <c:v>0.9817026896589924</c:v>
                </c:pt>
                <c:pt idx="41">
                  <c:v>0.9827670558185291</c:v>
                </c:pt>
                <c:pt idx="42">
                  <c:v>0.9838144149477417</c:v>
                </c:pt>
                <c:pt idx="43">
                  <c:v>0.9847560223078594</c:v>
                </c:pt>
                <c:pt idx="44">
                  <c:v>0.9856138215336457</c:v>
                </c:pt>
                <c:pt idx="45">
                  <c:v>0.986469052583712</c:v>
                </c:pt>
                <c:pt idx="46">
                  <c:v>0.9873131834076104</c:v>
                </c:pt>
                <c:pt idx="47">
                  <c:v>0.9880902563099295</c:v>
                </c:pt>
                <c:pt idx="48">
                  <c:v>0.98886664436539</c:v>
                </c:pt>
                <c:pt idx="49">
                  <c:v>0.9896191483866538</c:v>
                </c:pt>
                <c:pt idx="50">
                  <c:v>0.9902688683085435</c:v>
                </c:pt>
                <c:pt idx="51">
                  <c:v>0.990898927418532</c:v>
                </c:pt>
                <c:pt idx="52">
                  <c:v>0.9915098393517631</c:v>
                </c:pt>
                <c:pt idx="53">
                  <c:v>0.9920879071710631</c:v>
                </c:pt>
                <c:pt idx="54">
                  <c:v>0.9926512793181873</c:v>
                </c:pt>
                <c:pt idx="55">
                  <c:v>0.9931934782832639</c:v>
                </c:pt>
                <c:pt idx="56">
                  <c:v>0.9937237780341708</c:v>
                </c:pt>
                <c:pt idx="57">
                  <c:v>0.9942461449756314</c:v>
                </c:pt>
                <c:pt idx="58">
                  <c:v>0.9947430584421775</c:v>
                </c:pt>
                <c:pt idx="59">
                  <c:v>0.9952108373819438</c:v>
                </c:pt>
                <c:pt idx="60">
                  <c:v>0.9955885304245076</c:v>
                </c:pt>
                <c:pt idx="61">
                  <c:v>0.9959057571965068</c:v>
                </c:pt>
                <c:pt idx="62">
                  <c:v>0.9962211006396445</c:v>
                </c:pt>
                <c:pt idx="63">
                  <c:v>0.9965184097821703</c:v>
                </c:pt>
                <c:pt idx="64">
                  <c:v>0.9967884677267776</c:v>
                </c:pt>
                <c:pt idx="65">
                  <c:v>0.9970527330083719</c:v>
                </c:pt>
                <c:pt idx="66">
                  <c:v>0.9973068967988007</c:v>
                </c:pt>
                <c:pt idx="67">
                  <c:v>0.9975585209487952</c:v>
                </c:pt>
                <c:pt idx="68">
                  <c:v>0.9978070632879256</c:v>
                </c:pt>
                <c:pt idx="69">
                  <c:v>0.9980410526313089</c:v>
                </c:pt>
                <c:pt idx="70">
                  <c:v>0.998264398313097</c:v>
                </c:pt>
                <c:pt idx="71">
                  <c:v>0.9984774712920048</c:v>
                </c:pt>
                <c:pt idx="72">
                  <c:v>0.9986820692910364</c:v>
                </c:pt>
                <c:pt idx="73">
                  <c:v>0.9988722855060357</c:v>
                </c:pt>
                <c:pt idx="74">
                  <c:v>0.9990502315481502</c:v>
                </c:pt>
                <c:pt idx="75">
                  <c:v>0.999211398842227</c:v>
                </c:pt>
                <c:pt idx="76">
                  <c:v>0.9993523346186868</c:v>
                </c:pt>
                <c:pt idx="77">
                  <c:v>0.99944207809246</c:v>
                </c:pt>
                <c:pt idx="78">
                  <c:v>0.9995193231110623</c:v>
                </c:pt>
                <c:pt idx="79">
                  <c:v>0.9995905186490796</c:v>
                </c:pt>
                <c:pt idx="80">
                  <c:v>0.9996613146930959</c:v>
                </c:pt>
                <c:pt idx="81">
                  <c:v>0.9997115082607803</c:v>
                </c:pt>
                <c:pt idx="82">
                  <c:v>0.9997583917353142</c:v>
                </c:pt>
                <c:pt idx="83">
                  <c:v>0.9998021363284126</c:v>
                </c:pt>
                <c:pt idx="84">
                  <c:v>0.9998432271399337</c:v>
                </c:pt>
                <c:pt idx="85">
                  <c:v>0.999883490428167</c:v>
                </c:pt>
                <c:pt idx="86">
                  <c:v>0.999910541879085</c:v>
                </c:pt>
                <c:pt idx="87">
                  <c:v>0.9999347683367109</c:v>
                </c:pt>
                <c:pt idx="88">
                  <c:v>0.9999549998543278</c:v>
                </c:pt>
                <c:pt idx="89">
                  <c:v>0.9999802535822417</c:v>
                </c:pt>
                <c:pt idx="90">
                  <c:v>0.9999877298271157</c:v>
                </c:pt>
                <c:pt idx="91">
                  <c:v>0.9999955199601333</c:v>
                </c:pt>
                <c:pt idx="92">
                  <c:v>1.000000000000000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138</c:f>
              <c:strCache>
                <c:ptCount val="137"/>
                <c:pt idx="0">
                  <c:v>Private Lab</c:v>
                </c:pt>
                <c:pt idx="1">
                  <c:v>President</c:v>
                </c:pt>
                <c:pt idx="2">
                  <c:v>Private Lab</c:v>
                </c:pt>
                <c:pt idx="3">
                  <c:v>President</c:v>
                </c:pt>
                <c:pt idx="4">
                  <c:v>La Vache Qu</c:v>
                </c:pt>
                <c:pt idx="5">
                  <c:v>La Vache Qu</c:v>
                </c:pt>
                <c:pt idx="6">
                  <c:v>Private Lab</c:v>
                </c:pt>
                <c:pt idx="7">
                  <c:v>Private Lab</c:v>
                </c:pt>
                <c:pt idx="8">
                  <c:v>President</c:v>
                </c:pt>
                <c:pt idx="9">
                  <c:v>Private Lab</c:v>
                </c:pt>
                <c:pt idx="10">
                  <c:v>President</c:v>
                </c:pt>
                <c:pt idx="11">
                  <c:v>Private Lab</c:v>
                </c:pt>
                <c:pt idx="12">
                  <c:v>Private Lab</c:v>
                </c:pt>
                <c:pt idx="13">
                  <c:v>Boursin</c:v>
                </c:pt>
                <c:pt idx="14">
                  <c:v>Private Lab</c:v>
                </c:pt>
                <c:pt idx="15">
                  <c:v>President</c:v>
                </c:pt>
                <c:pt idx="16">
                  <c:v>President</c:v>
                </c:pt>
                <c:pt idx="17">
                  <c:v>La Belle Et</c:v>
                </c:pt>
                <c:pt idx="18">
                  <c:v>La Belle Et</c:v>
                </c:pt>
                <c:pt idx="19">
                  <c:v>Leerdammer</c:v>
                </c:pt>
                <c:pt idx="20">
                  <c:v>La Belle Et</c:v>
                </c:pt>
                <c:pt idx="21">
                  <c:v>Private Lab</c:v>
                </c:pt>
                <c:pt idx="22">
                  <c:v>Leerdammer</c:v>
                </c:pt>
                <c:pt idx="23">
                  <c:v>All Others</c:v>
                </c:pt>
                <c:pt idx="24">
                  <c:v>All Others</c:v>
                </c:pt>
                <c:pt idx="25">
                  <c:v>La Belle Et</c:v>
                </c:pt>
                <c:pt idx="26">
                  <c:v>Fauquet</c:v>
                </c:pt>
                <c:pt idx="27">
                  <c:v>All Others</c:v>
                </c:pt>
                <c:pt idx="28">
                  <c:v>La Vache Qu</c:v>
                </c:pt>
                <c:pt idx="29">
                  <c:v>La Vache Qu</c:v>
                </c:pt>
                <c:pt idx="30">
                  <c:v>La Vache Qu</c:v>
                </c:pt>
                <c:pt idx="31">
                  <c:v>Raguin</c:v>
                </c:pt>
                <c:pt idx="32">
                  <c:v>Raguin</c:v>
                </c:pt>
                <c:pt idx="33">
                  <c:v>Raguin</c:v>
                </c:pt>
                <c:pt idx="34">
                  <c:v>La Belle Et</c:v>
                </c:pt>
                <c:pt idx="35">
                  <c:v>All Others</c:v>
                </c:pt>
                <c:pt idx="36">
                  <c:v>Milleret: A</c:v>
                </c:pt>
                <c:pt idx="37">
                  <c:v>Milleret: A</c:v>
                </c:pt>
                <c:pt idx="38">
                  <c:v>All Others</c:v>
                </c:pt>
                <c:pt idx="39">
                  <c:v>Raguin</c:v>
                </c:pt>
                <c:pt idx="40">
                  <c:v>La Belle Et</c:v>
                </c:pt>
                <c:pt idx="41">
                  <c:v>Milleret: A</c:v>
                </c:pt>
                <c:pt idx="42">
                  <c:v>La Belle Et</c:v>
                </c:pt>
                <c:pt idx="43">
                  <c:v>All Others</c:v>
                </c:pt>
                <c:pt idx="44">
                  <c:v>All Others</c:v>
                </c:pt>
                <c:pt idx="45">
                  <c:v>La Belle Et</c:v>
                </c:pt>
                <c:pt idx="46">
                  <c:v>All Others</c:v>
                </c:pt>
                <c:pt idx="47">
                  <c:v>La Belle Et</c:v>
                </c:pt>
                <c:pt idx="48">
                  <c:v>La Belle Et</c:v>
                </c:pt>
                <c:pt idx="49">
                  <c:v>Milleret: A</c:v>
                </c:pt>
                <c:pt idx="50">
                  <c:v>All Others</c:v>
                </c:pt>
                <c:pt idx="51">
                  <c:v>La Belle Et</c:v>
                </c:pt>
                <c:pt idx="52">
                  <c:v>All Others</c:v>
                </c:pt>
                <c:pt idx="53">
                  <c:v>La Belle Et</c:v>
                </c:pt>
                <c:pt idx="54">
                  <c:v>All Others</c:v>
                </c:pt>
                <c:pt idx="55">
                  <c:v>La Belle Et</c:v>
                </c:pt>
                <c:pt idx="56">
                  <c:v>All Others</c:v>
                </c:pt>
                <c:pt idx="57">
                  <c:v>Milleret: A</c:v>
                </c:pt>
                <c:pt idx="58">
                  <c:v>Milleret: A</c:v>
                </c:pt>
                <c:pt idx="59">
                  <c:v>Raguin</c:v>
                </c:pt>
                <c:pt idx="60">
                  <c:v>La Belle Et</c:v>
                </c:pt>
                <c:pt idx="61">
                  <c:v>La Belle Et</c:v>
                </c:pt>
                <c:pt idx="62">
                  <c:v>President</c:v>
                </c:pt>
                <c:pt idx="63">
                  <c:v>La Belle Et</c:v>
                </c:pt>
                <c:pt idx="64">
                  <c:v>Richesmonts</c:v>
                </c:pt>
                <c:pt idx="65">
                  <c:v>Milleret: A</c:v>
                </c:pt>
                <c:pt idx="66">
                  <c:v>La Belle Et</c:v>
                </c:pt>
                <c:pt idx="67">
                  <c:v>Raguin</c:v>
                </c:pt>
                <c:pt idx="68">
                  <c:v>Raguin</c:v>
                </c:pt>
                <c:pt idx="69">
                  <c:v>All Others</c:v>
                </c:pt>
                <c:pt idx="70">
                  <c:v>Richesmonts</c:v>
                </c:pt>
                <c:pt idx="71">
                  <c:v>La Belle Et</c:v>
                </c:pt>
                <c:pt idx="72">
                  <c:v>All Others</c:v>
                </c:pt>
                <c:pt idx="73">
                  <c:v>All Others</c:v>
                </c:pt>
                <c:pt idx="74">
                  <c:v>Raguin</c:v>
                </c:pt>
                <c:pt idx="75">
                  <c:v>La Belle Et</c:v>
                </c:pt>
                <c:pt idx="76">
                  <c:v>Raguin</c:v>
                </c:pt>
                <c:pt idx="77">
                  <c:v>La Belle Et</c:v>
                </c:pt>
                <c:pt idx="78">
                  <c:v>All Others</c:v>
                </c:pt>
                <c:pt idx="79">
                  <c:v>All Others</c:v>
                </c:pt>
                <c:pt idx="80">
                  <c:v>All Others</c:v>
                </c:pt>
                <c:pt idx="81">
                  <c:v>Raguin</c:v>
                </c:pt>
                <c:pt idx="82">
                  <c:v>Raguin</c:v>
                </c:pt>
                <c:pt idx="83">
                  <c:v>All Others</c:v>
                </c:pt>
                <c:pt idx="84">
                  <c:v>Raguin</c:v>
                </c:pt>
                <c:pt idx="85">
                  <c:v>All Others</c:v>
                </c:pt>
                <c:pt idx="86">
                  <c:v>Raguin</c:v>
                </c:pt>
                <c:pt idx="87">
                  <c:v>All Others</c:v>
                </c:pt>
                <c:pt idx="88">
                  <c:v>Raguin</c:v>
                </c:pt>
                <c:pt idx="89">
                  <c:v>Raguin</c:v>
                </c:pt>
                <c:pt idx="90">
                  <c:v>All Others</c:v>
                </c:pt>
                <c:pt idx="91">
                  <c:v>All Others</c:v>
                </c:pt>
                <c:pt idx="92">
                  <c:v>All Others</c:v>
                </c:pt>
                <c:pt idx="93">
                  <c:v>All Others</c:v>
                </c:pt>
                <c:pt idx="94">
                  <c:v>Raguin</c:v>
                </c:pt>
                <c:pt idx="95">
                  <c:v>All Others</c:v>
                </c:pt>
                <c:pt idx="96">
                  <c:v>All Others</c:v>
                </c:pt>
                <c:pt idx="97">
                  <c:v>All Others</c:v>
                </c:pt>
                <c:pt idx="98">
                  <c:v>Raguin</c:v>
                </c:pt>
                <c:pt idx="99">
                  <c:v>All Others</c:v>
                </c:pt>
                <c:pt idx="100">
                  <c:v>Raguin</c:v>
                </c:pt>
                <c:pt idx="101">
                  <c:v>Raguin</c:v>
                </c:pt>
                <c:pt idx="102">
                  <c:v>All Others</c:v>
                </c:pt>
                <c:pt idx="103">
                  <c:v>Raguin</c:v>
                </c:pt>
                <c:pt idx="104">
                  <c:v>All Others</c:v>
                </c:pt>
                <c:pt idx="105">
                  <c:v>All Others</c:v>
                </c:pt>
                <c:pt idx="106">
                  <c:v>All Others</c:v>
                </c:pt>
                <c:pt idx="107">
                  <c:v>All Others</c:v>
                </c:pt>
                <c:pt idx="108">
                  <c:v>All Others</c:v>
                </c:pt>
                <c:pt idx="109">
                  <c:v>All Others</c:v>
                </c:pt>
                <c:pt idx="110">
                  <c:v>President</c:v>
                </c:pt>
                <c:pt idx="111">
                  <c:v>All Others</c:v>
                </c:pt>
                <c:pt idx="112">
                  <c:v>All Others</c:v>
                </c:pt>
                <c:pt idx="113">
                  <c:v>All Others</c:v>
                </c:pt>
                <c:pt idx="114">
                  <c:v>All Others</c:v>
                </c:pt>
                <c:pt idx="115">
                  <c:v>All Others</c:v>
                </c:pt>
                <c:pt idx="116">
                  <c:v>All Others</c:v>
                </c:pt>
                <c:pt idx="117">
                  <c:v>All Others</c:v>
                </c:pt>
                <c:pt idx="118">
                  <c:v>All Others</c:v>
                </c:pt>
                <c:pt idx="119">
                  <c:v>All Others</c:v>
                </c:pt>
                <c:pt idx="120">
                  <c:v>All Others</c:v>
                </c:pt>
                <c:pt idx="121">
                  <c:v>All Others</c:v>
                </c:pt>
                <c:pt idx="122">
                  <c:v>All Others</c:v>
                </c:pt>
                <c:pt idx="123">
                  <c:v>All Others</c:v>
                </c:pt>
                <c:pt idx="124">
                  <c:v>All Others</c:v>
                </c:pt>
                <c:pt idx="125">
                  <c:v>Private Lab</c:v>
                </c:pt>
                <c:pt idx="126">
                  <c:v>All Others</c:v>
                </c:pt>
                <c:pt idx="127">
                  <c:v>All Others</c:v>
                </c:pt>
                <c:pt idx="128">
                  <c:v>All Others</c:v>
                </c:pt>
                <c:pt idx="129">
                  <c:v>All Others</c:v>
                </c:pt>
                <c:pt idx="130">
                  <c:v>All Others</c:v>
                </c:pt>
                <c:pt idx="131">
                  <c:v>All Others</c:v>
                </c:pt>
                <c:pt idx="132">
                  <c:v>All Others</c:v>
                </c:pt>
                <c:pt idx="133">
                  <c:v>All Others</c:v>
                </c:pt>
                <c:pt idx="134">
                  <c:v>All Others</c:v>
                </c:pt>
                <c:pt idx="135">
                  <c:v>All Others</c:v>
                </c:pt>
                <c:pt idx="136">
                  <c:v>All Others</c:v>
                </c:pt>
              </c:strCache>
            </c:strRef>
          </c:cat>
          <c:val>
            <c:numRef>
              <c:f>Sheet1!$B$2:$B$138</c:f>
              <c:numCache>
                <c:formatCode>General</c:formatCode>
                <c:ptCount val="137"/>
                <c:pt idx="0">
                  <c:v>1.0</c:v>
                </c:pt>
                <c:pt idx="1">
                  <c:v>1.0</c:v>
                </c:pt>
                <c:pt idx="2">
                  <c:v>0.55</c:v>
                </c:pt>
                <c:pt idx="3">
                  <c:v>1.0</c:v>
                </c:pt>
                <c:pt idx="4">
                  <c:v>1.0</c:v>
                </c:pt>
                <c:pt idx="5">
                  <c:v>1.0</c:v>
                </c:pt>
                <c:pt idx="6">
                  <c:v>1.0</c:v>
                </c:pt>
                <c:pt idx="7">
                  <c:v>0.58</c:v>
                </c:pt>
                <c:pt idx="8">
                  <c:v>0.99</c:v>
                </c:pt>
                <c:pt idx="9">
                  <c:v>1.0</c:v>
                </c:pt>
                <c:pt idx="10">
                  <c:v>0.99</c:v>
                </c:pt>
                <c:pt idx="11">
                  <c:v>1.0</c:v>
                </c:pt>
                <c:pt idx="12">
                  <c:v>0.58</c:v>
                </c:pt>
                <c:pt idx="13">
                  <c:v>0.98</c:v>
                </c:pt>
                <c:pt idx="14">
                  <c:v>0.79</c:v>
                </c:pt>
                <c:pt idx="15">
                  <c:v>0.95</c:v>
                </c:pt>
                <c:pt idx="16">
                  <c:v>0.97</c:v>
                </c:pt>
                <c:pt idx="17">
                  <c:v>0.28</c:v>
                </c:pt>
                <c:pt idx="18">
                  <c:v>0.3</c:v>
                </c:pt>
                <c:pt idx="19">
                  <c:v>0.73</c:v>
                </c:pt>
                <c:pt idx="20">
                  <c:v>0.13</c:v>
                </c:pt>
                <c:pt idx="21">
                  <c:v>0.92</c:v>
                </c:pt>
                <c:pt idx="22">
                  <c:v>0.76</c:v>
                </c:pt>
                <c:pt idx="23">
                  <c:v>0.54</c:v>
                </c:pt>
                <c:pt idx="24">
                  <c:v>0.55</c:v>
                </c:pt>
                <c:pt idx="25">
                  <c:v>0.08</c:v>
                </c:pt>
                <c:pt idx="26">
                  <c:v>0.41</c:v>
                </c:pt>
                <c:pt idx="27">
                  <c:v>0.52</c:v>
                </c:pt>
                <c:pt idx="28">
                  <c:v>0.59</c:v>
                </c:pt>
                <c:pt idx="29">
                  <c:v>0.16</c:v>
                </c:pt>
                <c:pt idx="30">
                  <c:v>0.16</c:v>
                </c:pt>
                <c:pt idx="31">
                  <c:v>0.03</c:v>
                </c:pt>
                <c:pt idx="32">
                  <c:v>0.05</c:v>
                </c:pt>
                <c:pt idx="33">
                  <c:v>0.06</c:v>
                </c:pt>
                <c:pt idx="34">
                  <c:v>0.04</c:v>
                </c:pt>
                <c:pt idx="35">
                  <c:v>0.18</c:v>
                </c:pt>
                <c:pt idx="36">
                  <c:v>0.14</c:v>
                </c:pt>
                <c:pt idx="37">
                  <c:v>0.1</c:v>
                </c:pt>
                <c:pt idx="38">
                  <c:v>0.07</c:v>
                </c:pt>
                <c:pt idx="39">
                  <c:v>0.03</c:v>
                </c:pt>
                <c:pt idx="40">
                  <c:v>0.21</c:v>
                </c:pt>
                <c:pt idx="41">
                  <c:v>0.1</c:v>
                </c:pt>
                <c:pt idx="42">
                  <c:v>0.21</c:v>
                </c:pt>
                <c:pt idx="43">
                  <c:v>0.07</c:v>
                </c:pt>
                <c:pt idx="44">
                  <c:v>0.16</c:v>
                </c:pt>
                <c:pt idx="45">
                  <c:v>0.03</c:v>
                </c:pt>
                <c:pt idx="46">
                  <c:v>0.17</c:v>
                </c:pt>
                <c:pt idx="47">
                  <c:v>0.1</c:v>
                </c:pt>
                <c:pt idx="48">
                  <c:v>0.09</c:v>
                </c:pt>
                <c:pt idx="49">
                  <c:v>0.09</c:v>
                </c:pt>
                <c:pt idx="50">
                  <c:v>0.23</c:v>
                </c:pt>
                <c:pt idx="51">
                  <c:v>0.09</c:v>
                </c:pt>
                <c:pt idx="52">
                  <c:v>0.16</c:v>
                </c:pt>
                <c:pt idx="53">
                  <c:v>0.07</c:v>
                </c:pt>
                <c:pt idx="54">
                  <c:v>0.29</c:v>
                </c:pt>
                <c:pt idx="55">
                  <c:v>0.1</c:v>
                </c:pt>
                <c:pt idx="56">
                  <c:v>0.07</c:v>
                </c:pt>
                <c:pt idx="57">
                  <c:v>0.09</c:v>
                </c:pt>
                <c:pt idx="58">
                  <c:v>0.08</c:v>
                </c:pt>
                <c:pt idx="59">
                  <c:v>0.02</c:v>
                </c:pt>
                <c:pt idx="60">
                  <c:v>0.09</c:v>
                </c:pt>
                <c:pt idx="61">
                  <c:v>0.04</c:v>
                </c:pt>
                <c:pt idx="62">
                  <c:v>0.06</c:v>
                </c:pt>
                <c:pt idx="63">
                  <c:v>0.09</c:v>
                </c:pt>
                <c:pt idx="64">
                  <c:v>0.15</c:v>
                </c:pt>
                <c:pt idx="65">
                  <c:v>0.15</c:v>
                </c:pt>
                <c:pt idx="66">
                  <c:v>0.04</c:v>
                </c:pt>
                <c:pt idx="67">
                  <c:v>0.02</c:v>
                </c:pt>
                <c:pt idx="68">
                  <c:v>0.02</c:v>
                </c:pt>
                <c:pt idx="69">
                  <c:v>0.06</c:v>
                </c:pt>
                <c:pt idx="70">
                  <c:v>0.1</c:v>
                </c:pt>
                <c:pt idx="71">
                  <c:v>0.09</c:v>
                </c:pt>
                <c:pt idx="72">
                  <c:v>0.07</c:v>
                </c:pt>
                <c:pt idx="73">
                  <c:v>0.06</c:v>
                </c:pt>
                <c:pt idx="74">
                  <c:v>0.02</c:v>
                </c:pt>
                <c:pt idx="75">
                  <c:v>0.05</c:v>
                </c:pt>
                <c:pt idx="76">
                  <c:v>0.02</c:v>
                </c:pt>
                <c:pt idx="77">
                  <c:v>0.08</c:v>
                </c:pt>
                <c:pt idx="78">
                  <c:v>0.01</c:v>
                </c:pt>
                <c:pt idx="79">
                  <c:v>0.04</c:v>
                </c:pt>
                <c:pt idx="80">
                  <c:v>0.04</c:v>
                </c:pt>
                <c:pt idx="81">
                  <c:v>0.02</c:v>
                </c:pt>
                <c:pt idx="82">
                  <c:v>0.02</c:v>
                </c:pt>
                <c:pt idx="83">
                  <c:v>0.03</c:v>
                </c:pt>
                <c:pt idx="84">
                  <c:v>0.02</c:v>
                </c:pt>
                <c:pt idx="85">
                  <c:v>0.01</c:v>
                </c:pt>
                <c:pt idx="86">
                  <c:v>0.02</c:v>
                </c:pt>
                <c:pt idx="87">
                  <c:v>0.01</c:v>
                </c:pt>
                <c:pt idx="88">
                  <c:v>0.02</c:v>
                </c:pt>
                <c:pt idx="89">
                  <c:v>0.02</c:v>
                </c:pt>
                <c:pt idx="90">
                  <c:v>0.03</c:v>
                </c:pt>
                <c:pt idx="91">
                  <c:v>0.01</c:v>
                </c:pt>
                <c:pt idx="92">
                  <c:v>0.03</c:v>
                </c:pt>
                <c:pt idx="93">
                  <c:v>0.03</c:v>
                </c:pt>
                <c:pt idx="94">
                  <c:v>0.02</c:v>
                </c:pt>
                <c:pt idx="95">
                  <c:v>0.04</c:v>
                </c:pt>
                <c:pt idx="96">
                  <c:v>0.01</c:v>
                </c:pt>
                <c:pt idx="97">
                  <c:v>0.05</c:v>
                </c:pt>
                <c:pt idx="98">
                  <c:v>0.02</c:v>
                </c:pt>
                <c:pt idx="99">
                  <c:v>0.04</c:v>
                </c:pt>
                <c:pt idx="100">
                  <c:v>0.01</c:v>
                </c:pt>
                <c:pt idx="101">
                  <c:v>0.02</c:v>
                </c:pt>
                <c:pt idx="102">
                  <c:v>0.03</c:v>
                </c:pt>
                <c:pt idx="103">
                  <c:v>0.02</c:v>
                </c:pt>
                <c:pt idx="104">
                  <c:v>0.1</c:v>
                </c:pt>
                <c:pt idx="105">
                  <c:v>0.01</c:v>
                </c:pt>
                <c:pt idx="106">
                  <c:v>0.03</c:v>
                </c:pt>
                <c:pt idx="107">
                  <c:v>0.02</c:v>
                </c:pt>
                <c:pt idx="108">
                  <c:v>0.02</c:v>
                </c:pt>
                <c:pt idx="109">
                  <c:v>0.01</c:v>
                </c:pt>
                <c:pt idx="110">
                  <c:v>0.06</c:v>
                </c:pt>
                <c:pt idx="111">
                  <c:v>0.01</c:v>
                </c:pt>
                <c:pt idx="112">
                  <c:v>0.02</c:v>
                </c:pt>
                <c:pt idx="113">
                  <c:v>0.01</c:v>
                </c:pt>
                <c:pt idx="114">
                  <c:v>0.02</c:v>
                </c:pt>
                <c:pt idx="115">
                  <c:v>0.01</c:v>
                </c:pt>
                <c:pt idx="116">
                  <c:v>0.01</c:v>
                </c:pt>
                <c:pt idx="117">
                  <c:v>0.02</c:v>
                </c:pt>
                <c:pt idx="118">
                  <c:v>0.01</c:v>
                </c:pt>
                <c:pt idx="119">
                  <c:v>0.01</c:v>
                </c:pt>
                <c:pt idx="120">
                  <c:v>0.01</c:v>
                </c:pt>
                <c:pt idx="121">
                  <c:v>0.02</c:v>
                </c:pt>
                <c:pt idx="122">
                  <c:v>0.01</c:v>
                </c:pt>
                <c:pt idx="123">
                  <c:v>0.01</c:v>
                </c:pt>
                <c:pt idx="124">
                  <c:v>0.01</c:v>
                </c:pt>
                <c:pt idx="125">
                  <c:v>0.06</c:v>
                </c:pt>
                <c:pt idx="126">
                  <c:v>0.04</c:v>
                </c:pt>
                <c:pt idx="127">
                  <c:v>0.04</c:v>
                </c:pt>
                <c:pt idx="128">
                  <c:v>0.03</c:v>
                </c:pt>
                <c:pt idx="129">
                  <c:v>0.01</c:v>
                </c:pt>
                <c:pt idx="130">
                  <c:v>0.01</c:v>
                </c:pt>
                <c:pt idx="131">
                  <c:v>0.02</c:v>
                </c:pt>
                <c:pt idx="132">
                  <c:v>0.01</c:v>
                </c:pt>
                <c:pt idx="133">
                  <c:v>0.01</c:v>
                </c:pt>
                <c:pt idx="134">
                  <c:v>0.01</c:v>
                </c:pt>
                <c:pt idx="135">
                  <c:v>0.01</c:v>
                </c:pt>
                <c:pt idx="136">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Item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7ECAC4"/>
              </a:solidFill>
            </c:spPr>
            <c:extLst>
              <c:ext xmlns:c16="http://schemas.microsoft.com/office/drawing/2014/chart" uri="{C3380CC4-5D6E-409C-BE32-E72D297353CC}">
                <c16:uniqueId val="{00000059-2993-41DE-A2CB-63102DE87051}"/>
              </c:ext>
            </c:extLst>
          </c:dPt>
          <c:dPt>
            <c:idx val="17"/>
            <c:invertIfNegative val="1"/>
            <c:bubble3D val="0"/>
            <c:spPr>
              <a:solidFill>
                <a:srgbClr val="7ECAC4"/>
              </a:solidFill>
            </c:spPr>
            <c:extLst>
              <c:ext xmlns:c16="http://schemas.microsoft.com/office/drawing/2014/chart" uri="{C3380CC4-5D6E-409C-BE32-E72D297353CC}">
                <c16:uniqueId val="{0000005B-2993-41DE-A2CB-63102DE87051}"/>
              </c:ext>
            </c:extLst>
          </c:dPt>
          <c:dPt>
            <c:idx val="18"/>
            <c:invertIfNegative val="1"/>
            <c:bubble3D val="0"/>
            <c:spPr>
              <a:solidFill>
                <a:srgbClr val="7ECAC4"/>
              </a:solidFill>
            </c:spPr>
            <c:extLst>
              <c:ext xmlns:c16="http://schemas.microsoft.com/office/drawing/2014/chart" uri="{C3380CC4-5D6E-409C-BE32-E72D297353CC}">
                <c16:uniqueId val="{0000005D-2993-41DE-A2CB-63102DE87051}"/>
              </c:ext>
            </c:extLst>
          </c:dPt>
          <c:dPt>
            <c:idx val="19"/>
            <c:invertIfNegative val="1"/>
            <c:bubble3D val="0"/>
            <c:spPr>
              <a:solidFill>
                <a:srgbClr val="7ECAC4"/>
              </a:solidFill>
            </c:spPr>
            <c:extLst>
              <c:ext xmlns:c16="http://schemas.microsoft.com/office/drawing/2014/chart" uri="{C3380CC4-5D6E-409C-BE32-E72D297353CC}">
                <c16:uniqueId val="{0000005F-2993-41DE-A2CB-63102DE87051}"/>
              </c:ext>
            </c:extLst>
          </c:dPt>
          <c:dPt>
            <c:idx val="20"/>
            <c:invertIfNegative val="1"/>
            <c:bubble3D val="0"/>
            <c:spPr>
              <a:solidFill>
                <a:srgbClr val="7ECAC4"/>
              </a:solidFill>
            </c:spPr>
            <c:extLst>
              <c:ext xmlns:c16="http://schemas.microsoft.com/office/drawing/2014/chart" uri="{C3380CC4-5D6E-409C-BE32-E72D297353CC}">
                <c16:uniqueId val="{00000061-2993-41DE-A2CB-63102DE87051}"/>
              </c:ext>
            </c:extLst>
          </c:dPt>
          <c:dPt>
            <c:idx val="21"/>
            <c:invertIfNegative val="1"/>
            <c:bubble3D val="0"/>
            <c:spPr>
              <a:solidFill>
                <a:srgbClr val="7ECAC4"/>
              </a:solidFill>
            </c:spPr>
            <c:extLst>
              <c:ext xmlns:c16="http://schemas.microsoft.com/office/drawing/2014/chart" uri="{C3380CC4-5D6E-409C-BE32-E72D297353CC}">
                <c16:uniqueId val="{00000063-2993-41DE-A2CB-63102DE87051}"/>
              </c:ext>
            </c:extLst>
          </c:dPt>
          <c:dPt>
            <c:idx val="22"/>
            <c:invertIfNegative val="1"/>
            <c:bubble3D val="0"/>
            <c:spPr>
              <a:solidFill>
                <a:srgbClr val="7ECAC4"/>
              </a:solidFill>
            </c:spPr>
            <c:extLst>
              <c:ext xmlns:c16="http://schemas.microsoft.com/office/drawing/2014/chart" uri="{C3380CC4-5D6E-409C-BE32-E72D297353CC}">
                <c16:uniqueId val="{00000065-2993-41DE-A2CB-63102DE87051}"/>
              </c:ext>
            </c:extLst>
          </c:dPt>
          <c:dPt>
            <c:idx val="23"/>
            <c:invertIfNegative val="1"/>
            <c:bubble3D val="0"/>
            <c:spPr>
              <a:solidFill>
                <a:srgbClr val="7ECAC4"/>
              </a:solidFill>
            </c:spPr>
            <c:extLst>
              <c:ext xmlns:c16="http://schemas.microsoft.com/office/drawing/2014/chart" uri="{C3380CC4-5D6E-409C-BE32-E72D297353CC}">
                <c16:uniqueId val="{00000067-2993-41DE-A2CB-63102DE87051}"/>
              </c:ext>
            </c:extLst>
          </c:dPt>
          <c:dPt>
            <c:idx val="24"/>
            <c:invertIfNegative val="1"/>
            <c:bubble3D val="0"/>
            <c:spPr>
              <a:solidFill>
                <a:srgbClr val="7ECAC4"/>
              </a:solidFill>
            </c:spPr>
            <c:extLst>
              <c:ext xmlns:c16="http://schemas.microsoft.com/office/drawing/2014/chart" uri="{C3380CC4-5D6E-409C-BE32-E72D297353CC}">
                <c16:uniqueId val="{00000069-2993-41DE-A2CB-63102DE87051}"/>
              </c:ext>
            </c:extLst>
          </c:dPt>
          <c:dPt>
            <c:idx val="25"/>
            <c:invertIfNegative val="1"/>
            <c:bubble3D val="0"/>
            <c:spPr>
              <a:solidFill>
                <a:srgbClr val="7ECAC4"/>
              </a:solidFill>
            </c:spPr>
            <c:extLst>
              <c:ext xmlns:c16="http://schemas.microsoft.com/office/drawing/2014/chart" uri="{C3380CC4-5D6E-409C-BE32-E72D297353CC}">
                <c16:uniqueId val="{0000006B-2993-41DE-A2CB-63102DE87051}"/>
              </c:ext>
            </c:extLst>
          </c:dPt>
          <c:dPt>
            <c:idx val="26"/>
            <c:invertIfNegative val="1"/>
            <c:bubble3D val="0"/>
            <c:spPr>
              <a:solidFill>
                <a:srgbClr val="7ECAC4"/>
              </a:solidFill>
            </c:spPr>
            <c:extLst>
              <c:ext xmlns:c16="http://schemas.microsoft.com/office/drawing/2014/chart" uri="{C3380CC4-5D6E-409C-BE32-E72D297353CC}">
                <c16:uniqueId val="{0000006D-2993-41DE-A2CB-63102DE87051}"/>
              </c:ext>
            </c:extLst>
          </c:dPt>
          <c:dPt>
            <c:idx val="27"/>
            <c:invertIfNegative val="1"/>
            <c:bubble3D val="0"/>
            <c:spPr>
              <a:solidFill>
                <a:srgbClr val="7ECAC4"/>
              </a:solidFill>
            </c:spPr>
            <c:extLst>
              <c:ext xmlns:c16="http://schemas.microsoft.com/office/drawing/2014/chart" uri="{C3380CC4-5D6E-409C-BE32-E72D297353CC}">
                <c16:uniqueId val="{0000006F-2993-41DE-A2CB-63102DE87051}"/>
              </c:ext>
            </c:extLst>
          </c:dPt>
          <c:dPt>
            <c:idx val="28"/>
            <c:invertIfNegative val="1"/>
            <c:bubble3D val="0"/>
            <c:spPr>
              <a:solidFill>
                <a:srgbClr val="7ECAC4"/>
              </a:solidFill>
            </c:spPr>
            <c:extLst>
              <c:ext xmlns:c16="http://schemas.microsoft.com/office/drawing/2014/chart" uri="{C3380CC4-5D6E-409C-BE32-E72D297353CC}">
                <c16:uniqueId val="{00000071-2993-41DE-A2CB-63102DE87051}"/>
              </c:ext>
            </c:extLst>
          </c:dPt>
          <c:dPt>
            <c:idx val="29"/>
            <c:invertIfNegative val="1"/>
            <c:bubble3D val="0"/>
            <c:spPr>
              <a:solidFill>
                <a:srgbClr val="7ECAC4"/>
              </a:solidFill>
            </c:spPr>
            <c:extLst>
              <c:ext xmlns:c16="http://schemas.microsoft.com/office/drawing/2014/chart" uri="{C3380CC4-5D6E-409C-BE32-E72D297353CC}">
                <c16:uniqueId val="{00000073-2993-41DE-A2CB-63102DE87051}"/>
              </c:ext>
            </c:extLst>
          </c:dPt>
          <c:dPt>
            <c:idx val="30"/>
            <c:invertIfNegative val="1"/>
            <c:bubble3D val="0"/>
            <c:spPr>
              <a:solidFill>
                <a:srgbClr val="7ECAC4"/>
              </a:solidFill>
            </c:spPr>
            <c:extLst>
              <c:ext xmlns:c16="http://schemas.microsoft.com/office/drawing/2014/chart" uri="{C3380CC4-5D6E-409C-BE32-E72D297353CC}">
                <c16:uniqueId val="{00000075-2993-41DE-A2CB-63102DE87051}"/>
              </c:ext>
            </c:extLst>
          </c:dPt>
          <c:dPt>
            <c:idx val="31"/>
            <c:invertIfNegative val="1"/>
            <c:bubble3D val="0"/>
            <c:spPr>
              <a:solidFill>
                <a:srgbClr val="7ECAC4"/>
              </a:solidFill>
            </c:spPr>
            <c:extLst>
              <c:ext xmlns:c16="http://schemas.microsoft.com/office/drawing/2014/chart" uri="{C3380CC4-5D6E-409C-BE32-E72D297353CC}">
                <c16:uniqueId val="{00000077-2993-41DE-A2CB-63102DE87051}"/>
              </c:ext>
            </c:extLst>
          </c:dPt>
          <c:dPt>
            <c:idx val="32"/>
            <c:invertIfNegative val="1"/>
            <c:bubble3D val="0"/>
            <c:spPr>
              <a:solidFill>
                <a:srgbClr val="7ECAC4"/>
              </a:solidFill>
            </c:spPr>
            <c:extLst>
              <c:ext xmlns:c16="http://schemas.microsoft.com/office/drawing/2014/chart" uri="{C3380CC4-5D6E-409C-BE32-E72D297353CC}">
                <c16:uniqueId val="{00000079-2993-41DE-A2CB-63102DE87051}"/>
              </c:ext>
            </c:extLst>
          </c:dPt>
          <c:dPt>
            <c:idx val="33"/>
            <c:invertIfNegative val="1"/>
            <c:bubble3D val="0"/>
            <c:spPr>
              <a:solidFill>
                <a:srgbClr val="7ECAC4"/>
              </a:solidFill>
            </c:spPr>
            <c:extLst>
              <c:ext xmlns:c16="http://schemas.microsoft.com/office/drawing/2014/chart" uri="{C3380CC4-5D6E-409C-BE32-E72D297353CC}">
                <c16:uniqueId val="{0000007B-2993-41DE-A2CB-63102DE87051}"/>
              </c:ext>
            </c:extLst>
          </c:dPt>
          <c:dPt>
            <c:idx val="34"/>
            <c:invertIfNegative val="1"/>
            <c:bubble3D val="0"/>
            <c:spPr>
              <a:solidFill>
                <a:srgbClr val="7ECAC4"/>
              </a:solidFill>
            </c:spPr>
            <c:extLst>
              <c:ext xmlns:c16="http://schemas.microsoft.com/office/drawing/2014/chart" uri="{C3380CC4-5D6E-409C-BE32-E72D297353CC}">
                <c16:uniqueId val="{0000007D-2993-41DE-A2CB-63102DE87051}"/>
              </c:ext>
            </c:extLst>
          </c:dPt>
          <c:dPt>
            <c:idx val="35"/>
            <c:invertIfNegative val="1"/>
            <c:bubble3D val="0"/>
            <c:spPr>
              <a:solidFill>
                <a:srgbClr val="7ECAC4"/>
              </a:solidFill>
            </c:spPr>
            <c:extLst>
              <c:ext xmlns:c16="http://schemas.microsoft.com/office/drawing/2014/chart" uri="{C3380CC4-5D6E-409C-BE32-E72D297353CC}">
                <c16:uniqueId val="{0000007F-2993-41DE-A2CB-63102DE87051}"/>
              </c:ext>
            </c:extLst>
          </c:dPt>
          <c:dPt>
            <c:idx val="36"/>
            <c:invertIfNegative val="1"/>
            <c:bubble3D val="0"/>
            <c:spPr>
              <a:solidFill>
                <a:srgbClr val="7ECAC4"/>
              </a:solidFill>
            </c:spPr>
            <c:extLst>
              <c:ext xmlns:c16="http://schemas.microsoft.com/office/drawing/2014/chart" uri="{C3380CC4-5D6E-409C-BE32-E72D297353CC}">
                <c16:uniqueId val="{00000081-2993-41DE-A2CB-63102DE87051}"/>
              </c:ext>
            </c:extLst>
          </c:dPt>
          <c:dPt>
            <c:idx val="37"/>
            <c:invertIfNegative val="1"/>
            <c:bubble3D val="0"/>
            <c:spPr>
              <a:solidFill>
                <a:srgbClr val="7ECAC4"/>
              </a:solidFill>
            </c:spPr>
            <c:extLst>
              <c:ext xmlns:c16="http://schemas.microsoft.com/office/drawing/2014/chart" uri="{C3380CC4-5D6E-409C-BE32-E72D297353CC}">
                <c16:uniqueId val="{00000083-2993-41DE-A2CB-63102DE87051}"/>
              </c:ext>
            </c:extLst>
          </c:dPt>
          <c:dPt>
            <c:idx val="38"/>
            <c:invertIfNegative val="1"/>
            <c:bubble3D val="0"/>
            <c:spPr>
              <a:solidFill>
                <a:srgbClr val="7ECAC4"/>
              </a:solidFill>
            </c:spPr>
            <c:extLst>
              <c:ext xmlns:c16="http://schemas.microsoft.com/office/drawing/2014/chart" uri="{C3380CC4-5D6E-409C-BE32-E72D297353CC}">
                <c16:uniqueId val="{00000085-2993-41DE-A2CB-63102DE87051}"/>
              </c:ext>
            </c:extLst>
          </c:dPt>
          <c:dPt>
            <c:idx val="39"/>
            <c:invertIfNegative val="1"/>
            <c:bubble3D val="0"/>
            <c:spPr>
              <a:solidFill>
                <a:srgbClr val="7ECAC4"/>
              </a:solidFill>
            </c:spPr>
            <c:extLst>
              <c:ext xmlns:c16="http://schemas.microsoft.com/office/drawing/2014/chart" uri="{C3380CC4-5D6E-409C-BE32-E72D297353CC}">
                <c16:uniqueId val="{00000087-2993-41DE-A2CB-63102DE87051}"/>
              </c:ext>
            </c:extLst>
          </c:dPt>
          <c:dPt>
            <c:idx val="40"/>
            <c:invertIfNegative val="1"/>
            <c:bubble3D val="0"/>
            <c:spPr>
              <a:solidFill>
                <a:srgbClr val="7ECAC4"/>
              </a:solidFill>
            </c:spPr>
            <c:extLst>
              <c:ext xmlns:c16="http://schemas.microsoft.com/office/drawing/2014/chart" uri="{C3380CC4-5D6E-409C-BE32-E72D297353CC}">
                <c16:uniqueId val="{00000089-2993-41DE-A2CB-63102DE87051}"/>
              </c:ext>
            </c:extLst>
          </c:dPt>
          <c:dPt>
            <c:idx val="41"/>
            <c:invertIfNegative val="1"/>
            <c:bubble3D val="0"/>
            <c:spPr>
              <a:solidFill>
                <a:srgbClr val="AEABAB"/>
              </a:solidFill>
            </c:spPr>
            <c:extLst>
              <c:ext xmlns:c16="http://schemas.microsoft.com/office/drawing/2014/chart" uri="{C3380CC4-5D6E-409C-BE32-E72D297353CC}">
                <c16:uniqueId val="{0000008B-2993-41DE-A2CB-63102DE87051}"/>
              </c:ext>
            </c:extLst>
          </c:dPt>
          <c:dPt>
            <c:idx val="42"/>
            <c:invertIfNegative val="1"/>
            <c:bubble3D val="0"/>
            <c:spPr>
              <a:solidFill>
                <a:srgbClr val="AEABAB"/>
              </a:solidFill>
            </c:spPr>
            <c:extLst>
              <c:ext xmlns:c16="http://schemas.microsoft.com/office/drawing/2014/chart" uri="{C3380CC4-5D6E-409C-BE32-E72D297353CC}">
                <c16:uniqueId val="{0000008D-2993-41DE-A2CB-63102DE87051}"/>
              </c:ext>
            </c:extLst>
          </c:dPt>
          <c:dPt>
            <c:idx val="43"/>
            <c:invertIfNegative val="1"/>
            <c:bubble3D val="0"/>
            <c:spPr>
              <a:solidFill>
                <a:srgbClr val="AEABAB"/>
              </a:solidFill>
            </c:spPr>
            <c:extLst>
              <c:ext xmlns:c16="http://schemas.microsoft.com/office/drawing/2014/chart" uri="{C3380CC4-5D6E-409C-BE32-E72D297353CC}">
                <c16:uniqueId val="{0000008F-2993-41DE-A2CB-63102DE87051}"/>
              </c:ext>
            </c:extLst>
          </c:dPt>
          <c:dPt>
            <c:idx val="44"/>
            <c:invertIfNegative val="1"/>
            <c:bubble3D val="0"/>
            <c:spPr>
              <a:solidFill>
                <a:srgbClr val="AEABAB"/>
              </a:solidFill>
            </c:spPr>
            <c:extLst>
              <c:ext xmlns:c16="http://schemas.microsoft.com/office/drawing/2014/chart" uri="{C3380CC4-5D6E-409C-BE32-E72D297353CC}">
                <c16:uniqueId val="{00000091-2993-41DE-A2CB-63102DE87051}"/>
              </c:ext>
            </c:extLst>
          </c:dPt>
          <c:dPt>
            <c:idx val="45"/>
            <c:invertIfNegative val="1"/>
            <c:bubble3D val="0"/>
            <c:spPr>
              <a:solidFill>
                <a:srgbClr val="AEABAB"/>
              </a:solidFill>
            </c:spPr>
            <c:extLst>
              <c:ext xmlns:c16="http://schemas.microsoft.com/office/drawing/2014/chart" uri="{C3380CC4-5D6E-409C-BE32-E72D297353CC}">
                <c16:uniqueId val="{00000093-2993-41DE-A2CB-63102DE87051}"/>
              </c:ext>
            </c:extLst>
          </c:dPt>
          <c:dPt>
            <c:idx val="46"/>
            <c:invertIfNegative val="1"/>
            <c:bubble3D val="0"/>
            <c:spPr>
              <a:solidFill>
                <a:srgbClr val="AEABAB"/>
              </a:solidFill>
            </c:spPr>
            <c:extLst>
              <c:ext xmlns:c16="http://schemas.microsoft.com/office/drawing/2014/chart" uri="{C3380CC4-5D6E-409C-BE32-E72D297353CC}">
                <c16:uniqueId val="{00000095-2993-41DE-A2CB-63102DE87051}"/>
              </c:ext>
            </c:extLst>
          </c:dPt>
          <c:dPt>
            <c:idx val="47"/>
            <c:invertIfNegative val="1"/>
            <c:bubble3D val="0"/>
            <c:spPr>
              <a:solidFill>
                <a:srgbClr val="AEABAB"/>
              </a:solidFill>
            </c:spPr>
            <c:extLst>
              <c:ext xmlns:c16="http://schemas.microsoft.com/office/drawing/2014/chart" uri="{C3380CC4-5D6E-409C-BE32-E72D297353CC}">
                <c16:uniqueId val="{00000097-2993-41DE-A2CB-63102DE87051}"/>
              </c:ext>
            </c:extLst>
          </c:dPt>
          <c:dPt>
            <c:idx val="48"/>
            <c:invertIfNegative val="1"/>
            <c:bubble3D val="0"/>
            <c:spPr>
              <a:solidFill>
                <a:srgbClr val="AEABAB"/>
              </a:solidFill>
            </c:spPr>
            <c:extLst>
              <c:ext xmlns:c16="http://schemas.microsoft.com/office/drawing/2014/chart" uri="{C3380CC4-5D6E-409C-BE32-E72D297353CC}">
                <c16:uniqueId val="{00000099-2993-41DE-A2CB-63102DE87051}"/>
              </c:ext>
            </c:extLst>
          </c:dPt>
          <c:dPt>
            <c:idx val="49"/>
            <c:invertIfNegative val="1"/>
            <c:bubble3D val="0"/>
            <c:spPr>
              <a:solidFill>
                <a:srgbClr val="AEABAB"/>
              </a:solidFill>
            </c:spPr>
            <c:extLst>
              <c:ext xmlns:c16="http://schemas.microsoft.com/office/drawing/2014/chart" uri="{C3380CC4-5D6E-409C-BE32-E72D297353CC}">
                <c16:uniqueId val="{0000009B-2993-41DE-A2CB-63102DE87051}"/>
              </c:ext>
            </c:extLst>
          </c:dPt>
          <c:dPt>
            <c:idx val="50"/>
            <c:invertIfNegative val="1"/>
            <c:bubble3D val="0"/>
            <c:spPr>
              <a:solidFill>
                <a:srgbClr val="AEABAB"/>
              </a:solidFill>
            </c:spPr>
            <c:extLst>
              <c:ext xmlns:c16="http://schemas.microsoft.com/office/drawing/2014/chart" uri="{C3380CC4-5D6E-409C-BE32-E72D297353CC}">
                <c16:uniqueId val="{0000009D-2993-41DE-A2CB-63102DE87051}"/>
              </c:ext>
            </c:extLst>
          </c:dPt>
          <c:dPt>
            <c:idx val="51"/>
            <c:invertIfNegative val="1"/>
            <c:bubble3D val="0"/>
            <c:spPr>
              <a:solidFill>
                <a:srgbClr val="AEABAB"/>
              </a:solidFill>
            </c:spPr>
            <c:extLst>
              <c:ext xmlns:c16="http://schemas.microsoft.com/office/drawing/2014/chart" uri="{C3380CC4-5D6E-409C-BE32-E72D297353CC}">
                <c16:uniqueId val="{0000009F-2993-41DE-A2CB-63102DE87051}"/>
              </c:ext>
            </c:extLst>
          </c:dPt>
          <c:dPt>
            <c:idx val="52"/>
            <c:invertIfNegative val="1"/>
            <c:bubble3D val="0"/>
            <c:spPr>
              <a:solidFill>
                <a:srgbClr val="AEABAB"/>
              </a:solidFill>
            </c:spPr>
            <c:extLst>
              <c:ext xmlns:c16="http://schemas.microsoft.com/office/drawing/2014/chart" uri="{C3380CC4-5D6E-409C-BE32-E72D297353CC}">
                <c16:uniqueId val="{000000A1-2993-41DE-A2CB-63102DE87051}"/>
              </c:ext>
            </c:extLst>
          </c:dPt>
          <c:dPt>
            <c:idx val="53"/>
            <c:invertIfNegative val="1"/>
            <c:bubble3D val="0"/>
            <c:spPr>
              <a:solidFill>
                <a:srgbClr val="AEABAB"/>
              </a:solidFill>
            </c:spPr>
            <c:extLst>
              <c:ext xmlns:c16="http://schemas.microsoft.com/office/drawing/2014/chart" uri="{C3380CC4-5D6E-409C-BE32-E72D297353CC}">
                <c16:uniqueId val="{000000A3-2993-41DE-A2CB-63102DE87051}"/>
              </c:ext>
            </c:extLst>
          </c:dPt>
          <c:dPt>
            <c:idx val="54"/>
            <c:invertIfNegative val="0"/>
            <c:bubble3D val="0"/>
            <c:spPr>
              <a:solidFill>
                <a:srgbClr val="AEABAB"/>
              </a:solidFill>
            </c:spPr>
            <c:extLst>
              <c:ext xmlns:c16="http://schemas.microsoft.com/office/drawing/2014/chart" uri="{C3380CC4-5D6E-409C-BE32-E72D297353CC}">
                <c16:uniqueId val="{00000072-C76F-4230-900D-40618C09729F}"/>
              </c:ext>
            </c:extLst>
          </c:dPt>
          <c:dPt>
            <c:idx val="55"/>
            <c:invertIfNegative val="0"/>
            <c:bubble3D val="0"/>
            <c:spPr>
              <a:solidFill>
                <a:srgbClr val="AEABAB"/>
              </a:solidFill>
            </c:spPr>
            <c:extLst>
              <c:ext xmlns:c16="http://schemas.microsoft.com/office/drawing/2014/chart" uri="{C3380CC4-5D6E-409C-BE32-E72D297353CC}">
                <c16:uniqueId val="{00000074-C76F-4230-900D-40618C09729F}"/>
              </c:ext>
            </c:extLst>
          </c:dPt>
          <c:dPt>
            <c:idx val="56"/>
            <c:invertIfNegative val="0"/>
            <c:bubble3D val="0"/>
            <c:spPr>
              <a:solidFill>
                <a:srgbClr val="AEABAB"/>
              </a:solidFill>
            </c:spPr>
            <c:extLst>
              <c:ext xmlns:c16="http://schemas.microsoft.com/office/drawing/2014/chart" uri="{C3380CC4-5D6E-409C-BE32-E72D297353CC}">
                <c16:uniqueId val="{00000076-C76F-4230-900D-40618C09729F}"/>
              </c:ext>
            </c:extLst>
          </c:dPt>
          <c:dPt>
            <c:idx val="57"/>
            <c:invertIfNegative val="0"/>
            <c:bubble3D val="0"/>
            <c:spPr>
              <a:solidFill>
                <a:srgbClr val="AEABAB"/>
              </a:solidFill>
            </c:spPr>
            <c:extLst>
              <c:ext xmlns:c16="http://schemas.microsoft.com/office/drawing/2014/chart" uri="{C3380CC4-5D6E-409C-BE32-E72D297353CC}">
                <c16:uniqueId val="{00000078-C76F-4230-900D-40618C09729F}"/>
              </c:ext>
            </c:extLst>
          </c:dPt>
          <c:dPt>
            <c:idx val="58"/>
            <c:invertIfNegative val="0"/>
            <c:bubble3D val="0"/>
            <c:spPr>
              <a:solidFill>
                <a:srgbClr val="AEABAB"/>
              </a:solidFill>
            </c:spPr>
            <c:extLst>
              <c:ext xmlns:c16="http://schemas.microsoft.com/office/drawing/2014/chart" uri="{C3380CC4-5D6E-409C-BE32-E72D297353CC}">
                <c16:uniqueId val="{0000007A-C76F-4230-900D-40618C09729F}"/>
              </c:ext>
            </c:extLst>
          </c:dPt>
          <c:dPt>
            <c:idx val="59"/>
            <c:invertIfNegative val="0"/>
            <c:bubble3D val="0"/>
            <c:spPr>
              <a:solidFill>
                <a:srgbClr val="AEABAB"/>
              </a:solidFill>
            </c:spPr>
            <c:extLst>
              <c:ext xmlns:c16="http://schemas.microsoft.com/office/drawing/2014/chart" uri="{C3380CC4-5D6E-409C-BE32-E72D297353CC}">
                <c16:uniqueId val="{0000007C-C76F-4230-900D-40618C09729F}"/>
              </c:ext>
            </c:extLst>
          </c:dPt>
          <c:dPt>
            <c:idx val="60"/>
            <c:invertIfNegative val="0"/>
            <c:bubble3D val="0"/>
            <c:spPr>
              <a:solidFill>
                <a:srgbClr val="AEABAB"/>
              </a:solidFill>
            </c:spPr>
            <c:extLst>
              <c:ext xmlns:c16="http://schemas.microsoft.com/office/drawing/2014/chart" uri="{C3380CC4-5D6E-409C-BE32-E72D297353CC}">
                <c16:uniqueId val="{0000007E-C76F-4230-900D-40618C09729F}"/>
              </c:ext>
            </c:extLst>
          </c:dPt>
          <c:dPt>
            <c:idx val="61"/>
            <c:invertIfNegative val="0"/>
            <c:bubble3D val="0"/>
            <c:spPr>
              <a:solidFill>
                <a:srgbClr val="AEABAB"/>
              </a:solidFill>
            </c:spPr>
            <c:extLst>
              <c:ext xmlns:c16="http://schemas.microsoft.com/office/drawing/2014/chart" uri="{C3380CC4-5D6E-409C-BE32-E72D297353CC}">
                <c16:uniqueId val="{00000080-C76F-4230-900D-40618C09729F}"/>
              </c:ext>
            </c:extLst>
          </c:dPt>
          <c:dPt>
            <c:idx val="62"/>
            <c:invertIfNegative val="0"/>
            <c:bubble3D val="0"/>
            <c:spPr>
              <a:solidFill>
                <a:srgbClr val="AEABAB"/>
              </a:solidFill>
            </c:spPr>
            <c:extLst>
              <c:ext xmlns:c16="http://schemas.microsoft.com/office/drawing/2014/chart" uri="{C3380CC4-5D6E-409C-BE32-E72D297353CC}">
                <c16:uniqueId val="{00000082-C76F-4230-900D-40618C09729F}"/>
              </c:ext>
            </c:extLst>
          </c:dPt>
          <c:dPt>
            <c:idx val="63"/>
            <c:invertIfNegative val="0"/>
            <c:bubble3D val="0"/>
            <c:spPr>
              <a:solidFill>
                <a:srgbClr val="AEABAB"/>
              </a:solidFill>
            </c:spPr>
            <c:extLst>
              <c:ext xmlns:c16="http://schemas.microsoft.com/office/drawing/2014/chart" uri="{C3380CC4-5D6E-409C-BE32-E72D297353CC}">
                <c16:uniqueId val="{00000084-C76F-4230-900D-40618C09729F}"/>
              </c:ext>
            </c:extLst>
          </c:dPt>
          <c:dPt>
            <c:idx val="64"/>
            <c:invertIfNegative val="0"/>
            <c:bubble3D val="0"/>
            <c:spPr>
              <a:solidFill>
                <a:srgbClr val="AEABAB"/>
              </a:solidFill>
            </c:spPr>
            <c:extLst>
              <c:ext xmlns:c16="http://schemas.microsoft.com/office/drawing/2014/chart" uri="{C3380CC4-5D6E-409C-BE32-E72D297353CC}">
                <c16:uniqueId val="{00000086-C76F-4230-900D-40618C09729F}"/>
              </c:ext>
            </c:extLst>
          </c:dPt>
          <c:dPt>
            <c:idx val="65"/>
            <c:invertIfNegative val="0"/>
            <c:bubble3D val="0"/>
            <c:spPr>
              <a:solidFill>
                <a:srgbClr val="AEABAB"/>
              </a:solidFill>
            </c:spPr>
            <c:extLst>
              <c:ext xmlns:c16="http://schemas.microsoft.com/office/drawing/2014/chart" uri="{C3380CC4-5D6E-409C-BE32-E72D297353CC}">
                <c16:uniqueId val="{00000088-C76F-4230-900D-40618C09729F}"/>
              </c:ext>
            </c:extLst>
          </c:dPt>
          <c:dPt>
            <c:idx val="66"/>
            <c:invertIfNegative val="0"/>
            <c:bubble3D val="0"/>
            <c:spPr>
              <a:solidFill>
                <a:srgbClr val="AEABAB"/>
              </a:solidFill>
            </c:spPr>
            <c:extLst>
              <c:ext xmlns:c16="http://schemas.microsoft.com/office/drawing/2014/chart" uri="{C3380CC4-5D6E-409C-BE32-E72D297353CC}">
                <c16:uniqueId val="{0000008A-C76F-4230-900D-40618C09729F}"/>
              </c:ext>
            </c:extLst>
          </c:dPt>
          <c:dPt>
            <c:idx val="67"/>
            <c:invertIfNegative val="0"/>
            <c:bubble3D val="0"/>
            <c:spPr>
              <a:solidFill>
                <a:srgbClr val="AEABAB"/>
              </a:solidFill>
            </c:spPr>
            <c:extLst>
              <c:ext xmlns:c16="http://schemas.microsoft.com/office/drawing/2014/chart" uri="{C3380CC4-5D6E-409C-BE32-E72D297353CC}">
                <c16:uniqueId val="{0000008C-C76F-4230-900D-40618C09729F}"/>
              </c:ext>
            </c:extLst>
          </c:dPt>
          <c:dPt>
            <c:idx val="68"/>
            <c:invertIfNegative val="0"/>
            <c:bubble3D val="0"/>
            <c:spPr>
              <a:solidFill>
                <a:srgbClr val="AEABAB"/>
              </a:solidFill>
            </c:spPr>
            <c:extLst>
              <c:ext xmlns:c16="http://schemas.microsoft.com/office/drawing/2014/chart" uri="{C3380CC4-5D6E-409C-BE32-E72D297353CC}">
                <c16:uniqueId val="{0000008E-C76F-4230-900D-40618C09729F}"/>
              </c:ext>
            </c:extLst>
          </c:dPt>
          <c:dPt>
            <c:idx val="69"/>
            <c:invertIfNegative val="0"/>
            <c:bubble3D val="0"/>
            <c:spPr>
              <a:solidFill>
                <a:srgbClr val="AEABAB"/>
              </a:solidFill>
            </c:spPr>
            <c:extLst>
              <c:ext xmlns:c16="http://schemas.microsoft.com/office/drawing/2014/chart" uri="{C3380CC4-5D6E-409C-BE32-E72D297353CC}">
                <c16:uniqueId val="{00000090-C76F-4230-900D-40618C09729F}"/>
              </c:ext>
            </c:extLst>
          </c:dPt>
          <c:dPt>
            <c:idx val="70"/>
            <c:invertIfNegative val="0"/>
            <c:bubble3D val="0"/>
            <c:spPr>
              <a:solidFill>
                <a:srgbClr val="AEABAB"/>
              </a:solidFill>
            </c:spPr>
            <c:extLst>
              <c:ext xmlns:c16="http://schemas.microsoft.com/office/drawing/2014/chart" uri="{C3380CC4-5D6E-409C-BE32-E72D297353CC}">
                <c16:uniqueId val="{00000092-C76F-4230-900D-40618C09729F}"/>
              </c:ext>
            </c:extLst>
          </c:dPt>
          <c:dPt>
            <c:idx val="71"/>
            <c:invertIfNegative val="0"/>
            <c:bubble3D val="0"/>
            <c:spPr>
              <a:solidFill>
                <a:srgbClr val="AEABAB"/>
              </a:solidFill>
            </c:spPr>
            <c:extLst>
              <c:ext xmlns:c16="http://schemas.microsoft.com/office/drawing/2014/chart" uri="{C3380CC4-5D6E-409C-BE32-E72D297353CC}">
                <c16:uniqueId val="{00000094-C76F-4230-900D-40618C09729F}"/>
              </c:ext>
            </c:extLst>
          </c:dPt>
          <c:dPt>
            <c:idx val="72"/>
            <c:invertIfNegative val="0"/>
            <c:bubble3D val="0"/>
            <c:spPr>
              <a:solidFill>
                <a:srgbClr val="AEABAB"/>
              </a:solidFill>
            </c:spPr>
            <c:extLst>
              <c:ext xmlns:c16="http://schemas.microsoft.com/office/drawing/2014/chart" uri="{C3380CC4-5D6E-409C-BE32-E72D297353CC}">
                <c16:uniqueId val="{00000096-C76F-4230-900D-40618C09729F}"/>
              </c:ext>
            </c:extLst>
          </c:dPt>
          <c:dPt>
            <c:idx val="73"/>
            <c:invertIfNegative val="0"/>
            <c:bubble3D val="0"/>
            <c:spPr>
              <a:solidFill>
                <a:srgbClr val="AEABAB"/>
              </a:solidFill>
            </c:spPr>
            <c:extLst>
              <c:ext xmlns:c16="http://schemas.microsoft.com/office/drawing/2014/chart" uri="{C3380CC4-5D6E-409C-BE32-E72D297353CC}">
                <c16:uniqueId val="{00000098-C76F-4230-900D-40618C09729F}"/>
              </c:ext>
            </c:extLst>
          </c:dPt>
          <c:dPt>
            <c:idx val="74"/>
            <c:invertIfNegative val="0"/>
            <c:bubble3D val="0"/>
            <c:spPr>
              <a:solidFill>
                <a:srgbClr val="AEABAB"/>
              </a:solidFill>
            </c:spPr>
            <c:extLst>
              <c:ext xmlns:c16="http://schemas.microsoft.com/office/drawing/2014/chart" uri="{C3380CC4-5D6E-409C-BE32-E72D297353CC}">
                <c16:uniqueId val="{0000009A-C76F-4230-900D-40618C09729F}"/>
              </c:ext>
            </c:extLst>
          </c:dPt>
          <c:dPt>
            <c:idx val="75"/>
            <c:invertIfNegative val="0"/>
            <c:bubble3D val="0"/>
            <c:spPr>
              <a:solidFill>
                <a:srgbClr val="AEABAB"/>
              </a:solidFill>
            </c:spPr>
            <c:extLst>
              <c:ext xmlns:c16="http://schemas.microsoft.com/office/drawing/2014/chart" uri="{C3380CC4-5D6E-409C-BE32-E72D297353CC}">
                <c16:uniqueId val="{0000009C-C76F-4230-900D-40618C09729F}"/>
              </c:ext>
            </c:extLst>
          </c:dPt>
          <c:dPt>
            <c:idx val="76"/>
            <c:invertIfNegative val="0"/>
            <c:bubble3D val="0"/>
            <c:spPr>
              <a:solidFill>
                <a:srgbClr val="AEABAB"/>
              </a:solidFill>
            </c:spPr>
            <c:extLst>
              <c:ext xmlns:c16="http://schemas.microsoft.com/office/drawing/2014/chart" uri="{C3380CC4-5D6E-409C-BE32-E72D297353CC}">
                <c16:uniqueId val="{0000009E-C76F-4230-900D-40618C09729F}"/>
              </c:ext>
            </c:extLst>
          </c:dPt>
          <c:dPt>
            <c:idx val="77"/>
            <c:invertIfNegative val="0"/>
            <c:bubble3D val="0"/>
            <c:spPr>
              <a:solidFill>
                <a:srgbClr val="AEABAB"/>
              </a:solidFill>
            </c:spPr>
            <c:extLst>
              <c:ext xmlns:c16="http://schemas.microsoft.com/office/drawing/2014/chart" uri="{C3380CC4-5D6E-409C-BE32-E72D297353CC}">
                <c16:uniqueId val="{000000A0-C76F-4230-900D-40618C09729F}"/>
              </c:ext>
            </c:extLst>
          </c:dPt>
          <c:dPt>
            <c:idx val="78"/>
            <c:invertIfNegative val="0"/>
            <c:bubble3D val="0"/>
            <c:spPr>
              <a:solidFill>
                <a:srgbClr val="AEABAB"/>
              </a:solidFill>
            </c:spPr>
            <c:extLst>
              <c:ext xmlns:c16="http://schemas.microsoft.com/office/drawing/2014/chart" uri="{C3380CC4-5D6E-409C-BE32-E72D297353CC}">
                <c16:uniqueId val="{000000A2-C76F-4230-900D-40618C09729F}"/>
              </c:ext>
            </c:extLst>
          </c:dPt>
          <c:dPt>
            <c:idx val="79"/>
            <c:invertIfNegative val="0"/>
            <c:bubble3D val="0"/>
            <c:spPr>
              <a:solidFill>
                <a:srgbClr val="AEABAB"/>
              </a:solidFill>
            </c:spPr>
            <c:extLst>
              <c:ext xmlns:c16="http://schemas.microsoft.com/office/drawing/2014/chart" uri="{C3380CC4-5D6E-409C-BE32-E72D297353CC}">
                <c16:uniqueId val="{000000A4-C76F-4230-900D-40618C09729F}"/>
              </c:ext>
            </c:extLst>
          </c:dPt>
          <c:dPt>
            <c:idx val="80"/>
            <c:invertIfNegative val="0"/>
            <c:bubble3D val="0"/>
            <c:spPr>
              <a:solidFill>
                <a:srgbClr val="AEABAB"/>
              </a:solidFill>
            </c:spPr>
            <c:extLst>
              <c:ext xmlns:c16="http://schemas.microsoft.com/office/drawing/2014/chart" uri="{C3380CC4-5D6E-409C-BE32-E72D297353CC}">
                <c16:uniqueId val="{000000A6-C76F-4230-900D-40618C09729F}"/>
              </c:ext>
            </c:extLst>
          </c:dPt>
          <c:dPt>
            <c:idx val="81"/>
            <c:invertIfNegative val="1"/>
            <c:bubble3D val="0"/>
            <c:spPr>
              <a:solidFill>
                <a:srgbClr val="AEABAB"/>
              </a:solidFill>
            </c:spPr>
            <c:extLst>
              <c:ext xmlns:c16="http://schemas.microsoft.com/office/drawing/2014/chart" uri="{C3380CC4-5D6E-409C-BE32-E72D297353CC}">
                <c16:uniqueId val="{000000A5-2993-41DE-A2CB-63102DE87051}"/>
              </c:ext>
            </c:extLst>
          </c:dPt>
          <c:dPt>
            <c:idx val="82"/>
            <c:invertIfNegative val="1"/>
            <c:bubble3D val="0"/>
            <c:spPr>
              <a:solidFill>
                <a:srgbClr val="AEABAB"/>
              </a:solidFill>
            </c:spPr>
            <c:extLst>
              <c:ext xmlns:c16="http://schemas.microsoft.com/office/drawing/2014/chart" uri="{C3380CC4-5D6E-409C-BE32-E72D297353CC}">
                <c16:uniqueId val="{000000A7-2993-41DE-A2CB-63102DE87051}"/>
              </c:ext>
            </c:extLst>
          </c:dPt>
          <c:dPt>
            <c:idx val="83"/>
            <c:invertIfNegative val="1"/>
            <c:bubble3D val="0"/>
            <c:spPr>
              <a:solidFill>
                <a:srgbClr val="AEABAB"/>
              </a:solidFill>
            </c:spPr>
            <c:extLst>
              <c:ext xmlns:c16="http://schemas.microsoft.com/office/drawing/2014/chart" uri="{C3380CC4-5D6E-409C-BE32-E72D297353CC}">
                <c16:uniqueId val="{000000A9-2993-41DE-A2CB-63102DE87051}"/>
              </c:ext>
            </c:extLst>
          </c:dPt>
          <c:dPt>
            <c:idx val="84"/>
            <c:invertIfNegative val="1"/>
            <c:bubble3D val="0"/>
            <c:spPr>
              <a:solidFill>
                <a:srgbClr val="AEABAB"/>
              </a:solidFill>
            </c:spPr>
            <c:extLst>
              <c:ext xmlns:c16="http://schemas.microsoft.com/office/drawing/2014/chart" uri="{C3380CC4-5D6E-409C-BE32-E72D297353CC}">
                <c16:uniqueId val="{000000AB-2993-41DE-A2CB-63102DE87051}"/>
              </c:ext>
            </c:extLst>
          </c:dPt>
          <c:dPt>
            <c:idx val="85"/>
            <c:invertIfNegative val="1"/>
            <c:bubble3D val="0"/>
            <c:spPr>
              <a:solidFill>
                <a:srgbClr val="AEABAB"/>
              </a:solidFill>
            </c:spPr>
            <c:extLst>
              <c:ext xmlns:c16="http://schemas.microsoft.com/office/drawing/2014/chart" uri="{C3380CC4-5D6E-409C-BE32-E72D297353CC}">
                <c16:uniqueId val="{000000AD-2993-41DE-A2CB-63102DE87051}"/>
              </c:ext>
            </c:extLst>
          </c:dPt>
          <c:dPt>
            <c:idx val="86"/>
            <c:invertIfNegative val="1"/>
            <c:bubble3D val="0"/>
            <c:spPr>
              <a:solidFill>
                <a:srgbClr val="AEABAB"/>
              </a:solidFill>
            </c:spPr>
            <c:extLst>
              <c:ext xmlns:c16="http://schemas.microsoft.com/office/drawing/2014/chart" uri="{C3380CC4-5D6E-409C-BE32-E72D297353CC}">
                <c16:uniqueId val="{000000AF-2993-41DE-A2CB-63102DE87051}"/>
              </c:ext>
            </c:extLst>
          </c:dPt>
          <c:dPt>
            <c:idx val="87"/>
            <c:invertIfNegative val="1"/>
            <c:bubble3D val="0"/>
            <c:spPr>
              <a:solidFill>
                <a:srgbClr val="AEABAB"/>
              </a:solidFill>
            </c:spPr>
            <c:extLst>
              <c:ext xmlns:c16="http://schemas.microsoft.com/office/drawing/2014/chart" uri="{C3380CC4-5D6E-409C-BE32-E72D297353CC}">
                <c16:uniqueId val="{000000B1-2993-41DE-A2CB-63102DE87051}"/>
              </c:ext>
            </c:extLst>
          </c:dPt>
          <c:dPt>
            <c:idx val="88"/>
            <c:invertIfNegative val="1"/>
            <c:bubble3D val="0"/>
            <c:spPr>
              <a:solidFill>
                <a:srgbClr val="AEABAB"/>
              </a:solidFill>
            </c:spPr>
            <c:extLst>
              <c:ext xmlns:c16="http://schemas.microsoft.com/office/drawing/2014/chart" uri="{C3380CC4-5D6E-409C-BE32-E72D297353CC}">
                <c16:uniqueId val="{000000B3-2993-41DE-A2CB-63102DE87051}"/>
              </c:ext>
            </c:extLst>
          </c:dPt>
          <c:dPt>
            <c:idx val="89"/>
            <c:invertIfNegative val="1"/>
            <c:bubble3D val="0"/>
            <c:spPr>
              <a:solidFill>
                <a:srgbClr val="AEABAB"/>
              </a:solidFill>
            </c:spPr>
            <c:extLst>
              <c:ext xmlns:c16="http://schemas.microsoft.com/office/drawing/2014/chart" uri="{C3380CC4-5D6E-409C-BE32-E72D297353CC}">
                <c16:uniqueId val="{000000B5-2993-41DE-A2CB-63102DE87051}"/>
              </c:ext>
            </c:extLst>
          </c:dPt>
          <c:dPt>
            <c:idx val="90"/>
            <c:invertIfNegative val="1"/>
            <c:bubble3D val="0"/>
            <c:spPr>
              <a:solidFill>
                <a:srgbClr val="AEABAB"/>
              </a:solidFill>
            </c:spPr>
            <c:extLst>
              <c:ext xmlns:c16="http://schemas.microsoft.com/office/drawing/2014/chart" uri="{C3380CC4-5D6E-409C-BE32-E72D297353CC}">
                <c16:uniqueId val="{000000B7-2993-41DE-A2CB-63102DE87051}"/>
              </c:ext>
            </c:extLst>
          </c:dPt>
          <c:dPt>
            <c:idx val="91"/>
            <c:invertIfNegative val="1"/>
            <c:bubble3D val="0"/>
            <c:spPr>
              <a:solidFill>
                <a:srgbClr val="AEABAB"/>
              </a:solidFill>
            </c:spPr>
            <c:extLst>
              <c:ext xmlns:c16="http://schemas.microsoft.com/office/drawing/2014/chart" uri="{C3380CC4-5D6E-409C-BE32-E72D297353CC}">
                <c16:uniqueId val="{000000B9-2993-41DE-A2CB-63102DE87051}"/>
              </c:ext>
            </c:extLst>
          </c:dPt>
          <c:dPt>
            <c:idx val="92"/>
            <c:invertIfNegative val="1"/>
            <c:bubble3D val="0"/>
            <c:spPr>
              <a:solidFill>
                <a:srgbClr val="AEABAB"/>
              </a:solidFill>
            </c:spPr>
            <c:extLst>
              <c:ext xmlns:c16="http://schemas.microsoft.com/office/drawing/2014/chart" uri="{C3380CC4-5D6E-409C-BE32-E72D297353CC}">
                <c16:uniqueId val="{000000BB-2993-41DE-A2CB-63102DE87051}"/>
              </c:ext>
            </c:extLst>
          </c:dPt>
          <c:dPt>
            <c:idx val="93"/>
            <c:invertIfNegative val="1"/>
            <c:bubble3D val="0"/>
            <c:spPr>
              <a:solidFill>
                <a:srgbClr val="AEABAB"/>
              </a:solidFill>
            </c:spPr>
            <c:extLst>
              <c:ext xmlns:c16="http://schemas.microsoft.com/office/drawing/2014/chart" uri="{C3380CC4-5D6E-409C-BE32-E72D297353CC}">
                <c16:uniqueId val="{000000BD-2993-41DE-A2CB-63102DE87051}"/>
              </c:ext>
            </c:extLst>
          </c:dPt>
          <c:dPt>
            <c:idx val="94"/>
            <c:invertIfNegative val="1"/>
            <c:bubble3D val="0"/>
            <c:spPr>
              <a:solidFill>
                <a:srgbClr val="AEABAB"/>
              </a:solidFill>
            </c:spPr>
            <c:extLst>
              <c:ext xmlns:c16="http://schemas.microsoft.com/office/drawing/2014/chart" uri="{C3380CC4-5D6E-409C-BE32-E72D297353CC}">
                <c16:uniqueId val="{000000BF-2993-41DE-A2CB-63102DE87051}"/>
              </c:ext>
            </c:extLst>
          </c:dPt>
          <c:dPt>
            <c:idx val="95"/>
            <c:invertIfNegative val="1"/>
            <c:bubble3D val="0"/>
            <c:spPr>
              <a:solidFill>
                <a:srgbClr val="AEABAB"/>
              </a:solidFill>
            </c:spPr>
            <c:extLst>
              <c:ext xmlns:c16="http://schemas.microsoft.com/office/drawing/2014/chart" uri="{C3380CC4-5D6E-409C-BE32-E72D297353CC}">
                <c16:uniqueId val="{000000C1-2993-41DE-A2CB-63102DE87051}"/>
              </c:ext>
            </c:extLst>
          </c:dPt>
          <c:dPt>
            <c:idx val="96"/>
            <c:invertIfNegative val="1"/>
            <c:bubble3D val="0"/>
            <c:spPr>
              <a:solidFill>
                <a:srgbClr val="AEABAB"/>
              </a:solidFill>
            </c:spPr>
            <c:extLst>
              <c:ext xmlns:c16="http://schemas.microsoft.com/office/drawing/2014/chart" uri="{C3380CC4-5D6E-409C-BE32-E72D297353CC}">
                <c16:uniqueId val="{000000C3-2993-41DE-A2CB-63102DE87051}"/>
              </c:ext>
            </c:extLst>
          </c:dPt>
          <c:dPt>
            <c:idx val="97"/>
            <c:invertIfNegative val="1"/>
            <c:bubble3D val="0"/>
            <c:spPr>
              <a:solidFill>
                <a:srgbClr val="AEABAB"/>
              </a:solidFill>
            </c:spPr>
            <c:extLst>
              <c:ext xmlns:c16="http://schemas.microsoft.com/office/drawing/2014/chart" uri="{C3380CC4-5D6E-409C-BE32-E72D297353CC}">
                <c16:uniqueId val="{000000C5-2993-41DE-A2CB-63102DE87051}"/>
              </c:ext>
            </c:extLst>
          </c:dPt>
          <c:dPt>
            <c:idx val="98"/>
            <c:invertIfNegative val="1"/>
            <c:bubble3D val="0"/>
            <c:spPr>
              <a:solidFill>
                <a:srgbClr val="AEABAB"/>
              </a:solidFill>
            </c:spPr>
            <c:extLst>
              <c:ext xmlns:c16="http://schemas.microsoft.com/office/drawing/2014/chart" uri="{C3380CC4-5D6E-409C-BE32-E72D297353CC}">
                <c16:uniqueId val="{000000C7-2993-41DE-A2CB-63102DE87051}"/>
              </c:ext>
            </c:extLst>
          </c:dPt>
          <c:dPt>
            <c:idx val="99"/>
            <c:invertIfNegative val="1"/>
            <c:bubble3D val="0"/>
            <c:spPr>
              <a:solidFill>
                <a:srgbClr val="AEABAB"/>
              </a:solidFill>
            </c:spPr>
            <c:extLst>
              <c:ext xmlns:c16="http://schemas.microsoft.com/office/drawing/2014/chart" uri="{C3380CC4-5D6E-409C-BE32-E72D297353CC}">
                <c16:uniqueId val="{000000C9-2993-41DE-A2CB-63102DE87051}"/>
              </c:ext>
            </c:extLst>
          </c:dPt>
          <c:dPt>
            <c:idx val="100"/>
            <c:invertIfNegative val="1"/>
            <c:bubble3D val="0"/>
            <c:spPr>
              <a:solidFill>
                <a:srgbClr val="AEABAB"/>
              </a:solidFill>
            </c:spPr>
            <c:extLst>
              <c:ext xmlns:c16="http://schemas.microsoft.com/office/drawing/2014/chart" uri="{C3380CC4-5D6E-409C-BE32-E72D297353CC}">
                <c16:uniqueId val="{000000CB-2993-41DE-A2CB-63102DE87051}"/>
              </c:ext>
            </c:extLst>
          </c:dPt>
          <c:dPt>
            <c:idx val="101"/>
            <c:invertIfNegative val="1"/>
            <c:bubble3D val="0"/>
            <c:spPr>
              <a:solidFill>
                <a:srgbClr val="AEABAB"/>
              </a:solidFill>
            </c:spPr>
            <c:extLst>
              <c:ext xmlns:c16="http://schemas.microsoft.com/office/drawing/2014/chart" uri="{C3380CC4-5D6E-409C-BE32-E72D297353CC}">
                <c16:uniqueId val="{000000CD-2993-41DE-A2CB-63102DE87051}"/>
              </c:ext>
            </c:extLst>
          </c:dPt>
          <c:dPt>
            <c:idx val="102"/>
            <c:invertIfNegative val="1"/>
            <c:bubble3D val="0"/>
            <c:spPr>
              <a:solidFill>
                <a:srgbClr val="AEABAB"/>
              </a:solidFill>
            </c:spPr>
            <c:extLst>
              <c:ext xmlns:c16="http://schemas.microsoft.com/office/drawing/2014/chart" uri="{C3380CC4-5D6E-409C-BE32-E72D297353CC}">
                <c16:uniqueId val="{000000CF-2993-41DE-A2CB-63102DE87051}"/>
              </c:ext>
            </c:extLst>
          </c:dPt>
          <c:dPt>
            <c:idx val="103"/>
            <c:invertIfNegative val="1"/>
            <c:bubble3D val="0"/>
            <c:spPr>
              <a:solidFill>
                <a:srgbClr val="AEABAB"/>
              </a:solidFill>
            </c:spPr>
            <c:extLst>
              <c:ext xmlns:c16="http://schemas.microsoft.com/office/drawing/2014/chart" uri="{C3380CC4-5D6E-409C-BE32-E72D297353CC}">
                <c16:uniqueId val="{000000D1-2993-41DE-A2CB-63102DE87051}"/>
              </c:ext>
            </c:extLst>
          </c:dPt>
          <c:dPt>
            <c:idx val="104"/>
            <c:invertIfNegative val="1"/>
            <c:bubble3D val="0"/>
            <c:spPr>
              <a:solidFill>
                <a:srgbClr val="AEABAB"/>
              </a:solidFill>
            </c:spPr>
            <c:extLst>
              <c:ext xmlns:c16="http://schemas.microsoft.com/office/drawing/2014/chart" uri="{C3380CC4-5D6E-409C-BE32-E72D297353CC}">
                <c16:uniqueId val="{000000D3-2993-41DE-A2CB-63102DE87051}"/>
              </c:ext>
            </c:extLst>
          </c:dPt>
          <c:dPt>
            <c:idx val="105"/>
            <c:invertIfNegative val="1"/>
            <c:bubble3D val="0"/>
            <c:spPr>
              <a:solidFill>
                <a:srgbClr val="AEABAB"/>
              </a:solidFill>
            </c:spPr>
            <c:extLst>
              <c:ext xmlns:c16="http://schemas.microsoft.com/office/drawing/2014/chart" uri="{C3380CC4-5D6E-409C-BE32-E72D297353CC}">
                <c16:uniqueId val="{000000D5-2993-41DE-A2CB-63102DE87051}"/>
              </c:ext>
            </c:extLst>
          </c:dPt>
          <c:dPt>
            <c:idx val="106"/>
            <c:invertIfNegative val="1"/>
            <c:bubble3D val="0"/>
            <c:spPr>
              <a:solidFill>
                <a:srgbClr val="AEABAB"/>
              </a:solidFill>
            </c:spPr>
            <c:extLst>
              <c:ext xmlns:c16="http://schemas.microsoft.com/office/drawing/2014/chart" uri="{C3380CC4-5D6E-409C-BE32-E72D297353CC}">
                <c16:uniqueId val="{000000D7-2993-41DE-A2CB-63102DE87051}"/>
              </c:ext>
            </c:extLst>
          </c:dPt>
          <c:dPt>
            <c:idx val="107"/>
            <c:invertIfNegative val="1"/>
            <c:bubble3D val="0"/>
            <c:spPr>
              <a:solidFill>
                <a:srgbClr val="AEABAB"/>
              </a:solidFill>
            </c:spPr>
            <c:extLst>
              <c:ext xmlns:c16="http://schemas.microsoft.com/office/drawing/2014/chart" uri="{C3380CC4-5D6E-409C-BE32-E72D297353CC}">
                <c16:uniqueId val="{000000D9-2993-41DE-A2CB-63102DE87051}"/>
              </c:ext>
            </c:extLst>
          </c:dPt>
          <c:dPt>
            <c:idx val="108"/>
            <c:invertIfNegative val="1"/>
            <c:bubble3D val="0"/>
            <c:spPr>
              <a:solidFill>
                <a:srgbClr val="AEABAB"/>
              </a:solidFill>
            </c:spPr>
            <c:extLst>
              <c:ext xmlns:c16="http://schemas.microsoft.com/office/drawing/2014/chart" uri="{C3380CC4-5D6E-409C-BE32-E72D297353CC}">
                <c16:uniqueId val="{000000DB-2993-41DE-A2CB-63102DE87051}"/>
              </c:ext>
            </c:extLst>
          </c:dPt>
          <c:dPt>
            <c:idx val="109"/>
            <c:invertIfNegative val="1"/>
            <c:bubble3D val="0"/>
            <c:spPr>
              <a:solidFill>
                <a:srgbClr val="AEABAB"/>
              </a:solidFill>
            </c:spPr>
            <c:extLst>
              <c:ext xmlns:c16="http://schemas.microsoft.com/office/drawing/2014/chart" uri="{C3380CC4-5D6E-409C-BE32-E72D297353CC}">
                <c16:uniqueId val="{000000DD-2993-41DE-A2CB-63102DE87051}"/>
              </c:ext>
            </c:extLst>
          </c:dPt>
          <c:dPt>
            <c:idx val="110"/>
            <c:invertIfNegative val="1"/>
            <c:bubble3D val="0"/>
            <c:spPr>
              <a:solidFill>
                <a:srgbClr val="AEABAB"/>
              </a:solidFill>
            </c:spPr>
            <c:extLst>
              <c:ext xmlns:c16="http://schemas.microsoft.com/office/drawing/2014/chart" uri="{C3380CC4-5D6E-409C-BE32-E72D297353CC}">
                <c16:uniqueId val="{000000DF-2993-41DE-A2CB-63102DE87051}"/>
              </c:ext>
            </c:extLst>
          </c:dPt>
          <c:dPt>
            <c:idx val="111"/>
            <c:invertIfNegative val="1"/>
            <c:bubble3D val="0"/>
            <c:spPr>
              <a:solidFill>
                <a:srgbClr val="AEABAB"/>
              </a:solidFill>
            </c:spPr>
            <c:extLst>
              <c:ext xmlns:c16="http://schemas.microsoft.com/office/drawing/2014/chart" uri="{C3380CC4-5D6E-409C-BE32-E72D297353CC}">
                <c16:uniqueId val="{000000E1-2993-41DE-A2CB-63102DE87051}"/>
              </c:ext>
            </c:extLst>
          </c:dPt>
          <c:dPt>
            <c:idx val="112"/>
            <c:invertIfNegative val="1"/>
            <c:bubble3D val="0"/>
            <c:spPr>
              <a:solidFill>
                <a:srgbClr val="AEABAB"/>
              </a:solidFill>
            </c:spPr>
            <c:extLst>
              <c:ext xmlns:c16="http://schemas.microsoft.com/office/drawing/2014/chart" uri="{C3380CC4-5D6E-409C-BE32-E72D297353CC}">
                <c16:uniqueId val="{000000E3-2993-41DE-A2CB-63102DE87051}"/>
              </c:ext>
            </c:extLst>
          </c:dPt>
          <c:dPt>
            <c:idx val="113"/>
            <c:invertIfNegative val="1"/>
            <c:bubble3D val="0"/>
            <c:spPr>
              <a:solidFill>
                <a:srgbClr val="AEABAB"/>
              </a:solidFill>
            </c:spPr>
            <c:extLst>
              <c:ext xmlns:c16="http://schemas.microsoft.com/office/drawing/2014/chart" uri="{C3380CC4-5D6E-409C-BE32-E72D297353CC}">
                <c16:uniqueId val="{000000E5-2993-41DE-A2CB-63102DE87051}"/>
              </c:ext>
            </c:extLst>
          </c:dPt>
          <c:dPt>
            <c:idx val="114"/>
            <c:invertIfNegative val="1"/>
            <c:bubble3D val="0"/>
            <c:spPr>
              <a:solidFill>
                <a:srgbClr val="AEABAB"/>
              </a:solidFill>
            </c:spPr>
            <c:extLst>
              <c:ext xmlns:c16="http://schemas.microsoft.com/office/drawing/2014/chart" uri="{C3380CC4-5D6E-409C-BE32-E72D297353CC}">
                <c16:uniqueId val="{000000E7-2993-41DE-A2CB-63102DE87051}"/>
              </c:ext>
            </c:extLst>
          </c:dPt>
          <c:dPt>
            <c:idx val="115"/>
            <c:invertIfNegative val="1"/>
            <c:bubble3D val="0"/>
            <c:spPr>
              <a:solidFill>
                <a:srgbClr val="AEABAB"/>
              </a:solidFill>
            </c:spPr>
            <c:extLst>
              <c:ext xmlns:c16="http://schemas.microsoft.com/office/drawing/2014/chart" uri="{C3380CC4-5D6E-409C-BE32-E72D297353CC}">
                <c16:uniqueId val="{000000E9-2993-41DE-A2CB-63102DE87051}"/>
              </c:ext>
            </c:extLst>
          </c:dPt>
          <c:dPt>
            <c:idx val="116"/>
            <c:invertIfNegative val="1"/>
            <c:bubble3D val="0"/>
            <c:spPr>
              <a:solidFill>
                <a:srgbClr val="AEABAB"/>
              </a:solidFill>
            </c:spPr>
            <c:extLst>
              <c:ext xmlns:c16="http://schemas.microsoft.com/office/drawing/2014/chart" uri="{C3380CC4-5D6E-409C-BE32-E72D297353CC}">
                <c16:uniqueId val="{000000EB-2993-41DE-A2CB-63102DE87051}"/>
              </c:ext>
            </c:extLst>
          </c:dPt>
          <c:dPt>
            <c:idx val="117"/>
            <c:invertIfNegative val="1"/>
            <c:bubble3D val="0"/>
            <c:spPr>
              <a:solidFill>
                <a:srgbClr val="AEABAB"/>
              </a:solidFill>
            </c:spPr>
            <c:extLst>
              <c:ext xmlns:c16="http://schemas.microsoft.com/office/drawing/2014/chart" uri="{C3380CC4-5D6E-409C-BE32-E72D297353CC}">
                <c16:uniqueId val="{000000ED-2993-41DE-A2CB-63102DE87051}"/>
              </c:ext>
            </c:extLst>
          </c:dPt>
          <c:dPt>
            <c:idx val="118"/>
            <c:invertIfNegative val="1"/>
            <c:bubble3D val="0"/>
            <c:spPr>
              <a:solidFill>
                <a:srgbClr val="AEABAB"/>
              </a:solidFill>
            </c:spPr>
            <c:extLst>
              <c:ext xmlns:c16="http://schemas.microsoft.com/office/drawing/2014/chart" uri="{C3380CC4-5D6E-409C-BE32-E72D297353CC}">
                <c16:uniqueId val="{000000EF-2993-41DE-A2CB-63102DE87051}"/>
              </c:ext>
            </c:extLst>
          </c:dPt>
          <c:dPt>
            <c:idx val="119"/>
            <c:invertIfNegative val="1"/>
            <c:bubble3D val="0"/>
            <c:spPr>
              <a:solidFill>
                <a:srgbClr val="AEABAB"/>
              </a:solidFill>
            </c:spPr>
            <c:extLst>
              <c:ext xmlns:c16="http://schemas.microsoft.com/office/drawing/2014/chart" uri="{C3380CC4-5D6E-409C-BE32-E72D297353CC}">
                <c16:uniqueId val="{000000F1-2993-41DE-A2CB-63102DE87051}"/>
              </c:ext>
            </c:extLst>
          </c:dPt>
          <c:dPt>
            <c:idx val="120"/>
            <c:invertIfNegative val="1"/>
            <c:bubble3D val="0"/>
            <c:spPr>
              <a:solidFill>
                <a:srgbClr val="AEABAB"/>
              </a:solidFill>
            </c:spPr>
            <c:extLst>
              <c:ext xmlns:c16="http://schemas.microsoft.com/office/drawing/2014/chart" uri="{C3380CC4-5D6E-409C-BE32-E72D297353CC}">
                <c16:uniqueId val="{000000F3-2993-41DE-A2CB-63102DE87051}"/>
              </c:ext>
            </c:extLst>
          </c:dPt>
          <c:dPt>
            <c:idx val="121"/>
            <c:invertIfNegative val="1"/>
            <c:bubble3D val="0"/>
            <c:spPr>
              <a:solidFill>
                <a:srgbClr val="AEABAB"/>
              </a:solidFill>
            </c:spPr>
            <c:extLst>
              <c:ext xmlns:c16="http://schemas.microsoft.com/office/drawing/2014/chart" uri="{C3380CC4-5D6E-409C-BE32-E72D297353CC}">
                <c16:uniqueId val="{000000F5-2993-41DE-A2CB-63102DE87051}"/>
              </c:ext>
            </c:extLst>
          </c:dPt>
          <c:dPt>
            <c:idx val="122"/>
            <c:invertIfNegative val="1"/>
            <c:bubble3D val="0"/>
            <c:spPr>
              <a:solidFill>
                <a:srgbClr val="AEABAB"/>
              </a:solidFill>
            </c:spPr>
            <c:extLst>
              <c:ext xmlns:c16="http://schemas.microsoft.com/office/drawing/2014/chart" uri="{C3380CC4-5D6E-409C-BE32-E72D297353CC}">
                <c16:uniqueId val="{000000F7-2993-41DE-A2CB-63102DE87051}"/>
              </c:ext>
            </c:extLst>
          </c:dPt>
          <c:dPt>
            <c:idx val="123"/>
            <c:invertIfNegative val="1"/>
            <c:bubble3D val="0"/>
            <c:spPr>
              <a:solidFill>
                <a:srgbClr val="AEABAB"/>
              </a:solidFill>
            </c:spPr>
            <c:extLst>
              <c:ext xmlns:c16="http://schemas.microsoft.com/office/drawing/2014/chart" uri="{C3380CC4-5D6E-409C-BE32-E72D297353CC}">
                <c16:uniqueId val="{000000F9-2993-41DE-A2CB-63102DE87051}"/>
              </c:ext>
            </c:extLst>
          </c:dPt>
          <c:dPt>
            <c:idx val="124"/>
            <c:invertIfNegative val="1"/>
            <c:bubble3D val="0"/>
            <c:spPr>
              <a:solidFill>
                <a:srgbClr val="AEABAB"/>
              </a:solidFill>
            </c:spPr>
            <c:extLst>
              <c:ext xmlns:c16="http://schemas.microsoft.com/office/drawing/2014/chart" uri="{C3380CC4-5D6E-409C-BE32-E72D297353CC}">
                <c16:uniqueId val="{000000FB-2993-41DE-A2CB-63102DE87051}"/>
              </c:ext>
            </c:extLst>
          </c:dPt>
          <c:dPt>
            <c:idx val="125"/>
            <c:invertIfNegative val="1"/>
            <c:bubble3D val="0"/>
            <c:spPr>
              <a:solidFill>
                <a:srgbClr val="AEABAB"/>
              </a:solidFill>
            </c:spPr>
            <c:extLst>
              <c:ext xmlns:c16="http://schemas.microsoft.com/office/drawing/2014/chart" uri="{C3380CC4-5D6E-409C-BE32-E72D297353CC}">
                <c16:uniqueId val="{000000FD-2993-41DE-A2CB-63102DE87051}"/>
              </c:ext>
            </c:extLst>
          </c:dPt>
          <c:dPt>
            <c:idx val="126"/>
            <c:invertIfNegative val="1"/>
            <c:bubble3D val="0"/>
            <c:spPr>
              <a:solidFill>
                <a:srgbClr val="AEABAB"/>
              </a:solidFill>
            </c:spPr>
            <c:extLst>
              <c:ext xmlns:c16="http://schemas.microsoft.com/office/drawing/2014/chart" uri="{C3380CC4-5D6E-409C-BE32-E72D297353CC}">
                <c16:uniqueId val="{000000FF-2993-41DE-A2CB-63102DE87051}"/>
              </c:ext>
            </c:extLst>
          </c:dPt>
          <c:dPt>
            <c:idx val="127"/>
            <c:invertIfNegative val="1"/>
            <c:bubble3D val="0"/>
            <c:spPr>
              <a:solidFill>
                <a:srgbClr val="AEABAB"/>
              </a:solidFill>
            </c:spPr>
            <c:extLst>
              <c:ext xmlns:c16="http://schemas.microsoft.com/office/drawing/2014/chart" uri="{C3380CC4-5D6E-409C-BE32-E72D297353CC}">
                <c16:uniqueId val="{00000101-2993-41DE-A2CB-63102DE87051}"/>
              </c:ext>
            </c:extLst>
          </c:dPt>
          <c:dPt>
            <c:idx val="128"/>
            <c:invertIfNegative val="1"/>
            <c:bubble3D val="0"/>
            <c:spPr>
              <a:solidFill>
                <a:srgbClr val="AEABAB"/>
              </a:solidFill>
            </c:spPr>
            <c:extLst>
              <c:ext xmlns:c16="http://schemas.microsoft.com/office/drawing/2014/chart" uri="{C3380CC4-5D6E-409C-BE32-E72D297353CC}">
                <c16:uniqueId val="{00000103-2993-41DE-A2CB-63102DE87051}"/>
              </c:ext>
            </c:extLst>
          </c:dPt>
          <c:dPt>
            <c:idx val="129"/>
            <c:invertIfNegative val="1"/>
            <c:bubble3D val="0"/>
            <c:spPr>
              <a:solidFill>
                <a:srgbClr val="AEABAB"/>
              </a:solidFill>
            </c:spPr>
            <c:extLst>
              <c:ext xmlns:c16="http://schemas.microsoft.com/office/drawing/2014/chart" uri="{C3380CC4-5D6E-409C-BE32-E72D297353CC}">
                <c16:uniqueId val="{00000105-2993-41DE-A2CB-63102DE87051}"/>
              </c:ext>
            </c:extLst>
          </c:dPt>
          <c:dPt>
            <c:idx val="130"/>
            <c:invertIfNegative val="1"/>
            <c:bubble3D val="0"/>
            <c:spPr>
              <a:solidFill>
                <a:srgbClr val="AEABAB"/>
              </a:solidFill>
            </c:spPr>
            <c:extLst>
              <c:ext xmlns:c16="http://schemas.microsoft.com/office/drawing/2014/chart" uri="{C3380CC4-5D6E-409C-BE32-E72D297353CC}">
                <c16:uniqueId val="{00000107-2993-41DE-A2CB-63102DE87051}"/>
              </c:ext>
            </c:extLst>
          </c:dPt>
          <c:dPt>
            <c:idx val="131"/>
            <c:invertIfNegative val="1"/>
            <c:bubble3D val="0"/>
            <c:spPr>
              <a:solidFill>
                <a:srgbClr val="AEABAB"/>
              </a:solidFill>
            </c:spPr>
            <c:extLst>
              <c:ext xmlns:c16="http://schemas.microsoft.com/office/drawing/2014/chart" uri="{C3380CC4-5D6E-409C-BE32-E72D297353CC}">
                <c16:uniqueId val="{00000109-2993-41DE-A2CB-63102DE87051}"/>
              </c:ext>
            </c:extLst>
          </c:dPt>
          <c:dPt>
            <c:idx val="132"/>
            <c:invertIfNegative val="1"/>
            <c:bubble3D val="0"/>
            <c:spPr>
              <a:solidFill>
                <a:srgbClr val="AEABAB"/>
              </a:solidFill>
            </c:spPr>
            <c:extLst>
              <c:ext xmlns:c16="http://schemas.microsoft.com/office/drawing/2014/chart" uri="{C3380CC4-5D6E-409C-BE32-E72D297353CC}">
                <c16:uniqueId val="{0000010B-2993-41DE-A2CB-63102DE87051}"/>
              </c:ext>
            </c:extLst>
          </c:dPt>
          <c:dPt>
            <c:idx val="133"/>
            <c:invertIfNegative val="1"/>
            <c:bubble3D val="0"/>
            <c:spPr>
              <a:solidFill>
                <a:srgbClr val="AEABAB"/>
              </a:solidFill>
            </c:spPr>
            <c:extLst>
              <c:ext xmlns:c16="http://schemas.microsoft.com/office/drawing/2014/chart" uri="{C3380CC4-5D6E-409C-BE32-E72D297353CC}">
                <c16:uniqueId val="{0000010D-2993-41DE-A2CB-63102DE87051}"/>
              </c:ext>
            </c:extLst>
          </c:dPt>
          <c:dPt>
            <c:idx val="134"/>
            <c:invertIfNegative val="1"/>
            <c:bubble3D val="0"/>
            <c:spPr>
              <a:solidFill>
                <a:srgbClr val="AEABAB"/>
              </a:solidFill>
            </c:spPr>
            <c:extLst>
              <c:ext xmlns:c16="http://schemas.microsoft.com/office/drawing/2014/chart" uri="{C3380CC4-5D6E-409C-BE32-E72D297353CC}">
                <c16:uniqueId val="{0000010F-2993-41DE-A2CB-63102DE87051}"/>
              </c:ext>
            </c:extLst>
          </c:dPt>
          <c:dPt>
            <c:idx val="135"/>
            <c:invertIfNegative val="1"/>
            <c:bubble3D val="0"/>
            <c:spPr>
              <a:solidFill>
                <a:srgbClr val="AEABAB"/>
              </a:solidFill>
            </c:spPr>
            <c:extLst>
              <c:ext xmlns:c16="http://schemas.microsoft.com/office/drawing/2014/chart" uri="{C3380CC4-5D6E-409C-BE32-E72D297353CC}">
                <c16:uniqueId val="{00000111-2993-41DE-A2CB-63102DE87051}"/>
              </c:ext>
            </c:extLst>
          </c:dPt>
          <c:dPt>
            <c:idx val="136"/>
            <c:invertIfNegative val="1"/>
            <c:bubble3D val="0"/>
            <c:spPr>
              <a:solidFill>
                <a:srgbClr val="AEABAB"/>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138</c:f>
              <c:strCache>
                <c:ptCount val="137"/>
                <c:pt idx="0">
                  <c:v>Private Lab</c:v>
                </c:pt>
                <c:pt idx="1">
                  <c:v>President</c:v>
                </c:pt>
                <c:pt idx="2">
                  <c:v>Private Lab</c:v>
                </c:pt>
                <c:pt idx="3">
                  <c:v>President</c:v>
                </c:pt>
                <c:pt idx="4">
                  <c:v>La Vache Qu</c:v>
                </c:pt>
                <c:pt idx="5">
                  <c:v>La Vache Qu</c:v>
                </c:pt>
                <c:pt idx="6">
                  <c:v>Private Lab</c:v>
                </c:pt>
                <c:pt idx="7">
                  <c:v>Private Lab</c:v>
                </c:pt>
                <c:pt idx="8">
                  <c:v>President</c:v>
                </c:pt>
                <c:pt idx="9">
                  <c:v>Private Lab</c:v>
                </c:pt>
                <c:pt idx="10">
                  <c:v>President</c:v>
                </c:pt>
                <c:pt idx="11">
                  <c:v>Private Lab</c:v>
                </c:pt>
                <c:pt idx="12">
                  <c:v>Private Lab</c:v>
                </c:pt>
                <c:pt idx="13">
                  <c:v>Boursin</c:v>
                </c:pt>
                <c:pt idx="14">
                  <c:v>Private Lab</c:v>
                </c:pt>
                <c:pt idx="15">
                  <c:v>President</c:v>
                </c:pt>
                <c:pt idx="16">
                  <c:v>President</c:v>
                </c:pt>
                <c:pt idx="17">
                  <c:v>La Belle Et</c:v>
                </c:pt>
                <c:pt idx="18">
                  <c:v>La Belle Et</c:v>
                </c:pt>
                <c:pt idx="19">
                  <c:v>Leerdammer</c:v>
                </c:pt>
                <c:pt idx="20">
                  <c:v>La Belle Et</c:v>
                </c:pt>
                <c:pt idx="21">
                  <c:v>Private Lab</c:v>
                </c:pt>
                <c:pt idx="22">
                  <c:v>Leerdammer</c:v>
                </c:pt>
                <c:pt idx="23">
                  <c:v>All Others</c:v>
                </c:pt>
                <c:pt idx="24">
                  <c:v>All Others</c:v>
                </c:pt>
                <c:pt idx="25">
                  <c:v>La Belle Et</c:v>
                </c:pt>
                <c:pt idx="26">
                  <c:v>Fauquet</c:v>
                </c:pt>
                <c:pt idx="27">
                  <c:v>All Others</c:v>
                </c:pt>
                <c:pt idx="28">
                  <c:v>La Vache Qu</c:v>
                </c:pt>
                <c:pt idx="29">
                  <c:v>La Vache Qu</c:v>
                </c:pt>
                <c:pt idx="30">
                  <c:v>La Vache Qu</c:v>
                </c:pt>
                <c:pt idx="31">
                  <c:v>Raguin</c:v>
                </c:pt>
                <c:pt idx="32">
                  <c:v>Raguin</c:v>
                </c:pt>
                <c:pt idx="33">
                  <c:v>Raguin</c:v>
                </c:pt>
                <c:pt idx="34">
                  <c:v>La Belle Et</c:v>
                </c:pt>
                <c:pt idx="35">
                  <c:v>All Others</c:v>
                </c:pt>
                <c:pt idx="36">
                  <c:v>Milleret: A</c:v>
                </c:pt>
                <c:pt idx="37">
                  <c:v>Milleret: A</c:v>
                </c:pt>
                <c:pt idx="38">
                  <c:v>All Others</c:v>
                </c:pt>
                <c:pt idx="39">
                  <c:v>Raguin</c:v>
                </c:pt>
                <c:pt idx="40">
                  <c:v>La Belle Et</c:v>
                </c:pt>
                <c:pt idx="41">
                  <c:v>Milleret: A</c:v>
                </c:pt>
                <c:pt idx="42">
                  <c:v>La Belle Et</c:v>
                </c:pt>
                <c:pt idx="43">
                  <c:v>All Others</c:v>
                </c:pt>
                <c:pt idx="44">
                  <c:v>All Others</c:v>
                </c:pt>
                <c:pt idx="45">
                  <c:v>La Belle Et</c:v>
                </c:pt>
                <c:pt idx="46">
                  <c:v>All Others</c:v>
                </c:pt>
                <c:pt idx="47">
                  <c:v>La Belle Et</c:v>
                </c:pt>
                <c:pt idx="48">
                  <c:v>La Belle Et</c:v>
                </c:pt>
                <c:pt idx="49">
                  <c:v>Milleret: A</c:v>
                </c:pt>
                <c:pt idx="50">
                  <c:v>All Others</c:v>
                </c:pt>
                <c:pt idx="51">
                  <c:v>La Belle Et</c:v>
                </c:pt>
                <c:pt idx="52">
                  <c:v>All Others</c:v>
                </c:pt>
                <c:pt idx="53">
                  <c:v>La Belle Et</c:v>
                </c:pt>
                <c:pt idx="54">
                  <c:v>All Others</c:v>
                </c:pt>
                <c:pt idx="55">
                  <c:v>La Belle Et</c:v>
                </c:pt>
                <c:pt idx="56">
                  <c:v>All Others</c:v>
                </c:pt>
                <c:pt idx="57">
                  <c:v>Milleret: A</c:v>
                </c:pt>
                <c:pt idx="58">
                  <c:v>Milleret: A</c:v>
                </c:pt>
                <c:pt idx="59">
                  <c:v>Raguin</c:v>
                </c:pt>
                <c:pt idx="60">
                  <c:v>La Belle Et</c:v>
                </c:pt>
                <c:pt idx="61">
                  <c:v>La Belle Et</c:v>
                </c:pt>
                <c:pt idx="62">
                  <c:v>President</c:v>
                </c:pt>
                <c:pt idx="63">
                  <c:v>La Belle Et</c:v>
                </c:pt>
                <c:pt idx="64">
                  <c:v>Richesmonts</c:v>
                </c:pt>
                <c:pt idx="65">
                  <c:v>Milleret: A</c:v>
                </c:pt>
                <c:pt idx="66">
                  <c:v>La Belle Et</c:v>
                </c:pt>
                <c:pt idx="67">
                  <c:v>Raguin</c:v>
                </c:pt>
                <c:pt idx="68">
                  <c:v>Raguin</c:v>
                </c:pt>
                <c:pt idx="69">
                  <c:v>All Others</c:v>
                </c:pt>
                <c:pt idx="70">
                  <c:v>Richesmonts</c:v>
                </c:pt>
                <c:pt idx="71">
                  <c:v>La Belle Et</c:v>
                </c:pt>
                <c:pt idx="72">
                  <c:v>All Others</c:v>
                </c:pt>
                <c:pt idx="73">
                  <c:v>All Others</c:v>
                </c:pt>
                <c:pt idx="74">
                  <c:v>Raguin</c:v>
                </c:pt>
                <c:pt idx="75">
                  <c:v>La Belle Et</c:v>
                </c:pt>
                <c:pt idx="76">
                  <c:v>Raguin</c:v>
                </c:pt>
                <c:pt idx="77">
                  <c:v>La Belle Et</c:v>
                </c:pt>
                <c:pt idx="78">
                  <c:v>All Others</c:v>
                </c:pt>
                <c:pt idx="79">
                  <c:v>All Others</c:v>
                </c:pt>
                <c:pt idx="80">
                  <c:v>All Others</c:v>
                </c:pt>
                <c:pt idx="81">
                  <c:v>Raguin</c:v>
                </c:pt>
                <c:pt idx="82">
                  <c:v>Raguin</c:v>
                </c:pt>
                <c:pt idx="83">
                  <c:v>All Others</c:v>
                </c:pt>
                <c:pt idx="84">
                  <c:v>Raguin</c:v>
                </c:pt>
                <c:pt idx="85">
                  <c:v>All Others</c:v>
                </c:pt>
                <c:pt idx="86">
                  <c:v>Raguin</c:v>
                </c:pt>
                <c:pt idx="87">
                  <c:v>All Others</c:v>
                </c:pt>
                <c:pt idx="88">
                  <c:v>Raguin</c:v>
                </c:pt>
                <c:pt idx="89">
                  <c:v>Raguin</c:v>
                </c:pt>
                <c:pt idx="90">
                  <c:v>All Others</c:v>
                </c:pt>
                <c:pt idx="91">
                  <c:v>All Others</c:v>
                </c:pt>
                <c:pt idx="92">
                  <c:v>All Others</c:v>
                </c:pt>
                <c:pt idx="93">
                  <c:v>All Others</c:v>
                </c:pt>
                <c:pt idx="94">
                  <c:v>Raguin</c:v>
                </c:pt>
                <c:pt idx="95">
                  <c:v>All Others</c:v>
                </c:pt>
                <c:pt idx="96">
                  <c:v>All Others</c:v>
                </c:pt>
                <c:pt idx="97">
                  <c:v>All Others</c:v>
                </c:pt>
                <c:pt idx="98">
                  <c:v>Raguin</c:v>
                </c:pt>
                <c:pt idx="99">
                  <c:v>All Others</c:v>
                </c:pt>
                <c:pt idx="100">
                  <c:v>Raguin</c:v>
                </c:pt>
                <c:pt idx="101">
                  <c:v>Raguin</c:v>
                </c:pt>
                <c:pt idx="102">
                  <c:v>All Others</c:v>
                </c:pt>
                <c:pt idx="103">
                  <c:v>Raguin</c:v>
                </c:pt>
                <c:pt idx="104">
                  <c:v>All Others</c:v>
                </c:pt>
                <c:pt idx="105">
                  <c:v>All Others</c:v>
                </c:pt>
                <c:pt idx="106">
                  <c:v>All Others</c:v>
                </c:pt>
                <c:pt idx="107">
                  <c:v>All Others</c:v>
                </c:pt>
                <c:pt idx="108">
                  <c:v>All Others</c:v>
                </c:pt>
                <c:pt idx="109">
                  <c:v>All Others</c:v>
                </c:pt>
                <c:pt idx="110">
                  <c:v>President</c:v>
                </c:pt>
                <c:pt idx="111">
                  <c:v>All Others</c:v>
                </c:pt>
                <c:pt idx="112">
                  <c:v>All Others</c:v>
                </c:pt>
                <c:pt idx="113">
                  <c:v>All Others</c:v>
                </c:pt>
                <c:pt idx="114">
                  <c:v>All Others</c:v>
                </c:pt>
                <c:pt idx="115">
                  <c:v>All Others</c:v>
                </c:pt>
                <c:pt idx="116">
                  <c:v>All Others</c:v>
                </c:pt>
                <c:pt idx="117">
                  <c:v>All Others</c:v>
                </c:pt>
                <c:pt idx="118">
                  <c:v>All Others</c:v>
                </c:pt>
                <c:pt idx="119">
                  <c:v>All Others</c:v>
                </c:pt>
                <c:pt idx="120">
                  <c:v>All Others</c:v>
                </c:pt>
                <c:pt idx="121">
                  <c:v>All Others</c:v>
                </c:pt>
                <c:pt idx="122">
                  <c:v>All Others</c:v>
                </c:pt>
                <c:pt idx="123">
                  <c:v>All Others</c:v>
                </c:pt>
                <c:pt idx="124">
                  <c:v>All Others</c:v>
                </c:pt>
                <c:pt idx="125">
                  <c:v>Private Lab</c:v>
                </c:pt>
                <c:pt idx="126">
                  <c:v>All Others</c:v>
                </c:pt>
                <c:pt idx="127">
                  <c:v>All Others</c:v>
                </c:pt>
                <c:pt idx="128">
                  <c:v>All Others</c:v>
                </c:pt>
                <c:pt idx="129">
                  <c:v>All Others</c:v>
                </c:pt>
                <c:pt idx="130">
                  <c:v>All Others</c:v>
                </c:pt>
                <c:pt idx="131">
                  <c:v>All Others</c:v>
                </c:pt>
                <c:pt idx="132">
                  <c:v>All Others</c:v>
                </c:pt>
                <c:pt idx="133">
                  <c:v>All Others</c:v>
                </c:pt>
                <c:pt idx="134">
                  <c:v>All Others</c:v>
                </c:pt>
                <c:pt idx="135">
                  <c:v>All Others</c:v>
                </c:pt>
                <c:pt idx="136">
                  <c:v>All Others</c:v>
                </c:pt>
              </c:strCache>
            </c:strRef>
          </c:cat>
          <c:val>
            <c:numRef>
              <c:f>Sheet1!$C$2:$C$138</c:f>
              <c:numCache>
                <c:formatCode>General</c:formatCode>
                <c:ptCount val="137"/>
                <c:pt idx="0">
                  <c:v>0.10096305806176739</c:v>
                </c:pt>
                <c:pt idx="1">
                  <c:v>0.19789207355104466</c:v>
                </c:pt>
                <c:pt idx="2">
                  <c:v>0.2881460600057219</c:v>
                </c:pt>
                <c:pt idx="3">
                  <c:v>0.35778135469100747</c:v>
                </c:pt>
                <c:pt idx="4">
                  <c:v>0.413015941283529</c:v>
                </c:pt>
                <c:pt idx="5">
                  <c:v>0.4678839341627925</c:v>
                </c:pt>
                <c:pt idx="6">
                  <c:v>0.5197585822926669</c:v>
                </c:pt>
                <c:pt idx="7">
                  <c:v>0.568173643978043</c:v>
                </c:pt>
                <c:pt idx="8">
                  <c:v>0.615815205526167</c:v>
                </c:pt>
                <c:pt idx="9">
                  <c:v>0.6550278831682211</c:v>
                </c:pt>
                <c:pt idx="10">
                  <c:v>0.686680415820572</c:v>
                </c:pt>
                <c:pt idx="11">
                  <c:v>0.7182165455206719</c:v>
                </c:pt>
                <c:pt idx="12">
                  <c:v>0.7449305191533876</c:v>
                </c:pt>
                <c:pt idx="13">
                  <c:v>0.7691897006567066</c:v>
                </c:pt>
                <c:pt idx="14">
                  <c:v>0.7904798510142992</c:v>
                </c:pt>
                <c:pt idx="15">
                  <c:v>0.805414954478761</c:v>
                </c:pt>
                <c:pt idx="16">
                  <c:v>0.818665868474994</c:v>
                </c:pt>
                <c:pt idx="17">
                  <c:v>0.8309321445114937</c:v>
                </c:pt>
                <c:pt idx="18">
                  <c:v>0.8423421533765107</c:v>
                </c:pt>
                <c:pt idx="19">
                  <c:v>0.8535182225420364</c:v>
                </c:pt>
                <c:pt idx="20">
                  <c:v>0.8623091649814063</c:v>
                </c:pt>
                <c:pt idx="21">
                  <c:v>0.871049968486798</c:v>
                </c:pt>
                <c:pt idx="22">
                  <c:v>0.8785808867612175</c:v>
                </c:pt>
                <c:pt idx="23">
                  <c:v>0.8857782173542943</c:v>
                </c:pt>
                <c:pt idx="24">
                  <c:v>0.8928703569677937</c:v>
                </c:pt>
                <c:pt idx="25">
                  <c:v>0.8999622446268509</c:v>
                </c:pt>
                <c:pt idx="26">
                  <c:v>0.906005497897881</c:v>
                </c:pt>
                <c:pt idx="27">
                  <c:v>0.9117013059932528</c:v>
                </c:pt>
                <c:pt idx="28">
                  <c:v>0.9167764243205071</c:v>
                </c:pt>
                <c:pt idx="29">
                  <c:v>0.9202016189836585</c:v>
                </c:pt>
                <c:pt idx="30">
                  <c:v>0.9233467662844138</c:v>
                </c:pt>
                <c:pt idx="31">
                  <c:v>0.9263617791158236</c:v>
                </c:pt>
                <c:pt idx="32">
                  <c:v>0.9293649500884547</c:v>
                </c:pt>
                <c:pt idx="33">
                  <c:v>0.9322606624915294</c:v>
                </c:pt>
                <c:pt idx="34">
                  <c:v>0.9351124088444573</c:v>
                </c:pt>
                <c:pt idx="35">
                  <c:v>0.9378225568009242</c:v>
                </c:pt>
                <c:pt idx="36">
                  <c:v>0.9404716058051813</c:v>
                </c:pt>
                <c:pt idx="37">
                  <c:v>0.9430531310189552</c:v>
                </c:pt>
                <c:pt idx="38">
                  <c:v>0.9454652168704156</c:v>
                </c:pt>
                <c:pt idx="39">
                  <c:v>0.9478444226671818</c:v>
                </c:pt>
                <c:pt idx="40">
                  <c:v>0.9499011267780579</c:v>
                </c:pt>
                <c:pt idx="41">
                  <c:v>0.9518808588068719</c:v>
                </c:pt>
                <c:pt idx="42">
                  <c:v>0.9537349915462983</c:v>
                </c:pt>
                <c:pt idx="43">
                  <c:v>0.9555732511558722</c:v>
                </c:pt>
                <c:pt idx="44">
                  <c:v>0.9573924882050675</c:v>
                </c:pt>
                <c:pt idx="45">
                  <c:v>0.9592037886893365</c:v>
                </c:pt>
                <c:pt idx="46">
                  <c:v>0.9609921613193743</c:v>
                </c:pt>
                <c:pt idx="47">
                  <c:v>0.962738457557581</c:v>
                </c:pt>
                <c:pt idx="48">
                  <c:v>0.9644664870987355</c:v>
                </c:pt>
                <c:pt idx="49">
                  <c:v>0.9661567234735747</c:v>
                </c:pt>
                <c:pt idx="50">
                  <c:v>0.9677444143904785</c:v>
                </c:pt>
                <c:pt idx="51">
                  <c:v>0.9692441732070889</c:v>
                </c:pt>
                <c:pt idx="52">
                  <c:v>0.9706825811170474</c:v>
                </c:pt>
                <c:pt idx="53">
                  <c:v>0.9720032003253234</c:v>
                </c:pt>
                <c:pt idx="54">
                  <c:v>0.973253524244253</c:v>
                </c:pt>
                <c:pt idx="55">
                  <c:v>0.9744428751881941</c:v>
                </c:pt>
                <c:pt idx="56">
                  <c:v>0.9756198803644721</c:v>
                </c:pt>
                <c:pt idx="57">
                  <c:v>0.9767745875726241</c:v>
                </c:pt>
                <c:pt idx="58">
                  <c:v>0.9778430003843563</c:v>
                </c:pt>
                <c:pt idx="59">
                  <c:v>0.9788375905445528</c:v>
                </c:pt>
                <c:pt idx="60">
                  <c:v>0.9797763727958236</c:v>
                </c:pt>
                <c:pt idx="61">
                  <c:v>0.980688951785116</c:v>
                </c:pt>
                <c:pt idx="62">
                  <c:v>0.9815357706650197</c:v>
                </c:pt>
                <c:pt idx="63">
                  <c:v>0.9823522290346502</c:v>
                </c:pt>
                <c:pt idx="64">
                  <c:v>0.9831613807254598</c:v>
                </c:pt>
                <c:pt idx="65">
                  <c:v>0.983957178830838</c:v>
                </c:pt>
                <c:pt idx="66">
                  <c:v>0.9847369778291427</c:v>
                </c:pt>
                <c:pt idx="67">
                  <c:v>0.985493219087111</c:v>
                </c:pt>
                <c:pt idx="68">
                  <c:v>0.9862151945409533</c:v>
                </c:pt>
                <c:pt idx="69">
                  <c:v>0.9868798503592175</c:v>
                </c:pt>
                <c:pt idx="70">
                  <c:v>0.9875010440362193</c:v>
                </c:pt>
                <c:pt idx="71">
                  <c:v>0.988119592191579</c:v>
                </c:pt>
                <c:pt idx="72">
                  <c:v>0.9887011030439496</c:v>
                </c:pt>
                <c:pt idx="73">
                  <c:v>0.9892729136502995</c:v>
                </c:pt>
                <c:pt idx="74">
                  <c:v>0.9898347720561862</c:v>
                </c:pt>
                <c:pt idx="75">
                  <c:v>0.9903444758925579</c:v>
                </c:pt>
                <c:pt idx="76">
                  <c:v>0.9908482587995402</c:v>
                </c:pt>
                <c:pt idx="77">
                  <c:v>0.9913463727315752</c:v>
                </c:pt>
                <c:pt idx="78">
                  <c:v>0.9918379358481156</c:v>
                </c:pt>
                <c:pt idx="79">
                  <c:v>0.9922913278666776</c:v>
                </c:pt>
                <c:pt idx="80">
                  <c:v>0.9926548981266303</c:v>
                </c:pt>
                <c:pt idx="81">
                  <c:v>0.9929868481040993</c:v>
                </c:pt>
                <c:pt idx="82">
                  <c:v>0.9933049405872527</c:v>
                </c:pt>
                <c:pt idx="83">
                  <c:v>0.9936184978904483</c:v>
                </c:pt>
                <c:pt idx="84">
                  <c:v>0.9939252524237071</c:v>
                </c:pt>
                <c:pt idx="85">
                  <c:v>0.9942277237314502</c:v>
                </c:pt>
                <c:pt idx="86">
                  <c:v>0.9945213766337198</c:v>
                </c:pt>
                <c:pt idx="87">
                  <c:v>0.9947960069756105</c:v>
                </c:pt>
                <c:pt idx="88">
                  <c:v>0.9950514887799017</c:v>
                </c:pt>
                <c:pt idx="89">
                  <c:v>0.995285176524951</c:v>
                </c:pt>
                <c:pt idx="90">
                  <c:v>0.9955178564522319</c:v>
                </c:pt>
                <c:pt idx="91">
                  <c:v>0.9957451193590077</c:v>
                </c:pt>
                <c:pt idx="92">
                  <c:v>0.9959712484707939</c:v>
                </c:pt>
                <c:pt idx="93">
                  <c:v>0.9961938502203908</c:v>
                </c:pt>
                <c:pt idx="94">
                  <c:v>0.9964146882888929</c:v>
                </c:pt>
                <c:pt idx="95">
                  <c:v>0.9966342665851845</c:v>
                </c:pt>
                <c:pt idx="96">
                  <c:v>0.9970269375831999</c:v>
                </c:pt>
                <c:pt idx="97">
                  <c:v>0.9972159034147762</c:v>
                </c:pt>
                <c:pt idx="98">
                  <c:v>0.9973900039342685</c:v>
                </c:pt>
                <c:pt idx="99">
                  <c:v>0.9975632226132134</c:v>
                </c:pt>
                <c:pt idx="100">
                  <c:v>0.9977332918616321</c:v>
                </c:pt>
                <c:pt idx="101">
                  <c:v>0.9979019753606192</c:v>
                </c:pt>
                <c:pt idx="102">
                  <c:v>0.9980527700942171</c:v>
                </c:pt>
                <c:pt idx="103">
                  <c:v>0.9982006673517309</c:v>
                </c:pt>
                <c:pt idx="104">
                  <c:v>0.9983479347231393</c:v>
                </c:pt>
                <c:pt idx="105">
                  <c:v>0.9984576608826746</c:v>
                </c:pt>
                <c:pt idx="106">
                  <c:v>0.9985643635889047</c:v>
                </c:pt>
                <c:pt idx="107">
                  <c:v>0.9986701844545873</c:v>
                </c:pt>
                <c:pt idx="108">
                  <c:v>0.9987576126459966</c:v>
                </c:pt>
                <c:pt idx="109">
                  <c:v>0.9988446629057427</c:v>
                </c:pt>
                <c:pt idx="110">
                  <c:v>0.9989312092566046</c:v>
                </c:pt>
                <c:pt idx="111">
                  <c:v>0.9990866651473813</c:v>
                </c:pt>
                <c:pt idx="112">
                  <c:v>0.9991621255027908</c:v>
                </c:pt>
                <c:pt idx="113">
                  <c:v>0.9992291453843899</c:v>
                </c:pt>
                <c:pt idx="114">
                  <c:v>0.9992899923821574</c:v>
                </c:pt>
                <c:pt idx="115">
                  <c:v>0.9993451704049777</c:v>
                </c:pt>
                <c:pt idx="116">
                  <c:v>0.9994376376852291</c:v>
                </c:pt>
                <c:pt idx="117">
                  <c:v>0.9994751788971022</c:v>
                </c:pt>
                <c:pt idx="118">
                  <c:v>0.999511838268428</c:v>
                </c:pt>
                <c:pt idx="119">
                  <c:v>0.9995472378675433</c:v>
                </c:pt>
                <c:pt idx="120">
                  <c:v>0.9995813776944481</c:v>
                </c:pt>
                <c:pt idx="121">
                  <c:v>0.9996472637810576</c:v>
                </c:pt>
                <c:pt idx="122">
                  <c:v>0.9996777502685519</c:v>
                </c:pt>
                <c:pt idx="123">
                  <c:v>0.9997081107788252</c:v>
                </c:pt>
                <c:pt idx="124">
                  <c:v>0.999762155006656</c:v>
                </c:pt>
                <c:pt idx="125">
                  <c:v>0.9997830672253505</c:v>
                </c:pt>
                <c:pt idx="126">
                  <c:v>0.9998038534668239</c:v>
                </c:pt>
                <c:pt idx="127">
                  <c:v>0.9998397569748234</c:v>
                </c:pt>
                <c:pt idx="128">
                  <c:v>0.9998556301046758</c:v>
                </c:pt>
                <c:pt idx="129">
                  <c:v>0.9999100522641698</c:v>
                </c:pt>
                <c:pt idx="130">
                  <c:v>0.9999218941229486</c:v>
                </c:pt>
                <c:pt idx="131">
                  <c:v>0.9999441920910747</c:v>
                </c:pt>
                <c:pt idx="132">
                  <c:v>0.9999579236081693</c:v>
                </c:pt>
                <c:pt idx="133">
                  <c:v>0.9999730408746954</c:v>
                </c:pt>
                <c:pt idx="134">
                  <c:v>0.9999921894122952</c:v>
                </c:pt>
                <c:pt idx="135">
                  <c:v>0.9999947089567162</c:v>
                </c:pt>
                <c:pt idx="136">
                  <c:v>1.0000000000000002</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59</c:f>
              <c:strCache>
                <c:ptCount val="58"/>
                <c:pt idx="0">
                  <c:v>Private Lab</c:v>
                </c:pt>
                <c:pt idx="1">
                  <c:v>Private Lab</c:v>
                </c:pt>
                <c:pt idx="2">
                  <c:v>President</c:v>
                </c:pt>
                <c:pt idx="3">
                  <c:v>Private Lab</c:v>
                </c:pt>
                <c:pt idx="4">
                  <c:v>La Vache Qu</c:v>
                </c:pt>
                <c:pt idx="5">
                  <c:v>Private Lab</c:v>
                </c:pt>
                <c:pt idx="6">
                  <c:v>La Vache Qu</c:v>
                </c:pt>
                <c:pt idx="7">
                  <c:v>Private Lab</c:v>
                </c:pt>
                <c:pt idx="8">
                  <c:v>President</c:v>
                </c:pt>
                <c:pt idx="9">
                  <c:v>President</c:v>
                </c:pt>
                <c:pt idx="10">
                  <c:v>Private Lab</c:v>
                </c:pt>
                <c:pt idx="11">
                  <c:v>President</c:v>
                </c:pt>
                <c:pt idx="12">
                  <c:v>Boursin</c:v>
                </c:pt>
                <c:pt idx="13">
                  <c:v>Private Lab</c:v>
                </c:pt>
                <c:pt idx="14">
                  <c:v>Private Lab</c:v>
                </c:pt>
                <c:pt idx="15">
                  <c:v>Fauquet</c:v>
                </c:pt>
                <c:pt idx="16">
                  <c:v>La Belle Et</c:v>
                </c:pt>
                <c:pt idx="17">
                  <c:v>La Belle Et</c:v>
                </c:pt>
                <c:pt idx="18">
                  <c:v>All Others</c:v>
                </c:pt>
                <c:pt idx="19">
                  <c:v>All Others</c:v>
                </c:pt>
                <c:pt idx="20">
                  <c:v>All Others</c:v>
                </c:pt>
                <c:pt idx="21">
                  <c:v>La Belle Et</c:v>
                </c:pt>
                <c:pt idx="22">
                  <c:v>La Belle Et</c:v>
                </c:pt>
                <c:pt idx="23">
                  <c:v>All Others</c:v>
                </c:pt>
                <c:pt idx="24">
                  <c:v>La Belle Et</c:v>
                </c:pt>
                <c:pt idx="25">
                  <c:v>All Others</c:v>
                </c:pt>
                <c:pt idx="26">
                  <c:v>Raguin</c:v>
                </c:pt>
                <c:pt idx="27">
                  <c:v>Raguin</c:v>
                </c:pt>
                <c:pt idx="28">
                  <c:v>La Belle Et</c:v>
                </c:pt>
                <c:pt idx="29">
                  <c:v>La Belle Et</c:v>
                </c:pt>
                <c:pt idx="30">
                  <c:v>La Belle Et</c:v>
                </c:pt>
                <c:pt idx="31">
                  <c:v>All Others</c:v>
                </c:pt>
                <c:pt idx="32">
                  <c:v>La Belle Et</c:v>
                </c:pt>
                <c:pt idx="33">
                  <c:v>La Belle Et</c:v>
                </c:pt>
                <c:pt idx="34">
                  <c:v>La Belle Et</c:v>
                </c:pt>
                <c:pt idx="35">
                  <c:v>La Belle Et</c:v>
                </c:pt>
                <c:pt idx="36">
                  <c:v>Raguin</c:v>
                </c:pt>
                <c:pt idx="37">
                  <c:v>All Others</c:v>
                </c:pt>
                <c:pt idx="38">
                  <c:v>La Belle Et</c:v>
                </c:pt>
                <c:pt idx="39">
                  <c:v>All Others</c:v>
                </c:pt>
                <c:pt idx="40">
                  <c:v>All Others</c:v>
                </c:pt>
                <c:pt idx="41">
                  <c:v>La Belle Et</c:v>
                </c:pt>
                <c:pt idx="42">
                  <c:v>La Belle Et</c:v>
                </c:pt>
                <c:pt idx="43">
                  <c:v>La Belle Et</c:v>
                </c:pt>
                <c:pt idx="44">
                  <c:v>La Belle Et</c:v>
                </c:pt>
                <c:pt idx="45">
                  <c:v>All Others</c:v>
                </c:pt>
                <c:pt idx="46">
                  <c:v>Milleret: A</c:v>
                </c:pt>
                <c:pt idx="47">
                  <c:v>Milleret: A</c:v>
                </c:pt>
                <c:pt idx="48">
                  <c:v>La Belle Et</c:v>
                </c:pt>
                <c:pt idx="49">
                  <c:v>All Others</c:v>
                </c:pt>
                <c:pt idx="50">
                  <c:v>La Belle Et</c:v>
                </c:pt>
                <c:pt idx="51">
                  <c:v>All Others</c:v>
                </c:pt>
                <c:pt idx="52">
                  <c:v>All Others</c:v>
                </c:pt>
                <c:pt idx="53">
                  <c:v>All Others</c:v>
                </c:pt>
                <c:pt idx="54">
                  <c:v>All Others</c:v>
                </c:pt>
                <c:pt idx="55">
                  <c:v>All Others</c:v>
                </c:pt>
                <c:pt idx="56">
                  <c:v>All Others</c:v>
                </c:pt>
                <c:pt idx="57">
                  <c:v>All Others</c:v>
                </c:pt>
              </c:strCache>
            </c:strRef>
          </c:cat>
          <c:val>
            <c:numRef>
              <c:f>Sheet1!$B$2:$B$59</c:f>
              <c:numCache>
                <c:formatCode>General</c:formatCode>
                <c:ptCount val="58"/>
                <c:pt idx="0">
                  <c:v>0.84</c:v>
                </c:pt>
                <c:pt idx="1">
                  <c:v>1.0</c:v>
                </c:pt>
                <c:pt idx="2">
                  <c:v>0.99</c:v>
                </c:pt>
                <c:pt idx="3">
                  <c:v>1.0</c:v>
                </c:pt>
                <c:pt idx="4">
                  <c:v>0.97</c:v>
                </c:pt>
                <c:pt idx="5">
                  <c:v>0.97</c:v>
                </c:pt>
                <c:pt idx="6">
                  <c:v>0.79</c:v>
                </c:pt>
                <c:pt idx="7">
                  <c:v>0.96</c:v>
                </c:pt>
                <c:pt idx="8">
                  <c:v>0.84</c:v>
                </c:pt>
                <c:pt idx="9">
                  <c:v>0.65</c:v>
                </c:pt>
                <c:pt idx="10">
                  <c:v>0.23</c:v>
                </c:pt>
                <c:pt idx="11">
                  <c:v>0.58</c:v>
                </c:pt>
                <c:pt idx="12">
                  <c:v>0.72</c:v>
                </c:pt>
                <c:pt idx="13">
                  <c:v>0.85</c:v>
                </c:pt>
                <c:pt idx="14">
                  <c:v>0.19</c:v>
                </c:pt>
                <c:pt idx="15">
                  <c:v>0.12</c:v>
                </c:pt>
                <c:pt idx="16">
                  <c:v>0.07</c:v>
                </c:pt>
                <c:pt idx="17">
                  <c:v>0.06</c:v>
                </c:pt>
                <c:pt idx="18">
                  <c:v>0.14</c:v>
                </c:pt>
                <c:pt idx="19">
                  <c:v>0.61</c:v>
                </c:pt>
                <c:pt idx="20">
                  <c:v>0.16</c:v>
                </c:pt>
                <c:pt idx="21">
                  <c:v>0.02</c:v>
                </c:pt>
                <c:pt idx="22">
                  <c:v>0.01</c:v>
                </c:pt>
                <c:pt idx="23">
                  <c:v>0.14</c:v>
                </c:pt>
                <c:pt idx="24">
                  <c:v>0.01</c:v>
                </c:pt>
                <c:pt idx="25">
                  <c:v>0.08</c:v>
                </c:pt>
                <c:pt idx="26">
                  <c:v>0.01</c:v>
                </c:pt>
                <c:pt idx="27">
                  <c:v>0.01</c:v>
                </c:pt>
                <c:pt idx="28">
                  <c:v>0.04</c:v>
                </c:pt>
                <c:pt idx="29">
                  <c:v>0.02</c:v>
                </c:pt>
                <c:pt idx="30">
                  <c:v>0.02</c:v>
                </c:pt>
                <c:pt idx="31">
                  <c:v>0.01</c:v>
                </c:pt>
                <c:pt idx="32">
                  <c:v>0.02</c:v>
                </c:pt>
                <c:pt idx="33">
                  <c:v>0.01</c:v>
                </c:pt>
                <c:pt idx="34">
                  <c:v>0.01</c:v>
                </c:pt>
                <c:pt idx="35">
                  <c:v>0.01</c:v>
                </c:pt>
                <c:pt idx="36">
                  <c:v>0.01</c:v>
                </c:pt>
                <c:pt idx="37">
                  <c:v>0.01</c:v>
                </c:pt>
                <c:pt idx="38">
                  <c:v>0.04</c:v>
                </c:pt>
                <c:pt idx="39">
                  <c:v>0.08</c:v>
                </c:pt>
                <c:pt idx="40">
                  <c:v>0.02</c:v>
                </c:pt>
                <c:pt idx="41">
                  <c:v>0.03</c:v>
                </c:pt>
                <c:pt idx="42">
                  <c:v>0.02</c:v>
                </c:pt>
                <c:pt idx="43">
                  <c:v>0.01</c:v>
                </c:pt>
                <c:pt idx="44">
                  <c:v>0.01</c:v>
                </c:pt>
                <c:pt idx="45">
                  <c:v>0.03</c:v>
                </c:pt>
                <c:pt idx="46">
                  <c:v>0.01</c:v>
                </c:pt>
                <c:pt idx="47">
                  <c:v>0.01</c:v>
                </c:pt>
                <c:pt idx="48">
                  <c:v>0.01</c:v>
                </c:pt>
                <c:pt idx="49">
                  <c:v>0.03</c:v>
                </c:pt>
                <c:pt idx="50">
                  <c:v>0.01</c:v>
                </c:pt>
                <c:pt idx="51">
                  <c:v>0.01</c:v>
                </c:pt>
                <c:pt idx="52">
                  <c:v>0.02</c:v>
                </c:pt>
                <c:pt idx="53">
                  <c:v>0.02</c:v>
                </c:pt>
                <c:pt idx="54">
                  <c:v>0.01</c:v>
                </c:pt>
                <c:pt idx="55">
                  <c:v>0.01</c:v>
                </c:pt>
                <c:pt idx="56">
                  <c:v>0.01</c:v>
                </c:pt>
                <c:pt idx="57">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Item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7ECAC4"/>
              </a:solidFill>
            </c:spPr>
            <c:extLst>
              <c:ext xmlns:c16="http://schemas.microsoft.com/office/drawing/2014/chart" uri="{C3380CC4-5D6E-409C-BE32-E72D297353CC}">
                <c16:uniqueId val="{0000004D-2993-41DE-A2CB-63102DE87051}"/>
              </c:ext>
            </c:extLst>
          </c:dPt>
          <c:dPt>
            <c:idx val="11"/>
            <c:invertIfNegative val="1"/>
            <c:bubble3D val="0"/>
            <c:spPr>
              <a:solidFill>
                <a:srgbClr val="7ECAC4"/>
              </a:solidFill>
            </c:spPr>
            <c:extLst>
              <c:ext xmlns:c16="http://schemas.microsoft.com/office/drawing/2014/chart" uri="{C3380CC4-5D6E-409C-BE32-E72D297353CC}">
                <c16:uniqueId val="{0000004F-2993-41DE-A2CB-63102DE87051}"/>
              </c:ext>
            </c:extLst>
          </c:dPt>
          <c:dPt>
            <c:idx val="12"/>
            <c:invertIfNegative val="1"/>
            <c:bubble3D val="0"/>
            <c:spPr>
              <a:solidFill>
                <a:srgbClr val="7ECAC4"/>
              </a:solidFill>
            </c:spPr>
            <c:extLst>
              <c:ext xmlns:c16="http://schemas.microsoft.com/office/drawing/2014/chart" uri="{C3380CC4-5D6E-409C-BE32-E72D297353CC}">
                <c16:uniqueId val="{00000051-2993-41DE-A2CB-63102DE87051}"/>
              </c:ext>
            </c:extLst>
          </c:dPt>
          <c:dPt>
            <c:idx val="13"/>
            <c:invertIfNegative val="1"/>
            <c:bubble3D val="0"/>
            <c:spPr>
              <a:solidFill>
                <a:srgbClr val="7ECAC4"/>
              </a:solidFill>
            </c:spPr>
            <c:extLst>
              <c:ext xmlns:c16="http://schemas.microsoft.com/office/drawing/2014/chart" uri="{C3380CC4-5D6E-409C-BE32-E72D297353CC}">
                <c16:uniqueId val="{00000053-2993-41DE-A2CB-63102DE87051}"/>
              </c:ext>
            </c:extLst>
          </c:dPt>
          <c:dPt>
            <c:idx val="14"/>
            <c:invertIfNegative val="1"/>
            <c:bubble3D val="0"/>
            <c:spPr>
              <a:solidFill>
                <a:srgbClr val="7ECAC4"/>
              </a:solidFill>
            </c:spPr>
            <c:extLst>
              <c:ext xmlns:c16="http://schemas.microsoft.com/office/drawing/2014/chart" uri="{C3380CC4-5D6E-409C-BE32-E72D297353CC}">
                <c16:uniqueId val="{00000055-2993-41DE-A2CB-63102DE87051}"/>
              </c:ext>
            </c:extLst>
          </c:dPt>
          <c:dPt>
            <c:idx val="15"/>
            <c:invertIfNegative val="1"/>
            <c:bubble3D val="0"/>
            <c:spPr>
              <a:solidFill>
                <a:srgbClr val="7ECAC4"/>
              </a:solidFill>
            </c:spPr>
            <c:extLst>
              <c:ext xmlns:c16="http://schemas.microsoft.com/office/drawing/2014/chart" uri="{C3380CC4-5D6E-409C-BE32-E72D297353CC}">
                <c16:uniqueId val="{00000057-2993-41DE-A2CB-63102DE87051}"/>
              </c:ext>
            </c:extLst>
          </c:dPt>
          <c:dPt>
            <c:idx val="16"/>
            <c:invertIfNegative val="1"/>
            <c:bubble3D val="0"/>
            <c:spPr>
              <a:solidFill>
                <a:srgbClr val="7ECAC4"/>
              </a:solidFill>
            </c:spPr>
            <c:extLst>
              <c:ext xmlns:c16="http://schemas.microsoft.com/office/drawing/2014/chart" uri="{C3380CC4-5D6E-409C-BE32-E72D297353CC}">
                <c16:uniqueId val="{00000059-2993-41DE-A2CB-63102DE87051}"/>
              </c:ext>
            </c:extLst>
          </c:dPt>
          <c:dPt>
            <c:idx val="17"/>
            <c:invertIfNegative val="1"/>
            <c:bubble3D val="0"/>
            <c:spPr>
              <a:solidFill>
                <a:srgbClr val="AEABAB"/>
              </a:solidFill>
            </c:spPr>
            <c:extLst>
              <c:ext xmlns:c16="http://schemas.microsoft.com/office/drawing/2014/chart" uri="{C3380CC4-5D6E-409C-BE32-E72D297353CC}">
                <c16:uniqueId val="{0000005B-2993-41DE-A2CB-63102DE87051}"/>
              </c:ext>
            </c:extLst>
          </c:dPt>
          <c:dPt>
            <c:idx val="18"/>
            <c:invertIfNegative val="1"/>
            <c:bubble3D val="0"/>
            <c:spPr>
              <a:solidFill>
                <a:srgbClr val="AEABAB"/>
              </a:solidFill>
            </c:spPr>
            <c:extLst>
              <c:ext xmlns:c16="http://schemas.microsoft.com/office/drawing/2014/chart" uri="{C3380CC4-5D6E-409C-BE32-E72D297353CC}">
                <c16:uniqueId val="{0000005D-2993-41DE-A2CB-63102DE87051}"/>
              </c:ext>
            </c:extLst>
          </c:dPt>
          <c:dPt>
            <c:idx val="19"/>
            <c:invertIfNegative val="1"/>
            <c:bubble3D val="0"/>
            <c:spPr>
              <a:solidFill>
                <a:srgbClr val="AEABAB"/>
              </a:solidFill>
            </c:spPr>
            <c:extLst>
              <c:ext xmlns:c16="http://schemas.microsoft.com/office/drawing/2014/chart" uri="{C3380CC4-5D6E-409C-BE32-E72D297353CC}">
                <c16:uniqueId val="{0000005F-2993-41DE-A2CB-63102DE87051}"/>
              </c:ext>
            </c:extLst>
          </c:dPt>
          <c:dPt>
            <c:idx val="20"/>
            <c:invertIfNegative val="1"/>
            <c:bubble3D val="0"/>
            <c:spPr>
              <a:solidFill>
                <a:srgbClr val="AEABAB"/>
              </a:solidFill>
            </c:spPr>
            <c:extLst>
              <c:ext xmlns:c16="http://schemas.microsoft.com/office/drawing/2014/chart" uri="{C3380CC4-5D6E-409C-BE32-E72D297353CC}">
                <c16:uniqueId val="{00000061-2993-41DE-A2CB-63102DE87051}"/>
              </c:ext>
            </c:extLst>
          </c:dPt>
          <c:dPt>
            <c:idx val="21"/>
            <c:invertIfNegative val="1"/>
            <c:bubble3D val="0"/>
            <c:spPr>
              <a:solidFill>
                <a:srgbClr val="AEABAB"/>
              </a:solidFill>
            </c:spPr>
            <c:extLst>
              <c:ext xmlns:c16="http://schemas.microsoft.com/office/drawing/2014/chart" uri="{C3380CC4-5D6E-409C-BE32-E72D297353CC}">
                <c16:uniqueId val="{00000063-2993-41DE-A2CB-63102DE87051}"/>
              </c:ext>
            </c:extLst>
          </c:dPt>
          <c:dPt>
            <c:idx val="22"/>
            <c:invertIfNegative val="1"/>
            <c:bubble3D val="0"/>
            <c:spPr>
              <a:solidFill>
                <a:srgbClr val="AEABAB"/>
              </a:solidFill>
            </c:spPr>
            <c:extLst>
              <c:ext xmlns:c16="http://schemas.microsoft.com/office/drawing/2014/chart" uri="{C3380CC4-5D6E-409C-BE32-E72D297353CC}">
                <c16:uniqueId val="{00000065-2993-41DE-A2CB-63102DE87051}"/>
              </c:ext>
            </c:extLst>
          </c:dPt>
          <c:dPt>
            <c:idx val="23"/>
            <c:invertIfNegative val="1"/>
            <c:bubble3D val="0"/>
            <c:spPr>
              <a:solidFill>
                <a:srgbClr val="AEABAB"/>
              </a:solidFill>
            </c:spPr>
            <c:extLst>
              <c:ext xmlns:c16="http://schemas.microsoft.com/office/drawing/2014/chart" uri="{C3380CC4-5D6E-409C-BE32-E72D297353CC}">
                <c16:uniqueId val="{00000067-2993-41DE-A2CB-63102DE87051}"/>
              </c:ext>
            </c:extLst>
          </c:dPt>
          <c:dPt>
            <c:idx val="24"/>
            <c:invertIfNegative val="1"/>
            <c:bubble3D val="0"/>
            <c:spPr>
              <a:solidFill>
                <a:srgbClr val="AEABAB"/>
              </a:solidFill>
            </c:spPr>
            <c:extLst>
              <c:ext xmlns:c16="http://schemas.microsoft.com/office/drawing/2014/chart" uri="{C3380CC4-5D6E-409C-BE32-E72D297353CC}">
                <c16:uniqueId val="{00000069-2993-41DE-A2CB-63102DE87051}"/>
              </c:ext>
            </c:extLst>
          </c:dPt>
          <c:dPt>
            <c:idx val="25"/>
            <c:invertIfNegative val="1"/>
            <c:bubble3D val="0"/>
            <c:spPr>
              <a:solidFill>
                <a:srgbClr val="AEABAB"/>
              </a:solidFill>
            </c:spPr>
            <c:extLst>
              <c:ext xmlns:c16="http://schemas.microsoft.com/office/drawing/2014/chart" uri="{C3380CC4-5D6E-409C-BE32-E72D297353CC}">
                <c16:uniqueId val="{0000006B-2993-41DE-A2CB-63102DE87051}"/>
              </c:ext>
            </c:extLst>
          </c:dPt>
          <c:dPt>
            <c:idx val="26"/>
            <c:invertIfNegative val="1"/>
            <c:bubble3D val="0"/>
            <c:spPr>
              <a:solidFill>
                <a:srgbClr val="AEABAB"/>
              </a:solidFill>
            </c:spPr>
            <c:extLst>
              <c:ext xmlns:c16="http://schemas.microsoft.com/office/drawing/2014/chart" uri="{C3380CC4-5D6E-409C-BE32-E72D297353CC}">
                <c16:uniqueId val="{0000006D-2993-41DE-A2CB-63102DE87051}"/>
              </c:ext>
            </c:extLst>
          </c:dPt>
          <c:dPt>
            <c:idx val="27"/>
            <c:invertIfNegative val="1"/>
            <c:bubble3D val="0"/>
            <c:spPr>
              <a:solidFill>
                <a:srgbClr val="AEABAB"/>
              </a:solidFill>
            </c:spPr>
            <c:extLst>
              <c:ext xmlns:c16="http://schemas.microsoft.com/office/drawing/2014/chart" uri="{C3380CC4-5D6E-409C-BE32-E72D297353CC}">
                <c16:uniqueId val="{0000006F-2993-41DE-A2CB-63102DE87051}"/>
              </c:ext>
            </c:extLst>
          </c:dPt>
          <c:dPt>
            <c:idx val="28"/>
            <c:invertIfNegative val="1"/>
            <c:bubble3D val="0"/>
            <c:spPr>
              <a:solidFill>
                <a:srgbClr val="AEABAB"/>
              </a:solidFill>
            </c:spPr>
            <c:extLst>
              <c:ext xmlns:c16="http://schemas.microsoft.com/office/drawing/2014/chart" uri="{C3380CC4-5D6E-409C-BE32-E72D297353CC}">
                <c16:uniqueId val="{00000071-2993-41DE-A2CB-63102DE87051}"/>
              </c:ext>
            </c:extLst>
          </c:dPt>
          <c:dPt>
            <c:idx val="29"/>
            <c:invertIfNegative val="1"/>
            <c:bubble3D val="0"/>
            <c:spPr>
              <a:solidFill>
                <a:srgbClr val="AEABAB"/>
              </a:solidFill>
            </c:spPr>
            <c:extLst>
              <c:ext xmlns:c16="http://schemas.microsoft.com/office/drawing/2014/chart" uri="{C3380CC4-5D6E-409C-BE32-E72D297353CC}">
                <c16:uniqueId val="{00000073-2993-41DE-A2CB-63102DE87051}"/>
              </c:ext>
            </c:extLst>
          </c:dPt>
          <c:dPt>
            <c:idx val="30"/>
            <c:invertIfNegative val="1"/>
            <c:bubble3D val="0"/>
            <c:spPr>
              <a:solidFill>
                <a:srgbClr val="AEABAB"/>
              </a:solidFill>
            </c:spPr>
            <c:extLst>
              <c:ext xmlns:c16="http://schemas.microsoft.com/office/drawing/2014/chart" uri="{C3380CC4-5D6E-409C-BE32-E72D297353CC}">
                <c16:uniqueId val="{00000075-2993-41DE-A2CB-63102DE87051}"/>
              </c:ext>
            </c:extLst>
          </c:dPt>
          <c:dPt>
            <c:idx val="31"/>
            <c:invertIfNegative val="1"/>
            <c:bubble3D val="0"/>
            <c:spPr>
              <a:solidFill>
                <a:srgbClr val="AEABAB"/>
              </a:solidFill>
            </c:spPr>
            <c:extLst>
              <c:ext xmlns:c16="http://schemas.microsoft.com/office/drawing/2014/chart" uri="{C3380CC4-5D6E-409C-BE32-E72D297353CC}">
                <c16:uniqueId val="{00000077-2993-41DE-A2CB-63102DE87051}"/>
              </c:ext>
            </c:extLst>
          </c:dPt>
          <c:dPt>
            <c:idx val="32"/>
            <c:invertIfNegative val="1"/>
            <c:bubble3D val="0"/>
            <c:spPr>
              <a:solidFill>
                <a:srgbClr val="AEABAB"/>
              </a:solidFill>
            </c:spPr>
            <c:extLst>
              <c:ext xmlns:c16="http://schemas.microsoft.com/office/drawing/2014/chart" uri="{C3380CC4-5D6E-409C-BE32-E72D297353CC}">
                <c16:uniqueId val="{00000079-2993-41DE-A2CB-63102DE87051}"/>
              </c:ext>
            </c:extLst>
          </c:dPt>
          <c:dPt>
            <c:idx val="33"/>
            <c:invertIfNegative val="1"/>
            <c:bubble3D val="0"/>
            <c:spPr>
              <a:solidFill>
                <a:srgbClr val="AEABAB"/>
              </a:solidFill>
            </c:spPr>
            <c:extLst>
              <c:ext xmlns:c16="http://schemas.microsoft.com/office/drawing/2014/chart" uri="{C3380CC4-5D6E-409C-BE32-E72D297353CC}">
                <c16:uniqueId val="{0000007B-2993-41DE-A2CB-63102DE87051}"/>
              </c:ext>
            </c:extLst>
          </c:dPt>
          <c:dPt>
            <c:idx val="34"/>
            <c:invertIfNegative val="1"/>
            <c:bubble3D val="0"/>
            <c:spPr>
              <a:solidFill>
                <a:srgbClr val="AEABAB"/>
              </a:solidFill>
            </c:spPr>
            <c:extLst>
              <c:ext xmlns:c16="http://schemas.microsoft.com/office/drawing/2014/chart" uri="{C3380CC4-5D6E-409C-BE32-E72D297353CC}">
                <c16:uniqueId val="{0000007D-2993-41DE-A2CB-63102DE87051}"/>
              </c:ext>
            </c:extLst>
          </c:dPt>
          <c:dPt>
            <c:idx val="35"/>
            <c:invertIfNegative val="1"/>
            <c:bubble3D val="0"/>
            <c:spPr>
              <a:solidFill>
                <a:srgbClr val="AEABAB"/>
              </a:solidFill>
            </c:spPr>
            <c:extLst>
              <c:ext xmlns:c16="http://schemas.microsoft.com/office/drawing/2014/chart" uri="{C3380CC4-5D6E-409C-BE32-E72D297353CC}">
                <c16:uniqueId val="{0000007F-2993-41DE-A2CB-63102DE87051}"/>
              </c:ext>
            </c:extLst>
          </c:dPt>
          <c:dPt>
            <c:idx val="36"/>
            <c:invertIfNegative val="1"/>
            <c:bubble3D val="0"/>
            <c:spPr>
              <a:solidFill>
                <a:srgbClr val="AEABAB"/>
              </a:solidFill>
            </c:spPr>
            <c:extLst>
              <c:ext xmlns:c16="http://schemas.microsoft.com/office/drawing/2014/chart" uri="{C3380CC4-5D6E-409C-BE32-E72D297353CC}">
                <c16:uniqueId val="{00000081-2993-41DE-A2CB-63102DE87051}"/>
              </c:ext>
            </c:extLst>
          </c:dPt>
          <c:dPt>
            <c:idx val="37"/>
            <c:invertIfNegative val="1"/>
            <c:bubble3D val="0"/>
            <c:spPr>
              <a:solidFill>
                <a:srgbClr val="AEABAB"/>
              </a:solidFill>
            </c:spPr>
            <c:extLst>
              <c:ext xmlns:c16="http://schemas.microsoft.com/office/drawing/2014/chart" uri="{C3380CC4-5D6E-409C-BE32-E72D297353CC}">
                <c16:uniqueId val="{00000083-2993-41DE-A2CB-63102DE87051}"/>
              </c:ext>
            </c:extLst>
          </c:dPt>
          <c:dPt>
            <c:idx val="38"/>
            <c:invertIfNegative val="1"/>
            <c:bubble3D val="0"/>
            <c:spPr>
              <a:solidFill>
                <a:srgbClr val="AEABAB"/>
              </a:solidFill>
            </c:spPr>
            <c:extLst>
              <c:ext xmlns:c16="http://schemas.microsoft.com/office/drawing/2014/chart" uri="{C3380CC4-5D6E-409C-BE32-E72D297353CC}">
                <c16:uniqueId val="{00000085-2993-41DE-A2CB-63102DE87051}"/>
              </c:ext>
            </c:extLst>
          </c:dPt>
          <c:dPt>
            <c:idx val="39"/>
            <c:invertIfNegative val="1"/>
            <c:bubble3D val="0"/>
            <c:spPr>
              <a:solidFill>
                <a:srgbClr val="AEABAB"/>
              </a:solidFill>
            </c:spPr>
            <c:extLst>
              <c:ext xmlns:c16="http://schemas.microsoft.com/office/drawing/2014/chart" uri="{C3380CC4-5D6E-409C-BE32-E72D297353CC}">
                <c16:uniqueId val="{00000087-2993-41DE-A2CB-63102DE87051}"/>
              </c:ext>
            </c:extLst>
          </c:dPt>
          <c:dPt>
            <c:idx val="40"/>
            <c:invertIfNegative val="1"/>
            <c:bubble3D val="0"/>
            <c:spPr>
              <a:solidFill>
                <a:srgbClr val="AEABAB"/>
              </a:solidFill>
            </c:spPr>
            <c:extLst>
              <c:ext xmlns:c16="http://schemas.microsoft.com/office/drawing/2014/chart" uri="{C3380CC4-5D6E-409C-BE32-E72D297353CC}">
                <c16:uniqueId val="{00000089-2993-41DE-A2CB-63102DE87051}"/>
              </c:ext>
            </c:extLst>
          </c:dPt>
          <c:dPt>
            <c:idx val="41"/>
            <c:invertIfNegative val="1"/>
            <c:bubble3D val="0"/>
            <c:spPr>
              <a:solidFill>
                <a:srgbClr val="AEABAB"/>
              </a:solidFill>
            </c:spPr>
            <c:extLst>
              <c:ext xmlns:c16="http://schemas.microsoft.com/office/drawing/2014/chart" uri="{C3380CC4-5D6E-409C-BE32-E72D297353CC}">
                <c16:uniqueId val="{0000008B-2993-41DE-A2CB-63102DE87051}"/>
              </c:ext>
            </c:extLst>
          </c:dPt>
          <c:dPt>
            <c:idx val="42"/>
            <c:invertIfNegative val="1"/>
            <c:bubble3D val="0"/>
            <c:spPr>
              <a:solidFill>
                <a:srgbClr val="AEABAB"/>
              </a:solidFill>
            </c:spPr>
            <c:extLst>
              <c:ext xmlns:c16="http://schemas.microsoft.com/office/drawing/2014/chart" uri="{C3380CC4-5D6E-409C-BE32-E72D297353CC}">
                <c16:uniqueId val="{0000008D-2993-41DE-A2CB-63102DE87051}"/>
              </c:ext>
            </c:extLst>
          </c:dPt>
          <c:dPt>
            <c:idx val="43"/>
            <c:invertIfNegative val="1"/>
            <c:bubble3D val="0"/>
            <c:spPr>
              <a:solidFill>
                <a:srgbClr val="AEABAB"/>
              </a:solidFill>
            </c:spPr>
            <c:extLst>
              <c:ext xmlns:c16="http://schemas.microsoft.com/office/drawing/2014/chart" uri="{C3380CC4-5D6E-409C-BE32-E72D297353CC}">
                <c16:uniqueId val="{0000008F-2993-41DE-A2CB-63102DE87051}"/>
              </c:ext>
            </c:extLst>
          </c:dPt>
          <c:dPt>
            <c:idx val="44"/>
            <c:invertIfNegative val="1"/>
            <c:bubble3D val="0"/>
            <c:spPr>
              <a:solidFill>
                <a:srgbClr val="AEABAB"/>
              </a:solidFill>
            </c:spPr>
            <c:extLst>
              <c:ext xmlns:c16="http://schemas.microsoft.com/office/drawing/2014/chart" uri="{C3380CC4-5D6E-409C-BE32-E72D297353CC}">
                <c16:uniqueId val="{00000091-2993-41DE-A2CB-63102DE87051}"/>
              </c:ext>
            </c:extLst>
          </c:dPt>
          <c:dPt>
            <c:idx val="45"/>
            <c:invertIfNegative val="1"/>
            <c:bubble3D val="0"/>
            <c:spPr>
              <a:solidFill>
                <a:srgbClr val="AEABAB"/>
              </a:solidFill>
            </c:spPr>
            <c:extLst>
              <c:ext xmlns:c16="http://schemas.microsoft.com/office/drawing/2014/chart" uri="{C3380CC4-5D6E-409C-BE32-E72D297353CC}">
                <c16:uniqueId val="{00000093-2993-41DE-A2CB-63102DE87051}"/>
              </c:ext>
            </c:extLst>
          </c:dPt>
          <c:dPt>
            <c:idx val="46"/>
            <c:invertIfNegative val="1"/>
            <c:bubble3D val="0"/>
            <c:spPr>
              <a:solidFill>
                <a:srgbClr val="AEABAB"/>
              </a:solidFill>
            </c:spPr>
            <c:extLst>
              <c:ext xmlns:c16="http://schemas.microsoft.com/office/drawing/2014/chart" uri="{C3380CC4-5D6E-409C-BE32-E72D297353CC}">
                <c16:uniqueId val="{00000095-2993-41DE-A2CB-63102DE87051}"/>
              </c:ext>
            </c:extLst>
          </c:dPt>
          <c:dPt>
            <c:idx val="47"/>
            <c:invertIfNegative val="1"/>
            <c:bubble3D val="0"/>
            <c:spPr>
              <a:solidFill>
                <a:srgbClr val="AEABAB"/>
              </a:solidFill>
            </c:spPr>
            <c:extLst>
              <c:ext xmlns:c16="http://schemas.microsoft.com/office/drawing/2014/chart" uri="{C3380CC4-5D6E-409C-BE32-E72D297353CC}">
                <c16:uniqueId val="{00000097-2993-41DE-A2CB-63102DE87051}"/>
              </c:ext>
            </c:extLst>
          </c:dPt>
          <c:dPt>
            <c:idx val="48"/>
            <c:invertIfNegative val="1"/>
            <c:bubble3D val="0"/>
            <c:spPr>
              <a:solidFill>
                <a:srgbClr val="AEABAB"/>
              </a:solidFill>
            </c:spPr>
            <c:extLst>
              <c:ext xmlns:c16="http://schemas.microsoft.com/office/drawing/2014/chart" uri="{C3380CC4-5D6E-409C-BE32-E72D297353CC}">
                <c16:uniqueId val="{00000099-2993-41DE-A2CB-63102DE87051}"/>
              </c:ext>
            </c:extLst>
          </c:dPt>
          <c:dPt>
            <c:idx val="49"/>
            <c:invertIfNegative val="1"/>
            <c:bubble3D val="0"/>
            <c:spPr>
              <a:solidFill>
                <a:srgbClr val="AEABAB"/>
              </a:solidFill>
            </c:spPr>
            <c:extLst>
              <c:ext xmlns:c16="http://schemas.microsoft.com/office/drawing/2014/chart" uri="{C3380CC4-5D6E-409C-BE32-E72D297353CC}">
                <c16:uniqueId val="{0000009B-2993-41DE-A2CB-63102DE87051}"/>
              </c:ext>
            </c:extLst>
          </c:dPt>
          <c:dPt>
            <c:idx val="50"/>
            <c:invertIfNegative val="1"/>
            <c:bubble3D val="0"/>
            <c:spPr>
              <a:solidFill>
                <a:srgbClr val="AEABAB"/>
              </a:solidFill>
            </c:spPr>
            <c:extLst>
              <c:ext xmlns:c16="http://schemas.microsoft.com/office/drawing/2014/chart" uri="{C3380CC4-5D6E-409C-BE32-E72D297353CC}">
                <c16:uniqueId val="{0000009D-2993-41DE-A2CB-63102DE87051}"/>
              </c:ext>
            </c:extLst>
          </c:dPt>
          <c:dPt>
            <c:idx val="51"/>
            <c:invertIfNegative val="1"/>
            <c:bubble3D val="0"/>
            <c:spPr>
              <a:solidFill>
                <a:srgbClr val="AEABAB"/>
              </a:solidFill>
            </c:spPr>
            <c:extLst>
              <c:ext xmlns:c16="http://schemas.microsoft.com/office/drawing/2014/chart" uri="{C3380CC4-5D6E-409C-BE32-E72D297353CC}">
                <c16:uniqueId val="{0000009F-2993-41DE-A2CB-63102DE87051}"/>
              </c:ext>
            </c:extLst>
          </c:dPt>
          <c:dPt>
            <c:idx val="52"/>
            <c:invertIfNegative val="1"/>
            <c:bubble3D val="0"/>
            <c:spPr>
              <a:solidFill>
                <a:srgbClr val="AEABAB"/>
              </a:solidFill>
            </c:spPr>
            <c:extLst>
              <c:ext xmlns:c16="http://schemas.microsoft.com/office/drawing/2014/chart" uri="{C3380CC4-5D6E-409C-BE32-E72D297353CC}">
                <c16:uniqueId val="{000000A1-2993-41DE-A2CB-63102DE87051}"/>
              </c:ext>
            </c:extLst>
          </c:dPt>
          <c:dPt>
            <c:idx val="53"/>
            <c:invertIfNegative val="1"/>
            <c:bubble3D val="0"/>
            <c:spPr>
              <a:solidFill>
                <a:srgbClr val="AEABAB"/>
              </a:solidFill>
            </c:spPr>
            <c:extLst>
              <c:ext xmlns:c16="http://schemas.microsoft.com/office/drawing/2014/chart" uri="{C3380CC4-5D6E-409C-BE32-E72D297353CC}">
                <c16:uniqueId val="{000000A3-2993-41DE-A2CB-63102DE87051}"/>
              </c:ext>
            </c:extLst>
          </c:dPt>
          <c:dPt>
            <c:idx val="54"/>
            <c:invertIfNegative val="0"/>
            <c:bubble3D val="0"/>
            <c:spPr>
              <a:solidFill>
                <a:srgbClr val="AEABAB"/>
              </a:solidFill>
            </c:spPr>
            <c:extLst>
              <c:ext xmlns:c16="http://schemas.microsoft.com/office/drawing/2014/chart" uri="{C3380CC4-5D6E-409C-BE32-E72D297353CC}">
                <c16:uniqueId val="{00000072-C76F-4230-900D-40618C09729F}"/>
              </c:ext>
            </c:extLst>
          </c:dPt>
          <c:dPt>
            <c:idx val="55"/>
            <c:invertIfNegative val="0"/>
            <c:bubble3D val="0"/>
            <c:spPr>
              <a:solidFill>
                <a:srgbClr val="AEABAB"/>
              </a:solidFill>
            </c:spPr>
            <c:extLst>
              <c:ext xmlns:c16="http://schemas.microsoft.com/office/drawing/2014/chart" uri="{C3380CC4-5D6E-409C-BE32-E72D297353CC}">
                <c16:uniqueId val="{00000074-C76F-4230-900D-40618C09729F}"/>
              </c:ext>
            </c:extLst>
          </c:dPt>
          <c:dPt>
            <c:idx val="56"/>
            <c:invertIfNegative val="0"/>
            <c:bubble3D val="0"/>
            <c:spPr>
              <a:solidFill>
                <a:srgbClr val="AEABAB"/>
              </a:solidFill>
            </c:spPr>
            <c:extLst>
              <c:ext xmlns:c16="http://schemas.microsoft.com/office/drawing/2014/chart" uri="{C3380CC4-5D6E-409C-BE32-E72D297353CC}">
                <c16:uniqueId val="{00000076-C76F-4230-900D-40618C09729F}"/>
              </c:ext>
            </c:extLst>
          </c:dPt>
          <c:dPt>
            <c:idx val="57"/>
            <c:invertIfNegative val="0"/>
            <c:bubble3D val="0"/>
            <c:spPr>
              <a:solidFill>
                <a:srgbClr val="AEABAB"/>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59</c:f>
              <c:strCache>
                <c:ptCount val="58"/>
                <c:pt idx="0">
                  <c:v>Private Lab</c:v>
                </c:pt>
                <c:pt idx="1">
                  <c:v>Private Lab</c:v>
                </c:pt>
                <c:pt idx="2">
                  <c:v>President</c:v>
                </c:pt>
                <c:pt idx="3">
                  <c:v>Private Lab</c:v>
                </c:pt>
                <c:pt idx="4">
                  <c:v>La Vache Qu</c:v>
                </c:pt>
                <c:pt idx="5">
                  <c:v>Private Lab</c:v>
                </c:pt>
                <c:pt idx="6">
                  <c:v>La Vache Qu</c:v>
                </c:pt>
                <c:pt idx="7">
                  <c:v>Private Lab</c:v>
                </c:pt>
                <c:pt idx="8">
                  <c:v>President</c:v>
                </c:pt>
                <c:pt idx="9">
                  <c:v>President</c:v>
                </c:pt>
                <c:pt idx="10">
                  <c:v>Private Lab</c:v>
                </c:pt>
                <c:pt idx="11">
                  <c:v>President</c:v>
                </c:pt>
                <c:pt idx="12">
                  <c:v>Boursin</c:v>
                </c:pt>
                <c:pt idx="13">
                  <c:v>Private Lab</c:v>
                </c:pt>
                <c:pt idx="14">
                  <c:v>Private Lab</c:v>
                </c:pt>
                <c:pt idx="15">
                  <c:v>Fauquet</c:v>
                </c:pt>
                <c:pt idx="16">
                  <c:v>La Belle Et</c:v>
                </c:pt>
                <c:pt idx="17">
                  <c:v>La Belle Et</c:v>
                </c:pt>
                <c:pt idx="18">
                  <c:v>All Others</c:v>
                </c:pt>
                <c:pt idx="19">
                  <c:v>All Others</c:v>
                </c:pt>
                <c:pt idx="20">
                  <c:v>All Others</c:v>
                </c:pt>
                <c:pt idx="21">
                  <c:v>La Belle Et</c:v>
                </c:pt>
                <c:pt idx="22">
                  <c:v>La Belle Et</c:v>
                </c:pt>
                <c:pt idx="23">
                  <c:v>All Others</c:v>
                </c:pt>
                <c:pt idx="24">
                  <c:v>La Belle Et</c:v>
                </c:pt>
                <c:pt idx="25">
                  <c:v>All Others</c:v>
                </c:pt>
                <c:pt idx="26">
                  <c:v>Raguin</c:v>
                </c:pt>
                <c:pt idx="27">
                  <c:v>Raguin</c:v>
                </c:pt>
                <c:pt idx="28">
                  <c:v>La Belle Et</c:v>
                </c:pt>
                <c:pt idx="29">
                  <c:v>La Belle Et</c:v>
                </c:pt>
                <c:pt idx="30">
                  <c:v>La Belle Et</c:v>
                </c:pt>
                <c:pt idx="31">
                  <c:v>All Others</c:v>
                </c:pt>
                <c:pt idx="32">
                  <c:v>La Belle Et</c:v>
                </c:pt>
                <c:pt idx="33">
                  <c:v>La Belle Et</c:v>
                </c:pt>
                <c:pt idx="34">
                  <c:v>La Belle Et</c:v>
                </c:pt>
                <c:pt idx="35">
                  <c:v>La Belle Et</c:v>
                </c:pt>
                <c:pt idx="36">
                  <c:v>Raguin</c:v>
                </c:pt>
                <c:pt idx="37">
                  <c:v>All Others</c:v>
                </c:pt>
                <c:pt idx="38">
                  <c:v>La Belle Et</c:v>
                </c:pt>
                <c:pt idx="39">
                  <c:v>All Others</c:v>
                </c:pt>
                <c:pt idx="40">
                  <c:v>All Others</c:v>
                </c:pt>
                <c:pt idx="41">
                  <c:v>La Belle Et</c:v>
                </c:pt>
                <c:pt idx="42">
                  <c:v>La Belle Et</c:v>
                </c:pt>
                <c:pt idx="43">
                  <c:v>La Belle Et</c:v>
                </c:pt>
                <c:pt idx="44">
                  <c:v>La Belle Et</c:v>
                </c:pt>
                <c:pt idx="45">
                  <c:v>All Others</c:v>
                </c:pt>
                <c:pt idx="46">
                  <c:v>Milleret: A</c:v>
                </c:pt>
                <c:pt idx="47">
                  <c:v>Milleret: A</c:v>
                </c:pt>
                <c:pt idx="48">
                  <c:v>La Belle Et</c:v>
                </c:pt>
                <c:pt idx="49">
                  <c:v>All Others</c:v>
                </c:pt>
                <c:pt idx="50">
                  <c:v>La Belle Et</c:v>
                </c:pt>
                <c:pt idx="51">
                  <c:v>All Others</c:v>
                </c:pt>
                <c:pt idx="52">
                  <c:v>All Others</c:v>
                </c:pt>
                <c:pt idx="53">
                  <c:v>All Others</c:v>
                </c:pt>
                <c:pt idx="54">
                  <c:v>All Others</c:v>
                </c:pt>
                <c:pt idx="55">
                  <c:v>All Others</c:v>
                </c:pt>
                <c:pt idx="56">
                  <c:v>All Others</c:v>
                </c:pt>
                <c:pt idx="57">
                  <c:v>All Others</c:v>
                </c:pt>
              </c:strCache>
            </c:strRef>
          </c:cat>
          <c:val>
            <c:numRef>
              <c:f>Sheet1!$C$2:$C$59</c:f>
              <c:numCache>
                <c:formatCode>General</c:formatCode>
                <c:ptCount val="58"/>
                <c:pt idx="0">
                  <c:v>0.18028081162057555</c:v>
                </c:pt>
                <c:pt idx="1">
                  <c:v>0.3389301365140406</c:v>
                </c:pt>
                <c:pt idx="2">
                  <c:v>0.44800613442421355</c:v>
                </c:pt>
                <c:pt idx="3">
                  <c:v>0.5474628860226824</c:v>
                </c:pt>
                <c:pt idx="4">
                  <c:v>0.6108562604180365</c:v>
                </c:pt>
                <c:pt idx="5">
                  <c:v>0.6615779260243885</c:v>
                </c:pt>
                <c:pt idx="6">
                  <c:v>0.7108965997661385</c:v>
                </c:pt>
                <c:pt idx="7">
                  <c:v>0.7554886392311713</c:v>
                </c:pt>
                <c:pt idx="8">
                  <c:v>0.7998619221432812</c:v>
                </c:pt>
                <c:pt idx="9">
                  <c:v>0.8285551049711584</c:v>
                </c:pt>
                <c:pt idx="10">
                  <c:v>0.8558332119006409</c:v>
                </c:pt>
                <c:pt idx="11">
                  <c:v>0.8776084630886081</c:v>
                </c:pt>
                <c:pt idx="12">
                  <c:v>0.8969333210123578</c:v>
                </c:pt>
                <c:pt idx="13">
                  <c:v>0.9138674950153362</c:v>
                </c:pt>
                <c:pt idx="14">
                  <c:v>0.9280770748108317</c:v>
                </c:pt>
                <c:pt idx="15">
                  <c:v>0.937878470161322</c:v>
                </c:pt>
                <c:pt idx="16">
                  <c:v>0.9447836069419221</c:v>
                </c:pt>
                <c:pt idx="17">
                  <c:v>0.9512757540970207</c:v>
                </c:pt>
                <c:pt idx="18">
                  <c:v>0.955974310765808</c:v>
                </c:pt>
                <c:pt idx="19">
                  <c:v>0.9604187473121911</c:v>
                </c:pt>
                <c:pt idx="20">
                  <c:v>0.9648569641352986</c:v>
                </c:pt>
                <c:pt idx="21">
                  <c:v>0.968939768199799</c:v>
                </c:pt>
                <c:pt idx="22">
                  <c:v>0.9723982897538057</c:v>
                </c:pt>
                <c:pt idx="23">
                  <c:v>0.9755412047781693</c:v>
                </c:pt>
                <c:pt idx="24">
                  <c:v>0.9778545864239436</c:v>
                </c:pt>
                <c:pt idx="25">
                  <c:v>0.9798937671264525</c:v>
                </c:pt>
                <c:pt idx="26">
                  <c:v>0.9815631408536305</c:v>
                </c:pt>
                <c:pt idx="27">
                  <c:v>0.9827145004851385</c:v>
                </c:pt>
                <c:pt idx="28">
                  <c:v>0.983843291406475</c:v>
                </c:pt>
                <c:pt idx="29">
                  <c:v>0.9847862014550599</c:v>
                </c:pt>
                <c:pt idx="30">
                  <c:v>0.985664248675199</c:v>
                </c:pt>
                <c:pt idx="31">
                  <c:v>0.9865126189299944</c:v>
                </c:pt>
                <c:pt idx="32">
                  <c:v>0.9873295351556531</c:v>
                </c:pt>
                <c:pt idx="33">
                  <c:v>0.9881361444113121</c:v>
                </c:pt>
                <c:pt idx="34">
                  <c:v>0.9888064528740453</c:v>
                </c:pt>
                <c:pt idx="35">
                  <c:v>0.9893807998919546</c:v>
                </c:pt>
                <c:pt idx="36">
                  <c:v>0.9899524813141743</c:v>
                </c:pt>
                <c:pt idx="37">
                  <c:v>0.9905113678770842</c:v>
                </c:pt>
                <c:pt idx="38">
                  <c:v>0.9910540831594774</c:v>
                </c:pt>
                <c:pt idx="39">
                  <c:v>0.991592888901526</c:v>
                </c:pt>
                <c:pt idx="40">
                  <c:v>0.9920989966697826</c:v>
                </c:pt>
                <c:pt idx="41">
                  <c:v>0.9926022611359704</c:v>
                </c:pt>
                <c:pt idx="42">
                  <c:v>0.9931010829426756</c:v>
                </c:pt>
                <c:pt idx="43">
                  <c:v>0.9935618755842098</c:v>
                </c:pt>
                <c:pt idx="44">
                  <c:v>0.9940203580428131</c:v>
                </c:pt>
                <c:pt idx="45">
                  <c:v>0.994933946538813</c:v>
                </c:pt>
                <c:pt idx="46">
                  <c:v>0.9954837700763783</c:v>
                </c:pt>
                <c:pt idx="47">
                  <c:v>0.9960078261889447</c:v>
                </c:pt>
                <c:pt idx="48">
                  <c:v>0.9962580367710041</c:v>
                </c:pt>
                <c:pt idx="49">
                  <c:v>0.9969532241268398</c:v>
                </c:pt>
                <c:pt idx="50">
                  <c:v>0.9971465686675222</c:v>
                </c:pt>
                <c:pt idx="51">
                  <c:v>0.9982883321545478</c:v>
                </c:pt>
                <c:pt idx="52">
                  <c:v>0.9984216119390256</c:v>
                </c:pt>
                <c:pt idx="53">
                  <c:v>0.9986650696786714</c:v>
                </c:pt>
                <c:pt idx="54">
                  <c:v>0.998754989106599</c:v>
                </c:pt>
                <c:pt idx="55">
                  <c:v>0.9990730835255525</c:v>
                </c:pt>
                <c:pt idx="56">
                  <c:v>0.9992028091824441</c:v>
                </c:pt>
                <c:pt idx="57">
                  <c:v>0.999466347742951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47</c:f>
              <c:strCache>
                <c:ptCount val="46"/>
                <c:pt idx="0">
                  <c:v>Private Lab</c:v>
                </c:pt>
                <c:pt idx="1">
                  <c:v>President</c:v>
                </c:pt>
                <c:pt idx="2">
                  <c:v>Private Lab</c:v>
                </c:pt>
                <c:pt idx="3">
                  <c:v>President</c:v>
                </c:pt>
                <c:pt idx="4">
                  <c:v>Private Lab</c:v>
                </c:pt>
                <c:pt idx="5">
                  <c:v>Private Lab</c:v>
                </c:pt>
                <c:pt idx="6">
                  <c:v>Boursin</c:v>
                </c:pt>
                <c:pt idx="7">
                  <c:v>La Vache Qu</c:v>
                </c:pt>
                <c:pt idx="8">
                  <c:v>Fauquet</c:v>
                </c:pt>
                <c:pt idx="9">
                  <c:v>La Belle Et</c:v>
                </c:pt>
                <c:pt idx="10">
                  <c:v>La Belle Et</c:v>
                </c:pt>
                <c:pt idx="11">
                  <c:v>La Belle Et</c:v>
                </c:pt>
                <c:pt idx="12">
                  <c:v>La Vache Qu</c:v>
                </c:pt>
                <c:pt idx="13">
                  <c:v>La Belle Et</c:v>
                </c:pt>
                <c:pt idx="14">
                  <c:v>President</c:v>
                </c:pt>
                <c:pt idx="15">
                  <c:v>Leerdammer</c:v>
                </c:pt>
                <c:pt idx="16">
                  <c:v>La Belle Et</c:v>
                </c:pt>
                <c:pt idx="17">
                  <c:v>All Others</c:v>
                </c:pt>
                <c:pt idx="18">
                  <c:v>Raguin</c:v>
                </c:pt>
                <c:pt idx="19">
                  <c:v>All Others</c:v>
                </c:pt>
                <c:pt idx="20">
                  <c:v>La Belle Et</c:v>
                </c:pt>
                <c:pt idx="21">
                  <c:v>All Others</c:v>
                </c:pt>
                <c:pt idx="22">
                  <c:v>Raguin</c:v>
                </c:pt>
                <c:pt idx="23">
                  <c:v>La Belle Et</c:v>
                </c:pt>
                <c:pt idx="24">
                  <c:v>La Belle Et</c:v>
                </c:pt>
                <c:pt idx="25">
                  <c:v>Raguin</c:v>
                </c:pt>
                <c:pt idx="26">
                  <c:v>La Belle Et</c:v>
                </c:pt>
                <c:pt idx="27">
                  <c:v>All Others</c:v>
                </c:pt>
                <c:pt idx="28">
                  <c:v>La Belle Et</c:v>
                </c:pt>
                <c:pt idx="29">
                  <c:v>Raguin</c:v>
                </c:pt>
                <c:pt idx="30">
                  <c:v>La Belle Et</c:v>
                </c:pt>
                <c:pt idx="31">
                  <c:v>La Belle Et</c:v>
                </c:pt>
                <c:pt idx="32">
                  <c:v>La Belle Et</c:v>
                </c:pt>
                <c:pt idx="33">
                  <c:v>La Belle Et</c:v>
                </c:pt>
                <c:pt idx="34">
                  <c:v>La Belle Et</c:v>
                </c:pt>
                <c:pt idx="35">
                  <c:v>All Others</c:v>
                </c:pt>
                <c:pt idx="36">
                  <c:v>All Others</c:v>
                </c:pt>
                <c:pt idx="37">
                  <c:v>All Others</c:v>
                </c:pt>
                <c:pt idx="38">
                  <c:v>All Others</c:v>
                </c:pt>
                <c:pt idx="39">
                  <c:v>All Others</c:v>
                </c:pt>
                <c:pt idx="40">
                  <c:v>La Belle Et</c:v>
                </c:pt>
                <c:pt idx="41">
                  <c:v>All Others</c:v>
                </c:pt>
                <c:pt idx="42">
                  <c:v>Private Lab</c:v>
                </c:pt>
                <c:pt idx="43">
                  <c:v>All Others</c:v>
                </c:pt>
                <c:pt idx="44">
                  <c:v>All Others</c:v>
                </c:pt>
                <c:pt idx="45">
                  <c:v>All Others</c:v>
                </c:pt>
              </c:strCache>
            </c:strRef>
          </c:cat>
          <c:val>
            <c:numRef>
              <c:f>Sheet1!$B$2:$B$47</c:f>
              <c:numCache>
                <c:formatCode>General</c:formatCode>
                <c:ptCount val="46"/>
                <c:pt idx="0">
                  <c:v>0.89</c:v>
                </c:pt>
                <c:pt idx="1">
                  <c:v>0.91</c:v>
                </c:pt>
                <c:pt idx="2">
                  <c:v>0.82</c:v>
                </c:pt>
                <c:pt idx="3">
                  <c:v>0.86</c:v>
                </c:pt>
                <c:pt idx="4">
                  <c:v>0.74</c:v>
                </c:pt>
                <c:pt idx="5">
                  <c:v>0.63</c:v>
                </c:pt>
                <c:pt idx="6">
                  <c:v>0.32</c:v>
                </c:pt>
                <c:pt idx="7">
                  <c:v>0.18</c:v>
                </c:pt>
                <c:pt idx="8">
                  <c:v>0.08</c:v>
                </c:pt>
                <c:pt idx="9">
                  <c:v>0.03</c:v>
                </c:pt>
                <c:pt idx="10">
                  <c:v>0.03</c:v>
                </c:pt>
                <c:pt idx="11">
                  <c:v>0.01</c:v>
                </c:pt>
                <c:pt idx="12">
                  <c:v>0.05</c:v>
                </c:pt>
                <c:pt idx="13">
                  <c:v>0.01</c:v>
                </c:pt>
                <c:pt idx="14">
                  <c:v>0.08</c:v>
                </c:pt>
                <c:pt idx="15">
                  <c:v>0.04</c:v>
                </c:pt>
                <c:pt idx="16">
                  <c:v>0.01</c:v>
                </c:pt>
                <c:pt idx="17">
                  <c:v>0.04</c:v>
                </c:pt>
                <c:pt idx="18">
                  <c:v>0.01</c:v>
                </c:pt>
                <c:pt idx="19">
                  <c:v>0.01</c:v>
                </c:pt>
                <c:pt idx="20">
                  <c:v>0.03</c:v>
                </c:pt>
                <c:pt idx="21">
                  <c:v>0.01</c:v>
                </c:pt>
                <c:pt idx="22">
                  <c:v>0.01</c:v>
                </c:pt>
                <c:pt idx="23">
                  <c:v>0.02</c:v>
                </c:pt>
                <c:pt idx="24">
                  <c:v>0.01</c:v>
                </c:pt>
                <c:pt idx="25">
                  <c:v>0.01</c:v>
                </c:pt>
                <c:pt idx="26">
                  <c:v>0.02</c:v>
                </c:pt>
                <c:pt idx="27">
                  <c:v>0.01</c:v>
                </c:pt>
                <c:pt idx="28">
                  <c:v>0.01</c:v>
                </c:pt>
                <c:pt idx="29">
                  <c:v>0.01</c:v>
                </c:pt>
                <c:pt idx="30">
                  <c:v>0.01</c:v>
                </c:pt>
                <c:pt idx="31">
                  <c:v>0.01</c:v>
                </c:pt>
                <c:pt idx="32">
                  <c:v>0.01</c:v>
                </c:pt>
                <c:pt idx="33">
                  <c:v>0.01</c:v>
                </c:pt>
                <c:pt idx="34">
                  <c:v>0.01</c:v>
                </c:pt>
                <c:pt idx="35">
                  <c:v>0.01</c:v>
                </c:pt>
                <c:pt idx="36">
                  <c:v>0.01</c:v>
                </c:pt>
                <c:pt idx="37">
                  <c:v>0.01</c:v>
                </c:pt>
                <c:pt idx="38">
                  <c:v>0.01</c:v>
                </c:pt>
                <c:pt idx="39">
                  <c:v>0.01</c:v>
                </c:pt>
                <c:pt idx="40">
                  <c:v>0.01</c:v>
                </c:pt>
                <c:pt idx="41">
                  <c:v>0.01</c:v>
                </c:pt>
                <c:pt idx="42">
                  <c:v>0.01</c:v>
                </c:pt>
                <c:pt idx="43">
                  <c:v>0.03</c:v>
                </c:pt>
                <c:pt idx="44">
                  <c:v>0.01</c:v>
                </c:pt>
                <c:pt idx="45">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Item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7ECAC4"/>
              </a:solidFill>
            </c:spPr>
            <c:extLst>
              <c:ext xmlns:c16="http://schemas.microsoft.com/office/drawing/2014/chart" uri="{C3380CC4-5D6E-409C-BE32-E72D297353CC}">
                <c16:uniqueId val="{00000010-C76F-4230-900D-40618C09729F}"/>
              </c:ext>
            </c:extLst>
          </c:dPt>
          <c:dPt>
            <c:idx val="6"/>
            <c:invertIfNegative val="1"/>
            <c:bubble3D val="0"/>
            <c:spPr>
              <a:solidFill>
                <a:srgbClr val="7ECAC4"/>
              </a:solidFill>
            </c:spPr>
            <c:extLst>
              <c:ext xmlns:c16="http://schemas.microsoft.com/office/drawing/2014/chart" uri="{C3380CC4-5D6E-409C-BE32-E72D297353CC}">
                <c16:uniqueId val="{00000045-2993-41DE-A2CB-63102DE87051}"/>
              </c:ext>
            </c:extLst>
          </c:dPt>
          <c:dPt>
            <c:idx val="7"/>
            <c:invertIfNegative val="1"/>
            <c:bubble3D val="0"/>
            <c:spPr>
              <a:solidFill>
                <a:srgbClr val="7ECAC4"/>
              </a:solidFill>
            </c:spPr>
            <c:extLst>
              <c:ext xmlns:c16="http://schemas.microsoft.com/office/drawing/2014/chart" uri="{C3380CC4-5D6E-409C-BE32-E72D297353CC}">
                <c16:uniqueId val="{00000047-2993-41DE-A2CB-63102DE87051}"/>
              </c:ext>
            </c:extLst>
          </c:dPt>
          <c:dPt>
            <c:idx val="8"/>
            <c:invertIfNegative val="1"/>
            <c:bubble3D val="0"/>
            <c:spPr>
              <a:solidFill>
                <a:srgbClr val="7ECAC4"/>
              </a:solidFill>
            </c:spPr>
            <c:extLst>
              <c:ext xmlns:c16="http://schemas.microsoft.com/office/drawing/2014/chart" uri="{C3380CC4-5D6E-409C-BE32-E72D297353CC}">
                <c16:uniqueId val="{00000049-2993-41DE-A2CB-63102DE87051}"/>
              </c:ext>
            </c:extLst>
          </c:dPt>
          <c:dPt>
            <c:idx val="9"/>
            <c:invertIfNegative val="1"/>
            <c:bubble3D val="0"/>
            <c:spPr>
              <a:solidFill>
                <a:srgbClr val="7ECAC4"/>
              </a:solidFill>
            </c:spPr>
            <c:extLst>
              <c:ext xmlns:c16="http://schemas.microsoft.com/office/drawing/2014/chart" uri="{C3380CC4-5D6E-409C-BE32-E72D297353CC}">
                <c16:uniqueId val="{0000004B-2993-41DE-A2CB-63102DE87051}"/>
              </c:ext>
            </c:extLst>
          </c:dPt>
          <c:dPt>
            <c:idx val="10"/>
            <c:invertIfNegative val="1"/>
            <c:bubble3D val="0"/>
            <c:spPr>
              <a:solidFill>
                <a:srgbClr val="7ECAC4"/>
              </a:solidFill>
            </c:spPr>
            <c:extLst>
              <c:ext xmlns:c16="http://schemas.microsoft.com/office/drawing/2014/chart" uri="{C3380CC4-5D6E-409C-BE32-E72D297353CC}">
                <c16:uniqueId val="{0000004D-2993-41DE-A2CB-63102DE87051}"/>
              </c:ext>
            </c:extLst>
          </c:dPt>
          <c:dPt>
            <c:idx val="11"/>
            <c:invertIfNegative val="1"/>
            <c:bubble3D val="0"/>
            <c:spPr>
              <a:solidFill>
                <a:srgbClr val="7ECAC4"/>
              </a:solidFill>
            </c:spPr>
            <c:extLst>
              <c:ext xmlns:c16="http://schemas.microsoft.com/office/drawing/2014/chart" uri="{C3380CC4-5D6E-409C-BE32-E72D297353CC}">
                <c16:uniqueId val="{0000004F-2993-41DE-A2CB-63102DE87051}"/>
              </c:ext>
            </c:extLst>
          </c:dPt>
          <c:dPt>
            <c:idx val="12"/>
            <c:invertIfNegative val="1"/>
            <c:bubble3D val="0"/>
            <c:spPr>
              <a:solidFill>
                <a:srgbClr val="7ECAC4"/>
              </a:solidFill>
            </c:spPr>
            <c:extLst>
              <c:ext xmlns:c16="http://schemas.microsoft.com/office/drawing/2014/chart" uri="{C3380CC4-5D6E-409C-BE32-E72D297353CC}">
                <c16:uniqueId val="{00000051-2993-41DE-A2CB-63102DE87051}"/>
              </c:ext>
            </c:extLst>
          </c:dPt>
          <c:dPt>
            <c:idx val="13"/>
            <c:invertIfNegative val="1"/>
            <c:bubble3D val="0"/>
            <c:spPr>
              <a:solidFill>
                <a:srgbClr val="7ECAC4"/>
              </a:solidFill>
            </c:spPr>
            <c:extLst>
              <c:ext xmlns:c16="http://schemas.microsoft.com/office/drawing/2014/chart" uri="{C3380CC4-5D6E-409C-BE32-E72D297353CC}">
                <c16:uniqueId val="{00000053-2993-41DE-A2CB-63102DE87051}"/>
              </c:ext>
            </c:extLst>
          </c:dPt>
          <c:dPt>
            <c:idx val="14"/>
            <c:invertIfNegative val="1"/>
            <c:bubble3D val="0"/>
            <c:spPr>
              <a:solidFill>
                <a:srgbClr val="AEABAB"/>
              </a:solidFill>
            </c:spPr>
            <c:extLst>
              <c:ext xmlns:c16="http://schemas.microsoft.com/office/drawing/2014/chart" uri="{C3380CC4-5D6E-409C-BE32-E72D297353CC}">
                <c16:uniqueId val="{00000055-2993-41DE-A2CB-63102DE87051}"/>
              </c:ext>
            </c:extLst>
          </c:dPt>
          <c:dPt>
            <c:idx val="15"/>
            <c:invertIfNegative val="1"/>
            <c:bubble3D val="0"/>
            <c:spPr>
              <a:solidFill>
                <a:srgbClr val="AEABAB"/>
              </a:solidFill>
            </c:spPr>
            <c:extLst>
              <c:ext xmlns:c16="http://schemas.microsoft.com/office/drawing/2014/chart" uri="{C3380CC4-5D6E-409C-BE32-E72D297353CC}">
                <c16:uniqueId val="{00000057-2993-41DE-A2CB-63102DE87051}"/>
              </c:ext>
            </c:extLst>
          </c:dPt>
          <c:dPt>
            <c:idx val="16"/>
            <c:invertIfNegative val="1"/>
            <c:bubble3D val="0"/>
            <c:spPr>
              <a:solidFill>
                <a:srgbClr val="AEABAB"/>
              </a:solidFill>
            </c:spPr>
            <c:extLst>
              <c:ext xmlns:c16="http://schemas.microsoft.com/office/drawing/2014/chart" uri="{C3380CC4-5D6E-409C-BE32-E72D297353CC}">
                <c16:uniqueId val="{00000059-2993-41DE-A2CB-63102DE87051}"/>
              </c:ext>
            </c:extLst>
          </c:dPt>
          <c:dPt>
            <c:idx val="17"/>
            <c:invertIfNegative val="1"/>
            <c:bubble3D val="0"/>
            <c:spPr>
              <a:solidFill>
                <a:srgbClr val="AEABAB"/>
              </a:solidFill>
            </c:spPr>
            <c:extLst>
              <c:ext xmlns:c16="http://schemas.microsoft.com/office/drawing/2014/chart" uri="{C3380CC4-5D6E-409C-BE32-E72D297353CC}">
                <c16:uniqueId val="{0000005B-2993-41DE-A2CB-63102DE87051}"/>
              </c:ext>
            </c:extLst>
          </c:dPt>
          <c:dPt>
            <c:idx val="18"/>
            <c:invertIfNegative val="1"/>
            <c:bubble3D val="0"/>
            <c:spPr>
              <a:solidFill>
                <a:srgbClr val="AEABAB"/>
              </a:solidFill>
            </c:spPr>
            <c:extLst>
              <c:ext xmlns:c16="http://schemas.microsoft.com/office/drawing/2014/chart" uri="{C3380CC4-5D6E-409C-BE32-E72D297353CC}">
                <c16:uniqueId val="{0000005D-2993-41DE-A2CB-63102DE87051}"/>
              </c:ext>
            </c:extLst>
          </c:dPt>
          <c:dPt>
            <c:idx val="19"/>
            <c:invertIfNegative val="1"/>
            <c:bubble3D val="0"/>
            <c:spPr>
              <a:solidFill>
                <a:srgbClr val="AEABAB"/>
              </a:solidFill>
            </c:spPr>
            <c:extLst>
              <c:ext xmlns:c16="http://schemas.microsoft.com/office/drawing/2014/chart" uri="{C3380CC4-5D6E-409C-BE32-E72D297353CC}">
                <c16:uniqueId val="{0000005F-2993-41DE-A2CB-63102DE87051}"/>
              </c:ext>
            </c:extLst>
          </c:dPt>
          <c:dPt>
            <c:idx val="20"/>
            <c:invertIfNegative val="1"/>
            <c:bubble3D val="0"/>
            <c:spPr>
              <a:solidFill>
                <a:srgbClr val="AEABAB"/>
              </a:solidFill>
            </c:spPr>
            <c:extLst>
              <c:ext xmlns:c16="http://schemas.microsoft.com/office/drawing/2014/chart" uri="{C3380CC4-5D6E-409C-BE32-E72D297353CC}">
                <c16:uniqueId val="{00000061-2993-41DE-A2CB-63102DE87051}"/>
              </c:ext>
            </c:extLst>
          </c:dPt>
          <c:dPt>
            <c:idx val="21"/>
            <c:invertIfNegative val="1"/>
            <c:bubble3D val="0"/>
            <c:spPr>
              <a:solidFill>
                <a:srgbClr val="AEABAB"/>
              </a:solidFill>
            </c:spPr>
            <c:extLst>
              <c:ext xmlns:c16="http://schemas.microsoft.com/office/drawing/2014/chart" uri="{C3380CC4-5D6E-409C-BE32-E72D297353CC}">
                <c16:uniqueId val="{00000063-2993-41DE-A2CB-63102DE87051}"/>
              </c:ext>
            </c:extLst>
          </c:dPt>
          <c:dPt>
            <c:idx val="22"/>
            <c:invertIfNegative val="1"/>
            <c:bubble3D val="0"/>
            <c:spPr>
              <a:solidFill>
                <a:srgbClr val="AEABAB"/>
              </a:solidFill>
            </c:spPr>
            <c:extLst>
              <c:ext xmlns:c16="http://schemas.microsoft.com/office/drawing/2014/chart" uri="{C3380CC4-5D6E-409C-BE32-E72D297353CC}">
                <c16:uniqueId val="{00000065-2993-41DE-A2CB-63102DE87051}"/>
              </c:ext>
            </c:extLst>
          </c:dPt>
          <c:dPt>
            <c:idx val="23"/>
            <c:invertIfNegative val="1"/>
            <c:bubble3D val="0"/>
            <c:spPr>
              <a:solidFill>
                <a:srgbClr val="AEABAB"/>
              </a:solidFill>
            </c:spPr>
            <c:extLst>
              <c:ext xmlns:c16="http://schemas.microsoft.com/office/drawing/2014/chart" uri="{C3380CC4-5D6E-409C-BE32-E72D297353CC}">
                <c16:uniqueId val="{00000067-2993-41DE-A2CB-63102DE87051}"/>
              </c:ext>
            </c:extLst>
          </c:dPt>
          <c:dPt>
            <c:idx val="24"/>
            <c:invertIfNegative val="1"/>
            <c:bubble3D val="0"/>
            <c:spPr>
              <a:solidFill>
                <a:srgbClr val="AEABAB"/>
              </a:solidFill>
            </c:spPr>
            <c:extLst>
              <c:ext xmlns:c16="http://schemas.microsoft.com/office/drawing/2014/chart" uri="{C3380CC4-5D6E-409C-BE32-E72D297353CC}">
                <c16:uniqueId val="{00000069-2993-41DE-A2CB-63102DE87051}"/>
              </c:ext>
            </c:extLst>
          </c:dPt>
          <c:dPt>
            <c:idx val="25"/>
            <c:invertIfNegative val="1"/>
            <c:bubble3D val="0"/>
            <c:spPr>
              <a:solidFill>
                <a:srgbClr val="AEABAB"/>
              </a:solidFill>
            </c:spPr>
            <c:extLst>
              <c:ext xmlns:c16="http://schemas.microsoft.com/office/drawing/2014/chart" uri="{C3380CC4-5D6E-409C-BE32-E72D297353CC}">
                <c16:uniqueId val="{0000006B-2993-41DE-A2CB-63102DE87051}"/>
              </c:ext>
            </c:extLst>
          </c:dPt>
          <c:dPt>
            <c:idx val="26"/>
            <c:invertIfNegative val="1"/>
            <c:bubble3D val="0"/>
            <c:spPr>
              <a:solidFill>
                <a:srgbClr val="AEABAB"/>
              </a:solidFill>
            </c:spPr>
            <c:extLst>
              <c:ext xmlns:c16="http://schemas.microsoft.com/office/drawing/2014/chart" uri="{C3380CC4-5D6E-409C-BE32-E72D297353CC}">
                <c16:uniqueId val="{0000006D-2993-41DE-A2CB-63102DE87051}"/>
              </c:ext>
            </c:extLst>
          </c:dPt>
          <c:dPt>
            <c:idx val="27"/>
            <c:invertIfNegative val="1"/>
            <c:bubble3D val="0"/>
            <c:spPr>
              <a:solidFill>
                <a:srgbClr val="AEABAB"/>
              </a:solidFill>
            </c:spPr>
            <c:extLst>
              <c:ext xmlns:c16="http://schemas.microsoft.com/office/drawing/2014/chart" uri="{C3380CC4-5D6E-409C-BE32-E72D297353CC}">
                <c16:uniqueId val="{0000006F-2993-41DE-A2CB-63102DE87051}"/>
              </c:ext>
            </c:extLst>
          </c:dPt>
          <c:dPt>
            <c:idx val="28"/>
            <c:invertIfNegative val="1"/>
            <c:bubble3D val="0"/>
            <c:spPr>
              <a:solidFill>
                <a:srgbClr val="AEABAB"/>
              </a:solidFill>
            </c:spPr>
            <c:extLst>
              <c:ext xmlns:c16="http://schemas.microsoft.com/office/drawing/2014/chart" uri="{C3380CC4-5D6E-409C-BE32-E72D297353CC}">
                <c16:uniqueId val="{00000071-2993-41DE-A2CB-63102DE87051}"/>
              </c:ext>
            </c:extLst>
          </c:dPt>
          <c:dPt>
            <c:idx val="29"/>
            <c:invertIfNegative val="1"/>
            <c:bubble3D val="0"/>
            <c:spPr>
              <a:solidFill>
                <a:srgbClr val="AEABAB"/>
              </a:solidFill>
            </c:spPr>
            <c:extLst>
              <c:ext xmlns:c16="http://schemas.microsoft.com/office/drawing/2014/chart" uri="{C3380CC4-5D6E-409C-BE32-E72D297353CC}">
                <c16:uniqueId val="{00000073-2993-41DE-A2CB-63102DE87051}"/>
              </c:ext>
            </c:extLst>
          </c:dPt>
          <c:dPt>
            <c:idx val="30"/>
            <c:invertIfNegative val="1"/>
            <c:bubble3D val="0"/>
            <c:spPr>
              <a:solidFill>
                <a:srgbClr val="AEABAB"/>
              </a:solidFill>
            </c:spPr>
            <c:extLst>
              <c:ext xmlns:c16="http://schemas.microsoft.com/office/drawing/2014/chart" uri="{C3380CC4-5D6E-409C-BE32-E72D297353CC}">
                <c16:uniqueId val="{00000075-2993-41DE-A2CB-63102DE87051}"/>
              </c:ext>
            </c:extLst>
          </c:dPt>
          <c:dPt>
            <c:idx val="31"/>
            <c:invertIfNegative val="1"/>
            <c:bubble3D val="0"/>
            <c:spPr>
              <a:solidFill>
                <a:srgbClr val="AEABAB"/>
              </a:solidFill>
            </c:spPr>
            <c:extLst>
              <c:ext xmlns:c16="http://schemas.microsoft.com/office/drawing/2014/chart" uri="{C3380CC4-5D6E-409C-BE32-E72D297353CC}">
                <c16:uniqueId val="{00000077-2993-41DE-A2CB-63102DE87051}"/>
              </c:ext>
            </c:extLst>
          </c:dPt>
          <c:dPt>
            <c:idx val="32"/>
            <c:invertIfNegative val="1"/>
            <c:bubble3D val="0"/>
            <c:spPr>
              <a:solidFill>
                <a:srgbClr val="AEABAB"/>
              </a:solidFill>
            </c:spPr>
            <c:extLst>
              <c:ext xmlns:c16="http://schemas.microsoft.com/office/drawing/2014/chart" uri="{C3380CC4-5D6E-409C-BE32-E72D297353CC}">
                <c16:uniqueId val="{00000079-2993-41DE-A2CB-63102DE87051}"/>
              </c:ext>
            </c:extLst>
          </c:dPt>
          <c:dPt>
            <c:idx val="33"/>
            <c:invertIfNegative val="1"/>
            <c:bubble3D val="0"/>
            <c:spPr>
              <a:solidFill>
                <a:srgbClr val="AEABAB"/>
              </a:solidFill>
            </c:spPr>
            <c:extLst>
              <c:ext xmlns:c16="http://schemas.microsoft.com/office/drawing/2014/chart" uri="{C3380CC4-5D6E-409C-BE32-E72D297353CC}">
                <c16:uniqueId val="{0000007B-2993-41DE-A2CB-63102DE87051}"/>
              </c:ext>
            </c:extLst>
          </c:dPt>
          <c:dPt>
            <c:idx val="34"/>
            <c:invertIfNegative val="1"/>
            <c:bubble3D val="0"/>
            <c:spPr>
              <a:solidFill>
                <a:srgbClr val="AEABAB"/>
              </a:solidFill>
            </c:spPr>
            <c:extLst>
              <c:ext xmlns:c16="http://schemas.microsoft.com/office/drawing/2014/chart" uri="{C3380CC4-5D6E-409C-BE32-E72D297353CC}">
                <c16:uniqueId val="{0000007D-2993-41DE-A2CB-63102DE87051}"/>
              </c:ext>
            </c:extLst>
          </c:dPt>
          <c:dPt>
            <c:idx val="35"/>
            <c:invertIfNegative val="1"/>
            <c:bubble3D val="0"/>
            <c:spPr>
              <a:solidFill>
                <a:srgbClr val="AEABAB"/>
              </a:solidFill>
            </c:spPr>
            <c:extLst>
              <c:ext xmlns:c16="http://schemas.microsoft.com/office/drawing/2014/chart" uri="{C3380CC4-5D6E-409C-BE32-E72D297353CC}">
                <c16:uniqueId val="{0000007F-2993-41DE-A2CB-63102DE87051}"/>
              </c:ext>
            </c:extLst>
          </c:dPt>
          <c:dPt>
            <c:idx val="36"/>
            <c:invertIfNegative val="1"/>
            <c:bubble3D val="0"/>
            <c:spPr>
              <a:solidFill>
                <a:srgbClr val="AEABAB"/>
              </a:solidFill>
            </c:spPr>
            <c:extLst>
              <c:ext xmlns:c16="http://schemas.microsoft.com/office/drawing/2014/chart" uri="{C3380CC4-5D6E-409C-BE32-E72D297353CC}">
                <c16:uniqueId val="{00000081-2993-41DE-A2CB-63102DE87051}"/>
              </c:ext>
            </c:extLst>
          </c:dPt>
          <c:dPt>
            <c:idx val="37"/>
            <c:invertIfNegative val="1"/>
            <c:bubble3D val="0"/>
            <c:spPr>
              <a:solidFill>
                <a:srgbClr val="AEABAB"/>
              </a:solidFill>
            </c:spPr>
            <c:extLst>
              <c:ext xmlns:c16="http://schemas.microsoft.com/office/drawing/2014/chart" uri="{C3380CC4-5D6E-409C-BE32-E72D297353CC}">
                <c16:uniqueId val="{00000083-2993-41DE-A2CB-63102DE87051}"/>
              </c:ext>
            </c:extLst>
          </c:dPt>
          <c:dPt>
            <c:idx val="38"/>
            <c:invertIfNegative val="1"/>
            <c:bubble3D val="0"/>
            <c:spPr>
              <a:solidFill>
                <a:srgbClr val="AEABAB"/>
              </a:solidFill>
            </c:spPr>
            <c:extLst>
              <c:ext xmlns:c16="http://schemas.microsoft.com/office/drawing/2014/chart" uri="{C3380CC4-5D6E-409C-BE32-E72D297353CC}">
                <c16:uniqueId val="{00000085-2993-41DE-A2CB-63102DE87051}"/>
              </c:ext>
            </c:extLst>
          </c:dPt>
          <c:dPt>
            <c:idx val="39"/>
            <c:invertIfNegative val="1"/>
            <c:bubble3D val="0"/>
            <c:spPr>
              <a:solidFill>
                <a:srgbClr val="AEABAB"/>
              </a:solidFill>
            </c:spPr>
            <c:extLst>
              <c:ext xmlns:c16="http://schemas.microsoft.com/office/drawing/2014/chart" uri="{C3380CC4-5D6E-409C-BE32-E72D297353CC}">
                <c16:uniqueId val="{00000087-2993-41DE-A2CB-63102DE87051}"/>
              </c:ext>
            </c:extLst>
          </c:dPt>
          <c:dPt>
            <c:idx val="40"/>
            <c:invertIfNegative val="1"/>
            <c:bubble3D val="0"/>
            <c:spPr>
              <a:solidFill>
                <a:srgbClr val="AEABAB"/>
              </a:solidFill>
            </c:spPr>
            <c:extLst>
              <c:ext xmlns:c16="http://schemas.microsoft.com/office/drawing/2014/chart" uri="{C3380CC4-5D6E-409C-BE32-E72D297353CC}">
                <c16:uniqueId val="{00000089-2993-41DE-A2CB-63102DE87051}"/>
              </c:ext>
            </c:extLst>
          </c:dPt>
          <c:dPt>
            <c:idx val="41"/>
            <c:invertIfNegative val="1"/>
            <c:bubble3D val="0"/>
            <c:spPr>
              <a:solidFill>
                <a:srgbClr val="AEABAB"/>
              </a:solidFill>
            </c:spPr>
            <c:extLst>
              <c:ext xmlns:c16="http://schemas.microsoft.com/office/drawing/2014/chart" uri="{C3380CC4-5D6E-409C-BE32-E72D297353CC}">
                <c16:uniqueId val="{0000008B-2993-41DE-A2CB-63102DE87051}"/>
              </c:ext>
            </c:extLst>
          </c:dPt>
          <c:dPt>
            <c:idx val="42"/>
            <c:invertIfNegative val="1"/>
            <c:bubble3D val="0"/>
            <c:spPr>
              <a:solidFill>
                <a:srgbClr val="AEABAB"/>
              </a:solidFill>
            </c:spPr>
            <c:extLst>
              <c:ext xmlns:c16="http://schemas.microsoft.com/office/drawing/2014/chart" uri="{C3380CC4-5D6E-409C-BE32-E72D297353CC}">
                <c16:uniqueId val="{0000008D-2993-41DE-A2CB-63102DE87051}"/>
              </c:ext>
            </c:extLst>
          </c:dPt>
          <c:dPt>
            <c:idx val="43"/>
            <c:invertIfNegative val="1"/>
            <c:bubble3D val="0"/>
            <c:spPr>
              <a:solidFill>
                <a:srgbClr val="AEABAB"/>
              </a:solidFill>
            </c:spPr>
            <c:extLst>
              <c:ext xmlns:c16="http://schemas.microsoft.com/office/drawing/2014/chart" uri="{C3380CC4-5D6E-409C-BE32-E72D297353CC}">
                <c16:uniqueId val="{0000008F-2993-41DE-A2CB-63102DE87051}"/>
              </c:ext>
            </c:extLst>
          </c:dPt>
          <c:dPt>
            <c:idx val="44"/>
            <c:invertIfNegative val="1"/>
            <c:bubble3D val="0"/>
            <c:spPr>
              <a:solidFill>
                <a:srgbClr val="AEABAB"/>
              </a:solidFill>
            </c:spPr>
            <c:extLst>
              <c:ext xmlns:c16="http://schemas.microsoft.com/office/drawing/2014/chart" uri="{C3380CC4-5D6E-409C-BE32-E72D297353CC}">
                <c16:uniqueId val="{00000091-2993-41DE-A2CB-63102DE87051}"/>
              </c:ext>
            </c:extLst>
          </c:dPt>
          <c:dPt>
            <c:idx val="45"/>
            <c:invertIfNegative val="1"/>
            <c:bubble3D val="0"/>
            <c:spPr>
              <a:solidFill>
                <a:srgbClr val="AEABAB"/>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47</c:f>
              <c:strCache>
                <c:ptCount val="46"/>
                <c:pt idx="0">
                  <c:v>Private Lab</c:v>
                </c:pt>
                <c:pt idx="1">
                  <c:v>President</c:v>
                </c:pt>
                <c:pt idx="2">
                  <c:v>Private Lab</c:v>
                </c:pt>
                <c:pt idx="3">
                  <c:v>President</c:v>
                </c:pt>
                <c:pt idx="4">
                  <c:v>Private Lab</c:v>
                </c:pt>
                <c:pt idx="5">
                  <c:v>Private Lab</c:v>
                </c:pt>
                <c:pt idx="6">
                  <c:v>Boursin</c:v>
                </c:pt>
                <c:pt idx="7">
                  <c:v>La Vache Qu</c:v>
                </c:pt>
                <c:pt idx="8">
                  <c:v>Fauquet</c:v>
                </c:pt>
                <c:pt idx="9">
                  <c:v>La Belle Et</c:v>
                </c:pt>
                <c:pt idx="10">
                  <c:v>La Belle Et</c:v>
                </c:pt>
                <c:pt idx="11">
                  <c:v>La Belle Et</c:v>
                </c:pt>
                <c:pt idx="12">
                  <c:v>La Vache Qu</c:v>
                </c:pt>
                <c:pt idx="13">
                  <c:v>La Belle Et</c:v>
                </c:pt>
                <c:pt idx="14">
                  <c:v>President</c:v>
                </c:pt>
                <c:pt idx="15">
                  <c:v>Leerdammer</c:v>
                </c:pt>
                <c:pt idx="16">
                  <c:v>La Belle Et</c:v>
                </c:pt>
                <c:pt idx="17">
                  <c:v>All Others</c:v>
                </c:pt>
                <c:pt idx="18">
                  <c:v>Raguin</c:v>
                </c:pt>
                <c:pt idx="19">
                  <c:v>All Others</c:v>
                </c:pt>
                <c:pt idx="20">
                  <c:v>La Belle Et</c:v>
                </c:pt>
                <c:pt idx="21">
                  <c:v>All Others</c:v>
                </c:pt>
                <c:pt idx="22">
                  <c:v>Raguin</c:v>
                </c:pt>
                <c:pt idx="23">
                  <c:v>La Belle Et</c:v>
                </c:pt>
                <c:pt idx="24">
                  <c:v>La Belle Et</c:v>
                </c:pt>
                <c:pt idx="25">
                  <c:v>Raguin</c:v>
                </c:pt>
                <c:pt idx="26">
                  <c:v>La Belle Et</c:v>
                </c:pt>
                <c:pt idx="27">
                  <c:v>All Others</c:v>
                </c:pt>
                <c:pt idx="28">
                  <c:v>La Belle Et</c:v>
                </c:pt>
                <c:pt idx="29">
                  <c:v>Raguin</c:v>
                </c:pt>
                <c:pt idx="30">
                  <c:v>La Belle Et</c:v>
                </c:pt>
                <c:pt idx="31">
                  <c:v>La Belle Et</c:v>
                </c:pt>
                <c:pt idx="32">
                  <c:v>La Belle Et</c:v>
                </c:pt>
                <c:pt idx="33">
                  <c:v>La Belle Et</c:v>
                </c:pt>
                <c:pt idx="34">
                  <c:v>La Belle Et</c:v>
                </c:pt>
                <c:pt idx="35">
                  <c:v>All Others</c:v>
                </c:pt>
                <c:pt idx="36">
                  <c:v>All Others</c:v>
                </c:pt>
                <c:pt idx="37">
                  <c:v>All Others</c:v>
                </c:pt>
                <c:pt idx="38">
                  <c:v>All Others</c:v>
                </c:pt>
                <c:pt idx="39">
                  <c:v>All Others</c:v>
                </c:pt>
                <c:pt idx="40">
                  <c:v>La Belle Et</c:v>
                </c:pt>
                <c:pt idx="41">
                  <c:v>All Others</c:v>
                </c:pt>
                <c:pt idx="42">
                  <c:v>Private Lab</c:v>
                </c:pt>
                <c:pt idx="43">
                  <c:v>All Others</c:v>
                </c:pt>
                <c:pt idx="44">
                  <c:v>All Others</c:v>
                </c:pt>
                <c:pt idx="45">
                  <c:v>All Others</c:v>
                </c:pt>
              </c:strCache>
            </c:strRef>
          </c:cat>
          <c:val>
            <c:numRef>
              <c:f>Sheet1!$C$2:$C$47</c:f>
              <c:numCache>
                <c:formatCode>General</c:formatCode>
                <c:ptCount val="46"/>
                <c:pt idx="0">
                  <c:v>0.28624357277663603</c:v>
                </c:pt>
                <c:pt idx="1">
                  <c:v>0.46510883774643497</c:v>
                </c:pt>
                <c:pt idx="2">
                  <c:v>0.6376519532010327</c:v>
                </c:pt>
                <c:pt idx="3">
                  <c:v>0.7498364287450782</c:v>
                </c:pt>
                <c:pt idx="4">
                  <c:v>0.8190241381925004</c:v>
                </c:pt>
                <c:pt idx="5">
                  <c:v>0.8723219196946564</c:v>
                </c:pt>
                <c:pt idx="6">
                  <c:v>0.8930922771177168</c:v>
                </c:pt>
                <c:pt idx="7">
                  <c:v>0.9045171201974476</c:v>
                </c:pt>
                <c:pt idx="8">
                  <c:v>0.9141187724039203</c:v>
                </c:pt>
                <c:pt idx="9">
                  <c:v>0.9232357690402543</c:v>
                </c:pt>
                <c:pt idx="10">
                  <c:v>0.9305921110059286</c:v>
                </c:pt>
                <c:pt idx="11">
                  <c:v>0.9367972657087683</c:v>
                </c:pt>
                <c:pt idx="12">
                  <c:v>0.9422217601491696</c:v>
                </c:pt>
                <c:pt idx="13">
                  <c:v>0.9467545925675201</c:v>
                </c:pt>
                <c:pt idx="14">
                  <c:v>0.9512736149077968</c:v>
                </c:pt>
                <c:pt idx="15">
                  <c:v>0.9548663197470827</c:v>
                </c:pt>
                <c:pt idx="16">
                  <c:v>0.9583568821221243</c:v>
                </c:pt>
                <c:pt idx="17">
                  <c:v>0.9614860373596485</c:v>
                </c:pt>
                <c:pt idx="18">
                  <c:v>0.9641709249912124</c:v>
                </c:pt>
                <c:pt idx="19">
                  <c:v>0.9666924367934875</c:v>
                </c:pt>
                <c:pt idx="20">
                  <c:v>0.9689914239415162</c:v>
                </c:pt>
                <c:pt idx="21">
                  <c:v>0.9709467225427637</c:v>
                </c:pt>
                <c:pt idx="22">
                  <c:v>0.9726352000129241</c:v>
                </c:pt>
                <c:pt idx="23">
                  <c:v>0.9742832895189064</c:v>
                </c:pt>
                <c:pt idx="24">
                  <c:v>0.9757521085774395</c:v>
                </c:pt>
                <c:pt idx="25">
                  <c:v>0.9772162374207778</c:v>
                </c:pt>
                <c:pt idx="26">
                  <c:v>0.9786431051100677</c:v>
                </c:pt>
                <c:pt idx="27">
                  <c:v>0.9797843908074909</c:v>
                </c:pt>
                <c:pt idx="28">
                  <c:v>0.980852196466861</c:v>
                </c:pt>
                <c:pt idx="29">
                  <c:v>0.981895769347724</c:v>
                </c:pt>
                <c:pt idx="30">
                  <c:v>0.982793163855013</c:v>
                </c:pt>
                <c:pt idx="31">
                  <c:v>0.9836897766597695</c:v>
                </c:pt>
                <c:pt idx="32">
                  <c:v>0.9844222319327048</c:v>
                </c:pt>
                <c:pt idx="33">
                  <c:v>0.9851101301612887</c:v>
                </c:pt>
                <c:pt idx="34">
                  <c:v>0.9857714505037682</c:v>
                </c:pt>
                <c:pt idx="35">
                  <c:v>0.9870005474523402</c:v>
                </c:pt>
                <c:pt idx="36">
                  <c:v>0.9875651972483028</c:v>
                </c:pt>
                <c:pt idx="37">
                  <c:v>0.988098839510477</c:v>
                </c:pt>
                <c:pt idx="38">
                  <c:v>0.9910062517962873</c:v>
                </c:pt>
                <c:pt idx="39">
                  <c:v>0.9918494482613243</c:v>
                </c:pt>
                <c:pt idx="40">
                  <c:v>0.9933625637966981</c:v>
                </c:pt>
                <c:pt idx="41">
                  <c:v>0.9948780244396693</c:v>
                </c:pt>
                <c:pt idx="42">
                  <c:v>0.9964586269603473</c:v>
                </c:pt>
                <c:pt idx="43">
                  <c:v>0.9982198027660286</c:v>
                </c:pt>
                <c:pt idx="44">
                  <c:v>0.9984636939561629</c:v>
                </c:pt>
                <c:pt idx="45">
                  <c:v>0.9996292124320931</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77</c:f>
              <c:strCache>
                <c:ptCount val="76"/>
                <c:pt idx="0">
                  <c:v>Private Lab</c:v>
                </c:pt>
                <c:pt idx="1">
                  <c:v>Private Lab</c:v>
                </c:pt>
                <c:pt idx="2">
                  <c:v>President</c:v>
                </c:pt>
                <c:pt idx="3">
                  <c:v>President</c:v>
                </c:pt>
                <c:pt idx="4">
                  <c:v>President</c:v>
                </c:pt>
                <c:pt idx="5">
                  <c:v>President</c:v>
                </c:pt>
                <c:pt idx="6">
                  <c:v>Private Lab</c:v>
                </c:pt>
                <c:pt idx="7">
                  <c:v>Private Lab</c:v>
                </c:pt>
                <c:pt idx="8">
                  <c:v>Boursin</c:v>
                </c:pt>
                <c:pt idx="9">
                  <c:v>La Belle Et</c:v>
                </c:pt>
                <c:pt idx="10">
                  <c:v>La Belle Et</c:v>
                </c:pt>
                <c:pt idx="11">
                  <c:v>President</c:v>
                </c:pt>
                <c:pt idx="12">
                  <c:v>Richesmonts</c:v>
                </c:pt>
                <c:pt idx="13">
                  <c:v>Raguin</c:v>
                </c:pt>
                <c:pt idx="14">
                  <c:v>Raguin</c:v>
                </c:pt>
                <c:pt idx="15">
                  <c:v>La Belle Et</c:v>
                </c:pt>
                <c:pt idx="16">
                  <c:v>La Belle Et</c:v>
                </c:pt>
                <c:pt idx="17">
                  <c:v>La Belle Et</c:v>
                </c:pt>
                <c:pt idx="18">
                  <c:v>Raguin</c:v>
                </c:pt>
                <c:pt idx="19">
                  <c:v>Raguin</c:v>
                </c:pt>
                <c:pt idx="20">
                  <c:v>All Others</c:v>
                </c:pt>
                <c:pt idx="21">
                  <c:v>Milleret: A</c:v>
                </c:pt>
                <c:pt idx="22">
                  <c:v>Milleret: A</c:v>
                </c:pt>
                <c:pt idx="23">
                  <c:v>All Others</c:v>
                </c:pt>
                <c:pt idx="24">
                  <c:v>La Belle Et</c:v>
                </c:pt>
                <c:pt idx="25">
                  <c:v>All Others</c:v>
                </c:pt>
                <c:pt idx="26">
                  <c:v>President</c:v>
                </c:pt>
                <c:pt idx="27">
                  <c:v>All Others</c:v>
                </c:pt>
                <c:pt idx="28">
                  <c:v>La Belle Et</c:v>
                </c:pt>
                <c:pt idx="29">
                  <c:v>All Others</c:v>
                </c:pt>
                <c:pt idx="30">
                  <c:v>All Others</c:v>
                </c:pt>
                <c:pt idx="31">
                  <c:v>Milleret: A</c:v>
                </c:pt>
                <c:pt idx="32">
                  <c:v>All Others</c:v>
                </c:pt>
                <c:pt idx="33">
                  <c:v>La Belle Et</c:v>
                </c:pt>
                <c:pt idx="34">
                  <c:v>Milleret: A</c:v>
                </c:pt>
                <c:pt idx="35">
                  <c:v>La Belle Et</c:v>
                </c:pt>
                <c:pt idx="36">
                  <c:v>La Belle Et</c:v>
                </c:pt>
                <c:pt idx="37">
                  <c:v>La Belle Et</c:v>
                </c:pt>
                <c:pt idx="38">
                  <c:v>La Belle Et</c:v>
                </c:pt>
                <c:pt idx="39">
                  <c:v>La Belle Et</c:v>
                </c:pt>
                <c:pt idx="40">
                  <c:v>All Others</c:v>
                </c:pt>
                <c:pt idx="41">
                  <c:v>All Others</c:v>
                </c:pt>
                <c:pt idx="42">
                  <c:v>La Belle Et</c:v>
                </c:pt>
                <c:pt idx="43">
                  <c:v>All Others</c:v>
                </c:pt>
                <c:pt idx="44">
                  <c:v>All Others</c:v>
                </c:pt>
                <c:pt idx="45">
                  <c:v>La Belle Et</c:v>
                </c:pt>
                <c:pt idx="46">
                  <c:v>La Belle Et</c:v>
                </c:pt>
                <c:pt idx="47">
                  <c:v>All Others</c:v>
                </c:pt>
                <c:pt idx="48">
                  <c:v>All Others</c:v>
                </c:pt>
                <c:pt idx="49">
                  <c:v>All Others</c:v>
                </c:pt>
                <c:pt idx="50">
                  <c:v>La Belle Et</c:v>
                </c:pt>
                <c:pt idx="51">
                  <c:v>La Belle Et</c:v>
                </c:pt>
                <c:pt idx="52">
                  <c:v>Raguin</c:v>
                </c:pt>
                <c:pt idx="53">
                  <c:v>All Others</c:v>
                </c:pt>
                <c:pt idx="54">
                  <c:v>All Others</c:v>
                </c:pt>
                <c:pt idx="55">
                  <c:v>Raguin</c:v>
                </c:pt>
                <c:pt idx="56">
                  <c:v>La Belle Et</c:v>
                </c:pt>
                <c:pt idx="57">
                  <c:v>Raguin</c:v>
                </c:pt>
                <c:pt idx="58">
                  <c:v>All Others</c:v>
                </c:pt>
                <c:pt idx="59">
                  <c:v>All Others</c:v>
                </c:pt>
                <c:pt idx="60">
                  <c:v>All Others</c:v>
                </c:pt>
                <c:pt idx="61">
                  <c:v>All Others</c:v>
                </c:pt>
                <c:pt idx="62">
                  <c:v>All Others</c:v>
                </c:pt>
                <c:pt idx="63">
                  <c:v>All Others</c:v>
                </c:pt>
                <c:pt idx="64">
                  <c:v>All Others</c:v>
                </c:pt>
                <c:pt idx="65">
                  <c:v>Raguin</c:v>
                </c:pt>
                <c:pt idx="66">
                  <c:v>Raguin</c:v>
                </c:pt>
                <c:pt idx="67">
                  <c:v>Raguin</c:v>
                </c:pt>
                <c:pt idx="68">
                  <c:v>Raguin</c:v>
                </c:pt>
                <c:pt idx="69">
                  <c:v>Raguin</c:v>
                </c:pt>
                <c:pt idx="70">
                  <c:v>Raguin</c:v>
                </c:pt>
                <c:pt idx="71">
                  <c:v>All Others</c:v>
                </c:pt>
                <c:pt idx="72">
                  <c:v>All Others</c:v>
                </c:pt>
                <c:pt idx="73">
                  <c:v>Milleret: A</c:v>
                </c:pt>
                <c:pt idx="74">
                  <c:v>Raguin</c:v>
                </c:pt>
                <c:pt idx="75">
                  <c:v>Private Lab</c:v>
                </c:pt>
              </c:strCache>
            </c:strRef>
          </c:cat>
          <c:val>
            <c:numRef>
              <c:f>Sheet1!$B$2:$B$77</c:f>
              <c:numCache>
                <c:formatCode>General</c:formatCode>
                <c:ptCount val="76"/>
                <c:pt idx="0">
                  <c:v>1.0</c:v>
                </c:pt>
                <c:pt idx="1">
                  <c:v>0.95</c:v>
                </c:pt>
                <c:pt idx="2">
                  <c:v>0.99</c:v>
                </c:pt>
                <c:pt idx="3">
                  <c:v>0.99</c:v>
                </c:pt>
                <c:pt idx="4">
                  <c:v>0.99</c:v>
                </c:pt>
                <c:pt idx="5">
                  <c:v>0.99</c:v>
                </c:pt>
                <c:pt idx="6">
                  <c:v>0.97</c:v>
                </c:pt>
                <c:pt idx="7">
                  <c:v>0.95</c:v>
                </c:pt>
                <c:pt idx="8">
                  <c:v>0.88</c:v>
                </c:pt>
                <c:pt idx="9">
                  <c:v>0.06</c:v>
                </c:pt>
                <c:pt idx="10">
                  <c:v>0.06</c:v>
                </c:pt>
                <c:pt idx="11">
                  <c:v>0.46</c:v>
                </c:pt>
                <c:pt idx="12">
                  <c:v>0.74</c:v>
                </c:pt>
                <c:pt idx="13">
                  <c:v>0.05</c:v>
                </c:pt>
                <c:pt idx="14">
                  <c:v>0.07</c:v>
                </c:pt>
                <c:pt idx="15">
                  <c:v>0.1</c:v>
                </c:pt>
                <c:pt idx="16">
                  <c:v>0.1</c:v>
                </c:pt>
                <c:pt idx="17">
                  <c:v>0.04</c:v>
                </c:pt>
                <c:pt idx="18">
                  <c:v>0.07</c:v>
                </c:pt>
                <c:pt idx="19">
                  <c:v>0.04</c:v>
                </c:pt>
                <c:pt idx="20">
                  <c:v>0.12</c:v>
                </c:pt>
                <c:pt idx="21">
                  <c:v>0.24</c:v>
                </c:pt>
                <c:pt idx="22">
                  <c:v>0.27</c:v>
                </c:pt>
                <c:pt idx="23">
                  <c:v>0.13</c:v>
                </c:pt>
                <c:pt idx="24">
                  <c:v>0.02</c:v>
                </c:pt>
                <c:pt idx="25">
                  <c:v>0.07</c:v>
                </c:pt>
                <c:pt idx="26">
                  <c:v>0.35</c:v>
                </c:pt>
                <c:pt idx="27">
                  <c:v>0.15</c:v>
                </c:pt>
                <c:pt idx="28">
                  <c:v>0.05</c:v>
                </c:pt>
                <c:pt idx="29">
                  <c:v>0.15</c:v>
                </c:pt>
                <c:pt idx="30">
                  <c:v>0.1</c:v>
                </c:pt>
                <c:pt idx="31">
                  <c:v>0.16</c:v>
                </c:pt>
                <c:pt idx="32">
                  <c:v>0.07</c:v>
                </c:pt>
                <c:pt idx="33">
                  <c:v>0.04</c:v>
                </c:pt>
                <c:pt idx="34">
                  <c:v>0.14</c:v>
                </c:pt>
                <c:pt idx="35">
                  <c:v>0.04</c:v>
                </c:pt>
                <c:pt idx="36">
                  <c:v>0.04</c:v>
                </c:pt>
                <c:pt idx="37">
                  <c:v>0.04</c:v>
                </c:pt>
                <c:pt idx="38">
                  <c:v>0.05</c:v>
                </c:pt>
                <c:pt idx="39">
                  <c:v>0.05</c:v>
                </c:pt>
                <c:pt idx="40">
                  <c:v>0.06</c:v>
                </c:pt>
                <c:pt idx="41">
                  <c:v>0.05</c:v>
                </c:pt>
                <c:pt idx="42">
                  <c:v>0.08</c:v>
                </c:pt>
                <c:pt idx="43">
                  <c:v>0.05</c:v>
                </c:pt>
                <c:pt idx="44">
                  <c:v>0.08</c:v>
                </c:pt>
                <c:pt idx="45">
                  <c:v>0.03</c:v>
                </c:pt>
                <c:pt idx="46">
                  <c:v>0.04</c:v>
                </c:pt>
                <c:pt idx="47">
                  <c:v>0.12</c:v>
                </c:pt>
                <c:pt idx="48">
                  <c:v>0.08</c:v>
                </c:pt>
                <c:pt idx="49">
                  <c:v>0.12</c:v>
                </c:pt>
                <c:pt idx="50">
                  <c:v>0.03</c:v>
                </c:pt>
                <c:pt idx="51">
                  <c:v>0.03</c:v>
                </c:pt>
                <c:pt idx="52">
                  <c:v>0.01</c:v>
                </c:pt>
                <c:pt idx="53">
                  <c:v>0.03</c:v>
                </c:pt>
                <c:pt idx="54">
                  <c:v>0.06</c:v>
                </c:pt>
                <c:pt idx="55">
                  <c:v>0.03</c:v>
                </c:pt>
                <c:pt idx="56">
                  <c:v>0.03</c:v>
                </c:pt>
                <c:pt idx="57">
                  <c:v>0.02</c:v>
                </c:pt>
                <c:pt idx="58">
                  <c:v>0.01</c:v>
                </c:pt>
                <c:pt idx="59">
                  <c:v>0.03</c:v>
                </c:pt>
                <c:pt idx="60">
                  <c:v>0.06</c:v>
                </c:pt>
                <c:pt idx="61">
                  <c:v>0.01</c:v>
                </c:pt>
                <c:pt idx="62">
                  <c:v>0.06</c:v>
                </c:pt>
                <c:pt idx="63">
                  <c:v>0.01</c:v>
                </c:pt>
                <c:pt idx="64">
                  <c:v>0.02</c:v>
                </c:pt>
                <c:pt idx="65">
                  <c:v>0.02</c:v>
                </c:pt>
                <c:pt idx="66">
                  <c:v>0.01</c:v>
                </c:pt>
                <c:pt idx="67">
                  <c:v>0.02</c:v>
                </c:pt>
                <c:pt idx="68">
                  <c:v>0.01</c:v>
                </c:pt>
                <c:pt idx="69">
                  <c:v>0.01</c:v>
                </c:pt>
                <c:pt idx="70">
                  <c:v>0.01</c:v>
                </c:pt>
                <c:pt idx="71">
                  <c:v>0.01</c:v>
                </c:pt>
                <c:pt idx="72">
                  <c:v>0.01</c:v>
                </c:pt>
                <c:pt idx="73">
                  <c:v>0.02</c:v>
                </c:pt>
                <c:pt idx="74">
                  <c:v>0.01</c:v>
                </c:pt>
                <c:pt idx="75">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Item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7ECAC4"/>
              </a:solidFill>
            </c:spPr>
            <c:extLst>
              <c:ext xmlns:c16="http://schemas.microsoft.com/office/drawing/2014/chart" uri="{C3380CC4-5D6E-409C-BE32-E72D297353CC}">
                <c16:uniqueId val="{00000049-2993-41DE-A2CB-63102DE87051}"/>
              </c:ext>
            </c:extLst>
          </c:dPt>
          <c:dPt>
            <c:idx val="9"/>
            <c:invertIfNegative val="1"/>
            <c:bubble3D val="0"/>
            <c:spPr>
              <a:solidFill>
                <a:srgbClr val="7ECAC4"/>
              </a:solidFill>
            </c:spPr>
            <c:extLst>
              <c:ext xmlns:c16="http://schemas.microsoft.com/office/drawing/2014/chart" uri="{C3380CC4-5D6E-409C-BE32-E72D297353CC}">
                <c16:uniqueId val="{0000004B-2993-41DE-A2CB-63102DE87051}"/>
              </c:ext>
            </c:extLst>
          </c:dPt>
          <c:dPt>
            <c:idx val="10"/>
            <c:invertIfNegative val="1"/>
            <c:bubble3D val="0"/>
            <c:spPr>
              <a:solidFill>
                <a:srgbClr val="7ECAC4"/>
              </a:solidFill>
            </c:spPr>
            <c:extLst>
              <c:ext xmlns:c16="http://schemas.microsoft.com/office/drawing/2014/chart" uri="{C3380CC4-5D6E-409C-BE32-E72D297353CC}">
                <c16:uniqueId val="{0000004D-2993-41DE-A2CB-63102DE87051}"/>
              </c:ext>
            </c:extLst>
          </c:dPt>
          <c:dPt>
            <c:idx val="11"/>
            <c:invertIfNegative val="1"/>
            <c:bubble3D val="0"/>
            <c:spPr>
              <a:solidFill>
                <a:srgbClr val="7ECAC4"/>
              </a:solidFill>
            </c:spPr>
            <c:extLst>
              <c:ext xmlns:c16="http://schemas.microsoft.com/office/drawing/2014/chart" uri="{C3380CC4-5D6E-409C-BE32-E72D297353CC}">
                <c16:uniqueId val="{0000004F-2993-41DE-A2CB-63102DE87051}"/>
              </c:ext>
            </c:extLst>
          </c:dPt>
          <c:dPt>
            <c:idx val="12"/>
            <c:invertIfNegative val="1"/>
            <c:bubble3D val="0"/>
            <c:spPr>
              <a:solidFill>
                <a:srgbClr val="7ECAC4"/>
              </a:solidFill>
            </c:spPr>
            <c:extLst>
              <c:ext xmlns:c16="http://schemas.microsoft.com/office/drawing/2014/chart" uri="{C3380CC4-5D6E-409C-BE32-E72D297353CC}">
                <c16:uniqueId val="{00000051-2993-41DE-A2CB-63102DE87051}"/>
              </c:ext>
            </c:extLst>
          </c:dPt>
          <c:dPt>
            <c:idx val="13"/>
            <c:invertIfNegative val="1"/>
            <c:bubble3D val="0"/>
            <c:spPr>
              <a:solidFill>
                <a:srgbClr val="7ECAC4"/>
              </a:solidFill>
            </c:spPr>
            <c:extLst>
              <c:ext xmlns:c16="http://schemas.microsoft.com/office/drawing/2014/chart" uri="{C3380CC4-5D6E-409C-BE32-E72D297353CC}">
                <c16:uniqueId val="{00000053-2993-41DE-A2CB-63102DE87051}"/>
              </c:ext>
            </c:extLst>
          </c:dPt>
          <c:dPt>
            <c:idx val="14"/>
            <c:invertIfNegative val="1"/>
            <c:bubble3D val="0"/>
            <c:spPr>
              <a:solidFill>
                <a:srgbClr val="7ECAC4"/>
              </a:solidFill>
            </c:spPr>
            <c:extLst>
              <c:ext xmlns:c16="http://schemas.microsoft.com/office/drawing/2014/chart" uri="{C3380CC4-5D6E-409C-BE32-E72D297353CC}">
                <c16:uniqueId val="{00000055-2993-41DE-A2CB-63102DE87051}"/>
              </c:ext>
            </c:extLst>
          </c:dPt>
          <c:dPt>
            <c:idx val="15"/>
            <c:invertIfNegative val="1"/>
            <c:bubble3D val="0"/>
            <c:spPr>
              <a:solidFill>
                <a:srgbClr val="7ECAC4"/>
              </a:solidFill>
            </c:spPr>
            <c:extLst>
              <c:ext xmlns:c16="http://schemas.microsoft.com/office/drawing/2014/chart" uri="{C3380CC4-5D6E-409C-BE32-E72D297353CC}">
                <c16:uniqueId val="{00000057-2993-41DE-A2CB-63102DE87051}"/>
              </c:ext>
            </c:extLst>
          </c:dPt>
          <c:dPt>
            <c:idx val="16"/>
            <c:invertIfNegative val="1"/>
            <c:bubble3D val="0"/>
            <c:spPr>
              <a:solidFill>
                <a:srgbClr val="7ECAC4"/>
              </a:solidFill>
            </c:spPr>
            <c:extLst>
              <c:ext xmlns:c16="http://schemas.microsoft.com/office/drawing/2014/chart" uri="{C3380CC4-5D6E-409C-BE32-E72D297353CC}">
                <c16:uniqueId val="{00000059-2993-41DE-A2CB-63102DE87051}"/>
              </c:ext>
            </c:extLst>
          </c:dPt>
          <c:dPt>
            <c:idx val="17"/>
            <c:invertIfNegative val="1"/>
            <c:bubble3D val="0"/>
            <c:spPr>
              <a:solidFill>
                <a:srgbClr val="7ECAC4"/>
              </a:solidFill>
            </c:spPr>
            <c:extLst>
              <c:ext xmlns:c16="http://schemas.microsoft.com/office/drawing/2014/chart" uri="{C3380CC4-5D6E-409C-BE32-E72D297353CC}">
                <c16:uniqueId val="{0000005B-2993-41DE-A2CB-63102DE87051}"/>
              </c:ext>
            </c:extLst>
          </c:dPt>
          <c:dPt>
            <c:idx val="18"/>
            <c:invertIfNegative val="1"/>
            <c:bubble3D val="0"/>
            <c:spPr>
              <a:solidFill>
                <a:srgbClr val="7ECAC4"/>
              </a:solidFill>
            </c:spPr>
            <c:extLst>
              <c:ext xmlns:c16="http://schemas.microsoft.com/office/drawing/2014/chart" uri="{C3380CC4-5D6E-409C-BE32-E72D297353CC}">
                <c16:uniqueId val="{0000005D-2993-41DE-A2CB-63102DE87051}"/>
              </c:ext>
            </c:extLst>
          </c:dPt>
          <c:dPt>
            <c:idx val="19"/>
            <c:invertIfNegative val="1"/>
            <c:bubble3D val="0"/>
            <c:spPr>
              <a:solidFill>
                <a:srgbClr val="7ECAC4"/>
              </a:solidFill>
            </c:spPr>
            <c:extLst>
              <c:ext xmlns:c16="http://schemas.microsoft.com/office/drawing/2014/chart" uri="{C3380CC4-5D6E-409C-BE32-E72D297353CC}">
                <c16:uniqueId val="{0000005F-2993-41DE-A2CB-63102DE87051}"/>
              </c:ext>
            </c:extLst>
          </c:dPt>
          <c:dPt>
            <c:idx val="20"/>
            <c:invertIfNegative val="1"/>
            <c:bubble3D val="0"/>
            <c:spPr>
              <a:solidFill>
                <a:srgbClr val="7ECAC4"/>
              </a:solidFill>
            </c:spPr>
            <c:extLst>
              <c:ext xmlns:c16="http://schemas.microsoft.com/office/drawing/2014/chart" uri="{C3380CC4-5D6E-409C-BE32-E72D297353CC}">
                <c16:uniqueId val="{00000061-2993-41DE-A2CB-63102DE87051}"/>
              </c:ext>
            </c:extLst>
          </c:dPt>
          <c:dPt>
            <c:idx val="21"/>
            <c:invertIfNegative val="1"/>
            <c:bubble3D val="0"/>
            <c:spPr>
              <a:solidFill>
                <a:srgbClr val="7ECAC4"/>
              </a:solidFill>
            </c:spPr>
            <c:extLst>
              <c:ext xmlns:c16="http://schemas.microsoft.com/office/drawing/2014/chart" uri="{C3380CC4-5D6E-409C-BE32-E72D297353CC}">
                <c16:uniqueId val="{00000063-2993-41DE-A2CB-63102DE87051}"/>
              </c:ext>
            </c:extLst>
          </c:dPt>
          <c:dPt>
            <c:idx val="22"/>
            <c:invertIfNegative val="1"/>
            <c:bubble3D val="0"/>
            <c:spPr>
              <a:solidFill>
                <a:srgbClr val="7ECAC4"/>
              </a:solidFill>
            </c:spPr>
            <c:extLst>
              <c:ext xmlns:c16="http://schemas.microsoft.com/office/drawing/2014/chart" uri="{C3380CC4-5D6E-409C-BE32-E72D297353CC}">
                <c16:uniqueId val="{00000065-2993-41DE-A2CB-63102DE87051}"/>
              </c:ext>
            </c:extLst>
          </c:dPt>
          <c:dPt>
            <c:idx val="23"/>
            <c:invertIfNegative val="1"/>
            <c:bubble3D val="0"/>
            <c:spPr>
              <a:solidFill>
                <a:srgbClr val="7ECAC4"/>
              </a:solidFill>
            </c:spPr>
            <c:extLst>
              <c:ext xmlns:c16="http://schemas.microsoft.com/office/drawing/2014/chart" uri="{C3380CC4-5D6E-409C-BE32-E72D297353CC}">
                <c16:uniqueId val="{00000067-2993-41DE-A2CB-63102DE87051}"/>
              </c:ext>
            </c:extLst>
          </c:dPt>
          <c:dPt>
            <c:idx val="24"/>
            <c:invertIfNegative val="1"/>
            <c:bubble3D val="0"/>
            <c:spPr>
              <a:solidFill>
                <a:srgbClr val="AEABAB"/>
              </a:solidFill>
            </c:spPr>
            <c:extLst>
              <c:ext xmlns:c16="http://schemas.microsoft.com/office/drawing/2014/chart" uri="{C3380CC4-5D6E-409C-BE32-E72D297353CC}">
                <c16:uniqueId val="{00000069-2993-41DE-A2CB-63102DE87051}"/>
              </c:ext>
            </c:extLst>
          </c:dPt>
          <c:dPt>
            <c:idx val="25"/>
            <c:invertIfNegative val="1"/>
            <c:bubble3D val="0"/>
            <c:spPr>
              <a:solidFill>
                <a:srgbClr val="AEABAB"/>
              </a:solidFill>
            </c:spPr>
            <c:extLst>
              <c:ext xmlns:c16="http://schemas.microsoft.com/office/drawing/2014/chart" uri="{C3380CC4-5D6E-409C-BE32-E72D297353CC}">
                <c16:uniqueId val="{0000006B-2993-41DE-A2CB-63102DE87051}"/>
              </c:ext>
            </c:extLst>
          </c:dPt>
          <c:dPt>
            <c:idx val="26"/>
            <c:invertIfNegative val="1"/>
            <c:bubble3D val="0"/>
            <c:spPr>
              <a:solidFill>
                <a:srgbClr val="AEABAB"/>
              </a:solidFill>
            </c:spPr>
            <c:extLst>
              <c:ext xmlns:c16="http://schemas.microsoft.com/office/drawing/2014/chart" uri="{C3380CC4-5D6E-409C-BE32-E72D297353CC}">
                <c16:uniqueId val="{0000006D-2993-41DE-A2CB-63102DE87051}"/>
              </c:ext>
            </c:extLst>
          </c:dPt>
          <c:dPt>
            <c:idx val="27"/>
            <c:invertIfNegative val="1"/>
            <c:bubble3D val="0"/>
            <c:spPr>
              <a:solidFill>
                <a:srgbClr val="AEABAB"/>
              </a:solidFill>
            </c:spPr>
            <c:extLst>
              <c:ext xmlns:c16="http://schemas.microsoft.com/office/drawing/2014/chart" uri="{C3380CC4-5D6E-409C-BE32-E72D297353CC}">
                <c16:uniqueId val="{0000006F-2993-41DE-A2CB-63102DE87051}"/>
              </c:ext>
            </c:extLst>
          </c:dPt>
          <c:dPt>
            <c:idx val="28"/>
            <c:invertIfNegative val="1"/>
            <c:bubble3D val="0"/>
            <c:spPr>
              <a:solidFill>
                <a:srgbClr val="AEABAB"/>
              </a:solidFill>
            </c:spPr>
            <c:extLst>
              <c:ext xmlns:c16="http://schemas.microsoft.com/office/drawing/2014/chart" uri="{C3380CC4-5D6E-409C-BE32-E72D297353CC}">
                <c16:uniqueId val="{00000071-2993-41DE-A2CB-63102DE87051}"/>
              </c:ext>
            </c:extLst>
          </c:dPt>
          <c:dPt>
            <c:idx val="29"/>
            <c:invertIfNegative val="1"/>
            <c:bubble3D val="0"/>
            <c:spPr>
              <a:solidFill>
                <a:srgbClr val="AEABAB"/>
              </a:solidFill>
            </c:spPr>
            <c:extLst>
              <c:ext xmlns:c16="http://schemas.microsoft.com/office/drawing/2014/chart" uri="{C3380CC4-5D6E-409C-BE32-E72D297353CC}">
                <c16:uniqueId val="{00000073-2993-41DE-A2CB-63102DE87051}"/>
              </c:ext>
            </c:extLst>
          </c:dPt>
          <c:dPt>
            <c:idx val="30"/>
            <c:invertIfNegative val="1"/>
            <c:bubble3D val="0"/>
            <c:spPr>
              <a:solidFill>
                <a:srgbClr val="AEABAB"/>
              </a:solidFill>
            </c:spPr>
            <c:extLst>
              <c:ext xmlns:c16="http://schemas.microsoft.com/office/drawing/2014/chart" uri="{C3380CC4-5D6E-409C-BE32-E72D297353CC}">
                <c16:uniqueId val="{00000075-2993-41DE-A2CB-63102DE87051}"/>
              </c:ext>
            </c:extLst>
          </c:dPt>
          <c:dPt>
            <c:idx val="31"/>
            <c:invertIfNegative val="1"/>
            <c:bubble3D val="0"/>
            <c:spPr>
              <a:solidFill>
                <a:srgbClr val="AEABAB"/>
              </a:solidFill>
            </c:spPr>
            <c:extLst>
              <c:ext xmlns:c16="http://schemas.microsoft.com/office/drawing/2014/chart" uri="{C3380CC4-5D6E-409C-BE32-E72D297353CC}">
                <c16:uniqueId val="{00000077-2993-41DE-A2CB-63102DE87051}"/>
              </c:ext>
            </c:extLst>
          </c:dPt>
          <c:dPt>
            <c:idx val="32"/>
            <c:invertIfNegative val="1"/>
            <c:bubble3D val="0"/>
            <c:spPr>
              <a:solidFill>
                <a:srgbClr val="AEABAB"/>
              </a:solidFill>
            </c:spPr>
            <c:extLst>
              <c:ext xmlns:c16="http://schemas.microsoft.com/office/drawing/2014/chart" uri="{C3380CC4-5D6E-409C-BE32-E72D297353CC}">
                <c16:uniqueId val="{00000079-2993-41DE-A2CB-63102DE87051}"/>
              </c:ext>
            </c:extLst>
          </c:dPt>
          <c:dPt>
            <c:idx val="33"/>
            <c:invertIfNegative val="1"/>
            <c:bubble3D val="0"/>
            <c:spPr>
              <a:solidFill>
                <a:srgbClr val="AEABAB"/>
              </a:solidFill>
            </c:spPr>
            <c:extLst>
              <c:ext xmlns:c16="http://schemas.microsoft.com/office/drawing/2014/chart" uri="{C3380CC4-5D6E-409C-BE32-E72D297353CC}">
                <c16:uniqueId val="{0000007B-2993-41DE-A2CB-63102DE87051}"/>
              </c:ext>
            </c:extLst>
          </c:dPt>
          <c:dPt>
            <c:idx val="34"/>
            <c:invertIfNegative val="1"/>
            <c:bubble3D val="0"/>
            <c:spPr>
              <a:solidFill>
                <a:srgbClr val="AEABAB"/>
              </a:solidFill>
            </c:spPr>
            <c:extLst>
              <c:ext xmlns:c16="http://schemas.microsoft.com/office/drawing/2014/chart" uri="{C3380CC4-5D6E-409C-BE32-E72D297353CC}">
                <c16:uniqueId val="{0000007D-2993-41DE-A2CB-63102DE87051}"/>
              </c:ext>
            </c:extLst>
          </c:dPt>
          <c:dPt>
            <c:idx val="35"/>
            <c:invertIfNegative val="1"/>
            <c:bubble3D val="0"/>
            <c:spPr>
              <a:solidFill>
                <a:srgbClr val="AEABAB"/>
              </a:solidFill>
            </c:spPr>
            <c:extLst>
              <c:ext xmlns:c16="http://schemas.microsoft.com/office/drawing/2014/chart" uri="{C3380CC4-5D6E-409C-BE32-E72D297353CC}">
                <c16:uniqueId val="{0000007F-2993-41DE-A2CB-63102DE87051}"/>
              </c:ext>
            </c:extLst>
          </c:dPt>
          <c:dPt>
            <c:idx val="36"/>
            <c:invertIfNegative val="1"/>
            <c:bubble3D val="0"/>
            <c:spPr>
              <a:solidFill>
                <a:srgbClr val="AEABAB"/>
              </a:solidFill>
            </c:spPr>
            <c:extLst>
              <c:ext xmlns:c16="http://schemas.microsoft.com/office/drawing/2014/chart" uri="{C3380CC4-5D6E-409C-BE32-E72D297353CC}">
                <c16:uniqueId val="{00000081-2993-41DE-A2CB-63102DE87051}"/>
              </c:ext>
            </c:extLst>
          </c:dPt>
          <c:dPt>
            <c:idx val="37"/>
            <c:invertIfNegative val="1"/>
            <c:bubble3D val="0"/>
            <c:spPr>
              <a:solidFill>
                <a:srgbClr val="AEABAB"/>
              </a:solidFill>
            </c:spPr>
            <c:extLst>
              <c:ext xmlns:c16="http://schemas.microsoft.com/office/drawing/2014/chart" uri="{C3380CC4-5D6E-409C-BE32-E72D297353CC}">
                <c16:uniqueId val="{00000083-2993-41DE-A2CB-63102DE87051}"/>
              </c:ext>
            </c:extLst>
          </c:dPt>
          <c:dPt>
            <c:idx val="38"/>
            <c:invertIfNegative val="1"/>
            <c:bubble3D val="0"/>
            <c:spPr>
              <a:solidFill>
                <a:srgbClr val="AEABAB"/>
              </a:solidFill>
            </c:spPr>
            <c:extLst>
              <c:ext xmlns:c16="http://schemas.microsoft.com/office/drawing/2014/chart" uri="{C3380CC4-5D6E-409C-BE32-E72D297353CC}">
                <c16:uniqueId val="{00000085-2993-41DE-A2CB-63102DE87051}"/>
              </c:ext>
            </c:extLst>
          </c:dPt>
          <c:dPt>
            <c:idx val="39"/>
            <c:invertIfNegative val="1"/>
            <c:bubble3D val="0"/>
            <c:spPr>
              <a:solidFill>
                <a:srgbClr val="AEABAB"/>
              </a:solidFill>
            </c:spPr>
            <c:extLst>
              <c:ext xmlns:c16="http://schemas.microsoft.com/office/drawing/2014/chart" uri="{C3380CC4-5D6E-409C-BE32-E72D297353CC}">
                <c16:uniqueId val="{00000087-2993-41DE-A2CB-63102DE87051}"/>
              </c:ext>
            </c:extLst>
          </c:dPt>
          <c:dPt>
            <c:idx val="40"/>
            <c:invertIfNegative val="1"/>
            <c:bubble3D val="0"/>
            <c:spPr>
              <a:solidFill>
                <a:srgbClr val="AEABAB"/>
              </a:solidFill>
            </c:spPr>
            <c:extLst>
              <c:ext xmlns:c16="http://schemas.microsoft.com/office/drawing/2014/chart" uri="{C3380CC4-5D6E-409C-BE32-E72D297353CC}">
                <c16:uniqueId val="{00000089-2993-41DE-A2CB-63102DE87051}"/>
              </c:ext>
            </c:extLst>
          </c:dPt>
          <c:dPt>
            <c:idx val="41"/>
            <c:invertIfNegative val="1"/>
            <c:bubble3D val="0"/>
            <c:spPr>
              <a:solidFill>
                <a:srgbClr val="AEABAB"/>
              </a:solidFill>
            </c:spPr>
            <c:extLst>
              <c:ext xmlns:c16="http://schemas.microsoft.com/office/drawing/2014/chart" uri="{C3380CC4-5D6E-409C-BE32-E72D297353CC}">
                <c16:uniqueId val="{0000008B-2993-41DE-A2CB-63102DE87051}"/>
              </c:ext>
            </c:extLst>
          </c:dPt>
          <c:dPt>
            <c:idx val="42"/>
            <c:invertIfNegative val="1"/>
            <c:bubble3D val="0"/>
            <c:spPr>
              <a:solidFill>
                <a:srgbClr val="AEABAB"/>
              </a:solidFill>
            </c:spPr>
            <c:extLst>
              <c:ext xmlns:c16="http://schemas.microsoft.com/office/drawing/2014/chart" uri="{C3380CC4-5D6E-409C-BE32-E72D297353CC}">
                <c16:uniqueId val="{0000008D-2993-41DE-A2CB-63102DE87051}"/>
              </c:ext>
            </c:extLst>
          </c:dPt>
          <c:dPt>
            <c:idx val="43"/>
            <c:invertIfNegative val="1"/>
            <c:bubble3D val="0"/>
            <c:spPr>
              <a:solidFill>
                <a:srgbClr val="AEABAB"/>
              </a:solidFill>
            </c:spPr>
            <c:extLst>
              <c:ext xmlns:c16="http://schemas.microsoft.com/office/drawing/2014/chart" uri="{C3380CC4-5D6E-409C-BE32-E72D297353CC}">
                <c16:uniqueId val="{0000008F-2993-41DE-A2CB-63102DE87051}"/>
              </c:ext>
            </c:extLst>
          </c:dPt>
          <c:dPt>
            <c:idx val="44"/>
            <c:invertIfNegative val="1"/>
            <c:bubble3D val="0"/>
            <c:spPr>
              <a:solidFill>
                <a:srgbClr val="AEABAB"/>
              </a:solidFill>
            </c:spPr>
            <c:extLst>
              <c:ext xmlns:c16="http://schemas.microsoft.com/office/drawing/2014/chart" uri="{C3380CC4-5D6E-409C-BE32-E72D297353CC}">
                <c16:uniqueId val="{00000091-2993-41DE-A2CB-63102DE87051}"/>
              </c:ext>
            </c:extLst>
          </c:dPt>
          <c:dPt>
            <c:idx val="45"/>
            <c:invertIfNegative val="1"/>
            <c:bubble3D val="0"/>
            <c:spPr>
              <a:solidFill>
                <a:srgbClr val="AEABAB"/>
              </a:solidFill>
            </c:spPr>
            <c:extLst>
              <c:ext xmlns:c16="http://schemas.microsoft.com/office/drawing/2014/chart" uri="{C3380CC4-5D6E-409C-BE32-E72D297353CC}">
                <c16:uniqueId val="{00000093-2993-41DE-A2CB-63102DE87051}"/>
              </c:ext>
            </c:extLst>
          </c:dPt>
          <c:dPt>
            <c:idx val="46"/>
            <c:invertIfNegative val="1"/>
            <c:bubble3D val="0"/>
            <c:spPr>
              <a:solidFill>
                <a:srgbClr val="AEABAB"/>
              </a:solidFill>
            </c:spPr>
            <c:extLst>
              <c:ext xmlns:c16="http://schemas.microsoft.com/office/drawing/2014/chart" uri="{C3380CC4-5D6E-409C-BE32-E72D297353CC}">
                <c16:uniqueId val="{00000095-2993-41DE-A2CB-63102DE87051}"/>
              </c:ext>
            </c:extLst>
          </c:dPt>
          <c:dPt>
            <c:idx val="47"/>
            <c:invertIfNegative val="1"/>
            <c:bubble3D val="0"/>
            <c:spPr>
              <a:solidFill>
                <a:srgbClr val="AEABAB"/>
              </a:solidFill>
            </c:spPr>
            <c:extLst>
              <c:ext xmlns:c16="http://schemas.microsoft.com/office/drawing/2014/chart" uri="{C3380CC4-5D6E-409C-BE32-E72D297353CC}">
                <c16:uniqueId val="{00000097-2993-41DE-A2CB-63102DE87051}"/>
              </c:ext>
            </c:extLst>
          </c:dPt>
          <c:dPt>
            <c:idx val="48"/>
            <c:invertIfNegative val="1"/>
            <c:bubble3D val="0"/>
            <c:spPr>
              <a:solidFill>
                <a:srgbClr val="AEABAB"/>
              </a:solidFill>
            </c:spPr>
            <c:extLst>
              <c:ext xmlns:c16="http://schemas.microsoft.com/office/drawing/2014/chart" uri="{C3380CC4-5D6E-409C-BE32-E72D297353CC}">
                <c16:uniqueId val="{00000099-2993-41DE-A2CB-63102DE87051}"/>
              </c:ext>
            </c:extLst>
          </c:dPt>
          <c:dPt>
            <c:idx val="49"/>
            <c:invertIfNegative val="1"/>
            <c:bubble3D val="0"/>
            <c:spPr>
              <a:solidFill>
                <a:srgbClr val="AEABAB"/>
              </a:solidFill>
            </c:spPr>
            <c:extLst>
              <c:ext xmlns:c16="http://schemas.microsoft.com/office/drawing/2014/chart" uri="{C3380CC4-5D6E-409C-BE32-E72D297353CC}">
                <c16:uniqueId val="{0000009B-2993-41DE-A2CB-63102DE87051}"/>
              </c:ext>
            </c:extLst>
          </c:dPt>
          <c:dPt>
            <c:idx val="50"/>
            <c:invertIfNegative val="1"/>
            <c:bubble3D val="0"/>
            <c:spPr>
              <a:solidFill>
                <a:srgbClr val="AEABAB"/>
              </a:solidFill>
            </c:spPr>
            <c:extLst>
              <c:ext xmlns:c16="http://schemas.microsoft.com/office/drawing/2014/chart" uri="{C3380CC4-5D6E-409C-BE32-E72D297353CC}">
                <c16:uniqueId val="{0000009D-2993-41DE-A2CB-63102DE87051}"/>
              </c:ext>
            </c:extLst>
          </c:dPt>
          <c:dPt>
            <c:idx val="51"/>
            <c:invertIfNegative val="1"/>
            <c:bubble3D val="0"/>
            <c:spPr>
              <a:solidFill>
                <a:srgbClr val="AEABAB"/>
              </a:solidFill>
            </c:spPr>
            <c:extLst>
              <c:ext xmlns:c16="http://schemas.microsoft.com/office/drawing/2014/chart" uri="{C3380CC4-5D6E-409C-BE32-E72D297353CC}">
                <c16:uniqueId val="{0000009F-2993-41DE-A2CB-63102DE87051}"/>
              </c:ext>
            </c:extLst>
          </c:dPt>
          <c:dPt>
            <c:idx val="52"/>
            <c:invertIfNegative val="1"/>
            <c:bubble3D val="0"/>
            <c:spPr>
              <a:solidFill>
                <a:srgbClr val="AEABAB"/>
              </a:solidFill>
            </c:spPr>
            <c:extLst>
              <c:ext xmlns:c16="http://schemas.microsoft.com/office/drawing/2014/chart" uri="{C3380CC4-5D6E-409C-BE32-E72D297353CC}">
                <c16:uniqueId val="{000000A1-2993-41DE-A2CB-63102DE87051}"/>
              </c:ext>
            </c:extLst>
          </c:dPt>
          <c:dPt>
            <c:idx val="53"/>
            <c:invertIfNegative val="1"/>
            <c:bubble3D val="0"/>
            <c:spPr>
              <a:solidFill>
                <a:srgbClr val="AEABAB"/>
              </a:solidFill>
            </c:spPr>
            <c:extLst>
              <c:ext xmlns:c16="http://schemas.microsoft.com/office/drawing/2014/chart" uri="{C3380CC4-5D6E-409C-BE32-E72D297353CC}">
                <c16:uniqueId val="{000000A3-2993-41DE-A2CB-63102DE87051}"/>
              </c:ext>
            </c:extLst>
          </c:dPt>
          <c:dPt>
            <c:idx val="54"/>
            <c:invertIfNegative val="0"/>
            <c:bubble3D val="0"/>
            <c:spPr>
              <a:solidFill>
                <a:srgbClr val="AEABAB"/>
              </a:solidFill>
            </c:spPr>
            <c:extLst>
              <c:ext xmlns:c16="http://schemas.microsoft.com/office/drawing/2014/chart" uri="{C3380CC4-5D6E-409C-BE32-E72D297353CC}">
                <c16:uniqueId val="{00000072-C76F-4230-900D-40618C09729F}"/>
              </c:ext>
            </c:extLst>
          </c:dPt>
          <c:dPt>
            <c:idx val="55"/>
            <c:invertIfNegative val="0"/>
            <c:bubble3D val="0"/>
            <c:spPr>
              <a:solidFill>
                <a:srgbClr val="AEABAB"/>
              </a:solidFill>
            </c:spPr>
            <c:extLst>
              <c:ext xmlns:c16="http://schemas.microsoft.com/office/drawing/2014/chart" uri="{C3380CC4-5D6E-409C-BE32-E72D297353CC}">
                <c16:uniqueId val="{00000074-C76F-4230-900D-40618C09729F}"/>
              </c:ext>
            </c:extLst>
          </c:dPt>
          <c:dPt>
            <c:idx val="56"/>
            <c:invertIfNegative val="0"/>
            <c:bubble3D val="0"/>
            <c:spPr>
              <a:solidFill>
                <a:srgbClr val="AEABAB"/>
              </a:solidFill>
            </c:spPr>
            <c:extLst>
              <c:ext xmlns:c16="http://schemas.microsoft.com/office/drawing/2014/chart" uri="{C3380CC4-5D6E-409C-BE32-E72D297353CC}">
                <c16:uniqueId val="{00000076-C76F-4230-900D-40618C09729F}"/>
              </c:ext>
            </c:extLst>
          </c:dPt>
          <c:dPt>
            <c:idx val="57"/>
            <c:invertIfNegative val="0"/>
            <c:bubble3D val="0"/>
            <c:spPr>
              <a:solidFill>
                <a:srgbClr val="AEABAB"/>
              </a:solidFill>
            </c:spPr>
            <c:extLst>
              <c:ext xmlns:c16="http://schemas.microsoft.com/office/drawing/2014/chart" uri="{C3380CC4-5D6E-409C-BE32-E72D297353CC}">
                <c16:uniqueId val="{00000078-C76F-4230-900D-40618C09729F}"/>
              </c:ext>
            </c:extLst>
          </c:dPt>
          <c:dPt>
            <c:idx val="58"/>
            <c:invertIfNegative val="0"/>
            <c:bubble3D val="0"/>
            <c:spPr>
              <a:solidFill>
                <a:srgbClr val="AEABAB"/>
              </a:solidFill>
            </c:spPr>
            <c:extLst>
              <c:ext xmlns:c16="http://schemas.microsoft.com/office/drawing/2014/chart" uri="{C3380CC4-5D6E-409C-BE32-E72D297353CC}">
                <c16:uniqueId val="{0000007A-C76F-4230-900D-40618C09729F}"/>
              </c:ext>
            </c:extLst>
          </c:dPt>
          <c:dPt>
            <c:idx val="59"/>
            <c:invertIfNegative val="0"/>
            <c:bubble3D val="0"/>
            <c:spPr>
              <a:solidFill>
                <a:srgbClr val="AEABAB"/>
              </a:solidFill>
            </c:spPr>
            <c:extLst>
              <c:ext xmlns:c16="http://schemas.microsoft.com/office/drawing/2014/chart" uri="{C3380CC4-5D6E-409C-BE32-E72D297353CC}">
                <c16:uniqueId val="{0000007C-C76F-4230-900D-40618C09729F}"/>
              </c:ext>
            </c:extLst>
          </c:dPt>
          <c:dPt>
            <c:idx val="60"/>
            <c:invertIfNegative val="0"/>
            <c:bubble3D val="0"/>
            <c:spPr>
              <a:solidFill>
                <a:srgbClr val="AEABAB"/>
              </a:solidFill>
            </c:spPr>
            <c:extLst>
              <c:ext xmlns:c16="http://schemas.microsoft.com/office/drawing/2014/chart" uri="{C3380CC4-5D6E-409C-BE32-E72D297353CC}">
                <c16:uniqueId val="{0000007E-C76F-4230-900D-40618C09729F}"/>
              </c:ext>
            </c:extLst>
          </c:dPt>
          <c:dPt>
            <c:idx val="61"/>
            <c:invertIfNegative val="0"/>
            <c:bubble3D val="0"/>
            <c:spPr>
              <a:solidFill>
                <a:srgbClr val="AEABAB"/>
              </a:solidFill>
            </c:spPr>
            <c:extLst>
              <c:ext xmlns:c16="http://schemas.microsoft.com/office/drawing/2014/chart" uri="{C3380CC4-5D6E-409C-BE32-E72D297353CC}">
                <c16:uniqueId val="{00000080-C76F-4230-900D-40618C09729F}"/>
              </c:ext>
            </c:extLst>
          </c:dPt>
          <c:dPt>
            <c:idx val="62"/>
            <c:invertIfNegative val="0"/>
            <c:bubble3D val="0"/>
            <c:spPr>
              <a:solidFill>
                <a:srgbClr val="AEABAB"/>
              </a:solidFill>
            </c:spPr>
            <c:extLst>
              <c:ext xmlns:c16="http://schemas.microsoft.com/office/drawing/2014/chart" uri="{C3380CC4-5D6E-409C-BE32-E72D297353CC}">
                <c16:uniqueId val="{00000082-C76F-4230-900D-40618C09729F}"/>
              </c:ext>
            </c:extLst>
          </c:dPt>
          <c:dPt>
            <c:idx val="63"/>
            <c:invertIfNegative val="0"/>
            <c:bubble3D val="0"/>
            <c:spPr>
              <a:solidFill>
                <a:srgbClr val="AEABAB"/>
              </a:solidFill>
            </c:spPr>
            <c:extLst>
              <c:ext xmlns:c16="http://schemas.microsoft.com/office/drawing/2014/chart" uri="{C3380CC4-5D6E-409C-BE32-E72D297353CC}">
                <c16:uniqueId val="{00000084-C76F-4230-900D-40618C09729F}"/>
              </c:ext>
            </c:extLst>
          </c:dPt>
          <c:dPt>
            <c:idx val="64"/>
            <c:invertIfNegative val="0"/>
            <c:bubble3D val="0"/>
            <c:spPr>
              <a:solidFill>
                <a:srgbClr val="AEABAB"/>
              </a:solidFill>
            </c:spPr>
            <c:extLst>
              <c:ext xmlns:c16="http://schemas.microsoft.com/office/drawing/2014/chart" uri="{C3380CC4-5D6E-409C-BE32-E72D297353CC}">
                <c16:uniqueId val="{00000086-C76F-4230-900D-40618C09729F}"/>
              </c:ext>
            </c:extLst>
          </c:dPt>
          <c:dPt>
            <c:idx val="65"/>
            <c:invertIfNegative val="0"/>
            <c:bubble3D val="0"/>
            <c:spPr>
              <a:solidFill>
                <a:srgbClr val="AEABAB"/>
              </a:solidFill>
            </c:spPr>
            <c:extLst>
              <c:ext xmlns:c16="http://schemas.microsoft.com/office/drawing/2014/chart" uri="{C3380CC4-5D6E-409C-BE32-E72D297353CC}">
                <c16:uniqueId val="{00000088-C76F-4230-900D-40618C09729F}"/>
              </c:ext>
            </c:extLst>
          </c:dPt>
          <c:dPt>
            <c:idx val="66"/>
            <c:invertIfNegative val="0"/>
            <c:bubble3D val="0"/>
            <c:spPr>
              <a:solidFill>
                <a:srgbClr val="AEABAB"/>
              </a:solidFill>
            </c:spPr>
            <c:extLst>
              <c:ext xmlns:c16="http://schemas.microsoft.com/office/drawing/2014/chart" uri="{C3380CC4-5D6E-409C-BE32-E72D297353CC}">
                <c16:uniqueId val="{0000008A-C76F-4230-900D-40618C09729F}"/>
              </c:ext>
            </c:extLst>
          </c:dPt>
          <c:dPt>
            <c:idx val="67"/>
            <c:invertIfNegative val="0"/>
            <c:bubble3D val="0"/>
            <c:spPr>
              <a:solidFill>
                <a:srgbClr val="AEABAB"/>
              </a:solidFill>
            </c:spPr>
            <c:extLst>
              <c:ext xmlns:c16="http://schemas.microsoft.com/office/drawing/2014/chart" uri="{C3380CC4-5D6E-409C-BE32-E72D297353CC}">
                <c16:uniqueId val="{0000008C-C76F-4230-900D-40618C09729F}"/>
              </c:ext>
            </c:extLst>
          </c:dPt>
          <c:dPt>
            <c:idx val="68"/>
            <c:invertIfNegative val="0"/>
            <c:bubble3D val="0"/>
            <c:spPr>
              <a:solidFill>
                <a:srgbClr val="AEABAB"/>
              </a:solidFill>
            </c:spPr>
            <c:extLst>
              <c:ext xmlns:c16="http://schemas.microsoft.com/office/drawing/2014/chart" uri="{C3380CC4-5D6E-409C-BE32-E72D297353CC}">
                <c16:uniqueId val="{0000008E-C76F-4230-900D-40618C09729F}"/>
              </c:ext>
            </c:extLst>
          </c:dPt>
          <c:dPt>
            <c:idx val="69"/>
            <c:invertIfNegative val="0"/>
            <c:bubble3D val="0"/>
            <c:spPr>
              <a:solidFill>
                <a:srgbClr val="AEABAB"/>
              </a:solidFill>
            </c:spPr>
            <c:extLst>
              <c:ext xmlns:c16="http://schemas.microsoft.com/office/drawing/2014/chart" uri="{C3380CC4-5D6E-409C-BE32-E72D297353CC}">
                <c16:uniqueId val="{00000090-C76F-4230-900D-40618C09729F}"/>
              </c:ext>
            </c:extLst>
          </c:dPt>
          <c:dPt>
            <c:idx val="70"/>
            <c:invertIfNegative val="0"/>
            <c:bubble3D val="0"/>
            <c:spPr>
              <a:solidFill>
                <a:srgbClr val="AEABAB"/>
              </a:solidFill>
            </c:spPr>
            <c:extLst>
              <c:ext xmlns:c16="http://schemas.microsoft.com/office/drawing/2014/chart" uri="{C3380CC4-5D6E-409C-BE32-E72D297353CC}">
                <c16:uniqueId val="{00000092-C76F-4230-900D-40618C09729F}"/>
              </c:ext>
            </c:extLst>
          </c:dPt>
          <c:dPt>
            <c:idx val="71"/>
            <c:invertIfNegative val="0"/>
            <c:bubble3D val="0"/>
            <c:spPr>
              <a:solidFill>
                <a:srgbClr val="AEABAB"/>
              </a:solidFill>
            </c:spPr>
            <c:extLst>
              <c:ext xmlns:c16="http://schemas.microsoft.com/office/drawing/2014/chart" uri="{C3380CC4-5D6E-409C-BE32-E72D297353CC}">
                <c16:uniqueId val="{00000094-C76F-4230-900D-40618C09729F}"/>
              </c:ext>
            </c:extLst>
          </c:dPt>
          <c:dPt>
            <c:idx val="72"/>
            <c:invertIfNegative val="0"/>
            <c:bubble3D val="0"/>
            <c:spPr>
              <a:solidFill>
                <a:srgbClr val="AEABAB"/>
              </a:solidFill>
            </c:spPr>
            <c:extLst>
              <c:ext xmlns:c16="http://schemas.microsoft.com/office/drawing/2014/chart" uri="{C3380CC4-5D6E-409C-BE32-E72D297353CC}">
                <c16:uniqueId val="{00000096-C76F-4230-900D-40618C09729F}"/>
              </c:ext>
            </c:extLst>
          </c:dPt>
          <c:dPt>
            <c:idx val="73"/>
            <c:invertIfNegative val="0"/>
            <c:bubble3D val="0"/>
            <c:spPr>
              <a:solidFill>
                <a:srgbClr val="AEABAB"/>
              </a:solidFill>
            </c:spPr>
            <c:extLst>
              <c:ext xmlns:c16="http://schemas.microsoft.com/office/drawing/2014/chart" uri="{C3380CC4-5D6E-409C-BE32-E72D297353CC}">
                <c16:uniqueId val="{00000098-C76F-4230-900D-40618C09729F}"/>
              </c:ext>
            </c:extLst>
          </c:dPt>
          <c:dPt>
            <c:idx val="74"/>
            <c:invertIfNegative val="0"/>
            <c:bubble3D val="0"/>
            <c:spPr>
              <a:solidFill>
                <a:srgbClr val="AEABAB"/>
              </a:solidFill>
            </c:spPr>
            <c:extLst>
              <c:ext xmlns:c16="http://schemas.microsoft.com/office/drawing/2014/chart" uri="{C3380CC4-5D6E-409C-BE32-E72D297353CC}">
                <c16:uniqueId val="{0000009A-C76F-4230-900D-40618C09729F}"/>
              </c:ext>
            </c:extLst>
          </c:dPt>
          <c:dPt>
            <c:idx val="75"/>
            <c:invertIfNegative val="0"/>
            <c:bubble3D val="0"/>
            <c:spPr>
              <a:solidFill>
                <a:srgbClr val="AEABAB"/>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77</c:f>
              <c:strCache>
                <c:ptCount val="76"/>
                <c:pt idx="0">
                  <c:v>Private Lab</c:v>
                </c:pt>
                <c:pt idx="1">
                  <c:v>Private Lab</c:v>
                </c:pt>
                <c:pt idx="2">
                  <c:v>President</c:v>
                </c:pt>
                <c:pt idx="3">
                  <c:v>President</c:v>
                </c:pt>
                <c:pt idx="4">
                  <c:v>President</c:v>
                </c:pt>
                <c:pt idx="5">
                  <c:v>President</c:v>
                </c:pt>
                <c:pt idx="6">
                  <c:v>Private Lab</c:v>
                </c:pt>
                <c:pt idx="7">
                  <c:v>Private Lab</c:v>
                </c:pt>
                <c:pt idx="8">
                  <c:v>Boursin</c:v>
                </c:pt>
                <c:pt idx="9">
                  <c:v>La Belle Et</c:v>
                </c:pt>
                <c:pt idx="10">
                  <c:v>La Belle Et</c:v>
                </c:pt>
                <c:pt idx="11">
                  <c:v>President</c:v>
                </c:pt>
                <c:pt idx="12">
                  <c:v>Richesmonts</c:v>
                </c:pt>
                <c:pt idx="13">
                  <c:v>Raguin</c:v>
                </c:pt>
                <c:pt idx="14">
                  <c:v>Raguin</c:v>
                </c:pt>
                <c:pt idx="15">
                  <c:v>La Belle Et</c:v>
                </c:pt>
                <c:pt idx="16">
                  <c:v>La Belle Et</c:v>
                </c:pt>
                <c:pt idx="17">
                  <c:v>La Belle Et</c:v>
                </c:pt>
                <c:pt idx="18">
                  <c:v>Raguin</c:v>
                </c:pt>
                <c:pt idx="19">
                  <c:v>Raguin</c:v>
                </c:pt>
                <c:pt idx="20">
                  <c:v>All Others</c:v>
                </c:pt>
                <c:pt idx="21">
                  <c:v>Milleret: A</c:v>
                </c:pt>
                <c:pt idx="22">
                  <c:v>Milleret: A</c:v>
                </c:pt>
                <c:pt idx="23">
                  <c:v>All Others</c:v>
                </c:pt>
                <c:pt idx="24">
                  <c:v>La Belle Et</c:v>
                </c:pt>
                <c:pt idx="25">
                  <c:v>All Others</c:v>
                </c:pt>
                <c:pt idx="26">
                  <c:v>President</c:v>
                </c:pt>
                <c:pt idx="27">
                  <c:v>All Others</c:v>
                </c:pt>
                <c:pt idx="28">
                  <c:v>La Belle Et</c:v>
                </c:pt>
                <c:pt idx="29">
                  <c:v>All Others</c:v>
                </c:pt>
                <c:pt idx="30">
                  <c:v>All Others</c:v>
                </c:pt>
                <c:pt idx="31">
                  <c:v>Milleret: A</c:v>
                </c:pt>
                <c:pt idx="32">
                  <c:v>All Others</c:v>
                </c:pt>
                <c:pt idx="33">
                  <c:v>La Belle Et</c:v>
                </c:pt>
                <c:pt idx="34">
                  <c:v>Milleret: A</c:v>
                </c:pt>
                <c:pt idx="35">
                  <c:v>La Belle Et</c:v>
                </c:pt>
                <c:pt idx="36">
                  <c:v>La Belle Et</c:v>
                </c:pt>
                <c:pt idx="37">
                  <c:v>La Belle Et</c:v>
                </c:pt>
                <c:pt idx="38">
                  <c:v>La Belle Et</c:v>
                </c:pt>
                <c:pt idx="39">
                  <c:v>La Belle Et</c:v>
                </c:pt>
                <c:pt idx="40">
                  <c:v>All Others</c:v>
                </c:pt>
                <c:pt idx="41">
                  <c:v>All Others</c:v>
                </c:pt>
                <c:pt idx="42">
                  <c:v>La Belle Et</c:v>
                </c:pt>
                <c:pt idx="43">
                  <c:v>All Others</c:v>
                </c:pt>
                <c:pt idx="44">
                  <c:v>All Others</c:v>
                </c:pt>
                <c:pt idx="45">
                  <c:v>La Belle Et</c:v>
                </c:pt>
                <c:pt idx="46">
                  <c:v>La Belle Et</c:v>
                </c:pt>
                <c:pt idx="47">
                  <c:v>All Others</c:v>
                </c:pt>
                <c:pt idx="48">
                  <c:v>All Others</c:v>
                </c:pt>
                <c:pt idx="49">
                  <c:v>All Others</c:v>
                </c:pt>
                <c:pt idx="50">
                  <c:v>La Belle Et</c:v>
                </c:pt>
                <c:pt idx="51">
                  <c:v>La Belle Et</c:v>
                </c:pt>
                <c:pt idx="52">
                  <c:v>Raguin</c:v>
                </c:pt>
                <c:pt idx="53">
                  <c:v>All Others</c:v>
                </c:pt>
                <c:pt idx="54">
                  <c:v>All Others</c:v>
                </c:pt>
                <c:pt idx="55">
                  <c:v>Raguin</c:v>
                </c:pt>
                <c:pt idx="56">
                  <c:v>La Belle Et</c:v>
                </c:pt>
                <c:pt idx="57">
                  <c:v>Raguin</c:v>
                </c:pt>
                <c:pt idx="58">
                  <c:v>All Others</c:v>
                </c:pt>
                <c:pt idx="59">
                  <c:v>All Others</c:v>
                </c:pt>
                <c:pt idx="60">
                  <c:v>All Others</c:v>
                </c:pt>
                <c:pt idx="61">
                  <c:v>All Others</c:v>
                </c:pt>
                <c:pt idx="62">
                  <c:v>All Others</c:v>
                </c:pt>
                <c:pt idx="63">
                  <c:v>All Others</c:v>
                </c:pt>
                <c:pt idx="64">
                  <c:v>All Others</c:v>
                </c:pt>
                <c:pt idx="65">
                  <c:v>Raguin</c:v>
                </c:pt>
                <c:pt idx="66">
                  <c:v>Raguin</c:v>
                </c:pt>
                <c:pt idx="67">
                  <c:v>Raguin</c:v>
                </c:pt>
                <c:pt idx="68">
                  <c:v>Raguin</c:v>
                </c:pt>
                <c:pt idx="69">
                  <c:v>Raguin</c:v>
                </c:pt>
                <c:pt idx="70">
                  <c:v>Raguin</c:v>
                </c:pt>
                <c:pt idx="71">
                  <c:v>All Others</c:v>
                </c:pt>
                <c:pt idx="72">
                  <c:v>All Others</c:v>
                </c:pt>
                <c:pt idx="73">
                  <c:v>Milleret: A</c:v>
                </c:pt>
                <c:pt idx="74">
                  <c:v>Raguin</c:v>
                </c:pt>
                <c:pt idx="75">
                  <c:v>Private Lab</c:v>
                </c:pt>
              </c:strCache>
            </c:strRef>
          </c:cat>
          <c:val>
            <c:numRef>
              <c:f>Sheet1!$C$2:$C$77</c:f>
              <c:numCache>
                <c:formatCode>General</c:formatCode>
                <c:ptCount val="76"/>
                <c:pt idx="0">
                  <c:v>0.1974420158647052</c:v>
                </c:pt>
                <c:pt idx="1">
                  <c:v>0.3667699869037807</c:v>
                </c:pt>
                <c:pt idx="2">
                  <c:v>0.49695448163595024</c:v>
                </c:pt>
                <c:pt idx="3">
                  <c:v>0.6013598264011629</c:v>
                </c:pt>
                <c:pt idx="4">
                  <c:v>0.667612300425156</c:v>
                </c:pt>
                <c:pt idx="5">
                  <c:v>0.7242828299172381</c:v>
                </c:pt>
                <c:pt idx="6">
                  <c:v>0.7760954082635658</c:v>
                </c:pt>
                <c:pt idx="7">
                  <c:v>0.81609415334329</c:v>
                </c:pt>
                <c:pt idx="8">
                  <c:v>0.835841220254444</c:v>
                </c:pt>
                <c:pt idx="9">
                  <c:v>0.8530536623216394</c:v>
                </c:pt>
                <c:pt idx="10">
                  <c:v>0.8653033850210327</c:v>
                </c:pt>
                <c:pt idx="11">
                  <c:v>0.8753487230381759</c:v>
                </c:pt>
                <c:pt idx="12">
                  <c:v>0.883674981164704</c:v>
                </c:pt>
                <c:pt idx="13">
                  <c:v>0.8918460980483462</c:v>
                </c:pt>
                <c:pt idx="14">
                  <c:v>0.8991363191242343</c:v>
                </c:pt>
                <c:pt idx="15">
                  <c:v>0.9062120239136628</c:v>
                </c:pt>
                <c:pt idx="16">
                  <c:v>0.9132681923984316</c:v>
                </c:pt>
                <c:pt idx="17">
                  <c:v>0.9194413199125816</c:v>
                </c:pt>
                <c:pt idx="18">
                  <c:v>0.9249343541856955</c:v>
                </c:pt>
                <c:pt idx="19">
                  <c:v>0.9304176586129592</c:v>
                </c:pt>
                <c:pt idx="20">
                  <c:v>0.9356606664929086</c:v>
                </c:pt>
                <c:pt idx="21">
                  <c:v>0.9404608897737176</c:v>
                </c:pt>
                <c:pt idx="22">
                  <c:v>0.9448868587476141</c:v>
                </c:pt>
                <c:pt idx="23">
                  <c:v>0.9485192706875294</c:v>
                </c:pt>
                <c:pt idx="24">
                  <c:v>0.9520949890374517</c:v>
                </c:pt>
                <c:pt idx="25">
                  <c:v>0.9552186143136606</c:v>
                </c:pt>
                <c:pt idx="26">
                  <c:v>0.9582352495919978</c:v>
                </c:pt>
                <c:pt idx="27">
                  <c:v>0.9607403401400885</c:v>
                </c:pt>
                <c:pt idx="28">
                  <c:v>0.9631044628427914</c:v>
                </c:pt>
                <c:pt idx="29">
                  <c:v>0.9653419826300035</c:v>
                </c:pt>
                <c:pt idx="30">
                  <c:v>0.9675056092178262</c:v>
                </c:pt>
                <c:pt idx="31">
                  <c:v>0.9695515966064138</c:v>
                </c:pt>
                <c:pt idx="32">
                  <c:v>0.9715626484854921</c:v>
                </c:pt>
                <c:pt idx="33">
                  <c:v>0.9732878191063835</c:v>
                </c:pt>
                <c:pt idx="34">
                  <c:v>0.9748075903829898</c:v>
                </c:pt>
                <c:pt idx="35">
                  <c:v>0.9763198918960498</c:v>
                </c:pt>
                <c:pt idx="36">
                  <c:v>0.9778145724284364</c:v>
                </c:pt>
                <c:pt idx="37">
                  <c:v>0.979300327551047</c:v>
                </c:pt>
                <c:pt idx="38">
                  <c:v>0.9806727721066313</c:v>
                </c:pt>
                <c:pt idx="39">
                  <c:v>0.982036099720041</c:v>
                </c:pt>
                <c:pt idx="40">
                  <c:v>0.9833036994406182</c:v>
                </c:pt>
                <c:pt idx="41">
                  <c:v>0.9845037648374404</c:v>
                </c:pt>
                <c:pt idx="42">
                  <c:v>0.9855366607567431</c:v>
                </c:pt>
                <c:pt idx="43">
                  <c:v>0.9865265768057944</c:v>
                </c:pt>
                <c:pt idx="44">
                  <c:v>0.9873400532092327</c:v>
                </c:pt>
                <c:pt idx="45">
                  <c:v>0.9881247997528774</c:v>
                </c:pt>
                <c:pt idx="46">
                  <c:v>0.9888892821687475</c:v>
                </c:pt>
                <c:pt idx="47">
                  <c:v>0.9896385186056872</c:v>
                </c:pt>
                <c:pt idx="48">
                  <c:v>0.9903445453334971</c:v>
                </c:pt>
                <c:pt idx="49">
                  <c:v>0.9909795901543768</c:v>
                </c:pt>
                <c:pt idx="50">
                  <c:v>0.991597856737137</c:v>
                </c:pt>
                <c:pt idx="51">
                  <c:v>0.9922141696894311</c:v>
                </c:pt>
                <c:pt idx="52">
                  <c:v>0.9928060431076607</c:v>
                </c:pt>
                <c:pt idx="53">
                  <c:v>0.9933704890864073</c:v>
                </c:pt>
                <c:pt idx="54">
                  <c:v>0.9939093846431775</c:v>
                </c:pt>
                <c:pt idx="55">
                  <c:v>0.99443540922276</c:v>
                </c:pt>
                <c:pt idx="56">
                  <c:v>0.9949051615836266</c:v>
                </c:pt>
                <c:pt idx="57">
                  <c:v>0.9953655671634404</c:v>
                </c:pt>
                <c:pt idx="58">
                  <c:v>0.9961754427577846</c:v>
                </c:pt>
                <c:pt idx="59">
                  <c:v>0.9968546549497871</c:v>
                </c:pt>
                <c:pt idx="60">
                  <c:v>0.9971558587998641</c:v>
                </c:pt>
                <c:pt idx="61">
                  <c:v>0.9974292904521406</c:v>
                </c:pt>
                <c:pt idx="62">
                  <c:v>0.9976829942673587</c:v>
                </c:pt>
                <c:pt idx="63">
                  <c:v>0.9979340932419556</c:v>
                </c:pt>
                <c:pt idx="64">
                  <c:v>0.9981782204372425</c:v>
                </c:pt>
                <c:pt idx="65">
                  <c:v>0.998394268982891</c:v>
                </c:pt>
                <c:pt idx="66">
                  <c:v>0.9988171342125743</c:v>
                </c:pt>
                <c:pt idx="67">
                  <c:v>0.9989887855482217</c:v>
                </c:pt>
                <c:pt idx="68">
                  <c:v>0.9991210578227118</c:v>
                </c:pt>
                <c:pt idx="69">
                  <c:v>0.9992518744509724</c:v>
                </c:pt>
                <c:pt idx="70">
                  <c:v>0.999376983413754</c:v>
                </c:pt>
                <c:pt idx="71">
                  <c:v>0.9996968042129774</c:v>
                </c:pt>
                <c:pt idx="72">
                  <c:v>0.999743653037681</c:v>
                </c:pt>
                <c:pt idx="73">
                  <c:v>0.9998316430216091</c:v>
                </c:pt>
                <c:pt idx="74">
                  <c:v>0.9998628628025849</c:v>
                </c:pt>
                <c:pt idx="75">
                  <c:v>0.9998913245170205</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91</c:f>
              <c:strCache>
                <c:ptCount val="90"/>
                <c:pt idx="0">
                  <c:v>Private Lab</c:v>
                </c:pt>
                <c:pt idx="1">
                  <c:v>Private Lab</c:v>
                </c:pt>
                <c:pt idx="2">
                  <c:v>President</c:v>
                </c:pt>
                <c:pt idx="3">
                  <c:v>President</c:v>
                </c:pt>
                <c:pt idx="4">
                  <c:v>President</c:v>
                </c:pt>
                <c:pt idx="5">
                  <c:v>President</c:v>
                </c:pt>
                <c:pt idx="6">
                  <c:v>Private Lab</c:v>
                </c:pt>
                <c:pt idx="7">
                  <c:v>Private Lab</c:v>
                </c:pt>
                <c:pt idx="8">
                  <c:v>La Belle Et</c:v>
                </c:pt>
                <c:pt idx="9">
                  <c:v>La Belle Et</c:v>
                </c:pt>
                <c:pt idx="10">
                  <c:v>Boursin</c:v>
                </c:pt>
                <c:pt idx="11">
                  <c:v>La Belle Et</c:v>
                </c:pt>
                <c:pt idx="12">
                  <c:v>President</c:v>
                </c:pt>
                <c:pt idx="13">
                  <c:v>Richesmonts</c:v>
                </c:pt>
                <c:pt idx="14">
                  <c:v>La Belle Et</c:v>
                </c:pt>
                <c:pt idx="15">
                  <c:v>Raguin</c:v>
                </c:pt>
                <c:pt idx="16">
                  <c:v>La Belle Et</c:v>
                </c:pt>
                <c:pt idx="17">
                  <c:v>Raguin</c:v>
                </c:pt>
                <c:pt idx="18">
                  <c:v>All Others</c:v>
                </c:pt>
                <c:pt idx="19">
                  <c:v>Raguin</c:v>
                </c:pt>
                <c:pt idx="20">
                  <c:v>Raguin</c:v>
                </c:pt>
                <c:pt idx="21">
                  <c:v>Milleret: A</c:v>
                </c:pt>
                <c:pt idx="22">
                  <c:v>President</c:v>
                </c:pt>
                <c:pt idx="23">
                  <c:v>Milleret: A</c:v>
                </c:pt>
                <c:pt idx="24">
                  <c:v>All Others</c:v>
                </c:pt>
                <c:pt idx="25">
                  <c:v>All Others</c:v>
                </c:pt>
                <c:pt idx="26">
                  <c:v>La Belle Et</c:v>
                </c:pt>
                <c:pt idx="27">
                  <c:v>All Others</c:v>
                </c:pt>
                <c:pt idx="28">
                  <c:v>All Others</c:v>
                </c:pt>
                <c:pt idx="29">
                  <c:v>La Belle Et</c:v>
                </c:pt>
                <c:pt idx="30">
                  <c:v>All Others</c:v>
                </c:pt>
                <c:pt idx="31">
                  <c:v>La Belle Et</c:v>
                </c:pt>
                <c:pt idx="32">
                  <c:v>La Belle Et</c:v>
                </c:pt>
                <c:pt idx="33">
                  <c:v>Milleret: A</c:v>
                </c:pt>
                <c:pt idx="34">
                  <c:v>La Belle Et</c:v>
                </c:pt>
                <c:pt idx="35">
                  <c:v>La Belle Et</c:v>
                </c:pt>
                <c:pt idx="36">
                  <c:v>La Belle Et</c:v>
                </c:pt>
                <c:pt idx="37">
                  <c:v>La Belle Et</c:v>
                </c:pt>
                <c:pt idx="38">
                  <c:v>Milleret: A</c:v>
                </c:pt>
                <c:pt idx="39">
                  <c:v>All Others</c:v>
                </c:pt>
                <c:pt idx="40">
                  <c:v>All Others</c:v>
                </c:pt>
                <c:pt idx="41">
                  <c:v>Raguin</c:v>
                </c:pt>
                <c:pt idx="42">
                  <c:v>All Others</c:v>
                </c:pt>
                <c:pt idx="43">
                  <c:v>Raguin</c:v>
                </c:pt>
                <c:pt idx="44">
                  <c:v>All Others</c:v>
                </c:pt>
                <c:pt idx="45">
                  <c:v>Raguin</c:v>
                </c:pt>
                <c:pt idx="46">
                  <c:v>All Others</c:v>
                </c:pt>
                <c:pt idx="47">
                  <c:v>La Belle Et</c:v>
                </c:pt>
                <c:pt idx="48">
                  <c:v>La Belle Et</c:v>
                </c:pt>
                <c:pt idx="49">
                  <c:v>La Belle Et</c:v>
                </c:pt>
                <c:pt idx="50">
                  <c:v>Raguin</c:v>
                </c:pt>
                <c:pt idx="51">
                  <c:v>Raguin</c:v>
                </c:pt>
                <c:pt idx="52">
                  <c:v>Raguin</c:v>
                </c:pt>
                <c:pt idx="53">
                  <c:v>Raguin</c:v>
                </c:pt>
                <c:pt idx="54">
                  <c:v>La Belle Et</c:v>
                </c:pt>
                <c:pt idx="55">
                  <c:v>Raguin</c:v>
                </c:pt>
                <c:pt idx="56">
                  <c:v>La Belle Et</c:v>
                </c:pt>
                <c:pt idx="57">
                  <c:v>Raguin</c:v>
                </c:pt>
                <c:pt idx="58">
                  <c:v>All Others</c:v>
                </c:pt>
                <c:pt idx="59">
                  <c:v>Raguin</c:v>
                </c:pt>
                <c:pt idx="60">
                  <c:v>All Others</c:v>
                </c:pt>
                <c:pt idx="61">
                  <c:v>La Belle Et</c:v>
                </c:pt>
                <c:pt idx="62">
                  <c:v>All Others</c:v>
                </c:pt>
                <c:pt idx="63">
                  <c:v>All Others</c:v>
                </c:pt>
                <c:pt idx="64">
                  <c:v>All Others</c:v>
                </c:pt>
                <c:pt idx="65">
                  <c:v>Raguin</c:v>
                </c:pt>
                <c:pt idx="66">
                  <c:v>All Others</c:v>
                </c:pt>
                <c:pt idx="67">
                  <c:v>Raguin</c:v>
                </c:pt>
                <c:pt idx="68">
                  <c:v>Raguin</c:v>
                </c:pt>
                <c:pt idx="69">
                  <c:v>Raguin</c:v>
                </c:pt>
                <c:pt idx="70">
                  <c:v>Raguin</c:v>
                </c:pt>
                <c:pt idx="71">
                  <c:v>Raguin</c:v>
                </c:pt>
                <c:pt idx="72">
                  <c:v>Raguin</c:v>
                </c:pt>
                <c:pt idx="73">
                  <c:v>All Others</c:v>
                </c:pt>
                <c:pt idx="74">
                  <c:v>Raguin</c:v>
                </c:pt>
                <c:pt idx="75">
                  <c:v>All Others</c:v>
                </c:pt>
                <c:pt idx="76">
                  <c:v>All Others</c:v>
                </c:pt>
                <c:pt idx="77">
                  <c:v>All Others</c:v>
                </c:pt>
                <c:pt idx="78">
                  <c:v>All Others</c:v>
                </c:pt>
                <c:pt idx="79">
                  <c:v>All Others</c:v>
                </c:pt>
                <c:pt idx="80">
                  <c:v>All Others</c:v>
                </c:pt>
                <c:pt idx="81">
                  <c:v>All Others</c:v>
                </c:pt>
                <c:pt idx="82">
                  <c:v>All Others</c:v>
                </c:pt>
                <c:pt idx="83">
                  <c:v>All Others</c:v>
                </c:pt>
                <c:pt idx="84">
                  <c:v>All Others</c:v>
                </c:pt>
                <c:pt idx="85">
                  <c:v>All Others</c:v>
                </c:pt>
                <c:pt idx="86">
                  <c:v>Milleret: A</c:v>
                </c:pt>
                <c:pt idx="87">
                  <c:v>Private Lab</c:v>
                </c:pt>
                <c:pt idx="88">
                  <c:v>All Others</c:v>
                </c:pt>
                <c:pt idx="89">
                  <c:v>Private Lab</c:v>
                </c:pt>
              </c:strCache>
            </c:strRef>
          </c:cat>
          <c:val>
            <c:numRef>
              <c:f>Sheet1!$B$2:$B$91</c:f>
              <c:numCache>
                <c:formatCode>General</c:formatCode>
                <c:ptCount val="90"/>
                <c:pt idx="0">
                  <c:v>1.0</c:v>
                </c:pt>
                <c:pt idx="1">
                  <c:v>1.0</c:v>
                </c:pt>
                <c:pt idx="2">
                  <c:v>1.0</c:v>
                </c:pt>
                <c:pt idx="3">
                  <c:v>1.0</c:v>
                </c:pt>
                <c:pt idx="4">
                  <c:v>1.0</c:v>
                </c:pt>
                <c:pt idx="5">
                  <c:v>1.0</c:v>
                </c:pt>
                <c:pt idx="6">
                  <c:v>0.99</c:v>
                </c:pt>
                <c:pt idx="7">
                  <c:v>0.99</c:v>
                </c:pt>
                <c:pt idx="8">
                  <c:v>0.09</c:v>
                </c:pt>
                <c:pt idx="9">
                  <c:v>0.07</c:v>
                </c:pt>
                <c:pt idx="10">
                  <c:v>0.96</c:v>
                </c:pt>
                <c:pt idx="11">
                  <c:v>0.14</c:v>
                </c:pt>
                <c:pt idx="12">
                  <c:v>0.99</c:v>
                </c:pt>
                <c:pt idx="13">
                  <c:v>0.95</c:v>
                </c:pt>
                <c:pt idx="14">
                  <c:v>0.12</c:v>
                </c:pt>
                <c:pt idx="15">
                  <c:v>0.09</c:v>
                </c:pt>
                <c:pt idx="16">
                  <c:v>0.06</c:v>
                </c:pt>
                <c:pt idx="17">
                  <c:v>0.07</c:v>
                </c:pt>
                <c:pt idx="18">
                  <c:v>0.2</c:v>
                </c:pt>
                <c:pt idx="19">
                  <c:v>0.09</c:v>
                </c:pt>
                <c:pt idx="20">
                  <c:v>0.06</c:v>
                </c:pt>
                <c:pt idx="21">
                  <c:v>0.27</c:v>
                </c:pt>
                <c:pt idx="22">
                  <c:v>0.69</c:v>
                </c:pt>
                <c:pt idx="23">
                  <c:v>0.28</c:v>
                </c:pt>
                <c:pt idx="24">
                  <c:v>0.17</c:v>
                </c:pt>
                <c:pt idx="25">
                  <c:v>0.16</c:v>
                </c:pt>
                <c:pt idx="26">
                  <c:v>0.09</c:v>
                </c:pt>
                <c:pt idx="27">
                  <c:v>0.18</c:v>
                </c:pt>
                <c:pt idx="28">
                  <c:v>0.08</c:v>
                </c:pt>
                <c:pt idx="29">
                  <c:v>0.08</c:v>
                </c:pt>
                <c:pt idx="30">
                  <c:v>0.08</c:v>
                </c:pt>
                <c:pt idx="31">
                  <c:v>0.07</c:v>
                </c:pt>
                <c:pt idx="32">
                  <c:v>0.1</c:v>
                </c:pt>
                <c:pt idx="33">
                  <c:v>0.15</c:v>
                </c:pt>
                <c:pt idx="34">
                  <c:v>0.1</c:v>
                </c:pt>
                <c:pt idx="35">
                  <c:v>0.11</c:v>
                </c:pt>
                <c:pt idx="36">
                  <c:v>0.1</c:v>
                </c:pt>
                <c:pt idx="37">
                  <c:v>0.09</c:v>
                </c:pt>
                <c:pt idx="38">
                  <c:v>0.14</c:v>
                </c:pt>
                <c:pt idx="39">
                  <c:v>0.11</c:v>
                </c:pt>
                <c:pt idx="40">
                  <c:v>0.11</c:v>
                </c:pt>
                <c:pt idx="41">
                  <c:v>0.03</c:v>
                </c:pt>
                <c:pt idx="42">
                  <c:v>0.11</c:v>
                </c:pt>
                <c:pt idx="43">
                  <c:v>0.06</c:v>
                </c:pt>
                <c:pt idx="44">
                  <c:v>0.16</c:v>
                </c:pt>
                <c:pt idx="45">
                  <c:v>0.07</c:v>
                </c:pt>
                <c:pt idx="46">
                  <c:v>0.07</c:v>
                </c:pt>
                <c:pt idx="47">
                  <c:v>0.11</c:v>
                </c:pt>
                <c:pt idx="48">
                  <c:v>0.07</c:v>
                </c:pt>
                <c:pt idx="49">
                  <c:v>0.09</c:v>
                </c:pt>
                <c:pt idx="50">
                  <c:v>0.03</c:v>
                </c:pt>
                <c:pt idx="51">
                  <c:v>0.05</c:v>
                </c:pt>
                <c:pt idx="52">
                  <c:v>0.03</c:v>
                </c:pt>
                <c:pt idx="53">
                  <c:v>0.03</c:v>
                </c:pt>
                <c:pt idx="54">
                  <c:v>0.07</c:v>
                </c:pt>
                <c:pt idx="55">
                  <c:v>0.05</c:v>
                </c:pt>
                <c:pt idx="56">
                  <c:v>0.09</c:v>
                </c:pt>
                <c:pt idx="57">
                  <c:v>0.04</c:v>
                </c:pt>
                <c:pt idx="58">
                  <c:v>0.05</c:v>
                </c:pt>
                <c:pt idx="59">
                  <c:v>0.02</c:v>
                </c:pt>
                <c:pt idx="60">
                  <c:v>0.11</c:v>
                </c:pt>
                <c:pt idx="61">
                  <c:v>0.07</c:v>
                </c:pt>
                <c:pt idx="62">
                  <c:v>0.06</c:v>
                </c:pt>
                <c:pt idx="63">
                  <c:v>0.05</c:v>
                </c:pt>
                <c:pt idx="64">
                  <c:v>0.11</c:v>
                </c:pt>
                <c:pt idx="65">
                  <c:v>0.02</c:v>
                </c:pt>
                <c:pt idx="66">
                  <c:v>0.02</c:v>
                </c:pt>
                <c:pt idx="67">
                  <c:v>0.03</c:v>
                </c:pt>
                <c:pt idx="68">
                  <c:v>0.05</c:v>
                </c:pt>
                <c:pt idx="69">
                  <c:v>0.05</c:v>
                </c:pt>
                <c:pt idx="70">
                  <c:v>0.05</c:v>
                </c:pt>
                <c:pt idx="71">
                  <c:v>0.01</c:v>
                </c:pt>
                <c:pt idx="72">
                  <c:v>0.04</c:v>
                </c:pt>
                <c:pt idx="73">
                  <c:v>0.01</c:v>
                </c:pt>
                <c:pt idx="74">
                  <c:v>0.03</c:v>
                </c:pt>
                <c:pt idx="75">
                  <c:v>0.02</c:v>
                </c:pt>
                <c:pt idx="76">
                  <c:v>0.06</c:v>
                </c:pt>
                <c:pt idx="77">
                  <c:v>0.06</c:v>
                </c:pt>
                <c:pt idx="78">
                  <c:v>0.02</c:v>
                </c:pt>
                <c:pt idx="79">
                  <c:v>0.06</c:v>
                </c:pt>
                <c:pt idx="80">
                  <c:v>0.09</c:v>
                </c:pt>
                <c:pt idx="81">
                  <c:v>0.02</c:v>
                </c:pt>
                <c:pt idx="82">
                  <c:v>0.04</c:v>
                </c:pt>
                <c:pt idx="83">
                  <c:v>0.02</c:v>
                </c:pt>
                <c:pt idx="84">
                  <c:v>0.03</c:v>
                </c:pt>
                <c:pt idx="85">
                  <c:v>0.01</c:v>
                </c:pt>
                <c:pt idx="86">
                  <c:v>0.03</c:v>
                </c:pt>
                <c:pt idx="87">
                  <c:v>0.01</c:v>
                </c:pt>
                <c:pt idx="88">
                  <c:v>0.01</c:v>
                </c:pt>
                <c:pt idx="8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Item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7ECAC4"/>
              </a:solidFill>
            </c:spPr>
            <c:extLst>
              <c:ext xmlns:c16="http://schemas.microsoft.com/office/drawing/2014/chart" uri="{C3380CC4-5D6E-409C-BE32-E72D297353CC}">
                <c16:uniqueId val="{0000004F-2993-41DE-A2CB-63102DE87051}"/>
              </c:ext>
            </c:extLst>
          </c:dPt>
          <c:dPt>
            <c:idx val="12"/>
            <c:invertIfNegative val="1"/>
            <c:bubble3D val="0"/>
            <c:spPr>
              <a:solidFill>
                <a:srgbClr val="7ECAC4"/>
              </a:solidFill>
            </c:spPr>
            <c:extLst>
              <c:ext xmlns:c16="http://schemas.microsoft.com/office/drawing/2014/chart" uri="{C3380CC4-5D6E-409C-BE32-E72D297353CC}">
                <c16:uniqueId val="{00000051-2993-41DE-A2CB-63102DE87051}"/>
              </c:ext>
            </c:extLst>
          </c:dPt>
          <c:dPt>
            <c:idx val="13"/>
            <c:invertIfNegative val="1"/>
            <c:bubble3D val="0"/>
            <c:spPr>
              <a:solidFill>
                <a:srgbClr val="7ECAC4"/>
              </a:solidFill>
            </c:spPr>
            <c:extLst>
              <c:ext xmlns:c16="http://schemas.microsoft.com/office/drawing/2014/chart" uri="{C3380CC4-5D6E-409C-BE32-E72D297353CC}">
                <c16:uniqueId val="{00000053-2993-41DE-A2CB-63102DE87051}"/>
              </c:ext>
            </c:extLst>
          </c:dPt>
          <c:dPt>
            <c:idx val="14"/>
            <c:invertIfNegative val="1"/>
            <c:bubble3D val="0"/>
            <c:spPr>
              <a:solidFill>
                <a:srgbClr val="7ECAC4"/>
              </a:solidFill>
            </c:spPr>
            <c:extLst>
              <c:ext xmlns:c16="http://schemas.microsoft.com/office/drawing/2014/chart" uri="{C3380CC4-5D6E-409C-BE32-E72D297353CC}">
                <c16:uniqueId val="{00000055-2993-41DE-A2CB-63102DE87051}"/>
              </c:ext>
            </c:extLst>
          </c:dPt>
          <c:dPt>
            <c:idx val="15"/>
            <c:invertIfNegative val="1"/>
            <c:bubble3D val="0"/>
            <c:spPr>
              <a:solidFill>
                <a:srgbClr val="7ECAC4"/>
              </a:solidFill>
            </c:spPr>
            <c:extLst>
              <c:ext xmlns:c16="http://schemas.microsoft.com/office/drawing/2014/chart" uri="{C3380CC4-5D6E-409C-BE32-E72D297353CC}">
                <c16:uniqueId val="{00000057-2993-41DE-A2CB-63102DE87051}"/>
              </c:ext>
            </c:extLst>
          </c:dPt>
          <c:dPt>
            <c:idx val="16"/>
            <c:invertIfNegative val="1"/>
            <c:bubble3D val="0"/>
            <c:spPr>
              <a:solidFill>
                <a:srgbClr val="7ECAC4"/>
              </a:solidFill>
            </c:spPr>
            <c:extLst>
              <c:ext xmlns:c16="http://schemas.microsoft.com/office/drawing/2014/chart" uri="{C3380CC4-5D6E-409C-BE32-E72D297353CC}">
                <c16:uniqueId val="{00000059-2993-41DE-A2CB-63102DE87051}"/>
              </c:ext>
            </c:extLst>
          </c:dPt>
          <c:dPt>
            <c:idx val="17"/>
            <c:invertIfNegative val="1"/>
            <c:bubble3D val="0"/>
            <c:spPr>
              <a:solidFill>
                <a:srgbClr val="7ECAC4"/>
              </a:solidFill>
            </c:spPr>
            <c:extLst>
              <c:ext xmlns:c16="http://schemas.microsoft.com/office/drawing/2014/chart" uri="{C3380CC4-5D6E-409C-BE32-E72D297353CC}">
                <c16:uniqueId val="{0000005B-2993-41DE-A2CB-63102DE87051}"/>
              </c:ext>
            </c:extLst>
          </c:dPt>
          <c:dPt>
            <c:idx val="18"/>
            <c:invertIfNegative val="1"/>
            <c:bubble3D val="0"/>
            <c:spPr>
              <a:solidFill>
                <a:srgbClr val="7ECAC4"/>
              </a:solidFill>
            </c:spPr>
            <c:extLst>
              <c:ext xmlns:c16="http://schemas.microsoft.com/office/drawing/2014/chart" uri="{C3380CC4-5D6E-409C-BE32-E72D297353CC}">
                <c16:uniqueId val="{0000005D-2993-41DE-A2CB-63102DE87051}"/>
              </c:ext>
            </c:extLst>
          </c:dPt>
          <c:dPt>
            <c:idx val="19"/>
            <c:invertIfNegative val="1"/>
            <c:bubble3D val="0"/>
            <c:spPr>
              <a:solidFill>
                <a:srgbClr val="7ECAC4"/>
              </a:solidFill>
            </c:spPr>
            <c:extLst>
              <c:ext xmlns:c16="http://schemas.microsoft.com/office/drawing/2014/chart" uri="{C3380CC4-5D6E-409C-BE32-E72D297353CC}">
                <c16:uniqueId val="{0000005F-2993-41DE-A2CB-63102DE87051}"/>
              </c:ext>
            </c:extLst>
          </c:dPt>
          <c:dPt>
            <c:idx val="20"/>
            <c:invertIfNegative val="1"/>
            <c:bubble3D val="0"/>
            <c:spPr>
              <a:solidFill>
                <a:srgbClr val="7ECAC4"/>
              </a:solidFill>
            </c:spPr>
            <c:extLst>
              <c:ext xmlns:c16="http://schemas.microsoft.com/office/drawing/2014/chart" uri="{C3380CC4-5D6E-409C-BE32-E72D297353CC}">
                <c16:uniqueId val="{00000061-2993-41DE-A2CB-63102DE87051}"/>
              </c:ext>
            </c:extLst>
          </c:dPt>
          <c:dPt>
            <c:idx val="21"/>
            <c:invertIfNegative val="1"/>
            <c:bubble3D val="0"/>
            <c:spPr>
              <a:solidFill>
                <a:srgbClr val="7ECAC4"/>
              </a:solidFill>
            </c:spPr>
            <c:extLst>
              <c:ext xmlns:c16="http://schemas.microsoft.com/office/drawing/2014/chart" uri="{C3380CC4-5D6E-409C-BE32-E72D297353CC}">
                <c16:uniqueId val="{00000063-2993-41DE-A2CB-63102DE87051}"/>
              </c:ext>
            </c:extLst>
          </c:dPt>
          <c:dPt>
            <c:idx val="22"/>
            <c:invertIfNegative val="1"/>
            <c:bubble3D val="0"/>
            <c:spPr>
              <a:solidFill>
                <a:srgbClr val="7ECAC4"/>
              </a:solidFill>
            </c:spPr>
            <c:extLst>
              <c:ext xmlns:c16="http://schemas.microsoft.com/office/drawing/2014/chart" uri="{C3380CC4-5D6E-409C-BE32-E72D297353CC}">
                <c16:uniqueId val="{00000065-2993-41DE-A2CB-63102DE87051}"/>
              </c:ext>
            </c:extLst>
          </c:dPt>
          <c:dPt>
            <c:idx val="23"/>
            <c:invertIfNegative val="1"/>
            <c:bubble3D val="0"/>
            <c:spPr>
              <a:solidFill>
                <a:srgbClr val="7ECAC4"/>
              </a:solidFill>
            </c:spPr>
            <c:extLst>
              <c:ext xmlns:c16="http://schemas.microsoft.com/office/drawing/2014/chart" uri="{C3380CC4-5D6E-409C-BE32-E72D297353CC}">
                <c16:uniqueId val="{00000067-2993-41DE-A2CB-63102DE87051}"/>
              </c:ext>
            </c:extLst>
          </c:dPt>
          <c:dPt>
            <c:idx val="24"/>
            <c:invertIfNegative val="1"/>
            <c:bubble3D val="0"/>
            <c:spPr>
              <a:solidFill>
                <a:srgbClr val="7ECAC4"/>
              </a:solidFill>
            </c:spPr>
            <c:extLst>
              <c:ext xmlns:c16="http://schemas.microsoft.com/office/drawing/2014/chart" uri="{C3380CC4-5D6E-409C-BE32-E72D297353CC}">
                <c16:uniqueId val="{00000069-2993-41DE-A2CB-63102DE87051}"/>
              </c:ext>
            </c:extLst>
          </c:dPt>
          <c:dPt>
            <c:idx val="25"/>
            <c:invertIfNegative val="1"/>
            <c:bubble3D val="0"/>
            <c:spPr>
              <a:solidFill>
                <a:srgbClr val="7ECAC4"/>
              </a:solidFill>
            </c:spPr>
            <c:extLst>
              <c:ext xmlns:c16="http://schemas.microsoft.com/office/drawing/2014/chart" uri="{C3380CC4-5D6E-409C-BE32-E72D297353CC}">
                <c16:uniqueId val="{0000006B-2993-41DE-A2CB-63102DE87051}"/>
              </c:ext>
            </c:extLst>
          </c:dPt>
          <c:dPt>
            <c:idx val="26"/>
            <c:invertIfNegative val="1"/>
            <c:bubble3D val="0"/>
            <c:spPr>
              <a:solidFill>
                <a:srgbClr val="7ECAC4"/>
              </a:solidFill>
            </c:spPr>
            <c:extLst>
              <c:ext xmlns:c16="http://schemas.microsoft.com/office/drawing/2014/chart" uri="{C3380CC4-5D6E-409C-BE32-E72D297353CC}">
                <c16:uniqueId val="{0000006D-2993-41DE-A2CB-63102DE87051}"/>
              </c:ext>
            </c:extLst>
          </c:dPt>
          <c:dPt>
            <c:idx val="27"/>
            <c:invertIfNegative val="1"/>
            <c:bubble3D val="0"/>
            <c:spPr>
              <a:solidFill>
                <a:srgbClr val="7ECAC4"/>
              </a:solidFill>
            </c:spPr>
            <c:extLst>
              <c:ext xmlns:c16="http://schemas.microsoft.com/office/drawing/2014/chart" uri="{C3380CC4-5D6E-409C-BE32-E72D297353CC}">
                <c16:uniqueId val="{0000006F-2993-41DE-A2CB-63102DE87051}"/>
              </c:ext>
            </c:extLst>
          </c:dPt>
          <c:dPt>
            <c:idx val="28"/>
            <c:invertIfNegative val="1"/>
            <c:bubble3D val="0"/>
            <c:spPr>
              <a:solidFill>
                <a:srgbClr val="7ECAC4"/>
              </a:solidFill>
            </c:spPr>
            <c:extLst>
              <c:ext xmlns:c16="http://schemas.microsoft.com/office/drawing/2014/chart" uri="{C3380CC4-5D6E-409C-BE32-E72D297353CC}">
                <c16:uniqueId val="{00000071-2993-41DE-A2CB-63102DE87051}"/>
              </c:ext>
            </c:extLst>
          </c:dPt>
          <c:dPt>
            <c:idx val="29"/>
            <c:invertIfNegative val="1"/>
            <c:bubble3D val="0"/>
            <c:spPr>
              <a:solidFill>
                <a:srgbClr val="7ECAC4"/>
              </a:solidFill>
            </c:spPr>
            <c:extLst>
              <c:ext xmlns:c16="http://schemas.microsoft.com/office/drawing/2014/chart" uri="{C3380CC4-5D6E-409C-BE32-E72D297353CC}">
                <c16:uniqueId val="{00000073-2993-41DE-A2CB-63102DE87051}"/>
              </c:ext>
            </c:extLst>
          </c:dPt>
          <c:dPt>
            <c:idx val="30"/>
            <c:invertIfNegative val="1"/>
            <c:bubble3D val="0"/>
            <c:spPr>
              <a:solidFill>
                <a:srgbClr val="7ECAC4"/>
              </a:solidFill>
            </c:spPr>
            <c:extLst>
              <c:ext xmlns:c16="http://schemas.microsoft.com/office/drawing/2014/chart" uri="{C3380CC4-5D6E-409C-BE32-E72D297353CC}">
                <c16:uniqueId val="{00000075-2993-41DE-A2CB-63102DE87051}"/>
              </c:ext>
            </c:extLst>
          </c:dPt>
          <c:dPt>
            <c:idx val="31"/>
            <c:invertIfNegative val="1"/>
            <c:bubble3D val="0"/>
            <c:spPr>
              <a:solidFill>
                <a:srgbClr val="7ECAC4"/>
              </a:solidFill>
            </c:spPr>
            <c:extLst>
              <c:ext xmlns:c16="http://schemas.microsoft.com/office/drawing/2014/chart" uri="{C3380CC4-5D6E-409C-BE32-E72D297353CC}">
                <c16:uniqueId val="{00000077-2993-41DE-A2CB-63102DE87051}"/>
              </c:ext>
            </c:extLst>
          </c:dPt>
          <c:dPt>
            <c:idx val="32"/>
            <c:invertIfNegative val="1"/>
            <c:bubble3D val="0"/>
            <c:spPr>
              <a:solidFill>
                <a:srgbClr val="7ECAC4"/>
              </a:solidFill>
            </c:spPr>
            <c:extLst>
              <c:ext xmlns:c16="http://schemas.microsoft.com/office/drawing/2014/chart" uri="{C3380CC4-5D6E-409C-BE32-E72D297353CC}">
                <c16:uniqueId val="{00000079-2993-41DE-A2CB-63102DE87051}"/>
              </c:ext>
            </c:extLst>
          </c:dPt>
          <c:dPt>
            <c:idx val="33"/>
            <c:invertIfNegative val="1"/>
            <c:bubble3D val="0"/>
            <c:spPr>
              <a:solidFill>
                <a:srgbClr val="AEABAB"/>
              </a:solidFill>
            </c:spPr>
            <c:extLst>
              <c:ext xmlns:c16="http://schemas.microsoft.com/office/drawing/2014/chart" uri="{C3380CC4-5D6E-409C-BE32-E72D297353CC}">
                <c16:uniqueId val="{0000007B-2993-41DE-A2CB-63102DE87051}"/>
              </c:ext>
            </c:extLst>
          </c:dPt>
          <c:dPt>
            <c:idx val="34"/>
            <c:invertIfNegative val="1"/>
            <c:bubble3D val="0"/>
            <c:spPr>
              <a:solidFill>
                <a:srgbClr val="AEABAB"/>
              </a:solidFill>
            </c:spPr>
            <c:extLst>
              <c:ext xmlns:c16="http://schemas.microsoft.com/office/drawing/2014/chart" uri="{C3380CC4-5D6E-409C-BE32-E72D297353CC}">
                <c16:uniqueId val="{0000007D-2993-41DE-A2CB-63102DE87051}"/>
              </c:ext>
            </c:extLst>
          </c:dPt>
          <c:dPt>
            <c:idx val="35"/>
            <c:invertIfNegative val="1"/>
            <c:bubble3D val="0"/>
            <c:spPr>
              <a:solidFill>
                <a:srgbClr val="AEABAB"/>
              </a:solidFill>
            </c:spPr>
            <c:extLst>
              <c:ext xmlns:c16="http://schemas.microsoft.com/office/drawing/2014/chart" uri="{C3380CC4-5D6E-409C-BE32-E72D297353CC}">
                <c16:uniqueId val="{0000007F-2993-41DE-A2CB-63102DE87051}"/>
              </c:ext>
            </c:extLst>
          </c:dPt>
          <c:dPt>
            <c:idx val="36"/>
            <c:invertIfNegative val="1"/>
            <c:bubble3D val="0"/>
            <c:spPr>
              <a:solidFill>
                <a:srgbClr val="AEABAB"/>
              </a:solidFill>
            </c:spPr>
            <c:extLst>
              <c:ext xmlns:c16="http://schemas.microsoft.com/office/drawing/2014/chart" uri="{C3380CC4-5D6E-409C-BE32-E72D297353CC}">
                <c16:uniqueId val="{00000081-2993-41DE-A2CB-63102DE87051}"/>
              </c:ext>
            </c:extLst>
          </c:dPt>
          <c:dPt>
            <c:idx val="37"/>
            <c:invertIfNegative val="1"/>
            <c:bubble3D val="0"/>
            <c:spPr>
              <a:solidFill>
                <a:srgbClr val="AEABAB"/>
              </a:solidFill>
            </c:spPr>
            <c:extLst>
              <c:ext xmlns:c16="http://schemas.microsoft.com/office/drawing/2014/chart" uri="{C3380CC4-5D6E-409C-BE32-E72D297353CC}">
                <c16:uniqueId val="{00000083-2993-41DE-A2CB-63102DE87051}"/>
              </c:ext>
            </c:extLst>
          </c:dPt>
          <c:dPt>
            <c:idx val="38"/>
            <c:invertIfNegative val="1"/>
            <c:bubble3D val="0"/>
            <c:spPr>
              <a:solidFill>
                <a:srgbClr val="AEABAB"/>
              </a:solidFill>
            </c:spPr>
            <c:extLst>
              <c:ext xmlns:c16="http://schemas.microsoft.com/office/drawing/2014/chart" uri="{C3380CC4-5D6E-409C-BE32-E72D297353CC}">
                <c16:uniqueId val="{00000085-2993-41DE-A2CB-63102DE87051}"/>
              </c:ext>
            </c:extLst>
          </c:dPt>
          <c:dPt>
            <c:idx val="39"/>
            <c:invertIfNegative val="1"/>
            <c:bubble3D val="0"/>
            <c:spPr>
              <a:solidFill>
                <a:srgbClr val="AEABAB"/>
              </a:solidFill>
            </c:spPr>
            <c:extLst>
              <c:ext xmlns:c16="http://schemas.microsoft.com/office/drawing/2014/chart" uri="{C3380CC4-5D6E-409C-BE32-E72D297353CC}">
                <c16:uniqueId val="{00000087-2993-41DE-A2CB-63102DE87051}"/>
              </c:ext>
            </c:extLst>
          </c:dPt>
          <c:dPt>
            <c:idx val="40"/>
            <c:invertIfNegative val="1"/>
            <c:bubble3D val="0"/>
            <c:spPr>
              <a:solidFill>
                <a:srgbClr val="AEABAB"/>
              </a:solidFill>
            </c:spPr>
            <c:extLst>
              <c:ext xmlns:c16="http://schemas.microsoft.com/office/drawing/2014/chart" uri="{C3380CC4-5D6E-409C-BE32-E72D297353CC}">
                <c16:uniqueId val="{00000089-2993-41DE-A2CB-63102DE87051}"/>
              </c:ext>
            </c:extLst>
          </c:dPt>
          <c:dPt>
            <c:idx val="41"/>
            <c:invertIfNegative val="1"/>
            <c:bubble3D val="0"/>
            <c:spPr>
              <a:solidFill>
                <a:srgbClr val="AEABAB"/>
              </a:solidFill>
            </c:spPr>
            <c:extLst>
              <c:ext xmlns:c16="http://schemas.microsoft.com/office/drawing/2014/chart" uri="{C3380CC4-5D6E-409C-BE32-E72D297353CC}">
                <c16:uniqueId val="{0000008B-2993-41DE-A2CB-63102DE87051}"/>
              </c:ext>
            </c:extLst>
          </c:dPt>
          <c:dPt>
            <c:idx val="42"/>
            <c:invertIfNegative val="1"/>
            <c:bubble3D val="0"/>
            <c:spPr>
              <a:solidFill>
                <a:srgbClr val="AEABAB"/>
              </a:solidFill>
            </c:spPr>
            <c:extLst>
              <c:ext xmlns:c16="http://schemas.microsoft.com/office/drawing/2014/chart" uri="{C3380CC4-5D6E-409C-BE32-E72D297353CC}">
                <c16:uniqueId val="{0000008D-2993-41DE-A2CB-63102DE87051}"/>
              </c:ext>
            </c:extLst>
          </c:dPt>
          <c:dPt>
            <c:idx val="43"/>
            <c:invertIfNegative val="1"/>
            <c:bubble3D val="0"/>
            <c:spPr>
              <a:solidFill>
                <a:srgbClr val="AEABAB"/>
              </a:solidFill>
            </c:spPr>
            <c:extLst>
              <c:ext xmlns:c16="http://schemas.microsoft.com/office/drawing/2014/chart" uri="{C3380CC4-5D6E-409C-BE32-E72D297353CC}">
                <c16:uniqueId val="{0000008F-2993-41DE-A2CB-63102DE87051}"/>
              </c:ext>
            </c:extLst>
          </c:dPt>
          <c:dPt>
            <c:idx val="44"/>
            <c:invertIfNegative val="1"/>
            <c:bubble3D val="0"/>
            <c:spPr>
              <a:solidFill>
                <a:srgbClr val="AEABAB"/>
              </a:solidFill>
            </c:spPr>
            <c:extLst>
              <c:ext xmlns:c16="http://schemas.microsoft.com/office/drawing/2014/chart" uri="{C3380CC4-5D6E-409C-BE32-E72D297353CC}">
                <c16:uniqueId val="{00000091-2993-41DE-A2CB-63102DE87051}"/>
              </c:ext>
            </c:extLst>
          </c:dPt>
          <c:dPt>
            <c:idx val="45"/>
            <c:invertIfNegative val="1"/>
            <c:bubble3D val="0"/>
            <c:spPr>
              <a:solidFill>
                <a:srgbClr val="AEABAB"/>
              </a:solidFill>
            </c:spPr>
            <c:extLst>
              <c:ext xmlns:c16="http://schemas.microsoft.com/office/drawing/2014/chart" uri="{C3380CC4-5D6E-409C-BE32-E72D297353CC}">
                <c16:uniqueId val="{00000093-2993-41DE-A2CB-63102DE87051}"/>
              </c:ext>
            </c:extLst>
          </c:dPt>
          <c:dPt>
            <c:idx val="46"/>
            <c:invertIfNegative val="1"/>
            <c:bubble3D val="0"/>
            <c:spPr>
              <a:solidFill>
                <a:srgbClr val="AEABAB"/>
              </a:solidFill>
            </c:spPr>
            <c:extLst>
              <c:ext xmlns:c16="http://schemas.microsoft.com/office/drawing/2014/chart" uri="{C3380CC4-5D6E-409C-BE32-E72D297353CC}">
                <c16:uniqueId val="{00000095-2993-41DE-A2CB-63102DE87051}"/>
              </c:ext>
            </c:extLst>
          </c:dPt>
          <c:dPt>
            <c:idx val="47"/>
            <c:invertIfNegative val="1"/>
            <c:bubble3D val="0"/>
            <c:spPr>
              <a:solidFill>
                <a:srgbClr val="AEABAB"/>
              </a:solidFill>
            </c:spPr>
            <c:extLst>
              <c:ext xmlns:c16="http://schemas.microsoft.com/office/drawing/2014/chart" uri="{C3380CC4-5D6E-409C-BE32-E72D297353CC}">
                <c16:uniqueId val="{00000097-2993-41DE-A2CB-63102DE87051}"/>
              </c:ext>
            </c:extLst>
          </c:dPt>
          <c:dPt>
            <c:idx val="48"/>
            <c:invertIfNegative val="1"/>
            <c:bubble3D val="0"/>
            <c:spPr>
              <a:solidFill>
                <a:srgbClr val="AEABAB"/>
              </a:solidFill>
            </c:spPr>
            <c:extLst>
              <c:ext xmlns:c16="http://schemas.microsoft.com/office/drawing/2014/chart" uri="{C3380CC4-5D6E-409C-BE32-E72D297353CC}">
                <c16:uniqueId val="{00000099-2993-41DE-A2CB-63102DE87051}"/>
              </c:ext>
            </c:extLst>
          </c:dPt>
          <c:dPt>
            <c:idx val="49"/>
            <c:invertIfNegative val="1"/>
            <c:bubble3D val="0"/>
            <c:spPr>
              <a:solidFill>
                <a:srgbClr val="AEABAB"/>
              </a:solidFill>
            </c:spPr>
            <c:extLst>
              <c:ext xmlns:c16="http://schemas.microsoft.com/office/drawing/2014/chart" uri="{C3380CC4-5D6E-409C-BE32-E72D297353CC}">
                <c16:uniqueId val="{0000009B-2993-41DE-A2CB-63102DE87051}"/>
              </c:ext>
            </c:extLst>
          </c:dPt>
          <c:dPt>
            <c:idx val="50"/>
            <c:invertIfNegative val="1"/>
            <c:bubble3D val="0"/>
            <c:spPr>
              <a:solidFill>
                <a:srgbClr val="AEABAB"/>
              </a:solidFill>
            </c:spPr>
            <c:extLst>
              <c:ext xmlns:c16="http://schemas.microsoft.com/office/drawing/2014/chart" uri="{C3380CC4-5D6E-409C-BE32-E72D297353CC}">
                <c16:uniqueId val="{0000009D-2993-41DE-A2CB-63102DE87051}"/>
              </c:ext>
            </c:extLst>
          </c:dPt>
          <c:dPt>
            <c:idx val="51"/>
            <c:invertIfNegative val="1"/>
            <c:bubble3D val="0"/>
            <c:spPr>
              <a:solidFill>
                <a:srgbClr val="AEABAB"/>
              </a:solidFill>
            </c:spPr>
            <c:extLst>
              <c:ext xmlns:c16="http://schemas.microsoft.com/office/drawing/2014/chart" uri="{C3380CC4-5D6E-409C-BE32-E72D297353CC}">
                <c16:uniqueId val="{0000009F-2993-41DE-A2CB-63102DE87051}"/>
              </c:ext>
            </c:extLst>
          </c:dPt>
          <c:dPt>
            <c:idx val="52"/>
            <c:invertIfNegative val="1"/>
            <c:bubble3D val="0"/>
            <c:spPr>
              <a:solidFill>
                <a:srgbClr val="AEABAB"/>
              </a:solidFill>
            </c:spPr>
            <c:extLst>
              <c:ext xmlns:c16="http://schemas.microsoft.com/office/drawing/2014/chart" uri="{C3380CC4-5D6E-409C-BE32-E72D297353CC}">
                <c16:uniqueId val="{000000A1-2993-41DE-A2CB-63102DE87051}"/>
              </c:ext>
            </c:extLst>
          </c:dPt>
          <c:dPt>
            <c:idx val="53"/>
            <c:invertIfNegative val="1"/>
            <c:bubble3D val="0"/>
            <c:spPr>
              <a:solidFill>
                <a:srgbClr val="AEABAB"/>
              </a:solidFill>
            </c:spPr>
            <c:extLst>
              <c:ext xmlns:c16="http://schemas.microsoft.com/office/drawing/2014/chart" uri="{C3380CC4-5D6E-409C-BE32-E72D297353CC}">
                <c16:uniqueId val="{000000A3-2993-41DE-A2CB-63102DE87051}"/>
              </c:ext>
            </c:extLst>
          </c:dPt>
          <c:dPt>
            <c:idx val="54"/>
            <c:invertIfNegative val="0"/>
            <c:bubble3D val="0"/>
            <c:spPr>
              <a:solidFill>
                <a:srgbClr val="AEABAB"/>
              </a:solidFill>
            </c:spPr>
            <c:extLst>
              <c:ext xmlns:c16="http://schemas.microsoft.com/office/drawing/2014/chart" uri="{C3380CC4-5D6E-409C-BE32-E72D297353CC}">
                <c16:uniqueId val="{00000072-C76F-4230-900D-40618C09729F}"/>
              </c:ext>
            </c:extLst>
          </c:dPt>
          <c:dPt>
            <c:idx val="55"/>
            <c:invertIfNegative val="0"/>
            <c:bubble3D val="0"/>
            <c:spPr>
              <a:solidFill>
                <a:srgbClr val="AEABAB"/>
              </a:solidFill>
            </c:spPr>
            <c:extLst>
              <c:ext xmlns:c16="http://schemas.microsoft.com/office/drawing/2014/chart" uri="{C3380CC4-5D6E-409C-BE32-E72D297353CC}">
                <c16:uniqueId val="{00000074-C76F-4230-900D-40618C09729F}"/>
              </c:ext>
            </c:extLst>
          </c:dPt>
          <c:dPt>
            <c:idx val="56"/>
            <c:invertIfNegative val="0"/>
            <c:bubble3D val="0"/>
            <c:spPr>
              <a:solidFill>
                <a:srgbClr val="AEABAB"/>
              </a:solidFill>
            </c:spPr>
            <c:extLst>
              <c:ext xmlns:c16="http://schemas.microsoft.com/office/drawing/2014/chart" uri="{C3380CC4-5D6E-409C-BE32-E72D297353CC}">
                <c16:uniqueId val="{00000076-C76F-4230-900D-40618C09729F}"/>
              </c:ext>
            </c:extLst>
          </c:dPt>
          <c:dPt>
            <c:idx val="57"/>
            <c:invertIfNegative val="0"/>
            <c:bubble3D val="0"/>
            <c:spPr>
              <a:solidFill>
                <a:srgbClr val="AEABAB"/>
              </a:solidFill>
            </c:spPr>
            <c:extLst>
              <c:ext xmlns:c16="http://schemas.microsoft.com/office/drawing/2014/chart" uri="{C3380CC4-5D6E-409C-BE32-E72D297353CC}">
                <c16:uniqueId val="{00000078-C76F-4230-900D-40618C09729F}"/>
              </c:ext>
            </c:extLst>
          </c:dPt>
          <c:dPt>
            <c:idx val="58"/>
            <c:invertIfNegative val="0"/>
            <c:bubble3D val="0"/>
            <c:spPr>
              <a:solidFill>
                <a:srgbClr val="AEABAB"/>
              </a:solidFill>
            </c:spPr>
            <c:extLst>
              <c:ext xmlns:c16="http://schemas.microsoft.com/office/drawing/2014/chart" uri="{C3380CC4-5D6E-409C-BE32-E72D297353CC}">
                <c16:uniqueId val="{0000007A-C76F-4230-900D-40618C09729F}"/>
              </c:ext>
            </c:extLst>
          </c:dPt>
          <c:dPt>
            <c:idx val="59"/>
            <c:invertIfNegative val="0"/>
            <c:bubble3D val="0"/>
            <c:spPr>
              <a:solidFill>
                <a:srgbClr val="AEABAB"/>
              </a:solidFill>
            </c:spPr>
            <c:extLst>
              <c:ext xmlns:c16="http://schemas.microsoft.com/office/drawing/2014/chart" uri="{C3380CC4-5D6E-409C-BE32-E72D297353CC}">
                <c16:uniqueId val="{0000007C-C76F-4230-900D-40618C09729F}"/>
              </c:ext>
            </c:extLst>
          </c:dPt>
          <c:dPt>
            <c:idx val="60"/>
            <c:invertIfNegative val="0"/>
            <c:bubble3D val="0"/>
            <c:spPr>
              <a:solidFill>
                <a:srgbClr val="AEABAB"/>
              </a:solidFill>
            </c:spPr>
            <c:extLst>
              <c:ext xmlns:c16="http://schemas.microsoft.com/office/drawing/2014/chart" uri="{C3380CC4-5D6E-409C-BE32-E72D297353CC}">
                <c16:uniqueId val="{0000007E-C76F-4230-900D-40618C09729F}"/>
              </c:ext>
            </c:extLst>
          </c:dPt>
          <c:dPt>
            <c:idx val="61"/>
            <c:invertIfNegative val="0"/>
            <c:bubble3D val="0"/>
            <c:spPr>
              <a:solidFill>
                <a:srgbClr val="AEABAB"/>
              </a:solidFill>
            </c:spPr>
            <c:extLst>
              <c:ext xmlns:c16="http://schemas.microsoft.com/office/drawing/2014/chart" uri="{C3380CC4-5D6E-409C-BE32-E72D297353CC}">
                <c16:uniqueId val="{00000080-C76F-4230-900D-40618C09729F}"/>
              </c:ext>
            </c:extLst>
          </c:dPt>
          <c:dPt>
            <c:idx val="62"/>
            <c:invertIfNegative val="0"/>
            <c:bubble3D val="0"/>
            <c:spPr>
              <a:solidFill>
                <a:srgbClr val="AEABAB"/>
              </a:solidFill>
            </c:spPr>
            <c:extLst>
              <c:ext xmlns:c16="http://schemas.microsoft.com/office/drawing/2014/chart" uri="{C3380CC4-5D6E-409C-BE32-E72D297353CC}">
                <c16:uniqueId val="{00000082-C76F-4230-900D-40618C09729F}"/>
              </c:ext>
            </c:extLst>
          </c:dPt>
          <c:dPt>
            <c:idx val="63"/>
            <c:invertIfNegative val="0"/>
            <c:bubble3D val="0"/>
            <c:spPr>
              <a:solidFill>
                <a:srgbClr val="AEABAB"/>
              </a:solidFill>
            </c:spPr>
            <c:extLst>
              <c:ext xmlns:c16="http://schemas.microsoft.com/office/drawing/2014/chart" uri="{C3380CC4-5D6E-409C-BE32-E72D297353CC}">
                <c16:uniqueId val="{00000084-C76F-4230-900D-40618C09729F}"/>
              </c:ext>
            </c:extLst>
          </c:dPt>
          <c:dPt>
            <c:idx val="64"/>
            <c:invertIfNegative val="0"/>
            <c:bubble3D val="0"/>
            <c:spPr>
              <a:solidFill>
                <a:srgbClr val="AEABAB"/>
              </a:solidFill>
            </c:spPr>
            <c:extLst>
              <c:ext xmlns:c16="http://schemas.microsoft.com/office/drawing/2014/chart" uri="{C3380CC4-5D6E-409C-BE32-E72D297353CC}">
                <c16:uniqueId val="{00000086-C76F-4230-900D-40618C09729F}"/>
              </c:ext>
            </c:extLst>
          </c:dPt>
          <c:dPt>
            <c:idx val="65"/>
            <c:invertIfNegative val="0"/>
            <c:bubble3D val="0"/>
            <c:spPr>
              <a:solidFill>
                <a:srgbClr val="AEABAB"/>
              </a:solidFill>
            </c:spPr>
            <c:extLst>
              <c:ext xmlns:c16="http://schemas.microsoft.com/office/drawing/2014/chart" uri="{C3380CC4-5D6E-409C-BE32-E72D297353CC}">
                <c16:uniqueId val="{00000088-C76F-4230-900D-40618C09729F}"/>
              </c:ext>
            </c:extLst>
          </c:dPt>
          <c:dPt>
            <c:idx val="66"/>
            <c:invertIfNegative val="0"/>
            <c:bubble3D val="0"/>
            <c:spPr>
              <a:solidFill>
                <a:srgbClr val="AEABAB"/>
              </a:solidFill>
            </c:spPr>
            <c:extLst>
              <c:ext xmlns:c16="http://schemas.microsoft.com/office/drawing/2014/chart" uri="{C3380CC4-5D6E-409C-BE32-E72D297353CC}">
                <c16:uniqueId val="{0000008A-C76F-4230-900D-40618C09729F}"/>
              </c:ext>
            </c:extLst>
          </c:dPt>
          <c:dPt>
            <c:idx val="67"/>
            <c:invertIfNegative val="0"/>
            <c:bubble3D val="0"/>
            <c:spPr>
              <a:solidFill>
                <a:srgbClr val="AEABAB"/>
              </a:solidFill>
            </c:spPr>
            <c:extLst>
              <c:ext xmlns:c16="http://schemas.microsoft.com/office/drawing/2014/chart" uri="{C3380CC4-5D6E-409C-BE32-E72D297353CC}">
                <c16:uniqueId val="{0000008C-C76F-4230-900D-40618C09729F}"/>
              </c:ext>
            </c:extLst>
          </c:dPt>
          <c:dPt>
            <c:idx val="68"/>
            <c:invertIfNegative val="0"/>
            <c:bubble3D val="0"/>
            <c:spPr>
              <a:solidFill>
                <a:srgbClr val="AEABAB"/>
              </a:solidFill>
            </c:spPr>
            <c:extLst>
              <c:ext xmlns:c16="http://schemas.microsoft.com/office/drawing/2014/chart" uri="{C3380CC4-5D6E-409C-BE32-E72D297353CC}">
                <c16:uniqueId val="{0000008E-C76F-4230-900D-40618C09729F}"/>
              </c:ext>
            </c:extLst>
          </c:dPt>
          <c:dPt>
            <c:idx val="69"/>
            <c:invertIfNegative val="0"/>
            <c:bubble3D val="0"/>
            <c:spPr>
              <a:solidFill>
                <a:srgbClr val="AEABAB"/>
              </a:solidFill>
            </c:spPr>
            <c:extLst>
              <c:ext xmlns:c16="http://schemas.microsoft.com/office/drawing/2014/chart" uri="{C3380CC4-5D6E-409C-BE32-E72D297353CC}">
                <c16:uniqueId val="{00000090-C76F-4230-900D-40618C09729F}"/>
              </c:ext>
            </c:extLst>
          </c:dPt>
          <c:dPt>
            <c:idx val="70"/>
            <c:invertIfNegative val="0"/>
            <c:bubble3D val="0"/>
            <c:spPr>
              <a:solidFill>
                <a:srgbClr val="AEABAB"/>
              </a:solidFill>
            </c:spPr>
            <c:extLst>
              <c:ext xmlns:c16="http://schemas.microsoft.com/office/drawing/2014/chart" uri="{C3380CC4-5D6E-409C-BE32-E72D297353CC}">
                <c16:uniqueId val="{00000092-C76F-4230-900D-40618C09729F}"/>
              </c:ext>
            </c:extLst>
          </c:dPt>
          <c:dPt>
            <c:idx val="71"/>
            <c:invertIfNegative val="0"/>
            <c:bubble3D val="0"/>
            <c:spPr>
              <a:solidFill>
                <a:srgbClr val="AEABAB"/>
              </a:solidFill>
            </c:spPr>
            <c:extLst>
              <c:ext xmlns:c16="http://schemas.microsoft.com/office/drawing/2014/chart" uri="{C3380CC4-5D6E-409C-BE32-E72D297353CC}">
                <c16:uniqueId val="{00000094-C76F-4230-900D-40618C09729F}"/>
              </c:ext>
            </c:extLst>
          </c:dPt>
          <c:dPt>
            <c:idx val="72"/>
            <c:invertIfNegative val="0"/>
            <c:bubble3D val="0"/>
            <c:spPr>
              <a:solidFill>
                <a:srgbClr val="AEABAB"/>
              </a:solidFill>
            </c:spPr>
            <c:extLst>
              <c:ext xmlns:c16="http://schemas.microsoft.com/office/drawing/2014/chart" uri="{C3380CC4-5D6E-409C-BE32-E72D297353CC}">
                <c16:uniqueId val="{00000096-C76F-4230-900D-40618C09729F}"/>
              </c:ext>
            </c:extLst>
          </c:dPt>
          <c:dPt>
            <c:idx val="73"/>
            <c:invertIfNegative val="0"/>
            <c:bubble3D val="0"/>
            <c:spPr>
              <a:solidFill>
                <a:srgbClr val="AEABAB"/>
              </a:solidFill>
            </c:spPr>
            <c:extLst>
              <c:ext xmlns:c16="http://schemas.microsoft.com/office/drawing/2014/chart" uri="{C3380CC4-5D6E-409C-BE32-E72D297353CC}">
                <c16:uniqueId val="{00000098-C76F-4230-900D-40618C09729F}"/>
              </c:ext>
            </c:extLst>
          </c:dPt>
          <c:dPt>
            <c:idx val="74"/>
            <c:invertIfNegative val="0"/>
            <c:bubble3D val="0"/>
            <c:spPr>
              <a:solidFill>
                <a:srgbClr val="AEABAB"/>
              </a:solidFill>
            </c:spPr>
            <c:extLst>
              <c:ext xmlns:c16="http://schemas.microsoft.com/office/drawing/2014/chart" uri="{C3380CC4-5D6E-409C-BE32-E72D297353CC}">
                <c16:uniqueId val="{0000009A-C76F-4230-900D-40618C09729F}"/>
              </c:ext>
            </c:extLst>
          </c:dPt>
          <c:dPt>
            <c:idx val="75"/>
            <c:invertIfNegative val="0"/>
            <c:bubble3D val="0"/>
            <c:spPr>
              <a:solidFill>
                <a:srgbClr val="AEABAB"/>
              </a:solidFill>
            </c:spPr>
            <c:extLst>
              <c:ext xmlns:c16="http://schemas.microsoft.com/office/drawing/2014/chart" uri="{C3380CC4-5D6E-409C-BE32-E72D297353CC}">
                <c16:uniqueId val="{0000009C-C76F-4230-900D-40618C09729F}"/>
              </c:ext>
            </c:extLst>
          </c:dPt>
          <c:dPt>
            <c:idx val="76"/>
            <c:invertIfNegative val="0"/>
            <c:bubble3D val="0"/>
            <c:spPr>
              <a:solidFill>
                <a:srgbClr val="AEABAB"/>
              </a:solidFill>
            </c:spPr>
            <c:extLst>
              <c:ext xmlns:c16="http://schemas.microsoft.com/office/drawing/2014/chart" uri="{C3380CC4-5D6E-409C-BE32-E72D297353CC}">
                <c16:uniqueId val="{0000009E-C76F-4230-900D-40618C09729F}"/>
              </c:ext>
            </c:extLst>
          </c:dPt>
          <c:dPt>
            <c:idx val="77"/>
            <c:invertIfNegative val="0"/>
            <c:bubble3D val="0"/>
            <c:spPr>
              <a:solidFill>
                <a:srgbClr val="AEABAB"/>
              </a:solidFill>
            </c:spPr>
            <c:extLst>
              <c:ext xmlns:c16="http://schemas.microsoft.com/office/drawing/2014/chart" uri="{C3380CC4-5D6E-409C-BE32-E72D297353CC}">
                <c16:uniqueId val="{000000A0-C76F-4230-900D-40618C09729F}"/>
              </c:ext>
            </c:extLst>
          </c:dPt>
          <c:dPt>
            <c:idx val="78"/>
            <c:invertIfNegative val="0"/>
            <c:bubble3D val="0"/>
            <c:spPr>
              <a:solidFill>
                <a:srgbClr val="AEABAB"/>
              </a:solidFill>
            </c:spPr>
            <c:extLst>
              <c:ext xmlns:c16="http://schemas.microsoft.com/office/drawing/2014/chart" uri="{C3380CC4-5D6E-409C-BE32-E72D297353CC}">
                <c16:uniqueId val="{000000A2-C76F-4230-900D-40618C09729F}"/>
              </c:ext>
            </c:extLst>
          </c:dPt>
          <c:dPt>
            <c:idx val="79"/>
            <c:invertIfNegative val="0"/>
            <c:bubble3D val="0"/>
            <c:spPr>
              <a:solidFill>
                <a:srgbClr val="AEABAB"/>
              </a:solidFill>
            </c:spPr>
            <c:extLst>
              <c:ext xmlns:c16="http://schemas.microsoft.com/office/drawing/2014/chart" uri="{C3380CC4-5D6E-409C-BE32-E72D297353CC}">
                <c16:uniqueId val="{000000A4-C76F-4230-900D-40618C09729F}"/>
              </c:ext>
            </c:extLst>
          </c:dPt>
          <c:dPt>
            <c:idx val="80"/>
            <c:invertIfNegative val="0"/>
            <c:bubble3D val="0"/>
            <c:spPr>
              <a:solidFill>
                <a:srgbClr val="AEABAB"/>
              </a:solidFill>
            </c:spPr>
            <c:extLst>
              <c:ext xmlns:c16="http://schemas.microsoft.com/office/drawing/2014/chart" uri="{C3380CC4-5D6E-409C-BE32-E72D297353CC}">
                <c16:uniqueId val="{000000A6-C76F-4230-900D-40618C09729F}"/>
              </c:ext>
            </c:extLst>
          </c:dPt>
          <c:dPt>
            <c:idx val="81"/>
            <c:invertIfNegative val="1"/>
            <c:bubble3D val="0"/>
            <c:spPr>
              <a:solidFill>
                <a:srgbClr val="AEABAB"/>
              </a:solidFill>
            </c:spPr>
            <c:extLst>
              <c:ext xmlns:c16="http://schemas.microsoft.com/office/drawing/2014/chart" uri="{C3380CC4-5D6E-409C-BE32-E72D297353CC}">
                <c16:uniqueId val="{000000A5-2993-41DE-A2CB-63102DE87051}"/>
              </c:ext>
            </c:extLst>
          </c:dPt>
          <c:dPt>
            <c:idx val="82"/>
            <c:invertIfNegative val="1"/>
            <c:bubble3D val="0"/>
            <c:spPr>
              <a:solidFill>
                <a:srgbClr val="AEABAB"/>
              </a:solidFill>
            </c:spPr>
            <c:extLst>
              <c:ext xmlns:c16="http://schemas.microsoft.com/office/drawing/2014/chart" uri="{C3380CC4-5D6E-409C-BE32-E72D297353CC}">
                <c16:uniqueId val="{000000A7-2993-41DE-A2CB-63102DE87051}"/>
              </c:ext>
            </c:extLst>
          </c:dPt>
          <c:dPt>
            <c:idx val="83"/>
            <c:invertIfNegative val="1"/>
            <c:bubble3D val="0"/>
            <c:spPr>
              <a:solidFill>
                <a:srgbClr val="AEABAB"/>
              </a:solidFill>
            </c:spPr>
            <c:extLst>
              <c:ext xmlns:c16="http://schemas.microsoft.com/office/drawing/2014/chart" uri="{C3380CC4-5D6E-409C-BE32-E72D297353CC}">
                <c16:uniqueId val="{000000A9-2993-41DE-A2CB-63102DE87051}"/>
              </c:ext>
            </c:extLst>
          </c:dPt>
          <c:dPt>
            <c:idx val="84"/>
            <c:invertIfNegative val="1"/>
            <c:bubble3D val="0"/>
            <c:spPr>
              <a:solidFill>
                <a:srgbClr val="AEABAB"/>
              </a:solidFill>
            </c:spPr>
            <c:extLst>
              <c:ext xmlns:c16="http://schemas.microsoft.com/office/drawing/2014/chart" uri="{C3380CC4-5D6E-409C-BE32-E72D297353CC}">
                <c16:uniqueId val="{000000AB-2993-41DE-A2CB-63102DE87051}"/>
              </c:ext>
            </c:extLst>
          </c:dPt>
          <c:dPt>
            <c:idx val="85"/>
            <c:invertIfNegative val="1"/>
            <c:bubble3D val="0"/>
            <c:spPr>
              <a:solidFill>
                <a:srgbClr val="AEABAB"/>
              </a:solidFill>
            </c:spPr>
            <c:extLst>
              <c:ext xmlns:c16="http://schemas.microsoft.com/office/drawing/2014/chart" uri="{C3380CC4-5D6E-409C-BE32-E72D297353CC}">
                <c16:uniqueId val="{000000AD-2993-41DE-A2CB-63102DE87051}"/>
              </c:ext>
            </c:extLst>
          </c:dPt>
          <c:dPt>
            <c:idx val="86"/>
            <c:invertIfNegative val="1"/>
            <c:bubble3D val="0"/>
            <c:spPr>
              <a:solidFill>
                <a:srgbClr val="AEABAB"/>
              </a:solidFill>
            </c:spPr>
            <c:extLst>
              <c:ext xmlns:c16="http://schemas.microsoft.com/office/drawing/2014/chart" uri="{C3380CC4-5D6E-409C-BE32-E72D297353CC}">
                <c16:uniqueId val="{000000AF-2993-41DE-A2CB-63102DE87051}"/>
              </c:ext>
            </c:extLst>
          </c:dPt>
          <c:dPt>
            <c:idx val="87"/>
            <c:invertIfNegative val="1"/>
            <c:bubble3D val="0"/>
            <c:spPr>
              <a:solidFill>
                <a:srgbClr val="AEABAB"/>
              </a:solidFill>
            </c:spPr>
            <c:extLst>
              <c:ext xmlns:c16="http://schemas.microsoft.com/office/drawing/2014/chart" uri="{C3380CC4-5D6E-409C-BE32-E72D297353CC}">
                <c16:uniqueId val="{000000B1-2993-41DE-A2CB-63102DE87051}"/>
              </c:ext>
            </c:extLst>
          </c:dPt>
          <c:dPt>
            <c:idx val="88"/>
            <c:invertIfNegative val="1"/>
            <c:bubble3D val="0"/>
            <c:spPr>
              <a:solidFill>
                <a:srgbClr val="AEABAB"/>
              </a:solidFill>
            </c:spPr>
            <c:extLst>
              <c:ext xmlns:c16="http://schemas.microsoft.com/office/drawing/2014/chart" uri="{C3380CC4-5D6E-409C-BE32-E72D297353CC}">
                <c16:uniqueId val="{000000B3-2993-41DE-A2CB-63102DE87051}"/>
              </c:ext>
            </c:extLst>
          </c:dPt>
          <c:dPt>
            <c:idx val="89"/>
            <c:invertIfNegative val="1"/>
            <c:bubble3D val="0"/>
            <c:spPr>
              <a:solidFill>
                <a:srgbClr val="AEABAB"/>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91</c:f>
              <c:strCache>
                <c:ptCount val="90"/>
                <c:pt idx="0">
                  <c:v>Private Lab</c:v>
                </c:pt>
                <c:pt idx="1">
                  <c:v>Private Lab</c:v>
                </c:pt>
                <c:pt idx="2">
                  <c:v>President</c:v>
                </c:pt>
                <c:pt idx="3">
                  <c:v>President</c:v>
                </c:pt>
                <c:pt idx="4">
                  <c:v>President</c:v>
                </c:pt>
                <c:pt idx="5">
                  <c:v>President</c:v>
                </c:pt>
                <c:pt idx="6">
                  <c:v>Private Lab</c:v>
                </c:pt>
                <c:pt idx="7">
                  <c:v>Private Lab</c:v>
                </c:pt>
                <c:pt idx="8">
                  <c:v>La Belle Et</c:v>
                </c:pt>
                <c:pt idx="9">
                  <c:v>La Belle Et</c:v>
                </c:pt>
                <c:pt idx="10">
                  <c:v>Boursin</c:v>
                </c:pt>
                <c:pt idx="11">
                  <c:v>La Belle Et</c:v>
                </c:pt>
                <c:pt idx="12">
                  <c:v>President</c:v>
                </c:pt>
                <c:pt idx="13">
                  <c:v>Richesmonts</c:v>
                </c:pt>
                <c:pt idx="14">
                  <c:v>La Belle Et</c:v>
                </c:pt>
                <c:pt idx="15">
                  <c:v>Raguin</c:v>
                </c:pt>
                <c:pt idx="16">
                  <c:v>La Belle Et</c:v>
                </c:pt>
                <c:pt idx="17">
                  <c:v>Raguin</c:v>
                </c:pt>
                <c:pt idx="18">
                  <c:v>All Others</c:v>
                </c:pt>
                <c:pt idx="19">
                  <c:v>Raguin</c:v>
                </c:pt>
                <c:pt idx="20">
                  <c:v>Raguin</c:v>
                </c:pt>
                <c:pt idx="21">
                  <c:v>Milleret: A</c:v>
                </c:pt>
                <c:pt idx="22">
                  <c:v>President</c:v>
                </c:pt>
                <c:pt idx="23">
                  <c:v>Milleret: A</c:v>
                </c:pt>
                <c:pt idx="24">
                  <c:v>All Others</c:v>
                </c:pt>
                <c:pt idx="25">
                  <c:v>All Others</c:v>
                </c:pt>
                <c:pt idx="26">
                  <c:v>La Belle Et</c:v>
                </c:pt>
                <c:pt idx="27">
                  <c:v>All Others</c:v>
                </c:pt>
                <c:pt idx="28">
                  <c:v>All Others</c:v>
                </c:pt>
                <c:pt idx="29">
                  <c:v>La Belle Et</c:v>
                </c:pt>
                <c:pt idx="30">
                  <c:v>All Others</c:v>
                </c:pt>
                <c:pt idx="31">
                  <c:v>La Belle Et</c:v>
                </c:pt>
                <c:pt idx="32">
                  <c:v>La Belle Et</c:v>
                </c:pt>
                <c:pt idx="33">
                  <c:v>Milleret: A</c:v>
                </c:pt>
                <c:pt idx="34">
                  <c:v>La Belle Et</c:v>
                </c:pt>
                <c:pt idx="35">
                  <c:v>La Belle Et</c:v>
                </c:pt>
                <c:pt idx="36">
                  <c:v>La Belle Et</c:v>
                </c:pt>
                <c:pt idx="37">
                  <c:v>La Belle Et</c:v>
                </c:pt>
                <c:pt idx="38">
                  <c:v>Milleret: A</c:v>
                </c:pt>
                <c:pt idx="39">
                  <c:v>All Others</c:v>
                </c:pt>
                <c:pt idx="40">
                  <c:v>All Others</c:v>
                </c:pt>
                <c:pt idx="41">
                  <c:v>Raguin</c:v>
                </c:pt>
                <c:pt idx="42">
                  <c:v>All Others</c:v>
                </c:pt>
                <c:pt idx="43">
                  <c:v>Raguin</c:v>
                </c:pt>
                <c:pt idx="44">
                  <c:v>All Others</c:v>
                </c:pt>
                <c:pt idx="45">
                  <c:v>Raguin</c:v>
                </c:pt>
                <c:pt idx="46">
                  <c:v>All Others</c:v>
                </c:pt>
                <c:pt idx="47">
                  <c:v>La Belle Et</c:v>
                </c:pt>
                <c:pt idx="48">
                  <c:v>La Belle Et</c:v>
                </c:pt>
                <c:pt idx="49">
                  <c:v>La Belle Et</c:v>
                </c:pt>
                <c:pt idx="50">
                  <c:v>Raguin</c:v>
                </c:pt>
                <c:pt idx="51">
                  <c:v>Raguin</c:v>
                </c:pt>
                <c:pt idx="52">
                  <c:v>Raguin</c:v>
                </c:pt>
                <c:pt idx="53">
                  <c:v>Raguin</c:v>
                </c:pt>
                <c:pt idx="54">
                  <c:v>La Belle Et</c:v>
                </c:pt>
                <c:pt idx="55">
                  <c:v>Raguin</c:v>
                </c:pt>
                <c:pt idx="56">
                  <c:v>La Belle Et</c:v>
                </c:pt>
                <c:pt idx="57">
                  <c:v>Raguin</c:v>
                </c:pt>
                <c:pt idx="58">
                  <c:v>All Others</c:v>
                </c:pt>
                <c:pt idx="59">
                  <c:v>Raguin</c:v>
                </c:pt>
                <c:pt idx="60">
                  <c:v>All Others</c:v>
                </c:pt>
                <c:pt idx="61">
                  <c:v>La Belle Et</c:v>
                </c:pt>
                <c:pt idx="62">
                  <c:v>All Others</c:v>
                </c:pt>
                <c:pt idx="63">
                  <c:v>All Others</c:v>
                </c:pt>
                <c:pt idx="64">
                  <c:v>All Others</c:v>
                </c:pt>
                <c:pt idx="65">
                  <c:v>Raguin</c:v>
                </c:pt>
                <c:pt idx="66">
                  <c:v>All Others</c:v>
                </c:pt>
                <c:pt idx="67">
                  <c:v>Raguin</c:v>
                </c:pt>
                <c:pt idx="68">
                  <c:v>Raguin</c:v>
                </c:pt>
                <c:pt idx="69">
                  <c:v>Raguin</c:v>
                </c:pt>
                <c:pt idx="70">
                  <c:v>Raguin</c:v>
                </c:pt>
                <c:pt idx="71">
                  <c:v>Raguin</c:v>
                </c:pt>
                <c:pt idx="72">
                  <c:v>Raguin</c:v>
                </c:pt>
                <c:pt idx="73">
                  <c:v>All Others</c:v>
                </c:pt>
                <c:pt idx="74">
                  <c:v>Raguin</c:v>
                </c:pt>
                <c:pt idx="75">
                  <c:v>All Others</c:v>
                </c:pt>
                <c:pt idx="76">
                  <c:v>All Others</c:v>
                </c:pt>
                <c:pt idx="77">
                  <c:v>All Others</c:v>
                </c:pt>
                <c:pt idx="78">
                  <c:v>All Others</c:v>
                </c:pt>
                <c:pt idx="79">
                  <c:v>All Others</c:v>
                </c:pt>
                <c:pt idx="80">
                  <c:v>All Others</c:v>
                </c:pt>
                <c:pt idx="81">
                  <c:v>All Others</c:v>
                </c:pt>
                <c:pt idx="82">
                  <c:v>All Others</c:v>
                </c:pt>
                <c:pt idx="83">
                  <c:v>All Others</c:v>
                </c:pt>
                <c:pt idx="84">
                  <c:v>All Others</c:v>
                </c:pt>
                <c:pt idx="85">
                  <c:v>All Others</c:v>
                </c:pt>
                <c:pt idx="86">
                  <c:v>Milleret: A</c:v>
                </c:pt>
                <c:pt idx="87">
                  <c:v>Private Lab</c:v>
                </c:pt>
                <c:pt idx="88">
                  <c:v>All Others</c:v>
                </c:pt>
                <c:pt idx="89">
                  <c:v>Private Lab</c:v>
                </c:pt>
              </c:strCache>
            </c:strRef>
          </c:cat>
          <c:val>
            <c:numRef>
              <c:f>Sheet1!$C$2:$C$91</c:f>
              <c:numCache>
                <c:formatCode>General</c:formatCode>
                <c:ptCount val="90"/>
                <c:pt idx="0">
                  <c:v>0.17597627296185328</c:v>
                </c:pt>
                <c:pt idx="1">
                  <c:v>0.34234285327927005</c:v>
                </c:pt>
                <c:pt idx="2">
                  <c:v>0.4551760606375582</c:v>
                </c:pt>
                <c:pt idx="3">
                  <c:v>0.5609460540882014</c:v>
                </c:pt>
                <c:pt idx="4">
                  <c:v>0.6193031443976762</c:v>
                </c:pt>
                <c:pt idx="5">
                  <c:v>0.6769996478080847</c:v>
                </c:pt>
                <c:pt idx="6">
                  <c:v>0.7200415364447993</c:v>
                </c:pt>
                <c:pt idx="7">
                  <c:v>0.7555037303077795</c:v>
                </c:pt>
                <c:pt idx="8">
                  <c:v>0.7756135859292771</c:v>
                </c:pt>
                <c:pt idx="9">
                  <c:v>0.7956132428196747</c:v>
                </c:pt>
                <c:pt idx="10">
                  <c:v>0.8114957863113397</c:v>
                </c:pt>
                <c:pt idx="11">
                  <c:v>0.8265883704009438</c:v>
                </c:pt>
                <c:pt idx="12">
                  <c:v>0.8414865929922891</c:v>
                </c:pt>
                <c:pt idx="13">
                  <c:v>0.8530324329397327</c:v>
                </c:pt>
                <c:pt idx="14">
                  <c:v>0.8637311958277872</c:v>
                </c:pt>
                <c:pt idx="15">
                  <c:v>0.8711250059287321</c:v>
                </c:pt>
                <c:pt idx="16">
                  <c:v>0.8784142685155565</c:v>
                </c:pt>
                <c:pt idx="17">
                  <c:v>0.8854177409865612</c:v>
                </c:pt>
                <c:pt idx="18">
                  <c:v>0.8922783183996561</c:v>
                </c:pt>
                <c:pt idx="19">
                  <c:v>0.8985594442431759</c:v>
                </c:pt>
                <c:pt idx="20">
                  <c:v>0.9047124085587681</c:v>
                </c:pt>
                <c:pt idx="21">
                  <c:v>0.9100340384908425</c:v>
                </c:pt>
                <c:pt idx="22">
                  <c:v>0.9149144698401614</c:v>
                </c:pt>
                <c:pt idx="23">
                  <c:v>0.9188989814690541</c:v>
                </c:pt>
                <c:pt idx="24">
                  <c:v>0.9227644138830219</c:v>
                </c:pt>
                <c:pt idx="25">
                  <c:v>0.9263489000814381</c:v>
                </c:pt>
                <c:pt idx="26">
                  <c:v>0.9299085612909802</c:v>
                </c:pt>
                <c:pt idx="27">
                  <c:v>0.9334583328708081</c:v>
                </c:pt>
                <c:pt idx="28">
                  <c:v>0.9367156539719478</c:v>
                </c:pt>
                <c:pt idx="29">
                  <c:v>0.9397860812544088</c:v>
                </c:pt>
                <c:pt idx="30">
                  <c:v>0.9426357074163141</c:v>
                </c:pt>
                <c:pt idx="31">
                  <c:v>0.9453725110678076</c:v>
                </c:pt>
                <c:pt idx="32">
                  <c:v>0.9480487659659494</c:v>
                </c:pt>
                <c:pt idx="33">
                  <c:v>0.950580107514403</c:v>
                </c:pt>
                <c:pt idx="34">
                  <c:v>0.9530953027286295</c:v>
                </c:pt>
                <c:pt idx="35">
                  <c:v>0.9555451052892363</c:v>
                </c:pt>
                <c:pt idx="36">
                  <c:v>0.9578659390052041</c:v>
                </c:pt>
                <c:pt idx="37">
                  <c:v>0.9601659843158545</c:v>
                </c:pt>
                <c:pt idx="38">
                  <c:v>0.9622099083998276</c:v>
                </c:pt>
                <c:pt idx="39">
                  <c:v>0.9642360715161508</c:v>
                </c:pt>
                <c:pt idx="40">
                  <c:v>0.9661157066493631</c:v>
                </c:pt>
                <c:pt idx="41">
                  <c:v>0.9679721314271239</c:v>
                </c:pt>
                <c:pt idx="42">
                  <c:v>0.9698192720627041</c:v>
                </c:pt>
                <c:pt idx="43">
                  <c:v>0.9714821426589176</c:v>
                </c:pt>
                <c:pt idx="44">
                  <c:v>0.9731056565654526</c:v>
                </c:pt>
                <c:pt idx="45">
                  <c:v>0.9746010089440599</c:v>
                </c:pt>
                <c:pt idx="46">
                  <c:v>0.9760707290170817</c:v>
                </c:pt>
                <c:pt idx="47">
                  <c:v>0.9774924137457779</c:v>
                </c:pt>
                <c:pt idx="48">
                  <c:v>0.9788674759343933</c:v>
                </c:pt>
                <c:pt idx="49">
                  <c:v>0.9801206332995941</c:v>
                </c:pt>
                <c:pt idx="50">
                  <c:v>0.9813291864164926</c:v>
                </c:pt>
                <c:pt idx="51">
                  <c:v>0.982467704808681</c:v>
                </c:pt>
                <c:pt idx="52">
                  <c:v>0.9835840219913071</c:v>
                </c:pt>
                <c:pt idx="53">
                  <c:v>0.9845786361796965</c:v>
                </c:pt>
                <c:pt idx="54">
                  <c:v>0.985554480254547</c:v>
                </c:pt>
                <c:pt idx="55">
                  <c:v>0.9865139761659923</c:v>
                </c:pt>
                <c:pt idx="56">
                  <c:v>0.9874444086758289</c:v>
                </c:pt>
                <c:pt idx="57">
                  <c:v>0.9882484961203385</c:v>
                </c:pt>
                <c:pt idx="58">
                  <c:v>0.9890267494300847</c:v>
                </c:pt>
                <c:pt idx="59">
                  <c:v>0.9897759393382222</c:v>
                </c:pt>
                <c:pt idx="60">
                  <c:v>0.9905110012039109</c:v>
                </c:pt>
                <c:pt idx="61">
                  <c:v>0.9912159905221016</c:v>
                </c:pt>
                <c:pt idx="62">
                  <c:v>0.9918824304673252</c:v>
                </c:pt>
                <c:pt idx="63">
                  <c:v>0.9925127429897156</c:v>
                </c:pt>
                <c:pt idx="64">
                  <c:v>0.9930925982176463</c:v>
                </c:pt>
                <c:pt idx="65">
                  <c:v>0.9936595363781954</c:v>
                </c:pt>
                <c:pt idx="66">
                  <c:v>0.9942250617344995</c:v>
                </c:pt>
                <c:pt idx="67">
                  <c:v>0.9947806974610897</c:v>
                </c:pt>
                <c:pt idx="68">
                  <c:v>0.9953228106327645</c:v>
                </c:pt>
                <c:pt idx="69">
                  <c:v>0.9958302091858511</c:v>
                </c:pt>
                <c:pt idx="70">
                  <c:v>0.9963004711702154</c:v>
                </c:pt>
                <c:pt idx="71">
                  <c:v>0.9967584215747315</c:v>
                </c:pt>
                <c:pt idx="72">
                  <c:v>0.9971919506487291</c:v>
                </c:pt>
                <c:pt idx="73">
                  <c:v>0.9976071132675435</c:v>
                </c:pt>
                <c:pt idx="74">
                  <c:v>0.9979986618725507</c:v>
                </c:pt>
                <c:pt idx="75">
                  <c:v>0.998363770855261</c:v>
                </c:pt>
                <c:pt idx="76">
                  <c:v>0.9987230267918139</c:v>
                </c:pt>
                <c:pt idx="77">
                  <c:v>0.9989839919187594</c:v>
                </c:pt>
                <c:pt idx="78">
                  <c:v>0.999233654611746</c:v>
                </c:pt>
                <c:pt idx="79">
                  <c:v>0.9994772624293974</c:v>
                </c:pt>
                <c:pt idx="80">
                  <c:v>0.9996215702915521</c:v>
                </c:pt>
                <c:pt idx="81">
                  <c:v>0.9997025037918654</c:v>
                </c:pt>
                <c:pt idx="82">
                  <c:v>0.9997761714417766</c:v>
                </c:pt>
                <c:pt idx="83">
                  <c:v>0.9998437842163526</c:v>
                </c:pt>
                <c:pt idx="84">
                  <c:v>0.9998966634609463</c:v>
                </c:pt>
                <c:pt idx="85">
                  <c:v>0.99993460734638</c:v>
                </c:pt>
                <c:pt idx="86">
                  <c:v>0.9999687164774347</c:v>
                </c:pt>
                <c:pt idx="87">
                  <c:v>0.9999838536657726</c:v>
                </c:pt>
                <c:pt idx="88">
                  <c:v>0.9999923304912418</c:v>
                </c:pt>
                <c:pt idx="89">
                  <c:v>0.9999999999999997</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70</c:f>
              <c:strCache>
                <c:ptCount val="69"/>
                <c:pt idx="0">
                  <c:v>Private Lab</c:v>
                </c:pt>
                <c:pt idx="1">
                  <c:v>President</c:v>
                </c:pt>
                <c:pt idx="2">
                  <c:v>Private Lab</c:v>
                </c:pt>
                <c:pt idx="3">
                  <c:v>Private Lab</c:v>
                </c:pt>
                <c:pt idx="4">
                  <c:v>President</c:v>
                </c:pt>
                <c:pt idx="5">
                  <c:v>President</c:v>
                </c:pt>
                <c:pt idx="6">
                  <c:v>Private Lab</c:v>
                </c:pt>
                <c:pt idx="7">
                  <c:v>President</c:v>
                </c:pt>
                <c:pt idx="8">
                  <c:v>Boursin</c:v>
                </c:pt>
                <c:pt idx="9">
                  <c:v>La Belle Et</c:v>
                </c:pt>
                <c:pt idx="10">
                  <c:v>La Belle Et</c:v>
                </c:pt>
                <c:pt idx="11">
                  <c:v>President</c:v>
                </c:pt>
                <c:pt idx="12">
                  <c:v>Raguin</c:v>
                </c:pt>
                <c:pt idx="13">
                  <c:v>Raguin</c:v>
                </c:pt>
                <c:pt idx="14">
                  <c:v>La Belle Et</c:v>
                </c:pt>
                <c:pt idx="15">
                  <c:v>La Belle Et</c:v>
                </c:pt>
                <c:pt idx="16">
                  <c:v>Raguin</c:v>
                </c:pt>
                <c:pt idx="17">
                  <c:v>La Belle Et</c:v>
                </c:pt>
                <c:pt idx="18">
                  <c:v>Raguin</c:v>
                </c:pt>
                <c:pt idx="19">
                  <c:v>Milleret: A</c:v>
                </c:pt>
                <c:pt idx="20">
                  <c:v>Milleret: A</c:v>
                </c:pt>
                <c:pt idx="21">
                  <c:v>La Belle Et</c:v>
                </c:pt>
                <c:pt idx="22">
                  <c:v>Richesmonts</c:v>
                </c:pt>
                <c:pt idx="23">
                  <c:v>All Others</c:v>
                </c:pt>
                <c:pt idx="24">
                  <c:v>President</c:v>
                </c:pt>
                <c:pt idx="25">
                  <c:v>All Others</c:v>
                </c:pt>
                <c:pt idx="26">
                  <c:v>All Others</c:v>
                </c:pt>
                <c:pt idx="27">
                  <c:v>All Others</c:v>
                </c:pt>
                <c:pt idx="28">
                  <c:v>All Others</c:v>
                </c:pt>
                <c:pt idx="29">
                  <c:v>Milleret: A</c:v>
                </c:pt>
                <c:pt idx="30">
                  <c:v>Milleret: A</c:v>
                </c:pt>
                <c:pt idx="31">
                  <c:v>La Belle Et</c:v>
                </c:pt>
                <c:pt idx="32">
                  <c:v>All Others</c:v>
                </c:pt>
                <c:pt idx="33">
                  <c:v>All Others</c:v>
                </c:pt>
                <c:pt idx="34">
                  <c:v>All Others</c:v>
                </c:pt>
                <c:pt idx="35">
                  <c:v>La Belle Et</c:v>
                </c:pt>
                <c:pt idx="36">
                  <c:v>All Others</c:v>
                </c:pt>
                <c:pt idx="37">
                  <c:v>La Belle Et</c:v>
                </c:pt>
                <c:pt idx="38">
                  <c:v>La Belle Et</c:v>
                </c:pt>
                <c:pt idx="39">
                  <c:v>La Belle Et</c:v>
                </c:pt>
                <c:pt idx="40">
                  <c:v>All Others</c:v>
                </c:pt>
                <c:pt idx="41">
                  <c:v>La Belle Et</c:v>
                </c:pt>
                <c:pt idx="42">
                  <c:v>La Belle Et</c:v>
                </c:pt>
                <c:pt idx="43">
                  <c:v>La Belle Et</c:v>
                </c:pt>
                <c:pt idx="44">
                  <c:v>All Others</c:v>
                </c:pt>
                <c:pt idx="45">
                  <c:v>La Belle Et</c:v>
                </c:pt>
                <c:pt idx="46">
                  <c:v>All Others</c:v>
                </c:pt>
                <c:pt idx="47">
                  <c:v>La Belle Et</c:v>
                </c:pt>
                <c:pt idx="48">
                  <c:v>All Others</c:v>
                </c:pt>
                <c:pt idx="49">
                  <c:v>All Others</c:v>
                </c:pt>
                <c:pt idx="50">
                  <c:v>La Belle Et</c:v>
                </c:pt>
                <c:pt idx="51">
                  <c:v>All Others</c:v>
                </c:pt>
                <c:pt idx="52">
                  <c:v>All Others</c:v>
                </c:pt>
                <c:pt idx="53">
                  <c:v>La Belle Et</c:v>
                </c:pt>
                <c:pt idx="54">
                  <c:v>All Others</c:v>
                </c:pt>
                <c:pt idx="55">
                  <c:v>All Others</c:v>
                </c:pt>
                <c:pt idx="56">
                  <c:v>All Others</c:v>
                </c:pt>
                <c:pt idx="57">
                  <c:v>La Belle Et</c:v>
                </c:pt>
                <c:pt idx="58">
                  <c:v>All Others</c:v>
                </c:pt>
                <c:pt idx="59">
                  <c:v>All Others</c:v>
                </c:pt>
                <c:pt idx="60">
                  <c:v>All Others</c:v>
                </c:pt>
                <c:pt idx="61">
                  <c:v>Raguin</c:v>
                </c:pt>
                <c:pt idx="62">
                  <c:v>Milleret: A</c:v>
                </c:pt>
                <c:pt idx="63">
                  <c:v>La Vache Qu</c:v>
                </c:pt>
                <c:pt idx="64">
                  <c:v>Private Lab</c:v>
                </c:pt>
                <c:pt idx="65">
                  <c:v>All Others</c:v>
                </c:pt>
                <c:pt idx="66">
                  <c:v>Raguin</c:v>
                </c:pt>
                <c:pt idx="67">
                  <c:v>La Vache Qu</c:v>
                </c:pt>
                <c:pt idx="68">
                  <c:v>La Vache Qu</c:v>
                </c:pt>
              </c:strCache>
            </c:strRef>
          </c:cat>
          <c:val>
            <c:numRef>
              <c:f>Sheet1!$B$2:$B$70</c:f>
              <c:numCache>
                <c:formatCode>General</c:formatCode>
                <c:ptCount val="69"/>
                <c:pt idx="0">
                  <c:v>0.99</c:v>
                </c:pt>
                <c:pt idx="1">
                  <c:v>0.9</c:v>
                </c:pt>
                <c:pt idx="2">
                  <c:v>0.7</c:v>
                </c:pt>
                <c:pt idx="3">
                  <c:v>0.86</c:v>
                </c:pt>
                <c:pt idx="4">
                  <c:v>0.81</c:v>
                </c:pt>
                <c:pt idx="5">
                  <c:v>0.71</c:v>
                </c:pt>
                <c:pt idx="6">
                  <c:v>0.79</c:v>
                </c:pt>
                <c:pt idx="7">
                  <c:v>0.73</c:v>
                </c:pt>
                <c:pt idx="8">
                  <c:v>0.73</c:v>
                </c:pt>
                <c:pt idx="9">
                  <c:v>0.04</c:v>
                </c:pt>
                <c:pt idx="10">
                  <c:v>0.04</c:v>
                </c:pt>
                <c:pt idx="11">
                  <c:v>0.21</c:v>
                </c:pt>
                <c:pt idx="12">
                  <c:v>0.02</c:v>
                </c:pt>
                <c:pt idx="13">
                  <c:v>0.04</c:v>
                </c:pt>
                <c:pt idx="14">
                  <c:v>0.08</c:v>
                </c:pt>
                <c:pt idx="15">
                  <c:v>0.08</c:v>
                </c:pt>
                <c:pt idx="16">
                  <c:v>0.02</c:v>
                </c:pt>
                <c:pt idx="17">
                  <c:v>0.02</c:v>
                </c:pt>
                <c:pt idx="18">
                  <c:v>0.04</c:v>
                </c:pt>
                <c:pt idx="19">
                  <c:v>0.16</c:v>
                </c:pt>
                <c:pt idx="20">
                  <c:v>0.16</c:v>
                </c:pt>
                <c:pt idx="21">
                  <c:v>0.02</c:v>
                </c:pt>
                <c:pt idx="22">
                  <c:v>0.38</c:v>
                </c:pt>
                <c:pt idx="23">
                  <c:v>0.07</c:v>
                </c:pt>
                <c:pt idx="24">
                  <c:v>0.23</c:v>
                </c:pt>
                <c:pt idx="25">
                  <c:v>0.08</c:v>
                </c:pt>
                <c:pt idx="26">
                  <c:v>0.06</c:v>
                </c:pt>
                <c:pt idx="27">
                  <c:v>0.07</c:v>
                </c:pt>
                <c:pt idx="28">
                  <c:v>0.06</c:v>
                </c:pt>
                <c:pt idx="29">
                  <c:v>0.04</c:v>
                </c:pt>
                <c:pt idx="30">
                  <c:v>0.08</c:v>
                </c:pt>
                <c:pt idx="31">
                  <c:v>0.02</c:v>
                </c:pt>
                <c:pt idx="32">
                  <c:v>0.1</c:v>
                </c:pt>
                <c:pt idx="33">
                  <c:v>0.07</c:v>
                </c:pt>
                <c:pt idx="34">
                  <c:v>0.01</c:v>
                </c:pt>
                <c:pt idx="35">
                  <c:v>0.02</c:v>
                </c:pt>
                <c:pt idx="36">
                  <c:v>0.03</c:v>
                </c:pt>
                <c:pt idx="37">
                  <c:v>0.02</c:v>
                </c:pt>
                <c:pt idx="38">
                  <c:v>0.03</c:v>
                </c:pt>
                <c:pt idx="39">
                  <c:v>0.02</c:v>
                </c:pt>
                <c:pt idx="40">
                  <c:v>0.01</c:v>
                </c:pt>
                <c:pt idx="41">
                  <c:v>0.04</c:v>
                </c:pt>
                <c:pt idx="42">
                  <c:v>0.02</c:v>
                </c:pt>
                <c:pt idx="43">
                  <c:v>0.02</c:v>
                </c:pt>
                <c:pt idx="44">
                  <c:v>0.06</c:v>
                </c:pt>
                <c:pt idx="45">
                  <c:v>0.01</c:v>
                </c:pt>
                <c:pt idx="46">
                  <c:v>0.02</c:v>
                </c:pt>
                <c:pt idx="47">
                  <c:v>0.01</c:v>
                </c:pt>
                <c:pt idx="48">
                  <c:v>0.01</c:v>
                </c:pt>
                <c:pt idx="49">
                  <c:v>0.03</c:v>
                </c:pt>
                <c:pt idx="50">
                  <c:v>0.02</c:v>
                </c:pt>
                <c:pt idx="51">
                  <c:v>0.02</c:v>
                </c:pt>
                <c:pt idx="52">
                  <c:v>0.02</c:v>
                </c:pt>
                <c:pt idx="53">
                  <c:v>0.02</c:v>
                </c:pt>
                <c:pt idx="54">
                  <c:v>0.03</c:v>
                </c:pt>
                <c:pt idx="55">
                  <c:v>0.01</c:v>
                </c:pt>
                <c:pt idx="56">
                  <c:v>0.02</c:v>
                </c:pt>
                <c:pt idx="57">
                  <c:v>0.01</c:v>
                </c:pt>
                <c:pt idx="58">
                  <c:v>0.01</c:v>
                </c:pt>
                <c:pt idx="59">
                  <c:v>0.01</c:v>
                </c:pt>
                <c:pt idx="60">
                  <c:v>0.01</c:v>
                </c:pt>
                <c:pt idx="61">
                  <c:v>0.01</c:v>
                </c:pt>
                <c:pt idx="62">
                  <c:v>0.01</c:v>
                </c:pt>
                <c:pt idx="63">
                  <c:v>0.01</c:v>
                </c:pt>
                <c:pt idx="64">
                  <c:v>0.01</c:v>
                </c:pt>
                <c:pt idx="65">
                  <c:v>0.01</c:v>
                </c:pt>
                <c:pt idx="66">
                  <c:v>0.01</c:v>
                </c:pt>
                <c:pt idx="67">
                  <c:v>0.01</c:v>
                </c:pt>
                <c:pt idx="68">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Item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7ECAC4"/>
              </a:solidFill>
            </c:spPr>
            <c:extLst>
              <c:ext xmlns:c16="http://schemas.microsoft.com/office/drawing/2014/chart" uri="{C3380CC4-5D6E-409C-BE32-E72D297353CC}">
                <c16:uniqueId val="{00000047-2993-41DE-A2CB-63102DE87051}"/>
              </c:ext>
            </c:extLst>
          </c:dPt>
          <c:dPt>
            <c:idx val="8"/>
            <c:invertIfNegative val="1"/>
            <c:bubble3D val="0"/>
            <c:spPr>
              <a:solidFill>
                <a:srgbClr val="7ECAC4"/>
              </a:solidFill>
            </c:spPr>
            <c:extLst>
              <c:ext xmlns:c16="http://schemas.microsoft.com/office/drawing/2014/chart" uri="{C3380CC4-5D6E-409C-BE32-E72D297353CC}">
                <c16:uniqueId val="{00000049-2993-41DE-A2CB-63102DE87051}"/>
              </c:ext>
            </c:extLst>
          </c:dPt>
          <c:dPt>
            <c:idx val="9"/>
            <c:invertIfNegative val="1"/>
            <c:bubble3D val="0"/>
            <c:spPr>
              <a:solidFill>
                <a:srgbClr val="7ECAC4"/>
              </a:solidFill>
            </c:spPr>
            <c:extLst>
              <c:ext xmlns:c16="http://schemas.microsoft.com/office/drawing/2014/chart" uri="{C3380CC4-5D6E-409C-BE32-E72D297353CC}">
                <c16:uniqueId val="{0000004B-2993-41DE-A2CB-63102DE87051}"/>
              </c:ext>
            </c:extLst>
          </c:dPt>
          <c:dPt>
            <c:idx val="10"/>
            <c:invertIfNegative val="1"/>
            <c:bubble3D val="0"/>
            <c:spPr>
              <a:solidFill>
                <a:srgbClr val="7ECAC4"/>
              </a:solidFill>
            </c:spPr>
            <c:extLst>
              <c:ext xmlns:c16="http://schemas.microsoft.com/office/drawing/2014/chart" uri="{C3380CC4-5D6E-409C-BE32-E72D297353CC}">
                <c16:uniqueId val="{0000004D-2993-41DE-A2CB-63102DE87051}"/>
              </c:ext>
            </c:extLst>
          </c:dPt>
          <c:dPt>
            <c:idx val="11"/>
            <c:invertIfNegative val="1"/>
            <c:bubble3D val="0"/>
            <c:spPr>
              <a:solidFill>
                <a:srgbClr val="7ECAC4"/>
              </a:solidFill>
            </c:spPr>
            <c:extLst>
              <c:ext xmlns:c16="http://schemas.microsoft.com/office/drawing/2014/chart" uri="{C3380CC4-5D6E-409C-BE32-E72D297353CC}">
                <c16:uniqueId val="{0000004F-2993-41DE-A2CB-63102DE87051}"/>
              </c:ext>
            </c:extLst>
          </c:dPt>
          <c:dPt>
            <c:idx val="12"/>
            <c:invertIfNegative val="1"/>
            <c:bubble3D val="0"/>
            <c:spPr>
              <a:solidFill>
                <a:srgbClr val="7ECAC4"/>
              </a:solidFill>
            </c:spPr>
            <c:extLst>
              <c:ext xmlns:c16="http://schemas.microsoft.com/office/drawing/2014/chart" uri="{C3380CC4-5D6E-409C-BE32-E72D297353CC}">
                <c16:uniqueId val="{00000051-2993-41DE-A2CB-63102DE87051}"/>
              </c:ext>
            </c:extLst>
          </c:dPt>
          <c:dPt>
            <c:idx val="13"/>
            <c:invertIfNegative val="1"/>
            <c:bubble3D val="0"/>
            <c:spPr>
              <a:solidFill>
                <a:srgbClr val="7ECAC4"/>
              </a:solidFill>
            </c:spPr>
            <c:extLst>
              <c:ext xmlns:c16="http://schemas.microsoft.com/office/drawing/2014/chart" uri="{C3380CC4-5D6E-409C-BE32-E72D297353CC}">
                <c16:uniqueId val="{00000053-2993-41DE-A2CB-63102DE87051}"/>
              </c:ext>
            </c:extLst>
          </c:dPt>
          <c:dPt>
            <c:idx val="14"/>
            <c:invertIfNegative val="1"/>
            <c:bubble3D val="0"/>
            <c:spPr>
              <a:solidFill>
                <a:srgbClr val="7ECAC4"/>
              </a:solidFill>
            </c:spPr>
            <c:extLst>
              <c:ext xmlns:c16="http://schemas.microsoft.com/office/drawing/2014/chart" uri="{C3380CC4-5D6E-409C-BE32-E72D297353CC}">
                <c16:uniqueId val="{00000055-2993-41DE-A2CB-63102DE87051}"/>
              </c:ext>
            </c:extLst>
          </c:dPt>
          <c:dPt>
            <c:idx val="15"/>
            <c:invertIfNegative val="1"/>
            <c:bubble3D val="0"/>
            <c:spPr>
              <a:solidFill>
                <a:srgbClr val="7ECAC4"/>
              </a:solidFill>
            </c:spPr>
            <c:extLst>
              <c:ext xmlns:c16="http://schemas.microsoft.com/office/drawing/2014/chart" uri="{C3380CC4-5D6E-409C-BE32-E72D297353CC}">
                <c16:uniqueId val="{00000057-2993-41DE-A2CB-63102DE87051}"/>
              </c:ext>
            </c:extLst>
          </c:dPt>
          <c:dPt>
            <c:idx val="16"/>
            <c:invertIfNegative val="1"/>
            <c:bubble3D val="0"/>
            <c:spPr>
              <a:solidFill>
                <a:srgbClr val="7ECAC4"/>
              </a:solidFill>
            </c:spPr>
            <c:extLst>
              <c:ext xmlns:c16="http://schemas.microsoft.com/office/drawing/2014/chart" uri="{C3380CC4-5D6E-409C-BE32-E72D297353CC}">
                <c16:uniqueId val="{00000059-2993-41DE-A2CB-63102DE87051}"/>
              </c:ext>
            </c:extLst>
          </c:dPt>
          <c:dPt>
            <c:idx val="17"/>
            <c:invertIfNegative val="1"/>
            <c:bubble3D val="0"/>
            <c:spPr>
              <a:solidFill>
                <a:srgbClr val="7ECAC4"/>
              </a:solidFill>
            </c:spPr>
            <c:extLst>
              <c:ext xmlns:c16="http://schemas.microsoft.com/office/drawing/2014/chart" uri="{C3380CC4-5D6E-409C-BE32-E72D297353CC}">
                <c16:uniqueId val="{0000005B-2993-41DE-A2CB-63102DE87051}"/>
              </c:ext>
            </c:extLst>
          </c:dPt>
          <c:dPt>
            <c:idx val="18"/>
            <c:invertIfNegative val="1"/>
            <c:bubble3D val="0"/>
            <c:spPr>
              <a:solidFill>
                <a:srgbClr val="7ECAC4"/>
              </a:solidFill>
            </c:spPr>
            <c:extLst>
              <c:ext xmlns:c16="http://schemas.microsoft.com/office/drawing/2014/chart" uri="{C3380CC4-5D6E-409C-BE32-E72D297353CC}">
                <c16:uniqueId val="{0000005D-2993-41DE-A2CB-63102DE87051}"/>
              </c:ext>
            </c:extLst>
          </c:dPt>
          <c:dPt>
            <c:idx val="19"/>
            <c:invertIfNegative val="1"/>
            <c:bubble3D val="0"/>
            <c:spPr>
              <a:solidFill>
                <a:srgbClr val="7ECAC4"/>
              </a:solidFill>
            </c:spPr>
            <c:extLst>
              <c:ext xmlns:c16="http://schemas.microsoft.com/office/drawing/2014/chart" uri="{C3380CC4-5D6E-409C-BE32-E72D297353CC}">
                <c16:uniqueId val="{0000005F-2993-41DE-A2CB-63102DE87051}"/>
              </c:ext>
            </c:extLst>
          </c:dPt>
          <c:dPt>
            <c:idx val="20"/>
            <c:invertIfNegative val="1"/>
            <c:bubble3D val="0"/>
            <c:spPr>
              <a:solidFill>
                <a:srgbClr val="AEABAB"/>
              </a:solidFill>
            </c:spPr>
            <c:extLst>
              <c:ext xmlns:c16="http://schemas.microsoft.com/office/drawing/2014/chart" uri="{C3380CC4-5D6E-409C-BE32-E72D297353CC}">
                <c16:uniqueId val="{00000061-2993-41DE-A2CB-63102DE87051}"/>
              </c:ext>
            </c:extLst>
          </c:dPt>
          <c:dPt>
            <c:idx val="21"/>
            <c:invertIfNegative val="1"/>
            <c:bubble3D val="0"/>
            <c:spPr>
              <a:solidFill>
                <a:srgbClr val="AEABAB"/>
              </a:solidFill>
            </c:spPr>
            <c:extLst>
              <c:ext xmlns:c16="http://schemas.microsoft.com/office/drawing/2014/chart" uri="{C3380CC4-5D6E-409C-BE32-E72D297353CC}">
                <c16:uniqueId val="{00000063-2993-41DE-A2CB-63102DE87051}"/>
              </c:ext>
            </c:extLst>
          </c:dPt>
          <c:dPt>
            <c:idx val="22"/>
            <c:invertIfNegative val="1"/>
            <c:bubble3D val="0"/>
            <c:spPr>
              <a:solidFill>
                <a:srgbClr val="AEABAB"/>
              </a:solidFill>
            </c:spPr>
            <c:extLst>
              <c:ext xmlns:c16="http://schemas.microsoft.com/office/drawing/2014/chart" uri="{C3380CC4-5D6E-409C-BE32-E72D297353CC}">
                <c16:uniqueId val="{00000065-2993-41DE-A2CB-63102DE87051}"/>
              </c:ext>
            </c:extLst>
          </c:dPt>
          <c:dPt>
            <c:idx val="23"/>
            <c:invertIfNegative val="1"/>
            <c:bubble3D val="0"/>
            <c:spPr>
              <a:solidFill>
                <a:srgbClr val="AEABAB"/>
              </a:solidFill>
            </c:spPr>
            <c:extLst>
              <c:ext xmlns:c16="http://schemas.microsoft.com/office/drawing/2014/chart" uri="{C3380CC4-5D6E-409C-BE32-E72D297353CC}">
                <c16:uniqueId val="{00000067-2993-41DE-A2CB-63102DE87051}"/>
              </c:ext>
            </c:extLst>
          </c:dPt>
          <c:dPt>
            <c:idx val="24"/>
            <c:invertIfNegative val="1"/>
            <c:bubble3D val="0"/>
            <c:spPr>
              <a:solidFill>
                <a:srgbClr val="AEABAB"/>
              </a:solidFill>
            </c:spPr>
            <c:extLst>
              <c:ext xmlns:c16="http://schemas.microsoft.com/office/drawing/2014/chart" uri="{C3380CC4-5D6E-409C-BE32-E72D297353CC}">
                <c16:uniqueId val="{00000069-2993-41DE-A2CB-63102DE87051}"/>
              </c:ext>
            </c:extLst>
          </c:dPt>
          <c:dPt>
            <c:idx val="25"/>
            <c:invertIfNegative val="1"/>
            <c:bubble3D val="0"/>
            <c:spPr>
              <a:solidFill>
                <a:srgbClr val="AEABAB"/>
              </a:solidFill>
            </c:spPr>
            <c:extLst>
              <c:ext xmlns:c16="http://schemas.microsoft.com/office/drawing/2014/chart" uri="{C3380CC4-5D6E-409C-BE32-E72D297353CC}">
                <c16:uniqueId val="{0000006B-2993-41DE-A2CB-63102DE87051}"/>
              </c:ext>
            </c:extLst>
          </c:dPt>
          <c:dPt>
            <c:idx val="26"/>
            <c:invertIfNegative val="1"/>
            <c:bubble3D val="0"/>
            <c:spPr>
              <a:solidFill>
                <a:srgbClr val="AEABAB"/>
              </a:solidFill>
            </c:spPr>
            <c:extLst>
              <c:ext xmlns:c16="http://schemas.microsoft.com/office/drawing/2014/chart" uri="{C3380CC4-5D6E-409C-BE32-E72D297353CC}">
                <c16:uniqueId val="{0000006D-2993-41DE-A2CB-63102DE87051}"/>
              </c:ext>
            </c:extLst>
          </c:dPt>
          <c:dPt>
            <c:idx val="27"/>
            <c:invertIfNegative val="1"/>
            <c:bubble3D val="0"/>
            <c:spPr>
              <a:solidFill>
                <a:srgbClr val="AEABAB"/>
              </a:solidFill>
            </c:spPr>
            <c:extLst>
              <c:ext xmlns:c16="http://schemas.microsoft.com/office/drawing/2014/chart" uri="{C3380CC4-5D6E-409C-BE32-E72D297353CC}">
                <c16:uniqueId val="{0000006F-2993-41DE-A2CB-63102DE87051}"/>
              </c:ext>
            </c:extLst>
          </c:dPt>
          <c:dPt>
            <c:idx val="28"/>
            <c:invertIfNegative val="1"/>
            <c:bubble3D val="0"/>
            <c:spPr>
              <a:solidFill>
                <a:srgbClr val="AEABAB"/>
              </a:solidFill>
            </c:spPr>
            <c:extLst>
              <c:ext xmlns:c16="http://schemas.microsoft.com/office/drawing/2014/chart" uri="{C3380CC4-5D6E-409C-BE32-E72D297353CC}">
                <c16:uniqueId val="{00000071-2993-41DE-A2CB-63102DE87051}"/>
              </c:ext>
            </c:extLst>
          </c:dPt>
          <c:dPt>
            <c:idx val="29"/>
            <c:invertIfNegative val="1"/>
            <c:bubble3D val="0"/>
            <c:spPr>
              <a:solidFill>
                <a:srgbClr val="AEABAB"/>
              </a:solidFill>
            </c:spPr>
            <c:extLst>
              <c:ext xmlns:c16="http://schemas.microsoft.com/office/drawing/2014/chart" uri="{C3380CC4-5D6E-409C-BE32-E72D297353CC}">
                <c16:uniqueId val="{00000073-2993-41DE-A2CB-63102DE87051}"/>
              </c:ext>
            </c:extLst>
          </c:dPt>
          <c:dPt>
            <c:idx val="30"/>
            <c:invertIfNegative val="1"/>
            <c:bubble3D val="0"/>
            <c:spPr>
              <a:solidFill>
                <a:srgbClr val="AEABAB"/>
              </a:solidFill>
            </c:spPr>
            <c:extLst>
              <c:ext xmlns:c16="http://schemas.microsoft.com/office/drawing/2014/chart" uri="{C3380CC4-5D6E-409C-BE32-E72D297353CC}">
                <c16:uniqueId val="{00000075-2993-41DE-A2CB-63102DE87051}"/>
              </c:ext>
            </c:extLst>
          </c:dPt>
          <c:dPt>
            <c:idx val="31"/>
            <c:invertIfNegative val="1"/>
            <c:bubble3D val="0"/>
            <c:spPr>
              <a:solidFill>
                <a:srgbClr val="AEABAB"/>
              </a:solidFill>
            </c:spPr>
            <c:extLst>
              <c:ext xmlns:c16="http://schemas.microsoft.com/office/drawing/2014/chart" uri="{C3380CC4-5D6E-409C-BE32-E72D297353CC}">
                <c16:uniqueId val="{00000077-2993-41DE-A2CB-63102DE87051}"/>
              </c:ext>
            </c:extLst>
          </c:dPt>
          <c:dPt>
            <c:idx val="32"/>
            <c:invertIfNegative val="1"/>
            <c:bubble3D val="0"/>
            <c:spPr>
              <a:solidFill>
                <a:srgbClr val="AEABAB"/>
              </a:solidFill>
            </c:spPr>
            <c:extLst>
              <c:ext xmlns:c16="http://schemas.microsoft.com/office/drawing/2014/chart" uri="{C3380CC4-5D6E-409C-BE32-E72D297353CC}">
                <c16:uniqueId val="{00000079-2993-41DE-A2CB-63102DE87051}"/>
              </c:ext>
            </c:extLst>
          </c:dPt>
          <c:dPt>
            <c:idx val="33"/>
            <c:invertIfNegative val="1"/>
            <c:bubble3D val="0"/>
            <c:spPr>
              <a:solidFill>
                <a:srgbClr val="AEABAB"/>
              </a:solidFill>
            </c:spPr>
            <c:extLst>
              <c:ext xmlns:c16="http://schemas.microsoft.com/office/drawing/2014/chart" uri="{C3380CC4-5D6E-409C-BE32-E72D297353CC}">
                <c16:uniqueId val="{0000007B-2993-41DE-A2CB-63102DE87051}"/>
              </c:ext>
            </c:extLst>
          </c:dPt>
          <c:dPt>
            <c:idx val="34"/>
            <c:invertIfNegative val="1"/>
            <c:bubble3D val="0"/>
            <c:spPr>
              <a:solidFill>
                <a:srgbClr val="AEABAB"/>
              </a:solidFill>
            </c:spPr>
            <c:extLst>
              <c:ext xmlns:c16="http://schemas.microsoft.com/office/drawing/2014/chart" uri="{C3380CC4-5D6E-409C-BE32-E72D297353CC}">
                <c16:uniqueId val="{0000007D-2993-41DE-A2CB-63102DE87051}"/>
              </c:ext>
            </c:extLst>
          </c:dPt>
          <c:dPt>
            <c:idx val="35"/>
            <c:invertIfNegative val="1"/>
            <c:bubble3D val="0"/>
            <c:spPr>
              <a:solidFill>
                <a:srgbClr val="AEABAB"/>
              </a:solidFill>
            </c:spPr>
            <c:extLst>
              <c:ext xmlns:c16="http://schemas.microsoft.com/office/drawing/2014/chart" uri="{C3380CC4-5D6E-409C-BE32-E72D297353CC}">
                <c16:uniqueId val="{0000007F-2993-41DE-A2CB-63102DE87051}"/>
              </c:ext>
            </c:extLst>
          </c:dPt>
          <c:dPt>
            <c:idx val="36"/>
            <c:invertIfNegative val="1"/>
            <c:bubble3D val="0"/>
            <c:spPr>
              <a:solidFill>
                <a:srgbClr val="AEABAB"/>
              </a:solidFill>
            </c:spPr>
            <c:extLst>
              <c:ext xmlns:c16="http://schemas.microsoft.com/office/drawing/2014/chart" uri="{C3380CC4-5D6E-409C-BE32-E72D297353CC}">
                <c16:uniqueId val="{00000081-2993-41DE-A2CB-63102DE87051}"/>
              </c:ext>
            </c:extLst>
          </c:dPt>
          <c:dPt>
            <c:idx val="37"/>
            <c:invertIfNegative val="1"/>
            <c:bubble3D val="0"/>
            <c:spPr>
              <a:solidFill>
                <a:srgbClr val="AEABAB"/>
              </a:solidFill>
            </c:spPr>
            <c:extLst>
              <c:ext xmlns:c16="http://schemas.microsoft.com/office/drawing/2014/chart" uri="{C3380CC4-5D6E-409C-BE32-E72D297353CC}">
                <c16:uniqueId val="{00000083-2993-41DE-A2CB-63102DE87051}"/>
              </c:ext>
            </c:extLst>
          </c:dPt>
          <c:dPt>
            <c:idx val="38"/>
            <c:invertIfNegative val="1"/>
            <c:bubble3D val="0"/>
            <c:spPr>
              <a:solidFill>
                <a:srgbClr val="AEABAB"/>
              </a:solidFill>
            </c:spPr>
            <c:extLst>
              <c:ext xmlns:c16="http://schemas.microsoft.com/office/drawing/2014/chart" uri="{C3380CC4-5D6E-409C-BE32-E72D297353CC}">
                <c16:uniqueId val="{00000085-2993-41DE-A2CB-63102DE87051}"/>
              </c:ext>
            </c:extLst>
          </c:dPt>
          <c:dPt>
            <c:idx val="39"/>
            <c:invertIfNegative val="1"/>
            <c:bubble3D val="0"/>
            <c:spPr>
              <a:solidFill>
                <a:srgbClr val="AEABAB"/>
              </a:solidFill>
            </c:spPr>
            <c:extLst>
              <c:ext xmlns:c16="http://schemas.microsoft.com/office/drawing/2014/chart" uri="{C3380CC4-5D6E-409C-BE32-E72D297353CC}">
                <c16:uniqueId val="{00000087-2993-41DE-A2CB-63102DE87051}"/>
              </c:ext>
            </c:extLst>
          </c:dPt>
          <c:dPt>
            <c:idx val="40"/>
            <c:invertIfNegative val="1"/>
            <c:bubble3D val="0"/>
            <c:spPr>
              <a:solidFill>
                <a:srgbClr val="AEABAB"/>
              </a:solidFill>
            </c:spPr>
            <c:extLst>
              <c:ext xmlns:c16="http://schemas.microsoft.com/office/drawing/2014/chart" uri="{C3380CC4-5D6E-409C-BE32-E72D297353CC}">
                <c16:uniqueId val="{00000089-2993-41DE-A2CB-63102DE87051}"/>
              </c:ext>
            </c:extLst>
          </c:dPt>
          <c:dPt>
            <c:idx val="41"/>
            <c:invertIfNegative val="1"/>
            <c:bubble3D val="0"/>
            <c:spPr>
              <a:solidFill>
                <a:srgbClr val="AEABAB"/>
              </a:solidFill>
            </c:spPr>
            <c:extLst>
              <c:ext xmlns:c16="http://schemas.microsoft.com/office/drawing/2014/chart" uri="{C3380CC4-5D6E-409C-BE32-E72D297353CC}">
                <c16:uniqueId val="{0000008B-2993-41DE-A2CB-63102DE87051}"/>
              </c:ext>
            </c:extLst>
          </c:dPt>
          <c:dPt>
            <c:idx val="42"/>
            <c:invertIfNegative val="1"/>
            <c:bubble3D val="0"/>
            <c:spPr>
              <a:solidFill>
                <a:srgbClr val="AEABAB"/>
              </a:solidFill>
            </c:spPr>
            <c:extLst>
              <c:ext xmlns:c16="http://schemas.microsoft.com/office/drawing/2014/chart" uri="{C3380CC4-5D6E-409C-BE32-E72D297353CC}">
                <c16:uniqueId val="{0000008D-2993-41DE-A2CB-63102DE87051}"/>
              </c:ext>
            </c:extLst>
          </c:dPt>
          <c:dPt>
            <c:idx val="43"/>
            <c:invertIfNegative val="1"/>
            <c:bubble3D val="0"/>
            <c:spPr>
              <a:solidFill>
                <a:srgbClr val="AEABAB"/>
              </a:solidFill>
            </c:spPr>
            <c:extLst>
              <c:ext xmlns:c16="http://schemas.microsoft.com/office/drawing/2014/chart" uri="{C3380CC4-5D6E-409C-BE32-E72D297353CC}">
                <c16:uniqueId val="{0000008F-2993-41DE-A2CB-63102DE87051}"/>
              </c:ext>
            </c:extLst>
          </c:dPt>
          <c:dPt>
            <c:idx val="44"/>
            <c:invertIfNegative val="1"/>
            <c:bubble3D val="0"/>
            <c:spPr>
              <a:solidFill>
                <a:srgbClr val="AEABAB"/>
              </a:solidFill>
            </c:spPr>
            <c:extLst>
              <c:ext xmlns:c16="http://schemas.microsoft.com/office/drawing/2014/chart" uri="{C3380CC4-5D6E-409C-BE32-E72D297353CC}">
                <c16:uniqueId val="{00000091-2993-41DE-A2CB-63102DE87051}"/>
              </c:ext>
            </c:extLst>
          </c:dPt>
          <c:dPt>
            <c:idx val="45"/>
            <c:invertIfNegative val="1"/>
            <c:bubble3D val="0"/>
            <c:spPr>
              <a:solidFill>
                <a:srgbClr val="AEABAB"/>
              </a:solidFill>
            </c:spPr>
            <c:extLst>
              <c:ext xmlns:c16="http://schemas.microsoft.com/office/drawing/2014/chart" uri="{C3380CC4-5D6E-409C-BE32-E72D297353CC}">
                <c16:uniqueId val="{00000093-2993-41DE-A2CB-63102DE87051}"/>
              </c:ext>
            </c:extLst>
          </c:dPt>
          <c:dPt>
            <c:idx val="46"/>
            <c:invertIfNegative val="1"/>
            <c:bubble3D val="0"/>
            <c:spPr>
              <a:solidFill>
                <a:srgbClr val="AEABAB"/>
              </a:solidFill>
            </c:spPr>
            <c:extLst>
              <c:ext xmlns:c16="http://schemas.microsoft.com/office/drawing/2014/chart" uri="{C3380CC4-5D6E-409C-BE32-E72D297353CC}">
                <c16:uniqueId val="{00000095-2993-41DE-A2CB-63102DE87051}"/>
              </c:ext>
            </c:extLst>
          </c:dPt>
          <c:dPt>
            <c:idx val="47"/>
            <c:invertIfNegative val="1"/>
            <c:bubble3D val="0"/>
            <c:spPr>
              <a:solidFill>
                <a:srgbClr val="AEABAB"/>
              </a:solidFill>
            </c:spPr>
            <c:extLst>
              <c:ext xmlns:c16="http://schemas.microsoft.com/office/drawing/2014/chart" uri="{C3380CC4-5D6E-409C-BE32-E72D297353CC}">
                <c16:uniqueId val="{00000097-2993-41DE-A2CB-63102DE87051}"/>
              </c:ext>
            </c:extLst>
          </c:dPt>
          <c:dPt>
            <c:idx val="48"/>
            <c:invertIfNegative val="1"/>
            <c:bubble3D val="0"/>
            <c:spPr>
              <a:solidFill>
                <a:srgbClr val="AEABAB"/>
              </a:solidFill>
            </c:spPr>
            <c:extLst>
              <c:ext xmlns:c16="http://schemas.microsoft.com/office/drawing/2014/chart" uri="{C3380CC4-5D6E-409C-BE32-E72D297353CC}">
                <c16:uniqueId val="{00000099-2993-41DE-A2CB-63102DE87051}"/>
              </c:ext>
            </c:extLst>
          </c:dPt>
          <c:dPt>
            <c:idx val="49"/>
            <c:invertIfNegative val="1"/>
            <c:bubble3D val="0"/>
            <c:spPr>
              <a:solidFill>
                <a:srgbClr val="AEABAB"/>
              </a:solidFill>
            </c:spPr>
            <c:extLst>
              <c:ext xmlns:c16="http://schemas.microsoft.com/office/drawing/2014/chart" uri="{C3380CC4-5D6E-409C-BE32-E72D297353CC}">
                <c16:uniqueId val="{0000009B-2993-41DE-A2CB-63102DE87051}"/>
              </c:ext>
            </c:extLst>
          </c:dPt>
          <c:dPt>
            <c:idx val="50"/>
            <c:invertIfNegative val="1"/>
            <c:bubble3D val="0"/>
            <c:spPr>
              <a:solidFill>
                <a:srgbClr val="AEABAB"/>
              </a:solidFill>
            </c:spPr>
            <c:extLst>
              <c:ext xmlns:c16="http://schemas.microsoft.com/office/drawing/2014/chart" uri="{C3380CC4-5D6E-409C-BE32-E72D297353CC}">
                <c16:uniqueId val="{0000009D-2993-41DE-A2CB-63102DE87051}"/>
              </c:ext>
            </c:extLst>
          </c:dPt>
          <c:dPt>
            <c:idx val="51"/>
            <c:invertIfNegative val="1"/>
            <c:bubble3D val="0"/>
            <c:spPr>
              <a:solidFill>
                <a:srgbClr val="AEABAB"/>
              </a:solidFill>
            </c:spPr>
            <c:extLst>
              <c:ext xmlns:c16="http://schemas.microsoft.com/office/drawing/2014/chart" uri="{C3380CC4-5D6E-409C-BE32-E72D297353CC}">
                <c16:uniqueId val="{0000009F-2993-41DE-A2CB-63102DE87051}"/>
              </c:ext>
            </c:extLst>
          </c:dPt>
          <c:dPt>
            <c:idx val="52"/>
            <c:invertIfNegative val="1"/>
            <c:bubble3D val="0"/>
            <c:spPr>
              <a:solidFill>
                <a:srgbClr val="AEABAB"/>
              </a:solidFill>
            </c:spPr>
            <c:extLst>
              <c:ext xmlns:c16="http://schemas.microsoft.com/office/drawing/2014/chart" uri="{C3380CC4-5D6E-409C-BE32-E72D297353CC}">
                <c16:uniqueId val="{000000A1-2993-41DE-A2CB-63102DE87051}"/>
              </c:ext>
            </c:extLst>
          </c:dPt>
          <c:dPt>
            <c:idx val="53"/>
            <c:invertIfNegative val="1"/>
            <c:bubble3D val="0"/>
            <c:spPr>
              <a:solidFill>
                <a:srgbClr val="AEABAB"/>
              </a:solidFill>
            </c:spPr>
            <c:extLst>
              <c:ext xmlns:c16="http://schemas.microsoft.com/office/drawing/2014/chart" uri="{C3380CC4-5D6E-409C-BE32-E72D297353CC}">
                <c16:uniqueId val="{000000A3-2993-41DE-A2CB-63102DE87051}"/>
              </c:ext>
            </c:extLst>
          </c:dPt>
          <c:dPt>
            <c:idx val="54"/>
            <c:invertIfNegative val="0"/>
            <c:bubble3D val="0"/>
            <c:spPr>
              <a:solidFill>
                <a:srgbClr val="AEABAB"/>
              </a:solidFill>
            </c:spPr>
            <c:extLst>
              <c:ext xmlns:c16="http://schemas.microsoft.com/office/drawing/2014/chart" uri="{C3380CC4-5D6E-409C-BE32-E72D297353CC}">
                <c16:uniqueId val="{00000072-C76F-4230-900D-40618C09729F}"/>
              </c:ext>
            </c:extLst>
          </c:dPt>
          <c:dPt>
            <c:idx val="55"/>
            <c:invertIfNegative val="0"/>
            <c:bubble3D val="0"/>
            <c:spPr>
              <a:solidFill>
                <a:srgbClr val="AEABAB"/>
              </a:solidFill>
            </c:spPr>
            <c:extLst>
              <c:ext xmlns:c16="http://schemas.microsoft.com/office/drawing/2014/chart" uri="{C3380CC4-5D6E-409C-BE32-E72D297353CC}">
                <c16:uniqueId val="{00000074-C76F-4230-900D-40618C09729F}"/>
              </c:ext>
            </c:extLst>
          </c:dPt>
          <c:dPt>
            <c:idx val="56"/>
            <c:invertIfNegative val="0"/>
            <c:bubble3D val="0"/>
            <c:spPr>
              <a:solidFill>
                <a:srgbClr val="AEABAB"/>
              </a:solidFill>
            </c:spPr>
            <c:extLst>
              <c:ext xmlns:c16="http://schemas.microsoft.com/office/drawing/2014/chart" uri="{C3380CC4-5D6E-409C-BE32-E72D297353CC}">
                <c16:uniqueId val="{00000076-C76F-4230-900D-40618C09729F}"/>
              </c:ext>
            </c:extLst>
          </c:dPt>
          <c:dPt>
            <c:idx val="57"/>
            <c:invertIfNegative val="0"/>
            <c:bubble3D val="0"/>
            <c:spPr>
              <a:solidFill>
                <a:srgbClr val="AEABAB"/>
              </a:solidFill>
            </c:spPr>
            <c:extLst>
              <c:ext xmlns:c16="http://schemas.microsoft.com/office/drawing/2014/chart" uri="{C3380CC4-5D6E-409C-BE32-E72D297353CC}">
                <c16:uniqueId val="{00000078-C76F-4230-900D-40618C09729F}"/>
              </c:ext>
            </c:extLst>
          </c:dPt>
          <c:dPt>
            <c:idx val="58"/>
            <c:invertIfNegative val="0"/>
            <c:bubble3D val="0"/>
            <c:spPr>
              <a:solidFill>
                <a:srgbClr val="AEABAB"/>
              </a:solidFill>
            </c:spPr>
            <c:extLst>
              <c:ext xmlns:c16="http://schemas.microsoft.com/office/drawing/2014/chart" uri="{C3380CC4-5D6E-409C-BE32-E72D297353CC}">
                <c16:uniqueId val="{0000007A-C76F-4230-900D-40618C09729F}"/>
              </c:ext>
            </c:extLst>
          </c:dPt>
          <c:dPt>
            <c:idx val="59"/>
            <c:invertIfNegative val="0"/>
            <c:bubble3D val="0"/>
            <c:spPr>
              <a:solidFill>
                <a:srgbClr val="AEABAB"/>
              </a:solidFill>
            </c:spPr>
            <c:extLst>
              <c:ext xmlns:c16="http://schemas.microsoft.com/office/drawing/2014/chart" uri="{C3380CC4-5D6E-409C-BE32-E72D297353CC}">
                <c16:uniqueId val="{0000007C-C76F-4230-900D-40618C09729F}"/>
              </c:ext>
            </c:extLst>
          </c:dPt>
          <c:dPt>
            <c:idx val="60"/>
            <c:invertIfNegative val="0"/>
            <c:bubble3D val="0"/>
            <c:spPr>
              <a:solidFill>
                <a:srgbClr val="AEABAB"/>
              </a:solidFill>
            </c:spPr>
            <c:extLst>
              <c:ext xmlns:c16="http://schemas.microsoft.com/office/drawing/2014/chart" uri="{C3380CC4-5D6E-409C-BE32-E72D297353CC}">
                <c16:uniqueId val="{0000007E-C76F-4230-900D-40618C09729F}"/>
              </c:ext>
            </c:extLst>
          </c:dPt>
          <c:dPt>
            <c:idx val="61"/>
            <c:invertIfNegative val="0"/>
            <c:bubble3D val="0"/>
            <c:spPr>
              <a:solidFill>
                <a:srgbClr val="AEABAB"/>
              </a:solidFill>
            </c:spPr>
            <c:extLst>
              <c:ext xmlns:c16="http://schemas.microsoft.com/office/drawing/2014/chart" uri="{C3380CC4-5D6E-409C-BE32-E72D297353CC}">
                <c16:uniqueId val="{00000080-C76F-4230-900D-40618C09729F}"/>
              </c:ext>
            </c:extLst>
          </c:dPt>
          <c:dPt>
            <c:idx val="62"/>
            <c:invertIfNegative val="0"/>
            <c:bubble3D val="0"/>
            <c:spPr>
              <a:solidFill>
                <a:srgbClr val="AEABAB"/>
              </a:solidFill>
            </c:spPr>
            <c:extLst>
              <c:ext xmlns:c16="http://schemas.microsoft.com/office/drawing/2014/chart" uri="{C3380CC4-5D6E-409C-BE32-E72D297353CC}">
                <c16:uniqueId val="{00000082-C76F-4230-900D-40618C09729F}"/>
              </c:ext>
            </c:extLst>
          </c:dPt>
          <c:dPt>
            <c:idx val="63"/>
            <c:invertIfNegative val="0"/>
            <c:bubble3D val="0"/>
            <c:spPr>
              <a:solidFill>
                <a:srgbClr val="AEABAB"/>
              </a:solidFill>
            </c:spPr>
            <c:extLst>
              <c:ext xmlns:c16="http://schemas.microsoft.com/office/drawing/2014/chart" uri="{C3380CC4-5D6E-409C-BE32-E72D297353CC}">
                <c16:uniqueId val="{00000084-C76F-4230-900D-40618C09729F}"/>
              </c:ext>
            </c:extLst>
          </c:dPt>
          <c:dPt>
            <c:idx val="64"/>
            <c:invertIfNegative val="0"/>
            <c:bubble3D val="0"/>
            <c:spPr>
              <a:solidFill>
                <a:srgbClr val="AEABAB"/>
              </a:solidFill>
            </c:spPr>
            <c:extLst>
              <c:ext xmlns:c16="http://schemas.microsoft.com/office/drawing/2014/chart" uri="{C3380CC4-5D6E-409C-BE32-E72D297353CC}">
                <c16:uniqueId val="{00000086-C76F-4230-900D-40618C09729F}"/>
              </c:ext>
            </c:extLst>
          </c:dPt>
          <c:dPt>
            <c:idx val="65"/>
            <c:invertIfNegative val="0"/>
            <c:bubble3D val="0"/>
            <c:spPr>
              <a:solidFill>
                <a:srgbClr val="AEABAB"/>
              </a:solidFill>
            </c:spPr>
            <c:extLst>
              <c:ext xmlns:c16="http://schemas.microsoft.com/office/drawing/2014/chart" uri="{C3380CC4-5D6E-409C-BE32-E72D297353CC}">
                <c16:uniqueId val="{00000088-C76F-4230-900D-40618C09729F}"/>
              </c:ext>
            </c:extLst>
          </c:dPt>
          <c:dPt>
            <c:idx val="66"/>
            <c:invertIfNegative val="0"/>
            <c:bubble3D val="0"/>
            <c:spPr>
              <a:solidFill>
                <a:srgbClr val="AEABAB"/>
              </a:solidFill>
            </c:spPr>
            <c:extLst>
              <c:ext xmlns:c16="http://schemas.microsoft.com/office/drawing/2014/chart" uri="{C3380CC4-5D6E-409C-BE32-E72D297353CC}">
                <c16:uniqueId val="{0000008A-C76F-4230-900D-40618C09729F}"/>
              </c:ext>
            </c:extLst>
          </c:dPt>
          <c:dPt>
            <c:idx val="67"/>
            <c:invertIfNegative val="0"/>
            <c:bubble3D val="0"/>
            <c:spPr>
              <a:solidFill>
                <a:srgbClr val="AEABAB"/>
              </a:solidFill>
            </c:spPr>
            <c:extLst>
              <c:ext xmlns:c16="http://schemas.microsoft.com/office/drawing/2014/chart" uri="{C3380CC4-5D6E-409C-BE32-E72D297353CC}">
                <c16:uniqueId val="{0000008C-C76F-4230-900D-40618C09729F}"/>
              </c:ext>
            </c:extLst>
          </c:dPt>
          <c:dPt>
            <c:idx val="68"/>
            <c:invertIfNegative val="0"/>
            <c:bubble3D val="0"/>
            <c:spPr>
              <a:solidFill>
                <a:srgbClr val="AEABAB"/>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70</c:f>
              <c:strCache>
                <c:ptCount val="69"/>
                <c:pt idx="0">
                  <c:v>Private Lab</c:v>
                </c:pt>
                <c:pt idx="1">
                  <c:v>President</c:v>
                </c:pt>
                <c:pt idx="2">
                  <c:v>Private Lab</c:v>
                </c:pt>
                <c:pt idx="3">
                  <c:v>Private Lab</c:v>
                </c:pt>
                <c:pt idx="4">
                  <c:v>President</c:v>
                </c:pt>
                <c:pt idx="5">
                  <c:v>President</c:v>
                </c:pt>
                <c:pt idx="6">
                  <c:v>Private Lab</c:v>
                </c:pt>
                <c:pt idx="7">
                  <c:v>President</c:v>
                </c:pt>
                <c:pt idx="8">
                  <c:v>Boursin</c:v>
                </c:pt>
                <c:pt idx="9">
                  <c:v>La Belle Et</c:v>
                </c:pt>
                <c:pt idx="10">
                  <c:v>La Belle Et</c:v>
                </c:pt>
                <c:pt idx="11">
                  <c:v>President</c:v>
                </c:pt>
                <c:pt idx="12">
                  <c:v>Raguin</c:v>
                </c:pt>
                <c:pt idx="13">
                  <c:v>Raguin</c:v>
                </c:pt>
                <c:pt idx="14">
                  <c:v>La Belle Et</c:v>
                </c:pt>
                <c:pt idx="15">
                  <c:v>La Belle Et</c:v>
                </c:pt>
                <c:pt idx="16">
                  <c:v>Raguin</c:v>
                </c:pt>
                <c:pt idx="17">
                  <c:v>La Belle Et</c:v>
                </c:pt>
                <c:pt idx="18">
                  <c:v>Raguin</c:v>
                </c:pt>
                <c:pt idx="19">
                  <c:v>Milleret: A</c:v>
                </c:pt>
                <c:pt idx="20">
                  <c:v>Milleret: A</c:v>
                </c:pt>
                <c:pt idx="21">
                  <c:v>La Belle Et</c:v>
                </c:pt>
                <c:pt idx="22">
                  <c:v>Richesmonts</c:v>
                </c:pt>
                <c:pt idx="23">
                  <c:v>All Others</c:v>
                </c:pt>
                <c:pt idx="24">
                  <c:v>President</c:v>
                </c:pt>
                <c:pt idx="25">
                  <c:v>All Others</c:v>
                </c:pt>
                <c:pt idx="26">
                  <c:v>All Others</c:v>
                </c:pt>
                <c:pt idx="27">
                  <c:v>All Others</c:v>
                </c:pt>
                <c:pt idx="28">
                  <c:v>All Others</c:v>
                </c:pt>
                <c:pt idx="29">
                  <c:v>Milleret: A</c:v>
                </c:pt>
                <c:pt idx="30">
                  <c:v>Milleret: A</c:v>
                </c:pt>
                <c:pt idx="31">
                  <c:v>La Belle Et</c:v>
                </c:pt>
                <c:pt idx="32">
                  <c:v>All Others</c:v>
                </c:pt>
                <c:pt idx="33">
                  <c:v>All Others</c:v>
                </c:pt>
                <c:pt idx="34">
                  <c:v>All Others</c:v>
                </c:pt>
                <c:pt idx="35">
                  <c:v>La Belle Et</c:v>
                </c:pt>
                <c:pt idx="36">
                  <c:v>All Others</c:v>
                </c:pt>
                <c:pt idx="37">
                  <c:v>La Belle Et</c:v>
                </c:pt>
                <c:pt idx="38">
                  <c:v>La Belle Et</c:v>
                </c:pt>
                <c:pt idx="39">
                  <c:v>La Belle Et</c:v>
                </c:pt>
                <c:pt idx="40">
                  <c:v>All Others</c:v>
                </c:pt>
                <c:pt idx="41">
                  <c:v>La Belle Et</c:v>
                </c:pt>
                <c:pt idx="42">
                  <c:v>La Belle Et</c:v>
                </c:pt>
                <c:pt idx="43">
                  <c:v>La Belle Et</c:v>
                </c:pt>
                <c:pt idx="44">
                  <c:v>All Others</c:v>
                </c:pt>
                <c:pt idx="45">
                  <c:v>La Belle Et</c:v>
                </c:pt>
                <c:pt idx="46">
                  <c:v>All Others</c:v>
                </c:pt>
                <c:pt idx="47">
                  <c:v>La Belle Et</c:v>
                </c:pt>
                <c:pt idx="48">
                  <c:v>All Others</c:v>
                </c:pt>
                <c:pt idx="49">
                  <c:v>All Others</c:v>
                </c:pt>
                <c:pt idx="50">
                  <c:v>La Belle Et</c:v>
                </c:pt>
                <c:pt idx="51">
                  <c:v>All Others</c:v>
                </c:pt>
                <c:pt idx="52">
                  <c:v>All Others</c:v>
                </c:pt>
                <c:pt idx="53">
                  <c:v>La Belle Et</c:v>
                </c:pt>
                <c:pt idx="54">
                  <c:v>All Others</c:v>
                </c:pt>
                <c:pt idx="55">
                  <c:v>All Others</c:v>
                </c:pt>
                <c:pt idx="56">
                  <c:v>All Others</c:v>
                </c:pt>
                <c:pt idx="57">
                  <c:v>La Belle Et</c:v>
                </c:pt>
                <c:pt idx="58">
                  <c:v>All Others</c:v>
                </c:pt>
                <c:pt idx="59">
                  <c:v>All Others</c:v>
                </c:pt>
                <c:pt idx="60">
                  <c:v>All Others</c:v>
                </c:pt>
                <c:pt idx="61">
                  <c:v>Raguin</c:v>
                </c:pt>
                <c:pt idx="62">
                  <c:v>Milleret: A</c:v>
                </c:pt>
                <c:pt idx="63">
                  <c:v>La Vache Qu</c:v>
                </c:pt>
                <c:pt idx="64">
                  <c:v>Private Lab</c:v>
                </c:pt>
                <c:pt idx="65">
                  <c:v>All Others</c:v>
                </c:pt>
                <c:pt idx="66">
                  <c:v>Raguin</c:v>
                </c:pt>
                <c:pt idx="67">
                  <c:v>La Vache Qu</c:v>
                </c:pt>
                <c:pt idx="68">
                  <c:v>La Vache Qu</c:v>
                </c:pt>
              </c:strCache>
            </c:strRef>
          </c:cat>
          <c:val>
            <c:numRef>
              <c:f>Sheet1!$C$2:$C$70</c:f>
              <c:numCache>
                <c:formatCode>General</c:formatCode>
                <c:ptCount val="69"/>
                <c:pt idx="0">
                  <c:v>0.2879624094155158</c:v>
                </c:pt>
                <c:pt idx="1">
                  <c:v>0.4548115375908355</c:v>
                </c:pt>
                <c:pt idx="2">
                  <c:v>0.5622449742771939</c:v>
                </c:pt>
                <c:pt idx="3">
                  <c:v>0.6304311161373777</c:v>
                </c:pt>
                <c:pt idx="4">
                  <c:v>0.6978286829491602</c:v>
                </c:pt>
                <c:pt idx="5">
                  <c:v>0.7524112777776941</c:v>
                </c:pt>
                <c:pt idx="6">
                  <c:v>0.8035133001137937</c:v>
                </c:pt>
                <c:pt idx="7">
                  <c:v>0.840660154271582</c:v>
                </c:pt>
                <c:pt idx="8">
                  <c:v>0.8694484140907469</c:v>
                </c:pt>
                <c:pt idx="9">
                  <c:v>0.8829016248862439</c:v>
                </c:pt>
                <c:pt idx="10">
                  <c:v>0.8919145206733657</c:v>
                </c:pt>
                <c:pt idx="11">
                  <c:v>0.8998328983872611</c:v>
                </c:pt>
                <c:pt idx="12">
                  <c:v>0.9071014922691033</c:v>
                </c:pt>
                <c:pt idx="13">
                  <c:v>0.9141803462602417</c:v>
                </c:pt>
                <c:pt idx="14">
                  <c:v>0.9204241941450686</c:v>
                </c:pt>
                <c:pt idx="15">
                  <c:v>0.9263184287127654</c:v>
                </c:pt>
                <c:pt idx="16">
                  <c:v>0.9317413252979995</c:v>
                </c:pt>
                <c:pt idx="17">
                  <c:v>0.9370033445420416</c:v>
                </c:pt>
                <c:pt idx="18">
                  <c:v>0.9418259000974298</c:v>
                </c:pt>
                <c:pt idx="19">
                  <c:v>0.946471515675376</c:v>
                </c:pt>
                <c:pt idx="20">
                  <c:v>0.9507599885754499</c:v>
                </c:pt>
                <c:pt idx="21">
                  <c:v>0.954770628064136</c:v>
                </c:pt>
                <c:pt idx="22">
                  <c:v>0.958553127922333</c:v>
                </c:pt>
                <c:pt idx="23">
                  <c:v>0.9622671105977759</c:v>
                </c:pt>
                <c:pt idx="24">
                  <c:v>0.9657514477705813</c:v>
                </c:pt>
                <c:pt idx="25">
                  <c:v>0.9687265491785215</c:v>
                </c:pt>
                <c:pt idx="26">
                  <c:v>0.9713816527549177</c:v>
                </c:pt>
                <c:pt idx="27">
                  <c:v>0.9740093996539505</c:v>
                </c:pt>
                <c:pt idx="28">
                  <c:v>0.976336725059369</c:v>
                </c:pt>
                <c:pt idx="29">
                  <c:v>0.9782097790333405</c:v>
                </c:pt>
                <c:pt idx="30">
                  <c:v>0.9800582370955541</c:v>
                </c:pt>
                <c:pt idx="31">
                  <c:v>0.9818878717559121</c:v>
                </c:pt>
                <c:pt idx="32">
                  <c:v>0.9835393115453711</c:v>
                </c:pt>
                <c:pt idx="33">
                  <c:v>0.9847658444102778</c:v>
                </c:pt>
                <c:pt idx="34">
                  <c:v>0.9858417900603402</c:v>
                </c:pt>
                <c:pt idx="35">
                  <c:v>0.9869152259234886</c:v>
                </c:pt>
                <c:pt idx="36">
                  <c:v>0.9879670776191759</c:v>
                </c:pt>
                <c:pt idx="37">
                  <c:v>0.9890076352737499</c:v>
                </c:pt>
                <c:pt idx="38">
                  <c:v>0.9899648680027767</c:v>
                </c:pt>
                <c:pt idx="39">
                  <c:v>0.9909017714577996</c:v>
                </c:pt>
                <c:pt idx="40">
                  <c:v>0.9917661420710058</c:v>
                </c:pt>
                <c:pt idx="41">
                  <c:v>0.9925923639231181</c:v>
                </c:pt>
                <c:pt idx="42">
                  <c:v>0.9933412843382771</c:v>
                </c:pt>
                <c:pt idx="43">
                  <c:v>0.9940543148005647</c:v>
                </c:pt>
                <c:pt idx="44">
                  <c:v>0.9946915496980474</c:v>
                </c:pt>
                <c:pt idx="45">
                  <c:v>0.99526453405053</c:v>
                </c:pt>
                <c:pt idx="46">
                  <c:v>0.995832247850493</c:v>
                </c:pt>
                <c:pt idx="47">
                  <c:v>0.9962825036228774</c:v>
                </c:pt>
                <c:pt idx="48">
                  <c:v>0.996710673270418</c:v>
                </c:pt>
                <c:pt idx="49">
                  <c:v>0.9970921608813568</c:v>
                </c:pt>
                <c:pt idx="50">
                  <c:v>0.99743876245419</c:v>
                </c:pt>
                <c:pt idx="51">
                  <c:v>0.9977371761182732</c:v>
                </c:pt>
                <c:pt idx="52">
                  <c:v>0.9980263035707742</c:v>
                </c:pt>
                <c:pt idx="53">
                  <c:v>0.9982938468558141</c:v>
                </c:pt>
                <c:pt idx="54">
                  <c:v>0.9985463314193697</c:v>
                </c:pt>
                <c:pt idx="55">
                  <c:v>0.9987656867956595</c:v>
                </c:pt>
                <c:pt idx="56">
                  <c:v>0.9989496541764609</c:v>
                </c:pt>
                <c:pt idx="57">
                  <c:v>0.9991095276028872</c:v>
                </c:pt>
                <c:pt idx="58">
                  <c:v>0.9992571030734346</c:v>
                </c:pt>
                <c:pt idx="59">
                  <c:v>0.9993868590568922</c:v>
                </c:pt>
                <c:pt idx="60">
                  <c:v>0.9994797211727128</c:v>
                </c:pt>
                <c:pt idx="61">
                  <c:v>0.999638339705682</c:v>
                </c:pt>
                <c:pt idx="62">
                  <c:v>0.9996815080406041</c:v>
                </c:pt>
                <c:pt idx="63">
                  <c:v>0.9998300874259172</c:v>
                </c:pt>
                <c:pt idx="64">
                  <c:v>0.999889820354472</c:v>
                </c:pt>
                <c:pt idx="65">
                  <c:v>0.9999144162662299</c:v>
                </c:pt>
                <c:pt idx="66">
                  <c:v>0.999955827750312</c:v>
                </c:pt>
                <c:pt idx="67">
                  <c:v>0.9999969882557028</c:v>
                </c:pt>
                <c:pt idx="68">
                  <c:v>0.9999999999999997</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56</c:f>
              <c:strCache>
                <c:ptCount val="55"/>
                <c:pt idx="0">
                  <c:v>La Vache Qu</c:v>
                </c:pt>
                <c:pt idx="1">
                  <c:v>Mini Babybe</c:v>
                </c:pt>
                <c:pt idx="2">
                  <c:v>Mini Babybe</c:v>
                </c:pt>
                <c:pt idx="3">
                  <c:v>La Vache Qu</c:v>
                </c:pt>
                <c:pt idx="4">
                  <c:v>La Vache Qu</c:v>
                </c:pt>
                <c:pt idx="5">
                  <c:v>Kiri</c:v>
                </c:pt>
                <c:pt idx="6">
                  <c:v>Kiri</c:v>
                </c:pt>
                <c:pt idx="7">
                  <c:v>Ficello</c:v>
                </c:pt>
                <c:pt idx="8">
                  <c:v>Kiri</c:v>
                </c:pt>
                <c:pt idx="9">
                  <c:v>Kiri</c:v>
                </c:pt>
                <c:pt idx="10">
                  <c:v>Ficello</c:v>
                </c:pt>
                <c:pt idx="11">
                  <c:v>Kiri</c:v>
                </c:pt>
                <c:pt idx="12">
                  <c:v>La Vache Qu</c:v>
                </c:pt>
                <c:pt idx="13">
                  <c:v>Mini Babybe</c:v>
                </c:pt>
                <c:pt idx="14">
                  <c:v>La Vache Qu</c:v>
                </c:pt>
                <c:pt idx="15">
                  <c:v>Mini Babybe</c:v>
                </c:pt>
                <c:pt idx="16">
                  <c:v>Private Lab</c:v>
                </c:pt>
                <c:pt idx="17">
                  <c:v>La Vache Qu</c:v>
                </c:pt>
                <c:pt idx="18">
                  <c:v>Kiri</c:v>
                </c:pt>
                <c:pt idx="19">
                  <c:v>P'Tit Louis</c:v>
                </c:pt>
                <c:pt idx="20">
                  <c:v>Mini Babybe</c:v>
                </c:pt>
                <c:pt idx="21">
                  <c:v>Private Lab</c:v>
                </c:pt>
                <c:pt idx="22">
                  <c:v>Mini Babybe</c:v>
                </c:pt>
                <c:pt idx="23">
                  <c:v>Ficello</c:v>
                </c:pt>
                <c:pt idx="24">
                  <c:v>Mini Babybe</c:v>
                </c:pt>
                <c:pt idx="25">
                  <c:v>Private Lab</c:v>
                </c:pt>
                <c:pt idx="26">
                  <c:v>P'Tit Louis</c:v>
                </c:pt>
                <c:pt idx="27">
                  <c:v>Mini Babybe</c:v>
                </c:pt>
                <c:pt idx="28">
                  <c:v>La Vache Qu</c:v>
                </c:pt>
                <c:pt idx="29">
                  <c:v>P'Tit Louis</c:v>
                </c:pt>
                <c:pt idx="30">
                  <c:v>La Vache Qu</c:v>
                </c:pt>
                <c:pt idx="31">
                  <c:v>Private Lab</c:v>
                </c:pt>
                <c:pt idx="32">
                  <c:v>Ficello</c:v>
                </c:pt>
                <c:pt idx="33">
                  <c:v>Private Lab</c:v>
                </c:pt>
                <c:pt idx="34">
                  <c:v>Kiri</c:v>
                </c:pt>
                <c:pt idx="35">
                  <c:v>Mini Babybe</c:v>
                </c:pt>
                <c:pt idx="36">
                  <c:v>Private Lab</c:v>
                </c:pt>
                <c:pt idx="37">
                  <c:v>Mini Babybe</c:v>
                </c:pt>
                <c:pt idx="38">
                  <c:v>La Vache Qu</c:v>
                </c:pt>
                <c:pt idx="39">
                  <c:v>Mini Babybe</c:v>
                </c:pt>
                <c:pt idx="40">
                  <c:v>Ficello</c:v>
                </c:pt>
                <c:pt idx="41">
                  <c:v>Private Lab</c:v>
                </c:pt>
                <c:pt idx="42">
                  <c:v>Mini Babybe</c:v>
                </c:pt>
                <c:pt idx="43">
                  <c:v>Private Lab</c:v>
                </c:pt>
                <c:pt idx="44">
                  <c:v>P'Tit Louis</c:v>
                </c:pt>
                <c:pt idx="45">
                  <c:v>Mini Babybe</c:v>
                </c:pt>
                <c:pt idx="46">
                  <c:v>Mini Babybe</c:v>
                </c:pt>
                <c:pt idx="47">
                  <c:v>La Vache Qu</c:v>
                </c:pt>
                <c:pt idx="48">
                  <c:v>La Vache Qu</c:v>
                </c:pt>
                <c:pt idx="49">
                  <c:v>Kiri</c:v>
                </c:pt>
                <c:pt idx="50">
                  <c:v>Mini Babybe</c:v>
                </c:pt>
                <c:pt idx="51">
                  <c:v>Lactalis: A</c:v>
                </c:pt>
                <c:pt idx="52">
                  <c:v>Mini Babybe</c:v>
                </c:pt>
                <c:pt idx="53">
                  <c:v>Ficello</c:v>
                </c:pt>
                <c:pt idx="54">
                  <c:v>Mini Babybe</c:v>
                </c:pt>
              </c:strCache>
            </c:strRef>
          </c:cat>
          <c:val>
            <c:numRef>
              <c:f>Sheet1!$B$2:$B$56</c:f>
              <c:numCache>
                <c:formatCode>General</c:formatCode>
                <c:ptCount val="55"/>
                <c:pt idx="0">
                  <c:v>0.827</c:v>
                </c:pt>
                <c:pt idx="1">
                  <c:v>0.868</c:v>
                </c:pt>
                <c:pt idx="2">
                  <c:v>0.99</c:v>
                </c:pt>
                <c:pt idx="3">
                  <c:v>0.898</c:v>
                </c:pt>
                <c:pt idx="4">
                  <c:v>0.981</c:v>
                </c:pt>
                <c:pt idx="5">
                  <c:v>0.778</c:v>
                </c:pt>
                <c:pt idx="6">
                  <c:v>0.99</c:v>
                </c:pt>
                <c:pt idx="7">
                  <c:v>0.837</c:v>
                </c:pt>
                <c:pt idx="8">
                  <c:v>0.834</c:v>
                </c:pt>
                <c:pt idx="9">
                  <c:v>0.949</c:v>
                </c:pt>
                <c:pt idx="10">
                  <c:v>0.946</c:v>
                </c:pt>
                <c:pt idx="11">
                  <c:v>0.732</c:v>
                </c:pt>
                <c:pt idx="12">
                  <c:v>0.908</c:v>
                </c:pt>
                <c:pt idx="13">
                  <c:v>0.82</c:v>
                </c:pt>
                <c:pt idx="14">
                  <c:v>0.694</c:v>
                </c:pt>
                <c:pt idx="15">
                  <c:v>0.808</c:v>
                </c:pt>
                <c:pt idx="16">
                  <c:v>0.885</c:v>
                </c:pt>
                <c:pt idx="17">
                  <c:v>0.725</c:v>
                </c:pt>
                <c:pt idx="18">
                  <c:v>0.716</c:v>
                </c:pt>
                <c:pt idx="19">
                  <c:v>0.867</c:v>
                </c:pt>
                <c:pt idx="20">
                  <c:v>0.443</c:v>
                </c:pt>
                <c:pt idx="21">
                  <c:v>0.771</c:v>
                </c:pt>
                <c:pt idx="22">
                  <c:v>0.736</c:v>
                </c:pt>
                <c:pt idx="23">
                  <c:v>0.636</c:v>
                </c:pt>
                <c:pt idx="24">
                  <c:v>0.692</c:v>
                </c:pt>
                <c:pt idx="25">
                  <c:v>0.456</c:v>
                </c:pt>
                <c:pt idx="26">
                  <c:v>0.608</c:v>
                </c:pt>
                <c:pt idx="27">
                  <c:v>0.618</c:v>
                </c:pt>
                <c:pt idx="28">
                  <c:v>0.434</c:v>
                </c:pt>
                <c:pt idx="29">
                  <c:v>0.752</c:v>
                </c:pt>
                <c:pt idx="30">
                  <c:v>0.495</c:v>
                </c:pt>
                <c:pt idx="31">
                  <c:v>0.75</c:v>
                </c:pt>
                <c:pt idx="32">
                  <c:v>0.644</c:v>
                </c:pt>
                <c:pt idx="33">
                  <c:v>0.841</c:v>
                </c:pt>
                <c:pt idx="34">
                  <c:v>0.502</c:v>
                </c:pt>
                <c:pt idx="35">
                  <c:v>0.697</c:v>
                </c:pt>
                <c:pt idx="36">
                  <c:v>0.424</c:v>
                </c:pt>
                <c:pt idx="37">
                  <c:v>0.423</c:v>
                </c:pt>
                <c:pt idx="38">
                  <c:v>0.482</c:v>
                </c:pt>
                <c:pt idx="39">
                  <c:v>0.645</c:v>
                </c:pt>
                <c:pt idx="40">
                  <c:v>0.452</c:v>
                </c:pt>
                <c:pt idx="41">
                  <c:v>0.63</c:v>
                </c:pt>
                <c:pt idx="42">
                  <c:v>0.319</c:v>
                </c:pt>
                <c:pt idx="43">
                  <c:v>0.694</c:v>
                </c:pt>
                <c:pt idx="44">
                  <c:v>0.571</c:v>
                </c:pt>
                <c:pt idx="45">
                  <c:v>0.128</c:v>
                </c:pt>
                <c:pt idx="46">
                  <c:v>0.31</c:v>
                </c:pt>
                <c:pt idx="47">
                  <c:v>0.037</c:v>
                </c:pt>
                <c:pt idx="48">
                  <c:v>0.008</c:v>
                </c:pt>
                <c:pt idx="49">
                  <c:v>0.267</c:v>
                </c:pt>
                <c:pt idx="50">
                  <c:v>0.316</c:v>
                </c:pt>
                <c:pt idx="51">
                  <c:v>0.008</c:v>
                </c:pt>
                <c:pt idx="52">
                  <c:v>0.023</c:v>
                </c:pt>
                <c:pt idx="53">
                  <c:v>0.005</c:v>
                </c:pt>
                <c:pt idx="54">
                  <c:v>0.005</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Item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7ECAC4"/>
              </a:solidFill>
            </c:spPr>
            <c:extLst>
              <c:ext xmlns:c16="http://schemas.microsoft.com/office/drawing/2014/chart" uri="{C3380CC4-5D6E-409C-BE32-E72D297353CC}">
                <c16:uniqueId val="{00000057-2993-41DE-A2CB-63102DE87051}"/>
              </c:ext>
            </c:extLst>
          </c:dPt>
          <c:dPt>
            <c:idx val="16"/>
            <c:invertIfNegative val="1"/>
            <c:bubble3D val="0"/>
            <c:spPr>
              <a:solidFill>
                <a:srgbClr val="7ECAC4"/>
              </a:solidFill>
            </c:spPr>
            <c:extLst>
              <c:ext xmlns:c16="http://schemas.microsoft.com/office/drawing/2014/chart" uri="{C3380CC4-5D6E-409C-BE32-E72D297353CC}">
                <c16:uniqueId val="{00000059-2993-41DE-A2CB-63102DE87051}"/>
              </c:ext>
            </c:extLst>
          </c:dPt>
          <c:dPt>
            <c:idx val="17"/>
            <c:invertIfNegative val="1"/>
            <c:bubble3D val="0"/>
            <c:spPr>
              <a:solidFill>
                <a:srgbClr val="7ECAC4"/>
              </a:solidFill>
            </c:spPr>
            <c:extLst>
              <c:ext xmlns:c16="http://schemas.microsoft.com/office/drawing/2014/chart" uri="{C3380CC4-5D6E-409C-BE32-E72D297353CC}">
                <c16:uniqueId val="{0000005B-2993-41DE-A2CB-63102DE87051}"/>
              </c:ext>
            </c:extLst>
          </c:dPt>
          <c:dPt>
            <c:idx val="18"/>
            <c:invertIfNegative val="1"/>
            <c:bubble3D val="0"/>
            <c:spPr>
              <a:solidFill>
                <a:srgbClr val="7ECAC4"/>
              </a:solidFill>
            </c:spPr>
            <c:extLst>
              <c:ext xmlns:c16="http://schemas.microsoft.com/office/drawing/2014/chart" uri="{C3380CC4-5D6E-409C-BE32-E72D297353CC}">
                <c16:uniqueId val="{0000005D-2993-41DE-A2CB-63102DE87051}"/>
              </c:ext>
            </c:extLst>
          </c:dPt>
          <c:dPt>
            <c:idx val="19"/>
            <c:invertIfNegative val="1"/>
            <c:bubble3D val="0"/>
            <c:spPr>
              <a:solidFill>
                <a:srgbClr val="7ECAC4"/>
              </a:solidFill>
            </c:spPr>
            <c:extLst>
              <c:ext xmlns:c16="http://schemas.microsoft.com/office/drawing/2014/chart" uri="{C3380CC4-5D6E-409C-BE32-E72D297353CC}">
                <c16:uniqueId val="{0000005F-2993-41DE-A2CB-63102DE87051}"/>
              </c:ext>
            </c:extLst>
          </c:dPt>
          <c:dPt>
            <c:idx val="20"/>
            <c:invertIfNegative val="1"/>
            <c:bubble3D val="0"/>
            <c:spPr>
              <a:solidFill>
                <a:srgbClr val="7ECAC4"/>
              </a:solidFill>
            </c:spPr>
            <c:extLst>
              <c:ext xmlns:c16="http://schemas.microsoft.com/office/drawing/2014/chart" uri="{C3380CC4-5D6E-409C-BE32-E72D297353CC}">
                <c16:uniqueId val="{00000061-2993-41DE-A2CB-63102DE87051}"/>
              </c:ext>
            </c:extLst>
          </c:dPt>
          <c:dPt>
            <c:idx val="21"/>
            <c:invertIfNegative val="1"/>
            <c:bubble3D val="0"/>
            <c:spPr>
              <a:solidFill>
                <a:srgbClr val="7ECAC4"/>
              </a:solidFill>
            </c:spPr>
            <c:extLst>
              <c:ext xmlns:c16="http://schemas.microsoft.com/office/drawing/2014/chart" uri="{C3380CC4-5D6E-409C-BE32-E72D297353CC}">
                <c16:uniqueId val="{00000063-2993-41DE-A2CB-63102DE87051}"/>
              </c:ext>
            </c:extLst>
          </c:dPt>
          <c:dPt>
            <c:idx val="22"/>
            <c:invertIfNegative val="1"/>
            <c:bubble3D val="0"/>
            <c:spPr>
              <a:solidFill>
                <a:srgbClr val="7ECAC4"/>
              </a:solidFill>
            </c:spPr>
            <c:extLst>
              <c:ext xmlns:c16="http://schemas.microsoft.com/office/drawing/2014/chart" uri="{C3380CC4-5D6E-409C-BE32-E72D297353CC}">
                <c16:uniqueId val="{00000065-2993-41DE-A2CB-63102DE87051}"/>
              </c:ext>
            </c:extLst>
          </c:dPt>
          <c:dPt>
            <c:idx val="23"/>
            <c:invertIfNegative val="1"/>
            <c:bubble3D val="0"/>
            <c:spPr>
              <a:solidFill>
                <a:srgbClr val="7ECAC4"/>
              </a:solidFill>
            </c:spPr>
            <c:extLst>
              <c:ext xmlns:c16="http://schemas.microsoft.com/office/drawing/2014/chart" uri="{C3380CC4-5D6E-409C-BE32-E72D297353CC}">
                <c16:uniqueId val="{00000067-2993-41DE-A2CB-63102DE87051}"/>
              </c:ext>
            </c:extLst>
          </c:dPt>
          <c:dPt>
            <c:idx val="24"/>
            <c:invertIfNegative val="1"/>
            <c:bubble3D val="0"/>
            <c:spPr>
              <a:solidFill>
                <a:srgbClr val="7ECAC4"/>
              </a:solidFill>
            </c:spPr>
            <c:extLst>
              <c:ext xmlns:c16="http://schemas.microsoft.com/office/drawing/2014/chart" uri="{C3380CC4-5D6E-409C-BE32-E72D297353CC}">
                <c16:uniqueId val="{00000069-2993-41DE-A2CB-63102DE87051}"/>
              </c:ext>
            </c:extLst>
          </c:dPt>
          <c:dPt>
            <c:idx val="25"/>
            <c:invertIfNegative val="1"/>
            <c:bubble3D val="0"/>
            <c:spPr>
              <a:solidFill>
                <a:srgbClr val="7ECAC4"/>
              </a:solidFill>
            </c:spPr>
            <c:extLst>
              <c:ext xmlns:c16="http://schemas.microsoft.com/office/drawing/2014/chart" uri="{C3380CC4-5D6E-409C-BE32-E72D297353CC}">
                <c16:uniqueId val="{0000006B-2993-41DE-A2CB-63102DE87051}"/>
              </c:ext>
            </c:extLst>
          </c:dPt>
          <c:dPt>
            <c:idx val="26"/>
            <c:invertIfNegative val="1"/>
            <c:bubble3D val="0"/>
            <c:spPr>
              <a:solidFill>
                <a:srgbClr val="7ECAC4"/>
              </a:solidFill>
            </c:spPr>
            <c:extLst>
              <c:ext xmlns:c16="http://schemas.microsoft.com/office/drawing/2014/chart" uri="{C3380CC4-5D6E-409C-BE32-E72D297353CC}">
                <c16:uniqueId val="{0000006D-2993-41DE-A2CB-63102DE87051}"/>
              </c:ext>
            </c:extLst>
          </c:dPt>
          <c:dPt>
            <c:idx val="27"/>
            <c:invertIfNegative val="1"/>
            <c:bubble3D val="0"/>
            <c:spPr>
              <a:solidFill>
                <a:srgbClr val="7ECAC4"/>
              </a:solidFill>
            </c:spPr>
            <c:extLst>
              <c:ext xmlns:c16="http://schemas.microsoft.com/office/drawing/2014/chart" uri="{C3380CC4-5D6E-409C-BE32-E72D297353CC}">
                <c16:uniqueId val="{0000006F-2993-41DE-A2CB-63102DE87051}"/>
              </c:ext>
            </c:extLst>
          </c:dPt>
          <c:dPt>
            <c:idx val="28"/>
            <c:invertIfNegative val="1"/>
            <c:bubble3D val="0"/>
            <c:spPr>
              <a:solidFill>
                <a:srgbClr val="AEABAB"/>
              </a:solidFill>
            </c:spPr>
            <c:extLst>
              <c:ext xmlns:c16="http://schemas.microsoft.com/office/drawing/2014/chart" uri="{C3380CC4-5D6E-409C-BE32-E72D297353CC}">
                <c16:uniqueId val="{00000071-2993-41DE-A2CB-63102DE87051}"/>
              </c:ext>
            </c:extLst>
          </c:dPt>
          <c:dPt>
            <c:idx val="29"/>
            <c:invertIfNegative val="1"/>
            <c:bubble3D val="0"/>
            <c:spPr>
              <a:solidFill>
                <a:srgbClr val="AEABAB"/>
              </a:solidFill>
            </c:spPr>
            <c:extLst>
              <c:ext xmlns:c16="http://schemas.microsoft.com/office/drawing/2014/chart" uri="{C3380CC4-5D6E-409C-BE32-E72D297353CC}">
                <c16:uniqueId val="{00000073-2993-41DE-A2CB-63102DE87051}"/>
              </c:ext>
            </c:extLst>
          </c:dPt>
          <c:dPt>
            <c:idx val="30"/>
            <c:invertIfNegative val="1"/>
            <c:bubble3D val="0"/>
            <c:spPr>
              <a:solidFill>
                <a:srgbClr val="AEABAB"/>
              </a:solidFill>
            </c:spPr>
            <c:extLst>
              <c:ext xmlns:c16="http://schemas.microsoft.com/office/drawing/2014/chart" uri="{C3380CC4-5D6E-409C-BE32-E72D297353CC}">
                <c16:uniqueId val="{00000075-2993-41DE-A2CB-63102DE87051}"/>
              </c:ext>
            </c:extLst>
          </c:dPt>
          <c:dPt>
            <c:idx val="31"/>
            <c:invertIfNegative val="1"/>
            <c:bubble3D val="0"/>
            <c:spPr>
              <a:solidFill>
                <a:srgbClr val="AEABAB"/>
              </a:solidFill>
            </c:spPr>
            <c:extLst>
              <c:ext xmlns:c16="http://schemas.microsoft.com/office/drawing/2014/chart" uri="{C3380CC4-5D6E-409C-BE32-E72D297353CC}">
                <c16:uniqueId val="{00000077-2993-41DE-A2CB-63102DE87051}"/>
              </c:ext>
            </c:extLst>
          </c:dPt>
          <c:dPt>
            <c:idx val="32"/>
            <c:invertIfNegative val="1"/>
            <c:bubble3D val="0"/>
            <c:spPr>
              <a:solidFill>
                <a:srgbClr val="AEABAB"/>
              </a:solidFill>
            </c:spPr>
            <c:extLst>
              <c:ext xmlns:c16="http://schemas.microsoft.com/office/drawing/2014/chart" uri="{C3380CC4-5D6E-409C-BE32-E72D297353CC}">
                <c16:uniqueId val="{00000079-2993-41DE-A2CB-63102DE87051}"/>
              </c:ext>
            </c:extLst>
          </c:dPt>
          <c:dPt>
            <c:idx val="33"/>
            <c:invertIfNegative val="1"/>
            <c:bubble3D val="0"/>
            <c:spPr>
              <a:solidFill>
                <a:srgbClr val="AEABAB"/>
              </a:solidFill>
            </c:spPr>
            <c:extLst>
              <c:ext xmlns:c16="http://schemas.microsoft.com/office/drawing/2014/chart" uri="{C3380CC4-5D6E-409C-BE32-E72D297353CC}">
                <c16:uniqueId val="{0000007B-2993-41DE-A2CB-63102DE87051}"/>
              </c:ext>
            </c:extLst>
          </c:dPt>
          <c:dPt>
            <c:idx val="34"/>
            <c:invertIfNegative val="1"/>
            <c:bubble3D val="0"/>
            <c:spPr>
              <a:solidFill>
                <a:srgbClr val="AEABAB"/>
              </a:solidFill>
            </c:spPr>
            <c:extLst>
              <c:ext xmlns:c16="http://schemas.microsoft.com/office/drawing/2014/chart" uri="{C3380CC4-5D6E-409C-BE32-E72D297353CC}">
                <c16:uniqueId val="{0000007D-2993-41DE-A2CB-63102DE87051}"/>
              </c:ext>
            </c:extLst>
          </c:dPt>
          <c:dPt>
            <c:idx val="35"/>
            <c:invertIfNegative val="1"/>
            <c:bubble3D val="0"/>
            <c:spPr>
              <a:solidFill>
                <a:srgbClr val="AEABAB"/>
              </a:solidFill>
            </c:spPr>
            <c:extLst>
              <c:ext xmlns:c16="http://schemas.microsoft.com/office/drawing/2014/chart" uri="{C3380CC4-5D6E-409C-BE32-E72D297353CC}">
                <c16:uniqueId val="{0000007F-2993-41DE-A2CB-63102DE87051}"/>
              </c:ext>
            </c:extLst>
          </c:dPt>
          <c:dPt>
            <c:idx val="36"/>
            <c:invertIfNegative val="1"/>
            <c:bubble3D val="0"/>
            <c:spPr>
              <a:solidFill>
                <a:srgbClr val="AEABAB"/>
              </a:solidFill>
            </c:spPr>
            <c:extLst>
              <c:ext xmlns:c16="http://schemas.microsoft.com/office/drawing/2014/chart" uri="{C3380CC4-5D6E-409C-BE32-E72D297353CC}">
                <c16:uniqueId val="{00000081-2993-41DE-A2CB-63102DE87051}"/>
              </c:ext>
            </c:extLst>
          </c:dPt>
          <c:dPt>
            <c:idx val="37"/>
            <c:invertIfNegative val="1"/>
            <c:bubble3D val="0"/>
            <c:spPr>
              <a:solidFill>
                <a:srgbClr val="AEABAB"/>
              </a:solidFill>
            </c:spPr>
            <c:extLst>
              <c:ext xmlns:c16="http://schemas.microsoft.com/office/drawing/2014/chart" uri="{C3380CC4-5D6E-409C-BE32-E72D297353CC}">
                <c16:uniqueId val="{00000083-2993-41DE-A2CB-63102DE87051}"/>
              </c:ext>
            </c:extLst>
          </c:dPt>
          <c:dPt>
            <c:idx val="38"/>
            <c:invertIfNegative val="1"/>
            <c:bubble3D val="0"/>
            <c:spPr>
              <a:solidFill>
                <a:srgbClr val="AEABAB"/>
              </a:solidFill>
            </c:spPr>
            <c:extLst>
              <c:ext xmlns:c16="http://schemas.microsoft.com/office/drawing/2014/chart" uri="{C3380CC4-5D6E-409C-BE32-E72D297353CC}">
                <c16:uniqueId val="{00000085-2993-41DE-A2CB-63102DE87051}"/>
              </c:ext>
            </c:extLst>
          </c:dPt>
          <c:dPt>
            <c:idx val="39"/>
            <c:invertIfNegative val="1"/>
            <c:bubble3D val="0"/>
            <c:spPr>
              <a:solidFill>
                <a:srgbClr val="AEABAB"/>
              </a:solidFill>
            </c:spPr>
            <c:extLst>
              <c:ext xmlns:c16="http://schemas.microsoft.com/office/drawing/2014/chart" uri="{C3380CC4-5D6E-409C-BE32-E72D297353CC}">
                <c16:uniqueId val="{00000087-2993-41DE-A2CB-63102DE87051}"/>
              </c:ext>
            </c:extLst>
          </c:dPt>
          <c:dPt>
            <c:idx val="40"/>
            <c:invertIfNegative val="1"/>
            <c:bubble3D val="0"/>
            <c:spPr>
              <a:solidFill>
                <a:srgbClr val="AEABAB"/>
              </a:solidFill>
            </c:spPr>
            <c:extLst>
              <c:ext xmlns:c16="http://schemas.microsoft.com/office/drawing/2014/chart" uri="{C3380CC4-5D6E-409C-BE32-E72D297353CC}">
                <c16:uniqueId val="{00000089-2993-41DE-A2CB-63102DE87051}"/>
              </c:ext>
            </c:extLst>
          </c:dPt>
          <c:dPt>
            <c:idx val="41"/>
            <c:invertIfNegative val="1"/>
            <c:bubble3D val="0"/>
            <c:spPr>
              <a:solidFill>
                <a:srgbClr val="AEABAB"/>
              </a:solidFill>
            </c:spPr>
            <c:extLst>
              <c:ext xmlns:c16="http://schemas.microsoft.com/office/drawing/2014/chart" uri="{C3380CC4-5D6E-409C-BE32-E72D297353CC}">
                <c16:uniqueId val="{0000008B-2993-41DE-A2CB-63102DE87051}"/>
              </c:ext>
            </c:extLst>
          </c:dPt>
          <c:dPt>
            <c:idx val="42"/>
            <c:invertIfNegative val="1"/>
            <c:bubble3D val="0"/>
            <c:spPr>
              <a:solidFill>
                <a:srgbClr val="AEABAB"/>
              </a:solidFill>
            </c:spPr>
            <c:extLst>
              <c:ext xmlns:c16="http://schemas.microsoft.com/office/drawing/2014/chart" uri="{C3380CC4-5D6E-409C-BE32-E72D297353CC}">
                <c16:uniqueId val="{0000008D-2993-41DE-A2CB-63102DE87051}"/>
              </c:ext>
            </c:extLst>
          </c:dPt>
          <c:dPt>
            <c:idx val="43"/>
            <c:invertIfNegative val="1"/>
            <c:bubble3D val="0"/>
            <c:spPr>
              <a:solidFill>
                <a:srgbClr val="AEABAB"/>
              </a:solidFill>
            </c:spPr>
            <c:extLst>
              <c:ext xmlns:c16="http://schemas.microsoft.com/office/drawing/2014/chart" uri="{C3380CC4-5D6E-409C-BE32-E72D297353CC}">
                <c16:uniqueId val="{0000008F-2993-41DE-A2CB-63102DE87051}"/>
              </c:ext>
            </c:extLst>
          </c:dPt>
          <c:dPt>
            <c:idx val="44"/>
            <c:invertIfNegative val="1"/>
            <c:bubble3D val="0"/>
            <c:spPr>
              <a:solidFill>
                <a:srgbClr val="AEABAB"/>
              </a:solidFill>
            </c:spPr>
            <c:extLst>
              <c:ext xmlns:c16="http://schemas.microsoft.com/office/drawing/2014/chart" uri="{C3380CC4-5D6E-409C-BE32-E72D297353CC}">
                <c16:uniqueId val="{00000091-2993-41DE-A2CB-63102DE87051}"/>
              </c:ext>
            </c:extLst>
          </c:dPt>
          <c:dPt>
            <c:idx val="45"/>
            <c:invertIfNegative val="1"/>
            <c:bubble3D val="0"/>
            <c:spPr>
              <a:solidFill>
                <a:srgbClr val="AEABAB"/>
              </a:solidFill>
            </c:spPr>
            <c:extLst>
              <c:ext xmlns:c16="http://schemas.microsoft.com/office/drawing/2014/chart" uri="{C3380CC4-5D6E-409C-BE32-E72D297353CC}">
                <c16:uniqueId val="{00000093-2993-41DE-A2CB-63102DE87051}"/>
              </c:ext>
            </c:extLst>
          </c:dPt>
          <c:dPt>
            <c:idx val="46"/>
            <c:invertIfNegative val="1"/>
            <c:bubble3D val="0"/>
            <c:spPr>
              <a:solidFill>
                <a:srgbClr val="AEABAB"/>
              </a:solidFill>
            </c:spPr>
            <c:extLst>
              <c:ext xmlns:c16="http://schemas.microsoft.com/office/drawing/2014/chart" uri="{C3380CC4-5D6E-409C-BE32-E72D297353CC}">
                <c16:uniqueId val="{00000095-2993-41DE-A2CB-63102DE87051}"/>
              </c:ext>
            </c:extLst>
          </c:dPt>
          <c:dPt>
            <c:idx val="47"/>
            <c:invertIfNegative val="1"/>
            <c:bubble3D val="0"/>
            <c:spPr>
              <a:solidFill>
                <a:srgbClr val="AEABAB"/>
              </a:solidFill>
            </c:spPr>
            <c:extLst>
              <c:ext xmlns:c16="http://schemas.microsoft.com/office/drawing/2014/chart" uri="{C3380CC4-5D6E-409C-BE32-E72D297353CC}">
                <c16:uniqueId val="{00000097-2993-41DE-A2CB-63102DE87051}"/>
              </c:ext>
            </c:extLst>
          </c:dPt>
          <c:dPt>
            <c:idx val="48"/>
            <c:invertIfNegative val="1"/>
            <c:bubble3D val="0"/>
            <c:spPr>
              <a:solidFill>
                <a:srgbClr val="AEABAB"/>
              </a:solidFill>
            </c:spPr>
            <c:extLst>
              <c:ext xmlns:c16="http://schemas.microsoft.com/office/drawing/2014/chart" uri="{C3380CC4-5D6E-409C-BE32-E72D297353CC}">
                <c16:uniqueId val="{00000099-2993-41DE-A2CB-63102DE87051}"/>
              </c:ext>
            </c:extLst>
          </c:dPt>
          <c:dPt>
            <c:idx val="49"/>
            <c:invertIfNegative val="1"/>
            <c:bubble3D val="0"/>
            <c:spPr>
              <a:solidFill>
                <a:srgbClr val="AEABAB"/>
              </a:solidFill>
            </c:spPr>
            <c:extLst>
              <c:ext xmlns:c16="http://schemas.microsoft.com/office/drawing/2014/chart" uri="{C3380CC4-5D6E-409C-BE32-E72D297353CC}">
                <c16:uniqueId val="{0000009B-2993-41DE-A2CB-63102DE87051}"/>
              </c:ext>
            </c:extLst>
          </c:dPt>
          <c:dPt>
            <c:idx val="50"/>
            <c:invertIfNegative val="1"/>
            <c:bubble3D val="0"/>
            <c:spPr>
              <a:solidFill>
                <a:srgbClr val="AEABAB"/>
              </a:solidFill>
            </c:spPr>
            <c:extLst>
              <c:ext xmlns:c16="http://schemas.microsoft.com/office/drawing/2014/chart" uri="{C3380CC4-5D6E-409C-BE32-E72D297353CC}">
                <c16:uniqueId val="{0000009D-2993-41DE-A2CB-63102DE87051}"/>
              </c:ext>
            </c:extLst>
          </c:dPt>
          <c:dPt>
            <c:idx val="51"/>
            <c:invertIfNegative val="1"/>
            <c:bubble3D val="0"/>
            <c:spPr>
              <a:solidFill>
                <a:srgbClr val="AEABAB"/>
              </a:solidFill>
            </c:spPr>
            <c:extLst>
              <c:ext xmlns:c16="http://schemas.microsoft.com/office/drawing/2014/chart" uri="{C3380CC4-5D6E-409C-BE32-E72D297353CC}">
                <c16:uniqueId val="{0000009F-2993-41DE-A2CB-63102DE87051}"/>
              </c:ext>
            </c:extLst>
          </c:dPt>
          <c:dPt>
            <c:idx val="52"/>
            <c:invertIfNegative val="1"/>
            <c:bubble3D val="0"/>
            <c:spPr>
              <a:solidFill>
                <a:srgbClr val="AEABAB"/>
              </a:solidFill>
            </c:spPr>
            <c:extLst>
              <c:ext xmlns:c16="http://schemas.microsoft.com/office/drawing/2014/chart" uri="{C3380CC4-5D6E-409C-BE32-E72D297353CC}">
                <c16:uniqueId val="{000000A1-2993-41DE-A2CB-63102DE87051}"/>
              </c:ext>
            </c:extLst>
          </c:dPt>
          <c:dPt>
            <c:idx val="53"/>
            <c:invertIfNegative val="1"/>
            <c:bubble3D val="0"/>
            <c:spPr>
              <a:solidFill>
                <a:srgbClr val="AEABAB"/>
              </a:solidFill>
            </c:spPr>
            <c:extLst>
              <c:ext xmlns:c16="http://schemas.microsoft.com/office/drawing/2014/chart" uri="{C3380CC4-5D6E-409C-BE32-E72D297353CC}">
                <c16:uniqueId val="{000000A3-2993-41DE-A2CB-63102DE87051}"/>
              </c:ext>
            </c:extLst>
          </c:dPt>
          <c:dPt>
            <c:idx val="54"/>
            <c:invertIfNegative val="0"/>
            <c:bubble3D val="0"/>
            <c:spPr>
              <a:solidFill>
                <a:srgbClr val="AEABAB"/>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56</c:f>
              <c:strCache>
                <c:ptCount val="55"/>
                <c:pt idx="0">
                  <c:v>La Vache Qu</c:v>
                </c:pt>
                <c:pt idx="1">
                  <c:v>Mini Babybe</c:v>
                </c:pt>
                <c:pt idx="2">
                  <c:v>Mini Babybe</c:v>
                </c:pt>
                <c:pt idx="3">
                  <c:v>La Vache Qu</c:v>
                </c:pt>
                <c:pt idx="4">
                  <c:v>La Vache Qu</c:v>
                </c:pt>
                <c:pt idx="5">
                  <c:v>Kiri</c:v>
                </c:pt>
                <c:pt idx="6">
                  <c:v>Kiri</c:v>
                </c:pt>
                <c:pt idx="7">
                  <c:v>Ficello</c:v>
                </c:pt>
                <c:pt idx="8">
                  <c:v>Kiri</c:v>
                </c:pt>
                <c:pt idx="9">
                  <c:v>Kiri</c:v>
                </c:pt>
                <c:pt idx="10">
                  <c:v>Ficello</c:v>
                </c:pt>
                <c:pt idx="11">
                  <c:v>Kiri</c:v>
                </c:pt>
                <c:pt idx="12">
                  <c:v>La Vache Qu</c:v>
                </c:pt>
                <c:pt idx="13">
                  <c:v>Mini Babybe</c:v>
                </c:pt>
                <c:pt idx="14">
                  <c:v>La Vache Qu</c:v>
                </c:pt>
                <c:pt idx="15">
                  <c:v>Mini Babybe</c:v>
                </c:pt>
                <c:pt idx="16">
                  <c:v>Private Lab</c:v>
                </c:pt>
                <c:pt idx="17">
                  <c:v>La Vache Qu</c:v>
                </c:pt>
                <c:pt idx="18">
                  <c:v>Kiri</c:v>
                </c:pt>
                <c:pt idx="19">
                  <c:v>P'Tit Louis</c:v>
                </c:pt>
                <c:pt idx="20">
                  <c:v>Mini Babybe</c:v>
                </c:pt>
                <c:pt idx="21">
                  <c:v>Private Lab</c:v>
                </c:pt>
                <c:pt idx="22">
                  <c:v>Mini Babybe</c:v>
                </c:pt>
                <c:pt idx="23">
                  <c:v>Ficello</c:v>
                </c:pt>
                <c:pt idx="24">
                  <c:v>Mini Babybe</c:v>
                </c:pt>
                <c:pt idx="25">
                  <c:v>Private Lab</c:v>
                </c:pt>
                <c:pt idx="26">
                  <c:v>P'Tit Louis</c:v>
                </c:pt>
                <c:pt idx="27">
                  <c:v>Mini Babybe</c:v>
                </c:pt>
                <c:pt idx="28">
                  <c:v>La Vache Qu</c:v>
                </c:pt>
                <c:pt idx="29">
                  <c:v>P'Tit Louis</c:v>
                </c:pt>
                <c:pt idx="30">
                  <c:v>La Vache Qu</c:v>
                </c:pt>
                <c:pt idx="31">
                  <c:v>Private Lab</c:v>
                </c:pt>
                <c:pt idx="32">
                  <c:v>Ficello</c:v>
                </c:pt>
                <c:pt idx="33">
                  <c:v>Private Lab</c:v>
                </c:pt>
                <c:pt idx="34">
                  <c:v>Kiri</c:v>
                </c:pt>
                <c:pt idx="35">
                  <c:v>Mini Babybe</c:v>
                </c:pt>
                <c:pt idx="36">
                  <c:v>Private Lab</c:v>
                </c:pt>
                <c:pt idx="37">
                  <c:v>Mini Babybe</c:v>
                </c:pt>
                <c:pt idx="38">
                  <c:v>La Vache Qu</c:v>
                </c:pt>
                <c:pt idx="39">
                  <c:v>Mini Babybe</c:v>
                </c:pt>
                <c:pt idx="40">
                  <c:v>Ficello</c:v>
                </c:pt>
                <c:pt idx="41">
                  <c:v>Private Lab</c:v>
                </c:pt>
                <c:pt idx="42">
                  <c:v>Mini Babybe</c:v>
                </c:pt>
                <c:pt idx="43">
                  <c:v>Private Lab</c:v>
                </c:pt>
                <c:pt idx="44">
                  <c:v>P'Tit Louis</c:v>
                </c:pt>
                <c:pt idx="45">
                  <c:v>Mini Babybe</c:v>
                </c:pt>
                <c:pt idx="46">
                  <c:v>Mini Babybe</c:v>
                </c:pt>
                <c:pt idx="47">
                  <c:v>La Vache Qu</c:v>
                </c:pt>
                <c:pt idx="48">
                  <c:v>La Vache Qu</c:v>
                </c:pt>
                <c:pt idx="49">
                  <c:v>Kiri</c:v>
                </c:pt>
                <c:pt idx="50">
                  <c:v>Mini Babybe</c:v>
                </c:pt>
                <c:pt idx="51">
                  <c:v>Lactalis: A</c:v>
                </c:pt>
                <c:pt idx="52">
                  <c:v>Mini Babybe</c:v>
                </c:pt>
                <c:pt idx="53">
                  <c:v>Ficello</c:v>
                </c:pt>
                <c:pt idx="54">
                  <c:v>Mini Babybe</c:v>
                </c:pt>
              </c:strCache>
            </c:strRef>
          </c:cat>
          <c:val>
            <c:numRef>
              <c:f>Sheet1!$C$2:$C$56</c:f>
              <c:numCache>
                <c:formatCode>General</c:formatCode>
                <c:ptCount val="55"/>
                <c:pt idx="0">
                  <c:v>0.1241101125242158</c:v>
                </c:pt>
                <c:pt idx="1">
                  <c:v>0.21455621213171716</c:v>
                </c:pt>
                <c:pt idx="2">
                  <c:v>0.28940398610699886</c:v>
                </c:pt>
                <c:pt idx="3">
                  <c:v>0.35797733744769644</c:v>
                </c:pt>
                <c:pt idx="4">
                  <c:v>0.4246102266745974</c:v>
                </c:pt>
                <c:pt idx="5">
                  <c:v>0.49101282280199066</c:v>
                </c:pt>
                <c:pt idx="6">
                  <c:v>0.5405400686714267</c:v>
                </c:pt>
                <c:pt idx="7">
                  <c:v>0.5840639544972209</c:v>
                </c:pt>
                <c:pt idx="8">
                  <c:v>0.6215486287127029</c:v>
                </c:pt>
                <c:pt idx="9">
                  <c:v>0.655846236017522</c:v>
                </c:pt>
                <c:pt idx="10">
                  <c:v>0.6885099178708662</c:v>
                </c:pt>
                <c:pt idx="11">
                  <c:v>0.7309374944555379</c:v>
                </c:pt>
                <c:pt idx="12">
                  <c:v>0.7495837904696449</c:v>
                </c:pt>
                <c:pt idx="13">
                  <c:v>0.7677052631693742</c:v>
                </c:pt>
                <c:pt idx="14">
                  <c:v>0.8011130931012023</c:v>
                </c:pt>
                <c:pt idx="15">
                  <c:v>0.8167221249193156</c:v>
                </c:pt>
                <c:pt idx="16">
                  <c:v>0.8322523860533609</c:v>
                </c:pt>
                <c:pt idx="17">
                  <c:v>0.8469739998440524</c:v>
                </c:pt>
                <c:pt idx="18">
                  <c:v>0.8592718212306455</c:v>
                </c:pt>
                <c:pt idx="19">
                  <c:v>0.8699610722661465</c:v>
                </c:pt>
                <c:pt idx="20">
                  <c:v>0.8804285762760902</c:v>
                </c:pt>
                <c:pt idx="21">
                  <c:v>0.8902577252628697</c:v>
                </c:pt>
                <c:pt idx="22">
                  <c:v>0.9084649732815123</c:v>
                </c:pt>
                <c:pt idx="23">
                  <c:v>0.9212517978737534</c:v>
                </c:pt>
                <c:pt idx="24">
                  <c:v>0.9270682138604777</c:v>
                </c:pt>
                <c:pt idx="25">
                  <c:v>0.9327727863812448</c:v>
                </c:pt>
                <c:pt idx="26">
                  <c:v>0.9436673214532209</c:v>
                </c:pt>
                <c:pt idx="27">
                  <c:v>0.9485915482914835</c:v>
                </c:pt>
                <c:pt idx="28">
                  <c:v>0.953236082577011</c:v>
                </c:pt>
                <c:pt idx="29">
                  <c:v>0.9578181309058875</c:v>
                </c:pt>
                <c:pt idx="30">
                  <c:v>0.9616456290638153</c:v>
                </c:pt>
                <c:pt idx="31">
                  <c:v>0.9654551542514965</c:v>
                </c:pt>
                <c:pt idx="32">
                  <c:v>0.972546675929562</c:v>
                </c:pt>
                <c:pt idx="33">
                  <c:v>0.9757960400492302</c:v>
                </c:pt>
                <c:pt idx="34">
                  <c:v>0.9789373671137928</c:v>
                </c:pt>
                <c:pt idx="35">
                  <c:v>0.9845414524852756</c:v>
                </c:pt>
                <c:pt idx="36">
                  <c:v>0.9869708129449172</c:v>
                </c:pt>
                <c:pt idx="37">
                  <c:v>0.9886364270288805</c:v>
                </c:pt>
                <c:pt idx="38">
                  <c:v>0.9902946484967273</c:v>
                </c:pt>
                <c:pt idx="39">
                  <c:v>0.9918904049798839</c:v>
                </c:pt>
                <c:pt idx="40">
                  <c:v>0.9933655097736253</c:v>
                </c:pt>
                <c:pt idx="41">
                  <c:v>0.9957648593576275</c:v>
                </c:pt>
                <c:pt idx="42">
                  <c:v>0.9966581180760805</c:v>
                </c:pt>
                <c:pt idx="43">
                  <c:v>0.9973535378040767</c:v>
                </c:pt>
                <c:pt idx="44">
                  <c:v>0.9979525913730493</c:v>
                </c:pt>
                <c:pt idx="45">
                  <c:v>0.998388000733347</c:v>
                </c:pt>
                <c:pt idx="46">
                  <c:v>0.9987427414471411</c:v>
                </c:pt>
                <c:pt idx="47">
                  <c:v>0.9990578032114527</c:v>
                </c:pt>
                <c:pt idx="48">
                  <c:v>0.9993043390944563</c:v>
                </c:pt>
                <c:pt idx="49">
                  <c:v>0.9994829467970295</c:v>
                </c:pt>
                <c:pt idx="50">
                  <c:v>0.9998126574758303</c:v>
                </c:pt>
                <c:pt idx="51">
                  <c:v>0.999900666308549</c:v>
                </c:pt>
                <c:pt idx="52">
                  <c:v>0.9999798564318294</c:v>
                </c:pt>
                <c:pt idx="53">
                  <c:v>0.9999993079252993</c:v>
                </c:pt>
                <c:pt idx="54">
                  <c:v>0.9999996015327479</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President</c:v>
                </c:pt>
                <c:pt idx="2">
                  <c:v>Soignon</c:v>
                </c:pt>
                <c:pt idx="3">
                  <c:v>Caprice Des Dieux</c:v>
                </c:pt>
                <c:pt idx="4">
                  <c:v>St Moret</c:v>
                </c:pt>
                <c:pt idx="5">
                  <c:v>La Vache Qui Rit</c:v>
                </c:pt>
                <c:pt idx="6">
                  <c:v>Coeur De Lion</c:v>
                </c:pt>
                <c:pt idx="7">
                  <c:v>Kiri</c:v>
                </c:pt>
                <c:pt idx="8">
                  <c:v>Boursin</c:v>
                </c:pt>
                <c:pt idx="9">
                  <c:v>Others</c:v>
                </c:pt>
              </c:strCache>
            </c:strRef>
          </c:cat>
          <c:val>
            <c:numRef>
              <c:f>Sheet1!$B$2:$B$11</c:f>
              <c:numCache>
                <c:formatCode>General</c:formatCode>
                <c:ptCount val="10"/>
                <c:pt idx="0">
                  <c:v>0.3490072175593365</c:v>
                </c:pt>
                <c:pt idx="1">
                  <c:v>0.052351736412255725</c:v>
                </c:pt>
                <c:pt idx="2">
                  <c:v>0.045591739771515725</c:v>
                </c:pt>
                <c:pt idx="3">
                  <c:v>0.04310353010895785</c:v>
                </c:pt>
                <c:pt idx="4">
                  <c:v>0.04101911802146264</c:v>
                </c:pt>
                <c:pt idx="5">
                  <c:v>0.04037205633115434</c:v>
                </c:pt>
                <c:pt idx="6">
                  <c:v>0.03397264217168262</c:v>
                </c:pt>
                <c:pt idx="7">
                  <c:v>0.030232792796173455</c:v>
                </c:pt>
                <c:pt idx="8">
                  <c:v>0.02041301274926095</c:v>
                </c:pt>
                <c:pt idx="9">
                  <c:v>0.3439361540782003</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President</c:v>
                </c:pt>
                <c:pt idx="2">
                  <c:v>Soignon</c:v>
                </c:pt>
                <c:pt idx="3">
                  <c:v>Caprice Des Dieux</c:v>
                </c:pt>
                <c:pt idx="4">
                  <c:v>St Moret</c:v>
                </c:pt>
                <c:pt idx="5">
                  <c:v>La Vache Qui Rit</c:v>
                </c:pt>
                <c:pt idx="6">
                  <c:v>Coeur De Lion</c:v>
                </c:pt>
                <c:pt idx="7">
                  <c:v>Kiri</c:v>
                </c:pt>
                <c:pt idx="8">
                  <c:v>Boursin</c:v>
                </c:pt>
                <c:pt idx="9">
                  <c:v>Others</c:v>
                </c:pt>
              </c:strCache>
            </c:strRef>
          </c:cat>
          <c:val>
            <c:numRef>
              <c:f>Sheet1!$C$2:$C$11</c:f>
              <c:numCache>
                <c:formatCode>General</c:formatCode>
                <c:ptCount val="10"/>
                <c:pt idx="0">
                  <c:v>0.18009438602963795</c:v>
                </c:pt>
                <c:pt idx="1">
                  <c:v>0.03722150484740414</c:v>
                </c:pt>
                <c:pt idx="2">
                  <c:v>0.031633667425034345</c:v>
                </c:pt>
                <c:pt idx="3">
                  <c:v>0.02531820697288325</c:v>
                </c:pt>
                <c:pt idx="4">
                  <c:v>0.03184375576461909</c:v>
                </c:pt>
                <c:pt idx="5">
                  <c:v>0.02055278853840006</c:v>
                </c:pt>
                <c:pt idx="6">
                  <c:v>0.01825206501465495</c:v>
                </c:pt>
                <c:pt idx="7">
                  <c:v>0.02297905265531166</c:v>
                </c:pt>
                <c:pt idx="8">
                  <c:v>0.03651950234684049</c:v>
                </c:pt>
                <c:pt idx="9">
                  <c:v>0.5955850704052146</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President</c:v>
                </c:pt>
                <c:pt idx="2">
                  <c:v>Soignon</c:v>
                </c:pt>
                <c:pt idx="3">
                  <c:v>Caprice Des Dieux</c:v>
                </c:pt>
                <c:pt idx="4">
                  <c:v>St Moret</c:v>
                </c:pt>
                <c:pt idx="5">
                  <c:v>La Vache Qui Rit</c:v>
                </c:pt>
                <c:pt idx="6">
                  <c:v>Coeur De Lion</c:v>
                </c:pt>
                <c:pt idx="7">
                  <c:v>Kiri</c:v>
                </c:pt>
                <c:pt idx="8">
                  <c:v>Boursin</c:v>
                </c:pt>
                <c:pt idx="9">
                  <c:v>Others</c:v>
                </c:pt>
              </c:strCache>
            </c:strRef>
          </c:cat>
          <c:val>
            <c:numRef>
              <c:f>Sheet1!$D$2:$D$11</c:f>
              <c:numCache>
                <c:formatCode>General</c:formatCode>
                <c:ptCount val="10"/>
                <c:pt idx="0">
                  <c:v>51.60190877686338</c:v>
                </c:pt>
                <c:pt idx="1">
                  <c:v>71.09889260271119</c:v>
                </c:pt>
                <c:pt idx="2">
                  <c:v>69.3846463933321</c:v>
                </c:pt>
                <c:pt idx="3">
                  <c:v>58.73812866111765</c:v>
                </c:pt>
                <c:pt idx="4">
                  <c:v>77.63149794678014</c:v>
                </c:pt>
                <c:pt idx="5">
                  <c:v>50.90845105786664</c:v>
                </c:pt>
                <c:pt idx="6">
                  <c:v>53.7257741756356</c:v>
                </c:pt>
                <c:pt idx="7">
                  <c:v>76.00704576065532</c:v>
                </c:pt>
                <c:pt idx="8">
                  <c:v>178.90304971353467</c:v>
                </c:pt>
                <c:pt idx="9">
                  <c:v>173.16733450179746</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40</c:f>
              <c:strCache>
                <c:ptCount val="39"/>
                <c:pt idx="0">
                  <c:v>Mini Babybe</c:v>
                </c:pt>
                <c:pt idx="1">
                  <c:v>La Vache Qu</c:v>
                </c:pt>
                <c:pt idx="2">
                  <c:v>La Vache Qu</c:v>
                </c:pt>
                <c:pt idx="3">
                  <c:v>Mini Babybe</c:v>
                </c:pt>
                <c:pt idx="4">
                  <c:v>La Vache Qu</c:v>
                </c:pt>
                <c:pt idx="5">
                  <c:v>Kiri</c:v>
                </c:pt>
                <c:pt idx="6">
                  <c:v>Private Lab</c:v>
                </c:pt>
                <c:pt idx="7">
                  <c:v>Private Lab</c:v>
                </c:pt>
                <c:pt idx="8">
                  <c:v>Kiri</c:v>
                </c:pt>
                <c:pt idx="9">
                  <c:v>Ficello</c:v>
                </c:pt>
                <c:pt idx="10">
                  <c:v>Kiri</c:v>
                </c:pt>
                <c:pt idx="11">
                  <c:v>Kiri</c:v>
                </c:pt>
                <c:pt idx="12">
                  <c:v>Kiri</c:v>
                </c:pt>
                <c:pt idx="13">
                  <c:v>Mini Babybe</c:v>
                </c:pt>
                <c:pt idx="14">
                  <c:v>Ficello</c:v>
                </c:pt>
                <c:pt idx="15">
                  <c:v>Private Lab</c:v>
                </c:pt>
                <c:pt idx="16">
                  <c:v>La Vache Qu</c:v>
                </c:pt>
                <c:pt idx="17">
                  <c:v>Ficello</c:v>
                </c:pt>
                <c:pt idx="18">
                  <c:v>P'Tit Louis</c:v>
                </c:pt>
                <c:pt idx="19">
                  <c:v>La Vache Qu</c:v>
                </c:pt>
                <c:pt idx="20">
                  <c:v>Private Lab</c:v>
                </c:pt>
                <c:pt idx="21">
                  <c:v>La Vache Qu</c:v>
                </c:pt>
                <c:pt idx="22">
                  <c:v>Mini Babybe</c:v>
                </c:pt>
                <c:pt idx="23">
                  <c:v>Mini Babybe</c:v>
                </c:pt>
                <c:pt idx="24">
                  <c:v>La Vache Qu</c:v>
                </c:pt>
                <c:pt idx="25">
                  <c:v>Kiri</c:v>
                </c:pt>
                <c:pt idx="26">
                  <c:v>Kiri</c:v>
                </c:pt>
                <c:pt idx="27">
                  <c:v>Mini Babybe</c:v>
                </c:pt>
                <c:pt idx="28">
                  <c:v>Mini Babybe</c:v>
                </c:pt>
                <c:pt idx="29">
                  <c:v>Kiri</c:v>
                </c:pt>
                <c:pt idx="30">
                  <c:v>P'Tit Louis</c:v>
                </c:pt>
                <c:pt idx="31">
                  <c:v>Mini Babybe</c:v>
                </c:pt>
                <c:pt idx="32">
                  <c:v>Mini Babybe</c:v>
                </c:pt>
                <c:pt idx="33">
                  <c:v>La Vache Qu</c:v>
                </c:pt>
                <c:pt idx="34">
                  <c:v>Mini Babybe</c:v>
                </c:pt>
                <c:pt idx="35">
                  <c:v>Mini Babybe</c:v>
                </c:pt>
                <c:pt idx="36">
                  <c:v>La Vache Qu</c:v>
                </c:pt>
                <c:pt idx="37">
                  <c:v>Private Lab</c:v>
                </c:pt>
                <c:pt idx="38">
                  <c:v>Private Lab</c:v>
                </c:pt>
              </c:strCache>
            </c:strRef>
          </c:cat>
          <c:val>
            <c:numRef>
              <c:f>Sheet1!$B$2:$B$40</c:f>
              <c:numCache>
                <c:formatCode>General</c:formatCode>
                <c:ptCount val="39"/>
                <c:pt idx="0">
                  <c:v>0.986</c:v>
                </c:pt>
                <c:pt idx="1">
                  <c:v>0.947</c:v>
                </c:pt>
                <c:pt idx="2">
                  <c:v>0.998</c:v>
                </c:pt>
                <c:pt idx="3">
                  <c:v>0.998</c:v>
                </c:pt>
                <c:pt idx="4">
                  <c:v>0.941</c:v>
                </c:pt>
                <c:pt idx="5">
                  <c:v>0.975</c:v>
                </c:pt>
                <c:pt idx="6">
                  <c:v>0.987</c:v>
                </c:pt>
                <c:pt idx="7">
                  <c:v>0.986</c:v>
                </c:pt>
                <c:pt idx="8">
                  <c:v>0.861</c:v>
                </c:pt>
                <c:pt idx="9">
                  <c:v>0.708</c:v>
                </c:pt>
                <c:pt idx="10">
                  <c:v>0.932</c:v>
                </c:pt>
                <c:pt idx="11">
                  <c:v>0.983</c:v>
                </c:pt>
                <c:pt idx="12">
                  <c:v>0.981</c:v>
                </c:pt>
                <c:pt idx="13">
                  <c:v>0.852</c:v>
                </c:pt>
                <c:pt idx="14">
                  <c:v>0.949</c:v>
                </c:pt>
                <c:pt idx="15">
                  <c:v>0.972</c:v>
                </c:pt>
                <c:pt idx="16">
                  <c:v>0.955</c:v>
                </c:pt>
                <c:pt idx="17">
                  <c:v>0.897</c:v>
                </c:pt>
                <c:pt idx="18">
                  <c:v>0.908</c:v>
                </c:pt>
                <c:pt idx="19">
                  <c:v>0.848</c:v>
                </c:pt>
                <c:pt idx="20">
                  <c:v>0.921</c:v>
                </c:pt>
                <c:pt idx="21">
                  <c:v>0.841</c:v>
                </c:pt>
                <c:pt idx="22">
                  <c:v>0.785</c:v>
                </c:pt>
                <c:pt idx="23">
                  <c:v>0.81</c:v>
                </c:pt>
                <c:pt idx="24">
                  <c:v>0.679</c:v>
                </c:pt>
                <c:pt idx="25">
                  <c:v>0.603</c:v>
                </c:pt>
                <c:pt idx="26">
                  <c:v>0.672</c:v>
                </c:pt>
                <c:pt idx="27">
                  <c:v>0.71</c:v>
                </c:pt>
                <c:pt idx="28">
                  <c:v>0.876</c:v>
                </c:pt>
                <c:pt idx="29">
                  <c:v>0.817</c:v>
                </c:pt>
                <c:pt idx="30">
                  <c:v>0.375</c:v>
                </c:pt>
                <c:pt idx="31">
                  <c:v>0.739</c:v>
                </c:pt>
                <c:pt idx="32">
                  <c:v>0.585</c:v>
                </c:pt>
                <c:pt idx="33">
                  <c:v>0.231</c:v>
                </c:pt>
                <c:pt idx="34">
                  <c:v>0.114</c:v>
                </c:pt>
                <c:pt idx="35">
                  <c:v>0.312</c:v>
                </c:pt>
                <c:pt idx="36">
                  <c:v>0.112</c:v>
                </c:pt>
                <c:pt idx="37">
                  <c:v>0.002</c:v>
                </c:pt>
                <c:pt idx="38">
                  <c:v>0.008</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Item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7ECAC4"/>
              </a:solidFill>
            </c:spPr>
            <c:extLst>
              <c:ext xmlns:c16="http://schemas.microsoft.com/office/drawing/2014/chart" uri="{C3380CC4-5D6E-409C-BE32-E72D297353CC}">
                <c16:uniqueId val="{00000055-2993-41DE-A2CB-63102DE87051}"/>
              </c:ext>
            </c:extLst>
          </c:dPt>
          <c:dPt>
            <c:idx val="15"/>
            <c:invertIfNegative val="1"/>
            <c:bubble3D val="0"/>
            <c:spPr>
              <a:solidFill>
                <a:srgbClr val="7ECAC4"/>
              </a:solidFill>
            </c:spPr>
            <c:extLst>
              <c:ext xmlns:c16="http://schemas.microsoft.com/office/drawing/2014/chart" uri="{C3380CC4-5D6E-409C-BE32-E72D297353CC}">
                <c16:uniqueId val="{00000057-2993-41DE-A2CB-63102DE87051}"/>
              </c:ext>
            </c:extLst>
          </c:dPt>
          <c:dPt>
            <c:idx val="16"/>
            <c:invertIfNegative val="1"/>
            <c:bubble3D val="0"/>
            <c:spPr>
              <a:solidFill>
                <a:srgbClr val="7ECAC4"/>
              </a:solidFill>
            </c:spPr>
            <c:extLst>
              <c:ext xmlns:c16="http://schemas.microsoft.com/office/drawing/2014/chart" uri="{C3380CC4-5D6E-409C-BE32-E72D297353CC}">
                <c16:uniqueId val="{00000059-2993-41DE-A2CB-63102DE87051}"/>
              </c:ext>
            </c:extLst>
          </c:dPt>
          <c:dPt>
            <c:idx val="17"/>
            <c:invertIfNegative val="1"/>
            <c:bubble3D val="0"/>
            <c:spPr>
              <a:solidFill>
                <a:srgbClr val="7ECAC4"/>
              </a:solidFill>
            </c:spPr>
            <c:extLst>
              <c:ext xmlns:c16="http://schemas.microsoft.com/office/drawing/2014/chart" uri="{C3380CC4-5D6E-409C-BE32-E72D297353CC}">
                <c16:uniqueId val="{0000005B-2993-41DE-A2CB-63102DE87051}"/>
              </c:ext>
            </c:extLst>
          </c:dPt>
          <c:dPt>
            <c:idx val="18"/>
            <c:invertIfNegative val="1"/>
            <c:bubble3D val="0"/>
            <c:spPr>
              <a:solidFill>
                <a:srgbClr val="7ECAC4"/>
              </a:solidFill>
            </c:spPr>
            <c:extLst>
              <c:ext xmlns:c16="http://schemas.microsoft.com/office/drawing/2014/chart" uri="{C3380CC4-5D6E-409C-BE32-E72D297353CC}">
                <c16:uniqueId val="{0000005D-2993-41DE-A2CB-63102DE87051}"/>
              </c:ext>
            </c:extLst>
          </c:dPt>
          <c:dPt>
            <c:idx val="19"/>
            <c:invertIfNegative val="1"/>
            <c:bubble3D val="0"/>
            <c:spPr>
              <a:solidFill>
                <a:srgbClr val="7ECAC4"/>
              </a:solidFill>
            </c:spPr>
            <c:extLst>
              <c:ext xmlns:c16="http://schemas.microsoft.com/office/drawing/2014/chart" uri="{C3380CC4-5D6E-409C-BE32-E72D297353CC}">
                <c16:uniqueId val="{0000005F-2993-41DE-A2CB-63102DE87051}"/>
              </c:ext>
            </c:extLst>
          </c:dPt>
          <c:dPt>
            <c:idx val="20"/>
            <c:invertIfNegative val="1"/>
            <c:bubble3D val="0"/>
            <c:spPr>
              <a:solidFill>
                <a:srgbClr val="7ECAC4"/>
              </a:solidFill>
            </c:spPr>
            <c:extLst>
              <c:ext xmlns:c16="http://schemas.microsoft.com/office/drawing/2014/chart" uri="{C3380CC4-5D6E-409C-BE32-E72D297353CC}">
                <c16:uniqueId val="{00000061-2993-41DE-A2CB-63102DE87051}"/>
              </c:ext>
            </c:extLst>
          </c:dPt>
          <c:dPt>
            <c:idx val="21"/>
            <c:invertIfNegative val="1"/>
            <c:bubble3D val="0"/>
            <c:spPr>
              <a:solidFill>
                <a:srgbClr val="7ECAC4"/>
              </a:solidFill>
            </c:spPr>
            <c:extLst>
              <c:ext xmlns:c16="http://schemas.microsoft.com/office/drawing/2014/chart" uri="{C3380CC4-5D6E-409C-BE32-E72D297353CC}">
                <c16:uniqueId val="{00000063-2993-41DE-A2CB-63102DE87051}"/>
              </c:ext>
            </c:extLst>
          </c:dPt>
          <c:dPt>
            <c:idx val="22"/>
            <c:invertIfNegative val="1"/>
            <c:bubble3D val="0"/>
            <c:spPr>
              <a:solidFill>
                <a:srgbClr val="AEABAB"/>
              </a:solidFill>
            </c:spPr>
            <c:extLst>
              <c:ext xmlns:c16="http://schemas.microsoft.com/office/drawing/2014/chart" uri="{C3380CC4-5D6E-409C-BE32-E72D297353CC}">
                <c16:uniqueId val="{00000065-2993-41DE-A2CB-63102DE87051}"/>
              </c:ext>
            </c:extLst>
          </c:dPt>
          <c:dPt>
            <c:idx val="23"/>
            <c:invertIfNegative val="1"/>
            <c:bubble3D val="0"/>
            <c:spPr>
              <a:solidFill>
                <a:srgbClr val="AEABAB"/>
              </a:solidFill>
            </c:spPr>
            <c:extLst>
              <c:ext xmlns:c16="http://schemas.microsoft.com/office/drawing/2014/chart" uri="{C3380CC4-5D6E-409C-BE32-E72D297353CC}">
                <c16:uniqueId val="{00000067-2993-41DE-A2CB-63102DE87051}"/>
              </c:ext>
            </c:extLst>
          </c:dPt>
          <c:dPt>
            <c:idx val="24"/>
            <c:invertIfNegative val="1"/>
            <c:bubble3D val="0"/>
            <c:spPr>
              <a:solidFill>
                <a:srgbClr val="AEABAB"/>
              </a:solidFill>
            </c:spPr>
            <c:extLst>
              <c:ext xmlns:c16="http://schemas.microsoft.com/office/drawing/2014/chart" uri="{C3380CC4-5D6E-409C-BE32-E72D297353CC}">
                <c16:uniqueId val="{00000069-2993-41DE-A2CB-63102DE87051}"/>
              </c:ext>
            </c:extLst>
          </c:dPt>
          <c:dPt>
            <c:idx val="25"/>
            <c:invertIfNegative val="1"/>
            <c:bubble3D val="0"/>
            <c:spPr>
              <a:solidFill>
                <a:srgbClr val="AEABAB"/>
              </a:solidFill>
            </c:spPr>
            <c:extLst>
              <c:ext xmlns:c16="http://schemas.microsoft.com/office/drawing/2014/chart" uri="{C3380CC4-5D6E-409C-BE32-E72D297353CC}">
                <c16:uniqueId val="{0000006B-2993-41DE-A2CB-63102DE87051}"/>
              </c:ext>
            </c:extLst>
          </c:dPt>
          <c:dPt>
            <c:idx val="26"/>
            <c:invertIfNegative val="1"/>
            <c:bubble3D val="0"/>
            <c:spPr>
              <a:solidFill>
                <a:srgbClr val="AEABAB"/>
              </a:solidFill>
            </c:spPr>
            <c:extLst>
              <c:ext xmlns:c16="http://schemas.microsoft.com/office/drawing/2014/chart" uri="{C3380CC4-5D6E-409C-BE32-E72D297353CC}">
                <c16:uniqueId val="{0000006D-2993-41DE-A2CB-63102DE87051}"/>
              </c:ext>
            </c:extLst>
          </c:dPt>
          <c:dPt>
            <c:idx val="27"/>
            <c:invertIfNegative val="1"/>
            <c:bubble3D val="0"/>
            <c:spPr>
              <a:solidFill>
                <a:srgbClr val="AEABAB"/>
              </a:solidFill>
            </c:spPr>
            <c:extLst>
              <c:ext xmlns:c16="http://schemas.microsoft.com/office/drawing/2014/chart" uri="{C3380CC4-5D6E-409C-BE32-E72D297353CC}">
                <c16:uniqueId val="{0000006F-2993-41DE-A2CB-63102DE87051}"/>
              </c:ext>
            </c:extLst>
          </c:dPt>
          <c:dPt>
            <c:idx val="28"/>
            <c:invertIfNegative val="1"/>
            <c:bubble3D val="0"/>
            <c:spPr>
              <a:solidFill>
                <a:srgbClr val="AEABAB"/>
              </a:solidFill>
            </c:spPr>
            <c:extLst>
              <c:ext xmlns:c16="http://schemas.microsoft.com/office/drawing/2014/chart" uri="{C3380CC4-5D6E-409C-BE32-E72D297353CC}">
                <c16:uniqueId val="{00000071-2993-41DE-A2CB-63102DE87051}"/>
              </c:ext>
            </c:extLst>
          </c:dPt>
          <c:dPt>
            <c:idx val="29"/>
            <c:invertIfNegative val="1"/>
            <c:bubble3D val="0"/>
            <c:spPr>
              <a:solidFill>
                <a:srgbClr val="AEABAB"/>
              </a:solidFill>
            </c:spPr>
            <c:extLst>
              <c:ext xmlns:c16="http://schemas.microsoft.com/office/drawing/2014/chart" uri="{C3380CC4-5D6E-409C-BE32-E72D297353CC}">
                <c16:uniqueId val="{00000073-2993-41DE-A2CB-63102DE87051}"/>
              </c:ext>
            </c:extLst>
          </c:dPt>
          <c:dPt>
            <c:idx val="30"/>
            <c:invertIfNegative val="1"/>
            <c:bubble3D val="0"/>
            <c:spPr>
              <a:solidFill>
                <a:srgbClr val="AEABAB"/>
              </a:solidFill>
            </c:spPr>
            <c:extLst>
              <c:ext xmlns:c16="http://schemas.microsoft.com/office/drawing/2014/chart" uri="{C3380CC4-5D6E-409C-BE32-E72D297353CC}">
                <c16:uniqueId val="{00000075-2993-41DE-A2CB-63102DE87051}"/>
              </c:ext>
            </c:extLst>
          </c:dPt>
          <c:dPt>
            <c:idx val="31"/>
            <c:invertIfNegative val="1"/>
            <c:bubble3D val="0"/>
            <c:spPr>
              <a:solidFill>
                <a:srgbClr val="AEABAB"/>
              </a:solidFill>
            </c:spPr>
            <c:extLst>
              <c:ext xmlns:c16="http://schemas.microsoft.com/office/drawing/2014/chart" uri="{C3380CC4-5D6E-409C-BE32-E72D297353CC}">
                <c16:uniqueId val="{00000077-2993-41DE-A2CB-63102DE87051}"/>
              </c:ext>
            </c:extLst>
          </c:dPt>
          <c:dPt>
            <c:idx val="32"/>
            <c:invertIfNegative val="1"/>
            <c:bubble3D val="0"/>
            <c:spPr>
              <a:solidFill>
                <a:srgbClr val="AEABAB"/>
              </a:solidFill>
            </c:spPr>
            <c:extLst>
              <c:ext xmlns:c16="http://schemas.microsoft.com/office/drawing/2014/chart" uri="{C3380CC4-5D6E-409C-BE32-E72D297353CC}">
                <c16:uniqueId val="{00000079-2993-41DE-A2CB-63102DE87051}"/>
              </c:ext>
            </c:extLst>
          </c:dPt>
          <c:dPt>
            <c:idx val="33"/>
            <c:invertIfNegative val="1"/>
            <c:bubble3D val="0"/>
            <c:spPr>
              <a:solidFill>
                <a:srgbClr val="AEABAB"/>
              </a:solidFill>
            </c:spPr>
            <c:extLst>
              <c:ext xmlns:c16="http://schemas.microsoft.com/office/drawing/2014/chart" uri="{C3380CC4-5D6E-409C-BE32-E72D297353CC}">
                <c16:uniqueId val="{0000007B-2993-41DE-A2CB-63102DE87051}"/>
              </c:ext>
            </c:extLst>
          </c:dPt>
          <c:dPt>
            <c:idx val="34"/>
            <c:invertIfNegative val="1"/>
            <c:bubble3D val="0"/>
            <c:spPr>
              <a:solidFill>
                <a:srgbClr val="AEABAB"/>
              </a:solidFill>
            </c:spPr>
            <c:extLst>
              <c:ext xmlns:c16="http://schemas.microsoft.com/office/drawing/2014/chart" uri="{C3380CC4-5D6E-409C-BE32-E72D297353CC}">
                <c16:uniqueId val="{0000007D-2993-41DE-A2CB-63102DE87051}"/>
              </c:ext>
            </c:extLst>
          </c:dPt>
          <c:dPt>
            <c:idx val="35"/>
            <c:invertIfNegative val="1"/>
            <c:bubble3D val="0"/>
            <c:spPr>
              <a:solidFill>
                <a:srgbClr val="AEABAB"/>
              </a:solidFill>
            </c:spPr>
            <c:extLst>
              <c:ext xmlns:c16="http://schemas.microsoft.com/office/drawing/2014/chart" uri="{C3380CC4-5D6E-409C-BE32-E72D297353CC}">
                <c16:uniqueId val="{0000007F-2993-41DE-A2CB-63102DE87051}"/>
              </c:ext>
            </c:extLst>
          </c:dPt>
          <c:dPt>
            <c:idx val="36"/>
            <c:invertIfNegative val="1"/>
            <c:bubble3D val="0"/>
            <c:spPr>
              <a:solidFill>
                <a:srgbClr val="AEABAB"/>
              </a:solidFill>
            </c:spPr>
            <c:extLst>
              <c:ext xmlns:c16="http://schemas.microsoft.com/office/drawing/2014/chart" uri="{C3380CC4-5D6E-409C-BE32-E72D297353CC}">
                <c16:uniqueId val="{00000081-2993-41DE-A2CB-63102DE87051}"/>
              </c:ext>
            </c:extLst>
          </c:dPt>
          <c:dPt>
            <c:idx val="37"/>
            <c:invertIfNegative val="1"/>
            <c:bubble3D val="0"/>
            <c:spPr>
              <a:solidFill>
                <a:srgbClr val="AEABAB"/>
              </a:solidFill>
            </c:spPr>
            <c:extLst>
              <c:ext xmlns:c16="http://schemas.microsoft.com/office/drawing/2014/chart" uri="{C3380CC4-5D6E-409C-BE32-E72D297353CC}">
                <c16:uniqueId val="{00000083-2993-41DE-A2CB-63102DE87051}"/>
              </c:ext>
            </c:extLst>
          </c:dPt>
          <c:dPt>
            <c:idx val="38"/>
            <c:invertIfNegative val="1"/>
            <c:bubble3D val="0"/>
            <c:spPr>
              <a:solidFill>
                <a:srgbClr val="AEABAB"/>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40</c:f>
              <c:strCache>
                <c:ptCount val="39"/>
                <c:pt idx="0">
                  <c:v>Mini Babybe</c:v>
                </c:pt>
                <c:pt idx="1">
                  <c:v>La Vache Qu</c:v>
                </c:pt>
                <c:pt idx="2">
                  <c:v>La Vache Qu</c:v>
                </c:pt>
                <c:pt idx="3">
                  <c:v>Mini Babybe</c:v>
                </c:pt>
                <c:pt idx="4">
                  <c:v>La Vache Qu</c:v>
                </c:pt>
                <c:pt idx="5">
                  <c:v>Kiri</c:v>
                </c:pt>
                <c:pt idx="6">
                  <c:v>Private Lab</c:v>
                </c:pt>
                <c:pt idx="7">
                  <c:v>Private Lab</c:v>
                </c:pt>
                <c:pt idx="8">
                  <c:v>Kiri</c:v>
                </c:pt>
                <c:pt idx="9">
                  <c:v>Ficello</c:v>
                </c:pt>
                <c:pt idx="10">
                  <c:v>Kiri</c:v>
                </c:pt>
                <c:pt idx="11">
                  <c:v>Kiri</c:v>
                </c:pt>
                <c:pt idx="12">
                  <c:v>Kiri</c:v>
                </c:pt>
                <c:pt idx="13">
                  <c:v>Mini Babybe</c:v>
                </c:pt>
                <c:pt idx="14">
                  <c:v>Ficello</c:v>
                </c:pt>
                <c:pt idx="15">
                  <c:v>Private Lab</c:v>
                </c:pt>
                <c:pt idx="16">
                  <c:v>La Vache Qu</c:v>
                </c:pt>
                <c:pt idx="17">
                  <c:v>Ficello</c:v>
                </c:pt>
                <c:pt idx="18">
                  <c:v>P'Tit Louis</c:v>
                </c:pt>
                <c:pt idx="19">
                  <c:v>La Vache Qu</c:v>
                </c:pt>
                <c:pt idx="20">
                  <c:v>Private Lab</c:v>
                </c:pt>
                <c:pt idx="21">
                  <c:v>La Vache Qu</c:v>
                </c:pt>
                <c:pt idx="22">
                  <c:v>Mini Babybe</c:v>
                </c:pt>
                <c:pt idx="23">
                  <c:v>Mini Babybe</c:v>
                </c:pt>
                <c:pt idx="24">
                  <c:v>La Vache Qu</c:v>
                </c:pt>
                <c:pt idx="25">
                  <c:v>Kiri</c:v>
                </c:pt>
                <c:pt idx="26">
                  <c:v>Kiri</c:v>
                </c:pt>
                <c:pt idx="27">
                  <c:v>Mini Babybe</c:v>
                </c:pt>
                <c:pt idx="28">
                  <c:v>Mini Babybe</c:v>
                </c:pt>
                <c:pt idx="29">
                  <c:v>Kiri</c:v>
                </c:pt>
                <c:pt idx="30">
                  <c:v>P'Tit Louis</c:v>
                </c:pt>
                <c:pt idx="31">
                  <c:v>Mini Babybe</c:v>
                </c:pt>
                <c:pt idx="32">
                  <c:v>Mini Babybe</c:v>
                </c:pt>
                <c:pt idx="33">
                  <c:v>La Vache Qu</c:v>
                </c:pt>
                <c:pt idx="34">
                  <c:v>Mini Babybe</c:v>
                </c:pt>
                <c:pt idx="35">
                  <c:v>Mini Babybe</c:v>
                </c:pt>
                <c:pt idx="36">
                  <c:v>La Vache Qu</c:v>
                </c:pt>
                <c:pt idx="37">
                  <c:v>Private Lab</c:v>
                </c:pt>
                <c:pt idx="38">
                  <c:v>Private Lab</c:v>
                </c:pt>
              </c:strCache>
            </c:strRef>
          </c:cat>
          <c:val>
            <c:numRef>
              <c:f>Sheet1!$C$2:$C$40</c:f>
              <c:numCache>
                <c:formatCode>General</c:formatCode>
                <c:ptCount val="39"/>
                <c:pt idx="0">
                  <c:v>0.13057577620431085</c:v>
                </c:pt>
                <c:pt idx="1">
                  <c:v>0.22919935419116685</c:v>
                </c:pt>
                <c:pt idx="2">
                  <c:v>0.31006427872319997</c:v>
                </c:pt>
                <c:pt idx="3">
                  <c:v>0.3790130820628279</c:v>
                </c:pt>
                <c:pt idx="4">
                  <c:v>0.4435214049463479</c:v>
                </c:pt>
                <c:pt idx="5">
                  <c:v>0.5020393576280741</c:v>
                </c:pt>
                <c:pt idx="6">
                  <c:v>0.5586315843110593</c:v>
                </c:pt>
                <c:pt idx="7">
                  <c:v>0.608076122927135</c:v>
                </c:pt>
                <c:pt idx="8">
                  <c:v>0.6570802192049555</c:v>
                </c:pt>
                <c:pt idx="9">
                  <c:v>0.694412140672623</c:v>
                </c:pt>
                <c:pt idx="10">
                  <c:v>0.7282687220414934</c:v>
                </c:pt>
                <c:pt idx="11">
                  <c:v>0.7615412628250363</c:v>
                </c:pt>
                <c:pt idx="12">
                  <c:v>0.7880485541638542</c:v>
                </c:pt>
                <c:pt idx="13">
                  <c:v>0.8127956906454824</c:v>
                </c:pt>
                <c:pt idx="14">
                  <c:v>0.8345737955460758</c:v>
                </c:pt>
                <c:pt idx="15">
                  <c:v>0.8554030231815086</c:v>
                </c:pt>
                <c:pt idx="16">
                  <c:v>0.873281792500953</c:v>
                </c:pt>
                <c:pt idx="17">
                  <c:v>0.890297987889286</c:v>
                </c:pt>
                <c:pt idx="18">
                  <c:v>0.9070347704910169</c:v>
                </c:pt>
                <c:pt idx="19">
                  <c:v>0.9234434691635364</c:v>
                </c:pt>
                <c:pt idx="20">
                  <c:v>0.9356174371535182</c:v>
                </c:pt>
                <c:pt idx="21">
                  <c:v>0.9469921509513172</c:v>
                </c:pt>
                <c:pt idx="22">
                  <c:v>0.9557413270005891</c:v>
                </c:pt>
                <c:pt idx="23">
                  <c:v>0.9634346490284263</c:v>
                </c:pt>
                <c:pt idx="24">
                  <c:v>0.9694421748891712</c:v>
                </c:pt>
                <c:pt idx="25">
                  <c:v>0.975054621806714</c:v>
                </c:pt>
                <c:pt idx="26">
                  <c:v>0.9799095814079593</c:v>
                </c:pt>
                <c:pt idx="27">
                  <c:v>0.9843649467280691</c:v>
                </c:pt>
                <c:pt idx="28">
                  <c:v>0.9880666968966789</c:v>
                </c:pt>
                <c:pt idx="29">
                  <c:v>0.9916667469539253</c:v>
                </c:pt>
                <c:pt idx="30">
                  <c:v>0.9949201266909315</c:v>
                </c:pt>
                <c:pt idx="31">
                  <c:v>0.9978060839295787</c:v>
                </c:pt>
                <c:pt idx="32">
                  <c:v>0.9988779647754811</c:v>
                </c:pt>
                <c:pt idx="33">
                  <c:v>0.9992797773476363</c:v>
                </c:pt>
                <c:pt idx="34">
                  <c:v>0.999646464790983</c:v>
                </c:pt>
                <c:pt idx="35">
                  <c:v>0.9999645992255617</c:v>
                </c:pt>
                <c:pt idx="36">
                  <c:v>0.9999784865149037</c:v>
                </c:pt>
                <c:pt idx="37">
                  <c:v>0.9999887510331131</c:v>
                </c:pt>
                <c:pt idx="38">
                  <c:v>0.9999946839771421</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55</c:f>
              <c:strCache>
                <c:ptCount val="54"/>
                <c:pt idx="0">
                  <c:v>La Vache Qu</c:v>
                </c:pt>
                <c:pt idx="1">
                  <c:v>Mini Babybe</c:v>
                </c:pt>
                <c:pt idx="2">
                  <c:v>Kiri</c:v>
                </c:pt>
                <c:pt idx="3">
                  <c:v>La Vache Qu</c:v>
                </c:pt>
                <c:pt idx="4">
                  <c:v>Ficello</c:v>
                </c:pt>
                <c:pt idx="5">
                  <c:v>Mini Babybe</c:v>
                </c:pt>
                <c:pt idx="6">
                  <c:v>Kiri</c:v>
                </c:pt>
                <c:pt idx="7">
                  <c:v>La Vache Qu</c:v>
                </c:pt>
                <c:pt idx="8">
                  <c:v>Kiri</c:v>
                </c:pt>
                <c:pt idx="9">
                  <c:v>Kiri</c:v>
                </c:pt>
                <c:pt idx="10">
                  <c:v>Kiri</c:v>
                </c:pt>
                <c:pt idx="11">
                  <c:v>Mini Babybe</c:v>
                </c:pt>
                <c:pt idx="12">
                  <c:v>Mini Babybe</c:v>
                </c:pt>
                <c:pt idx="13">
                  <c:v>La Vache Qu</c:v>
                </c:pt>
                <c:pt idx="14">
                  <c:v>Kiri</c:v>
                </c:pt>
                <c:pt idx="15">
                  <c:v>La Vache Qu</c:v>
                </c:pt>
                <c:pt idx="16">
                  <c:v>Ficello</c:v>
                </c:pt>
                <c:pt idx="17">
                  <c:v>Mini Babybe</c:v>
                </c:pt>
                <c:pt idx="18">
                  <c:v>La Vache Qu</c:v>
                </c:pt>
                <c:pt idx="19">
                  <c:v>Private Lab</c:v>
                </c:pt>
                <c:pt idx="20">
                  <c:v>Mini Babybe</c:v>
                </c:pt>
                <c:pt idx="21">
                  <c:v>Private Lab</c:v>
                </c:pt>
                <c:pt idx="22">
                  <c:v>La Vache Qu</c:v>
                </c:pt>
                <c:pt idx="23">
                  <c:v>Private Lab</c:v>
                </c:pt>
                <c:pt idx="24">
                  <c:v>P'Tit Louis</c:v>
                </c:pt>
                <c:pt idx="25">
                  <c:v>Ficello</c:v>
                </c:pt>
                <c:pt idx="26">
                  <c:v>P'Tit Louis</c:v>
                </c:pt>
                <c:pt idx="27">
                  <c:v>Mini Babybe</c:v>
                </c:pt>
                <c:pt idx="28">
                  <c:v>P'Tit Louis</c:v>
                </c:pt>
                <c:pt idx="29">
                  <c:v>Mini Babybe</c:v>
                </c:pt>
                <c:pt idx="30">
                  <c:v>La Vache Qu</c:v>
                </c:pt>
                <c:pt idx="31">
                  <c:v>Private Lab</c:v>
                </c:pt>
                <c:pt idx="32">
                  <c:v>Ficello</c:v>
                </c:pt>
                <c:pt idx="33">
                  <c:v>Private Lab</c:v>
                </c:pt>
                <c:pt idx="34">
                  <c:v>Mini Babybe</c:v>
                </c:pt>
                <c:pt idx="35">
                  <c:v>Kiri</c:v>
                </c:pt>
                <c:pt idx="36">
                  <c:v>Ficello</c:v>
                </c:pt>
                <c:pt idx="37">
                  <c:v>Mini Babybe</c:v>
                </c:pt>
                <c:pt idx="38">
                  <c:v>Private Lab</c:v>
                </c:pt>
                <c:pt idx="39">
                  <c:v>Mini Babybe</c:v>
                </c:pt>
                <c:pt idx="40">
                  <c:v>Mini Babybe</c:v>
                </c:pt>
                <c:pt idx="41">
                  <c:v>La Vache Qu</c:v>
                </c:pt>
                <c:pt idx="42">
                  <c:v>Private Lab</c:v>
                </c:pt>
                <c:pt idx="43">
                  <c:v>Mini Babybe</c:v>
                </c:pt>
                <c:pt idx="44">
                  <c:v>P'Tit Louis</c:v>
                </c:pt>
                <c:pt idx="45">
                  <c:v>La Vache Qu</c:v>
                </c:pt>
                <c:pt idx="46">
                  <c:v>Private Lab</c:v>
                </c:pt>
                <c:pt idx="47">
                  <c:v>Kiri</c:v>
                </c:pt>
                <c:pt idx="48">
                  <c:v>Mini Babybe</c:v>
                </c:pt>
                <c:pt idx="49">
                  <c:v>Mini Babybe</c:v>
                </c:pt>
                <c:pt idx="50">
                  <c:v>Mini Babybe</c:v>
                </c:pt>
                <c:pt idx="51">
                  <c:v>Lactalis: A</c:v>
                </c:pt>
                <c:pt idx="52">
                  <c:v>Ficello</c:v>
                </c:pt>
                <c:pt idx="53">
                  <c:v>Mini Babybe</c:v>
                </c:pt>
              </c:strCache>
            </c:strRef>
          </c:cat>
          <c:val>
            <c:numRef>
              <c:f>Sheet1!$B$2:$B$55</c:f>
              <c:numCache>
                <c:formatCode>General</c:formatCode>
                <c:ptCount val="54"/>
                <c:pt idx="0">
                  <c:v>0.99</c:v>
                </c:pt>
                <c:pt idx="1">
                  <c:v>1.0</c:v>
                </c:pt>
                <c:pt idx="2">
                  <c:v>0.99</c:v>
                </c:pt>
                <c:pt idx="3">
                  <c:v>1.0</c:v>
                </c:pt>
                <c:pt idx="4">
                  <c:v>1.0</c:v>
                </c:pt>
                <c:pt idx="5">
                  <c:v>1.0</c:v>
                </c:pt>
                <c:pt idx="6">
                  <c:v>1.0</c:v>
                </c:pt>
                <c:pt idx="7">
                  <c:v>1.0</c:v>
                </c:pt>
                <c:pt idx="8">
                  <c:v>1.0</c:v>
                </c:pt>
                <c:pt idx="9">
                  <c:v>1.0</c:v>
                </c:pt>
                <c:pt idx="10">
                  <c:v>0.99</c:v>
                </c:pt>
                <c:pt idx="11">
                  <c:v>0.97</c:v>
                </c:pt>
                <c:pt idx="12">
                  <c:v>1.0</c:v>
                </c:pt>
                <c:pt idx="13">
                  <c:v>0.94</c:v>
                </c:pt>
                <c:pt idx="14">
                  <c:v>0.98</c:v>
                </c:pt>
                <c:pt idx="15">
                  <c:v>0.94</c:v>
                </c:pt>
                <c:pt idx="16">
                  <c:v>1.0</c:v>
                </c:pt>
                <c:pt idx="17">
                  <c:v>0.99</c:v>
                </c:pt>
                <c:pt idx="18">
                  <c:v>1.0</c:v>
                </c:pt>
                <c:pt idx="19">
                  <c:v>1.0</c:v>
                </c:pt>
                <c:pt idx="20">
                  <c:v>0.94</c:v>
                </c:pt>
                <c:pt idx="21">
                  <c:v>1.0</c:v>
                </c:pt>
                <c:pt idx="22">
                  <c:v>0.95</c:v>
                </c:pt>
                <c:pt idx="23">
                  <c:v>0.95</c:v>
                </c:pt>
                <c:pt idx="24">
                  <c:v>0.99</c:v>
                </c:pt>
                <c:pt idx="25">
                  <c:v>0.97</c:v>
                </c:pt>
                <c:pt idx="26">
                  <c:v>0.99</c:v>
                </c:pt>
                <c:pt idx="27">
                  <c:v>0.96</c:v>
                </c:pt>
                <c:pt idx="28">
                  <c:v>0.95</c:v>
                </c:pt>
                <c:pt idx="29">
                  <c:v>0.92</c:v>
                </c:pt>
                <c:pt idx="30">
                  <c:v>0.86</c:v>
                </c:pt>
                <c:pt idx="31">
                  <c:v>0.93</c:v>
                </c:pt>
                <c:pt idx="32">
                  <c:v>0.93</c:v>
                </c:pt>
                <c:pt idx="33">
                  <c:v>0.93</c:v>
                </c:pt>
                <c:pt idx="34">
                  <c:v>0.96</c:v>
                </c:pt>
                <c:pt idx="35">
                  <c:v>0.75</c:v>
                </c:pt>
                <c:pt idx="36">
                  <c:v>0.99</c:v>
                </c:pt>
                <c:pt idx="37">
                  <c:v>0.88</c:v>
                </c:pt>
                <c:pt idx="38">
                  <c:v>0.99</c:v>
                </c:pt>
                <c:pt idx="39">
                  <c:v>0.94</c:v>
                </c:pt>
                <c:pt idx="40">
                  <c:v>0.7</c:v>
                </c:pt>
                <c:pt idx="41">
                  <c:v>0.82</c:v>
                </c:pt>
                <c:pt idx="42">
                  <c:v>0.83</c:v>
                </c:pt>
                <c:pt idx="43">
                  <c:v>0.68</c:v>
                </c:pt>
                <c:pt idx="44">
                  <c:v>0.72</c:v>
                </c:pt>
                <c:pt idx="45">
                  <c:v>0.08</c:v>
                </c:pt>
                <c:pt idx="46">
                  <c:v>0.65</c:v>
                </c:pt>
                <c:pt idx="47">
                  <c:v>0.56</c:v>
                </c:pt>
                <c:pt idx="48">
                  <c:v>0.21</c:v>
                </c:pt>
                <c:pt idx="49">
                  <c:v>0.67</c:v>
                </c:pt>
                <c:pt idx="50">
                  <c:v>0.05</c:v>
                </c:pt>
                <c:pt idx="51">
                  <c:v>0.01</c:v>
                </c:pt>
                <c:pt idx="52">
                  <c:v>0.01</c:v>
                </c:pt>
                <c:pt idx="53">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Item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7ECAC4"/>
              </a:solidFill>
            </c:spPr>
            <c:extLst>
              <c:ext xmlns:c16="http://schemas.microsoft.com/office/drawing/2014/chart" uri="{C3380CC4-5D6E-409C-BE32-E72D297353CC}">
                <c16:uniqueId val="{0000005B-2993-41DE-A2CB-63102DE87051}"/>
              </c:ext>
            </c:extLst>
          </c:dPt>
          <c:dPt>
            <c:idx val="18"/>
            <c:invertIfNegative val="1"/>
            <c:bubble3D val="0"/>
            <c:spPr>
              <a:solidFill>
                <a:srgbClr val="7ECAC4"/>
              </a:solidFill>
            </c:spPr>
            <c:extLst>
              <c:ext xmlns:c16="http://schemas.microsoft.com/office/drawing/2014/chart" uri="{C3380CC4-5D6E-409C-BE32-E72D297353CC}">
                <c16:uniqueId val="{0000005D-2993-41DE-A2CB-63102DE87051}"/>
              </c:ext>
            </c:extLst>
          </c:dPt>
          <c:dPt>
            <c:idx val="19"/>
            <c:invertIfNegative val="1"/>
            <c:bubble3D val="0"/>
            <c:spPr>
              <a:solidFill>
                <a:srgbClr val="7ECAC4"/>
              </a:solidFill>
            </c:spPr>
            <c:extLst>
              <c:ext xmlns:c16="http://schemas.microsoft.com/office/drawing/2014/chart" uri="{C3380CC4-5D6E-409C-BE32-E72D297353CC}">
                <c16:uniqueId val="{0000005F-2993-41DE-A2CB-63102DE87051}"/>
              </c:ext>
            </c:extLst>
          </c:dPt>
          <c:dPt>
            <c:idx val="20"/>
            <c:invertIfNegative val="1"/>
            <c:bubble3D val="0"/>
            <c:spPr>
              <a:solidFill>
                <a:srgbClr val="7ECAC4"/>
              </a:solidFill>
            </c:spPr>
            <c:extLst>
              <c:ext xmlns:c16="http://schemas.microsoft.com/office/drawing/2014/chart" uri="{C3380CC4-5D6E-409C-BE32-E72D297353CC}">
                <c16:uniqueId val="{00000061-2993-41DE-A2CB-63102DE87051}"/>
              </c:ext>
            </c:extLst>
          </c:dPt>
          <c:dPt>
            <c:idx val="21"/>
            <c:invertIfNegative val="1"/>
            <c:bubble3D val="0"/>
            <c:spPr>
              <a:solidFill>
                <a:srgbClr val="7ECAC4"/>
              </a:solidFill>
            </c:spPr>
            <c:extLst>
              <c:ext xmlns:c16="http://schemas.microsoft.com/office/drawing/2014/chart" uri="{C3380CC4-5D6E-409C-BE32-E72D297353CC}">
                <c16:uniqueId val="{00000063-2993-41DE-A2CB-63102DE87051}"/>
              </c:ext>
            </c:extLst>
          </c:dPt>
          <c:dPt>
            <c:idx val="22"/>
            <c:invertIfNegative val="1"/>
            <c:bubble3D val="0"/>
            <c:spPr>
              <a:solidFill>
                <a:srgbClr val="7ECAC4"/>
              </a:solidFill>
            </c:spPr>
            <c:extLst>
              <c:ext xmlns:c16="http://schemas.microsoft.com/office/drawing/2014/chart" uri="{C3380CC4-5D6E-409C-BE32-E72D297353CC}">
                <c16:uniqueId val="{00000065-2993-41DE-A2CB-63102DE87051}"/>
              </c:ext>
            </c:extLst>
          </c:dPt>
          <c:dPt>
            <c:idx val="23"/>
            <c:invertIfNegative val="1"/>
            <c:bubble3D val="0"/>
            <c:spPr>
              <a:solidFill>
                <a:srgbClr val="7ECAC4"/>
              </a:solidFill>
            </c:spPr>
            <c:extLst>
              <c:ext xmlns:c16="http://schemas.microsoft.com/office/drawing/2014/chart" uri="{C3380CC4-5D6E-409C-BE32-E72D297353CC}">
                <c16:uniqueId val="{00000067-2993-41DE-A2CB-63102DE87051}"/>
              </c:ext>
            </c:extLst>
          </c:dPt>
          <c:dPt>
            <c:idx val="24"/>
            <c:invertIfNegative val="1"/>
            <c:bubble3D val="0"/>
            <c:spPr>
              <a:solidFill>
                <a:srgbClr val="7ECAC4"/>
              </a:solidFill>
            </c:spPr>
            <c:extLst>
              <c:ext xmlns:c16="http://schemas.microsoft.com/office/drawing/2014/chart" uri="{C3380CC4-5D6E-409C-BE32-E72D297353CC}">
                <c16:uniqueId val="{00000069-2993-41DE-A2CB-63102DE87051}"/>
              </c:ext>
            </c:extLst>
          </c:dPt>
          <c:dPt>
            <c:idx val="25"/>
            <c:invertIfNegative val="1"/>
            <c:bubble3D val="0"/>
            <c:spPr>
              <a:solidFill>
                <a:srgbClr val="7ECAC4"/>
              </a:solidFill>
            </c:spPr>
            <c:extLst>
              <c:ext xmlns:c16="http://schemas.microsoft.com/office/drawing/2014/chart" uri="{C3380CC4-5D6E-409C-BE32-E72D297353CC}">
                <c16:uniqueId val="{0000006B-2993-41DE-A2CB-63102DE87051}"/>
              </c:ext>
            </c:extLst>
          </c:dPt>
          <c:dPt>
            <c:idx val="26"/>
            <c:invertIfNegative val="1"/>
            <c:bubble3D val="0"/>
            <c:spPr>
              <a:solidFill>
                <a:srgbClr val="7ECAC4"/>
              </a:solidFill>
            </c:spPr>
            <c:extLst>
              <c:ext xmlns:c16="http://schemas.microsoft.com/office/drawing/2014/chart" uri="{C3380CC4-5D6E-409C-BE32-E72D297353CC}">
                <c16:uniqueId val="{0000006D-2993-41DE-A2CB-63102DE87051}"/>
              </c:ext>
            </c:extLst>
          </c:dPt>
          <c:dPt>
            <c:idx val="27"/>
            <c:invertIfNegative val="1"/>
            <c:bubble3D val="0"/>
            <c:spPr>
              <a:solidFill>
                <a:srgbClr val="7ECAC4"/>
              </a:solidFill>
            </c:spPr>
            <c:extLst>
              <c:ext xmlns:c16="http://schemas.microsoft.com/office/drawing/2014/chart" uri="{C3380CC4-5D6E-409C-BE32-E72D297353CC}">
                <c16:uniqueId val="{0000006F-2993-41DE-A2CB-63102DE87051}"/>
              </c:ext>
            </c:extLst>
          </c:dPt>
          <c:dPt>
            <c:idx val="28"/>
            <c:invertIfNegative val="1"/>
            <c:bubble3D val="0"/>
            <c:spPr>
              <a:solidFill>
                <a:srgbClr val="7ECAC4"/>
              </a:solidFill>
            </c:spPr>
            <c:extLst>
              <c:ext xmlns:c16="http://schemas.microsoft.com/office/drawing/2014/chart" uri="{C3380CC4-5D6E-409C-BE32-E72D297353CC}">
                <c16:uniqueId val="{00000071-2993-41DE-A2CB-63102DE87051}"/>
              </c:ext>
            </c:extLst>
          </c:dPt>
          <c:dPt>
            <c:idx val="29"/>
            <c:invertIfNegative val="1"/>
            <c:bubble3D val="0"/>
            <c:spPr>
              <a:solidFill>
                <a:srgbClr val="AEABAB"/>
              </a:solidFill>
            </c:spPr>
            <c:extLst>
              <c:ext xmlns:c16="http://schemas.microsoft.com/office/drawing/2014/chart" uri="{C3380CC4-5D6E-409C-BE32-E72D297353CC}">
                <c16:uniqueId val="{00000073-2993-41DE-A2CB-63102DE87051}"/>
              </c:ext>
            </c:extLst>
          </c:dPt>
          <c:dPt>
            <c:idx val="30"/>
            <c:invertIfNegative val="1"/>
            <c:bubble3D val="0"/>
            <c:spPr>
              <a:solidFill>
                <a:srgbClr val="AEABAB"/>
              </a:solidFill>
            </c:spPr>
            <c:extLst>
              <c:ext xmlns:c16="http://schemas.microsoft.com/office/drawing/2014/chart" uri="{C3380CC4-5D6E-409C-BE32-E72D297353CC}">
                <c16:uniqueId val="{00000075-2993-41DE-A2CB-63102DE87051}"/>
              </c:ext>
            </c:extLst>
          </c:dPt>
          <c:dPt>
            <c:idx val="31"/>
            <c:invertIfNegative val="1"/>
            <c:bubble3D val="0"/>
            <c:spPr>
              <a:solidFill>
                <a:srgbClr val="AEABAB"/>
              </a:solidFill>
            </c:spPr>
            <c:extLst>
              <c:ext xmlns:c16="http://schemas.microsoft.com/office/drawing/2014/chart" uri="{C3380CC4-5D6E-409C-BE32-E72D297353CC}">
                <c16:uniqueId val="{00000077-2993-41DE-A2CB-63102DE87051}"/>
              </c:ext>
            </c:extLst>
          </c:dPt>
          <c:dPt>
            <c:idx val="32"/>
            <c:invertIfNegative val="1"/>
            <c:bubble3D val="0"/>
            <c:spPr>
              <a:solidFill>
                <a:srgbClr val="AEABAB"/>
              </a:solidFill>
            </c:spPr>
            <c:extLst>
              <c:ext xmlns:c16="http://schemas.microsoft.com/office/drawing/2014/chart" uri="{C3380CC4-5D6E-409C-BE32-E72D297353CC}">
                <c16:uniqueId val="{00000079-2993-41DE-A2CB-63102DE87051}"/>
              </c:ext>
            </c:extLst>
          </c:dPt>
          <c:dPt>
            <c:idx val="33"/>
            <c:invertIfNegative val="1"/>
            <c:bubble3D val="0"/>
            <c:spPr>
              <a:solidFill>
                <a:srgbClr val="AEABAB"/>
              </a:solidFill>
            </c:spPr>
            <c:extLst>
              <c:ext xmlns:c16="http://schemas.microsoft.com/office/drawing/2014/chart" uri="{C3380CC4-5D6E-409C-BE32-E72D297353CC}">
                <c16:uniqueId val="{0000007B-2993-41DE-A2CB-63102DE87051}"/>
              </c:ext>
            </c:extLst>
          </c:dPt>
          <c:dPt>
            <c:idx val="34"/>
            <c:invertIfNegative val="1"/>
            <c:bubble3D val="0"/>
            <c:spPr>
              <a:solidFill>
                <a:srgbClr val="AEABAB"/>
              </a:solidFill>
            </c:spPr>
            <c:extLst>
              <c:ext xmlns:c16="http://schemas.microsoft.com/office/drawing/2014/chart" uri="{C3380CC4-5D6E-409C-BE32-E72D297353CC}">
                <c16:uniqueId val="{0000007D-2993-41DE-A2CB-63102DE87051}"/>
              </c:ext>
            </c:extLst>
          </c:dPt>
          <c:dPt>
            <c:idx val="35"/>
            <c:invertIfNegative val="1"/>
            <c:bubble3D val="0"/>
            <c:spPr>
              <a:solidFill>
                <a:srgbClr val="AEABAB"/>
              </a:solidFill>
            </c:spPr>
            <c:extLst>
              <c:ext xmlns:c16="http://schemas.microsoft.com/office/drawing/2014/chart" uri="{C3380CC4-5D6E-409C-BE32-E72D297353CC}">
                <c16:uniqueId val="{0000007F-2993-41DE-A2CB-63102DE87051}"/>
              </c:ext>
            </c:extLst>
          </c:dPt>
          <c:dPt>
            <c:idx val="36"/>
            <c:invertIfNegative val="1"/>
            <c:bubble3D val="0"/>
            <c:spPr>
              <a:solidFill>
                <a:srgbClr val="AEABAB"/>
              </a:solidFill>
            </c:spPr>
            <c:extLst>
              <c:ext xmlns:c16="http://schemas.microsoft.com/office/drawing/2014/chart" uri="{C3380CC4-5D6E-409C-BE32-E72D297353CC}">
                <c16:uniqueId val="{00000081-2993-41DE-A2CB-63102DE87051}"/>
              </c:ext>
            </c:extLst>
          </c:dPt>
          <c:dPt>
            <c:idx val="37"/>
            <c:invertIfNegative val="1"/>
            <c:bubble3D val="0"/>
            <c:spPr>
              <a:solidFill>
                <a:srgbClr val="AEABAB"/>
              </a:solidFill>
            </c:spPr>
            <c:extLst>
              <c:ext xmlns:c16="http://schemas.microsoft.com/office/drawing/2014/chart" uri="{C3380CC4-5D6E-409C-BE32-E72D297353CC}">
                <c16:uniqueId val="{00000083-2993-41DE-A2CB-63102DE87051}"/>
              </c:ext>
            </c:extLst>
          </c:dPt>
          <c:dPt>
            <c:idx val="38"/>
            <c:invertIfNegative val="1"/>
            <c:bubble3D val="0"/>
            <c:spPr>
              <a:solidFill>
                <a:srgbClr val="AEABAB"/>
              </a:solidFill>
            </c:spPr>
            <c:extLst>
              <c:ext xmlns:c16="http://schemas.microsoft.com/office/drawing/2014/chart" uri="{C3380CC4-5D6E-409C-BE32-E72D297353CC}">
                <c16:uniqueId val="{00000085-2993-41DE-A2CB-63102DE87051}"/>
              </c:ext>
            </c:extLst>
          </c:dPt>
          <c:dPt>
            <c:idx val="39"/>
            <c:invertIfNegative val="1"/>
            <c:bubble3D val="0"/>
            <c:spPr>
              <a:solidFill>
                <a:srgbClr val="AEABAB"/>
              </a:solidFill>
            </c:spPr>
            <c:extLst>
              <c:ext xmlns:c16="http://schemas.microsoft.com/office/drawing/2014/chart" uri="{C3380CC4-5D6E-409C-BE32-E72D297353CC}">
                <c16:uniqueId val="{00000087-2993-41DE-A2CB-63102DE87051}"/>
              </c:ext>
            </c:extLst>
          </c:dPt>
          <c:dPt>
            <c:idx val="40"/>
            <c:invertIfNegative val="1"/>
            <c:bubble3D val="0"/>
            <c:spPr>
              <a:solidFill>
                <a:srgbClr val="AEABAB"/>
              </a:solidFill>
            </c:spPr>
            <c:extLst>
              <c:ext xmlns:c16="http://schemas.microsoft.com/office/drawing/2014/chart" uri="{C3380CC4-5D6E-409C-BE32-E72D297353CC}">
                <c16:uniqueId val="{00000089-2993-41DE-A2CB-63102DE87051}"/>
              </c:ext>
            </c:extLst>
          </c:dPt>
          <c:dPt>
            <c:idx val="41"/>
            <c:invertIfNegative val="1"/>
            <c:bubble3D val="0"/>
            <c:spPr>
              <a:solidFill>
                <a:srgbClr val="AEABAB"/>
              </a:solidFill>
            </c:spPr>
            <c:extLst>
              <c:ext xmlns:c16="http://schemas.microsoft.com/office/drawing/2014/chart" uri="{C3380CC4-5D6E-409C-BE32-E72D297353CC}">
                <c16:uniqueId val="{0000008B-2993-41DE-A2CB-63102DE87051}"/>
              </c:ext>
            </c:extLst>
          </c:dPt>
          <c:dPt>
            <c:idx val="42"/>
            <c:invertIfNegative val="1"/>
            <c:bubble3D val="0"/>
            <c:spPr>
              <a:solidFill>
                <a:srgbClr val="AEABAB"/>
              </a:solidFill>
            </c:spPr>
            <c:extLst>
              <c:ext xmlns:c16="http://schemas.microsoft.com/office/drawing/2014/chart" uri="{C3380CC4-5D6E-409C-BE32-E72D297353CC}">
                <c16:uniqueId val="{0000008D-2993-41DE-A2CB-63102DE87051}"/>
              </c:ext>
            </c:extLst>
          </c:dPt>
          <c:dPt>
            <c:idx val="43"/>
            <c:invertIfNegative val="1"/>
            <c:bubble3D val="0"/>
            <c:spPr>
              <a:solidFill>
                <a:srgbClr val="AEABAB"/>
              </a:solidFill>
            </c:spPr>
            <c:extLst>
              <c:ext xmlns:c16="http://schemas.microsoft.com/office/drawing/2014/chart" uri="{C3380CC4-5D6E-409C-BE32-E72D297353CC}">
                <c16:uniqueId val="{0000008F-2993-41DE-A2CB-63102DE87051}"/>
              </c:ext>
            </c:extLst>
          </c:dPt>
          <c:dPt>
            <c:idx val="44"/>
            <c:invertIfNegative val="1"/>
            <c:bubble3D val="0"/>
            <c:spPr>
              <a:solidFill>
                <a:srgbClr val="AEABAB"/>
              </a:solidFill>
            </c:spPr>
            <c:extLst>
              <c:ext xmlns:c16="http://schemas.microsoft.com/office/drawing/2014/chart" uri="{C3380CC4-5D6E-409C-BE32-E72D297353CC}">
                <c16:uniqueId val="{00000091-2993-41DE-A2CB-63102DE87051}"/>
              </c:ext>
            </c:extLst>
          </c:dPt>
          <c:dPt>
            <c:idx val="45"/>
            <c:invertIfNegative val="1"/>
            <c:bubble3D val="0"/>
            <c:spPr>
              <a:solidFill>
                <a:srgbClr val="AEABAB"/>
              </a:solidFill>
            </c:spPr>
            <c:extLst>
              <c:ext xmlns:c16="http://schemas.microsoft.com/office/drawing/2014/chart" uri="{C3380CC4-5D6E-409C-BE32-E72D297353CC}">
                <c16:uniqueId val="{00000093-2993-41DE-A2CB-63102DE87051}"/>
              </c:ext>
            </c:extLst>
          </c:dPt>
          <c:dPt>
            <c:idx val="46"/>
            <c:invertIfNegative val="1"/>
            <c:bubble3D val="0"/>
            <c:spPr>
              <a:solidFill>
                <a:srgbClr val="AEABAB"/>
              </a:solidFill>
            </c:spPr>
            <c:extLst>
              <c:ext xmlns:c16="http://schemas.microsoft.com/office/drawing/2014/chart" uri="{C3380CC4-5D6E-409C-BE32-E72D297353CC}">
                <c16:uniqueId val="{00000095-2993-41DE-A2CB-63102DE87051}"/>
              </c:ext>
            </c:extLst>
          </c:dPt>
          <c:dPt>
            <c:idx val="47"/>
            <c:invertIfNegative val="1"/>
            <c:bubble3D val="0"/>
            <c:spPr>
              <a:solidFill>
                <a:srgbClr val="AEABAB"/>
              </a:solidFill>
            </c:spPr>
            <c:extLst>
              <c:ext xmlns:c16="http://schemas.microsoft.com/office/drawing/2014/chart" uri="{C3380CC4-5D6E-409C-BE32-E72D297353CC}">
                <c16:uniqueId val="{00000097-2993-41DE-A2CB-63102DE87051}"/>
              </c:ext>
            </c:extLst>
          </c:dPt>
          <c:dPt>
            <c:idx val="48"/>
            <c:invertIfNegative val="1"/>
            <c:bubble3D val="0"/>
            <c:spPr>
              <a:solidFill>
                <a:srgbClr val="AEABAB"/>
              </a:solidFill>
            </c:spPr>
            <c:extLst>
              <c:ext xmlns:c16="http://schemas.microsoft.com/office/drawing/2014/chart" uri="{C3380CC4-5D6E-409C-BE32-E72D297353CC}">
                <c16:uniqueId val="{00000099-2993-41DE-A2CB-63102DE87051}"/>
              </c:ext>
            </c:extLst>
          </c:dPt>
          <c:dPt>
            <c:idx val="49"/>
            <c:invertIfNegative val="1"/>
            <c:bubble3D val="0"/>
            <c:spPr>
              <a:solidFill>
                <a:srgbClr val="AEABAB"/>
              </a:solidFill>
            </c:spPr>
            <c:extLst>
              <c:ext xmlns:c16="http://schemas.microsoft.com/office/drawing/2014/chart" uri="{C3380CC4-5D6E-409C-BE32-E72D297353CC}">
                <c16:uniqueId val="{0000009B-2993-41DE-A2CB-63102DE87051}"/>
              </c:ext>
            </c:extLst>
          </c:dPt>
          <c:dPt>
            <c:idx val="50"/>
            <c:invertIfNegative val="1"/>
            <c:bubble3D val="0"/>
            <c:spPr>
              <a:solidFill>
                <a:srgbClr val="AEABAB"/>
              </a:solidFill>
            </c:spPr>
            <c:extLst>
              <c:ext xmlns:c16="http://schemas.microsoft.com/office/drawing/2014/chart" uri="{C3380CC4-5D6E-409C-BE32-E72D297353CC}">
                <c16:uniqueId val="{0000009D-2993-41DE-A2CB-63102DE87051}"/>
              </c:ext>
            </c:extLst>
          </c:dPt>
          <c:dPt>
            <c:idx val="51"/>
            <c:invertIfNegative val="1"/>
            <c:bubble3D val="0"/>
            <c:spPr>
              <a:solidFill>
                <a:srgbClr val="AEABAB"/>
              </a:solidFill>
            </c:spPr>
            <c:extLst>
              <c:ext xmlns:c16="http://schemas.microsoft.com/office/drawing/2014/chart" uri="{C3380CC4-5D6E-409C-BE32-E72D297353CC}">
                <c16:uniqueId val="{0000009F-2993-41DE-A2CB-63102DE87051}"/>
              </c:ext>
            </c:extLst>
          </c:dPt>
          <c:dPt>
            <c:idx val="52"/>
            <c:invertIfNegative val="1"/>
            <c:bubble3D val="0"/>
            <c:spPr>
              <a:solidFill>
                <a:srgbClr val="AEABAB"/>
              </a:solidFill>
            </c:spPr>
            <c:extLst>
              <c:ext xmlns:c16="http://schemas.microsoft.com/office/drawing/2014/chart" uri="{C3380CC4-5D6E-409C-BE32-E72D297353CC}">
                <c16:uniqueId val="{000000A1-2993-41DE-A2CB-63102DE87051}"/>
              </c:ext>
            </c:extLst>
          </c:dPt>
          <c:dPt>
            <c:idx val="53"/>
            <c:invertIfNegative val="1"/>
            <c:bubble3D val="0"/>
            <c:spPr>
              <a:solidFill>
                <a:srgbClr val="AEABAB"/>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55</c:f>
              <c:strCache>
                <c:ptCount val="54"/>
                <c:pt idx="0">
                  <c:v>La Vache Qu</c:v>
                </c:pt>
                <c:pt idx="1">
                  <c:v>Mini Babybe</c:v>
                </c:pt>
                <c:pt idx="2">
                  <c:v>Kiri</c:v>
                </c:pt>
                <c:pt idx="3">
                  <c:v>La Vache Qu</c:v>
                </c:pt>
                <c:pt idx="4">
                  <c:v>Ficello</c:v>
                </c:pt>
                <c:pt idx="5">
                  <c:v>Mini Babybe</c:v>
                </c:pt>
                <c:pt idx="6">
                  <c:v>Kiri</c:v>
                </c:pt>
                <c:pt idx="7">
                  <c:v>La Vache Qu</c:v>
                </c:pt>
                <c:pt idx="8">
                  <c:v>Kiri</c:v>
                </c:pt>
                <c:pt idx="9">
                  <c:v>Kiri</c:v>
                </c:pt>
                <c:pt idx="10">
                  <c:v>Kiri</c:v>
                </c:pt>
                <c:pt idx="11">
                  <c:v>Mini Babybe</c:v>
                </c:pt>
                <c:pt idx="12">
                  <c:v>Mini Babybe</c:v>
                </c:pt>
                <c:pt idx="13">
                  <c:v>La Vache Qu</c:v>
                </c:pt>
                <c:pt idx="14">
                  <c:v>Kiri</c:v>
                </c:pt>
                <c:pt idx="15">
                  <c:v>La Vache Qu</c:v>
                </c:pt>
                <c:pt idx="16">
                  <c:v>Ficello</c:v>
                </c:pt>
                <c:pt idx="17">
                  <c:v>Mini Babybe</c:v>
                </c:pt>
                <c:pt idx="18">
                  <c:v>La Vache Qu</c:v>
                </c:pt>
                <c:pt idx="19">
                  <c:v>Private Lab</c:v>
                </c:pt>
                <c:pt idx="20">
                  <c:v>Mini Babybe</c:v>
                </c:pt>
                <c:pt idx="21">
                  <c:v>Private Lab</c:v>
                </c:pt>
                <c:pt idx="22">
                  <c:v>La Vache Qu</c:v>
                </c:pt>
                <c:pt idx="23">
                  <c:v>Private Lab</c:v>
                </c:pt>
                <c:pt idx="24">
                  <c:v>P'Tit Louis</c:v>
                </c:pt>
                <c:pt idx="25">
                  <c:v>Ficello</c:v>
                </c:pt>
                <c:pt idx="26">
                  <c:v>P'Tit Louis</c:v>
                </c:pt>
                <c:pt idx="27">
                  <c:v>Mini Babybe</c:v>
                </c:pt>
                <c:pt idx="28">
                  <c:v>P'Tit Louis</c:v>
                </c:pt>
                <c:pt idx="29">
                  <c:v>Mini Babybe</c:v>
                </c:pt>
                <c:pt idx="30">
                  <c:v>La Vache Qu</c:v>
                </c:pt>
                <c:pt idx="31">
                  <c:v>Private Lab</c:v>
                </c:pt>
                <c:pt idx="32">
                  <c:v>Ficello</c:v>
                </c:pt>
                <c:pt idx="33">
                  <c:v>Private Lab</c:v>
                </c:pt>
                <c:pt idx="34">
                  <c:v>Mini Babybe</c:v>
                </c:pt>
                <c:pt idx="35">
                  <c:v>Kiri</c:v>
                </c:pt>
                <c:pt idx="36">
                  <c:v>Ficello</c:v>
                </c:pt>
                <c:pt idx="37">
                  <c:v>Mini Babybe</c:v>
                </c:pt>
                <c:pt idx="38">
                  <c:v>Private Lab</c:v>
                </c:pt>
                <c:pt idx="39">
                  <c:v>Mini Babybe</c:v>
                </c:pt>
                <c:pt idx="40">
                  <c:v>Mini Babybe</c:v>
                </c:pt>
                <c:pt idx="41">
                  <c:v>La Vache Qu</c:v>
                </c:pt>
                <c:pt idx="42">
                  <c:v>Private Lab</c:v>
                </c:pt>
                <c:pt idx="43">
                  <c:v>Mini Babybe</c:v>
                </c:pt>
                <c:pt idx="44">
                  <c:v>P'Tit Louis</c:v>
                </c:pt>
                <c:pt idx="45">
                  <c:v>La Vache Qu</c:v>
                </c:pt>
                <c:pt idx="46">
                  <c:v>Private Lab</c:v>
                </c:pt>
                <c:pt idx="47">
                  <c:v>Kiri</c:v>
                </c:pt>
                <c:pt idx="48">
                  <c:v>Mini Babybe</c:v>
                </c:pt>
                <c:pt idx="49">
                  <c:v>Mini Babybe</c:v>
                </c:pt>
                <c:pt idx="50">
                  <c:v>Mini Babybe</c:v>
                </c:pt>
                <c:pt idx="51">
                  <c:v>Lactalis: A</c:v>
                </c:pt>
                <c:pt idx="52">
                  <c:v>Ficello</c:v>
                </c:pt>
                <c:pt idx="53">
                  <c:v>Mini Babybe</c:v>
                </c:pt>
              </c:strCache>
            </c:strRef>
          </c:cat>
          <c:val>
            <c:numRef>
              <c:f>Sheet1!$C$2:$C$55</c:f>
              <c:numCache>
                <c:formatCode>General</c:formatCode>
                <c:ptCount val="54"/>
                <c:pt idx="0">
                  <c:v>0.16785987792226814</c:v>
                </c:pt>
                <c:pt idx="1">
                  <c:v>0.2638225142351226</c:v>
                </c:pt>
                <c:pt idx="2">
                  <c:v>0.3564577860759664</c:v>
                </c:pt>
                <c:pt idx="3">
                  <c:v>0.4164179139400264</c:v>
                </c:pt>
                <c:pt idx="4">
                  <c:v>0.46189483693358757</c:v>
                </c:pt>
                <c:pt idx="5">
                  <c:v>0.5042080390225768</c:v>
                </c:pt>
                <c:pt idx="6">
                  <c:v>0.5441445404745774</c:v>
                </c:pt>
                <c:pt idx="7">
                  <c:v>0.5784242247157655</c:v>
                </c:pt>
                <c:pt idx="8">
                  <c:v>0.6090286505343486</c:v>
                </c:pt>
                <c:pt idx="9">
                  <c:v>0.6332364251985725</c:v>
                </c:pt>
                <c:pt idx="10">
                  <c:v>0.6558420404655465</c:v>
                </c:pt>
                <c:pt idx="11">
                  <c:v>0.6762985126312391</c:v>
                </c:pt>
                <c:pt idx="12">
                  <c:v>0.6963439568173093</c:v>
                </c:pt>
                <c:pt idx="13">
                  <c:v>0.734599360811058</c:v>
                </c:pt>
                <c:pt idx="14">
                  <c:v>0.768716940838571</c:v>
                </c:pt>
                <c:pt idx="15">
                  <c:v>0.7845624943146535</c:v>
                </c:pt>
                <c:pt idx="16">
                  <c:v>0.8001074633124792</c:v>
                </c:pt>
                <c:pt idx="17">
                  <c:v>0.8302384044380678</c:v>
                </c:pt>
                <c:pt idx="18">
                  <c:v>0.8451018296881985</c:v>
                </c:pt>
                <c:pt idx="19">
                  <c:v>0.8576059592612285</c:v>
                </c:pt>
                <c:pt idx="20">
                  <c:v>0.8699780328060507</c:v>
                </c:pt>
                <c:pt idx="21">
                  <c:v>0.8810995969274007</c:v>
                </c:pt>
                <c:pt idx="22">
                  <c:v>0.89018040897715</c:v>
                </c:pt>
                <c:pt idx="23">
                  <c:v>0.89897609166043</c:v>
                </c:pt>
                <c:pt idx="24">
                  <c:v>0.9067469752314287</c:v>
                </c:pt>
                <c:pt idx="25">
                  <c:v>0.9139625420633549</c:v>
                </c:pt>
                <c:pt idx="26">
                  <c:v>0.9282440505413766</c:v>
                </c:pt>
                <c:pt idx="27">
                  <c:v>0.9343564548920912</c:v>
                </c:pt>
                <c:pt idx="28">
                  <c:v>0.9401424136213189</c:v>
                </c:pt>
                <c:pt idx="29">
                  <c:v>0.9512956473807673</c:v>
                </c:pt>
                <c:pt idx="30">
                  <c:v>0.9567990833825656</c:v>
                </c:pt>
                <c:pt idx="31">
                  <c:v>0.9614877702243174</c:v>
                </c:pt>
                <c:pt idx="32">
                  <c:v>0.9658617515826202</c:v>
                </c:pt>
                <c:pt idx="33">
                  <c:v>0.973722040820214</c:v>
                </c:pt>
                <c:pt idx="34">
                  <c:v>0.9768289698332641</c:v>
                </c:pt>
                <c:pt idx="35">
                  <c:v>0.9797404624924759</c:v>
                </c:pt>
                <c:pt idx="36">
                  <c:v>0.9826052203714222</c:v>
                </c:pt>
                <c:pt idx="37">
                  <c:v>0.987452624848569</c:v>
                </c:pt>
                <c:pt idx="38">
                  <c:v>0.9894710460282378</c:v>
                </c:pt>
                <c:pt idx="39">
                  <c:v>0.9914075735876782</c:v>
                </c:pt>
                <c:pt idx="40">
                  <c:v>0.9931467765193303</c:v>
                </c:pt>
                <c:pt idx="41">
                  <c:v>0.9948293517571953</c:v>
                </c:pt>
                <c:pt idx="42">
                  <c:v>0.9964626881993391</c:v>
                </c:pt>
                <c:pt idx="43">
                  <c:v>0.9971570393703482</c:v>
                </c:pt>
                <c:pt idx="44">
                  <c:v>0.9978213013064562</c:v>
                </c:pt>
                <c:pt idx="45">
                  <c:v>0.9984379869489077</c:v>
                </c:pt>
                <c:pt idx="46">
                  <c:v>0.9988323283337317</c:v>
                </c:pt>
                <c:pt idx="47">
                  <c:v>0.9994464073371434</c:v>
                </c:pt>
                <c:pt idx="48">
                  <c:v>0.9996753195041627</c:v>
                </c:pt>
                <c:pt idx="49">
                  <c:v>0.999887750323552</c:v>
                </c:pt>
                <c:pt idx="50">
                  <c:v>0.9999634249545751</c:v>
                </c:pt>
                <c:pt idx="51">
                  <c:v>0.9999967570947382</c:v>
                </c:pt>
                <c:pt idx="52">
                  <c:v>0.9999991584866096</c:v>
                </c:pt>
                <c:pt idx="53">
                  <c:v>0.999999733178681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42</c:f>
              <c:strCache>
                <c:ptCount val="41"/>
                <c:pt idx="0">
                  <c:v>La Vache Qu</c:v>
                </c:pt>
                <c:pt idx="1">
                  <c:v>Mini Babybe</c:v>
                </c:pt>
                <c:pt idx="2">
                  <c:v>La Vache Qu</c:v>
                </c:pt>
                <c:pt idx="3">
                  <c:v>Ficello</c:v>
                </c:pt>
                <c:pt idx="4">
                  <c:v>La Vache Qu</c:v>
                </c:pt>
                <c:pt idx="5">
                  <c:v>Mini Babybe</c:v>
                </c:pt>
                <c:pt idx="6">
                  <c:v>Kiri</c:v>
                </c:pt>
                <c:pt idx="7">
                  <c:v>Kiri</c:v>
                </c:pt>
                <c:pt idx="8">
                  <c:v>Kiri</c:v>
                </c:pt>
                <c:pt idx="9">
                  <c:v>Kiri</c:v>
                </c:pt>
                <c:pt idx="10">
                  <c:v>Mini Babybe</c:v>
                </c:pt>
                <c:pt idx="11">
                  <c:v>Ficello</c:v>
                </c:pt>
                <c:pt idx="12">
                  <c:v>Mini Babybe</c:v>
                </c:pt>
                <c:pt idx="13">
                  <c:v>Kiri</c:v>
                </c:pt>
                <c:pt idx="14">
                  <c:v>Private Lab</c:v>
                </c:pt>
                <c:pt idx="15">
                  <c:v>La Vache Qu</c:v>
                </c:pt>
                <c:pt idx="16">
                  <c:v>La Vache Qu</c:v>
                </c:pt>
                <c:pt idx="17">
                  <c:v>Private Lab</c:v>
                </c:pt>
                <c:pt idx="18">
                  <c:v>P'Tit Louis</c:v>
                </c:pt>
                <c:pt idx="19">
                  <c:v>La Vache Qu</c:v>
                </c:pt>
                <c:pt idx="20">
                  <c:v>Kiri</c:v>
                </c:pt>
                <c:pt idx="21">
                  <c:v>Mini Babybe</c:v>
                </c:pt>
                <c:pt idx="22">
                  <c:v>Mini Babybe</c:v>
                </c:pt>
                <c:pt idx="23">
                  <c:v>Ficello</c:v>
                </c:pt>
                <c:pt idx="24">
                  <c:v>Private Lab</c:v>
                </c:pt>
                <c:pt idx="25">
                  <c:v>Private Lab</c:v>
                </c:pt>
                <c:pt idx="26">
                  <c:v>Mini Babybe</c:v>
                </c:pt>
                <c:pt idx="27">
                  <c:v>Kiri</c:v>
                </c:pt>
                <c:pt idx="28">
                  <c:v>Ficello</c:v>
                </c:pt>
                <c:pt idx="29">
                  <c:v>P'Tit Louis</c:v>
                </c:pt>
                <c:pt idx="30">
                  <c:v>Mini Babybe</c:v>
                </c:pt>
                <c:pt idx="31">
                  <c:v>La Vache Qu</c:v>
                </c:pt>
                <c:pt idx="32">
                  <c:v>P'Tit Louis</c:v>
                </c:pt>
                <c:pt idx="33">
                  <c:v>Mini Babybe</c:v>
                </c:pt>
                <c:pt idx="34">
                  <c:v>La Vache Qu</c:v>
                </c:pt>
                <c:pt idx="35">
                  <c:v>Private Lab</c:v>
                </c:pt>
                <c:pt idx="36">
                  <c:v>Private Lab</c:v>
                </c:pt>
                <c:pt idx="37">
                  <c:v>P'Tit Louis</c:v>
                </c:pt>
                <c:pt idx="38">
                  <c:v>Mini Babybe</c:v>
                </c:pt>
                <c:pt idx="39">
                  <c:v>Kiri</c:v>
                </c:pt>
                <c:pt idx="40">
                  <c:v>Lactalis: A</c:v>
                </c:pt>
              </c:strCache>
            </c:strRef>
          </c:cat>
          <c:val>
            <c:numRef>
              <c:f>Sheet1!$B$2:$B$42</c:f>
              <c:numCache>
                <c:formatCode>General</c:formatCode>
                <c:ptCount val="41"/>
                <c:pt idx="0">
                  <c:v>0.99</c:v>
                </c:pt>
                <c:pt idx="1">
                  <c:v>1.0</c:v>
                </c:pt>
                <c:pt idx="2">
                  <c:v>0.96</c:v>
                </c:pt>
                <c:pt idx="3">
                  <c:v>0.99</c:v>
                </c:pt>
                <c:pt idx="4">
                  <c:v>0.99</c:v>
                </c:pt>
                <c:pt idx="5">
                  <c:v>0.99</c:v>
                </c:pt>
                <c:pt idx="6">
                  <c:v>0.86</c:v>
                </c:pt>
                <c:pt idx="7">
                  <c:v>0.97</c:v>
                </c:pt>
                <c:pt idx="8">
                  <c:v>0.99</c:v>
                </c:pt>
                <c:pt idx="9">
                  <c:v>0.99</c:v>
                </c:pt>
                <c:pt idx="10">
                  <c:v>0.94</c:v>
                </c:pt>
                <c:pt idx="11">
                  <c:v>0.93</c:v>
                </c:pt>
                <c:pt idx="12">
                  <c:v>0.96</c:v>
                </c:pt>
                <c:pt idx="13">
                  <c:v>0.73</c:v>
                </c:pt>
                <c:pt idx="14">
                  <c:v>1.0</c:v>
                </c:pt>
                <c:pt idx="15">
                  <c:v>0.66</c:v>
                </c:pt>
                <c:pt idx="16">
                  <c:v>0.97</c:v>
                </c:pt>
                <c:pt idx="17">
                  <c:v>0.89</c:v>
                </c:pt>
                <c:pt idx="18">
                  <c:v>0.94</c:v>
                </c:pt>
                <c:pt idx="19">
                  <c:v>0.78</c:v>
                </c:pt>
                <c:pt idx="20">
                  <c:v>0.71</c:v>
                </c:pt>
                <c:pt idx="21">
                  <c:v>0.67</c:v>
                </c:pt>
                <c:pt idx="22">
                  <c:v>0.81</c:v>
                </c:pt>
                <c:pt idx="23">
                  <c:v>0.5</c:v>
                </c:pt>
                <c:pt idx="24">
                  <c:v>0.97</c:v>
                </c:pt>
                <c:pt idx="25">
                  <c:v>0.81</c:v>
                </c:pt>
                <c:pt idx="26">
                  <c:v>0.45</c:v>
                </c:pt>
                <c:pt idx="27">
                  <c:v>0.42</c:v>
                </c:pt>
                <c:pt idx="28">
                  <c:v>0.58</c:v>
                </c:pt>
                <c:pt idx="29">
                  <c:v>0.39</c:v>
                </c:pt>
                <c:pt idx="30">
                  <c:v>0.66</c:v>
                </c:pt>
                <c:pt idx="31">
                  <c:v>0.27</c:v>
                </c:pt>
                <c:pt idx="32">
                  <c:v>0.71</c:v>
                </c:pt>
                <c:pt idx="33">
                  <c:v>0.57</c:v>
                </c:pt>
                <c:pt idx="34">
                  <c:v>0.25</c:v>
                </c:pt>
                <c:pt idx="35">
                  <c:v>0.81</c:v>
                </c:pt>
                <c:pt idx="36">
                  <c:v>0.74</c:v>
                </c:pt>
                <c:pt idx="37">
                  <c:v>0.64</c:v>
                </c:pt>
                <c:pt idx="38">
                  <c:v>0.06</c:v>
                </c:pt>
                <c:pt idx="39">
                  <c:v>0.03</c:v>
                </c:pt>
                <c:pt idx="40">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Item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7ECAC4"/>
              </a:solidFill>
            </c:spPr>
            <c:extLst>
              <c:ext xmlns:c16="http://schemas.microsoft.com/office/drawing/2014/chart" uri="{C3380CC4-5D6E-409C-BE32-E72D297353CC}">
                <c16:uniqueId val="{00000057-2993-41DE-A2CB-63102DE87051}"/>
              </c:ext>
            </c:extLst>
          </c:dPt>
          <c:dPt>
            <c:idx val="16"/>
            <c:invertIfNegative val="1"/>
            <c:bubble3D val="0"/>
            <c:spPr>
              <a:solidFill>
                <a:srgbClr val="7ECAC4"/>
              </a:solidFill>
            </c:spPr>
            <c:extLst>
              <c:ext xmlns:c16="http://schemas.microsoft.com/office/drawing/2014/chart" uri="{C3380CC4-5D6E-409C-BE32-E72D297353CC}">
                <c16:uniqueId val="{00000059-2993-41DE-A2CB-63102DE87051}"/>
              </c:ext>
            </c:extLst>
          </c:dPt>
          <c:dPt>
            <c:idx val="17"/>
            <c:invertIfNegative val="1"/>
            <c:bubble3D val="0"/>
            <c:spPr>
              <a:solidFill>
                <a:srgbClr val="7ECAC4"/>
              </a:solidFill>
            </c:spPr>
            <c:extLst>
              <c:ext xmlns:c16="http://schemas.microsoft.com/office/drawing/2014/chart" uri="{C3380CC4-5D6E-409C-BE32-E72D297353CC}">
                <c16:uniqueId val="{0000005B-2993-41DE-A2CB-63102DE87051}"/>
              </c:ext>
            </c:extLst>
          </c:dPt>
          <c:dPt>
            <c:idx val="18"/>
            <c:invertIfNegative val="1"/>
            <c:bubble3D val="0"/>
            <c:spPr>
              <a:solidFill>
                <a:srgbClr val="7ECAC4"/>
              </a:solidFill>
            </c:spPr>
            <c:extLst>
              <c:ext xmlns:c16="http://schemas.microsoft.com/office/drawing/2014/chart" uri="{C3380CC4-5D6E-409C-BE32-E72D297353CC}">
                <c16:uniqueId val="{0000005D-2993-41DE-A2CB-63102DE87051}"/>
              </c:ext>
            </c:extLst>
          </c:dPt>
          <c:dPt>
            <c:idx val="19"/>
            <c:invertIfNegative val="1"/>
            <c:bubble3D val="0"/>
            <c:spPr>
              <a:solidFill>
                <a:srgbClr val="7ECAC4"/>
              </a:solidFill>
            </c:spPr>
            <c:extLst>
              <c:ext xmlns:c16="http://schemas.microsoft.com/office/drawing/2014/chart" uri="{C3380CC4-5D6E-409C-BE32-E72D297353CC}">
                <c16:uniqueId val="{0000005F-2993-41DE-A2CB-63102DE87051}"/>
              </c:ext>
            </c:extLst>
          </c:dPt>
          <c:dPt>
            <c:idx val="20"/>
            <c:invertIfNegative val="1"/>
            <c:bubble3D val="0"/>
            <c:spPr>
              <a:solidFill>
                <a:srgbClr val="7ECAC4"/>
              </a:solidFill>
            </c:spPr>
            <c:extLst>
              <c:ext xmlns:c16="http://schemas.microsoft.com/office/drawing/2014/chart" uri="{C3380CC4-5D6E-409C-BE32-E72D297353CC}">
                <c16:uniqueId val="{00000061-2993-41DE-A2CB-63102DE87051}"/>
              </c:ext>
            </c:extLst>
          </c:dPt>
          <c:dPt>
            <c:idx val="21"/>
            <c:invertIfNegative val="1"/>
            <c:bubble3D val="0"/>
            <c:spPr>
              <a:solidFill>
                <a:srgbClr val="7ECAC4"/>
              </a:solidFill>
            </c:spPr>
            <c:extLst>
              <c:ext xmlns:c16="http://schemas.microsoft.com/office/drawing/2014/chart" uri="{C3380CC4-5D6E-409C-BE32-E72D297353CC}">
                <c16:uniqueId val="{00000063-2993-41DE-A2CB-63102DE87051}"/>
              </c:ext>
            </c:extLst>
          </c:dPt>
          <c:dPt>
            <c:idx val="22"/>
            <c:invertIfNegative val="1"/>
            <c:bubble3D val="0"/>
            <c:spPr>
              <a:solidFill>
                <a:srgbClr val="7ECAC4"/>
              </a:solidFill>
            </c:spPr>
            <c:extLst>
              <c:ext xmlns:c16="http://schemas.microsoft.com/office/drawing/2014/chart" uri="{C3380CC4-5D6E-409C-BE32-E72D297353CC}">
                <c16:uniqueId val="{00000065-2993-41DE-A2CB-63102DE87051}"/>
              </c:ext>
            </c:extLst>
          </c:dPt>
          <c:dPt>
            <c:idx val="23"/>
            <c:invertIfNegative val="1"/>
            <c:bubble3D val="0"/>
            <c:spPr>
              <a:solidFill>
                <a:srgbClr val="AEABAB"/>
              </a:solidFill>
            </c:spPr>
            <c:extLst>
              <c:ext xmlns:c16="http://schemas.microsoft.com/office/drawing/2014/chart" uri="{C3380CC4-5D6E-409C-BE32-E72D297353CC}">
                <c16:uniqueId val="{00000067-2993-41DE-A2CB-63102DE87051}"/>
              </c:ext>
            </c:extLst>
          </c:dPt>
          <c:dPt>
            <c:idx val="24"/>
            <c:invertIfNegative val="1"/>
            <c:bubble3D val="0"/>
            <c:spPr>
              <a:solidFill>
                <a:srgbClr val="AEABAB"/>
              </a:solidFill>
            </c:spPr>
            <c:extLst>
              <c:ext xmlns:c16="http://schemas.microsoft.com/office/drawing/2014/chart" uri="{C3380CC4-5D6E-409C-BE32-E72D297353CC}">
                <c16:uniqueId val="{00000069-2993-41DE-A2CB-63102DE87051}"/>
              </c:ext>
            </c:extLst>
          </c:dPt>
          <c:dPt>
            <c:idx val="25"/>
            <c:invertIfNegative val="1"/>
            <c:bubble3D val="0"/>
            <c:spPr>
              <a:solidFill>
                <a:srgbClr val="AEABAB"/>
              </a:solidFill>
            </c:spPr>
            <c:extLst>
              <c:ext xmlns:c16="http://schemas.microsoft.com/office/drawing/2014/chart" uri="{C3380CC4-5D6E-409C-BE32-E72D297353CC}">
                <c16:uniqueId val="{0000006B-2993-41DE-A2CB-63102DE87051}"/>
              </c:ext>
            </c:extLst>
          </c:dPt>
          <c:dPt>
            <c:idx val="26"/>
            <c:invertIfNegative val="1"/>
            <c:bubble3D val="0"/>
            <c:spPr>
              <a:solidFill>
                <a:srgbClr val="AEABAB"/>
              </a:solidFill>
            </c:spPr>
            <c:extLst>
              <c:ext xmlns:c16="http://schemas.microsoft.com/office/drawing/2014/chart" uri="{C3380CC4-5D6E-409C-BE32-E72D297353CC}">
                <c16:uniqueId val="{0000006D-2993-41DE-A2CB-63102DE87051}"/>
              </c:ext>
            </c:extLst>
          </c:dPt>
          <c:dPt>
            <c:idx val="27"/>
            <c:invertIfNegative val="1"/>
            <c:bubble3D val="0"/>
            <c:spPr>
              <a:solidFill>
                <a:srgbClr val="AEABAB"/>
              </a:solidFill>
            </c:spPr>
            <c:extLst>
              <c:ext xmlns:c16="http://schemas.microsoft.com/office/drawing/2014/chart" uri="{C3380CC4-5D6E-409C-BE32-E72D297353CC}">
                <c16:uniqueId val="{0000006F-2993-41DE-A2CB-63102DE87051}"/>
              </c:ext>
            </c:extLst>
          </c:dPt>
          <c:dPt>
            <c:idx val="28"/>
            <c:invertIfNegative val="1"/>
            <c:bubble3D val="0"/>
            <c:spPr>
              <a:solidFill>
                <a:srgbClr val="AEABAB"/>
              </a:solidFill>
            </c:spPr>
            <c:extLst>
              <c:ext xmlns:c16="http://schemas.microsoft.com/office/drawing/2014/chart" uri="{C3380CC4-5D6E-409C-BE32-E72D297353CC}">
                <c16:uniqueId val="{00000071-2993-41DE-A2CB-63102DE87051}"/>
              </c:ext>
            </c:extLst>
          </c:dPt>
          <c:dPt>
            <c:idx val="29"/>
            <c:invertIfNegative val="1"/>
            <c:bubble3D val="0"/>
            <c:spPr>
              <a:solidFill>
                <a:srgbClr val="AEABAB"/>
              </a:solidFill>
            </c:spPr>
            <c:extLst>
              <c:ext xmlns:c16="http://schemas.microsoft.com/office/drawing/2014/chart" uri="{C3380CC4-5D6E-409C-BE32-E72D297353CC}">
                <c16:uniqueId val="{00000073-2993-41DE-A2CB-63102DE87051}"/>
              </c:ext>
            </c:extLst>
          </c:dPt>
          <c:dPt>
            <c:idx val="30"/>
            <c:invertIfNegative val="1"/>
            <c:bubble3D val="0"/>
            <c:spPr>
              <a:solidFill>
                <a:srgbClr val="AEABAB"/>
              </a:solidFill>
            </c:spPr>
            <c:extLst>
              <c:ext xmlns:c16="http://schemas.microsoft.com/office/drawing/2014/chart" uri="{C3380CC4-5D6E-409C-BE32-E72D297353CC}">
                <c16:uniqueId val="{00000075-2993-41DE-A2CB-63102DE87051}"/>
              </c:ext>
            </c:extLst>
          </c:dPt>
          <c:dPt>
            <c:idx val="31"/>
            <c:invertIfNegative val="1"/>
            <c:bubble3D val="0"/>
            <c:spPr>
              <a:solidFill>
                <a:srgbClr val="AEABAB"/>
              </a:solidFill>
            </c:spPr>
            <c:extLst>
              <c:ext xmlns:c16="http://schemas.microsoft.com/office/drawing/2014/chart" uri="{C3380CC4-5D6E-409C-BE32-E72D297353CC}">
                <c16:uniqueId val="{00000077-2993-41DE-A2CB-63102DE87051}"/>
              </c:ext>
            </c:extLst>
          </c:dPt>
          <c:dPt>
            <c:idx val="32"/>
            <c:invertIfNegative val="1"/>
            <c:bubble3D val="0"/>
            <c:spPr>
              <a:solidFill>
                <a:srgbClr val="AEABAB"/>
              </a:solidFill>
            </c:spPr>
            <c:extLst>
              <c:ext xmlns:c16="http://schemas.microsoft.com/office/drawing/2014/chart" uri="{C3380CC4-5D6E-409C-BE32-E72D297353CC}">
                <c16:uniqueId val="{00000079-2993-41DE-A2CB-63102DE87051}"/>
              </c:ext>
            </c:extLst>
          </c:dPt>
          <c:dPt>
            <c:idx val="33"/>
            <c:invertIfNegative val="1"/>
            <c:bubble3D val="0"/>
            <c:spPr>
              <a:solidFill>
                <a:srgbClr val="AEABAB"/>
              </a:solidFill>
            </c:spPr>
            <c:extLst>
              <c:ext xmlns:c16="http://schemas.microsoft.com/office/drawing/2014/chart" uri="{C3380CC4-5D6E-409C-BE32-E72D297353CC}">
                <c16:uniqueId val="{0000007B-2993-41DE-A2CB-63102DE87051}"/>
              </c:ext>
            </c:extLst>
          </c:dPt>
          <c:dPt>
            <c:idx val="34"/>
            <c:invertIfNegative val="1"/>
            <c:bubble3D val="0"/>
            <c:spPr>
              <a:solidFill>
                <a:srgbClr val="AEABAB"/>
              </a:solidFill>
            </c:spPr>
            <c:extLst>
              <c:ext xmlns:c16="http://schemas.microsoft.com/office/drawing/2014/chart" uri="{C3380CC4-5D6E-409C-BE32-E72D297353CC}">
                <c16:uniqueId val="{0000007D-2993-41DE-A2CB-63102DE87051}"/>
              </c:ext>
            </c:extLst>
          </c:dPt>
          <c:dPt>
            <c:idx val="35"/>
            <c:invertIfNegative val="1"/>
            <c:bubble3D val="0"/>
            <c:spPr>
              <a:solidFill>
                <a:srgbClr val="AEABAB"/>
              </a:solidFill>
            </c:spPr>
            <c:extLst>
              <c:ext xmlns:c16="http://schemas.microsoft.com/office/drawing/2014/chart" uri="{C3380CC4-5D6E-409C-BE32-E72D297353CC}">
                <c16:uniqueId val="{0000007F-2993-41DE-A2CB-63102DE87051}"/>
              </c:ext>
            </c:extLst>
          </c:dPt>
          <c:dPt>
            <c:idx val="36"/>
            <c:invertIfNegative val="1"/>
            <c:bubble3D val="0"/>
            <c:spPr>
              <a:solidFill>
                <a:srgbClr val="AEABAB"/>
              </a:solidFill>
            </c:spPr>
            <c:extLst>
              <c:ext xmlns:c16="http://schemas.microsoft.com/office/drawing/2014/chart" uri="{C3380CC4-5D6E-409C-BE32-E72D297353CC}">
                <c16:uniqueId val="{00000081-2993-41DE-A2CB-63102DE87051}"/>
              </c:ext>
            </c:extLst>
          </c:dPt>
          <c:dPt>
            <c:idx val="37"/>
            <c:invertIfNegative val="1"/>
            <c:bubble3D val="0"/>
            <c:spPr>
              <a:solidFill>
                <a:srgbClr val="AEABAB"/>
              </a:solidFill>
            </c:spPr>
            <c:extLst>
              <c:ext xmlns:c16="http://schemas.microsoft.com/office/drawing/2014/chart" uri="{C3380CC4-5D6E-409C-BE32-E72D297353CC}">
                <c16:uniqueId val="{00000083-2993-41DE-A2CB-63102DE87051}"/>
              </c:ext>
            </c:extLst>
          </c:dPt>
          <c:dPt>
            <c:idx val="38"/>
            <c:invertIfNegative val="1"/>
            <c:bubble3D val="0"/>
            <c:spPr>
              <a:solidFill>
                <a:srgbClr val="AEABAB"/>
              </a:solidFill>
            </c:spPr>
            <c:extLst>
              <c:ext xmlns:c16="http://schemas.microsoft.com/office/drawing/2014/chart" uri="{C3380CC4-5D6E-409C-BE32-E72D297353CC}">
                <c16:uniqueId val="{00000085-2993-41DE-A2CB-63102DE87051}"/>
              </c:ext>
            </c:extLst>
          </c:dPt>
          <c:dPt>
            <c:idx val="39"/>
            <c:invertIfNegative val="1"/>
            <c:bubble3D val="0"/>
            <c:spPr>
              <a:solidFill>
                <a:srgbClr val="AEABAB"/>
              </a:solidFill>
            </c:spPr>
            <c:extLst>
              <c:ext xmlns:c16="http://schemas.microsoft.com/office/drawing/2014/chart" uri="{C3380CC4-5D6E-409C-BE32-E72D297353CC}">
                <c16:uniqueId val="{00000087-2993-41DE-A2CB-63102DE87051}"/>
              </c:ext>
            </c:extLst>
          </c:dPt>
          <c:dPt>
            <c:idx val="40"/>
            <c:invertIfNegative val="1"/>
            <c:bubble3D val="0"/>
            <c:spPr>
              <a:solidFill>
                <a:srgbClr val="AEABAB"/>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42</c:f>
              <c:strCache>
                <c:ptCount val="41"/>
                <c:pt idx="0">
                  <c:v>La Vache Qu</c:v>
                </c:pt>
                <c:pt idx="1">
                  <c:v>Mini Babybe</c:v>
                </c:pt>
                <c:pt idx="2">
                  <c:v>La Vache Qu</c:v>
                </c:pt>
                <c:pt idx="3">
                  <c:v>Ficello</c:v>
                </c:pt>
                <c:pt idx="4">
                  <c:v>La Vache Qu</c:v>
                </c:pt>
                <c:pt idx="5">
                  <c:v>Mini Babybe</c:v>
                </c:pt>
                <c:pt idx="6">
                  <c:v>Kiri</c:v>
                </c:pt>
                <c:pt idx="7">
                  <c:v>Kiri</c:v>
                </c:pt>
                <c:pt idx="8">
                  <c:v>Kiri</c:v>
                </c:pt>
                <c:pt idx="9">
                  <c:v>Kiri</c:v>
                </c:pt>
                <c:pt idx="10">
                  <c:v>Mini Babybe</c:v>
                </c:pt>
                <c:pt idx="11">
                  <c:v>Ficello</c:v>
                </c:pt>
                <c:pt idx="12">
                  <c:v>Mini Babybe</c:v>
                </c:pt>
                <c:pt idx="13">
                  <c:v>Kiri</c:v>
                </c:pt>
                <c:pt idx="14">
                  <c:v>Private Lab</c:v>
                </c:pt>
                <c:pt idx="15">
                  <c:v>La Vache Qu</c:v>
                </c:pt>
                <c:pt idx="16">
                  <c:v>La Vache Qu</c:v>
                </c:pt>
                <c:pt idx="17">
                  <c:v>Private Lab</c:v>
                </c:pt>
                <c:pt idx="18">
                  <c:v>P'Tit Louis</c:v>
                </c:pt>
                <c:pt idx="19">
                  <c:v>La Vache Qu</c:v>
                </c:pt>
                <c:pt idx="20">
                  <c:v>Kiri</c:v>
                </c:pt>
                <c:pt idx="21">
                  <c:v>Mini Babybe</c:v>
                </c:pt>
                <c:pt idx="22">
                  <c:v>Mini Babybe</c:v>
                </c:pt>
                <c:pt idx="23">
                  <c:v>Ficello</c:v>
                </c:pt>
                <c:pt idx="24">
                  <c:v>Private Lab</c:v>
                </c:pt>
                <c:pt idx="25">
                  <c:v>Private Lab</c:v>
                </c:pt>
                <c:pt idx="26">
                  <c:v>Mini Babybe</c:v>
                </c:pt>
                <c:pt idx="27">
                  <c:v>Kiri</c:v>
                </c:pt>
                <c:pt idx="28">
                  <c:v>Ficello</c:v>
                </c:pt>
                <c:pt idx="29">
                  <c:v>P'Tit Louis</c:v>
                </c:pt>
                <c:pt idx="30">
                  <c:v>Mini Babybe</c:v>
                </c:pt>
                <c:pt idx="31">
                  <c:v>La Vache Qu</c:v>
                </c:pt>
                <c:pt idx="32">
                  <c:v>P'Tit Louis</c:v>
                </c:pt>
                <c:pt idx="33">
                  <c:v>Mini Babybe</c:v>
                </c:pt>
                <c:pt idx="34">
                  <c:v>La Vache Qu</c:v>
                </c:pt>
                <c:pt idx="35">
                  <c:v>Private Lab</c:v>
                </c:pt>
                <c:pt idx="36">
                  <c:v>Private Lab</c:v>
                </c:pt>
                <c:pt idx="37">
                  <c:v>P'Tit Louis</c:v>
                </c:pt>
                <c:pt idx="38">
                  <c:v>Mini Babybe</c:v>
                </c:pt>
                <c:pt idx="39">
                  <c:v>Kiri</c:v>
                </c:pt>
                <c:pt idx="40">
                  <c:v>Lactalis: A</c:v>
                </c:pt>
              </c:strCache>
            </c:strRef>
          </c:cat>
          <c:val>
            <c:numRef>
              <c:f>Sheet1!$C$2:$C$42</c:f>
              <c:numCache>
                <c:formatCode>General</c:formatCode>
                <c:ptCount val="41"/>
                <c:pt idx="0">
                  <c:v>0.1132695905390014</c:v>
                </c:pt>
                <c:pt idx="1">
                  <c:v>0.22247660317700213</c:v>
                </c:pt>
                <c:pt idx="2">
                  <c:v>0.2936773267807463</c:v>
                </c:pt>
                <c:pt idx="3">
                  <c:v>0.35344570434416617</c:v>
                </c:pt>
                <c:pt idx="4">
                  <c:v>0.4126653858796018</c:v>
                </c:pt>
                <c:pt idx="5">
                  <c:v>0.47127197219245254</c:v>
                </c:pt>
                <c:pt idx="6">
                  <c:v>0.5276610361420936</c:v>
                </c:pt>
                <c:pt idx="7">
                  <c:v>0.576926606136387</c:v>
                </c:pt>
                <c:pt idx="8">
                  <c:v>0.613585971746001</c:v>
                </c:pt>
                <c:pt idx="9">
                  <c:v>0.6731794850223479</c:v>
                </c:pt>
                <c:pt idx="10">
                  <c:v>0.724793516204711</c:v>
                </c:pt>
                <c:pt idx="11">
                  <c:v>0.7483315459144543</c:v>
                </c:pt>
                <c:pt idx="12">
                  <c:v>0.7716320803285028</c:v>
                </c:pt>
                <c:pt idx="13">
                  <c:v>0.7941790883282726</c:v>
                </c:pt>
                <c:pt idx="14">
                  <c:v>0.8159350657585263</c:v>
                </c:pt>
                <c:pt idx="15">
                  <c:v>0.8355552296302803</c:v>
                </c:pt>
                <c:pt idx="16">
                  <c:v>0.8545141850083389</c:v>
                </c:pt>
                <c:pt idx="17">
                  <c:v>0.8702860006698011</c:v>
                </c:pt>
                <c:pt idx="18">
                  <c:v>0.8854710577735224</c:v>
                </c:pt>
                <c:pt idx="19">
                  <c:v>0.9002935747099522</c:v>
                </c:pt>
                <c:pt idx="20">
                  <c:v>0.9116294770624088</c:v>
                </c:pt>
                <c:pt idx="21">
                  <c:v>0.9299215781599622</c:v>
                </c:pt>
                <c:pt idx="22">
                  <c:v>0.937594140392974</c:v>
                </c:pt>
                <c:pt idx="23">
                  <c:v>0.9502419436793678</c:v>
                </c:pt>
                <c:pt idx="24">
                  <c:v>0.9557803054358254</c:v>
                </c:pt>
                <c:pt idx="25">
                  <c:v>0.9608990487407598</c:v>
                </c:pt>
                <c:pt idx="26">
                  <c:v>0.9660151862979358</c:v>
                </c:pt>
                <c:pt idx="27">
                  <c:v>0.9709078189432152</c:v>
                </c:pt>
                <c:pt idx="28">
                  <c:v>0.9786439738298546</c:v>
                </c:pt>
                <c:pt idx="29">
                  <c:v>0.9819528391917365</c:v>
                </c:pt>
                <c:pt idx="30">
                  <c:v>0.9850896321391437</c:v>
                </c:pt>
                <c:pt idx="31">
                  <c:v>0.9880931286803858</c:v>
                </c:pt>
                <c:pt idx="32">
                  <c:v>0.9907348605745026</c:v>
                </c:pt>
                <c:pt idx="33">
                  <c:v>0.9925265293040528</c:v>
                </c:pt>
                <c:pt idx="34">
                  <c:v>0.9957592385856147</c:v>
                </c:pt>
                <c:pt idx="35">
                  <c:v>0.997670120275112</c:v>
                </c:pt>
                <c:pt idx="36">
                  <c:v>0.9985318162421715</c:v>
                </c:pt>
                <c:pt idx="37">
                  <c:v>0.9992984024160491</c:v>
                </c:pt>
                <c:pt idx="38">
                  <c:v>0.9995014646163648</c:v>
                </c:pt>
                <c:pt idx="39">
                  <c:v>0.9998417938860965</c:v>
                </c:pt>
                <c:pt idx="40">
                  <c:v>0.9998935365915849</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9</c:f>
              <c:strCache>
                <c:ptCount val="28"/>
                <c:pt idx="0">
                  <c:v>Mini Babybe</c:v>
                </c:pt>
                <c:pt idx="1">
                  <c:v>La Vache Qu</c:v>
                </c:pt>
                <c:pt idx="2">
                  <c:v>Kiri</c:v>
                </c:pt>
                <c:pt idx="3">
                  <c:v>Ficello</c:v>
                </c:pt>
                <c:pt idx="4">
                  <c:v>La Vache Qu</c:v>
                </c:pt>
                <c:pt idx="5">
                  <c:v>Kiri</c:v>
                </c:pt>
                <c:pt idx="6">
                  <c:v>La Vache Qu</c:v>
                </c:pt>
                <c:pt idx="7">
                  <c:v>Mini Babybe</c:v>
                </c:pt>
                <c:pt idx="8">
                  <c:v>P'Tit Louis</c:v>
                </c:pt>
                <c:pt idx="9">
                  <c:v>Private Lab</c:v>
                </c:pt>
                <c:pt idx="10">
                  <c:v>La Vache Qu</c:v>
                </c:pt>
                <c:pt idx="11">
                  <c:v>P'Tit Louis</c:v>
                </c:pt>
                <c:pt idx="12">
                  <c:v>Private Lab</c:v>
                </c:pt>
                <c:pt idx="13">
                  <c:v>Mini Babybe</c:v>
                </c:pt>
                <c:pt idx="14">
                  <c:v>Kiri</c:v>
                </c:pt>
                <c:pt idx="15">
                  <c:v>Mini Babybe</c:v>
                </c:pt>
                <c:pt idx="16">
                  <c:v>Private Lab</c:v>
                </c:pt>
                <c:pt idx="17">
                  <c:v>La Vache Qu</c:v>
                </c:pt>
                <c:pt idx="18">
                  <c:v>Private Lab</c:v>
                </c:pt>
                <c:pt idx="19">
                  <c:v>Mini Babybe</c:v>
                </c:pt>
                <c:pt idx="20">
                  <c:v>La Vache Qu</c:v>
                </c:pt>
                <c:pt idx="21">
                  <c:v>P'Tit Louis</c:v>
                </c:pt>
                <c:pt idx="22">
                  <c:v>Ficello</c:v>
                </c:pt>
                <c:pt idx="23">
                  <c:v>Kiri</c:v>
                </c:pt>
                <c:pt idx="24">
                  <c:v>Mini Babybe</c:v>
                </c:pt>
                <c:pt idx="25">
                  <c:v>Ficello</c:v>
                </c:pt>
                <c:pt idx="26">
                  <c:v>Mini Babybe</c:v>
                </c:pt>
                <c:pt idx="27">
                  <c:v>Private Lab</c:v>
                </c:pt>
              </c:strCache>
            </c:strRef>
          </c:cat>
          <c:val>
            <c:numRef>
              <c:f>Sheet1!$B$2:$B$29</c:f>
              <c:numCache>
                <c:formatCode>General</c:formatCode>
                <c:ptCount val="28"/>
                <c:pt idx="0">
                  <c:v>0.96</c:v>
                </c:pt>
                <c:pt idx="1">
                  <c:v>0.91</c:v>
                </c:pt>
                <c:pt idx="2">
                  <c:v>0.96</c:v>
                </c:pt>
                <c:pt idx="3">
                  <c:v>0.83</c:v>
                </c:pt>
                <c:pt idx="4">
                  <c:v>0.47</c:v>
                </c:pt>
                <c:pt idx="5">
                  <c:v>0.71</c:v>
                </c:pt>
                <c:pt idx="6">
                  <c:v>0.51</c:v>
                </c:pt>
                <c:pt idx="7">
                  <c:v>0.2</c:v>
                </c:pt>
                <c:pt idx="8">
                  <c:v>0.36</c:v>
                </c:pt>
                <c:pt idx="9">
                  <c:v>0.3</c:v>
                </c:pt>
                <c:pt idx="10">
                  <c:v>0.09</c:v>
                </c:pt>
                <c:pt idx="11">
                  <c:v>0.3</c:v>
                </c:pt>
                <c:pt idx="12">
                  <c:v>0.32</c:v>
                </c:pt>
                <c:pt idx="13">
                  <c:v>0.13</c:v>
                </c:pt>
                <c:pt idx="14">
                  <c:v>0.06</c:v>
                </c:pt>
                <c:pt idx="15">
                  <c:v>0.17</c:v>
                </c:pt>
                <c:pt idx="16">
                  <c:v>0.13</c:v>
                </c:pt>
                <c:pt idx="17">
                  <c:v>0.08</c:v>
                </c:pt>
                <c:pt idx="18">
                  <c:v>0.11</c:v>
                </c:pt>
                <c:pt idx="19">
                  <c:v>0.06</c:v>
                </c:pt>
                <c:pt idx="20">
                  <c:v>0.05</c:v>
                </c:pt>
                <c:pt idx="21">
                  <c:v>0.05</c:v>
                </c:pt>
                <c:pt idx="22">
                  <c:v>0.02</c:v>
                </c:pt>
                <c:pt idx="23">
                  <c:v>0.02</c:v>
                </c:pt>
                <c:pt idx="24">
                  <c:v>0.05</c:v>
                </c:pt>
                <c:pt idx="25">
                  <c:v>0.03</c:v>
                </c:pt>
                <c:pt idx="26">
                  <c:v>0.06</c:v>
                </c:pt>
                <c:pt idx="27">
                  <c:v>0.05</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Item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7ECAC4"/>
              </a:solidFill>
            </c:spPr>
            <c:extLst>
              <c:ext xmlns:c16="http://schemas.microsoft.com/office/drawing/2014/chart" uri="{C3380CC4-5D6E-409C-BE32-E72D297353CC}">
                <c16:uniqueId val="{00000045-2993-41DE-A2CB-63102DE87051}"/>
              </c:ext>
            </c:extLst>
          </c:dPt>
          <c:dPt>
            <c:idx val="7"/>
            <c:invertIfNegative val="1"/>
            <c:bubble3D val="0"/>
            <c:spPr>
              <a:solidFill>
                <a:srgbClr val="7ECAC4"/>
              </a:solidFill>
            </c:spPr>
            <c:extLst>
              <c:ext xmlns:c16="http://schemas.microsoft.com/office/drawing/2014/chart" uri="{C3380CC4-5D6E-409C-BE32-E72D297353CC}">
                <c16:uniqueId val="{00000047-2993-41DE-A2CB-63102DE87051}"/>
              </c:ext>
            </c:extLst>
          </c:dPt>
          <c:dPt>
            <c:idx val="8"/>
            <c:invertIfNegative val="1"/>
            <c:bubble3D val="0"/>
            <c:spPr>
              <a:solidFill>
                <a:srgbClr val="7ECAC4"/>
              </a:solidFill>
            </c:spPr>
            <c:extLst>
              <c:ext xmlns:c16="http://schemas.microsoft.com/office/drawing/2014/chart" uri="{C3380CC4-5D6E-409C-BE32-E72D297353CC}">
                <c16:uniqueId val="{00000049-2993-41DE-A2CB-63102DE87051}"/>
              </c:ext>
            </c:extLst>
          </c:dPt>
          <c:dPt>
            <c:idx val="9"/>
            <c:invertIfNegative val="1"/>
            <c:bubble3D val="0"/>
            <c:spPr>
              <a:solidFill>
                <a:srgbClr val="7ECAC4"/>
              </a:solidFill>
            </c:spPr>
            <c:extLst>
              <c:ext xmlns:c16="http://schemas.microsoft.com/office/drawing/2014/chart" uri="{C3380CC4-5D6E-409C-BE32-E72D297353CC}">
                <c16:uniqueId val="{0000004B-2993-41DE-A2CB-63102DE87051}"/>
              </c:ext>
            </c:extLst>
          </c:dPt>
          <c:dPt>
            <c:idx val="10"/>
            <c:invertIfNegative val="1"/>
            <c:bubble3D val="0"/>
            <c:spPr>
              <a:solidFill>
                <a:srgbClr val="AEABAB"/>
              </a:solidFill>
            </c:spPr>
            <c:extLst>
              <c:ext xmlns:c16="http://schemas.microsoft.com/office/drawing/2014/chart" uri="{C3380CC4-5D6E-409C-BE32-E72D297353CC}">
                <c16:uniqueId val="{0000004D-2993-41DE-A2CB-63102DE87051}"/>
              </c:ext>
            </c:extLst>
          </c:dPt>
          <c:dPt>
            <c:idx val="11"/>
            <c:invertIfNegative val="1"/>
            <c:bubble3D val="0"/>
            <c:spPr>
              <a:solidFill>
                <a:srgbClr val="AEABAB"/>
              </a:solidFill>
            </c:spPr>
            <c:extLst>
              <c:ext xmlns:c16="http://schemas.microsoft.com/office/drawing/2014/chart" uri="{C3380CC4-5D6E-409C-BE32-E72D297353CC}">
                <c16:uniqueId val="{0000004F-2993-41DE-A2CB-63102DE87051}"/>
              </c:ext>
            </c:extLst>
          </c:dPt>
          <c:dPt>
            <c:idx val="12"/>
            <c:invertIfNegative val="1"/>
            <c:bubble3D val="0"/>
            <c:spPr>
              <a:solidFill>
                <a:srgbClr val="AEABAB"/>
              </a:solidFill>
            </c:spPr>
            <c:extLst>
              <c:ext xmlns:c16="http://schemas.microsoft.com/office/drawing/2014/chart" uri="{C3380CC4-5D6E-409C-BE32-E72D297353CC}">
                <c16:uniqueId val="{00000051-2993-41DE-A2CB-63102DE87051}"/>
              </c:ext>
            </c:extLst>
          </c:dPt>
          <c:dPt>
            <c:idx val="13"/>
            <c:invertIfNegative val="1"/>
            <c:bubble3D val="0"/>
            <c:spPr>
              <a:solidFill>
                <a:srgbClr val="AEABAB"/>
              </a:solidFill>
            </c:spPr>
            <c:extLst>
              <c:ext xmlns:c16="http://schemas.microsoft.com/office/drawing/2014/chart" uri="{C3380CC4-5D6E-409C-BE32-E72D297353CC}">
                <c16:uniqueId val="{00000053-2993-41DE-A2CB-63102DE87051}"/>
              </c:ext>
            </c:extLst>
          </c:dPt>
          <c:dPt>
            <c:idx val="14"/>
            <c:invertIfNegative val="1"/>
            <c:bubble3D val="0"/>
            <c:spPr>
              <a:solidFill>
                <a:srgbClr val="AEABAB"/>
              </a:solidFill>
            </c:spPr>
            <c:extLst>
              <c:ext xmlns:c16="http://schemas.microsoft.com/office/drawing/2014/chart" uri="{C3380CC4-5D6E-409C-BE32-E72D297353CC}">
                <c16:uniqueId val="{00000055-2993-41DE-A2CB-63102DE87051}"/>
              </c:ext>
            </c:extLst>
          </c:dPt>
          <c:dPt>
            <c:idx val="15"/>
            <c:invertIfNegative val="1"/>
            <c:bubble3D val="0"/>
            <c:spPr>
              <a:solidFill>
                <a:srgbClr val="AEABAB"/>
              </a:solidFill>
            </c:spPr>
            <c:extLst>
              <c:ext xmlns:c16="http://schemas.microsoft.com/office/drawing/2014/chart" uri="{C3380CC4-5D6E-409C-BE32-E72D297353CC}">
                <c16:uniqueId val="{00000057-2993-41DE-A2CB-63102DE87051}"/>
              </c:ext>
            </c:extLst>
          </c:dPt>
          <c:dPt>
            <c:idx val="16"/>
            <c:invertIfNegative val="1"/>
            <c:bubble3D val="0"/>
            <c:spPr>
              <a:solidFill>
                <a:srgbClr val="AEABAB"/>
              </a:solidFill>
            </c:spPr>
            <c:extLst>
              <c:ext xmlns:c16="http://schemas.microsoft.com/office/drawing/2014/chart" uri="{C3380CC4-5D6E-409C-BE32-E72D297353CC}">
                <c16:uniqueId val="{00000059-2993-41DE-A2CB-63102DE87051}"/>
              </c:ext>
            </c:extLst>
          </c:dPt>
          <c:dPt>
            <c:idx val="17"/>
            <c:invertIfNegative val="1"/>
            <c:bubble3D val="0"/>
            <c:spPr>
              <a:solidFill>
                <a:srgbClr val="AEABAB"/>
              </a:solidFill>
            </c:spPr>
            <c:extLst>
              <c:ext xmlns:c16="http://schemas.microsoft.com/office/drawing/2014/chart" uri="{C3380CC4-5D6E-409C-BE32-E72D297353CC}">
                <c16:uniqueId val="{0000005B-2993-41DE-A2CB-63102DE87051}"/>
              </c:ext>
            </c:extLst>
          </c:dPt>
          <c:dPt>
            <c:idx val="18"/>
            <c:invertIfNegative val="1"/>
            <c:bubble3D val="0"/>
            <c:spPr>
              <a:solidFill>
                <a:srgbClr val="AEABAB"/>
              </a:solidFill>
            </c:spPr>
            <c:extLst>
              <c:ext xmlns:c16="http://schemas.microsoft.com/office/drawing/2014/chart" uri="{C3380CC4-5D6E-409C-BE32-E72D297353CC}">
                <c16:uniqueId val="{0000005D-2993-41DE-A2CB-63102DE87051}"/>
              </c:ext>
            </c:extLst>
          </c:dPt>
          <c:dPt>
            <c:idx val="19"/>
            <c:invertIfNegative val="1"/>
            <c:bubble3D val="0"/>
            <c:spPr>
              <a:solidFill>
                <a:srgbClr val="AEABAB"/>
              </a:solidFill>
            </c:spPr>
            <c:extLst>
              <c:ext xmlns:c16="http://schemas.microsoft.com/office/drawing/2014/chart" uri="{C3380CC4-5D6E-409C-BE32-E72D297353CC}">
                <c16:uniqueId val="{0000005F-2993-41DE-A2CB-63102DE87051}"/>
              </c:ext>
            </c:extLst>
          </c:dPt>
          <c:dPt>
            <c:idx val="20"/>
            <c:invertIfNegative val="1"/>
            <c:bubble3D val="0"/>
            <c:spPr>
              <a:solidFill>
                <a:srgbClr val="AEABAB"/>
              </a:solidFill>
            </c:spPr>
            <c:extLst>
              <c:ext xmlns:c16="http://schemas.microsoft.com/office/drawing/2014/chart" uri="{C3380CC4-5D6E-409C-BE32-E72D297353CC}">
                <c16:uniqueId val="{00000061-2993-41DE-A2CB-63102DE87051}"/>
              </c:ext>
            </c:extLst>
          </c:dPt>
          <c:dPt>
            <c:idx val="21"/>
            <c:invertIfNegative val="1"/>
            <c:bubble3D val="0"/>
            <c:spPr>
              <a:solidFill>
                <a:srgbClr val="AEABAB"/>
              </a:solidFill>
            </c:spPr>
            <c:extLst>
              <c:ext xmlns:c16="http://schemas.microsoft.com/office/drawing/2014/chart" uri="{C3380CC4-5D6E-409C-BE32-E72D297353CC}">
                <c16:uniqueId val="{00000063-2993-41DE-A2CB-63102DE87051}"/>
              </c:ext>
            </c:extLst>
          </c:dPt>
          <c:dPt>
            <c:idx val="22"/>
            <c:invertIfNegative val="1"/>
            <c:bubble3D val="0"/>
            <c:spPr>
              <a:solidFill>
                <a:srgbClr val="AEABAB"/>
              </a:solidFill>
            </c:spPr>
            <c:extLst>
              <c:ext xmlns:c16="http://schemas.microsoft.com/office/drawing/2014/chart" uri="{C3380CC4-5D6E-409C-BE32-E72D297353CC}">
                <c16:uniqueId val="{00000065-2993-41DE-A2CB-63102DE87051}"/>
              </c:ext>
            </c:extLst>
          </c:dPt>
          <c:dPt>
            <c:idx val="23"/>
            <c:invertIfNegative val="1"/>
            <c:bubble3D val="0"/>
            <c:spPr>
              <a:solidFill>
                <a:srgbClr val="AEABAB"/>
              </a:solidFill>
            </c:spPr>
            <c:extLst>
              <c:ext xmlns:c16="http://schemas.microsoft.com/office/drawing/2014/chart" uri="{C3380CC4-5D6E-409C-BE32-E72D297353CC}">
                <c16:uniqueId val="{00000067-2993-41DE-A2CB-63102DE87051}"/>
              </c:ext>
            </c:extLst>
          </c:dPt>
          <c:dPt>
            <c:idx val="24"/>
            <c:invertIfNegative val="1"/>
            <c:bubble3D val="0"/>
            <c:spPr>
              <a:solidFill>
                <a:srgbClr val="AEABAB"/>
              </a:solidFill>
            </c:spPr>
            <c:extLst>
              <c:ext xmlns:c16="http://schemas.microsoft.com/office/drawing/2014/chart" uri="{C3380CC4-5D6E-409C-BE32-E72D297353CC}">
                <c16:uniqueId val="{00000069-2993-41DE-A2CB-63102DE87051}"/>
              </c:ext>
            </c:extLst>
          </c:dPt>
          <c:dPt>
            <c:idx val="25"/>
            <c:invertIfNegative val="1"/>
            <c:bubble3D val="0"/>
            <c:spPr>
              <a:solidFill>
                <a:srgbClr val="AEABAB"/>
              </a:solidFill>
            </c:spPr>
            <c:extLst>
              <c:ext xmlns:c16="http://schemas.microsoft.com/office/drawing/2014/chart" uri="{C3380CC4-5D6E-409C-BE32-E72D297353CC}">
                <c16:uniqueId val="{0000006B-2993-41DE-A2CB-63102DE87051}"/>
              </c:ext>
            </c:extLst>
          </c:dPt>
          <c:dPt>
            <c:idx val="26"/>
            <c:invertIfNegative val="1"/>
            <c:bubble3D val="0"/>
            <c:spPr>
              <a:solidFill>
                <a:srgbClr val="AEABAB"/>
              </a:solidFill>
            </c:spPr>
            <c:extLst>
              <c:ext xmlns:c16="http://schemas.microsoft.com/office/drawing/2014/chart" uri="{C3380CC4-5D6E-409C-BE32-E72D297353CC}">
                <c16:uniqueId val="{0000006D-2993-41DE-A2CB-63102DE87051}"/>
              </c:ext>
            </c:extLst>
          </c:dPt>
          <c:dPt>
            <c:idx val="27"/>
            <c:invertIfNegative val="1"/>
            <c:bubble3D val="0"/>
            <c:spPr>
              <a:solidFill>
                <a:srgbClr val="AEABAB"/>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9</c:f>
              <c:strCache>
                <c:ptCount val="28"/>
                <c:pt idx="0">
                  <c:v>Mini Babybe</c:v>
                </c:pt>
                <c:pt idx="1">
                  <c:v>La Vache Qu</c:v>
                </c:pt>
                <c:pt idx="2">
                  <c:v>Kiri</c:v>
                </c:pt>
                <c:pt idx="3">
                  <c:v>Ficello</c:v>
                </c:pt>
                <c:pt idx="4">
                  <c:v>La Vache Qu</c:v>
                </c:pt>
                <c:pt idx="5">
                  <c:v>Kiri</c:v>
                </c:pt>
                <c:pt idx="6">
                  <c:v>La Vache Qu</c:v>
                </c:pt>
                <c:pt idx="7">
                  <c:v>Mini Babybe</c:v>
                </c:pt>
                <c:pt idx="8">
                  <c:v>P'Tit Louis</c:v>
                </c:pt>
                <c:pt idx="9">
                  <c:v>Private Lab</c:v>
                </c:pt>
                <c:pt idx="10">
                  <c:v>La Vache Qu</c:v>
                </c:pt>
                <c:pt idx="11">
                  <c:v>P'Tit Louis</c:v>
                </c:pt>
                <c:pt idx="12">
                  <c:v>Private Lab</c:v>
                </c:pt>
                <c:pt idx="13">
                  <c:v>Mini Babybe</c:v>
                </c:pt>
                <c:pt idx="14">
                  <c:v>Kiri</c:v>
                </c:pt>
                <c:pt idx="15">
                  <c:v>Mini Babybe</c:v>
                </c:pt>
                <c:pt idx="16">
                  <c:v>Private Lab</c:v>
                </c:pt>
                <c:pt idx="17">
                  <c:v>La Vache Qu</c:v>
                </c:pt>
                <c:pt idx="18">
                  <c:v>Private Lab</c:v>
                </c:pt>
                <c:pt idx="19">
                  <c:v>Mini Babybe</c:v>
                </c:pt>
                <c:pt idx="20">
                  <c:v>La Vache Qu</c:v>
                </c:pt>
                <c:pt idx="21">
                  <c:v>P'Tit Louis</c:v>
                </c:pt>
                <c:pt idx="22">
                  <c:v>Ficello</c:v>
                </c:pt>
                <c:pt idx="23">
                  <c:v>Kiri</c:v>
                </c:pt>
                <c:pt idx="24">
                  <c:v>Mini Babybe</c:v>
                </c:pt>
                <c:pt idx="25">
                  <c:v>Ficello</c:v>
                </c:pt>
                <c:pt idx="26">
                  <c:v>Mini Babybe</c:v>
                </c:pt>
                <c:pt idx="27">
                  <c:v>Private Lab</c:v>
                </c:pt>
              </c:strCache>
            </c:strRef>
          </c:cat>
          <c:val>
            <c:numRef>
              <c:f>Sheet1!$C$2:$C$29</c:f>
              <c:numCache>
                <c:formatCode>General</c:formatCode>
                <c:ptCount val="28"/>
                <c:pt idx="0">
                  <c:v>0.22121145067457676</c:v>
                </c:pt>
                <c:pt idx="1">
                  <c:v>0.41384195574785376</c:v>
                </c:pt>
                <c:pt idx="2">
                  <c:v>0.5777853881405315</c:v>
                </c:pt>
                <c:pt idx="3">
                  <c:v>0.688759053077144</c:v>
                </c:pt>
                <c:pt idx="4">
                  <c:v>0.7805813959299399</c:v>
                </c:pt>
                <c:pt idx="5">
                  <c:v>0.8394915728574548</c:v>
                </c:pt>
                <c:pt idx="6">
                  <c:v>0.8702310141500923</c:v>
                </c:pt>
                <c:pt idx="7">
                  <c:v>0.9000437696116458</c:v>
                </c:pt>
                <c:pt idx="8">
                  <c:v>0.9319920462300386</c:v>
                </c:pt>
                <c:pt idx="9">
                  <c:v>0.9438258055524245</c:v>
                </c:pt>
                <c:pt idx="10">
                  <c:v>0.9526850914566938</c:v>
                </c:pt>
                <c:pt idx="11">
                  <c:v>0.9652087809087311</c:v>
                </c:pt>
                <c:pt idx="12">
                  <c:v>0.9687316585476097</c:v>
                </c:pt>
                <c:pt idx="13">
                  <c:v>0.9751423171768449</c:v>
                </c:pt>
                <c:pt idx="14">
                  <c:v>0.9779756117334211</c:v>
                </c:pt>
                <c:pt idx="15">
                  <c:v>0.9803613540288311</c:v>
                </c:pt>
                <c:pt idx="16">
                  <c:v>0.9826517971222279</c:v>
                </c:pt>
                <c:pt idx="17">
                  <c:v>0.9866323608048613</c:v>
                </c:pt>
                <c:pt idx="18">
                  <c:v>0.9884767786454272</c:v>
                </c:pt>
                <c:pt idx="19">
                  <c:v>0.9901303898535573</c:v>
                </c:pt>
                <c:pt idx="20">
                  <c:v>0.9917622758976451</c:v>
                </c:pt>
                <c:pt idx="21">
                  <c:v>0.9932777622609054</c:v>
                </c:pt>
                <c:pt idx="22">
                  <c:v>0.9943328556110894</c:v>
                </c:pt>
                <c:pt idx="23">
                  <c:v>0.9953305473297623</c:v>
                </c:pt>
                <c:pt idx="24">
                  <c:v>0.9962865239570952</c:v>
                </c:pt>
                <c:pt idx="25">
                  <c:v>0.9975696274155192</c:v>
                </c:pt>
                <c:pt idx="26">
                  <c:v>0.9988207331083729</c:v>
                </c:pt>
                <c:pt idx="27">
                  <c:v>0.9995455762013256</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39</c:f>
              <c:strCache>
                <c:ptCount val="38"/>
                <c:pt idx="0">
                  <c:v>Mini Babybe</c:v>
                </c:pt>
                <c:pt idx="1">
                  <c:v>La Vache Qu</c:v>
                </c:pt>
                <c:pt idx="2">
                  <c:v>La Vache Qu</c:v>
                </c:pt>
                <c:pt idx="3">
                  <c:v>Mini Babybe</c:v>
                </c:pt>
                <c:pt idx="4">
                  <c:v>La Vache Qu</c:v>
                </c:pt>
                <c:pt idx="5">
                  <c:v>Kiri</c:v>
                </c:pt>
                <c:pt idx="6">
                  <c:v>Private Lab</c:v>
                </c:pt>
                <c:pt idx="7">
                  <c:v>Kiri</c:v>
                </c:pt>
                <c:pt idx="8">
                  <c:v>Private Lab</c:v>
                </c:pt>
                <c:pt idx="9">
                  <c:v>Ficello</c:v>
                </c:pt>
                <c:pt idx="10">
                  <c:v>Kiri</c:v>
                </c:pt>
                <c:pt idx="11">
                  <c:v>Kiri</c:v>
                </c:pt>
                <c:pt idx="12">
                  <c:v>Mini Babybe</c:v>
                </c:pt>
                <c:pt idx="13">
                  <c:v>Kiri</c:v>
                </c:pt>
                <c:pt idx="14">
                  <c:v>Ficello</c:v>
                </c:pt>
                <c:pt idx="15">
                  <c:v>Private Lab</c:v>
                </c:pt>
                <c:pt idx="16">
                  <c:v>La Vache Qu</c:v>
                </c:pt>
                <c:pt idx="17">
                  <c:v>La Vache Qu</c:v>
                </c:pt>
                <c:pt idx="18">
                  <c:v>P'Tit Louis</c:v>
                </c:pt>
                <c:pt idx="19">
                  <c:v>Ficello</c:v>
                </c:pt>
                <c:pt idx="20">
                  <c:v>Private Lab</c:v>
                </c:pt>
                <c:pt idx="21">
                  <c:v>La Vache Qu</c:v>
                </c:pt>
                <c:pt idx="22">
                  <c:v>Mini Babybe</c:v>
                </c:pt>
                <c:pt idx="23">
                  <c:v>Mini Babybe</c:v>
                </c:pt>
                <c:pt idx="24">
                  <c:v>La Vache Qu</c:v>
                </c:pt>
                <c:pt idx="25">
                  <c:v>Kiri</c:v>
                </c:pt>
                <c:pt idx="26">
                  <c:v>Kiri</c:v>
                </c:pt>
                <c:pt idx="27">
                  <c:v>Mini Babybe</c:v>
                </c:pt>
                <c:pt idx="28">
                  <c:v>Mini Babybe</c:v>
                </c:pt>
                <c:pt idx="29">
                  <c:v>Kiri</c:v>
                </c:pt>
                <c:pt idx="30">
                  <c:v>P'Tit Louis</c:v>
                </c:pt>
                <c:pt idx="31">
                  <c:v>Mini Babybe</c:v>
                </c:pt>
                <c:pt idx="32">
                  <c:v>Mini Babybe</c:v>
                </c:pt>
                <c:pt idx="33">
                  <c:v>La Vache Qu</c:v>
                </c:pt>
                <c:pt idx="34">
                  <c:v>Mini Babybe</c:v>
                </c:pt>
                <c:pt idx="35">
                  <c:v>Mini Babybe</c:v>
                </c:pt>
                <c:pt idx="36">
                  <c:v>La Vache Qu</c:v>
                </c:pt>
                <c:pt idx="37">
                  <c:v>Private Lab</c:v>
                </c:pt>
              </c:strCache>
            </c:strRef>
          </c:cat>
          <c:val>
            <c:numRef>
              <c:f>Sheet1!$B$2:$B$39</c:f>
              <c:numCache>
                <c:formatCode>General</c:formatCode>
                <c:ptCount val="38"/>
                <c:pt idx="0">
                  <c:v>1.0</c:v>
                </c:pt>
                <c:pt idx="1">
                  <c:v>0.98</c:v>
                </c:pt>
                <c:pt idx="2">
                  <c:v>1.0</c:v>
                </c:pt>
                <c:pt idx="3">
                  <c:v>1.0</c:v>
                </c:pt>
                <c:pt idx="4">
                  <c:v>0.97</c:v>
                </c:pt>
                <c:pt idx="5">
                  <c:v>0.99</c:v>
                </c:pt>
                <c:pt idx="6">
                  <c:v>0.99</c:v>
                </c:pt>
                <c:pt idx="7">
                  <c:v>0.89</c:v>
                </c:pt>
                <c:pt idx="8">
                  <c:v>0.99</c:v>
                </c:pt>
                <c:pt idx="9">
                  <c:v>0.71</c:v>
                </c:pt>
                <c:pt idx="10">
                  <c:v>0.96</c:v>
                </c:pt>
                <c:pt idx="11">
                  <c:v>0.99</c:v>
                </c:pt>
                <c:pt idx="12">
                  <c:v>0.9</c:v>
                </c:pt>
                <c:pt idx="13">
                  <c:v>0.99</c:v>
                </c:pt>
                <c:pt idx="14">
                  <c:v>0.96</c:v>
                </c:pt>
                <c:pt idx="15">
                  <c:v>0.98</c:v>
                </c:pt>
                <c:pt idx="16">
                  <c:v>0.97</c:v>
                </c:pt>
                <c:pt idx="17">
                  <c:v>0.89</c:v>
                </c:pt>
                <c:pt idx="18">
                  <c:v>0.93</c:v>
                </c:pt>
                <c:pt idx="19">
                  <c:v>0.91</c:v>
                </c:pt>
                <c:pt idx="20">
                  <c:v>0.94</c:v>
                </c:pt>
                <c:pt idx="21">
                  <c:v>0.87</c:v>
                </c:pt>
                <c:pt idx="22">
                  <c:v>0.81</c:v>
                </c:pt>
                <c:pt idx="23">
                  <c:v>0.85</c:v>
                </c:pt>
                <c:pt idx="24">
                  <c:v>0.69</c:v>
                </c:pt>
                <c:pt idx="25">
                  <c:v>0.6</c:v>
                </c:pt>
                <c:pt idx="26">
                  <c:v>0.68</c:v>
                </c:pt>
                <c:pt idx="27">
                  <c:v>0.73</c:v>
                </c:pt>
                <c:pt idx="28">
                  <c:v>0.89</c:v>
                </c:pt>
                <c:pt idx="29">
                  <c:v>0.83</c:v>
                </c:pt>
                <c:pt idx="30">
                  <c:v>0.35</c:v>
                </c:pt>
                <c:pt idx="31">
                  <c:v>0.77</c:v>
                </c:pt>
                <c:pt idx="32">
                  <c:v>0.59</c:v>
                </c:pt>
                <c:pt idx="33">
                  <c:v>0.25</c:v>
                </c:pt>
                <c:pt idx="34">
                  <c:v>0.31</c:v>
                </c:pt>
                <c:pt idx="35">
                  <c:v>0.09</c:v>
                </c:pt>
                <c:pt idx="36">
                  <c:v>0.12</c:v>
                </c:pt>
                <c:pt idx="37">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Item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7ECAC4"/>
              </a:solidFill>
            </c:spPr>
            <c:extLst>
              <c:ext xmlns:c16="http://schemas.microsoft.com/office/drawing/2014/chart" uri="{C3380CC4-5D6E-409C-BE32-E72D297353CC}">
                <c16:uniqueId val="{00000055-2993-41DE-A2CB-63102DE87051}"/>
              </c:ext>
            </c:extLst>
          </c:dPt>
          <c:dPt>
            <c:idx val="15"/>
            <c:invertIfNegative val="1"/>
            <c:bubble3D val="0"/>
            <c:spPr>
              <a:solidFill>
                <a:srgbClr val="7ECAC4"/>
              </a:solidFill>
            </c:spPr>
            <c:extLst>
              <c:ext xmlns:c16="http://schemas.microsoft.com/office/drawing/2014/chart" uri="{C3380CC4-5D6E-409C-BE32-E72D297353CC}">
                <c16:uniqueId val="{00000057-2993-41DE-A2CB-63102DE87051}"/>
              </c:ext>
            </c:extLst>
          </c:dPt>
          <c:dPt>
            <c:idx val="16"/>
            <c:invertIfNegative val="1"/>
            <c:bubble3D val="0"/>
            <c:spPr>
              <a:solidFill>
                <a:srgbClr val="7ECAC4"/>
              </a:solidFill>
            </c:spPr>
            <c:extLst>
              <c:ext xmlns:c16="http://schemas.microsoft.com/office/drawing/2014/chart" uri="{C3380CC4-5D6E-409C-BE32-E72D297353CC}">
                <c16:uniqueId val="{00000059-2993-41DE-A2CB-63102DE87051}"/>
              </c:ext>
            </c:extLst>
          </c:dPt>
          <c:dPt>
            <c:idx val="17"/>
            <c:invertIfNegative val="1"/>
            <c:bubble3D val="0"/>
            <c:spPr>
              <a:solidFill>
                <a:srgbClr val="7ECAC4"/>
              </a:solidFill>
            </c:spPr>
            <c:extLst>
              <c:ext xmlns:c16="http://schemas.microsoft.com/office/drawing/2014/chart" uri="{C3380CC4-5D6E-409C-BE32-E72D297353CC}">
                <c16:uniqueId val="{0000005B-2993-41DE-A2CB-63102DE87051}"/>
              </c:ext>
            </c:extLst>
          </c:dPt>
          <c:dPt>
            <c:idx val="18"/>
            <c:invertIfNegative val="1"/>
            <c:bubble3D val="0"/>
            <c:spPr>
              <a:solidFill>
                <a:srgbClr val="7ECAC4"/>
              </a:solidFill>
            </c:spPr>
            <c:extLst>
              <c:ext xmlns:c16="http://schemas.microsoft.com/office/drawing/2014/chart" uri="{C3380CC4-5D6E-409C-BE32-E72D297353CC}">
                <c16:uniqueId val="{0000005D-2993-41DE-A2CB-63102DE87051}"/>
              </c:ext>
            </c:extLst>
          </c:dPt>
          <c:dPt>
            <c:idx val="19"/>
            <c:invertIfNegative val="1"/>
            <c:bubble3D val="0"/>
            <c:spPr>
              <a:solidFill>
                <a:srgbClr val="7ECAC4"/>
              </a:solidFill>
            </c:spPr>
            <c:extLst>
              <c:ext xmlns:c16="http://schemas.microsoft.com/office/drawing/2014/chart" uri="{C3380CC4-5D6E-409C-BE32-E72D297353CC}">
                <c16:uniqueId val="{0000005F-2993-41DE-A2CB-63102DE87051}"/>
              </c:ext>
            </c:extLst>
          </c:dPt>
          <c:dPt>
            <c:idx val="20"/>
            <c:invertIfNegative val="1"/>
            <c:bubble3D val="0"/>
            <c:spPr>
              <a:solidFill>
                <a:srgbClr val="7ECAC4"/>
              </a:solidFill>
            </c:spPr>
            <c:extLst>
              <c:ext xmlns:c16="http://schemas.microsoft.com/office/drawing/2014/chart" uri="{C3380CC4-5D6E-409C-BE32-E72D297353CC}">
                <c16:uniqueId val="{00000061-2993-41DE-A2CB-63102DE87051}"/>
              </c:ext>
            </c:extLst>
          </c:dPt>
          <c:dPt>
            <c:idx val="21"/>
            <c:invertIfNegative val="1"/>
            <c:bubble3D val="0"/>
            <c:spPr>
              <a:solidFill>
                <a:srgbClr val="7ECAC4"/>
              </a:solidFill>
            </c:spPr>
            <c:extLst>
              <c:ext xmlns:c16="http://schemas.microsoft.com/office/drawing/2014/chart" uri="{C3380CC4-5D6E-409C-BE32-E72D297353CC}">
                <c16:uniqueId val="{00000063-2993-41DE-A2CB-63102DE87051}"/>
              </c:ext>
            </c:extLst>
          </c:dPt>
          <c:dPt>
            <c:idx val="22"/>
            <c:invertIfNegative val="1"/>
            <c:bubble3D val="0"/>
            <c:spPr>
              <a:solidFill>
                <a:srgbClr val="AEABAB"/>
              </a:solidFill>
            </c:spPr>
            <c:extLst>
              <c:ext xmlns:c16="http://schemas.microsoft.com/office/drawing/2014/chart" uri="{C3380CC4-5D6E-409C-BE32-E72D297353CC}">
                <c16:uniqueId val="{00000065-2993-41DE-A2CB-63102DE87051}"/>
              </c:ext>
            </c:extLst>
          </c:dPt>
          <c:dPt>
            <c:idx val="23"/>
            <c:invertIfNegative val="1"/>
            <c:bubble3D val="0"/>
            <c:spPr>
              <a:solidFill>
                <a:srgbClr val="AEABAB"/>
              </a:solidFill>
            </c:spPr>
            <c:extLst>
              <c:ext xmlns:c16="http://schemas.microsoft.com/office/drawing/2014/chart" uri="{C3380CC4-5D6E-409C-BE32-E72D297353CC}">
                <c16:uniqueId val="{00000067-2993-41DE-A2CB-63102DE87051}"/>
              </c:ext>
            </c:extLst>
          </c:dPt>
          <c:dPt>
            <c:idx val="24"/>
            <c:invertIfNegative val="1"/>
            <c:bubble3D val="0"/>
            <c:spPr>
              <a:solidFill>
                <a:srgbClr val="AEABAB"/>
              </a:solidFill>
            </c:spPr>
            <c:extLst>
              <c:ext xmlns:c16="http://schemas.microsoft.com/office/drawing/2014/chart" uri="{C3380CC4-5D6E-409C-BE32-E72D297353CC}">
                <c16:uniqueId val="{00000069-2993-41DE-A2CB-63102DE87051}"/>
              </c:ext>
            </c:extLst>
          </c:dPt>
          <c:dPt>
            <c:idx val="25"/>
            <c:invertIfNegative val="1"/>
            <c:bubble3D val="0"/>
            <c:spPr>
              <a:solidFill>
                <a:srgbClr val="AEABAB"/>
              </a:solidFill>
            </c:spPr>
            <c:extLst>
              <c:ext xmlns:c16="http://schemas.microsoft.com/office/drawing/2014/chart" uri="{C3380CC4-5D6E-409C-BE32-E72D297353CC}">
                <c16:uniqueId val="{0000006B-2993-41DE-A2CB-63102DE87051}"/>
              </c:ext>
            </c:extLst>
          </c:dPt>
          <c:dPt>
            <c:idx val="26"/>
            <c:invertIfNegative val="1"/>
            <c:bubble3D val="0"/>
            <c:spPr>
              <a:solidFill>
                <a:srgbClr val="AEABAB"/>
              </a:solidFill>
            </c:spPr>
            <c:extLst>
              <c:ext xmlns:c16="http://schemas.microsoft.com/office/drawing/2014/chart" uri="{C3380CC4-5D6E-409C-BE32-E72D297353CC}">
                <c16:uniqueId val="{0000006D-2993-41DE-A2CB-63102DE87051}"/>
              </c:ext>
            </c:extLst>
          </c:dPt>
          <c:dPt>
            <c:idx val="27"/>
            <c:invertIfNegative val="1"/>
            <c:bubble3D val="0"/>
            <c:spPr>
              <a:solidFill>
                <a:srgbClr val="AEABAB"/>
              </a:solidFill>
            </c:spPr>
            <c:extLst>
              <c:ext xmlns:c16="http://schemas.microsoft.com/office/drawing/2014/chart" uri="{C3380CC4-5D6E-409C-BE32-E72D297353CC}">
                <c16:uniqueId val="{0000006F-2993-41DE-A2CB-63102DE87051}"/>
              </c:ext>
            </c:extLst>
          </c:dPt>
          <c:dPt>
            <c:idx val="28"/>
            <c:invertIfNegative val="1"/>
            <c:bubble3D val="0"/>
            <c:spPr>
              <a:solidFill>
                <a:srgbClr val="AEABAB"/>
              </a:solidFill>
            </c:spPr>
            <c:extLst>
              <c:ext xmlns:c16="http://schemas.microsoft.com/office/drawing/2014/chart" uri="{C3380CC4-5D6E-409C-BE32-E72D297353CC}">
                <c16:uniqueId val="{00000071-2993-41DE-A2CB-63102DE87051}"/>
              </c:ext>
            </c:extLst>
          </c:dPt>
          <c:dPt>
            <c:idx val="29"/>
            <c:invertIfNegative val="1"/>
            <c:bubble3D val="0"/>
            <c:spPr>
              <a:solidFill>
                <a:srgbClr val="AEABAB"/>
              </a:solidFill>
            </c:spPr>
            <c:extLst>
              <c:ext xmlns:c16="http://schemas.microsoft.com/office/drawing/2014/chart" uri="{C3380CC4-5D6E-409C-BE32-E72D297353CC}">
                <c16:uniqueId val="{00000073-2993-41DE-A2CB-63102DE87051}"/>
              </c:ext>
            </c:extLst>
          </c:dPt>
          <c:dPt>
            <c:idx val="30"/>
            <c:invertIfNegative val="1"/>
            <c:bubble3D val="0"/>
            <c:spPr>
              <a:solidFill>
                <a:srgbClr val="AEABAB"/>
              </a:solidFill>
            </c:spPr>
            <c:extLst>
              <c:ext xmlns:c16="http://schemas.microsoft.com/office/drawing/2014/chart" uri="{C3380CC4-5D6E-409C-BE32-E72D297353CC}">
                <c16:uniqueId val="{00000075-2993-41DE-A2CB-63102DE87051}"/>
              </c:ext>
            </c:extLst>
          </c:dPt>
          <c:dPt>
            <c:idx val="31"/>
            <c:invertIfNegative val="1"/>
            <c:bubble3D val="0"/>
            <c:spPr>
              <a:solidFill>
                <a:srgbClr val="AEABAB"/>
              </a:solidFill>
            </c:spPr>
            <c:extLst>
              <c:ext xmlns:c16="http://schemas.microsoft.com/office/drawing/2014/chart" uri="{C3380CC4-5D6E-409C-BE32-E72D297353CC}">
                <c16:uniqueId val="{00000077-2993-41DE-A2CB-63102DE87051}"/>
              </c:ext>
            </c:extLst>
          </c:dPt>
          <c:dPt>
            <c:idx val="32"/>
            <c:invertIfNegative val="1"/>
            <c:bubble3D val="0"/>
            <c:spPr>
              <a:solidFill>
                <a:srgbClr val="AEABAB"/>
              </a:solidFill>
            </c:spPr>
            <c:extLst>
              <c:ext xmlns:c16="http://schemas.microsoft.com/office/drawing/2014/chart" uri="{C3380CC4-5D6E-409C-BE32-E72D297353CC}">
                <c16:uniqueId val="{00000079-2993-41DE-A2CB-63102DE87051}"/>
              </c:ext>
            </c:extLst>
          </c:dPt>
          <c:dPt>
            <c:idx val="33"/>
            <c:invertIfNegative val="1"/>
            <c:bubble3D val="0"/>
            <c:spPr>
              <a:solidFill>
                <a:srgbClr val="AEABAB"/>
              </a:solidFill>
            </c:spPr>
            <c:extLst>
              <c:ext xmlns:c16="http://schemas.microsoft.com/office/drawing/2014/chart" uri="{C3380CC4-5D6E-409C-BE32-E72D297353CC}">
                <c16:uniqueId val="{0000007B-2993-41DE-A2CB-63102DE87051}"/>
              </c:ext>
            </c:extLst>
          </c:dPt>
          <c:dPt>
            <c:idx val="34"/>
            <c:invertIfNegative val="1"/>
            <c:bubble3D val="0"/>
            <c:spPr>
              <a:solidFill>
                <a:srgbClr val="AEABAB"/>
              </a:solidFill>
            </c:spPr>
            <c:extLst>
              <c:ext xmlns:c16="http://schemas.microsoft.com/office/drawing/2014/chart" uri="{C3380CC4-5D6E-409C-BE32-E72D297353CC}">
                <c16:uniqueId val="{0000007D-2993-41DE-A2CB-63102DE87051}"/>
              </c:ext>
            </c:extLst>
          </c:dPt>
          <c:dPt>
            <c:idx val="35"/>
            <c:invertIfNegative val="1"/>
            <c:bubble3D val="0"/>
            <c:spPr>
              <a:solidFill>
                <a:srgbClr val="AEABAB"/>
              </a:solidFill>
            </c:spPr>
            <c:extLst>
              <c:ext xmlns:c16="http://schemas.microsoft.com/office/drawing/2014/chart" uri="{C3380CC4-5D6E-409C-BE32-E72D297353CC}">
                <c16:uniqueId val="{0000007F-2993-41DE-A2CB-63102DE87051}"/>
              </c:ext>
            </c:extLst>
          </c:dPt>
          <c:dPt>
            <c:idx val="36"/>
            <c:invertIfNegative val="1"/>
            <c:bubble3D val="0"/>
            <c:spPr>
              <a:solidFill>
                <a:srgbClr val="AEABAB"/>
              </a:solidFill>
            </c:spPr>
            <c:extLst>
              <c:ext xmlns:c16="http://schemas.microsoft.com/office/drawing/2014/chart" uri="{C3380CC4-5D6E-409C-BE32-E72D297353CC}">
                <c16:uniqueId val="{00000081-2993-41DE-A2CB-63102DE87051}"/>
              </c:ext>
            </c:extLst>
          </c:dPt>
          <c:dPt>
            <c:idx val="37"/>
            <c:invertIfNegative val="1"/>
            <c:bubble3D val="0"/>
            <c:spPr>
              <a:solidFill>
                <a:srgbClr val="AEABAB"/>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39</c:f>
              <c:strCache>
                <c:ptCount val="38"/>
                <c:pt idx="0">
                  <c:v>Mini Babybe</c:v>
                </c:pt>
                <c:pt idx="1">
                  <c:v>La Vache Qu</c:v>
                </c:pt>
                <c:pt idx="2">
                  <c:v>La Vache Qu</c:v>
                </c:pt>
                <c:pt idx="3">
                  <c:v>Mini Babybe</c:v>
                </c:pt>
                <c:pt idx="4">
                  <c:v>La Vache Qu</c:v>
                </c:pt>
                <c:pt idx="5">
                  <c:v>Kiri</c:v>
                </c:pt>
                <c:pt idx="6">
                  <c:v>Private Lab</c:v>
                </c:pt>
                <c:pt idx="7">
                  <c:v>Kiri</c:v>
                </c:pt>
                <c:pt idx="8">
                  <c:v>Private Lab</c:v>
                </c:pt>
                <c:pt idx="9">
                  <c:v>Ficello</c:v>
                </c:pt>
                <c:pt idx="10">
                  <c:v>Kiri</c:v>
                </c:pt>
                <c:pt idx="11">
                  <c:v>Kiri</c:v>
                </c:pt>
                <c:pt idx="12">
                  <c:v>Mini Babybe</c:v>
                </c:pt>
                <c:pt idx="13">
                  <c:v>Kiri</c:v>
                </c:pt>
                <c:pt idx="14">
                  <c:v>Ficello</c:v>
                </c:pt>
                <c:pt idx="15">
                  <c:v>Private Lab</c:v>
                </c:pt>
                <c:pt idx="16">
                  <c:v>La Vache Qu</c:v>
                </c:pt>
                <c:pt idx="17">
                  <c:v>La Vache Qu</c:v>
                </c:pt>
                <c:pt idx="18">
                  <c:v>P'Tit Louis</c:v>
                </c:pt>
                <c:pt idx="19">
                  <c:v>Ficello</c:v>
                </c:pt>
                <c:pt idx="20">
                  <c:v>Private Lab</c:v>
                </c:pt>
                <c:pt idx="21">
                  <c:v>La Vache Qu</c:v>
                </c:pt>
                <c:pt idx="22">
                  <c:v>Mini Babybe</c:v>
                </c:pt>
                <c:pt idx="23">
                  <c:v>Mini Babybe</c:v>
                </c:pt>
                <c:pt idx="24">
                  <c:v>La Vache Qu</c:v>
                </c:pt>
                <c:pt idx="25">
                  <c:v>Kiri</c:v>
                </c:pt>
                <c:pt idx="26">
                  <c:v>Kiri</c:v>
                </c:pt>
                <c:pt idx="27">
                  <c:v>Mini Babybe</c:v>
                </c:pt>
                <c:pt idx="28">
                  <c:v>Mini Babybe</c:v>
                </c:pt>
                <c:pt idx="29">
                  <c:v>Kiri</c:v>
                </c:pt>
                <c:pt idx="30">
                  <c:v>P'Tit Louis</c:v>
                </c:pt>
                <c:pt idx="31">
                  <c:v>Mini Babybe</c:v>
                </c:pt>
                <c:pt idx="32">
                  <c:v>Mini Babybe</c:v>
                </c:pt>
                <c:pt idx="33">
                  <c:v>La Vache Qu</c:v>
                </c:pt>
                <c:pt idx="34">
                  <c:v>Mini Babybe</c:v>
                </c:pt>
                <c:pt idx="35">
                  <c:v>Mini Babybe</c:v>
                </c:pt>
                <c:pt idx="36">
                  <c:v>La Vache Qu</c:v>
                </c:pt>
                <c:pt idx="37">
                  <c:v>Private Lab</c:v>
                </c:pt>
              </c:strCache>
            </c:strRef>
          </c:cat>
          <c:val>
            <c:numRef>
              <c:f>Sheet1!$C$2:$C$39</c:f>
              <c:numCache>
                <c:formatCode>General</c:formatCode>
                <c:ptCount val="38"/>
                <c:pt idx="0">
                  <c:v>0.13246353117019707</c:v>
                </c:pt>
                <c:pt idx="1">
                  <c:v>0.23405846776013234</c:v>
                </c:pt>
                <c:pt idx="2">
                  <c:v>0.3135991325812164</c:v>
                </c:pt>
                <c:pt idx="3">
                  <c:v>0.3804173010200788</c:v>
                </c:pt>
                <c:pt idx="4">
                  <c:v>0.44617181596577743</c:v>
                </c:pt>
                <c:pt idx="5">
                  <c:v>0.5044663119125866</c:v>
                </c:pt>
                <c:pt idx="6">
                  <c:v>0.5608311677216141</c:v>
                </c:pt>
                <c:pt idx="7">
                  <c:v>0.6113597052988737</c:v>
                </c:pt>
                <c:pt idx="8">
                  <c:v>0.6601295445363466</c:v>
                </c:pt>
                <c:pt idx="9">
                  <c:v>0.697013756222745</c:v>
                </c:pt>
                <c:pt idx="10">
                  <c:v>0.7317161375971688</c:v>
                </c:pt>
                <c:pt idx="11">
                  <c:v>0.7641298236451037</c:v>
                </c:pt>
                <c:pt idx="12">
                  <c:v>0.7896798868518716</c:v>
                </c:pt>
                <c:pt idx="13">
                  <c:v>0.8150813524437913</c:v>
                </c:pt>
                <c:pt idx="14">
                  <c:v>0.8356451088521514</c:v>
                </c:pt>
                <c:pt idx="15">
                  <c:v>0.8558081126591603</c:v>
                </c:pt>
                <c:pt idx="16">
                  <c:v>0.873058455426847</c:v>
                </c:pt>
                <c:pt idx="17">
                  <c:v>0.8899985131441592</c:v>
                </c:pt>
                <c:pt idx="18">
                  <c:v>0.9069333806771973</c:v>
                </c:pt>
                <c:pt idx="19">
                  <c:v>0.9232212345604554</c:v>
                </c:pt>
                <c:pt idx="20">
                  <c:v>0.9354057991318809</c:v>
                </c:pt>
                <c:pt idx="21">
                  <c:v>0.9470323925030585</c:v>
                </c:pt>
                <c:pt idx="22">
                  <c:v>0.9557758824945095</c:v>
                </c:pt>
                <c:pt idx="23">
                  <c:v>0.9636106855795339</c:v>
                </c:pt>
                <c:pt idx="24">
                  <c:v>0.9697670710394948</c:v>
                </c:pt>
                <c:pt idx="25">
                  <c:v>0.9752650772258074</c:v>
                </c:pt>
                <c:pt idx="26">
                  <c:v>0.9802663036047728</c:v>
                </c:pt>
                <c:pt idx="27">
                  <c:v>0.9847573436665034</c:v>
                </c:pt>
                <c:pt idx="28">
                  <c:v>0.9884563616079851</c:v>
                </c:pt>
                <c:pt idx="29">
                  <c:v>0.9919882908035265</c:v>
                </c:pt>
                <c:pt idx="30">
                  <c:v>0.9951077674907933</c:v>
                </c:pt>
                <c:pt idx="31">
                  <c:v>0.9979188416691005</c:v>
                </c:pt>
                <c:pt idx="32">
                  <c:v>0.998915955240484</c:v>
                </c:pt>
                <c:pt idx="33">
                  <c:v>0.999351772374915</c:v>
                </c:pt>
                <c:pt idx="34">
                  <c:v>0.9996963830168794</c:v>
                </c:pt>
                <c:pt idx="35">
                  <c:v>0.9999623667655503</c:v>
                </c:pt>
                <c:pt idx="36">
                  <c:v>0.9999784299460329</c:v>
                </c:pt>
                <c:pt idx="37">
                  <c:v>0.999995548757215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39</c:f>
              <c:strCache>
                <c:ptCount val="38"/>
                <c:pt idx="0">
                  <c:v>Mini Babybe</c:v>
                </c:pt>
                <c:pt idx="1">
                  <c:v>La Vache Qu</c:v>
                </c:pt>
                <c:pt idx="2">
                  <c:v>La Vache Qu</c:v>
                </c:pt>
                <c:pt idx="3">
                  <c:v>La Vache Qu</c:v>
                </c:pt>
                <c:pt idx="4">
                  <c:v>Mini Babybe</c:v>
                </c:pt>
                <c:pt idx="5">
                  <c:v>Kiri</c:v>
                </c:pt>
                <c:pt idx="6">
                  <c:v>Kiri</c:v>
                </c:pt>
                <c:pt idx="7">
                  <c:v>Ficello</c:v>
                </c:pt>
                <c:pt idx="8">
                  <c:v>Private Lab</c:v>
                </c:pt>
                <c:pt idx="9">
                  <c:v>Private Lab</c:v>
                </c:pt>
                <c:pt idx="10">
                  <c:v>Kiri</c:v>
                </c:pt>
                <c:pt idx="11">
                  <c:v>Mini Babybe</c:v>
                </c:pt>
                <c:pt idx="12">
                  <c:v>Kiri</c:v>
                </c:pt>
                <c:pt idx="13">
                  <c:v>Kiri</c:v>
                </c:pt>
                <c:pt idx="14">
                  <c:v>La Vache Qu</c:v>
                </c:pt>
                <c:pt idx="15">
                  <c:v>La Vache Qu</c:v>
                </c:pt>
                <c:pt idx="16">
                  <c:v>Ficello</c:v>
                </c:pt>
                <c:pt idx="17">
                  <c:v>Private Lab</c:v>
                </c:pt>
                <c:pt idx="18">
                  <c:v>P'Tit Louis</c:v>
                </c:pt>
                <c:pt idx="19">
                  <c:v>Ficello</c:v>
                </c:pt>
                <c:pt idx="20">
                  <c:v>La Vache Qu</c:v>
                </c:pt>
                <c:pt idx="21">
                  <c:v>Mini Babybe</c:v>
                </c:pt>
                <c:pt idx="22">
                  <c:v>Private Lab</c:v>
                </c:pt>
                <c:pt idx="23">
                  <c:v>Mini Babybe</c:v>
                </c:pt>
                <c:pt idx="24">
                  <c:v>La Vache Qu</c:v>
                </c:pt>
                <c:pt idx="25">
                  <c:v>P'Tit Louis</c:v>
                </c:pt>
                <c:pt idx="26">
                  <c:v>Kiri</c:v>
                </c:pt>
                <c:pt idx="27">
                  <c:v>Mini Babybe</c:v>
                </c:pt>
                <c:pt idx="28">
                  <c:v>Kiri</c:v>
                </c:pt>
                <c:pt idx="29">
                  <c:v>Mini Babybe</c:v>
                </c:pt>
                <c:pt idx="30">
                  <c:v>Mini Babybe</c:v>
                </c:pt>
                <c:pt idx="31">
                  <c:v>Kiri</c:v>
                </c:pt>
                <c:pt idx="32">
                  <c:v>Mini Babybe</c:v>
                </c:pt>
                <c:pt idx="33">
                  <c:v>La Vache Qu</c:v>
                </c:pt>
                <c:pt idx="34">
                  <c:v>Mini Babybe</c:v>
                </c:pt>
                <c:pt idx="35">
                  <c:v>Mini Babybe</c:v>
                </c:pt>
                <c:pt idx="36">
                  <c:v>La Vache Qu</c:v>
                </c:pt>
                <c:pt idx="37">
                  <c:v>Private Lab</c:v>
                </c:pt>
              </c:strCache>
            </c:strRef>
          </c:cat>
          <c:val>
            <c:numRef>
              <c:f>Sheet1!$B$2:$B$39</c:f>
              <c:numCache>
                <c:formatCode>General</c:formatCode>
                <c:ptCount val="38"/>
                <c:pt idx="0">
                  <c:v>1.0</c:v>
                </c:pt>
                <c:pt idx="1">
                  <c:v>0.99</c:v>
                </c:pt>
                <c:pt idx="2">
                  <c:v>1.0</c:v>
                </c:pt>
                <c:pt idx="3">
                  <c:v>1.0</c:v>
                </c:pt>
                <c:pt idx="4">
                  <c:v>1.0</c:v>
                </c:pt>
                <c:pt idx="5">
                  <c:v>0.99</c:v>
                </c:pt>
                <c:pt idx="6">
                  <c:v>1.0</c:v>
                </c:pt>
                <c:pt idx="7">
                  <c:v>0.99</c:v>
                </c:pt>
                <c:pt idx="8">
                  <c:v>1.0</c:v>
                </c:pt>
                <c:pt idx="9">
                  <c:v>1.0</c:v>
                </c:pt>
                <c:pt idx="10">
                  <c:v>0.99</c:v>
                </c:pt>
                <c:pt idx="11">
                  <c:v>0.98</c:v>
                </c:pt>
                <c:pt idx="12">
                  <c:v>1.0</c:v>
                </c:pt>
                <c:pt idx="13">
                  <c:v>1.0</c:v>
                </c:pt>
                <c:pt idx="14">
                  <c:v>0.98</c:v>
                </c:pt>
                <c:pt idx="15">
                  <c:v>0.99</c:v>
                </c:pt>
                <c:pt idx="16">
                  <c:v>0.98</c:v>
                </c:pt>
                <c:pt idx="17">
                  <c:v>0.99</c:v>
                </c:pt>
                <c:pt idx="18">
                  <c:v>0.99</c:v>
                </c:pt>
                <c:pt idx="19">
                  <c:v>0.99</c:v>
                </c:pt>
                <c:pt idx="20">
                  <c:v>0.97</c:v>
                </c:pt>
                <c:pt idx="21">
                  <c:v>0.97</c:v>
                </c:pt>
                <c:pt idx="22">
                  <c:v>0.99</c:v>
                </c:pt>
                <c:pt idx="23">
                  <c:v>0.97</c:v>
                </c:pt>
                <c:pt idx="24">
                  <c:v>0.92</c:v>
                </c:pt>
                <c:pt idx="25">
                  <c:v>0.78</c:v>
                </c:pt>
                <c:pt idx="26">
                  <c:v>0.87</c:v>
                </c:pt>
                <c:pt idx="27">
                  <c:v>0.95</c:v>
                </c:pt>
                <c:pt idx="28">
                  <c:v>0.88</c:v>
                </c:pt>
                <c:pt idx="29">
                  <c:v>0.92</c:v>
                </c:pt>
                <c:pt idx="30">
                  <c:v>0.95</c:v>
                </c:pt>
                <c:pt idx="31">
                  <c:v>0.94</c:v>
                </c:pt>
                <c:pt idx="32">
                  <c:v>0.9</c:v>
                </c:pt>
                <c:pt idx="33">
                  <c:v>0.32</c:v>
                </c:pt>
                <c:pt idx="34">
                  <c:v>0.24</c:v>
                </c:pt>
                <c:pt idx="35">
                  <c:v>0.55</c:v>
                </c:pt>
                <c:pt idx="36">
                  <c:v>0.13</c:v>
                </c:pt>
                <c:pt idx="37">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Item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7ECAC4"/>
              </a:solidFill>
            </c:spPr>
            <c:extLst>
              <c:ext xmlns:c16="http://schemas.microsoft.com/office/drawing/2014/chart" uri="{C3380CC4-5D6E-409C-BE32-E72D297353CC}">
                <c16:uniqueId val="{00000055-2993-41DE-A2CB-63102DE87051}"/>
              </c:ext>
            </c:extLst>
          </c:dPt>
          <c:dPt>
            <c:idx val="15"/>
            <c:invertIfNegative val="1"/>
            <c:bubble3D val="0"/>
            <c:spPr>
              <a:solidFill>
                <a:srgbClr val="7ECAC4"/>
              </a:solidFill>
            </c:spPr>
            <c:extLst>
              <c:ext xmlns:c16="http://schemas.microsoft.com/office/drawing/2014/chart" uri="{C3380CC4-5D6E-409C-BE32-E72D297353CC}">
                <c16:uniqueId val="{00000057-2993-41DE-A2CB-63102DE87051}"/>
              </c:ext>
            </c:extLst>
          </c:dPt>
          <c:dPt>
            <c:idx val="16"/>
            <c:invertIfNegative val="1"/>
            <c:bubble3D val="0"/>
            <c:spPr>
              <a:solidFill>
                <a:srgbClr val="7ECAC4"/>
              </a:solidFill>
            </c:spPr>
            <c:extLst>
              <c:ext xmlns:c16="http://schemas.microsoft.com/office/drawing/2014/chart" uri="{C3380CC4-5D6E-409C-BE32-E72D297353CC}">
                <c16:uniqueId val="{00000059-2993-41DE-A2CB-63102DE87051}"/>
              </c:ext>
            </c:extLst>
          </c:dPt>
          <c:dPt>
            <c:idx val="17"/>
            <c:invertIfNegative val="1"/>
            <c:bubble3D val="0"/>
            <c:spPr>
              <a:solidFill>
                <a:srgbClr val="7ECAC4"/>
              </a:solidFill>
            </c:spPr>
            <c:extLst>
              <c:ext xmlns:c16="http://schemas.microsoft.com/office/drawing/2014/chart" uri="{C3380CC4-5D6E-409C-BE32-E72D297353CC}">
                <c16:uniqueId val="{0000005B-2993-41DE-A2CB-63102DE87051}"/>
              </c:ext>
            </c:extLst>
          </c:dPt>
          <c:dPt>
            <c:idx val="18"/>
            <c:invertIfNegative val="1"/>
            <c:bubble3D val="0"/>
            <c:spPr>
              <a:solidFill>
                <a:srgbClr val="7ECAC4"/>
              </a:solidFill>
            </c:spPr>
            <c:extLst>
              <c:ext xmlns:c16="http://schemas.microsoft.com/office/drawing/2014/chart" uri="{C3380CC4-5D6E-409C-BE32-E72D297353CC}">
                <c16:uniqueId val="{0000005D-2993-41DE-A2CB-63102DE87051}"/>
              </c:ext>
            </c:extLst>
          </c:dPt>
          <c:dPt>
            <c:idx val="19"/>
            <c:invertIfNegative val="1"/>
            <c:bubble3D val="0"/>
            <c:spPr>
              <a:solidFill>
                <a:srgbClr val="7ECAC4"/>
              </a:solidFill>
            </c:spPr>
            <c:extLst>
              <c:ext xmlns:c16="http://schemas.microsoft.com/office/drawing/2014/chart" uri="{C3380CC4-5D6E-409C-BE32-E72D297353CC}">
                <c16:uniqueId val="{0000005F-2993-41DE-A2CB-63102DE87051}"/>
              </c:ext>
            </c:extLst>
          </c:dPt>
          <c:dPt>
            <c:idx val="20"/>
            <c:invertIfNegative val="1"/>
            <c:bubble3D val="0"/>
            <c:spPr>
              <a:solidFill>
                <a:srgbClr val="7ECAC4"/>
              </a:solidFill>
            </c:spPr>
            <c:extLst>
              <c:ext xmlns:c16="http://schemas.microsoft.com/office/drawing/2014/chart" uri="{C3380CC4-5D6E-409C-BE32-E72D297353CC}">
                <c16:uniqueId val="{00000061-2993-41DE-A2CB-63102DE87051}"/>
              </c:ext>
            </c:extLst>
          </c:dPt>
          <c:dPt>
            <c:idx val="21"/>
            <c:invertIfNegative val="1"/>
            <c:bubble3D val="0"/>
            <c:spPr>
              <a:solidFill>
                <a:srgbClr val="7ECAC4"/>
              </a:solidFill>
            </c:spPr>
            <c:extLst>
              <c:ext xmlns:c16="http://schemas.microsoft.com/office/drawing/2014/chart" uri="{C3380CC4-5D6E-409C-BE32-E72D297353CC}">
                <c16:uniqueId val="{00000063-2993-41DE-A2CB-63102DE87051}"/>
              </c:ext>
            </c:extLst>
          </c:dPt>
          <c:dPt>
            <c:idx val="22"/>
            <c:invertIfNegative val="1"/>
            <c:bubble3D val="0"/>
            <c:spPr>
              <a:solidFill>
                <a:srgbClr val="7ECAC4"/>
              </a:solidFill>
            </c:spPr>
            <c:extLst>
              <c:ext xmlns:c16="http://schemas.microsoft.com/office/drawing/2014/chart" uri="{C3380CC4-5D6E-409C-BE32-E72D297353CC}">
                <c16:uniqueId val="{00000065-2993-41DE-A2CB-63102DE87051}"/>
              </c:ext>
            </c:extLst>
          </c:dPt>
          <c:dPt>
            <c:idx val="23"/>
            <c:invertIfNegative val="1"/>
            <c:bubble3D val="0"/>
            <c:spPr>
              <a:solidFill>
                <a:srgbClr val="AEABAB"/>
              </a:solidFill>
            </c:spPr>
            <c:extLst>
              <c:ext xmlns:c16="http://schemas.microsoft.com/office/drawing/2014/chart" uri="{C3380CC4-5D6E-409C-BE32-E72D297353CC}">
                <c16:uniqueId val="{00000067-2993-41DE-A2CB-63102DE87051}"/>
              </c:ext>
            </c:extLst>
          </c:dPt>
          <c:dPt>
            <c:idx val="24"/>
            <c:invertIfNegative val="1"/>
            <c:bubble3D val="0"/>
            <c:spPr>
              <a:solidFill>
                <a:srgbClr val="AEABAB"/>
              </a:solidFill>
            </c:spPr>
            <c:extLst>
              <c:ext xmlns:c16="http://schemas.microsoft.com/office/drawing/2014/chart" uri="{C3380CC4-5D6E-409C-BE32-E72D297353CC}">
                <c16:uniqueId val="{00000069-2993-41DE-A2CB-63102DE87051}"/>
              </c:ext>
            </c:extLst>
          </c:dPt>
          <c:dPt>
            <c:idx val="25"/>
            <c:invertIfNegative val="1"/>
            <c:bubble3D val="0"/>
            <c:spPr>
              <a:solidFill>
                <a:srgbClr val="AEABAB"/>
              </a:solidFill>
            </c:spPr>
            <c:extLst>
              <c:ext xmlns:c16="http://schemas.microsoft.com/office/drawing/2014/chart" uri="{C3380CC4-5D6E-409C-BE32-E72D297353CC}">
                <c16:uniqueId val="{0000006B-2993-41DE-A2CB-63102DE87051}"/>
              </c:ext>
            </c:extLst>
          </c:dPt>
          <c:dPt>
            <c:idx val="26"/>
            <c:invertIfNegative val="1"/>
            <c:bubble3D val="0"/>
            <c:spPr>
              <a:solidFill>
                <a:srgbClr val="AEABAB"/>
              </a:solidFill>
            </c:spPr>
            <c:extLst>
              <c:ext xmlns:c16="http://schemas.microsoft.com/office/drawing/2014/chart" uri="{C3380CC4-5D6E-409C-BE32-E72D297353CC}">
                <c16:uniqueId val="{0000006D-2993-41DE-A2CB-63102DE87051}"/>
              </c:ext>
            </c:extLst>
          </c:dPt>
          <c:dPt>
            <c:idx val="27"/>
            <c:invertIfNegative val="1"/>
            <c:bubble3D val="0"/>
            <c:spPr>
              <a:solidFill>
                <a:srgbClr val="AEABAB"/>
              </a:solidFill>
            </c:spPr>
            <c:extLst>
              <c:ext xmlns:c16="http://schemas.microsoft.com/office/drawing/2014/chart" uri="{C3380CC4-5D6E-409C-BE32-E72D297353CC}">
                <c16:uniqueId val="{0000006F-2993-41DE-A2CB-63102DE87051}"/>
              </c:ext>
            </c:extLst>
          </c:dPt>
          <c:dPt>
            <c:idx val="28"/>
            <c:invertIfNegative val="1"/>
            <c:bubble3D val="0"/>
            <c:spPr>
              <a:solidFill>
                <a:srgbClr val="AEABAB"/>
              </a:solidFill>
            </c:spPr>
            <c:extLst>
              <c:ext xmlns:c16="http://schemas.microsoft.com/office/drawing/2014/chart" uri="{C3380CC4-5D6E-409C-BE32-E72D297353CC}">
                <c16:uniqueId val="{00000071-2993-41DE-A2CB-63102DE87051}"/>
              </c:ext>
            </c:extLst>
          </c:dPt>
          <c:dPt>
            <c:idx val="29"/>
            <c:invertIfNegative val="1"/>
            <c:bubble3D val="0"/>
            <c:spPr>
              <a:solidFill>
                <a:srgbClr val="AEABAB"/>
              </a:solidFill>
            </c:spPr>
            <c:extLst>
              <c:ext xmlns:c16="http://schemas.microsoft.com/office/drawing/2014/chart" uri="{C3380CC4-5D6E-409C-BE32-E72D297353CC}">
                <c16:uniqueId val="{00000073-2993-41DE-A2CB-63102DE87051}"/>
              </c:ext>
            </c:extLst>
          </c:dPt>
          <c:dPt>
            <c:idx val="30"/>
            <c:invertIfNegative val="1"/>
            <c:bubble3D val="0"/>
            <c:spPr>
              <a:solidFill>
                <a:srgbClr val="AEABAB"/>
              </a:solidFill>
            </c:spPr>
            <c:extLst>
              <c:ext xmlns:c16="http://schemas.microsoft.com/office/drawing/2014/chart" uri="{C3380CC4-5D6E-409C-BE32-E72D297353CC}">
                <c16:uniqueId val="{00000075-2993-41DE-A2CB-63102DE87051}"/>
              </c:ext>
            </c:extLst>
          </c:dPt>
          <c:dPt>
            <c:idx val="31"/>
            <c:invertIfNegative val="1"/>
            <c:bubble3D val="0"/>
            <c:spPr>
              <a:solidFill>
                <a:srgbClr val="AEABAB"/>
              </a:solidFill>
            </c:spPr>
            <c:extLst>
              <c:ext xmlns:c16="http://schemas.microsoft.com/office/drawing/2014/chart" uri="{C3380CC4-5D6E-409C-BE32-E72D297353CC}">
                <c16:uniqueId val="{00000077-2993-41DE-A2CB-63102DE87051}"/>
              </c:ext>
            </c:extLst>
          </c:dPt>
          <c:dPt>
            <c:idx val="32"/>
            <c:invertIfNegative val="1"/>
            <c:bubble3D val="0"/>
            <c:spPr>
              <a:solidFill>
                <a:srgbClr val="AEABAB"/>
              </a:solidFill>
            </c:spPr>
            <c:extLst>
              <c:ext xmlns:c16="http://schemas.microsoft.com/office/drawing/2014/chart" uri="{C3380CC4-5D6E-409C-BE32-E72D297353CC}">
                <c16:uniqueId val="{00000079-2993-41DE-A2CB-63102DE87051}"/>
              </c:ext>
            </c:extLst>
          </c:dPt>
          <c:dPt>
            <c:idx val="33"/>
            <c:invertIfNegative val="1"/>
            <c:bubble3D val="0"/>
            <c:spPr>
              <a:solidFill>
                <a:srgbClr val="AEABAB"/>
              </a:solidFill>
            </c:spPr>
            <c:extLst>
              <c:ext xmlns:c16="http://schemas.microsoft.com/office/drawing/2014/chart" uri="{C3380CC4-5D6E-409C-BE32-E72D297353CC}">
                <c16:uniqueId val="{0000007B-2993-41DE-A2CB-63102DE87051}"/>
              </c:ext>
            </c:extLst>
          </c:dPt>
          <c:dPt>
            <c:idx val="34"/>
            <c:invertIfNegative val="1"/>
            <c:bubble3D val="0"/>
            <c:spPr>
              <a:solidFill>
                <a:srgbClr val="AEABAB"/>
              </a:solidFill>
            </c:spPr>
            <c:extLst>
              <c:ext xmlns:c16="http://schemas.microsoft.com/office/drawing/2014/chart" uri="{C3380CC4-5D6E-409C-BE32-E72D297353CC}">
                <c16:uniqueId val="{0000007D-2993-41DE-A2CB-63102DE87051}"/>
              </c:ext>
            </c:extLst>
          </c:dPt>
          <c:dPt>
            <c:idx val="35"/>
            <c:invertIfNegative val="1"/>
            <c:bubble3D val="0"/>
            <c:spPr>
              <a:solidFill>
                <a:srgbClr val="AEABAB"/>
              </a:solidFill>
            </c:spPr>
            <c:extLst>
              <c:ext xmlns:c16="http://schemas.microsoft.com/office/drawing/2014/chart" uri="{C3380CC4-5D6E-409C-BE32-E72D297353CC}">
                <c16:uniqueId val="{0000007F-2993-41DE-A2CB-63102DE87051}"/>
              </c:ext>
            </c:extLst>
          </c:dPt>
          <c:dPt>
            <c:idx val="36"/>
            <c:invertIfNegative val="1"/>
            <c:bubble3D val="0"/>
            <c:spPr>
              <a:solidFill>
                <a:srgbClr val="AEABAB"/>
              </a:solidFill>
            </c:spPr>
            <c:extLst>
              <c:ext xmlns:c16="http://schemas.microsoft.com/office/drawing/2014/chart" uri="{C3380CC4-5D6E-409C-BE32-E72D297353CC}">
                <c16:uniqueId val="{00000081-2993-41DE-A2CB-63102DE87051}"/>
              </c:ext>
            </c:extLst>
          </c:dPt>
          <c:dPt>
            <c:idx val="37"/>
            <c:invertIfNegative val="1"/>
            <c:bubble3D val="0"/>
            <c:spPr>
              <a:solidFill>
                <a:srgbClr val="AEABAB"/>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39</c:f>
              <c:strCache>
                <c:ptCount val="38"/>
                <c:pt idx="0">
                  <c:v>Mini Babybe</c:v>
                </c:pt>
                <c:pt idx="1">
                  <c:v>La Vache Qu</c:v>
                </c:pt>
                <c:pt idx="2">
                  <c:v>La Vache Qu</c:v>
                </c:pt>
                <c:pt idx="3">
                  <c:v>La Vache Qu</c:v>
                </c:pt>
                <c:pt idx="4">
                  <c:v>Mini Babybe</c:v>
                </c:pt>
                <c:pt idx="5">
                  <c:v>Kiri</c:v>
                </c:pt>
                <c:pt idx="6">
                  <c:v>Kiri</c:v>
                </c:pt>
                <c:pt idx="7">
                  <c:v>Ficello</c:v>
                </c:pt>
                <c:pt idx="8">
                  <c:v>Private Lab</c:v>
                </c:pt>
                <c:pt idx="9">
                  <c:v>Private Lab</c:v>
                </c:pt>
                <c:pt idx="10">
                  <c:v>Kiri</c:v>
                </c:pt>
                <c:pt idx="11">
                  <c:v>Mini Babybe</c:v>
                </c:pt>
                <c:pt idx="12">
                  <c:v>Kiri</c:v>
                </c:pt>
                <c:pt idx="13">
                  <c:v>Kiri</c:v>
                </c:pt>
                <c:pt idx="14">
                  <c:v>La Vache Qu</c:v>
                </c:pt>
                <c:pt idx="15">
                  <c:v>La Vache Qu</c:v>
                </c:pt>
                <c:pt idx="16">
                  <c:v>Ficello</c:v>
                </c:pt>
                <c:pt idx="17">
                  <c:v>Private Lab</c:v>
                </c:pt>
                <c:pt idx="18">
                  <c:v>P'Tit Louis</c:v>
                </c:pt>
                <c:pt idx="19">
                  <c:v>Ficello</c:v>
                </c:pt>
                <c:pt idx="20">
                  <c:v>La Vache Qu</c:v>
                </c:pt>
                <c:pt idx="21">
                  <c:v>Mini Babybe</c:v>
                </c:pt>
                <c:pt idx="22">
                  <c:v>Private Lab</c:v>
                </c:pt>
                <c:pt idx="23">
                  <c:v>Mini Babybe</c:v>
                </c:pt>
                <c:pt idx="24">
                  <c:v>La Vache Qu</c:v>
                </c:pt>
                <c:pt idx="25">
                  <c:v>P'Tit Louis</c:v>
                </c:pt>
                <c:pt idx="26">
                  <c:v>Kiri</c:v>
                </c:pt>
                <c:pt idx="27">
                  <c:v>Mini Babybe</c:v>
                </c:pt>
                <c:pt idx="28">
                  <c:v>Kiri</c:v>
                </c:pt>
                <c:pt idx="29">
                  <c:v>Mini Babybe</c:v>
                </c:pt>
                <c:pt idx="30">
                  <c:v>Mini Babybe</c:v>
                </c:pt>
                <c:pt idx="31">
                  <c:v>Kiri</c:v>
                </c:pt>
                <c:pt idx="32">
                  <c:v>Mini Babybe</c:v>
                </c:pt>
                <c:pt idx="33">
                  <c:v>La Vache Qu</c:v>
                </c:pt>
                <c:pt idx="34">
                  <c:v>Mini Babybe</c:v>
                </c:pt>
                <c:pt idx="35">
                  <c:v>Mini Babybe</c:v>
                </c:pt>
                <c:pt idx="36">
                  <c:v>La Vache Qu</c:v>
                </c:pt>
                <c:pt idx="37">
                  <c:v>Private Lab</c:v>
                </c:pt>
              </c:strCache>
            </c:strRef>
          </c:cat>
          <c:val>
            <c:numRef>
              <c:f>Sheet1!$C$2:$C$39</c:f>
              <c:numCache>
                <c:formatCode>General</c:formatCode>
                <c:ptCount val="38"/>
                <c:pt idx="0">
                  <c:v>0.13458901874354426</c:v>
                </c:pt>
                <c:pt idx="1">
                  <c:v>0.2419335100145944</c:v>
                </c:pt>
                <c:pt idx="2">
                  <c:v>0.31500777534158</c:v>
                </c:pt>
                <c:pt idx="3">
                  <c:v>0.3807680398170347</c:v>
                </c:pt>
                <c:pt idx="4">
                  <c:v>0.4406379802478243</c:v>
                </c:pt>
                <c:pt idx="5">
                  <c:v>0.49670771773802447</c:v>
                </c:pt>
                <c:pt idx="6">
                  <c:v>0.552128751156435</c:v>
                </c:pt>
                <c:pt idx="7">
                  <c:v>0.6041146318343507</c:v>
                </c:pt>
                <c:pt idx="8">
                  <c:v>0.6501521295480436</c:v>
                </c:pt>
                <c:pt idx="9">
                  <c:v>0.6927258245315252</c:v>
                </c:pt>
                <c:pt idx="10">
                  <c:v>0.7280497439715489</c:v>
                </c:pt>
                <c:pt idx="11">
                  <c:v>0.759796968337777</c:v>
                </c:pt>
                <c:pt idx="12">
                  <c:v>0.7874533156955649</c:v>
                </c:pt>
                <c:pt idx="13">
                  <c:v>0.8116376068492829</c:v>
                </c:pt>
                <c:pt idx="14">
                  <c:v>0.8326598688399677</c:v>
                </c:pt>
                <c:pt idx="15">
                  <c:v>0.8523057929140797</c:v>
                </c:pt>
                <c:pt idx="16">
                  <c:v>0.8692906831751324</c:v>
                </c:pt>
                <c:pt idx="17">
                  <c:v>0.88557070779515</c:v>
                </c:pt>
                <c:pt idx="18">
                  <c:v>0.9005548421518382</c:v>
                </c:pt>
                <c:pt idx="19">
                  <c:v>0.9155293948894491</c:v>
                </c:pt>
                <c:pt idx="20">
                  <c:v>0.9262950554291921</c:v>
                </c:pt>
                <c:pt idx="21">
                  <c:v>0.9366221434442373</c:v>
                </c:pt>
                <c:pt idx="22">
                  <c:v>0.946517299660678</c:v>
                </c:pt>
                <c:pt idx="23">
                  <c:v>0.9558399304203695</c:v>
                </c:pt>
                <c:pt idx="24">
                  <c:v>0.9629780468979463</c:v>
                </c:pt>
                <c:pt idx="25">
                  <c:v>0.9689316475755281</c:v>
                </c:pt>
                <c:pt idx="26">
                  <c:v>0.9746949440167819</c:v>
                </c:pt>
                <c:pt idx="27">
                  <c:v>0.9800515434185854</c:v>
                </c:pt>
                <c:pt idx="28">
                  <c:v>0.9851827376032826</c:v>
                </c:pt>
                <c:pt idx="29">
                  <c:v>0.9892343394602573</c:v>
                </c:pt>
                <c:pt idx="30">
                  <c:v>0.9931254254808078</c:v>
                </c:pt>
                <c:pt idx="31">
                  <c:v>0.9967761172167847</c:v>
                </c:pt>
                <c:pt idx="32">
                  <c:v>0.9984997651080316</c:v>
                </c:pt>
                <c:pt idx="33">
                  <c:v>0.9990381382591587</c:v>
                </c:pt>
                <c:pt idx="34">
                  <c:v>0.9995696809491612</c:v>
                </c:pt>
                <c:pt idx="35">
                  <c:v>0.9999803624242676</c:v>
                </c:pt>
                <c:pt idx="36">
                  <c:v>0.999989944043345</c:v>
                </c:pt>
                <c:pt idx="37">
                  <c:v>1.000000000000000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38</c:f>
              <c:strCache>
                <c:ptCount val="37"/>
                <c:pt idx="0">
                  <c:v>Mini Babybe</c:v>
                </c:pt>
                <c:pt idx="1">
                  <c:v>La Vache Qu</c:v>
                </c:pt>
                <c:pt idx="2">
                  <c:v>Mini Babybe</c:v>
                </c:pt>
                <c:pt idx="3">
                  <c:v>Private Lab</c:v>
                </c:pt>
                <c:pt idx="4">
                  <c:v>La Vache Qu</c:v>
                </c:pt>
                <c:pt idx="5">
                  <c:v>Kiri</c:v>
                </c:pt>
                <c:pt idx="6">
                  <c:v>Private Lab</c:v>
                </c:pt>
                <c:pt idx="7">
                  <c:v>La Vache Qu</c:v>
                </c:pt>
                <c:pt idx="8">
                  <c:v>Kiri</c:v>
                </c:pt>
                <c:pt idx="9">
                  <c:v>Kiri</c:v>
                </c:pt>
                <c:pt idx="10">
                  <c:v>Ficello</c:v>
                </c:pt>
                <c:pt idx="11">
                  <c:v>Kiri</c:v>
                </c:pt>
                <c:pt idx="12">
                  <c:v>Private Lab</c:v>
                </c:pt>
                <c:pt idx="13">
                  <c:v>Kiri</c:v>
                </c:pt>
                <c:pt idx="14">
                  <c:v>Ficello</c:v>
                </c:pt>
                <c:pt idx="15">
                  <c:v>Ficello</c:v>
                </c:pt>
                <c:pt idx="16">
                  <c:v>La Vache Qu</c:v>
                </c:pt>
                <c:pt idx="17">
                  <c:v>P'Tit Louis</c:v>
                </c:pt>
                <c:pt idx="18">
                  <c:v>Private Lab</c:v>
                </c:pt>
                <c:pt idx="19">
                  <c:v>Mini Babybe</c:v>
                </c:pt>
                <c:pt idx="20">
                  <c:v>La Vache Qu</c:v>
                </c:pt>
                <c:pt idx="21">
                  <c:v>La Vache Qu</c:v>
                </c:pt>
                <c:pt idx="22">
                  <c:v>Mini Babybe</c:v>
                </c:pt>
                <c:pt idx="23">
                  <c:v>Kiri</c:v>
                </c:pt>
                <c:pt idx="24">
                  <c:v>Mini Babybe</c:v>
                </c:pt>
                <c:pt idx="25">
                  <c:v>Kiri</c:v>
                </c:pt>
                <c:pt idx="26">
                  <c:v>La Vache Qu</c:v>
                </c:pt>
                <c:pt idx="27">
                  <c:v>Kiri</c:v>
                </c:pt>
                <c:pt idx="28">
                  <c:v>Mini Babybe</c:v>
                </c:pt>
                <c:pt idx="29">
                  <c:v>Mini Babybe</c:v>
                </c:pt>
                <c:pt idx="30">
                  <c:v>Mini Babybe</c:v>
                </c:pt>
                <c:pt idx="31">
                  <c:v>P'Tit Louis</c:v>
                </c:pt>
                <c:pt idx="32">
                  <c:v>Mini Babybe</c:v>
                </c:pt>
                <c:pt idx="33">
                  <c:v>Mini Babybe</c:v>
                </c:pt>
                <c:pt idx="34">
                  <c:v>Mini Babybe</c:v>
                </c:pt>
                <c:pt idx="35">
                  <c:v>Private Lab</c:v>
                </c:pt>
                <c:pt idx="36">
                  <c:v>La Vache Qu</c:v>
                </c:pt>
              </c:strCache>
            </c:strRef>
          </c:cat>
          <c:val>
            <c:numRef>
              <c:f>Sheet1!$B$2:$B$38</c:f>
              <c:numCache>
                <c:formatCode>General</c:formatCode>
                <c:ptCount val="37"/>
                <c:pt idx="0">
                  <c:v>0.88</c:v>
                </c:pt>
                <c:pt idx="1">
                  <c:v>0.98</c:v>
                </c:pt>
                <c:pt idx="2">
                  <c:v>0.98</c:v>
                </c:pt>
                <c:pt idx="3">
                  <c:v>0.95</c:v>
                </c:pt>
                <c:pt idx="4">
                  <c:v>0.68</c:v>
                </c:pt>
                <c:pt idx="5">
                  <c:v>0.85</c:v>
                </c:pt>
                <c:pt idx="6">
                  <c:v>0.94</c:v>
                </c:pt>
                <c:pt idx="7">
                  <c:v>0.68</c:v>
                </c:pt>
                <c:pt idx="8">
                  <c:v>0.92</c:v>
                </c:pt>
                <c:pt idx="9">
                  <c:v>0.9</c:v>
                </c:pt>
                <c:pt idx="10">
                  <c:v>0.84</c:v>
                </c:pt>
                <c:pt idx="11">
                  <c:v>0.52</c:v>
                </c:pt>
                <c:pt idx="12">
                  <c:v>0.9</c:v>
                </c:pt>
                <c:pt idx="13">
                  <c:v>0.68</c:v>
                </c:pt>
                <c:pt idx="14">
                  <c:v>0.7</c:v>
                </c:pt>
                <c:pt idx="15">
                  <c:v>0.37</c:v>
                </c:pt>
                <c:pt idx="16">
                  <c:v>0.82</c:v>
                </c:pt>
                <c:pt idx="17">
                  <c:v>0.67</c:v>
                </c:pt>
                <c:pt idx="18">
                  <c:v>0.72</c:v>
                </c:pt>
                <c:pt idx="19">
                  <c:v>0.39</c:v>
                </c:pt>
                <c:pt idx="20">
                  <c:v>0.5</c:v>
                </c:pt>
                <c:pt idx="21">
                  <c:v>0.42</c:v>
                </c:pt>
                <c:pt idx="22">
                  <c:v>0.41</c:v>
                </c:pt>
                <c:pt idx="23">
                  <c:v>0.31</c:v>
                </c:pt>
                <c:pt idx="24">
                  <c:v>0.36</c:v>
                </c:pt>
                <c:pt idx="25">
                  <c:v>0.59</c:v>
                </c:pt>
                <c:pt idx="26">
                  <c:v>0.33</c:v>
                </c:pt>
                <c:pt idx="27">
                  <c:v>0.38</c:v>
                </c:pt>
                <c:pt idx="28">
                  <c:v>0.73</c:v>
                </c:pt>
                <c:pt idx="29">
                  <c:v>0.3</c:v>
                </c:pt>
                <c:pt idx="30">
                  <c:v>0.29</c:v>
                </c:pt>
                <c:pt idx="31">
                  <c:v>0.07</c:v>
                </c:pt>
                <c:pt idx="32">
                  <c:v>0.13</c:v>
                </c:pt>
                <c:pt idx="33">
                  <c:v>0.19</c:v>
                </c:pt>
                <c:pt idx="34">
                  <c:v>0.05</c:v>
                </c:pt>
                <c:pt idx="35">
                  <c:v>0.01</c:v>
                </c:pt>
                <c:pt idx="36">
                  <c:v>0.04</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Item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7ECAC4"/>
              </a:solidFill>
            </c:spPr>
            <c:extLst>
              <c:ext xmlns:c16="http://schemas.microsoft.com/office/drawing/2014/chart" uri="{C3380CC4-5D6E-409C-BE32-E72D297353CC}">
                <c16:uniqueId val="{00000053-2993-41DE-A2CB-63102DE87051}"/>
              </c:ext>
            </c:extLst>
          </c:dPt>
          <c:dPt>
            <c:idx val="14"/>
            <c:invertIfNegative val="1"/>
            <c:bubble3D val="0"/>
            <c:spPr>
              <a:solidFill>
                <a:srgbClr val="7ECAC4"/>
              </a:solidFill>
            </c:spPr>
            <c:extLst>
              <c:ext xmlns:c16="http://schemas.microsoft.com/office/drawing/2014/chart" uri="{C3380CC4-5D6E-409C-BE32-E72D297353CC}">
                <c16:uniqueId val="{00000055-2993-41DE-A2CB-63102DE87051}"/>
              </c:ext>
            </c:extLst>
          </c:dPt>
          <c:dPt>
            <c:idx val="15"/>
            <c:invertIfNegative val="1"/>
            <c:bubble3D val="0"/>
            <c:spPr>
              <a:solidFill>
                <a:srgbClr val="7ECAC4"/>
              </a:solidFill>
            </c:spPr>
            <c:extLst>
              <c:ext xmlns:c16="http://schemas.microsoft.com/office/drawing/2014/chart" uri="{C3380CC4-5D6E-409C-BE32-E72D297353CC}">
                <c16:uniqueId val="{00000057-2993-41DE-A2CB-63102DE87051}"/>
              </c:ext>
            </c:extLst>
          </c:dPt>
          <c:dPt>
            <c:idx val="16"/>
            <c:invertIfNegative val="1"/>
            <c:bubble3D val="0"/>
            <c:spPr>
              <a:solidFill>
                <a:srgbClr val="7ECAC4"/>
              </a:solidFill>
            </c:spPr>
            <c:extLst>
              <c:ext xmlns:c16="http://schemas.microsoft.com/office/drawing/2014/chart" uri="{C3380CC4-5D6E-409C-BE32-E72D297353CC}">
                <c16:uniqueId val="{00000059-2993-41DE-A2CB-63102DE87051}"/>
              </c:ext>
            </c:extLst>
          </c:dPt>
          <c:dPt>
            <c:idx val="17"/>
            <c:invertIfNegative val="1"/>
            <c:bubble3D val="0"/>
            <c:spPr>
              <a:solidFill>
                <a:srgbClr val="7ECAC4"/>
              </a:solidFill>
            </c:spPr>
            <c:extLst>
              <c:ext xmlns:c16="http://schemas.microsoft.com/office/drawing/2014/chart" uri="{C3380CC4-5D6E-409C-BE32-E72D297353CC}">
                <c16:uniqueId val="{0000005B-2993-41DE-A2CB-63102DE87051}"/>
              </c:ext>
            </c:extLst>
          </c:dPt>
          <c:dPt>
            <c:idx val="18"/>
            <c:invertIfNegative val="1"/>
            <c:bubble3D val="0"/>
            <c:spPr>
              <a:solidFill>
                <a:srgbClr val="7ECAC4"/>
              </a:solidFill>
            </c:spPr>
            <c:extLst>
              <c:ext xmlns:c16="http://schemas.microsoft.com/office/drawing/2014/chart" uri="{C3380CC4-5D6E-409C-BE32-E72D297353CC}">
                <c16:uniqueId val="{0000005D-2993-41DE-A2CB-63102DE87051}"/>
              </c:ext>
            </c:extLst>
          </c:dPt>
          <c:dPt>
            <c:idx val="19"/>
            <c:invertIfNegative val="1"/>
            <c:bubble3D val="0"/>
            <c:spPr>
              <a:solidFill>
                <a:srgbClr val="7ECAC4"/>
              </a:solidFill>
            </c:spPr>
            <c:extLst>
              <c:ext xmlns:c16="http://schemas.microsoft.com/office/drawing/2014/chart" uri="{C3380CC4-5D6E-409C-BE32-E72D297353CC}">
                <c16:uniqueId val="{0000005F-2993-41DE-A2CB-63102DE87051}"/>
              </c:ext>
            </c:extLst>
          </c:dPt>
          <c:dPt>
            <c:idx val="20"/>
            <c:invertIfNegative val="1"/>
            <c:bubble3D val="0"/>
            <c:spPr>
              <a:solidFill>
                <a:srgbClr val="AEABAB"/>
              </a:solidFill>
            </c:spPr>
            <c:extLst>
              <c:ext xmlns:c16="http://schemas.microsoft.com/office/drawing/2014/chart" uri="{C3380CC4-5D6E-409C-BE32-E72D297353CC}">
                <c16:uniqueId val="{00000061-2993-41DE-A2CB-63102DE87051}"/>
              </c:ext>
            </c:extLst>
          </c:dPt>
          <c:dPt>
            <c:idx val="21"/>
            <c:invertIfNegative val="1"/>
            <c:bubble3D val="0"/>
            <c:spPr>
              <a:solidFill>
                <a:srgbClr val="AEABAB"/>
              </a:solidFill>
            </c:spPr>
            <c:extLst>
              <c:ext xmlns:c16="http://schemas.microsoft.com/office/drawing/2014/chart" uri="{C3380CC4-5D6E-409C-BE32-E72D297353CC}">
                <c16:uniqueId val="{00000063-2993-41DE-A2CB-63102DE87051}"/>
              </c:ext>
            </c:extLst>
          </c:dPt>
          <c:dPt>
            <c:idx val="22"/>
            <c:invertIfNegative val="1"/>
            <c:bubble3D val="0"/>
            <c:spPr>
              <a:solidFill>
                <a:srgbClr val="AEABAB"/>
              </a:solidFill>
            </c:spPr>
            <c:extLst>
              <c:ext xmlns:c16="http://schemas.microsoft.com/office/drawing/2014/chart" uri="{C3380CC4-5D6E-409C-BE32-E72D297353CC}">
                <c16:uniqueId val="{00000065-2993-41DE-A2CB-63102DE87051}"/>
              </c:ext>
            </c:extLst>
          </c:dPt>
          <c:dPt>
            <c:idx val="23"/>
            <c:invertIfNegative val="1"/>
            <c:bubble3D val="0"/>
            <c:spPr>
              <a:solidFill>
                <a:srgbClr val="AEABAB"/>
              </a:solidFill>
            </c:spPr>
            <c:extLst>
              <c:ext xmlns:c16="http://schemas.microsoft.com/office/drawing/2014/chart" uri="{C3380CC4-5D6E-409C-BE32-E72D297353CC}">
                <c16:uniqueId val="{00000067-2993-41DE-A2CB-63102DE87051}"/>
              </c:ext>
            </c:extLst>
          </c:dPt>
          <c:dPt>
            <c:idx val="24"/>
            <c:invertIfNegative val="1"/>
            <c:bubble3D val="0"/>
            <c:spPr>
              <a:solidFill>
                <a:srgbClr val="AEABAB"/>
              </a:solidFill>
            </c:spPr>
            <c:extLst>
              <c:ext xmlns:c16="http://schemas.microsoft.com/office/drawing/2014/chart" uri="{C3380CC4-5D6E-409C-BE32-E72D297353CC}">
                <c16:uniqueId val="{00000069-2993-41DE-A2CB-63102DE87051}"/>
              </c:ext>
            </c:extLst>
          </c:dPt>
          <c:dPt>
            <c:idx val="25"/>
            <c:invertIfNegative val="1"/>
            <c:bubble3D val="0"/>
            <c:spPr>
              <a:solidFill>
                <a:srgbClr val="AEABAB"/>
              </a:solidFill>
            </c:spPr>
            <c:extLst>
              <c:ext xmlns:c16="http://schemas.microsoft.com/office/drawing/2014/chart" uri="{C3380CC4-5D6E-409C-BE32-E72D297353CC}">
                <c16:uniqueId val="{0000006B-2993-41DE-A2CB-63102DE87051}"/>
              </c:ext>
            </c:extLst>
          </c:dPt>
          <c:dPt>
            <c:idx val="26"/>
            <c:invertIfNegative val="1"/>
            <c:bubble3D val="0"/>
            <c:spPr>
              <a:solidFill>
                <a:srgbClr val="AEABAB"/>
              </a:solidFill>
            </c:spPr>
            <c:extLst>
              <c:ext xmlns:c16="http://schemas.microsoft.com/office/drawing/2014/chart" uri="{C3380CC4-5D6E-409C-BE32-E72D297353CC}">
                <c16:uniqueId val="{0000006D-2993-41DE-A2CB-63102DE87051}"/>
              </c:ext>
            </c:extLst>
          </c:dPt>
          <c:dPt>
            <c:idx val="27"/>
            <c:invertIfNegative val="1"/>
            <c:bubble3D val="0"/>
            <c:spPr>
              <a:solidFill>
                <a:srgbClr val="AEABAB"/>
              </a:solidFill>
            </c:spPr>
            <c:extLst>
              <c:ext xmlns:c16="http://schemas.microsoft.com/office/drawing/2014/chart" uri="{C3380CC4-5D6E-409C-BE32-E72D297353CC}">
                <c16:uniqueId val="{0000006F-2993-41DE-A2CB-63102DE87051}"/>
              </c:ext>
            </c:extLst>
          </c:dPt>
          <c:dPt>
            <c:idx val="28"/>
            <c:invertIfNegative val="1"/>
            <c:bubble3D val="0"/>
            <c:spPr>
              <a:solidFill>
                <a:srgbClr val="AEABAB"/>
              </a:solidFill>
            </c:spPr>
            <c:extLst>
              <c:ext xmlns:c16="http://schemas.microsoft.com/office/drawing/2014/chart" uri="{C3380CC4-5D6E-409C-BE32-E72D297353CC}">
                <c16:uniqueId val="{00000071-2993-41DE-A2CB-63102DE87051}"/>
              </c:ext>
            </c:extLst>
          </c:dPt>
          <c:dPt>
            <c:idx val="29"/>
            <c:invertIfNegative val="1"/>
            <c:bubble3D val="0"/>
            <c:spPr>
              <a:solidFill>
                <a:srgbClr val="AEABAB"/>
              </a:solidFill>
            </c:spPr>
            <c:extLst>
              <c:ext xmlns:c16="http://schemas.microsoft.com/office/drawing/2014/chart" uri="{C3380CC4-5D6E-409C-BE32-E72D297353CC}">
                <c16:uniqueId val="{00000073-2993-41DE-A2CB-63102DE87051}"/>
              </c:ext>
            </c:extLst>
          </c:dPt>
          <c:dPt>
            <c:idx val="30"/>
            <c:invertIfNegative val="1"/>
            <c:bubble3D val="0"/>
            <c:spPr>
              <a:solidFill>
                <a:srgbClr val="AEABAB"/>
              </a:solidFill>
            </c:spPr>
            <c:extLst>
              <c:ext xmlns:c16="http://schemas.microsoft.com/office/drawing/2014/chart" uri="{C3380CC4-5D6E-409C-BE32-E72D297353CC}">
                <c16:uniqueId val="{00000075-2993-41DE-A2CB-63102DE87051}"/>
              </c:ext>
            </c:extLst>
          </c:dPt>
          <c:dPt>
            <c:idx val="31"/>
            <c:invertIfNegative val="1"/>
            <c:bubble3D val="0"/>
            <c:spPr>
              <a:solidFill>
                <a:srgbClr val="AEABAB"/>
              </a:solidFill>
            </c:spPr>
            <c:extLst>
              <c:ext xmlns:c16="http://schemas.microsoft.com/office/drawing/2014/chart" uri="{C3380CC4-5D6E-409C-BE32-E72D297353CC}">
                <c16:uniqueId val="{00000077-2993-41DE-A2CB-63102DE87051}"/>
              </c:ext>
            </c:extLst>
          </c:dPt>
          <c:dPt>
            <c:idx val="32"/>
            <c:invertIfNegative val="1"/>
            <c:bubble3D val="0"/>
            <c:spPr>
              <a:solidFill>
                <a:srgbClr val="AEABAB"/>
              </a:solidFill>
            </c:spPr>
            <c:extLst>
              <c:ext xmlns:c16="http://schemas.microsoft.com/office/drawing/2014/chart" uri="{C3380CC4-5D6E-409C-BE32-E72D297353CC}">
                <c16:uniqueId val="{00000079-2993-41DE-A2CB-63102DE87051}"/>
              </c:ext>
            </c:extLst>
          </c:dPt>
          <c:dPt>
            <c:idx val="33"/>
            <c:invertIfNegative val="1"/>
            <c:bubble3D val="0"/>
            <c:spPr>
              <a:solidFill>
                <a:srgbClr val="AEABAB"/>
              </a:solidFill>
            </c:spPr>
            <c:extLst>
              <c:ext xmlns:c16="http://schemas.microsoft.com/office/drawing/2014/chart" uri="{C3380CC4-5D6E-409C-BE32-E72D297353CC}">
                <c16:uniqueId val="{0000007B-2993-41DE-A2CB-63102DE87051}"/>
              </c:ext>
            </c:extLst>
          </c:dPt>
          <c:dPt>
            <c:idx val="34"/>
            <c:invertIfNegative val="1"/>
            <c:bubble3D val="0"/>
            <c:spPr>
              <a:solidFill>
                <a:srgbClr val="AEABAB"/>
              </a:solidFill>
            </c:spPr>
            <c:extLst>
              <c:ext xmlns:c16="http://schemas.microsoft.com/office/drawing/2014/chart" uri="{C3380CC4-5D6E-409C-BE32-E72D297353CC}">
                <c16:uniqueId val="{0000007D-2993-41DE-A2CB-63102DE87051}"/>
              </c:ext>
            </c:extLst>
          </c:dPt>
          <c:dPt>
            <c:idx val="35"/>
            <c:invertIfNegative val="1"/>
            <c:bubble3D val="0"/>
            <c:spPr>
              <a:solidFill>
                <a:srgbClr val="AEABAB"/>
              </a:solidFill>
            </c:spPr>
            <c:extLst>
              <c:ext xmlns:c16="http://schemas.microsoft.com/office/drawing/2014/chart" uri="{C3380CC4-5D6E-409C-BE32-E72D297353CC}">
                <c16:uniqueId val="{0000007F-2993-41DE-A2CB-63102DE87051}"/>
              </c:ext>
            </c:extLst>
          </c:dPt>
          <c:dPt>
            <c:idx val="36"/>
            <c:invertIfNegative val="1"/>
            <c:bubble3D val="0"/>
            <c:spPr>
              <a:solidFill>
                <a:srgbClr val="AEABAB"/>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38</c:f>
              <c:strCache>
                <c:ptCount val="37"/>
                <c:pt idx="0">
                  <c:v>Mini Babybe</c:v>
                </c:pt>
                <c:pt idx="1">
                  <c:v>La Vache Qu</c:v>
                </c:pt>
                <c:pt idx="2">
                  <c:v>Mini Babybe</c:v>
                </c:pt>
                <c:pt idx="3">
                  <c:v>Private Lab</c:v>
                </c:pt>
                <c:pt idx="4">
                  <c:v>La Vache Qu</c:v>
                </c:pt>
                <c:pt idx="5">
                  <c:v>Kiri</c:v>
                </c:pt>
                <c:pt idx="6">
                  <c:v>Private Lab</c:v>
                </c:pt>
                <c:pt idx="7">
                  <c:v>La Vache Qu</c:v>
                </c:pt>
                <c:pt idx="8">
                  <c:v>Kiri</c:v>
                </c:pt>
                <c:pt idx="9">
                  <c:v>Kiri</c:v>
                </c:pt>
                <c:pt idx="10">
                  <c:v>Ficello</c:v>
                </c:pt>
                <c:pt idx="11">
                  <c:v>Kiri</c:v>
                </c:pt>
                <c:pt idx="12">
                  <c:v>Private Lab</c:v>
                </c:pt>
                <c:pt idx="13">
                  <c:v>Kiri</c:v>
                </c:pt>
                <c:pt idx="14">
                  <c:v>Ficello</c:v>
                </c:pt>
                <c:pt idx="15">
                  <c:v>Ficello</c:v>
                </c:pt>
                <c:pt idx="16">
                  <c:v>La Vache Qu</c:v>
                </c:pt>
                <c:pt idx="17">
                  <c:v>P'Tit Louis</c:v>
                </c:pt>
                <c:pt idx="18">
                  <c:v>Private Lab</c:v>
                </c:pt>
                <c:pt idx="19">
                  <c:v>Mini Babybe</c:v>
                </c:pt>
                <c:pt idx="20">
                  <c:v>La Vache Qu</c:v>
                </c:pt>
                <c:pt idx="21">
                  <c:v>La Vache Qu</c:v>
                </c:pt>
                <c:pt idx="22">
                  <c:v>Mini Babybe</c:v>
                </c:pt>
                <c:pt idx="23">
                  <c:v>Kiri</c:v>
                </c:pt>
                <c:pt idx="24">
                  <c:v>Mini Babybe</c:v>
                </c:pt>
                <c:pt idx="25">
                  <c:v>Kiri</c:v>
                </c:pt>
                <c:pt idx="26">
                  <c:v>La Vache Qu</c:v>
                </c:pt>
                <c:pt idx="27">
                  <c:v>Kiri</c:v>
                </c:pt>
                <c:pt idx="28">
                  <c:v>Mini Babybe</c:v>
                </c:pt>
                <c:pt idx="29">
                  <c:v>Mini Babybe</c:v>
                </c:pt>
                <c:pt idx="30">
                  <c:v>Mini Babybe</c:v>
                </c:pt>
                <c:pt idx="31">
                  <c:v>P'Tit Louis</c:v>
                </c:pt>
                <c:pt idx="32">
                  <c:v>Mini Babybe</c:v>
                </c:pt>
                <c:pt idx="33">
                  <c:v>Mini Babybe</c:v>
                </c:pt>
                <c:pt idx="34">
                  <c:v>Mini Babybe</c:v>
                </c:pt>
                <c:pt idx="35">
                  <c:v>Private Lab</c:v>
                </c:pt>
                <c:pt idx="36">
                  <c:v>La Vache Qu</c:v>
                </c:pt>
              </c:strCache>
            </c:strRef>
          </c:cat>
          <c:val>
            <c:numRef>
              <c:f>Sheet1!$C$2:$C$38</c:f>
              <c:numCache>
                <c:formatCode>General</c:formatCode>
                <c:ptCount val="37"/>
                <c:pt idx="0">
                  <c:v>0.11358678056108891</c:v>
                </c:pt>
                <c:pt idx="1">
                  <c:v>0.21232533612607019</c:v>
                </c:pt>
                <c:pt idx="2">
                  <c:v>0.30589473930462535</c:v>
                </c:pt>
                <c:pt idx="3">
                  <c:v>0.3765892974538421</c:v>
                </c:pt>
                <c:pt idx="4">
                  <c:v>0.44559415442203965</c:v>
                </c:pt>
                <c:pt idx="5">
                  <c:v>0.5092616724691589</c:v>
                </c:pt>
                <c:pt idx="6">
                  <c:v>0.5712860500909694</c:v>
                </c:pt>
                <c:pt idx="7">
                  <c:v>0.6262519307098732</c:v>
                </c:pt>
                <c:pt idx="8">
                  <c:v>0.671791075302483</c:v>
                </c:pt>
                <c:pt idx="9">
                  <c:v>0.7082169172487045</c:v>
                </c:pt>
                <c:pt idx="10">
                  <c:v>0.7435710668738507</c:v>
                </c:pt>
                <c:pt idx="11">
                  <c:v>0.7742773174508917</c:v>
                </c:pt>
                <c:pt idx="12">
                  <c:v>0.8048525165350302</c:v>
                </c:pt>
                <c:pt idx="13">
                  <c:v>0.831493218198805</c:v>
                </c:pt>
                <c:pt idx="14">
                  <c:v>0.8556546164024001</c:v>
                </c:pt>
                <c:pt idx="15">
                  <c:v>0.8783345876346669</c:v>
                </c:pt>
                <c:pt idx="16">
                  <c:v>0.8981542521496588</c:v>
                </c:pt>
                <c:pt idx="17">
                  <c:v>0.915710496123022</c:v>
                </c:pt>
                <c:pt idx="18">
                  <c:v>0.9305439579526849</c:v>
                </c:pt>
                <c:pt idx="19">
                  <c:v>0.9417288735397382</c:v>
                </c:pt>
                <c:pt idx="20">
                  <c:v>0.9522068605797223</c:v>
                </c:pt>
                <c:pt idx="21">
                  <c:v>0.9596630545740888</c:v>
                </c:pt>
                <c:pt idx="22">
                  <c:v>0.9665600652486531</c:v>
                </c:pt>
                <c:pt idx="23">
                  <c:v>0.9727306145713134</c:v>
                </c:pt>
                <c:pt idx="24">
                  <c:v>0.9775603276923274</c:v>
                </c:pt>
                <c:pt idx="25">
                  <c:v>0.981539455300482</c:v>
                </c:pt>
                <c:pt idx="26">
                  <c:v>0.9852327452937012</c:v>
                </c:pt>
                <c:pt idx="27">
                  <c:v>0.9888129267193893</c:v>
                </c:pt>
                <c:pt idx="28">
                  <c:v>0.9921135164851762</c:v>
                </c:pt>
                <c:pt idx="29">
                  <c:v>0.9952597743802053</c:v>
                </c:pt>
                <c:pt idx="30">
                  <c:v>0.9974258715861171</c:v>
                </c:pt>
                <c:pt idx="31">
                  <c:v>0.9983112073215311</c:v>
                </c:pt>
                <c:pt idx="32">
                  <c:v>0.9991305630592188</c:v>
                </c:pt>
                <c:pt idx="33">
                  <c:v>0.9999048343578403</c:v>
                </c:pt>
                <c:pt idx="34">
                  <c:v>0.9999412880226771</c:v>
                </c:pt>
                <c:pt idx="35">
                  <c:v>0.9999622971441563</c:v>
                </c:pt>
                <c:pt idx="36">
                  <c:v>0.9999961388641605</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131</c:f>
              <c:strCache>
                <c:ptCount val="130"/>
                <c:pt idx="0">
                  <c:v>St Moret</c:v>
                </c:pt>
                <c:pt idx="1">
                  <c:v>Tartare</c:v>
                </c:pt>
                <c:pt idx="2">
                  <c:v>St Moret</c:v>
                </c:pt>
                <c:pt idx="3">
                  <c:v>Paysan Bret</c:v>
                </c:pt>
                <c:pt idx="4">
                  <c:v>St Moret</c:v>
                </c:pt>
                <c:pt idx="5">
                  <c:v>Philadelphi</c:v>
                </c:pt>
                <c:pt idx="6">
                  <c:v>Carre Frais</c:v>
                </c:pt>
                <c:pt idx="7">
                  <c:v>Carre Frais</c:v>
                </c:pt>
                <c:pt idx="8">
                  <c:v>Paysan Bret</c:v>
                </c:pt>
                <c:pt idx="9">
                  <c:v>Boursin</c:v>
                </c:pt>
                <c:pt idx="10">
                  <c:v>Boursin</c:v>
                </c:pt>
                <c:pt idx="11">
                  <c:v>Philadelphi</c:v>
                </c:pt>
                <c:pt idx="12">
                  <c:v>St Moret</c:v>
                </c:pt>
                <c:pt idx="13">
                  <c:v>St Moret</c:v>
                </c:pt>
                <c:pt idx="14">
                  <c:v>Tartare</c:v>
                </c:pt>
                <c:pt idx="15">
                  <c:v>Tartare</c:v>
                </c:pt>
                <c:pt idx="16">
                  <c:v>Private Lab</c:v>
                </c:pt>
                <c:pt idx="17">
                  <c:v>Boursin</c:v>
                </c:pt>
                <c:pt idx="18">
                  <c:v>St Moret</c:v>
                </c:pt>
                <c:pt idx="19">
                  <c:v>St Moret</c:v>
                </c:pt>
                <c:pt idx="20">
                  <c:v>Paysan Bret</c:v>
                </c:pt>
                <c:pt idx="21">
                  <c:v>St Moret</c:v>
                </c:pt>
                <c:pt idx="22">
                  <c:v>Paysan Bret</c:v>
                </c:pt>
                <c:pt idx="23">
                  <c:v>St Moret</c:v>
                </c:pt>
                <c:pt idx="24">
                  <c:v>Private Lab</c:v>
                </c:pt>
                <c:pt idx="25">
                  <c:v>Private Lab</c:v>
                </c:pt>
                <c:pt idx="26">
                  <c:v>Tartare</c:v>
                </c:pt>
                <c:pt idx="27">
                  <c:v>Private Lab</c:v>
                </c:pt>
                <c:pt idx="28">
                  <c:v>Paysan Bret</c:v>
                </c:pt>
                <c:pt idx="29">
                  <c:v>Carre Frais</c:v>
                </c:pt>
                <c:pt idx="30">
                  <c:v>Philadelphi</c:v>
                </c:pt>
                <c:pt idx="31">
                  <c:v>Paysan Bret</c:v>
                </c:pt>
                <c:pt idx="32">
                  <c:v>Boursin</c:v>
                </c:pt>
                <c:pt idx="33">
                  <c:v>Rondele</c:v>
                </c:pt>
                <c:pt idx="34">
                  <c:v>Savencia: A</c:v>
                </c:pt>
                <c:pt idx="35">
                  <c:v>Paysan Bret</c:v>
                </c:pt>
                <c:pt idx="36">
                  <c:v>Kiri</c:v>
                </c:pt>
                <c:pt idx="37">
                  <c:v>All Others</c:v>
                </c:pt>
                <c:pt idx="38">
                  <c:v>Boursin</c:v>
                </c:pt>
                <c:pt idx="39">
                  <c:v>Boursin</c:v>
                </c:pt>
                <c:pt idx="40">
                  <c:v>Paysan Bret</c:v>
                </c:pt>
                <c:pt idx="41">
                  <c:v>Kiri</c:v>
                </c:pt>
                <c:pt idx="42">
                  <c:v>Tartare</c:v>
                </c:pt>
                <c:pt idx="43">
                  <c:v>Paysan Bret</c:v>
                </c:pt>
                <c:pt idx="44">
                  <c:v>Boursin</c:v>
                </c:pt>
                <c:pt idx="45">
                  <c:v>St Moret</c:v>
                </c:pt>
                <c:pt idx="46">
                  <c:v>Kiri</c:v>
                </c:pt>
                <c:pt idx="47">
                  <c:v>Tartare</c:v>
                </c:pt>
                <c:pt idx="48">
                  <c:v>Philadelphi</c:v>
                </c:pt>
                <c:pt idx="49">
                  <c:v>Tartare</c:v>
                </c:pt>
                <c:pt idx="50">
                  <c:v>Rondele</c:v>
                </c:pt>
                <c:pt idx="51">
                  <c:v>President</c:v>
                </c:pt>
                <c:pt idx="52">
                  <c:v>Lactalis: A</c:v>
                </c:pt>
                <c:pt idx="53">
                  <c:v>Rondele</c:v>
                </c:pt>
                <c:pt idx="54">
                  <c:v>Saint Agur</c:v>
                </c:pt>
                <c:pt idx="55">
                  <c:v>Triballat R</c:v>
                </c:pt>
                <c:pt idx="56">
                  <c:v>Private Lab</c:v>
                </c:pt>
                <c:pt idx="57">
                  <c:v>All Others</c:v>
                </c:pt>
                <c:pt idx="58">
                  <c:v>Private Lab</c:v>
                </c:pt>
                <c:pt idx="59">
                  <c:v>All Others</c:v>
                </c:pt>
                <c:pt idx="60">
                  <c:v>Boursin</c:v>
                </c:pt>
                <c:pt idx="61">
                  <c:v>Lactalis: A</c:v>
                </c:pt>
                <c:pt idx="62">
                  <c:v>Private Lab</c:v>
                </c:pt>
                <c:pt idx="63">
                  <c:v>St Moret</c:v>
                </c:pt>
                <c:pt idx="64">
                  <c:v>St Moret</c:v>
                </c:pt>
                <c:pt idx="65">
                  <c:v>Boursin</c:v>
                </c:pt>
                <c:pt idx="66">
                  <c:v>Saint Agur</c:v>
                </c:pt>
                <c:pt idx="67">
                  <c:v>Paysan Bret</c:v>
                </c:pt>
                <c:pt idx="68">
                  <c:v>Tartare</c:v>
                </c:pt>
                <c:pt idx="69">
                  <c:v>Paysan Bret</c:v>
                </c:pt>
                <c:pt idx="70">
                  <c:v>Boursin</c:v>
                </c:pt>
                <c:pt idx="71">
                  <c:v>Boursin</c:v>
                </c:pt>
                <c:pt idx="72">
                  <c:v>Private Lab</c:v>
                </c:pt>
                <c:pt idx="73">
                  <c:v>Lactalis: A</c:v>
                </c:pt>
                <c:pt idx="74">
                  <c:v>President</c:v>
                </c:pt>
                <c:pt idx="75">
                  <c:v>Tartare</c:v>
                </c:pt>
                <c:pt idx="76">
                  <c:v>Carre Frais</c:v>
                </c:pt>
                <c:pt idx="77">
                  <c:v>Private Lab</c:v>
                </c:pt>
                <c:pt idx="78">
                  <c:v>Boursin</c:v>
                </c:pt>
                <c:pt idx="79">
                  <c:v>All Others</c:v>
                </c:pt>
                <c:pt idx="80">
                  <c:v>Savencia: A</c:v>
                </c:pt>
                <c:pt idx="81">
                  <c:v>Boursin</c:v>
                </c:pt>
                <c:pt idx="82">
                  <c:v>Boursin</c:v>
                </c:pt>
                <c:pt idx="83">
                  <c:v>Private Lab</c:v>
                </c:pt>
                <c:pt idx="84">
                  <c:v>Boursin</c:v>
                </c:pt>
                <c:pt idx="85">
                  <c:v>Tartare</c:v>
                </c:pt>
                <c:pt idx="86">
                  <c:v>Carre Frais</c:v>
                </c:pt>
                <c:pt idx="87">
                  <c:v>All Others</c:v>
                </c:pt>
                <c:pt idx="88">
                  <c:v>Philadelphi</c:v>
                </c:pt>
                <c:pt idx="89">
                  <c:v>All Others</c:v>
                </c:pt>
                <c:pt idx="90">
                  <c:v>All Others</c:v>
                </c:pt>
                <c:pt idx="91">
                  <c:v>All Others</c:v>
                </c:pt>
                <c:pt idx="92">
                  <c:v>All Others</c:v>
                </c:pt>
                <c:pt idx="93">
                  <c:v>St Moret</c:v>
                </c:pt>
                <c:pt idx="94">
                  <c:v>All Others</c:v>
                </c:pt>
                <c:pt idx="95">
                  <c:v>All Others</c:v>
                </c:pt>
                <c:pt idx="96">
                  <c:v>All Others</c:v>
                </c:pt>
                <c:pt idx="97">
                  <c:v>All Others</c:v>
                </c:pt>
                <c:pt idx="98">
                  <c:v>All Others</c:v>
                </c:pt>
                <c:pt idx="99">
                  <c:v>All Others</c:v>
                </c:pt>
                <c:pt idx="100">
                  <c:v>Boursin</c:v>
                </c:pt>
                <c:pt idx="101">
                  <c:v>Boursin</c:v>
                </c:pt>
                <c:pt idx="102">
                  <c:v>All Others</c:v>
                </c:pt>
                <c:pt idx="103">
                  <c:v>All Others</c:v>
                </c:pt>
                <c:pt idx="104">
                  <c:v>Tartare</c:v>
                </c:pt>
                <c:pt idx="105">
                  <c:v>All Others</c:v>
                </c:pt>
                <c:pt idx="106">
                  <c:v>All Others</c:v>
                </c:pt>
                <c:pt idx="107">
                  <c:v>St Moret</c:v>
                </c:pt>
                <c:pt idx="108">
                  <c:v>All Others</c:v>
                </c:pt>
                <c:pt idx="109">
                  <c:v>All Others</c:v>
                </c:pt>
                <c:pt idx="110">
                  <c:v>Savencia: A</c:v>
                </c:pt>
                <c:pt idx="111">
                  <c:v>Savencia: A</c:v>
                </c:pt>
                <c:pt idx="112">
                  <c:v>All Others</c:v>
                </c:pt>
                <c:pt idx="113">
                  <c:v>All Others</c:v>
                </c:pt>
                <c:pt idx="114">
                  <c:v>All Others</c:v>
                </c:pt>
                <c:pt idx="115">
                  <c:v>All Others</c:v>
                </c:pt>
                <c:pt idx="116">
                  <c:v>All Others</c:v>
                </c:pt>
                <c:pt idx="117">
                  <c:v>All Others</c:v>
                </c:pt>
                <c:pt idx="118">
                  <c:v>Rondele</c:v>
                </c:pt>
                <c:pt idx="119">
                  <c:v>All Others</c:v>
                </c:pt>
                <c:pt idx="120">
                  <c:v>Rondele</c:v>
                </c:pt>
                <c:pt idx="121">
                  <c:v>All Others</c:v>
                </c:pt>
                <c:pt idx="122">
                  <c:v>All Others</c:v>
                </c:pt>
                <c:pt idx="123">
                  <c:v>All Others</c:v>
                </c:pt>
                <c:pt idx="124">
                  <c:v>All Others</c:v>
                </c:pt>
                <c:pt idx="125">
                  <c:v>All Others</c:v>
                </c:pt>
                <c:pt idx="126">
                  <c:v>All Others</c:v>
                </c:pt>
                <c:pt idx="127">
                  <c:v>All Others</c:v>
                </c:pt>
                <c:pt idx="128">
                  <c:v>Private Lab</c:v>
                </c:pt>
                <c:pt idx="129">
                  <c:v>Savencia: A</c:v>
                </c:pt>
              </c:strCache>
            </c:strRef>
          </c:cat>
          <c:val>
            <c:numRef>
              <c:f>Sheet1!$B$2:$B$131</c:f>
              <c:numCache>
                <c:formatCode>General</c:formatCode>
                <c:ptCount val="130"/>
                <c:pt idx="0">
                  <c:v>0.991</c:v>
                </c:pt>
                <c:pt idx="1">
                  <c:v>0.903</c:v>
                </c:pt>
                <c:pt idx="2">
                  <c:v>0.852</c:v>
                </c:pt>
                <c:pt idx="3">
                  <c:v>0.977</c:v>
                </c:pt>
                <c:pt idx="4">
                  <c:v>0.959</c:v>
                </c:pt>
                <c:pt idx="5">
                  <c:v>0.981</c:v>
                </c:pt>
                <c:pt idx="6">
                  <c:v>0.874</c:v>
                </c:pt>
                <c:pt idx="7">
                  <c:v>0.921</c:v>
                </c:pt>
                <c:pt idx="8">
                  <c:v>0.825</c:v>
                </c:pt>
                <c:pt idx="9">
                  <c:v>0.968</c:v>
                </c:pt>
                <c:pt idx="10">
                  <c:v>0.915</c:v>
                </c:pt>
                <c:pt idx="11">
                  <c:v>0.829</c:v>
                </c:pt>
                <c:pt idx="12">
                  <c:v>0.786</c:v>
                </c:pt>
                <c:pt idx="13">
                  <c:v>0.902</c:v>
                </c:pt>
                <c:pt idx="14">
                  <c:v>0.832</c:v>
                </c:pt>
                <c:pt idx="15">
                  <c:v>0.879</c:v>
                </c:pt>
                <c:pt idx="16">
                  <c:v>0.921</c:v>
                </c:pt>
                <c:pt idx="17">
                  <c:v>0.817</c:v>
                </c:pt>
                <c:pt idx="18">
                  <c:v>0.771</c:v>
                </c:pt>
                <c:pt idx="19">
                  <c:v>0.833</c:v>
                </c:pt>
                <c:pt idx="20">
                  <c:v>0.896</c:v>
                </c:pt>
                <c:pt idx="21">
                  <c:v>0.848</c:v>
                </c:pt>
                <c:pt idx="22">
                  <c:v>0.631</c:v>
                </c:pt>
                <c:pt idx="23">
                  <c:v>0.604</c:v>
                </c:pt>
                <c:pt idx="24">
                  <c:v>0.993</c:v>
                </c:pt>
                <c:pt idx="25">
                  <c:v>0.992</c:v>
                </c:pt>
                <c:pt idx="26">
                  <c:v>0.801</c:v>
                </c:pt>
                <c:pt idx="27">
                  <c:v>0.858</c:v>
                </c:pt>
                <c:pt idx="28">
                  <c:v>0.766</c:v>
                </c:pt>
                <c:pt idx="29">
                  <c:v>0.553</c:v>
                </c:pt>
                <c:pt idx="30">
                  <c:v>0.697</c:v>
                </c:pt>
                <c:pt idx="31">
                  <c:v>0.764</c:v>
                </c:pt>
                <c:pt idx="32">
                  <c:v>0.821</c:v>
                </c:pt>
                <c:pt idx="33">
                  <c:v>0.816</c:v>
                </c:pt>
                <c:pt idx="34">
                  <c:v>0.764</c:v>
                </c:pt>
                <c:pt idx="35">
                  <c:v>0.867</c:v>
                </c:pt>
                <c:pt idx="36">
                  <c:v>0.774</c:v>
                </c:pt>
                <c:pt idx="37">
                  <c:v>0.456</c:v>
                </c:pt>
                <c:pt idx="38">
                  <c:v>0.793</c:v>
                </c:pt>
                <c:pt idx="39">
                  <c:v>0.774</c:v>
                </c:pt>
                <c:pt idx="40">
                  <c:v>0.434</c:v>
                </c:pt>
                <c:pt idx="41">
                  <c:v>0.643</c:v>
                </c:pt>
                <c:pt idx="42">
                  <c:v>0.698</c:v>
                </c:pt>
                <c:pt idx="43">
                  <c:v>0.425</c:v>
                </c:pt>
                <c:pt idx="44">
                  <c:v>0.694</c:v>
                </c:pt>
                <c:pt idx="45">
                  <c:v>0.594</c:v>
                </c:pt>
                <c:pt idx="46">
                  <c:v>0.689</c:v>
                </c:pt>
                <c:pt idx="47">
                  <c:v>0.589</c:v>
                </c:pt>
                <c:pt idx="48">
                  <c:v>0.612</c:v>
                </c:pt>
                <c:pt idx="49">
                  <c:v>0.508</c:v>
                </c:pt>
                <c:pt idx="50">
                  <c:v>0.748</c:v>
                </c:pt>
                <c:pt idx="51">
                  <c:v>0.652</c:v>
                </c:pt>
                <c:pt idx="52">
                  <c:v>0.383</c:v>
                </c:pt>
                <c:pt idx="53">
                  <c:v>0.751</c:v>
                </c:pt>
                <c:pt idx="54">
                  <c:v>0.408</c:v>
                </c:pt>
                <c:pt idx="55">
                  <c:v>0.51</c:v>
                </c:pt>
                <c:pt idx="56">
                  <c:v>0.699</c:v>
                </c:pt>
                <c:pt idx="57">
                  <c:v>0.447</c:v>
                </c:pt>
                <c:pt idx="58">
                  <c:v>0.743</c:v>
                </c:pt>
                <c:pt idx="59">
                  <c:v>0.042</c:v>
                </c:pt>
                <c:pt idx="60">
                  <c:v>0.447</c:v>
                </c:pt>
                <c:pt idx="61">
                  <c:v>0.688</c:v>
                </c:pt>
                <c:pt idx="62">
                  <c:v>0.456</c:v>
                </c:pt>
                <c:pt idx="63">
                  <c:v>0.647</c:v>
                </c:pt>
                <c:pt idx="64">
                  <c:v>0.634</c:v>
                </c:pt>
                <c:pt idx="65">
                  <c:v>0.265</c:v>
                </c:pt>
                <c:pt idx="66">
                  <c:v>0.484</c:v>
                </c:pt>
                <c:pt idx="67">
                  <c:v>0.716</c:v>
                </c:pt>
                <c:pt idx="68">
                  <c:v>0.401</c:v>
                </c:pt>
                <c:pt idx="69">
                  <c:v>0.022</c:v>
                </c:pt>
                <c:pt idx="70">
                  <c:v>0.537</c:v>
                </c:pt>
                <c:pt idx="71">
                  <c:v>0.402</c:v>
                </c:pt>
                <c:pt idx="72">
                  <c:v>0.523</c:v>
                </c:pt>
                <c:pt idx="73">
                  <c:v>0.57</c:v>
                </c:pt>
                <c:pt idx="74">
                  <c:v>0.415</c:v>
                </c:pt>
                <c:pt idx="75">
                  <c:v>0.448</c:v>
                </c:pt>
                <c:pt idx="76">
                  <c:v>0.059</c:v>
                </c:pt>
                <c:pt idx="77">
                  <c:v>0.361</c:v>
                </c:pt>
                <c:pt idx="78">
                  <c:v>0.281</c:v>
                </c:pt>
                <c:pt idx="79">
                  <c:v>0.495</c:v>
                </c:pt>
                <c:pt idx="80">
                  <c:v>0.004</c:v>
                </c:pt>
                <c:pt idx="81">
                  <c:v>0.511</c:v>
                </c:pt>
                <c:pt idx="82">
                  <c:v>0.528</c:v>
                </c:pt>
                <c:pt idx="83">
                  <c:v>0.507</c:v>
                </c:pt>
                <c:pt idx="84">
                  <c:v>0.379</c:v>
                </c:pt>
                <c:pt idx="85">
                  <c:v>0.369</c:v>
                </c:pt>
                <c:pt idx="86">
                  <c:v>0.068</c:v>
                </c:pt>
                <c:pt idx="87">
                  <c:v>0.039</c:v>
                </c:pt>
                <c:pt idx="88">
                  <c:v>0.337</c:v>
                </c:pt>
                <c:pt idx="89">
                  <c:v>0.329</c:v>
                </c:pt>
                <c:pt idx="90">
                  <c:v>0.094</c:v>
                </c:pt>
                <c:pt idx="91">
                  <c:v>0.304</c:v>
                </c:pt>
                <c:pt idx="92">
                  <c:v>0.085</c:v>
                </c:pt>
                <c:pt idx="93">
                  <c:v>0.333</c:v>
                </c:pt>
                <c:pt idx="94">
                  <c:v>0.089</c:v>
                </c:pt>
                <c:pt idx="95">
                  <c:v>0.026</c:v>
                </c:pt>
                <c:pt idx="96">
                  <c:v>0.002</c:v>
                </c:pt>
                <c:pt idx="97">
                  <c:v>0.064</c:v>
                </c:pt>
                <c:pt idx="98">
                  <c:v>0.261</c:v>
                </c:pt>
                <c:pt idx="99">
                  <c:v>0.032</c:v>
                </c:pt>
                <c:pt idx="100">
                  <c:v>0.324</c:v>
                </c:pt>
                <c:pt idx="101">
                  <c:v>0.075</c:v>
                </c:pt>
                <c:pt idx="102">
                  <c:v>0.05</c:v>
                </c:pt>
                <c:pt idx="103">
                  <c:v>0.279</c:v>
                </c:pt>
                <c:pt idx="104">
                  <c:v>0.187</c:v>
                </c:pt>
                <c:pt idx="105">
                  <c:v>0.07</c:v>
                </c:pt>
                <c:pt idx="106">
                  <c:v>0.014</c:v>
                </c:pt>
                <c:pt idx="107">
                  <c:v>0.123</c:v>
                </c:pt>
                <c:pt idx="108">
                  <c:v>0.032</c:v>
                </c:pt>
                <c:pt idx="109">
                  <c:v>0.005</c:v>
                </c:pt>
                <c:pt idx="110">
                  <c:v>0.283</c:v>
                </c:pt>
                <c:pt idx="111">
                  <c:v>0.269</c:v>
                </c:pt>
                <c:pt idx="112">
                  <c:v>0.027</c:v>
                </c:pt>
                <c:pt idx="113">
                  <c:v>0.04</c:v>
                </c:pt>
                <c:pt idx="114">
                  <c:v>0.027</c:v>
                </c:pt>
                <c:pt idx="115">
                  <c:v>0.009</c:v>
                </c:pt>
                <c:pt idx="116">
                  <c:v>0.013</c:v>
                </c:pt>
                <c:pt idx="117">
                  <c:v>0.027</c:v>
                </c:pt>
                <c:pt idx="118">
                  <c:v>0.064</c:v>
                </c:pt>
                <c:pt idx="119">
                  <c:v>0.005</c:v>
                </c:pt>
                <c:pt idx="120">
                  <c:v>0.059</c:v>
                </c:pt>
                <c:pt idx="121">
                  <c:v>0.004</c:v>
                </c:pt>
                <c:pt idx="122">
                  <c:v>0.004</c:v>
                </c:pt>
                <c:pt idx="123">
                  <c:v>0.005</c:v>
                </c:pt>
                <c:pt idx="124">
                  <c:v>0.04</c:v>
                </c:pt>
                <c:pt idx="125">
                  <c:v>0.014</c:v>
                </c:pt>
                <c:pt idx="126">
                  <c:v>0.014</c:v>
                </c:pt>
                <c:pt idx="127">
                  <c:v>0.005</c:v>
                </c:pt>
                <c:pt idx="128">
                  <c:v>0.004</c:v>
                </c:pt>
                <c:pt idx="129">
                  <c:v>0.004</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Item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7ECAC4"/>
              </a:solidFill>
            </c:spPr>
            <c:extLst>
              <c:ext xmlns:c16="http://schemas.microsoft.com/office/drawing/2014/chart" uri="{C3380CC4-5D6E-409C-BE32-E72D297353CC}">
                <c16:uniqueId val="{0000006D-2993-41DE-A2CB-63102DE87051}"/>
              </c:ext>
            </c:extLst>
          </c:dPt>
          <c:dPt>
            <c:idx val="27"/>
            <c:invertIfNegative val="1"/>
            <c:bubble3D val="0"/>
            <c:spPr>
              <a:solidFill>
                <a:srgbClr val="7ECAC4"/>
              </a:solidFill>
            </c:spPr>
            <c:extLst>
              <c:ext xmlns:c16="http://schemas.microsoft.com/office/drawing/2014/chart" uri="{C3380CC4-5D6E-409C-BE32-E72D297353CC}">
                <c16:uniqueId val="{0000006F-2993-41DE-A2CB-63102DE87051}"/>
              </c:ext>
            </c:extLst>
          </c:dPt>
          <c:dPt>
            <c:idx val="28"/>
            <c:invertIfNegative val="1"/>
            <c:bubble3D val="0"/>
            <c:spPr>
              <a:solidFill>
                <a:srgbClr val="7ECAC4"/>
              </a:solidFill>
            </c:spPr>
            <c:extLst>
              <c:ext xmlns:c16="http://schemas.microsoft.com/office/drawing/2014/chart" uri="{C3380CC4-5D6E-409C-BE32-E72D297353CC}">
                <c16:uniqueId val="{00000071-2993-41DE-A2CB-63102DE87051}"/>
              </c:ext>
            </c:extLst>
          </c:dPt>
          <c:dPt>
            <c:idx val="29"/>
            <c:invertIfNegative val="1"/>
            <c:bubble3D val="0"/>
            <c:spPr>
              <a:solidFill>
                <a:srgbClr val="7ECAC4"/>
              </a:solidFill>
            </c:spPr>
            <c:extLst>
              <c:ext xmlns:c16="http://schemas.microsoft.com/office/drawing/2014/chart" uri="{C3380CC4-5D6E-409C-BE32-E72D297353CC}">
                <c16:uniqueId val="{00000073-2993-41DE-A2CB-63102DE87051}"/>
              </c:ext>
            </c:extLst>
          </c:dPt>
          <c:dPt>
            <c:idx val="30"/>
            <c:invertIfNegative val="1"/>
            <c:bubble3D val="0"/>
            <c:spPr>
              <a:solidFill>
                <a:srgbClr val="7ECAC4"/>
              </a:solidFill>
            </c:spPr>
            <c:extLst>
              <c:ext xmlns:c16="http://schemas.microsoft.com/office/drawing/2014/chart" uri="{C3380CC4-5D6E-409C-BE32-E72D297353CC}">
                <c16:uniqueId val="{00000075-2993-41DE-A2CB-63102DE87051}"/>
              </c:ext>
            </c:extLst>
          </c:dPt>
          <c:dPt>
            <c:idx val="31"/>
            <c:invertIfNegative val="1"/>
            <c:bubble3D val="0"/>
            <c:spPr>
              <a:solidFill>
                <a:srgbClr val="7ECAC4"/>
              </a:solidFill>
            </c:spPr>
            <c:extLst>
              <c:ext xmlns:c16="http://schemas.microsoft.com/office/drawing/2014/chart" uri="{C3380CC4-5D6E-409C-BE32-E72D297353CC}">
                <c16:uniqueId val="{00000077-2993-41DE-A2CB-63102DE87051}"/>
              </c:ext>
            </c:extLst>
          </c:dPt>
          <c:dPt>
            <c:idx val="32"/>
            <c:invertIfNegative val="1"/>
            <c:bubble3D val="0"/>
            <c:spPr>
              <a:solidFill>
                <a:srgbClr val="7ECAC4"/>
              </a:solidFill>
            </c:spPr>
            <c:extLst>
              <c:ext xmlns:c16="http://schemas.microsoft.com/office/drawing/2014/chart" uri="{C3380CC4-5D6E-409C-BE32-E72D297353CC}">
                <c16:uniqueId val="{00000079-2993-41DE-A2CB-63102DE87051}"/>
              </c:ext>
            </c:extLst>
          </c:dPt>
          <c:dPt>
            <c:idx val="33"/>
            <c:invertIfNegative val="1"/>
            <c:bubble3D val="0"/>
            <c:spPr>
              <a:solidFill>
                <a:srgbClr val="7ECAC4"/>
              </a:solidFill>
            </c:spPr>
            <c:extLst>
              <c:ext xmlns:c16="http://schemas.microsoft.com/office/drawing/2014/chart" uri="{C3380CC4-5D6E-409C-BE32-E72D297353CC}">
                <c16:uniqueId val="{0000007B-2993-41DE-A2CB-63102DE87051}"/>
              </c:ext>
            </c:extLst>
          </c:dPt>
          <c:dPt>
            <c:idx val="34"/>
            <c:invertIfNegative val="1"/>
            <c:bubble3D val="0"/>
            <c:spPr>
              <a:solidFill>
                <a:srgbClr val="7ECAC4"/>
              </a:solidFill>
            </c:spPr>
            <c:extLst>
              <c:ext xmlns:c16="http://schemas.microsoft.com/office/drawing/2014/chart" uri="{C3380CC4-5D6E-409C-BE32-E72D297353CC}">
                <c16:uniqueId val="{0000007D-2993-41DE-A2CB-63102DE87051}"/>
              </c:ext>
            </c:extLst>
          </c:dPt>
          <c:dPt>
            <c:idx val="35"/>
            <c:invertIfNegative val="1"/>
            <c:bubble3D val="0"/>
            <c:spPr>
              <a:solidFill>
                <a:srgbClr val="7ECAC4"/>
              </a:solidFill>
            </c:spPr>
            <c:extLst>
              <c:ext xmlns:c16="http://schemas.microsoft.com/office/drawing/2014/chart" uri="{C3380CC4-5D6E-409C-BE32-E72D297353CC}">
                <c16:uniqueId val="{0000007F-2993-41DE-A2CB-63102DE87051}"/>
              </c:ext>
            </c:extLst>
          </c:dPt>
          <c:dPt>
            <c:idx val="36"/>
            <c:invertIfNegative val="1"/>
            <c:bubble3D val="0"/>
            <c:spPr>
              <a:solidFill>
                <a:srgbClr val="7ECAC4"/>
              </a:solidFill>
            </c:spPr>
            <c:extLst>
              <c:ext xmlns:c16="http://schemas.microsoft.com/office/drawing/2014/chart" uri="{C3380CC4-5D6E-409C-BE32-E72D297353CC}">
                <c16:uniqueId val="{00000081-2993-41DE-A2CB-63102DE87051}"/>
              </c:ext>
            </c:extLst>
          </c:dPt>
          <c:dPt>
            <c:idx val="37"/>
            <c:invertIfNegative val="1"/>
            <c:bubble3D val="0"/>
            <c:spPr>
              <a:solidFill>
                <a:srgbClr val="7ECAC4"/>
              </a:solidFill>
            </c:spPr>
            <c:extLst>
              <c:ext xmlns:c16="http://schemas.microsoft.com/office/drawing/2014/chart" uri="{C3380CC4-5D6E-409C-BE32-E72D297353CC}">
                <c16:uniqueId val="{00000083-2993-41DE-A2CB-63102DE87051}"/>
              </c:ext>
            </c:extLst>
          </c:dPt>
          <c:dPt>
            <c:idx val="38"/>
            <c:invertIfNegative val="1"/>
            <c:bubble3D val="0"/>
            <c:spPr>
              <a:solidFill>
                <a:srgbClr val="7ECAC4"/>
              </a:solidFill>
            </c:spPr>
            <c:extLst>
              <c:ext xmlns:c16="http://schemas.microsoft.com/office/drawing/2014/chart" uri="{C3380CC4-5D6E-409C-BE32-E72D297353CC}">
                <c16:uniqueId val="{00000085-2993-41DE-A2CB-63102DE87051}"/>
              </c:ext>
            </c:extLst>
          </c:dPt>
          <c:dPt>
            <c:idx val="39"/>
            <c:invertIfNegative val="1"/>
            <c:bubble3D val="0"/>
            <c:spPr>
              <a:solidFill>
                <a:srgbClr val="7ECAC4"/>
              </a:solidFill>
            </c:spPr>
            <c:extLst>
              <c:ext xmlns:c16="http://schemas.microsoft.com/office/drawing/2014/chart" uri="{C3380CC4-5D6E-409C-BE32-E72D297353CC}">
                <c16:uniqueId val="{00000087-2993-41DE-A2CB-63102DE87051}"/>
              </c:ext>
            </c:extLst>
          </c:dPt>
          <c:dPt>
            <c:idx val="40"/>
            <c:invertIfNegative val="1"/>
            <c:bubble3D val="0"/>
            <c:spPr>
              <a:solidFill>
                <a:srgbClr val="7ECAC4"/>
              </a:solidFill>
            </c:spPr>
            <c:extLst>
              <c:ext xmlns:c16="http://schemas.microsoft.com/office/drawing/2014/chart" uri="{C3380CC4-5D6E-409C-BE32-E72D297353CC}">
                <c16:uniqueId val="{00000089-2993-41DE-A2CB-63102DE87051}"/>
              </c:ext>
            </c:extLst>
          </c:dPt>
          <c:dPt>
            <c:idx val="41"/>
            <c:invertIfNegative val="1"/>
            <c:bubble3D val="0"/>
            <c:spPr>
              <a:solidFill>
                <a:srgbClr val="7ECAC4"/>
              </a:solidFill>
            </c:spPr>
            <c:extLst>
              <c:ext xmlns:c16="http://schemas.microsoft.com/office/drawing/2014/chart" uri="{C3380CC4-5D6E-409C-BE32-E72D297353CC}">
                <c16:uniqueId val="{0000008B-2993-41DE-A2CB-63102DE87051}"/>
              </c:ext>
            </c:extLst>
          </c:dPt>
          <c:dPt>
            <c:idx val="42"/>
            <c:invertIfNegative val="1"/>
            <c:bubble3D val="0"/>
            <c:spPr>
              <a:solidFill>
                <a:srgbClr val="7ECAC4"/>
              </a:solidFill>
            </c:spPr>
            <c:extLst>
              <c:ext xmlns:c16="http://schemas.microsoft.com/office/drawing/2014/chart" uri="{C3380CC4-5D6E-409C-BE32-E72D297353CC}">
                <c16:uniqueId val="{0000008D-2993-41DE-A2CB-63102DE87051}"/>
              </c:ext>
            </c:extLst>
          </c:dPt>
          <c:dPt>
            <c:idx val="43"/>
            <c:invertIfNegative val="1"/>
            <c:bubble3D val="0"/>
            <c:spPr>
              <a:solidFill>
                <a:srgbClr val="7ECAC4"/>
              </a:solidFill>
            </c:spPr>
            <c:extLst>
              <c:ext xmlns:c16="http://schemas.microsoft.com/office/drawing/2014/chart" uri="{C3380CC4-5D6E-409C-BE32-E72D297353CC}">
                <c16:uniqueId val="{0000008F-2993-41DE-A2CB-63102DE87051}"/>
              </c:ext>
            </c:extLst>
          </c:dPt>
          <c:dPt>
            <c:idx val="44"/>
            <c:invertIfNegative val="1"/>
            <c:bubble3D val="0"/>
            <c:spPr>
              <a:solidFill>
                <a:srgbClr val="7ECAC4"/>
              </a:solidFill>
            </c:spPr>
            <c:extLst>
              <c:ext xmlns:c16="http://schemas.microsoft.com/office/drawing/2014/chart" uri="{C3380CC4-5D6E-409C-BE32-E72D297353CC}">
                <c16:uniqueId val="{00000091-2993-41DE-A2CB-63102DE87051}"/>
              </c:ext>
            </c:extLst>
          </c:dPt>
          <c:dPt>
            <c:idx val="45"/>
            <c:invertIfNegative val="1"/>
            <c:bubble3D val="0"/>
            <c:spPr>
              <a:solidFill>
                <a:srgbClr val="7ECAC4"/>
              </a:solidFill>
            </c:spPr>
            <c:extLst>
              <c:ext xmlns:c16="http://schemas.microsoft.com/office/drawing/2014/chart" uri="{C3380CC4-5D6E-409C-BE32-E72D297353CC}">
                <c16:uniqueId val="{00000093-2993-41DE-A2CB-63102DE87051}"/>
              </c:ext>
            </c:extLst>
          </c:dPt>
          <c:dPt>
            <c:idx val="46"/>
            <c:invertIfNegative val="1"/>
            <c:bubble3D val="0"/>
            <c:spPr>
              <a:solidFill>
                <a:srgbClr val="7ECAC4"/>
              </a:solidFill>
            </c:spPr>
            <c:extLst>
              <c:ext xmlns:c16="http://schemas.microsoft.com/office/drawing/2014/chart" uri="{C3380CC4-5D6E-409C-BE32-E72D297353CC}">
                <c16:uniqueId val="{00000095-2993-41DE-A2CB-63102DE87051}"/>
              </c:ext>
            </c:extLst>
          </c:dPt>
          <c:dPt>
            <c:idx val="47"/>
            <c:invertIfNegative val="1"/>
            <c:bubble3D val="0"/>
            <c:spPr>
              <a:solidFill>
                <a:srgbClr val="7ECAC4"/>
              </a:solidFill>
            </c:spPr>
            <c:extLst>
              <c:ext xmlns:c16="http://schemas.microsoft.com/office/drawing/2014/chart" uri="{C3380CC4-5D6E-409C-BE32-E72D297353CC}">
                <c16:uniqueId val="{00000097-2993-41DE-A2CB-63102DE87051}"/>
              </c:ext>
            </c:extLst>
          </c:dPt>
          <c:dPt>
            <c:idx val="48"/>
            <c:invertIfNegative val="1"/>
            <c:bubble3D val="0"/>
            <c:spPr>
              <a:solidFill>
                <a:srgbClr val="AEABAB"/>
              </a:solidFill>
            </c:spPr>
            <c:extLst>
              <c:ext xmlns:c16="http://schemas.microsoft.com/office/drawing/2014/chart" uri="{C3380CC4-5D6E-409C-BE32-E72D297353CC}">
                <c16:uniqueId val="{00000099-2993-41DE-A2CB-63102DE87051}"/>
              </c:ext>
            </c:extLst>
          </c:dPt>
          <c:dPt>
            <c:idx val="49"/>
            <c:invertIfNegative val="1"/>
            <c:bubble3D val="0"/>
            <c:spPr>
              <a:solidFill>
                <a:srgbClr val="AEABAB"/>
              </a:solidFill>
            </c:spPr>
            <c:extLst>
              <c:ext xmlns:c16="http://schemas.microsoft.com/office/drawing/2014/chart" uri="{C3380CC4-5D6E-409C-BE32-E72D297353CC}">
                <c16:uniqueId val="{0000009B-2993-41DE-A2CB-63102DE87051}"/>
              </c:ext>
            </c:extLst>
          </c:dPt>
          <c:dPt>
            <c:idx val="50"/>
            <c:invertIfNegative val="1"/>
            <c:bubble3D val="0"/>
            <c:spPr>
              <a:solidFill>
                <a:srgbClr val="AEABAB"/>
              </a:solidFill>
            </c:spPr>
            <c:extLst>
              <c:ext xmlns:c16="http://schemas.microsoft.com/office/drawing/2014/chart" uri="{C3380CC4-5D6E-409C-BE32-E72D297353CC}">
                <c16:uniqueId val="{0000009D-2993-41DE-A2CB-63102DE87051}"/>
              </c:ext>
            </c:extLst>
          </c:dPt>
          <c:dPt>
            <c:idx val="51"/>
            <c:invertIfNegative val="1"/>
            <c:bubble3D val="0"/>
            <c:spPr>
              <a:solidFill>
                <a:srgbClr val="AEABAB"/>
              </a:solidFill>
            </c:spPr>
            <c:extLst>
              <c:ext xmlns:c16="http://schemas.microsoft.com/office/drawing/2014/chart" uri="{C3380CC4-5D6E-409C-BE32-E72D297353CC}">
                <c16:uniqueId val="{0000009F-2993-41DE-A2CB-63102DE87051}"/>
              </c:ext>
            </c:extLst>
          </c:dPt>
          <c:dPt>
            <c:idx val="52"/>
            <c:invertIfNegative val="1"/>
            <c:bubble3D val="0"/>
            <c:spPr>
              <a:solidFill>
                <a:srgbClr val="AEABAB"/>
              </a:solidFill>
            </c:spPr>
            <c:extLst>
              <c:ext xmlns:c16="http://schemas.microsoft.com/office/drawing/2014/chart" uri="{C3380CC4-5D6E-409C-BE32-E72D297353CC}">
                <c16:uniqueId val="{000000A1-2993-41DE-A2CB-63102DE87051}"/>
              </c:ext>
            </c:extLst>
          </c:dPt>
          <c:dPt>
            <c:idx val="53"/>
            <c:invertIfNegative val="1"/>
            <c:bubble3D val="0"/>
            <c:spPr>
              <a:solidFill>
                <a:srgbClr val="AEABAB"/>
              </a:solidFill>
            </c:spPr>
            <c:extLst>
              <c:ext xmlns:c16="http://schemas.microsoft.com/office/drawing/2014/chart" uri="{C3380CC4-5D6E-409C-BE32-E72D297353CC}">
                <c16:uniqueId val="{000000A3-2993-41DE-A2CB-63102DE87051}"/>
              </c:ext>
            </c:extLst>
          </c:dPt>
          <c:dPt>
            <c:idx val="54"/>
            <c:invertIfNegative val="0"/>
            <c:bubble3D val="0"/>
            <c:spPr>
              <a:solidFill>
                <a:srgbClr val="AEABAB"/>
              </a:solidFill>
            </c:spPr>
            <c:extLst>
              <c:ext xmlns:c16="http://schemas.microsoft.com/office/drawing/2014/chart" uri="{C3380CC4-5D6E-409C-BE32-E72D297353CC}">
                <c16:uniqueId val="{00000072-C76F-4230-900D-40618C09729F}"/>
              </c:ext>
            </c:extLst>
          </c:dPt>
          <c:dPt>
            <c:idx val="55"/>
            <c:invertIfNegative val="0"/>
            <c:bubble3D val="0"/>
            <c:spPr>
              <a:solidFill>
                <a:srgbClr val="AEABAB"/>
              </a:solidFill>
            </c:spPr>
            <c:extLst>
              <c:ext xmlns:c16="http://schemas.microsoft.com/office/drawing/2014/chart" uri="{C3380CC4-5D6E-409C-BE32-E72D297353CC}">
                <c16:uniqueId val="{00000074-C76F-4230-900D-40618C09729F}"/>
              </c:ext>
            </c:extLst>
          </c:dPt>
          <c:dPt>
            <c:idx val="56"/>
            <c:invertIfNegative val="0"/>
            <c:bubble3D val="0"/>
            <c:spPr>
              <a:solidFill>
                <a:srgbClr val="AEABAB"/>
              </a:solidFill>
            </c:spPr>
            <c:extLst>
              <c:ext xmlns:c16="http://schemas.microsoft.com/office/drawing/2014/chart" uri="{C3380CC4-5D6E-409C-BE32-E72D297353CC}">
                <c16:uniqueId val="{00000076-C76F-4230-900D-40618C09729F}"/>
              </c:ext>
            </c:extLst>
          </c:dPt>
          <c:dPt>
            <c:idx val="57"/>
            <c:invertIfNegative val="0"/>
            <c:bubble3D val="0"/>
            <c:spPr>
              <a:solidFill>
                <a:srgbClr val="AEABAB"/>
              </a:solidFill>
            </c:spPr>
            <c:extLst>
              <c:ext xmlns:c16="http://schemas.microsoft.com/office/drawing/2014/chart" uri="{C3380CC4-5D6E-409C-BE32-E72D297353CC}">
                <c16:uniqueId val="{00000078-C76F-4230-900D-40618C09729F}"/>
              </c:ext>
            </c:extLst>
          </c:dPt>
          <c:dPt>
            <c:idx val="58"/>
            <c:invertIfNegative val="0"/>
            <c:bubble3D val="0"/>
            <c:spPr>
              <a:solidFill>
                <a:srgbClr val="AEABAB"/>
              </a:solidFill>
            </c:spPr>
            <c:extLst>
              <c:ext xmlns:c16="http://schemas.microsoft.com/office/drawing/2014/chart" uri="{C3380CC4-5D6E-409C-BE32-E72D297353CC}">
                <c16:uniqueId val="{0000007A-C76F-4230-900D-40618C09729F}"/>
              </c:ext>
            </c:extLst>
          </c:dPt>
          <c:dPt>
            <c:idx val="59"/>
            <c:invertIfNegative val="0"/>
            <c:bubble3D val="0"/>
            <c:spPr>
              <a:solidFill>
                <a:srgbClr val="AEABAB"/>
              </a:solidFill>
            </c:spPr>
            <c:extLst>
              <c:ext xmlns:c16="http://schemas.microsoft.com/office/drawing/2014/chart" uri="{C3380CC4-5D6E-409C-BE32-E72D297353CC}">
                <c16:uniqueId val="{0000007C-C76F-4230-900D-40618C09729F}"/>
              </c:ext>
            </c:extLst>
          </c:dPt>
          <c:dPt>
            <c:idx val="60"/>
            <c:invertIfNegative val="0"/>
            <c:bubble3D val="0"/>
            <c:spPr>
              <a:solidFill>
                <a:srgbClr val="AEABAB"/>
              </a:solidFill>
            </c:spPr>
            <c:extLst>
              <c:ext xmlns:c16="http://schemas.microsoft.com/office/drawing/2014/chart" uri="{C3380CC4-5D6E-409C-BE32-E72D297353CC}">
                <c16:uniqueId val="{0000007E-C76F-4230-900D-40618C09729F}"/>
              </c:ext>
            </c:extLst>
          </c:dPt>
          <c:dPt>
            <c:idx val="61"/>
            <c:invertIfNegative val="0"/>
            <c:bubble3D val="0"/>
            <c:spPr>
              <a:solidFill>
                <a:srgbClr val="AEABAB"/>
              </a:solidFill>
            </c:spPr>
            <c:extLst>
              <c:ext xmlns:c16="http://schemas.microsoft.com/office/drawing/2014/chart" uri="{C3380CC4-5D6E-409C-BE32-E72D297353CC}">
                <c16:uniqueId val="{00000080-C76F-4230-900D-40618C09729F}"/>
              </c:ext>
            </c:extLst>
          </c:dPt>
          <c:dPt>
            <c:idx val="62"/>
            <c:invertIfNegative val="0"/>
            <c:bubble3D val="0"/>
            <c:spPr>
              <a:solidFill>
                <a:srgbClr val="AEABAB"/>
              </a:solidFill>
            </c:spPr>
            <c:extLst>
              <c:ext xmlns:c16="http://schemas.microsoft.com/office/drawing/2014/chart" uri="{C3380CC4-5D6E-409C-BE32-E72D297353CC}">
                <c16:uniqueId val="{00000082-C76F-4230-900D-40618C09729F}"/>
              </c:ext>
            </c:extLst>
          </c:dPt>
          <c:dPt>
            <c:idx val="63"/>
            <c:invertIfNegative val="0"/>
            <c:bubble3D val="0"/>
            <c:spPr>
              <a:solidFill>
                <a:srgbClr val="AEABAB"/>
              </a:solidFill>
            </c:spPr>
            <c:extLst>
              <c:ext xmlns:c16="http://schemas.microsoft.com/office/drawing/2014/chart" uri="{C3380CC4-5D6E-409C-BE32-E72D297353CC}">
                <c16:uniqueId val="{00000084-C76F-4230-900D-40618C09729F}"/>
              </c:ext>
            </c:extLst>
          </c:dPt>
          <c:dPt>
            <c:idx val="64"/>
            <c:invertIfNegative val="0"/>
            <c:bubble3D val="0"/>
            <c:spPr>
              <a:solidFill>
                <a:srgbClr val="AEABAB"/>
              </a:solidFill>
            </c:spPr>
            <c:extLst>
              <c:ext xmlns:c16="http://schemas.microsoft.com/office/drawing/2014/chart" uri="{C3380CC4-5D6E-409C-BE32-E72D297353CC}">
                <c16:uniqueId val="{00000086-C76F-4230-900D-40618C09729F}"/>
              </c:ext>
            </c:extLst>
          </c:dPt>
          <c:dPt>
            <c:idx val="65"/>
            <c:invertIfNegative val="0"/>
            <c:bubble3D val="0"/>
            <c:spPr>
              <a:solidFill>
                <a:srgbClr val="AEABAB"/>
              </a:solidFill>
            </c:spPr>
            <c:extLst>
              <c:ext xmlns:c16="http://schemas.microsoft.com/office/drawing/2014/chart" uri="{C3380CC4-5D6E-409C-BE32-E72D297353CC}">
                <c16:uniqueId val="{00000088-C76F-4230-900D-40618C09729F}"/>
              </c:ext>
            </c:extLst>
          </c:dPt>
          <c:dPt>
            <c:idx val="66"/>
            <c:invertIfNegative val="0"/>
            <c:bubble3D val="0"/>
            <c:spPr>
              <a:solidFill>
                <a:srgbClr val="AEABAB"/>
              </a:solidFill>
            </c:spPr>
            <c:extLst>
              <c:ext xmlns:c16="http://schemas.microsoft.com/office/drawing/2014/chart" uri="{C3380CC4-5D6E-409C-BE32-E72D297353CC}">
                <c16:uniqueId val="{0000008A-C76F-4230-900D-40618C09729F}"/>
              </c:ext>
            </c:extLst>
          </c:dPt>
          <c:dPt>
            <c:idx val="67"/>
            <c:invertIfNegative val="0"/>
            <c:bubble3D val="0"/>
            <c:spPr>
              <a:solidFill>
                <a:srgbClr val="AEABAB"/>
              </a:solidFill>
            </c:spPr>
            <c:extLst>
              <c:ext xmlns:c16="http://schemas.microsoft.com/office/drawing/2014/chart" uri="{C3380CC4-5D6E-409C-BE32-E72D297353CC}">
                <c16:uniqueId val="{0000008C-C76F-4230-900D-40618C09729F}"/>
              </c:ext>
            </c:extLst>
          </c:dPt>
          <c:dPt>
            <c:idx val="68"/>
            <c:invertIfNegative val="0"/>
            <c:bubble3D val="0"/>
            <c:spPr>
              <a:solidFill>
                <a:srgbClr val="AEABAB"/>
              </a:solidFill>
            </c:spPr>
            <c:extLst>
              <c:ext xmlns:c16="http://schemas.microsoft.com/office/drawing/2014/chart" uri="{C3380CC4-5D6E-409C-BE32-E72D297353CC}">
                <c16:uniqueId val="{0000008E-C76F-4230-900D-40618C09729F}"/>
              </c:ext>
            </c:extLst>
          </c:dPt>
          <c:dPt>
            <c:idx val="69"/>
            <c:invertIfNegative val="0"/>
            <c:bubble3D val="0"/>
            <c:spPr>
              <a:solidFill>
                <a:srgbClr val="AEABAB"/>
              </a:solidFill>
            </c:spPr>
            <c:extLst>
              <c:ext xmlns:c16="http://schemas.microsoft.com/office/drawing/2014/chart" uri="{C3380CC4-5D6E-409C-BE32-E72D297353CC}">
                <c16:uniqueId val="{00000090-C76F-4230-900D-40618C09729F}"/>
              </c:ext>
            </c:extLst>
          </c:dPt>
          <c:dPt>
            <c:idx val="70"/>
            <c:invertIfNegative val="0"/>
            <c:bubble3D val="0"/>
            <c:spPr>
              <a:solidFill>
                <a:srgbClr val="AEABAB"/>
              </a:solidFill>
            </c:spPr>
            <c:extLst>
              <c:ext xmlns:c16="http://schemas.microsoft.com/office/drawing/2014/chart" uri="{C3380CC4-5D6E-409C-BE32-E72D297353CC}">
                <c16:uniqueId val="{00000092-C76F-4230-900D-40618C09729F}"/>
              </c:ext>
            </c:extLst>
          </c:dPt>
          <c:dPt>
            <c:idx val="71"/>
            <c:invertIfNegative val="0"/>
            <c:bubble3D val="0"/>
            <c:spPr>
              <a:solidFill>
                <a:srgbClr val="AEABAB"/>
              </a:solidFill>
            </c:spPr>
            <c:extLst>
              <c:ext xmlns:c16="http://schemas.microsoft.com/office/drawing/2014/chart" uri="{C3380CC4-5D6E-409C-BE32-E72D297353CC}">
                <c16:uniqueId val="{00000094-C76F-4230-900D-40618C09729F}"/>
              </c:ext>
            </c:extLst>
          </c:dPt>
          <c:dPt>
            <c:idx val="72"/>
            <c:invertIfNegative val="0"/>
            <c:bubble3D val="0"/>
            <c:spPr>
              <a:solidFill>
                <a:srgbClr val="AEABAB"/>
              </a:solidFill>
            </c:spPr>
            <c:extLst>
              <c:ext xmlns:c16="http://schemas.microsoft.com/office/drawing/2014/chart" uri="{C3380CC4-5D6E-409C-BE32-E72D297353CC}">
                <c16:uniqueId val="{00000096-C76F-4230-900D-40618C09729F}"/>
              </c:ext>
            </c:extLst>
          </c:dPt>
          <c:dPt>
            <c:idx val="73"/>
            <c:invertIfNegative val="0"/>
            <c:bubble3D val="0"/>
            <c:spPr>
              <a:solidFill>
                <a:srgbClr val="AEABAB"/>
              </a:solidFill>
            </c:spPr>
            <c:extLst>
              <c:ext xmlns:c16="http://schemas.microsoft.com/office/drawing/2014/chart" uri="{C3380CC4-5D6E-409C-BE32-E72D297353CC}">
                <c16:uniqueId val="{00000098-C76F-4230-900D-40618C09729F}"/>
              </c:ext>
            </c:extLst>
          </c:dPt>
          <c:dPt>
            <c:idx val="74"/>
            <c:invertIfNegative val="0"/>
            <c:bubble3D val="0"/>
            <c:spPr>
              <a:solidFill>
                <a:srgbClr val="AEABAB"/>
              </a:solidFill>
            </c:spPr>
            <c:extLst>
              <c:ext xmlns:c16="http://schemas.microsoft.com/office/drawing/2014/chart" uri="{C3380CC4-5D6E-409C-BE32-E72D297353CC}">
                <c16:uniqueId val="{0000009A-C76F-4230-900D-40618C09729F}"/>
              </c:ext>
            </c:extLst>
          </c:dPt>
          <c:dPt>
            <c:idx val="75"/>
            <c:invertIfNegative val="0"/>
            <c:bubble3D val="0"/>
            <c:spPr>
              <a:solidFill>
                <a:srgbClr val="AEABAB"/>
              </a:solidFill>
            </c:spPr>
            <c:extLst>
              <c:ext xmlns:c16="http://schemas.microsoft.com/office/drawing/2014/chart" uri="{C3380CC4-5D6E-409C-BE32-E72D297353CC}">
                <c16:uniqueId val="{0000009C-C76F-4230-900D-40618C09729F}"/>
              </c:ext>
            </c:extLst>
          </c:dPt>
          <c:dPt>
            <c:idx val="76"/>
            <c:invertIfNegative val="0"/>
            <c:bubble3D val="0"/>
            <c:spPr>
              <a:solidFill>
                <a:srgbClr val="AEABAB"/>
              </a:solidFill>
            </c:spPr>
            <c:extLst>
              <c:ext xmlns:c16="http://schemas.microsoft.com/office/drawing/2014/chart" uri="{C3380CC4-5D6E-409C-BE32-E72D297353CC}">
                <c16:uniqueId val="{0000009E-C76F-4230-900D-40618C09729F}"/>
              </c:ext>
            </c:extLst>
          </c:dPt>
          <c:dPt>
            <c:idx val="77"/>
            <c:invertIfNegative val="0"/>
            <c:bubble3D val="0"/>
            <c:spPr>
              <a:solidFill>
                <a:srgbClr val="AEABAB"/>
              </a:solidFill>
            </c:spPr>
            <c:extLst>
              <c:ext xmlns:c16="http://schemas.microsoft.com/office/drawing/2014/chart" uri="{C3380CC4-5D6E-409C-BE32-E72D297353CC}">
                <c16:uniqueId val="{000000A0-C76F-4230-900D-40618C09729F}"/>
              </c:ext>
            </c:extLst>
          </c:dPt>
          <c:dPt>
            <c:idx val="78"/>
            <c:invertIfNegative val="0"/>
            <c:bubble3D val="0"/>
            <c:spPr>
              <a:solidFill>
                <a:srgbClr val="AEABAB"/>
              </a:solidFill>
            </c:spPr>
            <c:extLst>
              <c:ext xmlns:c16="http://schemas.microsoft.com/office/drawing/2014/chart" uri="{C3380CC4-5D6E-409C-BE32-E72D297353CC}">
                <c16:uniqueId val="{000000A2-C76F-4230-900D-40618C09729F}"/>
              </c:ext>
            </c:extLst>
          </c:dPt>
          <c:dPt>
            <c:idx val="79"/>
            <c:invertIfNegative val="0"/>
            <c:bubble3D val="0"/>
            <c:spPr>
              <a:solidFill>
                <a:srgbClr val="AEABAB"/>
              </a:solidFill>
            </c:spPr>
            <c:extLst>
              <c:ext xmlns:c16="http://schemas.microsoft.com/office/drawing/2014/chart" uri="{C3380CC4-5D6E-409C-BE32-E72D297353CC}">
                <c16:uniqueId val="{000000A4-C76F-4230-900D-40618C09729F}"/>
              </c:ext>
            </c:extLst>
          </c:dPt>
          <c:dPt>
            <c:idx val="80"/>
            <c:invertIfNegative val="0"/>
            <c:bubble3D val="0"/>
            <c:spPr>
              <a:solidFill>
                <a:srgbClr val="AEABAB"/>
              </a:solidFill>
            </c:spPr>
            <c:extLst>
              <c:ext xmlns:c16="http://schemas.microsoft.com/office/drawing/2014/chart" uri="{C3380CC4-5D6E-409C-BE32-E72D297353CC}">
                <c16:uniqueId val="{000000A6-C76F-4230-900D-40618C09729F}"/>
              </c:ext>
            </c:extLst>
          </c:dPt>
          <c:dPt>
            <c:idx val="81"/>
            <c:invertIfNegative val="1"/>
            <c:bubble3D val="0"/>
            <c:spPr>
              <a:solidFill>
                <a:srgbClr val="AEABAB"/>
              </a:solidFill>
            </c:spPr>
            <c:extLst>
              <c:ext xmlns:c16="http://schemas.microsoft.com/office/drawing/2014/chart" uri="{C3380CC4-5D6E-409C-BE32-E72D297353CC}">
                <c16:uniqueId val="{000000A5-2993-41DE-A2CB-63102DE87051}"/>
              </c:ext>
            </c:extLst>
          </c:dPt>
          <c:dPt>
            <c:idx val="82"/>
            <c:invertIfNegative val="1"/>
            <c:bubble3D val="0"/>
            <c:spPr>
              <a:solidFill>
                <a:srgbClr val="AEABAB"/>
              </a:solidFill>
            </c:spPr>
            <c:extLst>
              <c:ext xmlns:c16="http://schemas.microsoft.com/office/drawing/2014/chart" uri="{C3380CC4-5D6E-409C-BE32-E72D297353CC}">
                <c16:uniqueId val="{000000A7-2993-41DE-A2CB-63102DE87051}"/>
              </c:ext>
            </c:extLst>
          </c:dPt>
          <c:dPt>
            <c:idx val="83"/>
            <c:invertIfNegative val="1"/>
            <c:bubble3D val="0"/>
            <c:spPr>
              <a:solidFill>
                <a:srgbClr val="AEABAB"/>
              </a:solidFill>
            </c:spPr>
            <c:extLst>
              <c:ext xmlns:c16="http://schemas.microsoft.com/office/drawing/2014/chart" uri="{C3380CC4-5D6E-409C-BE32-E72D297353CC}">
                <c16:uniqueId val="{000000A9-2993-41DE-A2CB-63102DE87051}"/>
              </c:ext>
            </c:extLst>
          </c:dPt>
          <c:dPt>
            <c:idx val="84"/>
            <c:invertIfNegative val="1"/>
            <c:bubble3D val="0"/>
            <c:spPr>
              <a:solidFill>
                <a:srgbClr val="AEABAB"/>
              </a:solidFill>
            </c:spPr>
            <c:extLst>
              <c:ext xmlns:c16="http://schemas.microsoft.com/office/drawing/2014/chart" uri="{C3380CC4-5D6E-409C-BE32-E72D297353CC}">
                <c16:uniqueId val="{000000AB-2993-41DE-A2CB-63102DE87051}"/>
              </c:ext>
            </c:extLst>
          </c:dPt>
          <c:dPt>
            <c:idx val="85"/>
            <c:invertIfNegative val="1"/>
            <c:bubble3D val="0"/>
            <c:spPr>
              <a:solidFill>
                <a:srgbClr val="AEABAB"/>
              </a:solidFill>
            </c:spPr>
            <c:extLst>
              <c:ext xmlns:c16="http://schemas.microsoft.com/office/drawing/2014/chart" uri="{C3380CC4-5D6E-409C-BE32-E72D297353CC}">
                <c16:uniqueId val="{000000AD-2993-41DE-A2CB-63102DE87051}"/>
              </c:ext>
            </c:extLst>
          </c:dPt>
          <c:dPt>
            <c:idx val="86"/>
            <c:invertIfNegative val="1"/>
            <c:bubble3D val="0"/>
            <c:spPr>
              <a:solidFill>
                <a:srgbClr val="AEABAB"/>
              </a:solidFill>
            </c:spPr>
            <c:extLst>
              <c:ext xmlns:c16="http://schemas.microsoft.com/office/drawing/2014/chart" uri="{C3380CC4-5D6E-409C-BE32-E72D297353CC}">
                <c16:uniqueId val="{000000AF-2993-41DE-A2CB-63102DE87051}"/>
              </c:ext>
            </c:extLst>
          </c:dPt>
          <c:dPt>
            <c:idx val="87"/>
            <c:invertIfNegative val="1"/>
            <c:bubble3D val="0"/>
            <c:spPr>
              <a:solidFill>
                <a:srgbClr val="AEABAB"/>
              </a:solidFill>
            </c:spPr>
            <c:extLst>
              <c:ext xmlns:c16="http://schemas.microsoft.com/office/drawing/2014/chart" uri="{C3380CC4-5D6E-409C-BE32-E72D297353CC}">
                <c16:uniqueId val="{000000B1-2993-41DE-A2CB-63102DE87051}"/>
              </c:ext>
            </c:extLst>
          </c:dPt>
          <c:dPt>
            <c:idx val="88"/>
            <c:invertIfNegative val="1"/>
            <c:bubble3D val="0"/>
            <c:spPr>
              <a:solidFill>
                <a:srgbClr val="AEABAB"/>
              </a:solidFill>
            </c:spPr>
            <c:extLst>
              <c:ext xmlns:c16="http://schemas.microsoft.com/office/drawing/2014/chart" uri="{C3380CC4-5D6E-409C-BE32-E72D297353CC}">
                <c16:uniqueId val="{000000B3-2993-41DE-A2CB-63102DE87051}"/>
              </c:ext>
            </c:extLst>
          </c:dPt>
          <c:dPt>
            <c:idx val="89"/>
            <c:invertIfNegative val="1"/>
            <c:bubble3D val="0"/>
            <c:spPr>
              <a:solidFill>
                <a:srgbClr val="AEABAB"/>
              </a:solidFill>
            </c:spPr>
            <c:extLst>
              <c:ext xmlns:c16="http://schemas.microsoft.com/office/drawing/2014/chart" uri="{C3380CC4-5D6E-409C-BE32-E72D297353CC}">
                <c16:uniqueId val="{000000B5-2993-41DE-A2CB-63102DE87051}"/>
              </c:ext>
            </c:extLst>
          </c:dPt>
          <c:dPt>
            <c:idx val="90"/>
            <c:invertIfNegative val="1"/>
            <c:bubble3D val="0"/>
            <c:spPr>
              <a:solidFill>
                <a:srgbClr val="AEABAB"/>
              </a:solidFill>
            </c:spPr>
            <c:extLst>
              <c:ext xmlns:c16="http://schemas.microsoft.com/office/drawing/2014/chart" uri="{C3380CC4-5D6E-409C-BE32-E72D297353CC}">
                <c16:uniqueId val="{000000B7-2993-41DE-A2CB-63102DE87051}"/>
              </c:ext>
            </c:extLst>
          </c:dPt>
          <c:dPt>
            <c:idx val="91"/>
            <c:invertIfNegative val="1"/>
            <c:bubble3D val="0"/>
            <c:spPr>
              <a:solidFill>
                <a:srgbClr val="AEABAB"/>
              </a:solidFill>
            </c:spPr>
            <c:extLst>
              <c:ext xmlns:c16="http://schemas.microsoft.com/office/drawing/2014/chart" uri="{C3380CC4-5D6E-409C-BE32-E72D297353CC}">
                <c16:uniqueId val="{000000B9-2993-41DE-A2CB-63102DE87051}"/>
              </c:ext>
            </c:extLst>
          </c:dPt>
          <c:dPt>
            <c:idx val="92"/>
            <c:invertIfNegative val="1"/>
            <c:bubble3D val="0"/>
            <c:spPr>
              <a:solidFill>
                <a:srgbClr val="AEABAB"/>
              </a:solidFill>
            </c:spPr>
            <c:extLst>
              <c:ext xmlns:c16="http://schemas.microsoft.com/office/drawing/2014/chart" uri="{C3380CC4-5D6E-409C-BE32-E72D297353CC}">
                <c16:uniqueId val="{000000BB-2993-41DE-A2CB-63102DE87051}"/>
              </c:ext>
            </c:extLst>
          </c:dPt>
          <c:dPt>
            <c:idx val="93"/>
            <c:invertIfNegative val="1"/>
            <c:bubble3D val="0"/>
            <c:spPr>
              <a:solidFill>
                <a:srgbClr val="AEABAB"/>
              </a:solidFill>
            </c:spPr>
            <c:extLst>
              <c:ext xmlns:c16="http://schemas.microsoft.com/office/drawing/2014/chart" uri="{C3380CC4-5D6E-409C-BE32-E72D297353CC}">
                <c16:uniqueId val="{000000BD-2993-41DE-A2CB-63102DE87051}"/>
              </c:ext>
            </c:extLst>
          </c:dPt>
          <c:dPt>
            <c:idx val="94"/>
            <c:invertIfNegative val="1"/>
            <c:bubble3D val="0"/>
            <c:spPr>
              <a:solidFill>
                <a:srgbClr val="AEABAB"/>
              </a:solidFill>
            </c:spPr>
            <c:extLst>
              <c:ext xmlns:c16="http://schemas.microsoft.com/office/drawing/2014/chart" uri="{C3380CC4-5D6E-409C-BE32-E72D297353CC}">
                <c16:uniqueId val="{000000BF-2993-41DE-A2CB-63102DE87051}"/>
              </c:ext>
            </c:extLst>
          </c:dPt>
          <c:dPt>
            <c:idx val="95"/>
            <c:invertIfNegative val="1"/>
            <c:bubble3D val="0"/>
            <c:spPr>
              <a:solidFill>
                <a:srgbClr val="AEABAB"/>
              </a:solidFill>
            </c:spPr>
            <c:extLst>
              <c:ext xmlns:c16="http://schemas.microsoft.com/office/drawing/2014/chart" uri="{C3380CC4-5D6E-409C-BE32-E72D297353CC}">
                <c16:uniqueId val="{000000C1-2993-41DE-A2CB-63102DE87051}"/>
              </c:ext>
            </c:extLst>
          </c:dPt>
          <c:dPt>
            <c:idx val="96"/>
            <c:invertIfNegative val="1"/>
            <c:bubble3D val="0"/>
            <c:spPr>
              <a:solidFill>
                <a:srgbClr val="AEABAB"/>
              </a:solidFill>
            </c:spPr>
            <c:extLst>
              <c:ext xmlns:c16="http://schemas.microsoft.com/office/drawing/2014/chart" uri="{C3380CC4-5D6E-409C-BE32-E72D297353CC}">
                <c16:uniqueId val="{000000C3-2993-41DE-A2CB-63102DE87051}"/>
              </c:ext>
            </c:extLst>
          </c:dPt>
          <c:dPt>
            <c:idx val="97"/>
            <c:invertIfNegative val="1"/>
            <c:bubble3D val="0"/>
            <c:spPr>
              <a:solidFill>
                <a:srgbClr val="AEABAB"/>
              </a:solidFill>
            </c:spPr>
            <c:extLst>
              <c:ext xmlns:c16="http://schemas.microsoft.com/office/drawing/2014/chart" uri="{C3380CC4-5D6E-409C-BE32-E72D297353CC}">
                <c16:uniqueId val="{000000C5-2993-41DE-A2CB-63102DE87051}"/>
              </c:ext>
            </c:extLst>
          </c:dPt>
          <c:dPt>
            <c:idx val="98"/>
            <c:invertIfNegative val="1"/>
            <c:bubble3D val="0"/>
            <c:spPr>
              <a:solidFill>
                <a:srgbClr val="AEABAB"/>
              </a:solidFill>
            </c:spPr>
            <c:extLst>
              <c:ext xmlns:c16="http://schemas.microsoft.com/office/drawing/2014/chart" uri="{C3380CC4-5D6E-409C-BE32-E72D297353CC}">
                <c16:uniqueId val="{000000C7-2993-41DE-A2CB-63102DE87051}"/>
              </c:ext>
            </c:extLst>
          </c:dPt>
          <c:dPt>
            <c:idx val="99"/>
            <c:invertIfNegative val="1"/>
            <c:bubble3D val="0"/>
            <c:spPr>
              <a:solidFill>
                <a:srgbClr val="AEABAB"/>
              </a:solidFill>
            </c:spPr>
            <c:extLst>
              <c:ext xmlns:c16="http://schemas.microsoft.com/office/drawing/2014/chart" uri="{C3380CC4-5D6E-409C-BE32-E72D297353CC}">
                <c16:uniqueId val="{000000C9-2993-41DE-A2CB-63102DE87051}"/>
              </c:ext>
            </c:extLst>
          </c:dPt>
          <c:dPt>
            <c:idx val="100"/>
            <c:invertIfNegative val="1"/>
            <c:bubble3D val="0"/>
            <c:spPr>
              <a:solidFill>
                <a:srgbClr val="AEABAB"/>
              </a:solidFill>
            </c:spPr>
            <c:extLst>
              <c:ext xmlns:c16="http://schemas.microsoft.com/office/drawing/2014/chart" uri="{C3380CC4-5D6E-409C-BE32-E72D297353CC}">
                <c16:uniqueId val="{000000CB-2993-41DE-A2CB-63102DE87051}"/>
              </c:ext>
            </c:extLst>
          </c:dPt>
          <c:dPt>
            <c:idx val="101"/>
            <c:invertIfNegative val="1"/>
            <c:bubble3D val="0"/>
            <c:spPr>
              <a:solidFill>
                <a:srgbClr val="AEABAB"/>
              </a:solidFill>
            </c:spPr>
            <c:extLst>
              <c:ext xmlns:c16="http://schemas.microsoft.com/office/drawing/2014/chart" uri="{C3380CC4-5D6E-409C-BE32-E72D297353CC}">
                <c16:uniqueId val="{000000CD-2993-41DE-A2CB-63102DE87051}"/>
              </c:ext>
            </c:extLst>
          </c:dPt>
          <c:dPt>
            <c:idx val="102"/>
            <c:invertIfNegative val="1"/>
            <c:bubble3D val="0"/>
            <c:spPr>
              <a:solidFill>
                <a:srgbClr val="AEABAB"/>
              </a:solidFill>
            </c:spPr>
            <c:extLst>
              <c:ext xmlns:c16="http://schemas.microsoft.com/office/drawing/2014/chart" uri="{C3380CC4-5D6E-409C-BE32-E72D297353CC}">
                <c16:uniqueId val="{000000CF-2993-41DE-A2CB-63102DE87051}"/>
              </c:ext>
            </c:extLst>
          </c:dPt>
          <c:dPt>
            <c:idx val="103"/>
            <c:invertIfNegative val="1"/>
            <c:bubble3D val="0"/>
            <c:spPr>
              <a:solidFill>
                <a:srgbClr val="AEABAB"/>
              </a:solidFill>
            </c:spPr>
            <c:extLst>
              <c:ext xmlns:c16="http://schemas.microsoft.com/office/drawing/2014/chart" uri="{C3380CC4-5D6E-409C-BE32-E72D297353CC}">
                <c16:uniqueId val="{000000D1-2993-41DE-A2CB-63102DE87051}"/>
              </c:ext>
            </c:extLst>
          </c:dPt>
          <c:dPt>
            <c:idx val="104"/>
            <c:invertIfNegative val="1"/>
            <c:bubble3D val="0"/>
            <c:spPr>
              <a:solidFill>
                <a:srgbClr val="AEABAB"/>
              </a:solidFill>
            </c:spPr>
            <c:extLst>
              <c:ext xmlns:c16="http://schemas.microsoft.com/office/drawing/2014/chart" uri="{C3380CC4-5D6E-409C-BE32-E72D297353CC}">
                <c16:uniqueId val="{000000D3-2993-41DE-A2CB-63102DE87051}"/>
              </c:ext>
            </c:extLst>
          </c:dPt>
          <c:dPt>
            <c:idx val="105"/>
            <c:invertIfNegative val="1"/>
            <c:bubble3D val="0"/>
            <c:spPr>
              <a:solidFill>
                <a:srgbClr val="AEABAB"/>
              </a:solidFill>
            </c:spPr>
            <c:extLst>
              <c:ext xmlns:c16="http://schemas.microsoft.com/office/drawing/2014/chart" uri="{C3380CC4-5D6E-409C-BE32-E72D297353CC}">
                <c16:uniqueId val="{000000D5-2993-41DE-A2CB-63102DE87051}"/>
              </c:ext>
            </c:extLst>
          </c:dPt>
          <c:dPt>
            <c:idx val="106"/>
            <c:invertIfNegative val="1"/>
            <c:bubble3D val="0"/>
            <c:spPr>
              <a:solidFill>
                <a:srgbClr val="AEABAB"/>
              </a:solidFill>
            </c:spPr>
            <c:extLst>
              <c:ext xmlns:c16="http://schemas.microsoft.com/office/drawing/2014/chart" uri="{C3380CC4-5D6E-409C-BE32-E72D297353CC}">
                <c16:uniqueId val="{000000D7-2993-41DE-A2CB-63102DE87051}"/>
              </c:ext>
            </c:extLst>
          </c:dPt>
          <c:dPt>
            <c:idx val="107"/>
            <c:invertIfNegative val="1"/>
            <c:bubble3D val="0"/>
            <c:spPr>
              <a:solidFill>
                <a:srgbClr val="AEABAB"/>
              </a:solidFill>
            </c:spPr>
            <c:extLst>
              <c:ext xmlns:c16="http://schemas.microsoft.com/office/drawing/2014/chart" uri="{C3380CC4-5D6E-409C-BE32-E72D297353CC}">
                <c16:uniqueId val="{000000D9-2993-41DE-A2CB-63102DE87051}"/>
              </c:ext>
            </c:extLst>
          </c:dPt>
          <c:dPt>
            <c:idx val="108"/>
            <c:invertIfNegative val="1"/>
            <c:bubble3D val="0"/>
            <c:spPr>
              <a:solidFill>
                <a:srgbClr val="AEABAB"/>
              </a:solidFill>
            </c:spPr>
            <c:extLst>
              <c:ext xmlns:c16="http://schemas.microsoft.com/office/drawing/2014/chart" uri="{C3380CC4-5D6E-409C-BE32-E72D297353CC}">
                <c16:uniqueId val="{000000DB-2993-41DE-A2CB-63102DE87051}"/>
              </c:ext>
            </c:extLst>
          </c:dPt>
          <c:dPt>
            <c:idx val="109"/>
            <c:invertIfNegative val="1"/>
            <c:bubble3D val="0"/>
            <c:spPr>
              <a:solidFill>
                <a:srgbClr val="AEABAB"/>
              </a:solidFill>
            </c:spPr>
            <c:extLst>
              <c:ext xmlns:c16="http://schemas.microsoft.com/office/drawing/2014/chart" uri="{C3380CC4-5D6E-409C-BE32-E72D297353CC}">
                <c16:uniqueId val="{000000DD-2993-41DE-A2CB-63102DE87051}"/>
              </c:ext>
            </c:extLst>
          </c:dPt>
          <c:dPt>
            <c:idx val="110"/>
            <c:invertIfNegative val="1"/>
            <c:bubble3D val="0"/>
            <c:spPr>
              <a:solidFill>
                <a:srgbClr val="AEABAB"/>
              </a:solidFill>
            </c:spPr>
            <c:extLst>
              <c:ext xmlns:c16="http://schemas.microsoft.com/office/drawing/2014/chart" uri="{C3380CC4-5D6E-409C-BE32-E72D297353CC}">
                <c16:uniqueId val="{000000DF-2993-41DE-A2CB-63102DE87051}"/>
              </c:ext>
            </c:extLst>
          </c:dPt>
          <c:dPt>
            <c:idx val="111"/>
            <c:invertIfNegative val="1"/>
            <c:bubble3D val="0"/>
            <c:spPr>
              <a:solidFill>
                <a:srgbClr val="AEABAB"/>
              </a:solidFill>
            </c:spPr>
            <c:extLst>
              <c:ext xmlns:c16="http://schemas.microsoft.com/office/drawing/2014/chart" uri="{C3380CC4-5D6E-409C-BE32-E72D297353CC}">
                <c16:uniqueId val="{000000E1-2993-41DE-A2CB-63102DE87051}"/>
              </c:ext>
            </c:extLst>
          </c:dPt>
          <c:dPt>
            <c:idx val="112"/>
            <c:invertIfNegative val="1"/>
            <c:bubble3D val="0"/>
            <c:spPr>
              <a:solidFill>
                <a:srgbClr val="AEABAB"/>
              </a:solidFill>
            </c:spPr>
            <c:extLst>
              <c:ext xmlns:c16="http://schemas.microsoft.com/office/drawing/2014/chart" uri="{C3380CC4-5D6E-409C-BE32-E72D297353CC}">
                <c16:uniqueId val="{000000E3-2993-41DE-A2CB-63102DE87051}"/>
              </c:ext>
            </c:extLst>
          </c:dPt>
          <c:dPt>
            <c:idx val="113"/>
            <c:invertIfNegative val="1"/>
            <c:bubble3D val="0"/>
            <c:spPr>
              <a:solidFill>
                <a:srgbClr val="AEABAB"/>
              </a:solidFill>
            </c:spPr>
            <c:extLst>
              <c:ext xmlns:c16="http://schemas.microsoft.com/office/drawing/2014/chart" uri="{C3380CC4-5D6E-409C-BE32-E72D297353CC}">
                <c16:uniqueId val="{000000E5-2993-41DE-A2CB-63102DE87051}"/>
              </c:ext>
            </c:extLst>
          </c:dPt>
          <c:dPt>
            <c:idx val="114"/>
            <c:invertIfNegative val="1"/>
            <c:bubble3D val="0"/>
            <c:spPr>
              <a:solidFill>
                <a:srgbClr val="AEABAB"/>
              </a:solidFill>
            </c:spPr>
            <c:extLst>
              <c:ext xmlns:c16="http://schemas.microsoft.com/office/drawing/2014/chart" uri="{C3380CC4-5D6E-409C-BE32-E72D297353CC}">
                <c16:uniqueId val="{000000E7-2993-41DE-A2CB-63102DE87051}"/>
              </c:ext>
            </c:extLst>
          </c:dPt>
          <c:dPt>
            <c:idx val="115"/>
            <c:invertIfNegative val="1"/>
            <c:bubble3D val="0"/>
            <c:spPr>
              <a:solidFill>
                <a:srgbClr val="AEABAB"/>
              </a:solidFill>
            </c:spPr>
            <c:extLst>
              <c:ext xmlns:c16="http://schemas.microsoft.com/office/drawing/2014/chart" uri="{C3380CC4-5D6E-409C-BE32-E72D297353CC}">
                <c16:uniqueId val="{000000E9-2993-41DE-A2CB-63102DE87051}"/>
              </c:ext>
            </c:extLst>
          </c:dPt>
          <c:dPt>
            <c:idx val="116"/>
            <c:invertIfNegative val="1"/>
            <c:bubble3D val="0"/>
            <c:spPr>
              <a:solidFill>
                <a:srgbClr val="AEABAB"/>
              </a:solidFill>
            </c:spPr>
            <c:extLst>
              <c:ext xmlns:c16="http://schemas.microsoft.com/office/drawing/2014/chart" uri="{C3380CC4-5D6E-409C-BE32-E72D297353CC}">
                <c16:uniqueId val="{000000EB-2993-41DE-A2CB-63102DE87051}"/>
              </c:ext>
            </c:extLst>
          </c:dPt>
          <c:dPt>
            <c:idx val="117"/>
            <c:invertIfNegative val="1"/>
            <c:bubble3D val="0"/>
            <c:spPr>
              <a:solidFill>
                <a:srgbClr val="AEABAB"/>
              </a:solidFill>
            </c:spPr>
            <c:extLst>
              <c:ext xmlns:c16="http://schemas.microsoft.com/office/drawing/2014/chart" uri="{C3380CC4-5D6E-409C-BE32-E72D297353CC}">
                <c16:uniqueId val="{000000ED-2993-41DE-A2CB-63102DE87051}"/>
              </c:ext>
            </c:extLst>
          </c:dPt>
          <c:dPt>
            <c:idx val="118"/>
            <c:invertIfNegative val="1"/>
            <c:bubble3D val="0"/>
            <c:spPr>
              <a:solidFill>
                <a:srgbClr val="AEABAB"/>
              </a:solidFill>
            </c:spPr>
            <c:extLst>
              <c:ext xmlns:c16="http://schemas.microsoft.com/office/drawing/2014/chart" uri="{C3380CC4-5D6E-409C-BE32-E72D297353CC}">
                <c16:uniqueId val="{000000EF-2993-41DE-A2CB-63102DE87051}"/>
              </c:ext>
            </c:extLst>
          </c:dPt>
          <c:dPt>
            <c:idx val="119"/>
            <c:invertIfNegative val="1"/>
            <c:bubble3D val="0"/>
            <c:spPr>
              <a:solidFill>
                <a:srgbClr val="AEABAB"/>
              </a:solidFill>
            </c:spPr>
            <c:extLst>
              <c:ext xmlns:c16="http://schemas.microsoft.com/office/drawing/2014/chart" uri="{C3380CC4-5D6E-409C-BE32-E72D297353CC}">
                <c16:uniqueId val="{000000F1-2993-41DE-A2CB-63102DE87051}"/>
              </c:ext>
            </c:extLst>
          </c:dPt>
          <c:dPt>
            <c:idx val="120"/>
            <c:invertIfNegative val="1"/>
            <c:bubble3D val="0"/>
            <c:spPr>
              <a:solidFill>
                <a:srgbClr val="AEABAB"/>
              </a:solidFill>
            </c:spPr>
            <c:extLst>
              <c:ext xmlns:c16="http://schemas.microsoft.com/office/drawing/2014/chart" uri="{C3380CC4-5D6E-409C-BE32-E72D297353CC}">
                <c16:uniqueId val="{000000F3-2993-41DE-A2CB-63102DE87051}"/>
              </c:ext>
            </c:extLst>
          </c:dPt>
          <c:dPt>
            <c:idx val="121"/>
            <c:invertIfNegative val="1"/>
            <c:bubble3D val="0"/>
            <c:spPr>
              <a:solidFill>
                <a:srgbClr val="AEABAB"/>
              </a:solidFill>
            </c:spPr>
            <c:extLst>
              <c:ext xmlns:c16="http://schemas.microsoft.com/office/drawing/2014/chart" uri="{C3380CC4-5D6E-409C-BE32-E72D297353CC}">
                <c16:uniqueId val="{000000F5-2993-41DE-A2CB-63102DE87051}"/>
              </c:ext>
            </c:extLst>
          </c:dPt>
          <c:dPt>
            <c:idx val="122"/>
            <c:invertIfNegative val="1"/>
            <c:bubble3D val="0"/>
            <c:spPr>
              <a:solidFill>
                <a:srgbClr val="AEABAB"/>
              </a:solidFill>
            </c:spPr>
            <c:extLst>
              <c:ext xmlns:c16="http://schemas.microsoft.com/office/drawing/2014/chart" uri="{C3380CC4-5D6E-409C-BE32-E72D297353CC}">
                <c16:uniqueId val="{000000F7-2993-41DE-A2CB-63102DE87051}"/>
              </c:ext>
            </c:extLst>
          </c:dPt>
          <c:dPt>
            <c:idx val="123"/>
            <c:invertIfNegative val="1"/>
            <c:bubble3D val="0"/>
            <c:spPr>
              <a:solidFill>
                <a:srgbClr val="AEABAB"/>
              </a:solidFill>
            </c:spPr>
            <c:extLst>
              <c:ext xmlns:c16="http://schemas.microsoft.com/office/drawing/2014/chart" uri="{C3380CC4-5D6E-409C-BE32-E72D297353CC}">
                <c16:uniqueId val="{000000F9-2993-41DE-A2CB-63102DE87051}"/>
              </c:ext>
            </c:extLst>
          </c:dPt>
          <c:dPt>
            <c:idx val="124"/>
            <c:invertIfNegative val="1"/>
            <c:bubble3D val="0"/>
            <c:spPr>
              <a:solidFill>
                <a:srgbClr val="AEABAB"/>
              </a:solidFill>
            </c:spPr>
            <c:extLst>
              <c:ext xmlns:c16="http://schemas.microsoft.com/office/drawing/2014/chart" uri="{C3380CC4-5D6E-409C-BE32-E72D297353CC}">
                <c16:uniqueId val="{000000FB-2993-41DE-A2CB-63102DE87051}"/>
              </c:ext>
            </c:extLst>
          </c:dPt>
          <c:dPt>
            <c:idx val="125"/>
            <c:invertIfNegative val="1"/>
            <c:bubble3D val="0"/>
            <c:spPr>
              <a:solidFill>
                <a:srgbClr val="AEABAB"/>
              </a:solidFill>
            </c:spPr>
            <c:extLst>
              <c:ext xmlns:c16="http://schemas.microsoft.com/office/drawing/2014/chart" uri="{C3380CC4-5D6E-409C-BE32-E72D297353CC}">
                <c16:uniqueId val="{000000FD-2993-41DE-A2CB-63102DE87051}"/>
              </c:ext>
            </c:extLst>
          </c:dPt>
          <c:dPt>
            <c:idx val="126"/>
            <c:invertIfNegative val="1"/>
            <c:bubble3D val="0"/>
            <c:spPr>
              <a:solidFill>
                <a:srgbClr val="AEABAB"/>
              </a:solidFill>
            </c:spPr>
            <c:extLst>
              <c:ext xmlns:c16="http://schemas.microsoft.com/office/drawing/2014/chart" uri="{C3380CC4-5D6E-409C-BE32-E72D297353CC}">
                <c16:uniqueId val="{000000FF-2993-41DE-A2CB-63102DE87051}"/>
              </c:ext>
            </c:extLst>
          </c:dPt>
          <c:dPt>
            <c:idx val="127"/>
            <c:invertIfNegative val="1"/>
            <c:bubble3D val="0"/>
            <c:spPr>
              <a:solidFill>
                <a:srgbClr val="AEABAB"/>
              </a:solidFill>
            </c:spPr>
            <c:extLst>
              <c:ext xmlns:c16="http://schemas.microsoft.com/office/drawing/2014/chart" uri="{C3380CC4-5D6E-409C-BE32-E72D297353CC}">
                <c16:uniqueId val="{00000101-2993-41DE-A2CB-63102DE87051}"/>
              </c:ext>
            </c:extLst>
          </c:dPt>
          <c:dPt>
            <c:idx val="128"/>
            <c:invertIfNegative val="1"/>
            <c:bubble3D val="0"/>
            <c:spPr>
              <a:solidFill>
                <a:srgbClr val="AEABAB"/>
              </a:solidFill>
            </c:spPr>
            <c:extLst>
              <c:ext xmlns:c16="http://schemas.microsoft.com/office/drawing/2014/chart" uri="{C3380CC4-5D6E-409C-BE32-E72D297353CC}">
                <c16:uniqueId val="{00000103-2993-41DE-A2CB-63102DE87051}"/>
              </c:ext>
            </c:extLst>
          </c:dPt>
          <c:dPt>
            <c:idx val="129"/>
            <c:invertIfNegative val="1"/>
            <c:bubble3D val="0"/>
            <c:spPr>
              <a:solidFill>
                <a:srgbClr val="AEABAB"/>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131</c:f>
              <c:strCache>
                <c:ptCount val="130"/>
                <c:pt idx="0">
                  <c:v>St Moret</c:v>
                </c:pt>
                <c:pt idx="1">
                  <c:v>Tartare</c:v>
                </c:pt>
                <c:pt idx="2">
                  <c:v>St Moret</c:v>
                </c:pt>
                <c:pt idx="3">
                  <c:v>Paysan Bret</c:v>
                </c:pt>
                <c:pt idx="4">
                  <c:v>St Moret</c:v>
                </c:pt>
                <c:pt idx="5">
                  <c:v>Philadelphi</c:v>
                </c:pt>
                <c:pt idx="6">
                  <c:v>Carre Frais</c:v>
                </c:pt>
                <c:pt idx="7">
                  <c:v>Carre Frais</c:v>
                </c:pt>
                <c:pt idx="8">
                  <c:v>Paysan Bret</c:v>
                </c:pt>
                <c:pt idx="9">
                  <c:v>Boursin</c:v>
                </c:pt>
                <c:pt idx="10">
                  <c:v>Boursin</c:v>
                </c:pt>
                <c:pt idx="11">
                  <c:v>Philadelphi</c:v>
                </c:pt>
                <c:pt idx="12">
                  <c:v>St Moret</c:v>
                </c:pt>
                <c:pt idx="13">
                  <c:v>St Moret</c:v>
                </c:pt>
                <c:pt idx="14">
                  <c:v>Tartare</c:v>
                </c:pt>
                <c:pt idx="15">
                  <c:v>Tartare</c:v>
                </c:pt>
                <c:pt idx="16">
                  <c:v>Private Lab</c:v>
                </c:pt>
                <c:pt idx="17">
                  <c:v>Boursin</c:v>
                </c:pt>
                <c:pt idx="18">
                  <c:v>St Moret</c:v>
                </c:pt>
                <c:pt idx="19">
                  <c:v>St Moret</c:v>
                </c:pt>
                <c:pt idx="20">
                  <c:v>Paysan Bret</c:v>
                </c:pt>
                <c:pt idx="21">
                  <c:v>St Moret</c:v>
                </c:pt>
                <c:pt idx="22">
                  <c:v>Paysan Bret</c:v>
                </c:pt>
                <c:pt idx="23">
                  <c:v>St Moret</c:v>
                </c:pt>
                <c:pt idx="24">
                  <c:v>Private Lab</c:v>
                </c:pt>
                <c:pt idx="25">
                  <c:v>Private Lab</c:v>
                </c:pt>
                <c:pt idx="26">
                  <c:v>Tartare</c:v>
                </c:pt>
                <c:pt idx="27">
                  <c:v>Private Lab</c:v>
                </c:pt>
                <c:pt idx="28">
                  <c:v>Paysan Bret</c:v>
                </c:pt>
                <c:pt idx="29">
                  <c:v>Carre Frais</c:v>
                </c:pt>
                <c:pt idx="30">
                  <c:v>Philadelphi</c:v>
                </c:pt>
                <c:pt idx="31">
                  <c:v>Paysan Bret</c:v>
                </c:pt>
                <c:pt idx="32">
                  <c:v>Boursin</c:v>
                </c:pt>
                <c:pt idx="33">
                  <c:v>Rondele</c:v>
                </c:pt>
                <c:pt idx="34">
                  <c:v>Savencia: A</c:v>
                </c:pt>
                <c:pt idx="35">
                  <c:v>Paysan Bret</c:v>
                </c:pt>
                <c:pt idx="36">
                  <c:v>Kiri</c:v>
                </c:pt>
                <c:pt idx="37">
                  <c:v>All Others</c:v>
                </c:pt>
                <c:pt idx="38">
                  <c:v>Boursin</c:v>
                </c:pt>
                <c:pt idx="39">
                  <c:v>Boursin</c:v>
                </c:pt>
                <c:pt idx="40">
                  <c:v>Paysan Bret</c:v>
                </c:pt>
                <c:pt idx="41">
                  <c:v>Kiri</c:v>
                </c:pt>
                <c:pt idx="42">
                  <c:v>Tartare</c:v>
                </c:pt>
                <c:pt idx="43">
                  <c:v>Paysan Bret</c:v>
                </c:pt>
                <c:pt idx="44">
                  <c:v>Boursin</c:v>
                </c:pt>
                <c:pt idx="45">
                  <c:v>St Moret</c:v>
                </c:pt>
                <c:pt idx="46">
                  <c:v>Kiri</c:v>
                </c:pt>
                <c:pt idx="47">
                  <c:v>Tartare</c:v>
                </c:pt>
                <c:pt idx="48">
                  <c:v>Philadelphi</c:v>
                </c:pt>
                <c:pt idx="49">
                  <c:v>Tartare</c:v>
                </c:pt>
                <c:pt idx="50">
                  <c:v>Rondele</c:v>
                </c:pt>
                <c:pt idx="51">
                  <c:v>President</c:v>
                </c:pt>
                <c:pt idx="52">
                  <c:v>Lactalis: A</c:v>
                </c:pt>
                <c:pt idx="53">
                  <c:v>Rondele</c:v>
                </c:pt>
                <c:pt idx="54">
                  <c:v>Saint Agur</c:v>
                </c:pt>
                <c:pt idx="55">
                  <c:v>Triballat R</c:v>
                </c:pt>
                <c:pt idx="56">
                  <c:v>Private Lab</c:v>
                </c:pt>
                <c:pt idx="57">
                  <c:v>All Others</c:v>
                </c:pt>
                <c:pt idx="58">
                  <c:v>Private Lab</c:v>
                </c:pt>
                <c:pt idx="59">
                  <c:v>All Others</c:v>
                </c:pt>
                <c:pt idx="60">
                  <c:v>Boursin</c:v>
                </c:pt>
                <c:pt idx="61">
                  <c:v>Lactalis: A</c:v>
                </c:pt>
                <c:pt idx="62">
                  <c:v>Private Lab</c:v>
                </c:pt>
                <c:pt idx="63">
                  <c:v>St Moret</c:v>
                </c:pt>
                <c:pt idx="64">
                  <c:v>St Moret</c:v>
                </c:pt>
                <c:pt idx="65">
                  <c:v>Boursin</c:v>
                </c:pt>
                <c:pt idx="66">
                  <c:v>Saint Agur</c:v>
                </c:pt>
                <c:pt idx="67">
                  <c:v>Paysan Bret</c:v>
                </c:pt>
                <c:pt idx="68">
                  <c:v>Tartare</c:v>
                </c:pt>
                <c:pt idx="69">
                  <c:v>Paysan Bret</c:v>
                </c:pt>
                <c:pt idx="70">
                  <c:v>Boursin</c:v>
                </c:pt>
                <c:pt idx="71">
                  <c:v>Boursin</c:v>
                </c:pt>
                <c:pt idx="72">
                  <c:v>Private Lab</c:v>
                </c:pt>
                <c:pt idx="73">
                  <c:v>Lactalis: A</c:v>
                </c:pt>
                <c:pt idx="74">
                  <c:v>President</c:v>
                </c:pt>
                <c:pt idx="75">
                  <c:v>Tartare</c:v>
                </c:pt>
                <c:pt idx="76">
                  <c:v>Carre Frais</c:v>
                </c:pt>
                <c:pt idx="77">
                  <c:v>Private Lab</c:v>
                </c:pt>
                <c:pt idx="78">
                  <c:v>Boursin</c:v>
                </c:pt>
                <c:pt idx="79">
                  <c:v>All Others</c:v>
                </c:pt>
                <c:pt idx="80">
                  <c:v>Savencia: A</c:v>
                </c:pt>
                <c:pt idx="81">
                  <c:v>Boursin</c:v>
                </c:pt>
                <c:pt idx="82">
                  <c:v>Boursin</c:v>
                </c:pt>
                <c:pt idx="83">
                  <c:v>Private Lab</c:v>
                </c:pt>
                <c:pt idx="84">
                  <c:v>Boursin</c:v>
                </c:pt>
                <c:pt idx="85">
                  <c:v>Tartare</c:v>
                </c:pt>
                <c:pt idx="86">
                  <c:v>Carre Frais</c:v>
                </c:pt>
                <c:pt idx="87">
                  <c:v>All Others</c:v>
                </c:pt>
                <c:pt idx="88">
                  <c:v>Philadelphi</c:v>
                </c:pt>
                <c:pt idx="89">
                  <c:v>All Others</c:v>
                </c:pt>
                <c:pt idx="90">
                  <c:v>All Others</c:v>
                </c:pt>
                <c:pt idx="91">
                  <c:v>All Others</c:v>
                </c:pt>
                <c:pt idx="92">
                  <c:v>All Others</c:v>
                </c:pt>
                <c:pt idx="93">
                  <c:v>St Moret</c:v>
                </c:pt>
                <c:pt idx="94">
                  <c:v>All Others</c:v>
                </c:pt>
                <c:pt idx="95">
                  <c:v>All Others</c:v>
                </c:pt>
                <c:pt idx="96">
                  <c:v>All Others</c:v>
                </c:pt>
                <c:pt idx="97">
                  <c:v>All Others</c:v>
                </c:pt>
                <c:pt idx="98">
                  <c:v>All Others</c:v>
                </c:pt>
                <c:pt idx="99">
                  <c:v>All Others</c:v>
                </c:pt>
                <c:pt idx="100">
                  <c:v>Boursin</c:v>
                </c:pt>
                <c:pt idx="101">
                  <c:v>Boursin</c:v>
                </c:pt>
                <c:pt idx="102">
                  <c:v>All Others</c:v>
                </c:pt>
                <c:pt idx="103">
                  <c:v>All Others</c:v>
                </c:pt>
                <c:pt idx="104">
                  <c:v>Tartare</c:v>
                </c:pt>
                <c:pt idx="105">
                  <c:v>All Others</c:v>
                </c:pt>
                <c:pt idx="106">
                  <c:v>All Others</c:v>
                </c:pt>
                <c:pt idx="107">
                  <c:v>St Moret</c:v>
                </c:pt>
                <c:pt idx="108">
                  <c:v>All Others</c:v>
                </c:pt>
                <c:pt idx="109">
                  <c:v>All Others</c:v>
                </c:pt>
                <c:pt idx="110">
                  <c:v>Savencia: A</c:v>
                </c:pt>
                <c:pt idx="111">
                  <c:v>Savencia: A</c:v>
                </c:pt>
                <c:pt idx="112">
                  <c:v>All Others</c:v>
                </c:pt>
                <c:pt idx="113">
                  <c:v>All Others</c:v>
                </c:pt>
                <c:pt idx="114">
                  <c:v>All Others</c:v>
                </c:pt>
                <c:pt idx="115">
                  <c:v>All Others</c:v>
                </c:pt>
                <c:pt idx="116">
                  <c:v>All Others</c:v>
                </c:pt>
                <c:pt idx="117">
                  <c:v>All Others</c:v>
                </c:pt>
                <c:pt idx="118">
                  <c:v>Rondele</c:v>
                </c:pt>
                <c:pt idx="119">
                  <c:v>All Others</c:v>
                </c:pt>
                <c:pt idx="120">
                  <c:v>Rondele</c:v>
                </c:pt>
                <c:pt idx="121">
                  <c:v>All Others</c:v>
                </c:pt>
                <c:pt idx="122">
                  <c:v>All Others</c:v>
                </c:pt>
                <c:pt idx="123">
                  <c:v>All Others</c:v>
                </c:pt>
                <c:pt idx="124">
                  <c:v>All Others</c:v>
                </c:pt>
                <c:pt idx="125">
                  <c:v>All Others</c:v>
                </c:pt>
                <c:pt idx="126">
                  <c:v>All Others</c:v>
                </c:pt>
                <c:pt idx="127">
                  <c:v>All Others</c:v>
                </c:pt>
                <c:pt idx="128">
                  <c:v>Private Lab</c:v>
                </c:pt>
                <c:pt idx="129">
                  <c:v>Savencia: A</c:v>
                </c:pt>
              </c:strCache>
            </c:strRef>
          </c:cat>
          <c:val>
            <c:numRef>
              <c:f>Sheet1!$C$2:$C$131</c:f>
              <c:numCache>
                <c:formatCode>General</c:formatCode>
                <c:ptCount val="130"/>
                <c:pt idx="0">
                  <c:v>0.062240969775296674</c:v>
                </c:pt>
                <c:pt idx="1">
                  <c:v>0.11079867902990125</c:v>
                </c:pt>
                <c:pt idx="2">
                  <c:v>0.20212931573332502</c:v>
                </c:pt>
                <c:pt idx="3">
                  <c:v>0.2461118085325154</c:v>
                </c:pt>
                <c:pt idx="4">
                  <c:v>0.28785130236019824</c:v>
                </c:pt>
                <c:pt idx="5">
                  <c:v>0.32109174330247975</c:v>
                </c:pt>
                <c:pt idx="6">
                  <c:v>0.35292350569155584</c:v>
                </c:pt>
                <c:pt idx="7">
                  <c:v>0.38372111070391174</c:v>
                </c:pt>
                <c:pt idx="8">
                  <c:v>0.4143980183036</c:v>
                </c:pt>
                <c:pt idx="9">
                  <c:v>0.4447667132476356</c:v>
                </c:pt>
                <c:pt idx="10">
                  <c:v>0.4743714439643185</c:v>
                </c:pt>
                <c:pt idx="11">
                  <c:v>0.5015408622350457</c:v>
                </c:pt>
                <c:pt idx="12">
                  <c:v>0.5284064282541313</c:v>
                </c:pt>
                <c:pt idx="13">
                  <c:v>0.578784999334547</c:v>
                </c:pt>
                <c:pt idx="14">
                  <c:v>0.6002091653637205</c:v>
                </c:pt>
                <c:pt idx="15">
                  <c:v>0.6201885365425311</c:v>
                </c:pt>
                <c:pt idx="16">
                  <c:v>0.639268377818464</c:v>
                </c:pt>
                <c:pt idx="17">
                  <c:v>0.6581251772810264</c:v>
                </c:pt>
                <c:pt idx="18">
                  <c:v>0.6762000169144361</c:v>
                </c:pt>
                <c:pt idx="19">
                  <c:v>0.6942178674970616</c:v>
                </c:pt>
                <c:pt idx="20">
                  <c:v>0.7114251833078553</c:v>
                </c:pt>
                <c:pt idx="21">
                  <c:v>0.7285892792944653</c:v>
                </c:pt>
                <c:pt idx="22">
                  <c:v>0.7450235347892109</c:v>
                </c:pt>
                <c:pt idx="23">
                  <c:v>0.7604863583911664</c:v>
                </c:pt>
                <c:pt idx="24">
                  <c:v>0.775057095156927</c:v>
                </c:pt>
                <c:pt idx="25">
                  <c:v>0.8007300817437256</c:v>
                </c:pt>
                <c:pt idx="26">
                  <c:v>0.8106711059391876</c:v>
                </c:pt>
                <c:pt idx="27">
                  <c:v>0.8201836310880187</c:v>
                </c:pt>
                <c:pt idx="28">
                  <c:v>0.8292942395712294</c:v>
                </c:pt>
                <c:pt idx="29">
                  <c:v>0.8382708639188944</c:v>
                </c:pt>
                <c:pt idx="30">
                  <c:v>0.8472387853290455</c:v>
                </c:pt>
                <c:pt idx="31">
                  <c:v>0.8559682069361966</c:v>
                </c:pt>
                <c:pt idx="32">
                  <c:v>0.8646728510836699</c:v>
                </c:pt>
                <c:pt idx="33">
                  <c:v>0.8733157347546583</c:v>
                </c:pt>
                <c:pt idx="34">
                  <c:v>0.8811289622099958</c:v>
                </c:pt>
                <c:pt idx="35">
                  <c:v>0.8882896391216164</c:v>
                </c:pt>
                <c:pt idx="36">
                  <c:v>0.8947150429068671</c:v>
                </c:pt>
                <c:pt idx="37">
                  <c:v>0.9010601813043481</c:v>
                </c:pt>
                <c:pt idx="38">
                  <c:v>0.9072186533079855</c:v>
                </c:pt>
                <c:pt idx="39">
                  <c:v>0.912519948513279</c:v>
                </c:pt>
                <c:pt idx="40">
                  <c:v>0.9170791261875458</c:v>
                </c:pt>
                <c:pt idx="41">
                  <c:v>0.9213430651951438</c:v>
                </c:pt>
                <c:pt idx="42">
                  <c:v>0.9254225269461578</c:v>
                </c:pt>
                <c:pt idx="43">
                  <c:v>0.9293919778484331</c:v>
                </c:pt>
                <c:pt idx="44">
                  <c:v>0.9333480705457973</c:v>
                </c:pt>
                <c:pt idx="45">
                  <c:v>0.9372714959540949</c:v>
                </c:pt>
                <c:pt idx="46">
                  <c:v>0.9407276075718597</c:v>
                </c:pt>
                <c:pt idx="47">
                  <c:v>0.9475407299039323</c:v>
                </c:pt>
                <c:pt idx="48">
                  <c:v>0.950341833783097</c:v>
                </c:pt>
                <c:pt idx="49">
                  <c:v>0.9529772333745861</c:v>
                </c:pt>
                <c:pt idx="50">
                  <c:v>0.9555546878430999</c:v>
                </c:pt>
                <c:pt idx="51">
                  <c:v>0.9580715970296894</c:v>
                </c:pt>
                <c:pt idx="52">
                  <c:v>0.9603094939710938</c:v>
                </c:pt>
                <c:pt idx="53">
                  <c:v>0.9625437453288168</c:v>
                </c:pt>
                <c:pt idx="54">
                  <c:v>0.9647612877613334</c:v>
                </c:pt>
                <c:pt idx="55">
                  <c:v>0.9667587727553559</c:v>
                </c:pt>
                <c:pt idx="56">
                  <c:v>0.9687017348287316</c:v>
                </c:pt>
                <c:pt idx="57">
                  <c:v>0.970479752111032</c:v>
                </c:pt>
                <c:pt idx="58">
                  <c:v>0.9722498706286894</c:v>
                </c:pt>
                <c:pt idx="59">
                  <c:v>0.9738046673925369</c:v>
                </c:pt>
                <c:pt idx="60">
                  <c:v>0.975069792153033</c:v>
                </c:pt>
                <c:pt idx="61">
                  <c:v>0.9763168587649504</c:v>
                </c:pt>
                <c:pt idx="62">
                  <c:v>0.9775489141499444</c:v>
                </c:pt>
                <c:pt idx="63">
                  <c:v>0.9787738838784203</c:v>
                </c:pt>
                <c:pt idx="64">
                  <c:v>0.9799505138821012</c:v>
                </c:pt>
                <c:pt idx="65">
                  <c:v>0.9810780357291325</c:v>
                </c:pt>
                <c:pt idx="66">
                  <c:v>0.9821976230705044</c:v>
                </c:pt>
                <c:pt idx="67">
                  <c:v>0.9832098801393738</c:v>
                </c:pt>
                <c:pt idx="68">
                  <c:v>0.9841729665048149</c:v>
                </c:pt>
                <c:pt idx="69">
                  <c:v>0.9850831829716216</c:v>
                </c:pt>
                <c:pt idx="70">
                  <c:v>0.9859383582730423</c:v>
                </c:pt>
                <c:pt idx="71">
                  <c:v>0.9867162168205533</c:v>
                </c:pt>
                <c:pt idx="72">
                  <c:v>0.9874603894600278</c:v>
                </c:pt>
                <c:pt idx="73">
                  <c:v>0.9881063457862034</c:v>
                </c:pt>
                <c:pt idx="74">
                  <c:v>0.9887411955915064</c:v>
                </c:pt>
                <c:pt idx="75">
                  <c:v>0.9893650550342405</c:v>
                </c:pt>
                <c:pt idx="76">
                  <c:v>0.9899557825546936</c:v>
                </c:pt>
                <c:pt idx="77">
                  <c:v>0.9905279426170831</c:v>
                </c:pt>
                <c:pt idx="78">
                  <c:v>0.9910949827788612</c:v>
                </c:pt>
                <c:pt idx="79">
                  <c:v>0.9916103056897865</c:v>
                </c:pt>
                <c:pt idx="80">
                  <c:v>0.9921047379765767</c:v>
                </c:pt>
                <c:pt idx="81">
                  <c:v>0.9925416540325895</c:v>
                </c:pt>
                <c:pt idx="82">
                  <c:v>0.992972127770381</c:v>
                </c:pt>
                <c:pt idx="83">
                  <c:v>0.9933923349011874</c:v>
                </c:pt>
                <c:pt idx="84">
                  <c:v>0.9938002203165608</c:v>
                </c:pt>
                <c:pt idx="85">
                  <c:v>0.9941959448510754</c:v>
                </c:pt>
                <c:pt idx="86">
                  <c:v>0.9945913030401711</c:v>
                </c:pt>
                <c:pt idx="87">
                  <c:v>0.994972659686059</c:v>
                </c:pt>
                <c:pt idx="88">
                  <c:v>0.9953462158550992</c:v>
                </c:pt>
                <c:pt idx="89">
                  <c:v>0.9956798850497428</c:v>
                </c:pt>
                <c:pt idx="90">
                  <c:v>0.9960102213945993</c:v>
                </c:pt>
                <c:pt idx="91">
                  <c:v>0.9963062999751555</c:v>
                </c:pt>
                <c:pt idx="92">
                  <c:v>0.9968473028064249</c:v>
                </c:pt>
                <c:pt idx="93">
                  <c:v>0.997104039463086</c:v>
                </c:pt>
                <c:pt idx="94">
                  <c:v>0.9973007937588323</c:v>
                </c:pt>
                <c:pt idx="95">
                  <c:v>0.997497137032889</c:v>
                </c:pt>
                <c:pt idx="96">
                  <c:v>0.9976669068611896</c:v>
                </c:pt>
                <c:pt idx="97">
                  <c:v>0.9978314674363377</c:v>
                </c:pt>
                <c:pt idx="98">
                  <c:v>0.9979948485579417</c:v>
                </c:pt>
                <c:pt idx="99">
                  <c:v>0.9981485617345868</c:v>
                </c:pt>
                <c:pt idx="100">
                  <c:v>0.9982940634126946</c:v>
                </c:pt>
                <c:pt idx="101">
                  <c:v>0.9984174235310902</c:v>
                </c:pt>
                <c:pt idx="102">
                  <c:v>0.9985395505844172</c:v>
                </c:pt>
                <c:pt idx="103">
                  <c:v>0.9986607930475863</c:v>
                </c:pt>
                <c:pt idx="104">
                  <c:v>0.9987697316658305</c:v>
                </c:pt>
                <c:pt idx="105">
                  <c:v>0.9988764454057986</c:v>
                </c:pt>
                <c:pt idx="106">
                  <c:v>0.9989827928003477</c:v>
                </c:pt>
                <c:pt idx="107">
                  <c:v>0.9990711356578429</c:v>
                </c:pt>
                <c:pt idx="108">
                  <c:v>0.9991505253907087</c:v>
                </c:pt>
                <c:pt idx="109">
                  <c:v>0.9992186209623655</c:v>
                </c:pt>
                <c:pt idx="110">
                  <c:v>0.9992764499270371</c:v>
                </c:pt>
                <c:pt idx="111">
                  <c:v>0.9993340912513723</c:v>
                </c:pt>
                <c:pt idx="112">
                  <c:v>0.9993912232662225</c:v>
                </c:pt>
                <c:pt idx="113">
                  <c:v>0.9994456836400906</c:v>
                </c:pt>
                <c:pt idx="114">
                  <c:v>0.9995349110877437</c:v>
                </c:pt>
                <c:pt idx="115">
                  <c:v>0.9996056425593661</c:v>
                </c:pt>
                <c:pt idx="116">
                  <c:v>0.9996349233871209</c:v>
                </c:pt>
                <c:pt idx="117">
                  <c:v>0.9996626048043881</c:v>
                </c:pt>
                <c:pt idx="118">
                  <c:v>0.9997039750309686</c:v>
                </c:pt>
                <c:pt idx="119">
                  <c:v>0.9997358828234351</c:v>
                </c:pt>
                <c:pt idx="120">
                  <c:v>0.9997516446117046</c:v>
                </c:pt>
                <c:pt idx="121">
                  <c:v>0.9997668077379481</c:v>
                </c:pt>
                <c:pt idx="122">
                  <c:v>0.9998203388453876</c:v>
                </c:pt>
                <c:pt idx="123">
                  <c:v>0.9998319725462532</c:v>
                </c:pt>
                <c:pt idx="124">
                  <c:v>0.9998646666410823</c:v>
                </c:pt>
                <c:pt idx="125">
                  <c:v>0.9999707013017372</c:v>
                </c:pt>
                <c:pt idx="126">
                  <c:v>0.9999826566717512</c:v>
                </c:pt>
                <c:pt idx="127">
                  <c:v>0.9999853551184958</c:v>
                </c:pt>
                <c:pt idx="128">
                  <c:v>0.9999957200132763</c:v>
                </c:pt>
                <c:pt idx="129">
                  <c:v>0.999998972445776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86</c:f>
              <c:strCache>
                <c:ptCount val="85"/>
                <c:pt idx="0">
                  <c:v>St Moret</c:v>
                </c:pt>
                <c:pt idx="1">
                  <c:v>St Moret</c:v>
                </c:pt>
                <c:pt idx="2">
                  <c:v>Private Lab</c:v>
                </c:pt>
                <c:pt idx="3">
                  <c:v>St Moret</c:v>
                </c:pt>
                <c:pt idx="4">
                  <c:v>Tartare</c:v>
                </c:pt>
                <c:pt idx="5">
                  <c:v>St Moret</c:v>
                </c:pt>
                <c:pt idx="6">
                  <c:v>Paysan Bret</c:v>
                </c:pt>
                <c:pt idx="7">
                  <c:v>Paysan Bret</c:v>
                </c:pt>
                <c:pt idx="8">
                  <c:v>Private Lab</c:v>
                </c:pt>
                <c:pt idx="9">
                  <c:v>Tartare</c:v>
                </c:pt>
                <c:pt idx="10">
                  <c:v>Boursin</c:v>
                </c:pt>
                <c:pt idx="11">
                  <c:v>Boursin</c:v>
                </c:pt>
                <c:pt idx="12">
                  <c:v>Private Lab</c:v>
                </c:pt>
                <c:pt idx="13">
                  <c:v>St Moret</c:v>
                </c:pt>
                <c:pt idx="14">
                  <c:v>Carre Frais</c:v>
                </c:pt>
                <c:pt idx="15">
                  <c:v>Boursin</c:v>
                </c:pt>
                <c:pt idx="16">
                  <c:v>Carre Frais</c:v>
                </c:pt>
                <c:pt idx="17">
                  <c:v>Philadelphi</c:v>
                </c:pt>
                <c:pt idx="18">
                  <c:v>St Moret</c:v>
                </c:pt>
                <c:pt idx="19">
                  <c:v>Private Lab</c:v>
                </c:pt>
                <c:pt idx="20">
                  <c:v>Philadelphi</c:v>
                </c:pt>
                <c:pt idx="21">
                  <c:v>St Moret</c:v>
                </c:pt>
                <c:pt idx="22">
                  <c:v>Tartare</c:v>
                </c:pt>
                <c:pt idx="23">
                  <c:v>Boursin</c:v>
                </c:pt>
                <c:pt idx="24">
                  <c:v>Paysan Bret</c:v>
                </c:pt>
                <c:pt idx="25">
                  <c:v>Boursin</c:v>
                </c:pt>
                <c:pt idx="26">
                  <c:v>Boursin</c:v>
                </c:pt>
                <c:pt idx="27">
                  <c:v>Paysan Bret</c:v>
                </c:pt>
                <c:pt idx="28">
                  <c:v>Paysan Bret</c:v>
                </c:pt>
                <c:pt idx="29">
                  <c:v>Private Lab</c:v>
                </c:pt>
                <c:pt idx="30">
                  <c:v>Carre Frais</c:v>
                </c:pt>
                <c:pt idx="31">
                  <c:v>Paysan Bret</c:v>
                </c:pt>
                <c:pt idx="32">
                  <c:v>Boursin</c:v>
                </c:pt>
                <c:pt idx="33">
                  <c:v>Tartare</c:v>
                </c:pt>
                <c:pt idx="34">
                  <c:v>Boursin</c:v>
                </c:pt>
                <c:pt idx="35">
                  <c:v>Paysan Bret</c:v>
                </c:pt>
                <c:pt idx="36">
                  <c:v>Boursin</c:v>
                </c:pt>
                <c:pt idx="37">
                  <c:v>Tartare</c:v>
                </c:pt>
                <c:pt idx="38">
                  <c:v>Savencia: A</c:v>
                </c:pt>
                <c:pt idx="39">
                  <c:v>St Moret</c:v>
                </c:pt>
                <c:pt idx="40">
                  <c:v>Saint Agur</c:v>
                </c:pt>
                <c:pt idx="41">
                  <c:v>Kiri</c:v>
                </c:pt>
                <c:pt idx="42">
                  <c:v>Tartare</c:v>
                </c:pt>
                <c:pt idx="43">
                  <c:v>St Moret</c:v>
                </c:pt>
                <c:pt idx="44">
                  <c:v>Boursin</c:v>
                </c:pt>
                <c:pt idx="45">
                  <c:v>Tartare</c:v>
                </c:pt>
                <c:pt idx="46">
                  <c:v>Paysan Bret</c:v>
                </c:pt>
                <c:pt idx="47">
                  <c:v>Paysan Bret</c:v>
                </c:pt>
                <c:pt idx="48">
                  <c:v>Private Lab</c:v>
                </c:pt>
                <c:pt idx="49">
                  <c:v>Kiri</c:v>
                </c:pt>
                <c:pt idx="50">
                  <c:v>Paysan Bret</c:v>
                </c:pt>
                <c:pt idx="51">
                  <c:v>Saint Agur</c:v>
                </c:pt>
                <c:pt idx="52">
                  <c:v>Carre Frais</c:v>
                </c:pt>
                <c:pt idx="53">
                  <c:v>Lactalis: A</c:v>
                </c:pt>
                <c:pt idx="54">
                  <c:v>All Others</c:v>
                </c:pt>
                <c:pt idx="55">
                  <c:v>Boursin</c:v>
                </c:pt>
                <c:pt idx="56">
                  <c:v>Tartare</c:v>
                </c:pt>
                <c:pt idx="57">
                  <c:v>Boursin</c:v>
                </c:pt>
                <c:pt idx="58">
                  <c:v>President</c:v>
                </c:pt>
                <c:pt idx="59">
                  <c:v>All Others</c:v>
                </c:pt>
                <c:pt idx="60">
                  <c:v>All Others</c:v>
                </c:pt>
                <c:pt idx="61">
                  <c:v>Savencia: A</c:v>
                </c:pt>
                <c:pt idx="62">
                  <c:v>Savencia: A</c:v>
                </c:pt>
                <c:pt idx="63">
                  <c:v>All Others</c:v>
                </c:pt>
                <c:pt idx="64">
                  <c:v>All Others</c:v>
                </c:pt>
                <c:pt idx="65">
                  <c:v>Kiri</c:v>
                </c:pt>
                <c:pt idx="66">
                  <c:v>All Others</c:v>
                </c:pt>
                <c:pt idx="67">
                  <c:v>All Others</c:v>
                </c:pt>
                <c:pt idx="68">
                  <c:v>All Others</c:v>
                </c:pt>
                <c:pt idx="69">
                  <c:v>All Others</c:v>
                </c:pt>
                <c:pt idx="70">
                  <c:v>Paysan Bret</c:v>
                </c:pt>
                <c:pt idx="71">
                  <c:v>All Others</c:v>
                </c:pt>
                <c:pt idx="72">
                  <c:v>All Others</c:v>
                </c:pt>
                <c:pt idx="73">
                  <c:v>All Others</c:v>
                </c:pt>
                <c:pt idx="74">
                  <c:v>All Others</c:v>
                </c:pt>
                <c:pt idx="75">
                  <c:v>All Others</c:v>
                </c:pt>
                <c:pt idx="76">
                  <c:v>All Others</c:v>
                </c:pt>
                <c:pt idx="77">
                  <c:v>All Others</c:v>
                </c:pt>
                <c:pt idx="78">
                  <c:v>All Others</c:v>
                </c:pt>
                <c:pt idx="79">
                  <c:v>All Others</c:v>
                </c:pt>
                <c:pt idx="80">
                  <c:v>All Others</c:v>
                </c:pt>
                <c:pt idx="81">
                  <c:v>All Others</c:v>
                </c:pt>
                <c:pt idx="82">
                  <c:v>All Others</c:v>
                </c:pt>
                <c:pt idx="83">
                  <c:v>All Others</c:v>
                </c:pt>
                <c:pt idx="84">
                  <c:v>All Others</c:v>
                </c:pt>
              </c:strCache>
            </c:strRef>
          </c:cat>
          <c:val>
            <c:numRef>
              <c:f>Sheet1!$B$2:$B$86</c:f>
              <c:numCache>
                <c:formatCode>General</c:formatCode>
                <c:ptCount val="85"/>
                <c:pt idx="0">
                  <c:v>0.957</c:v>
                </c:pt>
                <c:pt idx="1">
                  <c:v>0.979</c:v>
                </c:pt>
                <c:pt idx="2">
                  <c:v>0.999</c:v>
                </c:pt>
                <c:pt idx="3">
                  <c:v>0.999</c:v>
                </c:pt>
                <c:pt idx="4">
                  <c:v>0.992</c:v>
                </c:pt>
                <c:pt idx="5">
                  <c:v>0.997</c:v>
                </c:pt>
                <c:pt idx="6">
                  <c:v>0.984</c:v>
                </c:pt>
                <c:pt idx="7">
                  <c:v>0.924</c:v>
                </c:pt>
                <c:pt idx="8">
                  <c:v>0.992</c:v>
                </c:pt>
                <c:pt idx="9">
                  <c:v>0.966</c:v>
                </c:pt>
                <c:pt idx="10">
                  <c:v>0.98</c:v>
                </c:pt>
                <c:pt idx="11">
                  <c:v>0.981</c:v>
                </c:pt>
                <c:pt idx="12">
                  <c:v>0.998</c:v>
                </c:pt>
                <c:pt idx="13">
                  <c:v>0.859</c:v>
                </c:pt>
                <c:pt idx="14">
                  <c:v>0.982</c:v>
                </c:pt>
                <c:pt idx="15">
                  <c:v>0.998</c:v>
                </c:pt>
                <c:pt idx="16">
                  <c:v>0.946</c:v>
                </c:pt>
                <c:pt idx="17">
                  <c:v>0.894</c:v>
                </c:pt>
                <c:pt idx="18">
                  <c:v>0.949</c:v>
                </c:pt>
                <c:pt idx="19">
                  <c:v>0.978</c:v>
                </c:pt>
                <c:pt idx="20">
                  <c:v>0.974</c:v>
                </c:pt>
                <c:pt idx="21">
                  <c:v>0.878</c:v>
                </c:pt>
                <c:pt idx="22">
                  <c:v>0.942</c:v>
                </c:pt>
                <c:pt idx="23">
                  <c:v>0.954</c:v>
                </c:pt>
                <c:pt idx="24">
                  <c:v>0.695</c:v>
                </c:pt>
                <c:pt idx="25">
                  <c:v>0.939</c:v>
                </c:pt>
                <c:pt idx="26">
                  <c:v>0.98</c:v>
                </c:pt>
                <c:pt idx="27">
                  <c:v>0.658</c:v>
                </c:pt>
                <c:pt idx="28">
                  <c:v>0.519</c:v>
                </c:pt>
                <c:pt idx="29">
                  <c:v>0.785</c:v>
                </c:pt>
                <c:pt idx="30">
                  <c:v>0.763</c:v>
                </c:pt>
                <c:pt idx="31">
                  <c:v>0.422</c:v>
                </c:pt>
                <c:pt idx="32">
                  <c:v>0.973</c:v>
                </c:pt>
                <c:pt idx="33">
                  <c:v>0.938</c:v>
                </c:pt>
                <c:pt idx="34">
                  <c:v>0.86</c:v>
                </c:pt>
                <c:pt idx="35">
                  <c:v>0.555</c:v>
                </c:pt>
                <c:pt idx="36">
                  <c:v>0.94</c:v>
                </c:pt>
                <c:pt idx="37">
                  <c:v>0.864</c:v>
                </c:pt>
                <c:pt idx="38">
                  <c:v>0.863</c:v>
                </c:pt>
                <c:pt idx="39">
                  <c:v>0.257</c:v>
                </c:pt>
                <c:pt idx="40">
                  <c:v>0.833</c:v>
                </c:pt>
                <c:pt idx="41">
                  <c:v>0.837</c:v>
                </c:pt>
                <c:pt idx="42">
                  <c:v>0.773</c:v>
                </c:pt>
                <c:pt idx="43">
                  <c:v>0.659</c:v>
                </c:pt>
                <c:pt idx="44">
                  <c:v>0.808</c:v>
                </c:pt>
                <c:pt idx="45">
                  <c:v>0.886</c:v>
                </c:pt>
                <c:pt idx="46">
                  <c:v>0.539</c:v>
                </c:pt>
                <c:pt idx="47">
                  <c:v>0.477</c:v>
                </c:pt>
                <c:pt idx="48">
                  <c:v>0.925</c:v>
                </c:pt>
                <c:pt idx="49">
                  <c:v>0.895</c:v>
                </c:pt>
                <c:pt idx="50">
                  <c:v>0.221</c:v>
                </c:pt>
                <c:pt idx="51">
                  <c:v>0.801</c:v>
                </c:pt>
                <c:pt idx="52">
                  <c:v>0.285</c:v>
                </c:pt>
                <c:pt idx="53">
                  <c:v>0.395</c:v>
                </c:pt>
                <c:pt idx="54">
                  <c:v>0.082</c:v>
                </c:pt>
                <c:pt idx="55">
                  <c:v>0.325</c:v>
                </c:pt>
                <c:pt idx="56">
                  <c:v>0.571</c:v>
                </c:pt>
                <c:pt idx="57">
                  <c:v>0.687</c:v>
                </c:pt>
                <c:pt idx="58">
                  <c:v>0.402</c:v>
                </c:pt>
                <c:pt idx="59">
                  <c:v>0.091</c:v>
                </c:pt>
                <c:pt idx="60">
                  <c:v>0.067</c:v>
                </c:pt>
                <c:pt idx="61">
                  <c:v>0.276</c:v>
                </c:pt>
                <c:pt idx="62">
                  <c:v>0.255</c:v>
                </c:pt>
                <c:pt idx="63">
                  <c:v>0.067</c:v>
                </c:pt>
                <c:pt idx="64">
                  <c:v>0.156</c:v>
                </c:pt>
                <c:pt idx="65">
                  <c:v>0.372</c:v>
                </c:pt>
                <c:pt idx="66">
                  <c:v>0.022</c:v>
                </c:pt>
                <c:pt idx="67">
                  <c:v>0.068</c:v>
                </c:pt>
                <c:pt idx="68">
                  <c:v>0.189</c:v>
                </c:pt>
                <c:pt idx="69">
                  <c:v>0.009</c:v>
                </c:pt>
                <c:pt idx="70">
                  <c:v>0.133</c:v>
                </c:pt>
                <c:pt idx="71">
                  <c:v>0.025</c:v>
                </c:pt>
                <c:pt idx="72">
                  <c:v>0.12</c:v>
                </c:pt>
                <c:pt idx="73">
                  <c:v>0.013</c:v>
                </c:pt>
                <c:pt idx="74">
                  <c:v>0.012</c:v>
                </c:pt>
                <c:pt idx="75">
                  <c:v>0.022</c:v>
                </c:pt>
                <c:pt idx="76">
                  <c:v>0.009</c:v>
                </c:pt>
                <c:pt idx="77">
                  <c:v>0.007</c:v>
                </c:pt>
                <c:pt idx="78">
                  <c:v>0.009</c:v>
                </c:pt>
                <c:pt idx="79">
                  <c:v>0.01</c:v>
                </c:pt>
                <c:pt idx="80">
                  <c:v>0.005</c:v>
                </c:pt>
                <c:pt idx="81">
                  <c:v>0.008</c:v>
                </c:pt>
                <c:pt idx="82">
                  <c:v>0.01</c:v>
                </c:pt>
                <c:pt idx="83">
                  <c:v>0.01</c:v>
                </c:pt>
                <c:pt idx="84">
                  <c:v>0.005</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Item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7ECAC4"/>
              </a:solidFill>
            </c:spPr>
            <c:extLst>
              <c:ext xmlns:c16="http://schemas.microsoft.com/office/drawing/2014/chart" uri="{C3380CC4-5D6E-409C-BE32-E72D297353CC}">
                <c16:uniqueId val="{00000069-2993-41DE-A2CB-63102DE87051}"/>
              </c:ext>
            </c:extLst>
          </c:dPt>
          <c:dPt>
            <c:idx val="25"/>
            <c:invertIfNegative val="1"/>
            <c:bubble3D val="0"/>
            <c:spPr>
              <a:solidFill>
                <a:srgbClr val="7ECAC4"/>
              </a:solidFill>
            </c:spPr>
            <c:extLst>
              <c:ext xmlns:c16="http://schemas.microsoft.com/office/drawing/2014/chart" uri="{C3380CC4-5D6E-409C-BE32-E72D297353CC}">
                <c16:uniqueId val="{0000006B-2993-41DE-A2CB-63102DE87051}"/>
              </c:ext>
            </c:extLst>
          </c:dPt>
          <c:dPt>
            <c:idx val="26"/>
            <c:invertIfNegative val="1"/>
            <c:bubble3D val="0"/>
            <c:spPr>
              <a:solidFill>
                <a:srgbClr val="7ECAC4"/>
              </a:solidFill>
            </c:spPr>
            <c:extLst>
              <c:ext xmlns:c16="http://schemas.microsoft.com/office/drawing/2014/chart" uri="{C3380CC4-5D6E-409C-BE32-E72D297353CC}">
                <c16:uniqueId val="{0000006D-2993-41DE-A2CB-63102DE87051}"/>
              </c:ext>
            </c:extLst>
          </c:dPt>
          <c:dPt>
            <c:idx val="27"/>
            <c:invertIfNegative val="1"/>
            <c:bubble3D val="0"/>
            <c:spPr>
              <a:solidFill>
                <a:srgbClr val="7ECAC4"/>
              </a:solidFill>
            </c:spPr>
            <c:extLst>
              <c:ext xmlns:c16="http://schemas.microsoft.com/office/drawing/2014/chart" uri="{C3380CC4-5D6E-409C-BE32-E72D297353CC}">
                <c16:uniqueId val="{0000006F-2993-41DE-A2CB-63102DE87051}"/>
              </c:ext>
            </c:extLst>
          </c:dPt>
          <c:dPt>
            <c:idx val="28"/>
            <c:invertIfNegative val="1"/>
            <c:bubble3D val="0"/>
            <c:spPr>
              <a:solidFill>
                <a:srgbClr val="7ECAC4"/>
              </a:solidFill>
            </c:spPr>
            <c:extLst>
              <c:ext xmlns:c16="http://schemas.microsoft.com/office/drawing/2014/chart" uri="{C3380CC4-5D6E-409C-BE32-E72D297353CC}">
                <c16:uniqueId val="{00000071-2993-41DE-A2CB-63102DE87051}"/>
              </c:ext>
            </c:extLst>
          </c:dPt>
          <c:dPt>
            <c:idx val="29"/>
            <c:invertIfNegative val="1"/>
            <c:bubble3D val="0"/>
            <c:spPr>
              <a:solidFill>
                <a:srgbClr val="7ECAC4"/>
              </a:solidFill>
            </c:spPr>
            <c:extLst>
              <c:ext xmlns:c16="http://schemas.microsoft.com/office/drawing/2014/chart" uri="{C3380CC4-5D6E-409C-BE32-E72D297353CC}">
                <c16:uniqueId val="{00000073-2993-41DE-A2CB-63102DE87051}"/>
              </c:ext>
            </c:extLst>
          </c:dPt>
          <c:dPt>
            <c:idx val="30"/>
            <c:invertIfNegative val="1"/>
            <c:bubble3D val="0"/>
            <c:spPr>
              <a:solidFill>
                <a:srgbClr val="7ECAC4"/>
              </a:solidFill>
            </c:spPr>
            <c:extLst>
              <c:ext xmlns:c16="http://schemas.microsoft.com/office/drawing/2014/chart" uri="{C3380CC4-5D6E-409C-BE32-E72D297353CC}">
                <c16:uniqueId val="{00000075-2993-41DE-A2CB-63102DE87051}"/>
              </c:ext>
            </c:extLst>
          </c:dPt>
          <c:dPt>
            <c:idx val="31"/>
            <c:invertIfNegative val="1"/>
            <c:bubble3D val="0"/>
            <c:spPr>
              <a:solidFill>
                <a:srgbClr val="7ECAC4"/>
              </a:solidFill>
            </c:spPr>
            <c:extLst>
              <c:ext xmlns:c16="http://schemas.microsoft.com/office/drawing/2014/chart" uri="{C3380CC4-5D6E-409C-BE32-E72D297353CC}">
                <c16:uniqueId val="{00000077-2993-41DE-A2CB-63102DE87051}"/>
              </c:ext>
            </c:extLst>
          </c:dPt>
          <c:dPt>
            <c:idx val="32"/>
            <c:invertIfNegative val="1"/>
            <c:bubble3D val="0"/>
            <c:spPr>
              <a:solidFill>
                <a:srgbClr val="7ECAC4"/>
              </a:solidFill>
            </c:spPr>
            <c:extLst>
              <c:ext xmlns:c16="http://schemas.microsoft.com/office/drawing/2014/chart" uri="{C3380CC4-5D6E-409C-BE32-E72D297353CC}">
                <c16:uniqueId val="{00000079-2993-41DE-A2CB-63102DE87051}"/>
              </c:ext>
            </c:extLst>
          </c:dPt>
          <c:dPt>
            <c:idx val="33"/>
            <c:invertIfNegative val="1"/>
            <c:bubble3D val="0"/>
            <c:spPr>
              <a:solidFill>
                <a:srgbClr val="7ECAC4"/>
              </a:solidFill>
            </c:spPr>
            <c:extLst>
              <c:ext xmlns:c16="http://schemas.microsoft.com/office/drawing/2014/chart" uri="{C3380CC4-5D6E-409C-BE32-E72D297353CC}">
                <c16:uniqueId val="{0000007B-2993-41DE-A2CB-63102DE87051}"/>
              </c:ext>
            </c:extLst>
          </c:dPt>
          <c:dPt>
            <c:idx val="34"/>
            <c:invertIfNegative val="1"/>
            <c:bubble3D val="0"/>
            <c:spPr>
              <a:solidFill>
                <a:srgbClr val="7ECAC4"/>
              </a:solidFill>
            </c:spPr>
            <c:extLst>
              <c:ext xmlns:c16="http://schemas.microsoft.com/office/drawing/2014/chart" uri="{C3380CC4-5D6E-409C-BE32-E72D297353CC}">
                <c16:uniqueId val="{0000007D-2993-41DE-A2CB-63102DE87051}"/>
              </c:ext>
            </c:extLst>
          </c:dPt>
          <c:dPt>
            <c:idx val="35"/>
            <c:invertIfNegative val="1"/>
            <c:bubble3D val="0"/>
            <c:spPr>
              <a:solidFill>
                <a:srgbClr val="7ECAC4"/>
              </a:solidFill>
            </c:spPr>
            <c:extLst>
              <c:ext xmlns:c16="http://schemas.microsoft.com/office/drawing/2014/chart" uri="{C3380CC4-5D6E-409C-BE32-E72D297353CC}">
                <c16:uniqueId val="{0000007F-2993-41DE-A2CB-63102DE87051}"/>
              </c:ext>
            </c:extLst>
          </c:dPt>
          <c:dPt>
            <c:idx val="36"/>
            <c:invertIfNegative val="1"/>
            <c:bubble3D val="0"/>
            <c:spPr>
              <a:solidFill>
                <a:srgbClr val="7ECAC4"/>
              </a:solidFill>
            </c:spPr>
            <c:extLst>
              <c:ext xmlns:c16="http://schemas.microsoft.com/office/drawing/2014/chart" uri="{C3380CC4-5D6E-409C-BE32-E72D297353CC}">
                <c16:uniqueId val="{00000081-2993-41DE-A2CB-63102DE87051}"/>
              </c:ext>
            </c:extLst>
          </c:dPt>
          <c:dPt>
            <c:idx val="37"/>
            <c:invertIfNegative val="1"/>
            <c:bubble3D val="0"/>
            <c:spPr>
              <a:solidFill>
                <a:srgbClr val="7ECAC4"/>
              </a:solidFill>
            </c:spPr>
            <c:extLst>
              <c:ext xmlns:c16="http://schemas.microsoft.com/office/drawing/2014/chart" uri="{C3380CC4-5D6E-409C-BE32-E72D297353CC}">
                <c16:uniqueId val="{00000083-2993-41DE-A2CB-63102DE87051}"/>
              </c:ext>
            </c:extLst>
          </c:dPt>
          <c:dPt>
            <c:idx val="38"/>
            <c:invertIfNegative val="1"/>
            <c:bubble3D val="0"/>
            <c:spPr>
              <a:solidFill>
                <a:srgbClr val="7ECAC4"/>
              </a:solidFill>
            </c:spPr>
            <c:extLst>
              <c:ext xmlns:c16="http://schemas.microsoft.com/office/drawing/2014/chart" uri="{C3380CC4-5D6E-409C-BE32-E72D297353CC}">
                <c16:uniqueId val="{00000085-2993-41DE-A2CB-63102DE87051}"/>
              </c:ext>
            </c:extLst>
          </c:dPt>
          <c:dPt>
            <c:idx val="39"/>
            <c:invertIfNegative val="1"/>
            <c:bubble3D val="0"/>
            <c:spPr>
              <a:solidFill>
                <a:srgbClr val="7ECAC4"/>
              </a:solidFill>
            </c:spPr>
            <c:extLst>
              <c:ext xmlns:c16="http://schemas.microsoft.com/office/drawing/2014/chart" uri="{C3380CC4-5D6E-409C-BE32-E72D297353CC}">
                <c16:uniqueId val="{00000087-2993-41DE-A2CB-63102DE87051}"/>
              </c:ext>
            </c:extLst>
          </c:dPt>
          <c:dPt>
            <c:idx val="40"/>
            <c:invertIfNegative val="1"/>
            <c:bubble3D val="0"/>
            <c:spPr>
              <a:solidFill>
                <a:srgbClr val="7ECAC4"/>
              </a:solidFill>
            </c:spPr>
            <c:extLst>
              <c:ext xmlns:c16="http://schemas.microsoft.com/office/drawing/2014/chart" uri="{C3380CC4-5D6E-409C-BE32-E72D297353CC}">
                <c16:uniqueId val="{00000089-2993-41DE-A2CB-63102DE87051}"/>
              </c:ext>
            </c:extLst>
          </c:dPt>
          <c:dPt>
            <c:idx val="41"/>
            <c:invertIfNegative val="1"/>
            <c:bubble3D val="0"/>
            <c:spPr>
              <a:solidFill>
                <a:srgbClr val="AEABAB"/>
              </a:solidFill>
            </c:spPr>
            <c:extLst>
              <c:ext xmlns:c16="http://schemas.microsoft.com/office/drawing/2014/chart" uri="{C3380CC4-5D6E-409C-BE32-E72D297353CC}">
                <c16:uniqueId val="{0000008B-2993-41DE-A2CB-63102DE87051}"/>
              </c:ext>
            </c:extLst>
          </c:dPt>
          <c:dPt>
            <c:idx val="42"/>
            <c:invertIfNegative val="1"/>
            <c:bubble3D val="0"/>
            <c:spPr>
              <a:solidFill>
                <a:srgbClr val="AEABAB"/>
              </a:solidFill>
            </c:spPr>
            <c:extLst>
              <c:ext xmlns:c16="http://schemas.microsoft.com/office/drawing/2014/chart" uri="{C3380CC4-5D6E-409C-BE32-E72D297353CC}">
                <c16:uniqueId val="{0000008D-2993-41DE-A2CB-63102DE87051}"/>
              </c:ext>
            </c:extLst>
          </c:dPt>
          <c:dPt>
            <c:idx val="43"/>
            <c:invertIfNegative val="1"/>
            <c:bubble3D val="0"/>
            <c:spPr>
              <a:solidFill>
                <a:srgbClr val="AEABAB"/>
              </a:solidFill>
            </c:spPr>
            <c:extLst>
              <c:ext xmlns:c16="http://schemas.microsoft.com/office/drawing/2014/chart" uri="{C3380CC4-5D6E-409C-BE32-E72D297353CC}">
                <c16:uniqueId val="{0000008F-2993-41DE-A2CB-63102DE87051}"/>
              </c:ext>
            </c:extLst>
          </c:dPt>
          <c:dPt>
            <c:idx val="44"/>
            <c:invertIfNegative val="1"/>
            <c:bubble3D val="0"/>
            <c:spPr>
              <a:solidFill>
                <a:srgbClr val="AEABAB"/>
              </a:solidFill>
            </c:spPr>
            <c:extLst>
              <c:ext xmlns:c16="http://schemas.microsoft.com/office/drawing/2014/chart" uri="{C3380CC4-5D6E-409C-BE32-E72D297353CC}">
                <c16:uniqueId val="{00000091-2993-41DE-A2CB-63102DE87051}"/>
              </c:ext>
            </c:extLst>
          </c:dPt>
          <c:dPt>
            <c:idx val="45"/>
            <c:invertIfNegative val="1"/>
            <c:bubble3D val="0"/>
            <c:spPr>
              <a:solidFill>
                <a:srgbClr val="AEABAB"/>
              </a:solidFill>
            </c:spPr>
            <c:extLst>
              <c:ext xmlns:c16="http://schemas.microsoft.com/office/drawing/2014/chart" uri="{C3380CC4-5D6E-409C-BE32-E72D297353CC}">
                <c16:uniqueId val="{00000093-2993-41DE-A2CB-63102DE87051}"/>
              </c:ext>
            </c:extLst>
          </c:dPt>
          <c:dPt>
            <c:idx val="46"/>
            <c:invertIfNegative val="1"/>
            <c:bubble3D val="0"/>
            <c:spPr>
              <a:solidFill>
                <a:srgbClr val="AEABAB"/>
              </a:solidFill>
            </c:spPr>
            <c:extLst>
              <c:ext xmlns:c16="http://schemas.microsoft.com/office/drawing/2014/chart" uri="{C3380CC4-5D6E-409C-BE32-E72D297353CC}">
                <c16:uniqueId val="{00000095-2993-41DE-A2CB-63102DE87051}"/>
              </c:ext>
            </c:extLst>
          </c:dPt>
          <c:dPt>
            <c:idx val="47"/>
            <c:invertIfNegative val="1"/>
            <c:bubble3D val="0"/>
            <c:spPr>
              <a:solidFill>
                <a:srgbClr val="AEABAB"/>
              </a:solidFill>
            </c:spPr>
            <c:extLst>
              <c:ext xmlns:c16="http://schemas.microsoft.com/office/drawing/2014/chart" uri="{C3380CC4-5D6E-409C-BE32-E72D297353CC}">
                <c16:uniqueId val="{00000097-2993-41DE-A2CB-63102DE87051}"/>
              </c:ext>
            </c:extLst>
          </c:dPt>
          <c:dPt>
            <c:idx val="48"/>
            <c:invertIfNegative val="1"/>
            <c:bubble3D val="0"/>
            <c:spPr>
              <a:solidFill>
                <a:srgbClr val="AEABAB"/>
              </a:solidFill>
            </c:spPr>
            <c:extLst>
              <c:ext xmlns:c16="http://schemas.microsoft.com/office/drawing/2014/chart" uri="{C3380CC4-5D6E-409C-BE32-E72D297353CC}">
                <c16:uniqueId val="{00000099-2993-41DE-A2CB-63102DE87051}"/>
              </c:ext>
            </c:extLst>
          </c:dPt>
          <c:dPt>
            <c:idx val="49"/>
            <c:invertIfNegative val="1"/>
            <c:bubble3D val="0"/>
            <c:spPr>
              <a:solidFill>
                <a:srgbClr val="AEABAB"/>
              </a:solidFill>
            </c:spPr>
            <c:extLst>
              <c:ext xmlns:c16="http://schemas.microsoft.com/office/drawing/2014/chart" uri="{C3380CC4-5D6E-409C-BE32-E72D297353CC}">
                <c16:uniqueId val="{0000009B-2993-41DE-A2CB-63102DE87051}"/>
              </c:ext>
            </c:extLst>
          </c:dPt>
          <c:dPt>
            <c:idx val="50"/>
            <c:invertIfNegative val="1"/>
            <c:bubble3D val="0"/>
            <c:spPr>
              <a:solidFill>
                <a:srgbClr val="AEABAB"/>
              </a:solidFill>
            </c:spPr>
            <c:extLst>
              <c:ext xmlns:c16="http://schemas.microsoft.com/office/drawing/2014/chart" uri="{C3380CC4-5D6E-409C-BE32-E72D297353CC}">
                <c16:uniqueId val="{0000009D-2993-41DE-A2CB-63102DE87051}"/>
              </c:ext>
            </c:extLst>
          </c:dPt>
          <c:dPt>
            <c:idx val="51"/>
            <c:invertIfNegative val="1"/>
            <c:bubble3D val="0"/>
            <c:spPr>
              <a:solidFill>
                <a:srgbClr val="AEABAB"/>
              </a:solidFill>
            </c:spPr>
            <c:extLst>
              <c:ext xmlns:c16="http://schemas.microsoft.com/office/drawing/2014/chart" uri="{C3380CC4-5D6E-409C-BE32-E72D297353CC}">
                <c16:uniqueId val="{0000009F-2993-41DE-A2CB-63102DE87051}"/>
              </c:ext>
            </c:extLst>
          </c:dPt>
          <c:dPt>
            <c:idx val="52"/>
            <c:invertIfNegative val="1"/>
            <c:bubble3D val="0"/>
            <c:spPr>
              <a:solidFill>
                <a:srgbClr val="AEABAB"/>
              </a:solidFill>
            </c:spPr>
            <c:extLst>
              <c:ext xmlns:c16="http://schemas.microsoft.com/office/drawing/2014/chart" uri="{C3380CC4-5D6E-409C-BE32-E72D297353CC}">
                <c16:uniqueId val="{000000A1-2993-41DE-A2CB-63102DE87051}"/>
              </c:ext>
            </c:extLst>
          </c:dPt>
          <c:dPt>
            <c:idx val="53"/>
            <c:invertIfNegative val="1"/>
            <c:bubble3D val="0"/>
            <c:spPr>
              <a:solidFill>
                <a:srgbClr val="AEABAB"/>
              </a:solidFill>
            </c:spPr>
            <c:extLst>
              <c:ext xmlns:c16="http://schemas.microsoft.com/office/drawing/2014/chart" uri="{C3380CC4-5D6E-409C-BE32-E72D297353CC}">
                <c16:uniqueId val="{000000A3-2993-41DE-A2CB-63102DE87051}"/>
              </c:ext>
            </c:extLst>
          </c:dPt>
          <c:dPt>
            <c:idx val="54"/>
            <c:invertIfNegative val="0"/>
            <c:bubble3D val="0"/>
            <c:spPr>
              <a:solidFill>
                <a:srgbClr val="AEABAB"/>
              </a:solidFill>
            </c:spPr>
            <c:extLst>
              <c:ext xmlns:c16="http://schemas.microsoft.com/office/drawing/2014/chart" uri="{C3380CC4-5D6E-409C-BE32-E72D297353CC}">
                <c16:uniqueId val="{00000072-C76F-4230-900D-40618C09729F}"/>
              </c:ext>
            </c:extLst>
          </c:dPt>
          <c:dPt>
            <c:idx val="55"/>
            <c:invertIfNegative val="0"/>
            <c:bubble3D val="0"/>
            <c:spPr>
              <a:solidFill>
                <a:srgbClr val="AEABAB"/>
              </a:solidFill>
            </c:spPr>
            <c:extLst>
              <c:ext xmlns:c16="http://schemas.microsoft.com/office/drawing/2014/chart" uri="{C3380CC4-5D6E-409C-BE32-E72D297353CC}">
                <c16:uniqueId val="{00000074-C76F-4230-900D-40618C09729F}"/>
              </c:ext>
            </c:extLst>
          </c:dPt>
          <c:dPt>
            <c:idx val="56"/>
            <c:invertIfNegative val="0"/>
            <c:bubble3D val="0"/>
            <c:spPr>
              <a:solidFill>
                <a:srgbClr val="AEABAB"/>
              </a:solidFill>
            </c:spPr>
            <c:extLst>
              <c:ext xmlns:c16="http://schemas.microsoft.com/office/drawing/2014/chart" uri="{C3380CC4-5D6E-409C-BE32-E72D297353CC}">
                <c16:uniqueId val="{00000076-C76F-4230-900D-40618C09729F}"/>
              </c:ext>
            </c:extLst>
          </c:dPt>
          <c:dPt>
            <c:idx val="57"/>
            <c:invertIfNegative val="0"/>
            <c:bubble3D val="0"/>
            <c:spPr>
              <a:solidFill>
                <a:srgbClr val="AEABAB"/>
              </a:solidFill>
            </c:spPr>
            <c:extLst>
              <c:ext xmlns:c16="http://schemas.microsoft.com/office/drawing/2014/chart" uri="{C3380CC4-5D6E-409C-BE32-E72D297353CC}">
                <c16:uniqueId val="{00000078-C76F-4230-900D-40618C09729F}"/>
              </c:ext>
            </c:extLst>
          </c:dPt>
          <c:dPt>
            <c:idx val="58"/>
            <c:invertIfNegative val="0"/>
            <c:bubble3D val="0"/>
            <c:spPr>
              <a:solidFill>
                <a:srgbClr val="AEABAB"/>
              </a:solidFill>
            </c:spPr>
            <c:extLst>
              <c:ext xmlns:c16="http://schemas.microsoft.com/office/drawing/2014/chart" uri="{C3380CC4-5D6E-409C-BE32-E72D297353CC}">
                <c16:uniqueId val="{0000007A-C76F-4230-900D-40618C09729F}"/>
              </c:ext>
            </c:extLst>
          </c:dPt>
          <c:dPt>
            <c:idx val="59"/>
            <c:invertIfNegative val="0"/>
            <c:bubble3D val="0"/>
            <c:spPr>
              <a:solidFill>
                <a:srgbClr val="AEABAB"/>
              </a:solidFill>
            </c:spPr>
            <c:extLst>
              <c:ext xmlns:c16="http://schemas.microsoft.com/office/drawing/2014/chart" uri="{C3380CC4-5D6E-409C-BE32-E72D297353CC}">
                <c16:uniqueId val="{0000007C-C76F-4230-900D-40618C09729F}"/>
              </c:ext>
            </c:extLst>
          </c:dPt>
          <c:dPt>
            <c:idx val="60"/>
            <c:invertIfNegative val="0"/>
            <c:bubble3D val="0"/>
            <c:spPr>
              <a:solidFill>
                <a:srgbClr val="AEABAB"/>
              </a:solidFill>
            </c:spPr>
            <c:extLst>
              <c:ext xmlns:c16="http://schemas.microsoft.com/office/drawing/2014/chart" uri="{C3380CC4-5D6E-409C-BE32-E72D297353CC}">
                <c16:uniqueId val="{0000007E-C76F-4230-900D-40618C09729F}"/>
              </c:ext>
            </c:extLst>
          </c:dPt>
          <c:dPt>
            <c:idx val="61"/>
            <c:invertIfNegative val="0"/>
            <c:bubble3D val="0"/>
            <c:spPr>
              <a:solidFill>
                <a:srgbClr val="AEABAB"/>
              </a:solidFill>
            </c:spPr>
            <c:extLst>
              <c:ext xmlns:c16="http://schemas.microsoft.com/office/drawing/2014/chart" uri="{C3380CC4-5D6E-409C-BE32-E72D297353CC}">
                <c16:uniqueId val="{00000080-C76F-4230-900D-40618C09729F}"/>
              </c:ext>
            </c:extLst>
          </c:dPt>
          <c:dPt>
            <c:idx val="62"/>
            <c:invertIfNegative val="0"/>
            <c:bubble3D val="0"/>
            <c:spPr>
              <a:solidFill>
                <a:srgbClr val="AEABAB"/>
              </a:solidFill>
            </c:spPr>
            <c:extLst>
              <c:ext xmlns:c16="http://schemas.microsoft.com/office/drawing/2014/chart" uri="{C3380CC4-5D6E-409C-BE32-E72D297353CC}">
                <c16:uniqueId val="{00000082-C76F-4230-900D-40618C09729F}"/>
              </c:ext>
            </c:extLst>
          </c:dPt>
          <c:dPt>
            <c:idx val="63"/>
            <c:invertIfNegative val="0"/>
            <c:bubble3D val="0"/>
            <c:spPr>
              <a:solidFill>
                <a:srgbClr val="AEABAB"/>
              </a:solidFill>
            </c:spPr>
            <c:extLst>
              <c:ext xmlns:c16="http://schemas.microsoft.com/office/drawing/2014/chart" uri="{C3380CC4-5D6E-409C-BE32-E72D297353CC}">
                <c16:uniqueId val="{00000084-C76F-4230-900D-40618C09729F}"/>
              </c:ext>
            </c:extLst>
          </c:dPt>
          <c:dPt>
            <c:idx val="64"/>
            <c:invertIfNegative val="0"/>
            <c:bubble3D val="0"/>
            <c:spPr>
              <a:solidFill>
                <a:srgbClr val="AEABAB"/>
              </a:solidFill>
            </c:spPr>
            <c:extLst>
              <c:ext xmlns:c16="http://schemas.microsoft.com/office/drawing/2014/chart" uri="{C3380CC4-5D6E-409C-BE32-E72D297353CC}">
                <c16:uniqueId val="{00000086-C76F-4230-900D-40618C09729F}"/>
              </c:ext>
            </c:extLst>
          </c:dPt>
          <c:dPt>
            <c:idx val="65"/>
            <c:invertIfNegative val="0"/>
            <c:bubble3D val="0"/>
            <c:spPr>
              <a:solidFill>
                <a:srgbClr val="AEABAB"/>
              </a:solidFill>
            </c:spPr>
            <c:extLst>
              <c:ext xmlns:c16="http://schemas.microsoft.com/office/drawing/2014/chart" uri="{C3380CC4-5D6E-409C-BE32-E72D297353CC}">
                <c16:uniqueId val="{00000088-C76F-4230-900D-40618C09729F}"/>
              </c:ext>
            </c:extLst>
          </c:dPt>
          <c:dPt>
            <c:idx val="66"/>
            <c:invertIfNegative val="0"/>
            <c:bubble3D val="0"/>
            <c:spPr>
              <a:solidFill>
                <a:srgbClr val="AEABAB"/>
              </a:solidFill>
            </c:spPr>
            <c:extLst>
              <c:ext xmlns:c16="http://schemas.microsoft.com/office/drawing/2014/chart" uri="{C3380CC4-5D6E-409C-BE32-E72D297353CC}">
                <c16:uniqueId val="{0000008A-C76F-4230-900D-40618C09729F}"/>
              </c:ext>
            </c:extLst>
          </c:dPt>
          <c:dPt>
            <c:idx val="67"/>
            <c:invertIfNegative val="0"/>
            <c:bubble3D val="0"/>
            <c:spPr>
              <a:solidFill>
                <a:srgbClr val="AEABAB"/>
              </a:solidFill>
            </c:spPr>
            <c:extLst>
              <c:ext xmlns:c16="http://schemas.microsoft.com/office/drawing/2014/chart" uri="{C3380CC4-5D6E-409C-BE32-E72D297353CC}">
                <c16:uniqueId val="{0000008C-C76F-4230-900D-40618C09729F}"/>
              </c:ext>
            </c:extLst>
          </c:dPt>
          <c:dPt>
            <c:idx val="68"/>
            <c:invertIfNegative val="0"/>
            <c:bubble3D val="0"/>
            <c:spPr>
              <a:solidFill>
                <a:srgbClr val="AEABAB"/>
              </a:solidFill>
            </c:spPr>
            <c:extLst>
              <c:ext xmlns:c16="http://schemas.microsoft.com/office/drawing/2014/chart" uri="{C3380CC4-5D6E-409C-BE32-E72D297353CC}">
                <c16:uniqueId val="{0000008E-C76F-4230-900D-40618C09729F}"/>
              </c:ext>
            </c:extLst>
          </c:dPt>
          <c:dPt>
            <c:idx val="69"/>
            <c:invertIfNegative val="0"/>
            <c:bubble3D val="0"/>
            <c:spPr>
              <a:solidFill>
                <a:srgbClr val="AEABAB"/>
              </a:solidFill>
            </c:spPr>
            <c:extLst>
              <c:ext xmlns:c16="http://schemas.microsoft.com/office/drawing/2014/chart" uri="{C3380CC4-5D6E-409C-BE32-E72D297353CC}">
                <c16:uniqueId val="{00000090-C76F-4230-900D-40618C09729F}"/>
              </c:ext>
            </c:extLst>
          </c:dPt>
          <c:dPt>
            <c:idx val="70"/>
            <c:invertIfNegative val="0"/>
            <c:bubble3D val="0"/>
            <c:spPr>
              <a:solidFill>
                <a:srgbClr val="AEABAB"/>
              </a:solidFill>
            </c:spPr>
            <c:extLst>
              <c:ext xmlns:c16="http://schemas.microsoft.com/office/drawing/2014/chart" uri="{C3380CC4-5D6E-409C-BE32-E72D297353CC}">
                <c16:uniqueId val="{00000092-C76F-4230-900D-40618C09729F}"/>
              </c:ext>
            </c:extLst>
          </c:dPt>
          <c:dPt>
            <c:idx val="71"/>
            <c:invertIfNegative val="0"/>
            <c:bubble3D val="0"/>
            <c:spPr>
              <a:solidFill>
                <a:srgbClr val="AEABAB"/>
              </a:solidFill>
            </c:spPr>
            <c:extLst>
              <c:ext xmlns:c16="http://schemas.microsoft.com/office/drawing/2014/chart" uri="{C3380CC4-5D6E-409C-BE32-E72D297353CC}">
                <c16:uniqueId val="{00000094-C76F-4230-900D-40618C09729F}"/>
              </c:ext>
            </c:extLst>
          </c:dPt>
          <c:dPt>
            <c:idx val="72"/>
            <c:invertIfNegative val="0"/>
            <c:bubble3D val="0"/>
            <c:spPr>
              <a:solidFill>
                <a:srgbClr val="AEABAB"/>
              </a:solidFill>
            </c:spPr>
            <c:extLst>
              <c:ext xmlns:c16="http://schemas.microsoft.com/office/drawing/2014/chart" uri="{C3380CC4-5D6E-409C-BE32-E72D297353CC}">
                <c16:uniqueId val="{00000096-C76F-4230-900D-40618C09729F}"/>
              </c:ext>
            </c:extLst>
          </c:dPt>
          <c:dPt>
            <c:idx val="73"/>
            <c:invertIfNegative val="0"/>
            <c:bubble3D val="0"/>
            <c:spPr>
              <a:solidFill>
                <a:srgbClr val="AEABAB"/>
              </a:solidFill>
            </c:spPr>
            <c:extLst>
              <c:ext xmlns:c16="http://schemas.microsoft.com/office/drawing/2014/chart" uri="{C3380CC4-5D6E-409C-BE32-E72D297353CC}">
                <c16:uniqueId val="{00000098-C76F-4230-900D-40618C09729F}"/>
              </c:ext>
            </c:extLst>
          </c:dPt>
          <c:dPt>
            <c:idx val="74"/>
            <c:invertIfNegative val="0"/>
            <c:bubble3D val="0"/>
            <c:spPr>
              <a:solidFill>
                <a:srgbClr val="AEABAB"/>
              </a:solidFill>
            </c:spPr>
            <c:extLst>
              <c:ext xmlns:c16="http://schemas.microsoft.com/office/drawing/2014/chart" uri="{C3380CC4-5D6E-409C-BE32-E72D297353CC}">
                <c16:uniqueId val="{0000009A-C76F-4230-900D-40618C09729F}"/>
              </c:ext>
            </c:extLst>
          </c:dPt>
          <c:dPt>
            <c:idx val="75"/>
            <c:invertIfNegative val="0"/>
            <c:bubble3D val="0"/>
            <c:spPr>
              <a:solidFill>
                <a:srgbClr val="AEABAB"/>
              </a:solidFill>
            </c:spPr>
            <c:extLst>
              <c:ext xmlns:c16="http://schemas.microsoft.com/office/drawing/2014/chart" uri="{C3380CC4-5D6E-409C-BE32-E72D297353CC}">
                <c16:uniqueId val="{0000009C-C76F-4230-900D-40618C09729F}"/>
              </c:ext>
            </c:extLst>
          </c:dPt>
          <c:dPt>
            <c:idx val="76"/>
            <c:invertIfNegative val="0"/>
            <c:bubble3D val="0"/>
            <c:spPr>
              <a:solidFill>
                <a:srgbClr val="AEABAB"/>
              </a:solidFill>
            </c:spPr>
            <c:extLst>
              <c:ext xmlns:c16="http://schemas.microsoft.com/office/drawing/2014/chart" uri="{C3380CC4-5D6E-409C-BE32-E72D297353CC}">
                <c16:uniqueId val="{0000009E-C76F-4230-900D-40618C09729F}"/>
              </c:ext>
            </c:extLst>
          </c:dPt>
          <c:dPt>
            <c:idx val="77"/>
            <c:invertIfNegative val="0"/>
            <c:bubble3D val="0"/>
            <c:spPr>
              <a:solidFill>
                <a:srgbClr val="AEABAB"/>
              </a:solidFill>
            </c:spPr>
            <c:extLst>
              <c:ext xmlns:c16="http://schemas.microsoft.com/office/drawing/2014/chart" uri="{C3380CC4-5D6E-409C-BE32-E72D297353CC}">
                <c16:uniqueId val="{000000A0-C76F-4230-900D-40618C09729F}"/>
              </c:ext>
            </c:extLst>
          </c:dPt>
          <c:dPt>
            <c:idx val="78"/>
            <c:invertIfNegative val="0"/>
            <c:bubble3D val="0"/>
            <c:spPr>
              <a:solidFill>
                <a:srgbClr val="AEABAB"/>
              </a:solidFill>
            </c:spPr>
            <c:extLst>
              <c:ext xmlns:c16="http://schemas.microsoft.com/office/drawing/2014/chart" uri="{C3380CC4-5D6E-409C-BE32-E72D297353CC}">
                <c16:uniqueId val="{000000A2-C76F-4230-900D-40618C09729F}"/>
              </c:ext>
            </c:extLst>
          </c:dPt>
          <c:dPt>
            <c:idx val="79"/>
            <c:invertIfNegative val="0"/>
            <c:bubble3D val="0"/>
            <c:spPr>
              <a:solidFill>
                <a:srgbClr val="AEABAB"/>
              </a:solidFill>
            </c:spPr>
            <c:extLst>
              <c:ext xmlns:c16="http://schemas.microsoft.com/office/drawing/2014/chart" uri="{C3380CC4-5D6E-409C-BE32-E72D297353CC}">
                <c16:uniqueId val="{000000A4-C76F-4230-900D-40618C09729F}"/>
              </c:ext>
            </c:extLst>
          </c:dPt>
          <c:dPt>
            <c:idx val="80"/>
            <c:invertIfNegative val="0"/>
            <c:bubble3D val="0"/>
            <c:spPr>
              <a:solidFill>
                <a:srgbClr val="AEABAB"/>
              </a:solidFill>
            </c:spPr>
            <c:extLst>
              <c:ext xmlns:c16="http://schemas.microsoft.com/office/drawing/2014/chart" uri="{C3380CC4-5D6E-409C-BE32-E72D297353CC}">
                <c16:uniqueId val="{000000A6-C76F-4230-900D-40618C09729F}"/>
              </c:ext>
            </c:extLst>
          </c:dPt>
          <c:dPt>
            <c:idx val="81"/>
            <c:invertIfNegative val="1"/>
            <c:bubble3D val="0"/>
            <c:spPr>
              <a:solidFill>
                <a:srgbClr val="AEABAB"/>
              </a:solidFill>
            </c:spPr>
            <c:extLst>
              <c:ext xmlns:c16="http://schemas.microsoft.com/office/drawing/2014/chart" uri="{C3380CC4-5D6E-409C-BE32-E72D297353CC}">
                <c16:uniqueId val="{000000A5-2993-41DE-A2CB-63102DE87051}"/>
              </c:ext>
            </c:extLst>
          </c:dPt>
          <c:dPt>
            <c:idx val="82"/>
            <c:invertIfNegative val="1"/>
            <c:bubble3D val="0"/>
            <c:spPr>
              <a:solidFill>
                <a:srgbClr val="AEABAB"/>
              </a:solidFill>
            </c:spPr>
            <c:extLst>
              <c:ext xmlns:c16="http://schemas.microsoft.com/office/drawing/2014/chart" uri="{C3380CC4-5D6E-409C-BE32-E72D297353CC}">
                <c16:uniqueId val="{000000A7-2993-41DE-A2CB-63102DE87051}"/>
              </c:ext>
            </c:extLst>
          </c:dPt>
          <c:dPt>
            <c:idx val="83"/>
            <c:invertIfNegative val="1"/>
            <c:bubble3D val="0"/>
            <c:spPr>
              <a:solidFill>
                <a:srgbClr val="AEABAB"/>
              </a:solidFill>
            </c:spPr>
            <c:extLst>
              <c:ext xmlns:c16="http://schemas.microsoft.com/office/drawing/2014/chart" uri="{C3380CC4-5D6E-409C-BE32-E72D297353CC}">
                <c16:uniqueId val="{000000A9-2993-41DE-A2CB-63102DE87051}"/>
              </c:ext>
            </c:extLst>
          </c:dPt>
          <c:dPt>
            <c:idx val="84"/>
            <c:invertIfNegative val="1"/>
            <c:bubble3D val="0"/>
            <c:spPr>
              <a:solidFill>
                <a:srgbClr val="AEABAB"/>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86</c:f>
              <c:strCache>
                <c:ptCount val="85"/>
                <c:pt idx="0">
                  <c:v>St Moret</c:v>
                </c:pt>
                <c:pt idx="1">
                  <c:v>St Moret</c:v>
                </c:pt>
                <c:pt idx="2">
                  <c:v>Private Lab</c:v>
                </c:pt>
                <c:pt idx="3">
                  <c:v>St Moret</c:v>
                </c:pt>
                <c:pt idx="4">
                  <c:v>Tartare</c:v>
                </c:pt>
                <c:pt idx="5">
                  <c:v>St Moret</c:v>
                </c:pt>
                <c:pt idx="6">
                  <c:v>Paysan Bret</c:v>
                </c:pt>
                <c:pt idx="7">
                  <c:v>Paysan Bret</c:v>
                </c:pt>
                <c:pt idx="8">
                  <c:v>Private Lab</c:v>
                </c:pt>
                <c:pt idx="9">
                  <c:v>Tartare</c:v>
                </c:pt>
                <c:pt idx="10">
                  <c:v>Boursin</c:v>
                </c:pt>
                <c:pt idx="11">
                  <c:v>Boursin</c:v>
                </c:pt>
                <c:pt idx="12">
                  <c:v>Private Lab</c:v>
                </c:pt>
                <c:pt idx="13">
                  <c:v>St Moret</c:v>
                </c:pt>
                <c:pt idx="14">
                  <c:v>Carre Frais</c:v>
                </c:pt>
                <c:pt idx="15">
                  <c:v>Boursin</c:v>
                </c:pt>
                <c:pt idx="16">
                  <c:v>Carre Frais</c:v>
                </c:pt>
                <c:pt idx="17">
                  <c:v>Philadelphi</c:v>
                </c:pt>
                <c:pt idx="18">
                  <c:v>St Moret</c:v>
                </c:pt>
                <c:pt idx="19">
                  <c:v>Private Lab</c:v>
                </c:pt>
                <c:pt idx="20">
                  <c:v>Philadelphi</c:v>
                </c:pt>
                <c:pt idx="21">
                  <c:v>St Moret</c:v>
                </c:pt>
                <c:pt idx="22">
                  <c:v>Tartare</c:v>
                </c:pt>
                <c:pt idx="23">
                  <c:v>Boursin</c:v>
                </c:pt>
                <c:pt idx="24">
                  <c:v>Paysan Bret</c:v>
                </c:pt>
                <c:pt idx="25">
                  <c:v>Boursin</c:v>
                </c:pt>
                <c:pt idx="26">
                  <c:v>Boursin</c:v>
                </c:pt>
                <c:pt idx="27">
                  <c:v>Paysan Bret</c:v>
                </c:pt>
                <c:pt idx="28">
                  <c:v>Paysan Bret</c:v>
                </c:pt>
                <c:pt idx="29">
                  <c:v>Private Lab</c:v>
                </c:pt>
                <c:pt idx="30">
                  <c:v>Carre Frais</c:v>
                </c:pt>
                <c:pt idx="31">
                  <c:v>Paysan Bret</c:v>
                </c:pt>
                <c:pt idx="32">
                  <c:v>Boursin</c:v>
                </c:pt>
                <c:pt idx="33">
                  <c:v>Tartare</c:v>
                </c:pt>
                <c:pt idx="34">
                  <c:v>Boursin</c:v>
                </c:pt>
                <c:pt idx="35">
                  <c:v>Paysan Bret</c:v>
                </c:pt>
                <c:pt idx="36">
                  <c:v>Boursin</c:v>
                </c:pt>
                <c:pt idx="37">
                  <c:v>Tartare</c:v>
                </c:pt>
                <c:pt idx="38">
                  <c:v>Savencia: A</c:v>
                </c:pt>
                <c:pt idx="39">
                  <c:v>St Moret</c:v>
                </c:pt>
                <c:pt idx="40">
                  <c:v>Saint Agur</c:v>
                </c:pt>
                <c:pt idx="41">
                  <c:v>Kiri</c:v>
                </c:pt>
                <c:pt idx="42">
                  <c:v>Tartare</c:v>
                </c:pt>
                <c:pt idx="43">
                  <c:v>St Moret</c:v>
                </c:pt>
                <c:pt idx="44">
                  <c:v>Boursin</c:v>
                </c:pt>
                <c:pt idx="45">
                  <c:v>Tartare</c:v>
                </c:pt>
                <c:pt idx="46">
                  <c:v>Paysan Bret</c:v>
                </c:pt>
                <c:pt idx="47">
                  <c:v>Paysan Bret</c:v>
                </c:pt>
                <c:pt idx="48">
                  <c:v>Private Lab</c:v>
                </c:pt>
                <c:pt idx="49">
                  <c:v>Kiri</c:v>
                </c:pt>
                <c:pt idx="50">
                  <c:v>Paysan Bret</c:v>
                </c:pt>
                <c:pt idx="51">
                  <c:v>Saint Agur</c:v>
                </c:pt>
                <c:pt idx="52">
                  <c:v>Carre Frais</c:v>
                </c:pt>
                <c:pt idx="53">
                  <c:v>Lactalis: A</c:v>
                </c:pt>
                <c:pt idx="54">
                  <c:v>All Others</c:v>
                </c:pt>
                <c:pt idx="55">
                  <c:v>Boursin</c:v>
                </c:pt>
                <c:pt idx="56">
                  <c:v>Tartare</c:v>
                </c:pt>
                <c:pt idx="57">
                  <c:v>Boursin</c:v>
                </c:pt>
                <c:pt idx="58">
                  <c:v>President</c:v>
                </c:pt>
                <c:pt idx="59">
                  <c:v>All Others</c:v>
                </c:pt>
                <c:pt idx="60">
                  <c:v>All Others</c:v>
                </c:pt>
                <c:pt idx="61">
                  <c:v>Savencia: A</c:v>
                </c:pt>
                <c:pt idx="62">
                  <c:v>Savencia: A</c:v>
                </c:pt>
                <c:pt idx="63">
                  <c:v>All Others</c:v>
                </c:pt>
                <c:pt idx="64">
                  <c:v>All Others</c:v>
                </c:pt>
                <c:pt idx="65">
                  <c:v>Kiri</c:v>
                </c:pt>
                <c:pt idx="66">
                  <c:v>All Others</c:v>
                </c:pt>
                <c:pt idx="67">
                  <c:v>All Others</c:v>
                </c:pt>
                <c:pt idx="68">
                  <c:v>All Others</c:v>
                </c:pt>
                <c:pt idx="69">
                  <c:v>All Others</c:v>
                </c:pt>
                <c:pt idx="70">
                  <c:v>Paysan Bret</c:v>
                </c:pt>
                <c:pt idx="71">
                  <c:v>All Others</c:v>
                </c:pt>
                <c:pt idx="72">
                  <c:v>All Others</c:v>
                </c:pt>
                <c:pt idx="73">
                  <c:v>All Others</c:v>
                </c:pt>
                <c:pt idx="74">
                  <c:v>All Others</c:v>
                </c:pt>
                <c:pt idx="75">
                  <c:v>All Others</c:v>
                </c:pt>
                <c:pt idx="76">
                  <c:v>All Others</c:v>
                </c:pt>
                <c:pt idx="77">
                  <c:v>All Others</c:v>
                </c:pt>
                <c:pt idx="78">
                  <c:v>All Others</c:v>
                </c:pt>
                <c:pt idx="79">
                  <c:v>All Others</c:v>
                </c:pt>
                <c:pt idx="80">
                  <c:v>All Others</c:v>
                </c:pt>
                <c:pt idx="81">
                  <c:v>All Others</c:v>
                </c:pt>
                <c:pt idx="82">
                  <c:v>All Others</c:v>
                </c:pt>
                <c:pt idx="83">
                  <c:v>All Others</c:v>
                </c:pt>
                <c:pt idx="84">
                  <c:v>All Others</c:v>
                </c:pt>
              </c:strCache>
            </c:strRef>
          </c:cat>
          <c:val>
            <c:numRef>
              <c:f>Sheet1!$C$2:$C$86</c:f>
              <c:numCache>
                <c:formatCode>General</c:formatCode>
                <c:ptCount val="85"/>
                <c:pt idx="0">
                  <c:v>0.06817713002383922</c:v>
                </c:pt>
                <c:pt idx="1">
                  <c:v>0.1351131023973218</c:v>
                </c:pt>
                <c:pt idx="2">
                  <c:v>0.19469143782365286</c:v>
                </c:pt>
                <c:pt idx="3">
                  <c:v>0.2532616819744426</c:v>
                </c:pt>
                <c:pt idx="4">
                  <c:v>0.3082893445943663</c:v>
                </c:pt>
                <c:pt idx="5">
                  <c:v>0.3589854018539844</c:v>
                </c:pt>
                <c:pt idx="6">
                  <c:v>0.3932007834768855</c:v>
                </c:pt>
                <c:pt idx="7">
                  <c:v>0.42723400009283496</c:v>
                </c:pt>
                <c:pt idx="8">
                  <c:v>0.45950174128779825</c:v>
                </c:pt>
                <c:pt idx="9">
                  <c:v>0.48859819885362454</c:v>
                </c:pt>
                <c:pt idx="10">
                  <c:v>0.5173133382319058</c:v>
                </c:pt>
                <c:pt idx="11">
                  <c:v>0.5457368367704913</c:v>
                </c:pt>
                <c:pt idx="12">
                  <c:v>0.5731456761151015</c:v>
                </c:pt>
                <c:pt idx="13">
                  <c:v>0.5997172742675376</c:v>
                </c:pt>
                <c:pt idx="14">
                  <c:v>0.6262645900676864</c:v>
                </c:pt>
                <c:pt idx="15">
                  <c:v>0.6520619843092008</c:v>
                </c:pt>
                <c:pt idx="16">
                  <c:v>0.6762069681614892</c:v>
                </c:pt>
                <c:pt idx="17">
                  <c:v>0.6999781911426358</c:v>
                </c:pt>
                <c:pt idx="18">
                  <c:v>0.7211512234800559</c:v>
                </c:pt>
                <c:pt idx="19">
                  <c:v>0.741491719528411</c:v>
                </c:pt>
                <c:pt idx="20">
                  <c:v>0.7592891996580895</c:v>
                </c:pt>
                <c:pt idx="21">
                  <c:v>0.7749142881381605</c:v>
                </c:pt>
                <c:pt idx="22">
                  <c:v>0.7896628542215771</c:v>
                </c:pt>
                <c:pt idx="23">
                  <c:v>0.8021855590630066</c:v>
                </c:pt>
                <c:pt idx="24">
                  <c:v>0.8143227881403182</c:v>
                </c:pt>
                <c:pt idx="25">
                  <c:v>0.8256275756581577</c:v>
                </c:pt>
                <c:pt idx="26">
                  <c:v>0.8362615513528598</c:v>
                </c:pt>
                <c:pt idx="27">
                  <c:v>0.8464300889816119</c:v>
                </c:pt>
                <c:pt idx="28">
                  <c:v>0.8559187838993797</c:v>
                </c:pt>
                <c:pt idx="29">
                  <c:v>0.865366871398368</c:v>
                </c:pt>
                <c:pt idx="30">
                  <c:v>0.8743597095253871</c:v>
                </c:pt>
                <c:pt idx="31">
                  <c:v>0.8833130348866989</c:v>
                </c:pt>
                <c:pt idx="32">
                  <c:v>0.8921566002264881</c:v>
                </c:pt>
                <c:pt idx="33">
                  <c:v>0.9007632573801986</c:v>
                </c:pt>
                <c:pt idx="34">
                  <c:v>0.908462468187961</c:v>
                </c:pt>
                <c:pt idx="35">
                  <c:v>0.9158901208297009</c:v>
                </c:pt>
                <c:pt idx="36">
                  <c:v>0.9230426155808921</c:v>
                </c:pt>
                <c:pt idx="37">
                  <c:v>0.9292268370620482</c:v>
                </c:pt>
                <c:pt idx="38">
                  <c:v>0.9350102471105635</c:v>
                </c:pt>
                <c:pt idx="39">
                  <c:v>0.9407385982146421</c:v>
                </c:pt>
                <c:pt idx="40">
                  <c:v>0.9462820897811296</c:v>
                </c:pt>
                <c:pt idx="41">
                  <c:v>0.9516911916319669</c:v>
                </c:pt>
                <c:pt idx="42">
                  <c:v>0.9568066527961494</c:v>
                </c:pt>
                <c:pt idx="43">
                  <c:v>0.9617603789688939</c:v>
                </c:pt>
                <c:pt idx="44">
                  <c:v>0.9667010114068115</c:v>
                </c:pt>
                <c:pt idx="45">
                  <c:v>0.9715297471446135</c:v>
                </c:pt>
                <c:pt idx="46">
                  <c:v>0.9762992558358957</c:v>
                </c:pt>
                <c:pt idx="47">
                  <c:v>0.9797328246564713</c:v>
                </c:pt>
                <c:pt idx="48">
                  <c:v>0.9831085978999293</c:v>
                </c:pt>
                <c:pt idx="49">
                  <c:v>0.9859606112248044</c:v>
                </c:pt>
                <c:pt idx="50">
                  <c:v>0.9886865710381955</c:v>
                </c:pt>
                <c:pt idx="51">
                  <c:v>0.9904157229230985</c:v>
                </c:pt>
                <c:pt idx="52">
                  <c:v>0.9920824164298165</c:v>
                </c:pt>
                <c:pt idx="53">
                  <c:v>0.9933795487440068</c:v>
                </c:pt>
                <c:pt idx="54">
                  <c:v>0.9945968976900401</c:v>
                </c:pt>
                <c:pt idx="55">
                  <c:v>0.995531078832178</c:v>
                </c:pt>
                <c:pt idx="56">
                  <c:v>0.9963946864276809</c:v>
                </c:pt>
                <c:pt idx="57">
                  <c:v>0.996863440029379</c:v>
                </c:pt>
                <c:pt idx="58">
                  <c:v>0.9972833763142549</c:v>
                </c:pt>
                <c:pt idx="59">
                  <c:v>0.997648516792452</c:v>
                </c:pt>
                <c:pt idx="60">
                  <c:v>0.9979018868766572</c:v>
                </c:pt>
                <c:pt idx="61">
                  <c:v>0.9981293957820283</c:v>
                </c:pt>
                <c:pt idx="62">
                  <c:v>0.9983565257690282</c:v>
                </c:pt>
                <c:pt idx="63">
                  <c:v>0.9985585524139365</c:v>
                </c:pt>
                <c:pt idx="64">
                  <c:v>0.998755642594509</c:v>
                </c:pt>
                <c:pt idx="65">
                  <c:v>0.9989441229076471</c:v>
                </c:pt>
                <c:pt idx="66">
                  <c:v>0.9991191937206491</c:v>
                </c:pt>
                <c:pt idx="67">
                  <c:v>0.9992818444314842</c:v>
                </c:pt>
                <c:pt idx="68">
                  <c:v>0.9993983618306264</c:v>
                </c:pt>
                <c:pt idx="69">
                  <c:v>0.9995055641531434</c:v>
                </c:pt>
                <c:pt idx="70">
                  <c:v>0.9996118191797324</c:v>
                </c:pt>
                <c:pt idx="71">
                  <c:v>0.9997180321042802</c:v>
                </c:pt>
                <c:pt idx="72">
                  <c:v>0.9998067726817118</c:v>
                </c:pt>
                <c:pt idx="73">
                  <c:v>0.9998557584066989</c:v>
                </c:pt>
                <c:pt idx="74">
                  <c:v>0.9998980078050871</c:v>
                </c:pt>
                <c:pt idx="75">
                  <c:v>0.9999297843207159</c:v>
                </c:pt>
                <c:pt idx="76">
                  <c:v>0.999948098708657</c:v>
                </c:pt>
                <c:pt idx="77">
                  <c:v>0.9999643185200462</c:v>
                </c:pt>
                <c:pt idx="78">
                  <c:v>0.9999705917241916</c:v>
                </c:pt>
                <c:pt idx="79">
                  <c:v>0.9999764228569038</c:v>
                </c:pt>
                <c:pt idx="80">
                  <c:v>0.9999816540355283</c:v>
                </c:pt>
                <c:pt idx="81">
                  <c:v>0.9999862747345548</c:v>
                </c:pt>
                <c:pt idx="82">
                  <c:v>0.9999906743978648</c:v>
                </c:pt>
                <c:pt idx="83">
                  <c:v>0.9999958108468966</c:v>
                </c:pt>
                <c:pt idx="84">
                  <c:v>0.9999971896887473</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124</c:f>
              <c:strCache>
                <c:ptCount val="123"/>
                <c:pt idx="0">
                  <c:v>Tartare</c:v>
                </c:pt>
                <c:pt idx="1">
                  <c:v>St Moret</c:v>
                </c:pt>
                <c:pt idx="2">
                  <c:v>St Moret</c:v>
                </c:pt>
                <c:pt idx="3">
                  <c:v>St Moret</c:v>
                </c:pt>
                <c:pt idx="4">
                  <c:v>St Moret</c:v>
                </c:pt>
                <c:pt idx="5">
                  <c:v>Carre Frais</c:v>
                </c:pt>
                <c:pt idx="6">
                  <c:v>St Moret</c:v>
                </c:pt>
                <c:pt idx="7">
                  <c:v>Paysan Bret</c:v>
                </c:pt>
                <c:pt idx="8">
                  <c:v>Philadelphi</c:v>
                </c:pt>
                <c:pt idx="9">
                  <c:v>Boursin</c:v>
                </c:pt>
                <c:pt idx="10">
                  <c:v>Carre Frais</c:v>
                </c:pt>
                <c:pt idx="11">
                  <c:v>Paysan Bret</c:v>
                </c:pt>
                <c:pt idx="12">
                  <c:v>St Moret</c:v>
                </c:pt>
                <c:pt idx="13">
                  <c:v>Paysan Bret</c:v>
                </c:pt>
                <c:pt idx="14">
                  <c:v>Tartare</c:v>
                </c:pt>
                <c:pt idx="15">
                  <c:v>Boursin</c:v>
                </c:pt>
                <c:pt idx="16">
                  <c:v>Carre Frais</c:v>
                </c:pt>
                <c:pt idx="17">
                  <c:v>Boursin</c:v>
                </c:pt>
                <c:pt idx="18">
                  <c:v>Private Lab</c:v>
                </c:pt>
                <c:pt idx="19">
                  <c:v>St Moret</c:v>
                </c:pt>
                <c:pt idx="20">
                  <c:v>St Moret</c:v>
                </c:pt>
                <c:pt idx="21">
                  <c:v>Philadelphi</c:v>
                </c:pt>
                <c:pt idx="22">
                  <c:v>Philadelphi</c:v>
                </c:pt>
                <c:pt idx="23">
                  <c:v>All Others</c:v>
                </c:pt>
                <c:pt idx="24">
                  <c:v>Tartare</c:v>
                </c:pt>
                <c:pt idx="25">
                  <c:v>St Moret</c:v>
                </c:pt>
                <c:pt idx="26">
                  <c:v>Paysan Bret</c:v>
                </c:pt>
                <c:pt idx="27">
                  <c:v>Paysan Bret</c:v>
                </c:pt>
                <c:pt idx="28">
                  <c:v>Savencia: A</c:v>
                </c:pt>
                <c:pt idx="29">
                  <c:v>Paysan Bret</c:v>
                </c:pt>
                <c:pt idx="30">
                  <c:v>Private Lab</c:v>
                </c:pt>
                <c:pt idx="31">
                  <c:v>Paysan Bret</c:v>
                </c:pt>
                <c:pt idx="32">
                  <c:v>Boursin</c:v>
                </c:pt>
                <c:pt idx="33">
                  <c:v>Rondele</c:v>
                </c:pt>
                <c:pt idx="34">
                  <c:v>Boursin</c:v>
                </c:pt>
                <c:pt idx="35">
                  <c:v>Private Lab</c:v>
                </c:pt>
                <c:pt idx="36">
                  <c:v>Private Lab</c:v>
                </c:pt>
                <c:pt idx="37">
                  <c:v>Tartare</c:v>
                </c:pt>
                <c:pt idx="38">
                  <c:v>Kiri</c:v>
                </c:pt>
                <c:pt idx="39">
                  <c:v>Boursin</c:v>
                </c:pt>
                <c:pt idx="40">
                  <c:v>Paysan Bret</c:v>
                </c:pt>
                <c:pt idx="41">
                  <c:v>Tartare</c:v>
                </c:pt>
                <c:pt idx="42">
                  <c:v>Boursin</c:v>
                </c:pt>
                <c:pt idx="43">
                  <c:v>Tartare</c:v>
                </c:pt>
                <c:pt idx="44">
                  <c:v>Lactalis: A</c:v>
                </c:pt>
                <c:pt idx="45">
                  <c:v>St Moret</c:v>
                </c:pt>
                <c:pt idx="46">
                  <c:v>Philadelphi</c:v>
                </c:pt>
                <c:pt idx="47">
                  <c:v>Tartare</c:v>
                </c:pt>
                <c:pt idx="48">
                  <c:v>Kiri</c:v>
                </c:pt>
                <c:pt idx="49">
                  <c:v>Paysan Bret</c:v>
                </c:pt>
                <c:pt idx="50">
                  <c:v>All Others</c:v>
                </c:pt>
                <c:pt idx="51">
                  <c:v>President</c:v>
                </c:pt>
                <c:pt idx="52">
                  <c:v>Private Lab</c:v>
                </c:pt>
                <c:pt idx="53">
                  <c:v>Rondele</c:v>
                </c:pt>
                <c:pt idx="54">
                  <c:v>Private Lab</c:v>
                </c:pt>
                <c:pt idx="55">
                  <c:v>Private Lab</c:v>
                </c:pt>
                <c:pt idx="56">
                  <c:v>Boursin</c:v>
                </c:pt>
                <c:pt idx="57">
                  <c:v>Kiri</c:v>
                </c:pt>
                <c:pt idx="58">
                  <c:v>Saint Agur</c:v>
                </c:pt>
                <c:pt idx="59">
                  <c:v>Boursin</c:v>
                </c:pt>
                <c:pt idx="60">
                  <c:v>Rondele</c:v>
                </c:pt>
                <c:pt idx="61">
                  <c:v>All Others</c:v>
                </c:pt>
                <c:pt idx="62">
                  <c:v>Triballat R</c:v>
                </c:pt>
                <c:pt idx="63">
                  <c:v>Boursin</c:v>
                </c:pt>
                <c:pt idx="64">
                  <c:v>St Moret</c:v>
                </c:pt>
                <c:pt idx="65">
                  <c:v>Saint Agur</c:v>
                </c:pt>
                <c:pt idx="66">
                  <c:v>St Moret</c:v>
                </c:pt>
                <c:pt idx="67">
                  <c:v>President</c:v>
                </c:pt>
                <c:pt idx="68">
                  <c:v>Tartare</c:v>
                </c:pt>
                <c:pt idx="69">
                  <c:v>Lactalis: A</c:v>
                </c:pt>
                <c:pt idx="70">
                  <c:v>Private Lab</c:v>
                </c:pt>
                <c:pt idx="71">
                  <c:v>Boursin</c:v>
                </c:pt>
                <c:pt idx="72">
                  <c:v>Boursin</c:v>
                </c:pt>
                <c:pt idx="73">
                  <c:v>Lactalis: A</c:v>
                </c:pt>
                <c:pt idx="74">
                  <c:v>Carre Frais</c:v>
                </c:pt>
                <c:pt idx="75">
                  <c:v>Tartare</c:v>
                </c:pt>
                <c:pt idx="76">
                  <c:v>Paysan Bret</c:v>
                </c:pt>
                <c:pt idx="77">
                  <c:v>All Others</c:v>
                </c:pt>
                <c:pt idx="78">
                  <c:v>Boursin</c:v>
                </c:pt>
                <c:pt idx="79">
                  <c:v>St Moret</c:v>
                </c:pt>
                <c:pt idx="80">
                  <c:v>Boursin</c:v>
                </c:pt>
                <c:pt idx="81">
                  <c:v>Boursin</c:v>
                </c:pt>
                <c:pt idx="82">
                  <c:v>Private Lab</c:v>
                </c:pt>
                <c:pt idx="83">
                  <c:v>Private Lab</c:v>
                </c:pt>
                <c:pt idx="84">
                  <c:v>Tartare</c:v>
                </c:pt>
                <c:pt idx="85">
                  <c:v>Philadelphi</c:v>
                </c:pt>
                <c:pt idx="86">
                  <c:v>All Others</c:v>
                </c:pt>
                <c:pt idx="87">
                  <c:v>All Others</c:v>
                </c:pt>
                <c:pt idx="88">
                  <c:v>All Others</c:v>
                </c:pt>
                <c:pt idx="89">
                  <c:v>All Others</c:v>
                </c:pt>
                <c:pt idx="90">
                  <c:v>All Others</c:v>
                </c:pt>
                <c:pt idx="91">
                  <c:v>All Others</c:v>
                </c:pt>
                <c:pt idx="92">
                  <c:v>All Others</c:v>
                </c:pt>
                <c:pt idx="93">
                  <c:v>Boursin</c:v>
                </c:pt>
                <c:pt idx="94">
                  <c:v>Boursin</c:v>
                </c:pt>
                <c:pt idx="95">
                  <c:v>All Others</c:v>
                </c:pt>
                <c:pt idx="96">
                  <c:v>All Others</c:v>
                </c:pt>
                <c:pt idx="97">
                  <c:v>Tartare</c:v>
                </c:pt>
                <c:pt idx="98">
                  <c:v>All Others</c:v>
                </c:pt>
                <c:pt idx="99">
                  <c:v>St Moret</c:v>
                </c:pt>
                <c:pt idx="100">
                  <c:v>Carre Frais</c:v>
                </c:pt>
                <c:pt idx="101">
                  <c:v>All Others</c:v>
                </c:pt>
                <c:pt idx="102">
                  <c:v>All Others</c:v>
                </c:pt>
                <c:pt idx="103">
                  <c:v>Savencia: A</c:v>
                </c:pt>
                <c:pt idx="104">
                  <c:v>Savencia: A</c:v>
                </c:pt>
                <c:pt idx="105">
                  <c:v>All Others</c:v>
                </c:pt>
                <c:pt idx="106">
                  <c:v>All Others</c:v>
                </c:pt>
                <c:pt idx="107">
                  <c:v>All Others</c:v>
                </c:pt>
                <c:pt idx="108">
                  <c:v>All Others</c:v>
                </c:pt>
                <c:pt idx="109">
                  <c:v>All Others</c:v>
                </c:pt>
                <c:pt idx="110">
                  <c:v>All Others</c:v>
                </c:pt>
                <c:pt idx="111">
                  <c:v>All Others</c:v>
                </c:pt>
                <c:pt idx="112">
                  <c:v>All Others</c:v>
                </c:pt>
                <c:pt idx="113">
                  <c:v>Rondele</c:v>
                </c:pt>
                <c:pt idx="114">
                  <c:v>All Others</c:v>
                </c:pt>
                <c:pt idx="115">
                  <c:v>Rondele</c:v>
                </c:pt>
                <c:pt idx="116">
                  <c:v>All Others</c:v>
                </c:pt>
                <c:pt idx="117">
                  <c:v>All Others</c:v>
                </c:pt>
                <c:pt idx="118">
                  <c:v>All Others</c:v>
                </c:pt>
                <c:pt idx="119">
                  <c:v>All Others</c:v>
                </c:pt>
                <c:pt idx="120">
                  <c:v>All Others</c:v>
                </c:pt>
                <c:pt idx="121">
                  <c:v>All Others</c:v>
                </c:pt>
                <c:pt idx="122">
                  <c:v>All Others</c:v>
                </c:pt>
              </c:strCache>
            </c:strRef>
          </c:cat>
          <c:val>
            <c:numRef>
              <c:f>Sheet1!$B$2:$B$124</c:f>
              <c:numCache>
                <c:formatCode>General</c:formatCode>
                <c:ptCount val="123"/>
                <c:pt idx="0">
                  <c:v>1.0</c:v>
                </c:pt>
                <c:pt idx="1">
                  <c:v>1.0</c:v>
                </c:pt>
                <c:pt idx="2">
                  <c:v>1.0</c:v>
                </c:pt>
                <c:pt idx="3">
                  <c:v>1.0</c:v>
                </c:pt>
                <c:pt idx="4">
                  <c:v>0.99</c:v>
                </c:pt>
                <c:pt idx="5">
                  <c:v>1.0</c:v>
                </c:pt>
                <c:pt idx="6">
                  <c:v>1.0</c:v>
                </c:pt>
                <c:pt idx="7">
                  <c:v>1.0</c:v>
                </c:pt>
                <c:pt idx="8">
                  <c:v>1.0</c:v>
                </c:pt>
                <c:pt idx="9">
                  <c:v>1.0</c:v>
                </c:pt>
                <c:pt idx="10">
                  <c:v>1.0</c:v>
                </c:pt>
                <c:pt idx="11">
                  <c:v>1.0</c:v>
                </c:pt>
                <c:pt idx="12">
                  <c:v>1.0</c:v>
                </c:pt>
                <c:pt idx="13">
                  <c:v>1.0</c:v>
                </c:pt>
                <c:pt idx="14">
                  <c:v>1.0</c:v>
                </c:pt>
                <c:pt idx="15">
                  <c:v>1.0</c:v>
                </c:pt>
                <c:pt idx="16">
                  <c:v>1.0</c:v>
                </c:pt>
                <c:pt idx="17">
                  <c:v>1.0</c:v>
                </c:pt>
                <c:pt idx="18">
                  <c:v>1.0</c:v>
                </c:pt>
                <c:pt idx="19">
                  <c:v>1.0</c:v>
                </c:pt>
                <c:pt idx="20">
                  <c:v>1.0</c:v>
                </c:pt>
                <c:pt idx="21">
                  <c:v>0.97</c:v>
                </c:pt>
                <c:pt idx="22">
                  <c:v>1.0</c:v>
                </c:pt>
                <c:pt idx="23">
                  <c:v>0.99</c:v>
                </c:pt>
                <c:pt idx="24">
                  <c:v>1.0</c:v>
                </c:pt>
                <c:pt idx="25">
                  <c:v>0.97</c:v>
                </c:pt>
                <c:pt idx="26">
                  <c:v>1.0</c:v>
                </c:pt>
                <c:pt idx="27">
                  <c:v>1.0</c:v>
                </c:pt>
                <c:pt idx="28">
                  <c:v>0.99</c:v>
                </c:pt>
                <c:pt idx="29">
                  <c:v>0.95</c:v>
                </c:pt>
                <c:pt idx="30">
                  <c:v>1.0</c:v>
                </c:pt>
                <c:pt idx="31">
                  <c:v>1.0</c:v>
                </c:pt>
                <c:pt idx="32">
                  <c:v>1.0</c:v>
                </c:pt>
                <c:pt idx="33">
                  <c:v>0.99</c:v>
                </c:pt>
                <c:pt idx="34">
                  <c:v>0.98</c:v>
                </c:pt>
                <c:pt idx="35">
                  <c:v>1.0</c:v>
                </c:pt>
                <c:pt idx="36">
                  <c:v>1.0</c:v>
                </c:pt>
                <c:pt idx="37">
                  <c:v>0.98</c:v>
                </c:pt>
                <c:pt idx="38">
                  <c:v>0.96</c:v>
                </c:pt>
                <c:pt idx="39">
                  <c:v>0.97</c:v>
                </c:pt>
                <c:pt idx="40">
                  <c:v>0.99</c:v>
                </c:pt>
                <c:pt idx="41">
                  <c:v>0.99</c:v>
                </c:pt>
                <c:pt idx="42">
                  <c:v>0.99</c:v>
                </c:pt>
                <c:pt idx="43">
                  <c:v>0.92</c:v>
                </c:pt>
                <c:pt idx="44">
                  <c:v>0.84</c:v>
                </c:pt>
                <c:pt idx="45">
                  <c:v>0.82</c:v>
                </c:pt>
                <c:pt idx="46">
                  <c:v>0.85</c:v>
                </c:pt>
                <c:pt idx="47">
                  <c:v>0.88</c:v>
                </c:pt>
                <c:pt idx="48">
                  <c:v>0.98</c:v>
                </c:pt>
                <c:pt idx="49">
                  <c:v>0.77</c:v>
                </c:pt>
                <c:pt idx="50">
                  <c:v>0.98</c:v>
                </c:pt>
                <c:pt idx="51">
                  <c:v>0.93</c:v>
                </c:pt>
                <c:pt idx="52">
                  <c:v>1.0</c:v>
                </c:pt>
                <c:pt idx="53">
                  <c:v>0.95</c:v>
                </c:pt>
                <c:pt idx="54">
                  <c:v>1.0</c:v>
                </c:pt>
                <c:pt idx="55">
                  <c:v>0.93</c:v>
                </c:pt>
                <c:pt idx="56">
                  <c:v>0.58</c:v>
                </c:pt>
                <c:pt idx="57">
                  <c:v>0.89</c:v>
                </c:pt>
                <c:pt idx="58">
                  <c:v>0.57</c:v>
                </c:pt>
                <c:pt idx="59">
                  <c:v>0.94</c:v>
                </c:pt>
                <c:pt idx="60">
                  <c:v>0.94</c:v>
                </c:pt>
                <c:pt idx="61">
                  <c:v>0.07</c:v>
                </c:pt>
                <c:pt idx="62">
                  <c:v>0.74</c:v>
                </c:pt>
                <c:pt idx="63">
                  <c:v>0.88</c:v>
                </c:pt>
                <c:pt idx="64">
                  <c:v>0.89</c:v>
                </c:pt>
                <c:pt idx="65">
                  <c:v>0.77</c:v>
                </c:pt>
                <c:pt idx="66">
                  <c:v>0.86</c:v>
                </c:pt>
                <c:pt idx="67">
                  <c:v>0.91</c:v>
                </c:pt>
                <c:pt idx="68">
                  <c:v>0.62</c:v>
                </c:pt>
                <c:pt idx="69">
                  <c:v>0.96</c:v>
                </c:pt>
                <c:pt idx="70">
                  <c:v>0.79</c:v>
                </c:pt>
                <c:pt idx="71">
                  <c:v>0.59</c:v>
                </c:pt>
                <c:pt idx="72">
                  <c:v>0.67</c:v>
                </c:pt>
                <c:pt idx="73">
                  <c:v>0.88</c:v>
                </c:pt>
                <c:pt idx="74">
                  <c:v>0.15</c:v>
                </c:pt>
                <c:pt idx="75">
                  <c:v>0.7</c:v>
                </c:pt>
                <c:pt idx="76">
                  <c:v>0.92</c:v>
                </c:pt>
                <c:pt idx="77">
                  <c:v>0.76</c:v>
                </c:pt>
                <c:pt idx="78">
                  <c:v>0.66</c:v>
                </c:pt>
                <c:pt idx="79">
                  <c:v>0.73</c:v>
                </c:pt>
                <c:pt idx="80">
                  <c:v>0.85</c:v>
                </c:pt>
                <c:pt idx="81">
                  <c:v>0.49</c:v>
                </c:pt>
                <c:pt idx="82">
                  <c:v>0.67</c:v>
                </c:pt>
                <c:pt idx="83">
                  <c:v>0.64</c:v>
                </c:pt>
                <c:pt idx="84">
                  <c:v>0.56</c:v>
                </c:pt>
                <c:pt idx="85">
                  <c:v>0.44</c:v>
                </c:pt>
                <c:pt idx="86">
                  <c:v>0.16</c:v>
                </c:pt>
                <c:pt idx="87">
                  <c:v>0.07</c:v>
                </c:pt>
                <c:pt idx="88">
                  <c:v>0.14</c:v>
                </c:pt>
                <c:pt idx="89">
                  <c:v>0.15</c:v>
                </c:pt>
                <c:pt idx="90">
                  <c:v>0.5</c:v>
                </c:pt>
                <c:pt idx="91">
                  <c:v>0.53</c:v>
                </c:pt>
                <c:pt idx="92">
                  <c:v>0.07</c:v>
                </c:pt>
                <c:pt idx="93">
                  <c:v>0.71</c:v>
                </c:pt>
                <c:pt idx="94">
                  <c:v>0.14</c:v>
                </c:pt>
                <c:pt idx="95">
                  <c:v>0.15</c:v>
                </c:pt>
                <c:pt idx="96">
                  <c:v>0.11</c:v>
                </c:pt>
                <c:pt idx="97">
                  <c:v>0.41</c:v>
                </c:pt>
                <c:pt idx="98">
                  <c:v>0.03</c:v>
                </c:pt>
                <c:pt idx="99">
                  <c:v>0.27</c:v>
                </c:pt>
                <c:pt idx="100">
                  <c:v>0.1</c:v>
                </c:pt>
                <c:pt idx="101">
                  <c:v>0.39</c:v>
                </c:pt>
                <c:pt idx="102">
                  <c:v>0.07</c:v>
                </c:pt>
                <c:pt idx="103">
                  <c:v>0.62</c:v>
                </c:pt>
                <c:pt idx="104">
                  <c:v>0.59</c:v>
                </c:pt>
                <c:pt idx="105">
                  <c:v>0.06</c:v>
                </c:pt>
                <c:pt idx="106">
                  <c:v>0.08</c:v>
                </c:pt>
                <c:pt idx="107">
                  <c:v>0.42</c:v>
                </c:pt>
                <c:pt idx="108">
                  <c:v>0.15</c:v>
                </c:pt>
                <c:pt idx="109">
                  <c:v>0.01</c:v>
                </c:pt>
                <c:pt idx="110">
                  <c:v>0.06</c:v>
                </c:pt>
                <c:pt idx="111">
                  <c:v>0.02</c:v>
                </c:pt>
                <c:pt idx="112">
                  <c:v>0.06</c:v>
                </c:pt>
                <c:pt idx="113">
                  <c:v>0.14</c:v>
                </c:pt>
                <c:pt idx="114">
                  <c:v>0.04</c:v>
                </c:pt>
                <c:pt idx="115">
                  <c:v>0.13</c:v>
                </c:pt>
                <c:pt idx="116">
                  <c:v>0.01</c:v>
                </c:pt>
                <c:pt idx="117">
                  <c:v>0.01</c:v>
                </c:pt>
                <c:pt idx="118">
                  <c:v>0.07</c:v>
                </c:pt>
                <c:pt idx="119">
                  <c:v>0.02</c:v>
                </c:pt>
                <c:pt idx="120">
                  <c:v>0.03</c:v>
                </c:pt>
                <c:pt idx="121">
                  <c:v>0.03</c:v>
                </c:pt>
                <c:pt idx="122">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Item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7ECAC4"/>
              </a:solidFill>
            </c:spPr>
            <c:extLst>
              <c:ext xmlns:c16="http://schemas.microsoft.com/office/drawing/2014/chart" uri="{C3380CC4-5D6E-409C-BE32-E72D297353CC}">
                <c16:uniqueId val="{00000077-2993-41DE-A2CB-63102DE87051}"/>
              </c:ext>
            </c:extLst>
          </c:dPt>
          <c:dPt>
            <c:idx val="32"/>
            <c:invertIfNegative val="1"/>
            <c:bubble3D val="0"/>
            <c:spPr>
              <a:solidFill>
                <a:srgbClr val="7ECAC4"/>
              </a:solidFill>
            </c:spPr>
            <c:extLst>
              <c:ext xmlns:c16="http://schemas.microsoft.com/office/drawing/2014/chart" uri="{C3380CC4-5D6E-409C-BE32-E72D297353CC}">
                <c16:uniqueId val="{00000079-2993-41DE-A2CB-63102DE87051}"/>
              </c:ext>
            </c:extLst>
          </c:dPt>
          <c:dPt>
            <c:idx val="33"/>
            <c:invertIfNegative val="1"/>
            <c:bubble3D val="0"/>
            <c:spPr>
              <a:solidFill>
                <a:srgbClr val="7ECAC4"/>
              </a:solidFill>
            </c:spPr>
            <c:extLst>
              <c:ext xmlns:c16="http://schemas.microsoft.com/office/drawing/2014/chart" uri="{C3380CC4-5D6E-409C-BE32-E72D297353CC}">
                <c16:uniqueId val="{0000007B-2993-41DE-A2CB-63102DE87051}"/>
              </c:ext>
            </c:extLst>
          </c:dPt>
          <c:dPt>
            <c:idx val="34"/>
            <c:invertIfNegative val="1"/>
            <c:bubble3D val="0"/>
            <c:spPr>
              <a:solidFill>
                <a:srgbClr val="7ECAC4"/>
              </a:solidFill>
            </c:spPr>
            <c:extLst>
              <c:ext xmlns:c16="http://schemas.microsoft.com/office/drawing/2014/chart" uri="{C3380CC4-5D6E-409C-BE32-E72D297353CC}">
                <c16:uniqueId val="{0000007D-2993-41DE-A2CB-63102DE87051}"/>
              </c:ext>
            </c:extLst>
          </c:dPt>
          <c:dPt>
            <c:idx val="35"/>
            <c:invertIfNegative val="1"/>
            <c:bubble3D val="0"/>
            <c:spPr>
              <a:solidFill>
                <a:srgbClr val="7ECAC4"/>
              </a:solidFill>
            </c:spPr>
            <c:extLst>
              <c:ext xmlns:c16="http://schemas.microsoft.com/office/drawing/2014/chart" uri="{C3380CC4-5D6E-409C-BE32-E72D297353CC}">
                <c16:uniqueId val="{0000007F-2993-41DE-A2CB-63102DE87051}"/>
              </c:ext>
            </c:extLst>
          </c:dPt>
          <c:dPt>
            <c:idx val="36"/>
            <c:invertIfNegative val="1"/>
            <c:bubble3D val="0"/>
            <c:spPr>
              <a:solidFill>
                <a:srgbClr val="7ECAC4"/>
              </a:solidFill>
            </c:spPr>
            <c:extLst>
              <c:ext xmlns:c16="http://schemas.microsoft.com/office/drawing/2014/chart" uri="{C3380CC4-5D6E-409C-BE32-E72D297353CC}">
                <c16:uniqueId val="{00000081-2993-41DE-A2CB-63102DE87051}"/>
              </c:ext>
            </c:extLst>
          </c:dPt>
          <c:dPt>
            <c:idx val="37"/>
            <c:invertIfNegative val="1"/>
            <c:bubble3D val="0"/>
            <c:spPr>
              <a:solidFill>
                <a:srgbClr val="7ECAC4"/>
              </a:solidFill>
            </c:spPr>
            <c:extLst>
              <c:ext xmlns:c16="http://schemas.microsoft.com/office/drawing/2014/chart" uri="{C3380CC4-5D6E-409C-BE32-E72D297353CC}">
                <c16:uniqueId val="{00000083-2993-41DE-A2CB-63102DE87051}"/>
              </c:ext>
            </c:extLst>
          </c:dPt>
          <c:dPt>
            <c:idx val="38"/>
            <c:invertIfNegative val="1"/>
            <c:bubble3D val="0"/>
            <c:spPr>
              <a:solidFill>
                <a:srgbClr val="7ECAC4"/>
              </a:solidFill>
            </c:spPr>
            <c:extLst>
              <c:ext xmlns:c16="http://schemas.microsoft.com/office/drawing/2014/chart" uri="{C3380CC4-5D6E-409C-BE32-E72D297353CC}">
                <c16:uniqueId val="{00000085-2993-41DE-A2CB-63102DE87051}"/>
              </c:ext>
            </c:extLst>
          </c:dPt>
          <c:dPt>
            <c:idx val="39"/>
            <c:invertIfNegative val="1"/>
            <c:bubble3D val="0"/>
            <c:spPr>
              <a:solidFill>
                <a:srgbClr val="7ECAC4"/>
              </a:solidFill>
            </c:spPr>
            <c:extLst>
              <c:ext xmlns:c16="http://schemas.microsoft.com/office/drawing/2014/chart" uri="{C3380CC4-5D6E-409C-BE32-E72D297353CC}">
                <c16:uniqueId val="{00000087-2993-41DE-A2CB-63102DE87051}"/>
              </c:ext>
            </c:extLst>
          </c:dPt>
          <c:dPt>
            <c:idx val="40"/>
            <c:invertIfNegative val="1"/>
            <c:bubble3D val="0"/>
            <c:spPr>
              <a:solidFill>
                <a:srgbClr val="7ECAC4"/>
              </a:solidFill>
            </c:spPr>
            <c:extLst>
              <c:ext xmlns:c16="http://schemas.microsoft.com/office/drawing/2014/chart" uri="{C3380CC4-5D6E-409C-BE32-E72D297353CC}">
                <c16:uniqueId val="{00000089-2993-41DE-A2CB-63102DE87051}"/>
              </c:ext>
            </c:extLst>
          </c:dPt>
          <c:dPt>
            <c:idx val="41"/>
            <c:invertIfNegative val="1"/>
            <c:bubble3D val="0"/>
            <c:spPr>
              <a:solidFill>
                <a:srgbClr val="7ECAC4"/>
              </a:solidFill>
            </c:spPr>
            <c:extLst>
              <c:ext xmlns:c16="http://schemas.microsoft.com/office/drawing/2014/chart" uri="{C3380CC4-5D6E-409C-BE32-E72D297353CC}">
                <c16:uniqueId val="{0000008B-2993-41DE-A2CB-63102DE87051}"/>
              </c:ext>
            </c:extLst>
          </c:dPt>
          <c:dPt>
            <c:idx val="42"/>
            <c:invertIfNegative val="1"/>
            <c:bubble3D val="0"/>
            <c:spPr>
              <a:solidFill>
                <a:srgbClr val="7ECAC4"/>
              </a:solidFill>
            </c:spPr>
            <c:extLst>
              <c:ext xmlns:c16="http://schemas.microsoft.com/office/drawing/2014/chart" uri="{C3380CC4-5D6E-409C-BE32-E72D297353CC}">
                <c16:uniqueId val="{0000008D-2993-41DE-A2CB-63102DE87051}"/>
              </c:ext>
            </c:extLst>
          </c:dPt>
          <c:dPt>
            <c:idx val="43"/>
            <c:invertIfNegative val="1"/>
            <c:bubble3D val="0"/>
            <c:spPr>
              <a:solidFill>
                <a:srgbClr val="7ECAC4"/>
              </a:solidFill>
            </c:spPr>
            <c:extLst>
              <c:ext xmlns:c16="http://schemas.microsoft.com/office/drawing/2014/chart" uri="{C3380CC4-5D6E-409C-BE32-E72D297353CC}">
                <c16:uniqueId val="{0000008F-2993-41DE-A2CB-63102DE87051}"/>
              </c:ext>
            </c:extLst>
          </c:dPt>
          <c:dPt>
            <c:idx val="44"/>
            <c:invertIfNegative val="1"/>
            <c:bubble3D val="0"/>
            <c:spPr>
              <a:solidFill>
                <a:srgbClr val="7ECAC4"/>
              </a:solidFill>
            </c:spPr>
            <c:extLst>
              <c:ext xmlns:c16="http://schemas.microsoft.com/office/drawing/2014/chart" uri="{C3380CC4-5D6E-409C-BE32-E72D297353CC}">
                <c16:uniqueId val="{00000091-2993-41DE-A2CB-63102DE87051}"/>
              </c:ext>
            </c:extLst>
          </c:dPt>
          <c:dPt>
            <c:idx val="45"/>
            <c:invertIfNegative val="1"/>
            <c:bubble3D val="0"/>
            <c:spPr>
              <a:solidFill>
                <a:srgbClr val="7ECAC4"/>
              </a:solidFill>
            </c:spPr>
            <c:extLst>
              <c:ext xmlns:c16="http://schemas.microsoft.com/office/drawing/2014/chart" uri="{C3380CC4-5D6E-409C-BE32-E72D297353CC}">
                <c16:uniqueId val="{00000093-2993-41DE-A2CB-63102DE87051}"/>
              </c:ext>
            </c:extLst>
          </c:dPt>
          <c:dPt>
            <c:idx val="46"/>
            <c:invertIfNegative val="1"/>
            <c:bubble3D val="0"/>
            <c:spPr>
              <a:solidFill>
                <a:srgbClr val="7ECAC4"/>
              </a:solidFill>
            </c:spPr>
            <c:extLst>
              <c:ext xmlns:c16="http://schemas.microsoft.com/office/drawing/2014/chart" uri="{C3380CC4-5D6E-409C-BE32-E72D297353CC}">
                <c16:uniqueId val="{00000095-2993-41DE-A2CB-63102DE87051}"/>
              </c:ext>
            </c:extLst>
          </c:dPt>
          <c:dPt>
            <c:idx val="47"/>
            <c:invertIfNegative val="1"/>
            <c:bubble3D val="0"/>
            <c:spPr>
              <a:solidFill>
                <a:srgbClr val="7ECAC4"/>
              </a:solidFill>
            </c:spPr>
            <c:extLst>
              <c:ext xmlns:c16="http://schemas.microsoft.com/office/drawing/2014/chart" uri="{C3380CC4-5D6E-409C-BE32-E72D297353CC}">
                <c16:uniqueId val="{00000097-2993-41DE-A2CB-63102DE87051}"/>
              </c:ext>
            </c:extLst>
          </c:dPt>
          <c:dPt>
            <c:idx val="48"/>
            <c:invertIfNegative val="1"/>
            <c:bubble3D val="0"/>
            <c:spPr>
              <a:solidFill>
                <a:srgbClr val="7ECAC4"/>
              </a:solidFill>
            </c:spPr>
            <c:extLst>
              <c:ext xmlns:c16="http://schemas.microsoft.com/office/drawing/2014/chart" uri="{C3380CC4-5D6E-409C-BE32-E72D297353CC}">
                <c16:uniqueId val="{00000099-2993-41DE-A2CB-63102DE87051}"/>
              </c:ext>
            </c:extLst>
          </c:dPt>
          <c:dPt>
            <c:idx val="49"/>
            <c:invertIfNegative val="1"/>
            <c:bubble3D val="0"/>
            <c:spPr>
              <a:solidFill>
                <a:srgbClr val="7ECAC4"/>
              </a:solidFill>
            </c:spPr>
            <c:extLst>
              <c:ext xmlns:c16="http://schemas.microsoft.com/office/drawing/2014/chart" uri="{C3380CC4-5D6E-409C-BE32-E72D297353CC}">
                <c16:uniqueId val="{0000009B-2993-41DE-A2CB-63102DE87051}"/>
              </c:ext>
            </c:extLst>
          </c:dPt>
          <c:dPt>
            <c:idx val="50"/>
            <c:invertIfNegative val="1"/>
            <c:bubble3D val="0"/>
            <c:spPr>
              <a:solidFill>
                <a:srgbClr val="7ECAC4"/>
              </a:solidFill>
            </c:spPr>
            <c:extLst>
              <c:ext xmlns:c16="http://schemas.microsoft.com/office/drawing/2014/chart" uri="{C3380CC4-5D6E-409C-BE32-E72D297353CC}">
                <c16:uniqueId val="{0000009D-2993-41DE-A2CB-63102DE87051}"/>
              </c:ext>
            </c:extLst>
          </c:dPt>
          <c:dPt>
            <c:idx val="51"/>
            <c:invertIfNegative val="1"/>
            <c:bubble3D val="0"/>
            <c:spPr>
              <a:solidFill>
                <a:srgbClr val="7ECAC4"/>
              </a:solidFill>
            </c:spPr>
            <c:extLst>
              <c:ext xmlns:c16="http://schemas.microsoft.com/office/drawing/2014/chart" uri="{C3380CC4-5D6E-409C-BE32-E72D297353CC}">
                <c16:uniqueId val="{0000009F-2993-41DE-A2CB-63102DE87051}"/>
              </c:ext>
            </c:extLst>
          </c:dPt>
          <c:dPt>
            <c:idx val="52"/>
            <c:invertIfNegative val="1"/>
            <c:bubble3D val="0"/>
            <c:spPr>
              <a:solidFill>
                <a:srgbClr val="7ECAC4"/>
              </a:solidFill>
            </c:spPr>
            <c:extLst>
              <c:ext xmlns:c16="http://schemas.microsoft.com/office/drawing/2014/chart" uri="{C3380CC4-5D6E-409C-BE32-E72D297353CC}">
                <c16:uniqueId val="{000000A1-2993-41DE-A2CB-63102DE87051}"/>
              </c:ext>
            </c:extLst>
          </c:dPt>
          <c:dPt>
            <c:idx val="53"/>
            <c:invertIfNegative val="1"/>
            <c:bubble3D val="0"/>
            <c:spPr>
              <a:solidFill>
                <a:srgbClr val="7ECAC4"/>
              </a:solidFill>
            </c:spPr>
            <c:extLst>
              <c:ext xmlns:c16="http://schemas.microsoft.com/office/drawing/2014/chart" uri="{C3380CC4-5D6E-409C-BE32-E72D297353CC}">
                <c16:uniqueId val="{000000A3-2993-41DE-A2CB-63102DE87051}"/>
              </c:ext>
            </c:extLst>
          </c:dPt>
          <c:dPt>
            <c:idx val="54"/>
            <c:invertIfNegative val="0"/>
            <c:bubble3D val="0"/>
            <c:spPr>
              <a:solidFill>
                <a:srgbClr val="AEABAB"/>
              </a:solidFill>
            </c:spPr>
            <c:extLst>
              <c:ext xmlns:c16="http://schemas.microsoft.com/office/drawing/2014/chart" uri="{C3380CC4-5D6E-409C-BE32-E72D297353CC}">
                <c16:uniqueId val="{00000072-C76F-4230-900D-40618C09729F}"/>
              </c:ext>
            </c:extLst>
          </c:dPt>
          <c:dPt>
            <c:idx val="55"/>
            <c:invertIfNegative val="0"/>
            <c:bubble3D val="0"/>
            <c:spPr>
              <a:solidFill>
                <a:srgbClr val="AEABAB"/>
              </a:solidFill>
            </c:spPr>
            <c:extLst>
              <c:ext xmlns:c16="http://schemas.microsoft.com/office/drawing/2014/chart" uri="{C3380CC4-5D6E-409C-BE32-E72D297353CC}">
                <c16:uniqueId val="{00000074-C76F-4230-900D-40618C09729F}"/>
              </c:ext>
            </c:extLst>
          </c:dPt>
          <c:dPt>
            <c:idx val="56"/>
            <c:invertIfNegative val="0"/>
            <c:bubble3D val="0"/>
            <c:spPr>
              <a:solidFill>
                <a:srgbClr val="AEABAB"/>
              </a:solidFill>
            </c:spPr>
            <c:extLst>
              <c:ext xmlns:c16="http://schemas.microsoft.com/office/drawing/2014/chart" uri="{C3380CC4-5D6E-409C-BE32-E72D297353CC}">
                <c16:uniqueId val="{00000076-C76F-4230-900D-40618C09729F}"/>
              </c:ext>
            </c:extLst>
          </c:dPt>
          <c:dPt>
            <c:idx val="57"/>
            <c:invertIfNegative val="0"/>
            <c:bubble3D val="0"/>
            <c:spPr>
              <a:solidFill>
                <a:srgbClr val="AEABAB"/>
              </a:solidFill>
            </c:spPr>
            <c:extLst>
              <c:ext xmlns:c16="http://schemas.microsoft.com/office/drawing/2014/chart" uri="{C3380CC4-5D6E-409C-BE32-E72D297353CC}">
                <c16:uniqueId val="{00000078-C76F-4230-900D-40618C09729F}"/>
              </c:ext>
            </c:extLst>
          </c:dPt>
          <c:dPt>
            <c:idx val="58"/>
            <c:invertIfNegative val="0"/>
            <c:bubble3D val="0"/>
            <c:spPr>
              <a:solidFill>
                <a:srgbClr val="AEABAB"/>
              </a:solidFill>
            </c:spPr>
            <c:extLst>
              <c:ext xmlns:c16="http://schemas.microsoft.com/office/drawing/2014/chart" uri="{C3380CC4-5D6E-409C-BE32-E72D297353CC}">
                <c16:uniqueId val="{0000007A-C76F-4230-900D-40618C09729F}"/>
              </c:ext>
            </c:extLst>
          </c:dPt>
          <c:dPt>
            <c:idx val="59"/>
            <c:invertIfNegative val="0"/>
            <c:bubble3D val="0"/>
            <c:spPr>
              <a:solidFill>
                <a:srgbClr val="AEABAB"/>
              </a:solidFill>
            </c:spPr>
            <c:extLst>
              <c:ext xmlns:c16="http://schemas.microsoft.com/office/drawing/2014/chart" uri="{C3380CC4-5D6E-409C-BE32-E72D297353CC}">
                <c16:uniqueId val="{0000007C-C76F-4230-900D-40618C09729F}"/>
              </c:ext>
            </c:extLst>
          </c:dPt>
          <c:dPt>
            <c:idx val="60"/>
            <c:invertIfNegative val="0"/>
            <c:bubble3D val="0"/>
            <c:spPr>
              <a:solidFill>
                <a:srgbClr val="AEABAB"/>
              </a:solidFill>
            </c:spPr>
            <c:extLst>
              <c:ext xmlns:c16="http://schemas.microsoft.com/office/drawing/2014/chart" uri="{C3380CC4-5D6E-409C-BE32-E72D297353CC}">
                <c16:uniqueId val="{0000007E-C76F-4230-900D-40618C09729F}"/>
              </c:ext>
            </c:extLst>
          </c:dPt>
          <c:dPt>
            <c:idx val="61"/>
            <c:invertIfNegative val="0"/>
            <c:bubble3D val="0"/>
            <c:spPr>
              <a:solidFill>
                <a:srgbClr val="AEABAB"/>
              </a:solidFill>
            </c:spPr>
            <c:extLst>
              <c:ext xmlns:c16="http://schemas.microsoft.com/office/drawing/2014/chart" uri="{C3380CC4-5D6E-409C-BE32-E72D297353CC}">
                <c16:uniqueId val="{00000080-C76F-4230-900D-40618C09729F}"/>
              </c:ext>
            </c:extLst>
          </c:dPt>
          <c:dPt>
            <c:idx val="62"/>
            <c:invertIfNegative val="0"/>
            <c:bubble3D val="0"/>
            <c:spPr>
              <a:solidFill>
                <a:srgbClr val="AEABAB"/>
              </a:solidFill>
            </c:spPr>
            <c:extLst>
              <c:ext xmlns:c16="http://schemas.microsoft.com/office/drawing/2014/chart" uri="{C3380CC4-5D6E-409C-BE32-E72D297353CC}">
                <c16:uniqueId val="{00000082-C76F-4230-900D-40618C09729F}"/>
              </c:ext>
            </c:extLst>
          </c:dPt>
          <c:dPt>
            <c:idx val="63"/>
            <c:invertIfNegative val="0"/>
            <c:bubble3D val="0"/>
            <c:spPr>
              <a:solidFill>
                <a:srgbClr val="AEABAB"/>
              </a:solidFill>
            </c:spPr>
            <c:extLst>
              <c:ext xmlns:c16="http://schemas.microsoft.com/office/drawing/2014/chart" uri="{C3380CC4-5D6E-409C-BE32-E72D297353CC}">
                <c16:uniqueId val="{00000084-C76F-4230-900D-40618C09729F}"/>
              </c:ext>
            </c:extLst>
          </c:dPt>
          <c:dPt>
            <c:idx val="64"/>
            <c:invertIfNegative val="0"/>
            <c:bubble3D val="0"/>
            <c:spPr>
              <a:solidFill>
                <a:srgbClr val="AEABAB"/>
              </a:solidFill>
            </c:spPr>
            <c:extLst>
              <c:ext xmlns:c16="http://schemas.microsoft.com/office/drawing/2014/chart" uri="{C3380CC4-5D6E-409C-BE32-E72D297353CC}">
                <c16:uniqueId val="{00000086-C76F-4230-900D-40618C09729F}"/>
              </c:ext>
            </c:extLst>
          </c:dPt>
          <c:dPt>
            <c:idx val="65"/>
            <c:invertIfNegative val="0"/>
            <c:bubble3D val="0"/>
            <c:spPr>
              <a:solidFill>
                <a:srgbClr val="AEABAB"/>
              </a:solidFill>
            </c:spPr>
            <c:extLst>
              <c:ext xmlns:c16="http://schemas.microsoft.com/office/drawing/2014/chart" uri="{C3380CC4-5D6E-409C-BE32-E72D297353CC}">
                <c16:uniqueId val="{00000088-C76F-4230-900D-40618C09729F}"/>
              </c:ext>
            </c:extLst>
          </c:dPt>
          <c:dPt>
            <c:idx val="66"/>
            <c:invertIfNegative val="0"/>
            <c:bubble3D val="0"/>
            <c:spPr>
              <a:solidFill>
                <a:srgbClr val="AEABAB"/>
              </a:solidFill>
            </c:spPr>
            <c:extLst>
              <c:ext xmlns:c16="http://schemas.microsoft.com/office/drawing/2014/chart" uri="{C3380CC4-5D6E-409C-BE32-E72D297353CC}">
                <c16:uniqueId val="{0000008A-C76F-4230-900D-40618C09729F}"/>
              </c:ext>
            </c:extLst>
          </c:dPt>
          <c:dPt>
            <c:idx val="67"/>
            <c:invertIfNegative val="0"/>
            <c:bubble3D val="0"/>
            <c:spPr>
              <a:solidFill>
                <a:srgbClr val="AEABAB"/>
              </a:solidFill>
            </c:spPr>
            <c:extLst>
              <c:ext xmlns:c16="http://schemas.microsoft.com/office/drawing/2014/chart" uri="{C3380CC4-5D6E-409C-BE32-E72D297353CC}">
                <c16:uniqueId val="{0000008C-C76F-4230-900D-40618C09729F}"/>
              </c:ext>
            </c:extLst>
          </c:dPt>
          <c:dPt>
            <c:idx val="68"/>
            <c:invertIfNegative val="0"/>
            <c:bubble3D val="0"/>
            <c:spPr>
              <a:solidFill>
                <a:srgbClr val="AEABAB"/>
              </a:solidFill>
            </c:spPr>
            <c:extLst>
              <c:ext xmlns:c16="http://schemas.microsoft.com/office/drawing/2014/chart" uri="{C3380CC4-5D6E-409C-BE32-E72D297353CC}">
                <c16:uniqueId val="{0000008E-C76F-4230-900D-40618C09729F}"/>
              </c:ext>
            </c:extLst>
          </c:dPt>
          <c:dPt>
            <c:idx val="69"/>
            <c:invertIfNegative val="0"/>
            <c:bubble3D val="0"/>
            <c:spPr>
              <a:solidFill>
                <a:srgbClr val="AEABAB"/>
              </a:solidFill>
            </c:spPr>
            <c:extLst>
              <c:ext xmlns:c16="http://schemas.microsoft.com/office/drawing/2014/chart" uri="{C3380CC4-5D6E-409C-BE32-E72D297353CC}">
                <c16:uniqueId val="{00000090-C76F-4230-900D-40618C09729F}"/>
              </c:ext>
            </c:extLst>
          </c:dPt>
          <c:dPt>
            <c:idx val="70"/>
            <c:invertIfNegative val="0"/>
            <c:bubble3D val="0"/>
            <c:spPr>
              <a:solidFill>
                <a:srgbClr val="AEABAB"/>
              </a:solidFill>
            </c:spPr>
            <c:extLst>
              <c:ext xmlns:c16="http://schemas.microsoft.com/office/drawing/2014/chart" uri="{C3380CC4-5D6E-409C-BE32-E72D297353CC}">
                <c16:uniqueId val="{00000092-C76F-4230-900D-40618C09729F}"/>
              </c:ext>
            </c:extLst>
          </c:dPt>
          <c:dPt>
            <c:idx val="71"/>
            <c:invertIfNegative val="0"/>
            <c:bubble3D val="0"/>
            <c:spPr>
              <a:solidFill>
                <a:srgbClr val="AEABAB"/>
              </a:solidFill>
            </c:spPr>
            <c:extLst>
              <c:ext xmlns:c16="http://schemas.microsoft.com/office/drawing/2014/chart" uri="{C3380CC4-5D6E-409C-BE32-E72D297353CC}">
                <c16:uniqueId val="{00000094-C76F-4230-900D-40618C09729F}"/>
              </c:ext>
            </c:extLst>
          </c:dPt>
          <c:dPt>
            <c:idx val="72"/>
            <c:invertIfNegative val="0"/>
            <c:bubble3D val="0"/>
            <c:spPr>
              <a:solidFill>
                <a:srgbClr val="AEABAB"/>
              </a:solidFill>
            </c:spPr>
            <c:extLst>
              <c:ext xmlns:c16="http://schemas.microsoft.com/office/drawing/2014/chart" uri="{C3380CC4-5D6E-409C-BE32-E72D297353CC}">
                <c16:uniqueId val="{00000096-C76F-4230-900D-40618C09729F}"/>
              </c:ext>
            </c:extLst>
          </c:dPt>
          <c:dPt>
            <c:idx val="73"/>
            <c:invertIfNegative val="0"/>
            <c:bubble3D val="0"/>
            <c:spPr>
              <a:solidFill>
                <a:srgbClr val="AEABAB"/>
              </a:solidFill>
            </c:spPr>
            <c:extLst>
              <c:ext xmlns:c16="http://schemas.microsoft.com/office/drawing/2014/chart" uri="{C3380CC4-5D6E-409C-BE32-E72D297353CC}">
                <c16:uniqueId val="{00000098-C76F-4230-900D-40618C09729F}"/>
              </c:ext>
            </c:extLst>
          </c:dPt>
          <c:dPt>
            <c:idx val="74"/>
            <c:invertIfNegative val="0"/>
            <c:bubble3D val="0"/>
            <c:spPr>
              <a:solidFill>
                <a:srgbClr val="AEABAB"/>
              </a:solidFill>
            </c:spPr>
            <c:extLst>
              <c:ext xmlns:c16="http://schemas.microsoft.com/office/drawing/2014/chart" uri="{C3380CC4-5D6E-409C-BE32-E72D297353CC}">
                <c16:uniqueId val="{0000009A-C76F-4230-900D-40618C09729F}"/>
              </c:ext>
            </c:extLst>
          </c:dPt>
          <c:dPt>
            <c:idx val="75"/>
            <c:invertIfNegative val="0"/>
            <c:bubble3D val="0"/>
            <c:spPr>
              <a:solidFill>
                <a:srgbClr val="AEABAB"/>
              </a:solidFill>
            </c:spPr>
            <c:extLst>
              <c:ext xmlns:c16="http://schemas.microsoft.com/office/drawing/2014/chart" uri="{C3380CC4-5D6E-409C-BE32-E72D297353CC}">
                <c16:uniqueId val="{0000009C-C76F-4230-900D-40618C09729F}"/>
              </c:ext>
            </c:extLst>
          </c:dPt>
          <c:dPt>
            <c:idx val="76"/>
            <c:invertIfNegative val="0"/>
            <c:bubble3D val="0"/>
            <c:spPr>
              <a:solidFill>
                <a:srgbClr val="AEABAB"/>
              </a:solidFill>
            </c:spPr>
            <c:extLst>
              <c:ext xmlns:c16="http://schemas.microsoft.com/office/drawing/2014/chart" uri="{C3380CC4-5D6E-409C-BE32-E72D297353CC}">
                <c16:uniqueId val="{0000009E-C76F-4230-900D-40618C09729F}"/>
              </c:ext>
            </c:extLst>
          </c:dPt>
          <c:dPt>
            <c:idx val="77"/>
            <c:invertIfNegative val="0"/>
            <c:bubble3D val="0"/>
            <c:spPr>
              <a:solidFill>
                <a:srgbClr val="AEABAB"/>
              </a:solidFill>
            </c:spPr>
            <c:extLst>
              <c:ext xmlns:c16="http://schemas.microsoft.com/office/drawing/2014/chart" uri="{C3380CC4-5D6E-409C-BE32-E72D297353CC}">
                <c16:uniqueId val="{000000A0-C76F-4230-900D-40618C09729F}"/>
              </c:ext>
            </c:extLst>
          </c:dPt>
          <c:dPt>
            <c:idx val="78"/>
            <c:invertIfNegative val="0"/>
            <c:bubble3D val="0"/>
            <c:spPr>
              <a:solidFill>
                <a:srgbClr val="AEABAB"/>
              </a:solidFill>
            </c:spPr>
            <c:extLst>
              <c:ext xmlns:c16="http://schemas.microsoft.com/office/drawing/2014/chart" uri="{C3380CC4-5D6E-409C-BE32-E72D297353CC}">
                <c16:uniqueId val="{000000A2-C76F-4230-900D-40618C09729F}"/>
              </c:ext>
            </c:extLst>
          </c:dPt>
          <c:dPt>
            <c:idx val="79"/>
            <c:invertIfNegative val="0"/>
            <c:bubble3D val="0"/>
            <c:spPr>
              <a:solidFill>
                <a:srgbClr val="AEABAB"/>
              </a:solidFill>
            </c:spPr>
            <c:extLst>
              <c:ext xmlns:c16="http://schemas.microsoft.com/office/drawing/2014/chart" uri="{C3380CC4-5D6E-409C-BE32-E72D297353CC}">
                <c16:uniqueId val="{000000A4-C76F-4230-900D-40618C09729F}"/>
              </c:ext>
            </c:extLst>
          </c:dPt>
          <c:dPt>
            <c:idx val="80"/>
            <c:invertIfNegative val="0"/>
            <c:bubble3D val="0"/>
            <c:spPr>
              <a:solidFill>
                <a:srgbClr val="AEABAB"/>
              </a:solidFill>
            </c:spPr>
            <c:extLst>
              <c:ext xmlns:c16="http://schemas.microsoft.com/office/drawing/2014/chart" uri="{C3380CC4-5D6E-409C-BE32-E72D297353CC}">
                <c16:uniqueId val="{000000A6-C76F-4230-900D-40618C09729F}"/>
              </c:ext>
            </c:extLst>
          </c:dPt>
          <c:dPt>
            <c:idx val="81"/>
            <c:invertIfNegative val="1"/>
            <c:bubble3D val="0"/>
            <c:spPr>
              <a:solidFill>
                <a:srgbClr val="AEABAB"/>
              </a:solidFill>
            </c:spPr>
            <c:extLst>
              <c:ext xmlns:c16="http://schemas.microsoft.com/office/drawing/2014/chart" uri="{C3380CC4-5D6E-409C-BE32-E72D297353CC}">
                <c16:uniqueId val="{000000A5-2993-41DE-A2CB-63102DE87051}"/>
              </c:ext>
            </c:extLst>
          </c:dPt>
          <c:dPt>
            <c:idx val="82"/>
            <c:invertIfNegative val="1"/>
            <c:bubble3D val="0"/>
            <c:spPr>
              <a:solidFill>
                <a:srgbClr val="AEABAB"/>
              </a:solidFill>
            </c:spPr>
            <c:extLst>
              <c:ext xmlns:c16="http://schemas.microsoft.com/office/drawing/2014/chart" uri="{C3380CC4-5D6E-409C-BE32-E72D297353CC}">
                <c16:uniqueId val="{000000A7-2993-41DE-A2CB-63102DE87051}"/>
              </c:ext>
            </c:extLst>
          </c:dPt>
          <c:dPt>
            <c:idx val="83"/>
            <c:invertIfNegative val="1"/>
            <c:bubble3D val="0"/>
            <c:spPr>
              <a:solidFill>
                <a:srgbClr val="AEABAB"/>
              </a:solidFill>
            </c:spPr>
            <c:extLst>
              <c:ext xmlns:c16="http://schemas.microsoft.com/office/drawing/2014/chart" uri="{C3380CC4-5D6E-409C-BE32-E72D297353CC}">
                <c16:uniqueId val="{000000A9-2993-41DE-A2CB-63102DE87051}"/>
              </c:ext>
            </c:extLst>
          </c:dPt>
          <c:dPt>
            <c:idx val="84"/>
            <c:invertIfNegative val="1"/>
            <c:bubble3D val="0"/>
            <c:spPr>
              <a:solidFill>
                <a:srgbClr val="AEABAB"/>
              </a:solidFill>
            </c:spPr>
            <c:extLst>
              <c:ext xmlns:c16="http://schemas.microsoft.com/office/drawing/2014/chart" uri="{C3380CC4-5D6E-409C-BE32-E72D297353CC}">
                <c16:uniqueId val="{000000AB-2993-41DE-A2CB-63102DE87051}"/>
              </c:ext>
            </c:extLst>
          </c:dPt>
          <c:dPt>
            <c:idx val="85"/>
            <c:invertIfNegative val="1"/>
            <c:bubble3D val="0"/>
            <c:spPr>
              <a:solidFill>
                <a:srgbClr val="AEABAB"/>
              </a:solidFill>
            </c:spPr>
            <c:extLst>
              <c:ext xmlns:c16="http://schemas.microsoft.com/office/drawing/2014/chart" uri="{C3380CC4-5D6E-409C-BE32-E72D297353CC}">
                <c16:uniqueId val="{000000AD-2993-41DE-A2CB-63102DE87051}"/>
              </c:ext>
            </c:extLst>
          </c:dPt>
          <c:dPt>
            <c:idx val="86"/>
            <c:invertIfNegative val="1"/>
            <c:bubble3D val="0"/>
            <c:spPr>
              <a:solidFill>
                <a:srgbClr val="AEABAB"/>
              </a:solidFill>
            </c:spPr>
            <c:extLst>
              <c:ext xmlns:c16="http://schemas.microsoft.com/office/drawing/2014/chart" uri="{C3380CC4-5D6E-409C-BE32-E72D297353CC}">
                <c16:uniqueId val="{000000AF-2993-41DE-A2CB-63102DE87051}"/>
              </c:ext>
            </c:extLst>
          </c:dPt>
          <c:dPt>
            <c:idx val="87"/>
            <c:invertIfNegative val="1"/>
            <c:bubble3D val="0"/>
            <c:spPr>
              <a:solidFill>
                <a:srgbClr val="AEABAB"/>
              </a:solidFill>
            </c:spPr>
            <c:extLst>
              <c:ext xmlns:c16="http://schemas.microsoft.com/office/drawing/2014/chart" uri="{C3380CC4-5D6E-409C-BE32-E72D297353CC}">
                <c16:uniqueId val="{000000B1-2993-41DE-A2CB-63102DE87051}"/>
              </c:ext>
            </c:extLst>
          </c:dPt>
          <c:dPt>
            <c:idx val="88"/>
            <c:invertIfNegative val="1"/>
            <c:bubble3D val="0"/>
            <c:spPr>
              <a:solidFill>
                <a:srgbClr val="AEABAB"/>
              </a:solidFill>
            </c:spPr>
            <c:extLst>
              <c:ext xmlns:c16="http://schemas.microsoft.com/office/drawing/2014/chart" uri="{C3380CC4-5D6E-409C-BE32-E72D297353CC}">
                <c16:uniqueId val="{000000B3-2993-41DE-A2CB-63102DE87051}"/>
              </c:ext>
            </c:extLst>
          </c:dPt>
          <c:dPt>
            <c:idx val="89"/>
            <c:invertIfNegative val="1"/>
            <c:bubble3D val="0"/>
            <c:spPr>
              <a:solidFill>
                <a:srgbClr val="AEABAB"/>
              </a:solidFill>
            </c:spPr>
            <c:extLst>
              <c:ext xmlns:c16="http://schemas.microsoft.com/office/drawing/2014/chart" uri="{C3380CC4-5D6E-409C-BE32-E72D297353CC}">
                <c16:uniqueId val="{000000B5-2993-41DE-A2CB-63102DE87051}"/>
              </c:ext>
            </c:extLst>
          </c:dPt>
          <c:dPt>
            <c:idx val="90"/>
            <c:invertIfNegative val="1"/>
            <c:bubble3D val="0"/>
            <c:spPr>
              <a:solidFill>
                <a:srgbClr val="AEABAB"/>
              </a:solidFill>
            </c:spPr>
            <c:extLst>
              <c:ext xmlns:c16="http://schemas.microsoft.com/office/drawing/2014/chart" uri="{C3380CC4-5D6E-409C-BE32-E72D297353CC}">
                <c16:uniqueId val="{000000B7-2993-41DE-A2CB-63102DE87051}"/>
              </c:ext>
            </c:extLst>
          </c:dPt>
          <c:dPt>
            <c:idx val="91"/>
            <c:invertIfNegative val="1"/>
            <c:bubble3D val="0"/>
            <c:spPr>
              <a:solidFill>
                <a:srgbClr val="AEABAB"/>
              </a:solidFill>
            </c:spPr>
            <c:extLst>
              <c:ext xmlns:c16="http://schemas.microsoft.com/office/drawing/2014/chart" uri="{C3380CC4-5D6E-409C-BE32-E72D297353CC}">
                <c16:uniqueId val="{000000B9-2993-41DE-A2CB-63102DE87051}"/>
              </c:ext>
            </c:extLst>
          </c:dPt>
          <c:dPt>
            <c:idx val="92"/>
            <c:invertIfNegative val="1"/>
            <c:bubble3D val="0"/>
            <c:spPr>
              <a:solidFill>
                <a:srgbClr val="AEABAB"/>
              </a:solidFill>
            </c:spPr>
            <c:extLst>
              <c:ext xmlns:c16="http://schemas.microsoft.com/office/drawing/2014/chart" uri="{C3380CC4-5D6E-409C-BE32-E72D297353CC}">
                <c16:uniqueId val="{000000BB-2993-41DE-A2CB-63102DE87051}"/>
              </c:ext>
            </c:extLst>
          </c:dPt>
          <c:dPt>
            <c:idx val="93"/>
            <c:invertIfNegative val="1"/>
            <c:bubble3D val="0"/>
            <c:spPr>
              <a:solidFill>
                <a:srgbClr val="AEABAB"/>
              </a:solidFill>
            </c:spPr>
            <c:extLst>
              <c:ext xmlns:c16="http://schemas.microsoft.com/office/drawing/2014/chart" uri="{C3380CC4-5D6E-409C-BE32-E72D297353CC}">
                <c16:uniqueId val="{000000BD-2993-41DE-A2CB-63102DE87051}"/>
              </c:ext>
            </c:extLst>
          </c:dPt>
          <c:dPt>
            <c:idx val="94"/>
            <c:invertIfNegative val="1"/>
            <c:bubble3D val="0"/>
            <c:spPr>
              <a:solidFill>
                <a:srgbClr val="AEABAB"/>
              </a:solidFill>
            </c:spPr>
            <c:extLst>
              <c:ext xmlns:c16="http://schemas.microsoft.com/office/drawing/2014/chart" uri="{C3380CC4-5D6E-409C-BE32-E72D297353CC}">
                <c16:uniqueId val="{000000BF-2993-41DE-A2CB-63102DE87051}"/>
              </c:ext>
            </c:extLst>
          </c:dPt>
          <c:dPt>
            <c:idx val="95"/>
            <c:invertIfNegative val="1"/>
            <c:bubble3D val="0"/>
            <c:spPr>
              <a:solidFill>
                <a:srgbClr val="AEABAB"/>
              </a:solidFill>
            </c:spPr>
            <c:extLst>
              <c:ext xmlns:c16="http://schemas.microsoft.com/office/drawing/2014/chart" uri="{C3380CC4-5D6E-409C-BE32-E72D297353CC}">
                <c16:uniqueId val="{000000C1-2993-41DE-A2CB-63102DE87051}"/>
              </c:ext>
            </c:extLst>
          </c:dPt>
          <c:dPt>
            <c:idx val="96"/>
            <c:invertIfNegative val="1"/>
            <c:bubble3D val="0"/>
            <c:spPr>
              <a:solidFill>
                <a:srgbClr val="AEABAB"/>
              </a:solidFill>
            </c:spPr>
            <c:extLst>
              <c:ext xmlns:c16="http://schemas.microsoft.com/office/drawing/2014/chart" uri="{C3380CC4-5D6E-409C-BE32-E72D297353CC}">
                <c16:uniqueId val="{000000C3-2993-41DE-A2CB-63102DE87051}"/>
              </c:ext>
            </c:extLst>
          </c:dPt>
          <c:dPt>
            <c:idx val="97"/>
            <c:invertIfNegative val="1"/>
            <c:bubble3D val="0"/>
            <c:spPr>
              <a:solidFill>
                <a:srgbClr val="AEABAB"/>
              </a:solidFill>
            </c:spPr>
            <c:extLst>
              <c:ext xmlns:c16="http://schemas.microsoft.com/office/drawing/2014/chart" uri="{C3380CC4-5D6E-409C-BE32-E72D297353CC}">
                <c16:uniqueId val="{000000C5-2993-41DE-A2CB-63102DE87051}"/>
              </c:ext>
            </c:extLst>
          </c:dPt>
          <c:dPt>
            <c:idx val="98"/>
            <c:invertIfNegative val="1"/>
            <c:bubble3D val="0"/>
            <c:spPr>
              <a:solidFill>
                <a:srgbClr val="AEABAB"/>
              </a:solidFill>
            </c:spPr>
            <c:extLst>
              <c:ext xmlns:c16="http://schemas.microsoft.com/office/drawing/2014/chart" uri="{C3380CC4-5D6E-409C-BE32-E72D297353CC}">
                <c16:uniqueId val="{000000C7-2993-41DE-A2CB-63102DE87051}"/>
              </c:ext>
            </c:extLst>
          </c:dPt>
          <c:dPt>
            <c:idx val="99"/>
            <c:invertIfNegative val="1"/>
            <c:bubble3D val="0"/>
            <c:spPr>
              <a:solidFill>
                <a:srgbClr val="AEABAB"/>
              </a:solidFill>
            </c:spPr>
            <c:extLst>
              <c:ext xmlns:c16="http://schemas.microsoft.com/office/drawing/2014/chart" uri="{C3380CC4-5D6E-409C-BE32-E72D297353CC}">
                <c16:uniqueId val="{000000C9-2993-41DE-A2CB-63102DE87051}"/>
              </c:ext>
            </c:extLst>
          </c:dPt>
          <c:dPt>
            <c:idx val="100"/>
            <c:invertIfNegative val="1"/>
            <c:bubble3D val="0"/>
            <c:spPr>
              <a:solidFill>
                <a:srgbClr val="AEABAB"/>
              </a:solidFill>
            </c:spPr>
            <c:extLst>
              <c:ext xmlns:c16="http://schemas.microsoft.com/office/drawing/2014/chart" uri="{C3380CC4-5D6E-409C-BE32-E72D297353CC}">
                <c16:uniqueId val="{000000CB-2993-41DE-A2CB-63102DE87051}"/>
              </c:ext>
            </c:extLst>
          </c:dPt>
          <c:dPt>
            <c:idx val="101"/>
            <c:invertIfNegative val="1"/>
            <c:bubble3D val="0"/>
            <c:spPr>
              <a:solidFill>
                <a:srgbClr val="AEABAB"/>
              </a:solidFill>
            </c:spPr>
            <c:extLst>
              <c:ext xmlns:c16="http://schemas.microsoft.com/office/drawing/2014/chart" uri="{C3380CC4-5D6E-409C-BE32-E72D297353CC}">
                <c16:uniqueId val="{000000CD-2993-41DE-A2CB-63102DE87051}"/>
              </c:ext>
            </c:extLst>
          </c:dPt>
          <c:dPt>
            <c:idx val="102"/>
            <c:invertIfNegative val="1"/>
            <c:bubble3D val="0"/>
            <c:spPr>
              <a:solidFill>
                <a:srgbClr val="AEABAB"/>
              </a:solidFill>
            </c:spPr>
            <c:extLst>
              <c:ext xmlns:c16="http://schemas.microsoft.com/office/drawing/2014/chart" uri="{C3380CC4-5D6E-409C-BE32-E72D297353CC}">
                <c16:uniqueId val="{000000CF-2993-41DE-A2CB-63102DE87051}"/>
              </c:ext>
            </c:extLst>
          </c:dPt>
          <c:dPt>
            <c:idx val="103"/>
            <c:invertIfNegative val="1"/>
            <c:bubble3D val="0"/>
            <c:spPr>
              <a:solidFill>
                <a:srgbClr val="AEABAB"/>
              </a:solidFill>
            </c:spPr>
            <c:extLst>
              <c:ext xmlns:c16="http://schemas.microsoft.com/office/drawing/2014/chart" uri="{C3380CC4-5D6E-409C-BE32-E72D297353CC}">
                <c16:uniqueId val="{000000D1-2993-41DE-A2CB-63102DE87051}"/>
              </c:ext>
            </c:extLst>
          </c:dPt>
          <c:dPt>
            <c:idx val="104"/>
            <c:invertIfNegative val="1"/>
            <c:bubble3D val="0"/>
            <c:spPr>
              <a:solidFill>
                <a:srgbClr val="AEABAB"/>
              </a:solidFill>
            </c:spPr>
            <c:extLst>
              <c:ext xmlns:c16="http://schemas.microsoft.com/office/drawing/2014/chart" uri="{C3380CC4-5D6E-409C-BE32-E72D297353CC}">
                <c16:uniqueId val="{000000D3-2993-41DE-A2CB-63102DE87051}"/>
              </c:ext>
            </c:extLst>
          </c:dPt>
          <c:dPt>
            <c:idx val="105"/>
            <c:invertIfNegative val="1"/>
            <c:bubble3D val="0"/>
            <c:spPr>
              <a:solidFill>
                <a:srgbClr val="AEABAB"/>
              </a:solidFill>
            </c:spPr>
            <c:extLst>
              <c:ext xmlns:c16="http://schemas.microsoft.com/office/drawing/2014/chart" uri="{C3380CC4-5D6E-409C-BE32-E72D297353CC}">
                <c16:uniqueId val="{000000D5-2993-41DE-A2CB-63102DE87051}"/>
              </c:ext>
            </c:extLst>
          </c:dPt>
          <c:dPt>
            <c:idx val="106"/>
            <c:invertIfNegative val="1"/>
            <c:bubble3D val="0"/>
            <c:spPr>
              <a:solidFill>
                <a:srgbClr val="AEABAB"/>
              </a:solidFill>
            </c:spPr>
            <c:extLst>
              <c:ext xmlns:c16="http://schemas.microsoft.com/office/drawing/2014/chart" uri="{C3380CC4-5D6E-409C-BE32-E72D297353CC}">
                <c16:uniqueId val="{000000D7-2993-41DE-A2CB-63102DE87051}"/>
              </c:ext>
            </c:extLst>
          </c:dPt>
          <c:dPt>
            <c:idx val="107"/>
            <c:invertIfNegative val="1"/>
            <c:bubble3D val="0"/>
            <c:spPr>
              <a:solidFill>
                <a:srgbClr val="AEABAB"/>
              </a:solidFill>
            </c:spPr>
            <c:extLst>
              <c:ext xmlns:c16="http://schemas.microsoft.com/office/drawing/2014/chart" uri="{C3380CC4-5D6E-409C-BE32-E72D297353CC}">
                <c16:uniqueId val="{000000D9-2993-41DE-A2CB-63102DE87051}"/>
              </c:ext>
            </c:extLst>
          </c:dPt>
          <c:dPt>
            <c:idx val="108"/>
            <c:invertIfNegative val="1"/>
            <c:bubble3D val="0"/>
            <c:spPr>
              <a:solidFill>
                <a:srgbClr val="AEABAB"/>
              </a:solidFill>
            </c:spPr>
            <c:extLst>
              <c:ext xmlns:c16="http://schemas.microsoft.com/office/drawing/2014/chart" uri="{C3380CC4-5D6E-409C-BE32-E72D297353CC}">
                <c16:uniqueId val="{000000DB-2993-41DE-A2CB-63102DE87051}"/>
              </c:ext>
            </c:extLst>
          </c:dPt>
          <c:dPt>
            <c:idx val="109"/>
            <c:invertIfNegative val="1"/>
            <c:bubble3D val="0"/>
            <c:spPr>
              <a:solidFill>
                <a:srgbClr val="AEABAB"/>
              </a:solidFill>
            </c:spPr>
            <c:extLst>
              <c:ext xmlns:c16="http://schemas.microsoft.com/office/drawing/2014/chart" uri="{C3380CC4-5D6E-409C-BE32-E72D297353CC}">
                <c16:uniqueId val="{000000DD-2993-41DE-A2CB-63102DE87051}"/>
              </c:ext>
            </c:extLst>
          </c:dPt>
          <c:dPt>
            <c:idx val="110"/>
            <c:invertIfNegative val="1"/>
            <c:bubble3D val="0"/>
            <c:spPr>
              <a:solidFill>
                <a:srgbClr val="AEABAB"/>
              </a:solidFill>
            </c:spPr>
            <c:extLst>
              <c:ext xmlns:c16="http://schemas.microsoft.com/office/drawing/2014/chart" uri="{C3380CC4-5D6E-409C-BE32-E72D297353CC}">
                <c16:uniqueId val="{000000DF-2993-41DE-A2CB-63102DE87051}"/>
              </c:ext>
            </c:extLst>
          </c:dPt>
          <c:dPt>
            <c:idx val="111"/>
            <c:invertIfNegative val="1"/>
            <c:bubble3D val="0"/>
            <c:spPr>
              <a:solidFill>
                <a:srgbClr val="AEABAB"/>
              </a:solidFill>
            </c:spPr>
            <c:extLst>
              <c:ext xmlns:c16="http://schemas.microsoft.com/office/drawing/2014/chart" uri="{C3380CC4-5D6E-409C-BE32-E72D297353CC}">
                <c16:uniqueId val="{000000E1-2993-41DE-A2CB-63102DE87051}"/>
              </c:ext>
            </c:extLst>
          </c:dPt>
          <c:dPt>
            <c:idx val="112"/>
            <c:invertIfNegative val="1"/>
            <c:bubble3D val="0"/>
            <c:spPr>
              <a:solidFill>
                <a:srgbClr val="AEABAB"/>
              </a:solidFill>
            </c:spPr>
            <c:extLst>
              <c:ext xmlns:c16="http://schemas.microsoft.com/office/drawing/2014/chart" uri="{C3380CC4-5D6E-409C-BE32-E72D297353CC}">
                <c16:uniqueId val="{000000E3-2993-41DE-A2CB-63102DE87051}"/>
              </c:ext>
            </c:extLst>
          </c:dPt>
          <c:dPt>
            <c:idx val="113"/>
            <c:invertIfNegative val="1"/>
            <c:bubble3D val="0"/>
            <c:spPr>
              <a:solidFill>
                <a:srgbClr val="AEABAB"/>
              </a:solidFill>
            </c:spPr>
            <c:extLst>
              <c:ext xmlns:c16="http://schemas.microsoft.com/office/drawing/2014/chart" uri="{C3380CC4-5D6E-409C-BE32-E72D297353CC}">
                <c16:uniqueId val="{000000E5-2993-41DE-A2CB-63102DE87051}"/>
              </c:ext>
            </c:extLst>
          </c:dPt>
          <c:dPt>
            <c:idx val="114"/>
            <c:invertIfNegative val="1"/>
            <c:bubble3D val="0"/>
            <c:spPr>
              <a:solidFill>
                <a:srgbClr val="AEABAB"/>
              </a:solidFill>
            </c:spPr>
            <c:extLst>
              <c:ext xmlns:c16="http://schemas.microsoft.com/office/drawing/2014/chart" uri="{C3380CC4-5D6E-409C-BE32-E72D297353CC}">
                <c16:uniqueId val="{000000E7-2993-41DE-A2CB-63102DE87051}"/>
              </c:ext>
            </c:extLst>
          </c:dPt>
          <c:dPt>
            <c:idx val="115"/>
            <c:invertIfNegative val="1"/>
            <c:bubble3D val="0"/>
            <c:spPr>
              <a:solidFill>
                <a:srgbClr val="AEABAB"/>
              </a:solidFill>
            </c:spPr>
            <c:extLst>
              <c:ext xmlns:c16="http://schemas.microsoft.com/office/drawing/2014/chart" uri="{C3380CC4-5D6E-409C-BE32-E72D297353CC}">
                <c16:uniqueId val="{000000E9-2993-41DE-A2CB-63102DE87051}"/>
              </c:ext>
            </c:extLst>
          </c:dPt>
          <c:dPt>
            <c:idx val="116"/>
            <c:invertIfNegative val="1"/>
            <c:bubble3D val="0"/>
            <c:spPr>
              <a:solidFill>
                <a:srgbClr val="AEABAB"/>
              </a:solidFill>
            </c:spPr>
            <c:extLst>
              <c:ext xmlns:c16="http://schemas.microsoft.com/office/drawing/2014/chart" uri="{C3380CC4-5D6E-409C-BE32-E72D297353CC}">
                <c16:uniqueId val="{000000EB-2993-41DE-A2CB-63102DE87051}"/>
              </c:ext>
            </c:extLst>
          </c:dPt>
          <c:dPt>
            <c:idx val="117"/>
            <c:invertIfNegative val="1"/>
            <c:bubble3D val="0"/>
            <c:spPr>
              <a:solidFill>
                <a:srgbClr val="AEABAB"/>
              </a:solidFill>
            </c:spPr>
            <c:extLst>
              <c:ext xmlns:c16="http://schemas.microsoft.com/office/drawing/2014/chart" uri="{C3380CC4-5D6E-409C-BE32-E72D297353CC}">
                <c16:uniqueId val="{000000ED-2993-41DE-A2CB-63102DE87051}"/>
              </c:ext>
            </c:extLst>
          </c:dPt>
          <c:dPt>
            <c:idx val="118"/>
            <c:invertIfNegative val="1"/>
            <c:bubble3D val="0"/>
            <c:spPr>
              <a:solidFill>
                <a:srgbClr val="AEABAB"/>
              </a:solidFill>
            </c:spPr>
            <c:extLst>
              <c:ext xmlns:c16="http://schemas.microsoft.com/office/drawing/2014/chart" uri="{C3380CC4-5D6E-409C-BE32-E72D297353CC}">
                <c16:uniqueId val="{000000EF-2993-41DE-A2CB-63102DE87051}"/>
              </c:ext>
            </c:extLst>
          </c:dPt>
          <c:dPt>
            <c:idx val="119"/>
            <c:invertIfNegative val="1"/>
            <c:bubble3D val="0"/>
            <c:spPr>
              <a:solidFill>
                <a:srgbClr val="AEABAB"/>
              </a:solidFill>
            </c:spPr>
            <c:extLst>
              <c:ext xmlns:c16="http://schemas.microsoft.com/office/drawing/2014/chart" uri="{C3380CC4-5D6E-409C-BE32-E72D297353CC}">
                <c16:uniqueId val="{000000F1-2993-41DE-A2CB-63102DE87051}"/>
              </c:ext>
            </c:extLst>
          </c:dPt>
          <c:dPt>
            <c:idx val="120"/>
            <c:invertIfNegative val="1"/>
            <c:bubble3D val="0"/>
            <c:spPr>
              <a:solidFill>
                <a:srgbClr val="AEABAB"/>
              </a:solidFill>
            </c:spPr>
            <c:extLst>
              <c:ext xmlns:c16="http://schemas.microsoft.com/office/drawing/2014/chart" uri="{C3380CC4-5D6E-409C-BE32-E72D297353CC}">
                <c16:uniqueId val="{000000F3-2993-41DE-A2CB-63102DE87051}"/>
              </c:ext>
            </c:extLst>
          </c:dPt>
          <c:dPt>
            <c:idx val="121"/>
            <c:invertIfNegative val="1"/>
            <c:bubble3D val="0"/>
            <c:spPr>
              <a:solidFill>
                <a:srgbClr val="AEABAB"/>
              </a:solidFill>
            </c:spPr>
            <c:extLst>
              <c:ext xmlns:c16="http://schemas.microsoft.com/office/drawing/2014/chart" uri="{C3380CC4-5D6E-409C-BE32-E72D297353CC}">
                <c16:uniqueId val="{000000F5-2993-41DE-A2CB-63102DE87051}"/>
              </c:ext>
            </c:extLst>
          </c:dPt>
          <c:dPt>
            <c:idx val="122"/>
            <c:invertIfNegative val="1"/>
            <c:bubble3D val="0"/>
            <c:spPr>
              <a:solidFill>
                <a:srgbClr val="AEABAB"/>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124</c:f>
              <c:strCache>
                <c:ptCount val="123"/>
                <c:pt idx="0">
                  <c:v>Tartare</c:v>
                </c:pt>
                <c:pt idx="1">
                  <c:v>St Moret</c:v>
                </c:pt>
                <c:pt idx="2">
                  <c:v>St Moret</c:v>
                </c:pt>
                <c:pt idx="3">
                  <c:v>St Moret</c:v>
                </c:pt>
                <c:pt idx="4">
                  <c:v>St Moret</c:v>
                </c:pt>
                <c:pt idx="5">
                  <c:v>Carre Frais</c:v>
                </c:pt>
                <c:pt idx="6">
                  <c:v>St Moret</c:v>
                </c:pt>
                <c:pt idx="7">
                  <c:v>Paysan Bret</c:v>
                </c:pt>
                <c:pt idx="8">
                  <c:v>Philadelphi</c:v>
                </c:pt>
                <c:pt idx="9">
                  <c:v>Boursin</c:v>
                </c:pt>
                <c:pt idx="10">
                  <c:v>Carre Frais</c:v>
                </c:pt>
                <c:pt idx="11">
                  <c:v>Paysan Bret</c:v>
                </c:pt>
                <c:pt idx="12">
                  <c:v>St Moret</c:v>
                </c:pt>
                <c:pt idx="13">
                  <c:v>Paysan Bret</c:v>
                </c:pt>
                <c:pt idx="14">
                  <c:v>Tartare</c:v>
                </c:pt>
                <c:pt idx="15">
                  <c:v>Boursin</c:v>
                </c:pt>
                <c:pt idx="16">
                  <c:v>Carre Frais</c:v>
                </c:pt>
                <c:pt idx="17">
                  <c:v>Boursin</c:v>
                </c:pt>
                <c:pt idx="18">
                  <c:v>Private Lab</c:v>
                </c:pt>
                <c:pt idx="19">
                  <c:v>St Moret</c:v>
                </c:pt>
                <c:pt idx="20">
                  <c:v>St Moret</c:v>
                </c:pt>
                <c:pt idx="21">
                  <c:v>Philadelphi</c:v>
                </c:pt>
                <c:pt idx="22">
                  <c:v>Philadelphi</c:v>
                </c:pt>
                <c:pt idx="23">
                  <c:v>All Others</c:v>
                </c:pt>
                <c:pt idx="24">
                  <c:v>Tartare</c:v>
                </c:pt>
                <c:pt idx="25">
                  <c:v>St Moret</c:v>
                </c:pt>
                <c:pt idx="26">
                  <c:v>Paysan Bret</c:v>
                </c:pt>
                <c:pt idx="27">
                  <c:v>Paysan Bret</c:v>
                </c:pt>
                <c:pt idx="28">
                  <c:v>Savencia: A</c:v>
                </c:pt>
                <c:pt idx="29">
                  <c:v>Paysan Bret</c:v>
                </c:pt>
                <c:pt idx="30">
                  <c:v>Private Lab</c:v>
                </c:pt>
                <c:pt idx="31">
                  <c:v>Paysan Bret</c:v>
                </c:pt>
                <c:pt idx="32">
                  <c:v>Boursin</c:v>
                </c:pt>
                <c:pt idx="33">
                  <c:v>Rondele</c:v>
                </c:pt>
                <c:pt idx="34">
                  <c:v>Boursin</c:v>
                </c:pt>
                <c:pt idx="35">
                  <c:v>Private Lab</c:v>
                </c:pt>
                <c:pt idx="36">
                  <c:v>Private Lab</c:v>
                </c:pt>
                <c:pt idx="37">
                  <c:v>Tartare</c:v>
                </c:pt>
                <c:pt idx="38">
                  <c:v>Kiri</c:v>
                </c:pt>
                <c:pt idx="39">
                  <c:v>Boursin</c:v>
                </c:pt>
                <c:pt idx="40">
                  <c:v>Paysan Bret</c:v>
                </c:pt>
                <c:pt idx="41">
                  <c:v>Tartare</c:v>
                </c:pt>
                <c:pt idx="42">
                  <c:v>Boursin</c:v>
                </c:pt>
                <c:pt idx="43">
                  <c:v>Tartare</c:v>
                </c:pt>
                <c:pt idx="44">
                  <c:v>Lactalis: A</c:v>
                </c:pt>
                <c:pt idx="45">
                  <c:v>St Moret</c:v>
                </c:pt>
                <c:pt idx="46">
                  <c:v>Philadelphi</c:v>
                </c:pt>
                <c:pt idx="47">
                  <c:v>Tartare</c:v>
                </c:pt>
                <c:pt idx="48">
                  <c:v>Kiri</c:v>
                </c:pt>
                <c:pt idx="49">
                  <c:v>Paysan Bret</c:v>
                </c:pt>
                <c:pt idx="50">
                  <c:v>All Others</c:v>
                </c:pt>
                <c:pt idx="51">
                  <c:v>President</c:v>
                </c:pt>
                <c:pt idx="52">
                  <c:v>Private Lab</c:v>
                </c:pt>
                <c:pt idx="53">
                  <c:v>Rondele</c:v>
                </c:pt>
                <c:pt idx="54">
                  <c:v>Private Lab</c:v>
                </c:pt>
                <c:pt idx="55">
                  <c:v>Private Lab</c:v>
                </c:pt>
                <c:pt idx="56">
                  <c:v>Boursin</c:v>
                </c:pt>
                <c:pt idx="57">
                  <c:v>Kiri</c:v>
                </c:pt>
                <c:pt idx="58">
                  <c:v>Saint Agur</c:v>
                </c:pt>
                <c:pt idx="59">
                  <c:v>Boursin</c:v>
                </c:pt>
                <c:pt idx="60">
                  <c:v>Rondele</c:v>
                </c:pt>
                <c:pt idx="61">
                  <c:v>All Others</c:v>
                </c:pt>
                <c:pt idx="62">
                  <c:v>Triballat R</c:v>
                </c:pt>
                <c:pt idx="63">
                  <c:v>Boursin</c:v>
                </c:pt>
                <c:pt idx="64">
                  <c:v>St Moret</c:v>
                </c:pt>
                <c:pt idx="65">
                  <c:v>Saint Agur</c:v>
                </c:pt>
                <c:pt idx="66">
                  <c:v>St Moret</c:v>
                </c:pt>
                <c:pt idx="67">
                  <c:v>President</c:v>
                </c:pt>
                <c:pt idx="68">
                  <c:v>Tartare</c:v>
                </c:pt>
                <c:pt idx="69">
                  <c:v>Lactalis: A</c:v>
                </c:pt>
                <c:pt idx="70">
                  <c:v>Private Lab</c:v>
                </c:pt>
                <c:pt idx="71">
                  <c:v>Boursin</c:v>
                </c:pt>
                <c:pt idx="72">
                  <c:v>Boursin</c:v>
                </c:pt>
                <c:pt idx="73">
                  <c:v>Lactalis: A</c:v>
                </c:pt>
                <c:pt idx="74">
                  <c:v>Carre Frais</c:v>
                </c:pt>
                <c:pt idx="75">
                  <c:v>Tartare</c:v>
                </c:pt>
                <c:pt idx="76">
                  <c:v>Paysan Bret</c:v>
                </c:pt>
                <c:pt idx="77">
                  <c:v>All Others</c:v>
                </c:pt>
                <c:pt idx="78">
                  <c:v>Boursin</c:v>
                </c:pt>
                <c:pt idx="79">
                  <c:v>St Moret</c:v>
                </c:pt>
                <c:pt idx="80">
                  <c:v>Boursin</c:v>
                </c:pt>
                <c:pt idx="81">
                  <c:v>Boursin</c:v>
                </c:pt>
                <c:pt idx="82">
                  <c:v>Private Lab</c:v>
                </c:pt>
                <c:pt idx="83">
                  <c:v>Private Lab</c:v>
                </c:pt>
                <c:pt idx="84">
                  <c:v>Tartare</c:v>
                </c:pt>
                <c:pt idx="85">
                  <c:v>Philadelphi</c:v>
                </c:pt>
                <c:pt idx="86">
                  <c:v>All Others</c:v>
                </c:pt>
                <c:pt idx="87">
                  <c:v>All Others</c:v>
                </c:pt>
                <c:pt idx="88">
                  <c:v>All Others</c:v>
                </c:pt>
                <c:pt idx="89">
                  <c:v>All Others</c:v>
                </c:pt>
                <c:pt idx="90">
                  <c:v>All Others</c:v>
                </c:pt>
                <c:pt idx="91">
                  <c:v>All Others</c:v>
                </c:pt>
                <c:pt idx="92">
                  <c:v>All Others</c:v>
                </c:pt>
                <c:pt idx="93">
                  <c:v>Boursin</c:v>
                </c:pt>
                <c:pt idx="94">
                  <c:v>Boursin</c:v>
                </c:pt>
                <c:pt idx="95">
                  <c:v>All Others</c:v>
                </c:pt>
                <c:pt idx="96">
                  <c:v>All Others</c:v>
                </c:pt>
                <c:pt idx="97">
                  <c:v>Tartare</c:v>
                </c:pt>
                <c:pt idx="98">
                  <c:v>All Others</c:v>
                </c:pt>
                <c:pt idx="99">
                  <c:v>St Moret</c:v>
                </c:pt>
                <c:pt idx="100">
                  <c:v>Carre Frais</c:v>
                </c:pt>
                <c:pt idx="101">
                  <c:v>All Others</c:v>
                </c:pt>
                <c:pt idx="102">
                  <c:v>All Others</c:v>
                </c:pt>
                <c:pt idx="103">
                  <c:v>Savencia: A</c:v>
                </c:pt>
                <c:pt idx="104">
                  <c:v>Savencia: A</c:v>
                </c:pt>
                <c:pt idx="105">
                  <c:v>All Others</c:v>
                </c:pt>
                <c:pt idx="106">
                  <c:v>All Others</c:v>
                </c:pt>
                <c:pt idx="107">
                  <c:v>All Others</c:v>
                </c:pt>
                <c:pt idx="108">
                  <c:v>All Others</c:v>
                </c:pt>
                <c:pt idx="109">
                  <c:v>All Others</c:v>
                </c:pt>
                <c:pt idx="110">
                  <c:v>All Others</c:v>
                </c:pt>
                <c:pt idx="111">
                  <c:v>All Others</c:v>
                </c:pt>
                <c:pt idx="112">
                  <c:v>All Others</c:v>
                </c:pt>
                <c:pt idx="113">
                  <c:v>Rondele</c:v>
                </c:pt>
                <c:pt idx="114">
                  <c:v>All Others</c:v>
                </c:pt>
                <c:pt idx="115">
                  <c:v>Rondele</c:v>
                </c:pt>
                <c:pt idx="116">
                  <c:v>All Others</c:v>
                </c:pt>
                <c:pt idx="117">
                  <c:v>All Others</c:v>
                </c:pt>
                <c:pt idx="118">
                  <c:v>All Others</c:v>
                </c:pt>
                <c:pt idx="119">
                  <c:v>All Others</c:v>
                </c:pt>
                <c:pt idx="120">
                  <c:v>All Others</c:v>
                </c:pt>
                <c:pt idx="121">
                  <c:v>All Others</c:v>
                </c:pt>
                <c:pt idx="122">
                  <c:v>All Others</c:v>
                </c:pt>
              </c:strCache>
            </c:strRef>
          </c:cat>
          <c:val>
            <c:numRef>
              <c:f>Sheet1!$C$2:$C$124</c:f>
              <c:numCache>
                <c:formatCode>General</c:formatCode>
                <c:ptCount val="123"/>
                <c:pt idx="0">
                  <c:v>0.05438652854296924</c:v>
                </c:pt>
                <c:pt idx="1">
                  <c:v>0.09821740808727883</c:v>
                </c:pt>
                <c:pt idx="2">
                  <c:v>0.140242301330213</c:v>
                </c:pt>
                <c:pt idx="3">
                  <c:v>0.1772242920878161</c:v>
                </c:pt>
                <c:pt idx="4">
                  <c:v>0.21009633244555664</c:v>
                </c:pt>
                <c:pt idx="5">
                  <c:v>0.24254892754878843</c:v>
                </c:pt>
                <c:pt idx="6">
                  <c:v>0.27406982095629007</c:v>
                </c:pt>
                <c:pt idx="7">
                  <c:v>0.33661046366468267</c:v>
                </c:pt>
                <c:pt idx="8">
                  <c:v>0.3670621125052285</c:v>
                </c:pt>
                <c:pt idx="9">
                  <c:v>0.3958390457993561</c:v>
                </c:pt>
                <c:pt idx="10">
                  <c:v>0.42440288848096613</c:v>
                </c:pt>
                <c:pt idx="11">
                  <c:v>0.4505283098320566</c:v>
                </c:pt>
                <c:pt idx="12">
                  <c:v>0.47622837682874547</c:v>
                </c:pt>
                <c:pt idx="13">
                  <c:v>0.5013277122264319</c:v>
                </c:pt>
                <c:pt idx="14">
                  <c:v>0.5501156005480741</c:v>
                </c:pt>
                <c:pt idx="15">
                  <c:v>0.5733326153676126</c:v>
                </c:pt>
                <c:pt idx="16">
                  <c:v>0.5934041941298639</c:v>
                </c:pt>
                <c:pt idx="17">
                  <c:v>0.6130130076834432</c:v>
                </c:pt>
                <c:pt idx="18">
                  <c:v>0.6311854864439601</c:v>
                </c:pt>
                <c:pt idx="19">
                  <c:v>0.6493299121056684</c:v>
                </c:pt>
                <c:pt idx="20">
                  <c:v>0.6671598647481654</c:v>
                </c:pt>
                <c:pt idx="21">
                  <c:v>0.6842875420443548</c:v>
                </c:pt>
                <c:pt idx="22">
                  <c:v>0.7011514072733153</c:v>
                </c:pt>
                <c:pt idx="23">
                  <c:v>0.7297243455318935</c:v>
                </c:pt>
                <c:pt idx="24">
                  <c:v>0.7431509297051055</c:v>
                </c:pt>
                <c:pt idx="25">
                  <c:v>0.7561572014180226</c:v>
                </c:pt>
                <c:pt idx="26">
                  <c:v>0.7676807529120971</c:v>
                </c:pt>
                <c:pt idx="27">
                  <c:v>0.779028745653383</c:v>
                </c:pt>
                <c:pt idx="28">
                  <c:v>0.7894838592835588</c:v>
                </c:pt>
                <c:pt idx="29">
                  <c:v>0.7997706543208829</c:v>
                </c:pt>
                <c:pt idx="30">
                  <c:v>0.8094517162002509</c:v>
                </c:pt>
                <c:pt idx="31">
                  <c:v>0.8190230261287085</c:v>
                </c:pt>
                <c:pt idx="32">
                  <c:v>0.8276484767227847</c:v>
                </c:pt>
                <c:pt idx="33">
                  <c:v>0.8354652075021769</c:v>
                </c:pt>
                <c:pt idx="34">
                  <c:v>0.8429222495560106</c:v>
                </c:pt>
                <c:pt idx="35">
                  <c:v>0.8502087949187386</c:v>
                </c:pt>
                <c:pt idx="36">
                  <c:v>0.8572292896132543</c:v>
                </c:pt>
                <c:pt idx="37">
                  <c:v>0.8641416054278207</c:v>
                </c:pt>
                <c:pt idx="38">
                  <c:v>0.8776944184618832</c:v>
                </c:pt>
                <c:pt idx="39">
                  <c:v>0.8842393213691201</c:v>
                </c:pt>
                <c:pt idx="40">
                  <c:v>0.8902052736598945</c:v>
                </c:pt>
                <c:pt idx="41">
                  <c:v>0.8961693100309086</c:v>
                </c:pt>
                <c:pt idx="42">
                  <c:v>0.9014764077674209</c:v>
                </c:pt>
                <c:pt idx="43">
                  <c:v>0.9067817912599369</c:v>
                </c:pt>
                <c:pt idx="44">
                  <c:v>0.9118325389324977</c:v>
                </c:pt>
                <c:pt idx="45">
                  <c:v>0.9167247694543499</c:v>
                </c:pt>
                <c:pt idx="46">
                  <c:v>0.9215693843282602</c:v>
                </c:pt>
                <c:pt idx="47">
                  <c:v>0.9261533131092875</c:v>
                </c:pt>
                <c:pt idx="48">
                  <c:v>0.9305537371124143</c:v>
                </c:pt>
                <c:pt idx="49">
                  <c:v>0.9346435804385801</c:v>
                </c:pt>
                <c:pt idx="50">
                  <c:v>0.9386567063040212</c:v>
                </c:pt>
                <c:pt idx="51">
                  <c:v>0.9422782786731507</c:v>
                </c:pt>
                <c:pt idx="52">
                  <c:v>0.9458613914740358</c:v>
                </c:pt>
                <c:pt idx="53">
                  <c:v>0.9487111910284937</c:v>
                </c:pt>
                <c:pt idx="54">
                  <c:v>0.9514920376391509</c:v>
                </c:pt>
                <c:pt idx="55">
                  <c:v>0.9541082966585953</c:v>
                </c:pt>
                <c:pt idx="56">
                  <c:v>0.9566530011168801</c:v>
                </c:pt>
                <c:pt idx="57">
                  <c:v>0.9591706205200248</c:v>
                </c:pt>
                <c:pt idx="58">
                  <c:v>0.9616701092719624</c:v>
                </c:pt>
                <c:pt idx="59">
                  <c:v>0.9640986081548804</c:v>
                </c:pt>
                <c:pt idx="60">
                  <c:v>0.9663223052991918</c:v>
                </c:pt>
                <c:pt idx="61">
                  <c:v>0.9682648664281244</c:v>
                </c:pt>
                <c:pt idx="62">
                  <c:v>0.9701905271280119</c:v>
                </c:pt>
                <c:pt idx="63">
                  <c:v>0.9719462154937808</c:v>
                </c:pt>
                <c:pt idx="64">
                  <c:v>0.9736494278256891</c:v>
                </c:pt>
                <c:pt idx="65">
                  <c:v>0.9753409429632702</c:v>
                </c:pt>
                <c:pt idx="66">
                  <c:v>0.9768117844795977</c:v>
                </c:pt>
                <c:pt idx="67">
                  <c:v>0.9782377329708009</c:v>
                </c:pt>
                <c:pt idx="68">
                  <c:v>0.9795872665149257</c:v>
                </c:pt>
                <c:pt idx="69">
                  <c:v>0.9808797258177648</c:v>
                </c:pt>
                <c:pt idx="70">
                  <c:v>0.9821711364066298</c:v>
                </c:pt>
                <c:pt idx="71">
                  <c:v>0.9833911134397938</c:v>
                </c:pt>
                <c:pt idx="72">
                  <c:v>0.9845689604058038</c:v>
                </c:pt>
                <c:pt idx="73">
                  <c:v>0.9857051814940704</c:v>
                </c:pt>
                <c:pt idx="74">
                  <c:v>0.9865975362481934</c:v>
                </c:pt>
                <c:pt idx="75">
                  <c:v>0.9874628866174818</c:v>
                </c:pt>
                <c:pt idx="76">
                  <c:v>0.9883146440402591</c:v>
                </c:pt>
                <c:pt idx="77">
                  <c:v>0.9889730145726872</c:v>
                </c:pt>
                <c:pt idx="78">
                  <c:v>0.9896120443993226</c:v>
                </c:pt>
                <c:pt idx="79">
                  <c:v>0.9901892202690594</c:v>
                </c:pt>
                <c:pt idx="80">
                  <c:v>0.9907609710607377</c:v>
                </c:pt>
                <c:pt idx="81">
                  <c:v>0.9912797012939918</c:v>
                </c:pt>
                <c:pt idx="82">
                  <c:v>0.9917766505447059</c:v>
                </c:pt>
                <c:pt idx="83">
                  <c:v>0.9922176549384141</c:v>
                </c:pt>
                <c:pt idx="84">
                  <c:v>0.9926563803959861</c:v>
                </c:pt>
                <c:pt idx="85">
                  <c:v>0.9930741315740751</c:v>
                </c:pt>
                <c:pt idx="86">
                  <c:v>0.9934824039912439</c:v>
                </c:pt>
                <c:pt idx="87">
                  <c:v>0.9938847673085198</c:v>
                </c:pt>
                <c:pt idx="88">
                  <c:v>0.9942561935635582</c:v>
                </c:pt>
                <c:pt idx="89">
                  <c:v>0.9946275593158673</c:v>
                </c:pt>
                <c:pt idx="90">
                  <c:v>0.9953634943472299</c:v>
                </c:pt>
                <c:pt idx="91">
                  <c:v>0.995726530890475</c:v>
                </c:pt>
                <c:pt idx="92">
                  <c:v>0.996070105722469</c:v>
                </c:pt>
                <c:pt idx="93">
                  <c:v>0.9963981918557678</c:v>
                </c:pt>
                <c:pt idx="94">
                  <c:v>0.9966704743050958</c:v>
                </c:pt>
                <c:pt idx="95">
                  <c:v>0.996942010554096</c:v>
                </c:pt>
                <c:pt idx="96">
                  <c:v>0.9974712480946681</c:v>
                </c:pt>
                <c:pt idx="97">
                  <c:v>0.9977171311864544</c:v>
                </c:pt>
                <c:pt idx="98">
                  <c:v>0.9979419189932991</c:v>
                </c:pt>
                <c:pt idx="99">
                  <c:v>0.9981413158214233</c:v>
                </c:pt>
                <c:pt idx="100">
                  <c:v>0.9983405109737833</c:v>
                </c:pt>
                <c:pt idx="101">
                  <c:v>0.9984906182451223</c:v>
                </c:pt>
                <c:pt idx="102">
                  <c:v>0.9986266082129631</c:v>
                </c:pt>
                <c:pt idx="103">
                  <c:v>0.9987571327675925</c:v>
                </c:pt>
                <c:pt idx="104">
                  <c:v>0.9988872338031168</c:v>
                </c:pt>
                <c:pt idx="105">
                  <c:v>0.9990161852867849</c:v>
                </c:pt>
                <c:pt idx="106">
                  <c:v>0.9991266834380232</c:v>
                </c:pt>
                <c:pt idx="107">
                  <c:v>0.9992358505292174</c:v>
                </c:pt>
                <c:pt idx="108">
                  <c:v>0.9993387858392959</c:v>
                </c:pt>
                <c:pt idx="109">
                  <c:v>0.9994385750074519</c:v>
                </c:pt>
                <c:pt idx="110">
                  <c:v>0.9995334231193835</c:v>
                </c:pt>
                <c:pt idx="111">
                  <c:v>0.9996044936587088</c:v>
                </c:pt>
                <c:pt idx="112">
                  <c:v>0.9996669728104767</c:v>
                </c:pt>
                <c:pt idx="113">
                  <c:v>0.999709264218242</c:v>
                </c:pt>
                <c:pt idx="114">
                  <c:v>0.9997457473639967</c:v>
                </c:pt>
                <c:pt idx="115">
                  <c:v>0.9998176447739555</c:v>
                </c:pt>
                <c:pt idx="116">
                  <c:v>0.9998478961385946</c:v>
                </c:pt>
                <c:pt idx="117">
                  <c:v>0.999871532538166</c:v>
                </c:pt>
                <c:pt idx="118">
                  <c:v>0.9999257631511757</c:v>
                </c:pt>
                <c:pt idx="119">
                  <c:v>0.9999457290518374</c:v>
                </c:pt>
                <c:pt idx="120">
                  <c:v>0.9999703939978064</c:v>
                </c:pt>
                <c:pt idx="121">
                  <c:v>0.999984672641916</c:v>
                </c:pt>
                <c:pt idx="122">
                  <c:v>0.9999996974863533</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CH"/>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5679D80-3FD9-4F8D-8F9D-355EB3FC5F56}" type="datetimeFigureOut">
              <a:rPr lang="en-CH" smtClean="0"/>
              <a:t>09/09/2025</a:t>
            </a:fld>
            <a:endParaRPr lang="en-CH"/>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CH"/>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H"/>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CH"/>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B1B08CE-CB08-45D5-B113-19ECBBE6DAC5}" type="slidenum">
              <a:rPr lang="en-CH" smtClean="0"/>
              <a:t>‹#›</a:t>
            </a:fld>
            <a:endParaRPr lang="en-CH"/>
          </a:p>
        </p:txBody>
      </p:sp>
    </p:spTree>
    <p:extLst>
      <p:ext uri="{BB962C8B-B14F-4D97-AF65-F5344CB8AC3E}">
        <p14:creationId xmlns:p14="http://schemas.microsoft.com/office/powerpoint/2010/main" val="338129770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35.xml"/></Relationships>
</file>

<file path=ppt/notesSlides/_rels/notesSlide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44.xml"/></Relationships>
</file>

<file path=ppt/notesSlides/_rels/notesSlide10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34.xml"/></Relationships>
</file>

<file path=ppt/notesSlides/_rels/notesSlide10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35.xml"/></Relationships>
</file>

<file path=ppt/notesSlides/_rels/notesSlide10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36.xml"/></Relationships>
</file>

<file path=ppt/notesSlides/_rels/notesSlide10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37.xml"/></Relationships>
</file>

<file path=ppt/notesSlides/_rels/notesSlide10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38.xml"/></Relationships>
</file>

<file path=ppt/notesSlides/_rels/notesSlide10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39.xml"/></Relationships>
</file>

<file path=ppt/notesSlides/_rels/notesSlide10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40.xml"/></Relationships>
</file>

<file path=ppt/notesSlides/_rels/notesSlide10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41.xml"/></Relationships>
</file>

<file path=ppt/notesSlides/_rels/notesSlide10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42.xml"/></Relationships>
</file>

<file path=ppt/notesSlides/_rels/notesSlide10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51.xml"/></Relationships>
</file>

<file path=ppt/notesSlides/_rels/notesSlide1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45.xml"/></Relationships>
</file>

<file path=ppt/notesSlides/_rels/notesSlide1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52.xml"/></Relationships>
</file>

<file path=ppt/notesSlides/_rels/notesSlide11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53.xml"/></Relationships>
</file>

<file path=ppt/notesSlides/_rels/notesSlide11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54.xml"/></Relationships>
</file>

<file path=ppt/notesSlides/_rels/notesSlide1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55.xml"/></Relationships>
</file>

<file path=ppt/notesSlides/_rels/notesSlide11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56.xml"/></Relationships>
</file>

<file path=ppt/notesSlides/_rels/notesSlide11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57.xml"/></Relationships>
</file>

<file path=ppt/notesSlides/_rels/notesSlide11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58.xml"/></Relationships>
</file>

<file path=ppt/notesSlides/_rels/notesSlide11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59.xml"/></Relationships>
</file>

<file path=ppt/notesSlides/_rels/notesSlide11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60.xml"/></Relationships>
</file>

<file path=ppt/notesSlides/_rels/notesSlide11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61.xml"/></Relationships>
</file>

<file path=ppt/notesSlides/_rels/notesSlide1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46.xml"/></Relationships>
</file>

<file path=ppt/notesSlides/_rels/notesSlide12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62.xml"/></Relationships>
</file>

<file path=ppt/notesSlides/_rels/notesSlide12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63.xml"/></Relationships>
</file>

<file path=ppt/notesSlides/_rels/notesSlide12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64.xml"/></Relationships>
</file>

<file path=ppt/notesSlides/_rels/notesSlide12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65.xml"/></Relationships>
</file>

<file path=ppt/notesSlides/_rels/notesSlide12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66.xml"/></Relationships>
</file>

<file path=ppt/notesSlides/_rels/notesSlide12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67.xml"/></Relationships>
</file>

<file path=ppt/notesSlides/_rels/notesSlide12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68.xml"/></Relationships>
</file>

<file path=ppt/notesSlides/_rels/notesSlide12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69.xml"/></Relationships>
</file>

<file path=ppt/notesSlides/_rels/notesSlide12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70.xml"/></Relationships>
</file>

<file path=ppt/notesSlides/_rels/notesSlide12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71.xml"/></Relationships>
</file>

<file path=ppt/notesSlides/_rels/notesSlide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47.xml"/></Relationships>
</file>

<file path=ppt/notesSlides/_rels/notesSlide13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72.xml"/></Relationships>
</file>

<file path=ppt/notesSlides/_rels/notesSlide13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73.xml"/></Relationships>
</file>

<file path=ppt/notesSlides/_rels/notesSlide13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74.xml"/></Relationships>
</file>

<file path=ppt/notesSlides/_rels/notesSlide13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75.xml"/></Relationships>
</file>

<file path=ppt/notesSlides/_rels/notesSlide13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76.xml"/></Relationships>
</file>

<file path=ppt/notesSlides/_rels/notesSlide13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77.xml"/></Relationships>
</file>

<file path=ppt/notesSlides/_rels/notesSlide13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78.xml"/></Relationships>
</file>

<file path=ppt/notesSlides/_rels/notesSlide13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79.xml"/></Relationships>
</file>

<file path=ppt/notesSlides/_rels/notesSlide13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80.xml"/></Relationships>
</file>

<file path=ppt/notesSlides/_rels/notesSlide13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81.xml"/></Relationships>
</file>

<file path=ppt/notesSlides/_rels/notesSlide1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48.xml"/></Relationships>
</file>

<file path=ppt/notesSlides/_rels/notesSlide14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82.xml"/></Relationships>
</file>

<file path=ppt/notesSlides/_rels/notesSlide14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83.xml"/></Relationships>
</file>

<file path=ppt/notesSlides/_rels/notesSlide14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84.xml"/></Relationships>
</file>

<file path=ppt/notesSlides/_rels/notesSlide14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85.xml"/></Relationships>
</file>

<file path=ppt/notesSlides/_rels/notesSlide14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86.xml"/></Relationships>
</file>

<file path=ppt/notesSlides/_rels/notesSlide14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87.xml"/></Relationships>
</file>

<file path=ppt/notesSlides/_rels/notesSlide14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88.xml"/></Relationships>
</file>

<file path=ppt/notesSlides/_rels/notesSlide14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89.xml"/></Relationships>
</file>

<file path=ppt/notesSlides/_rels/notesSlide14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90.xml"/></Relationships>
</file>

<file path=ppt/notesSlides/_rels/notesSlide14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91.xml"/></Relationships>
</file>

<file path=ppt/notesSlides/_rels/notesSlide1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49.xml"/></Relationships>
</file>

<file path=ppt/notesSlides/_rels/notesSlide15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92.xml"/></Relationships>
</file>

<file path=ppt/notesSlides/_rels/notesSlide15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93.xml"/></Relationships>
</file>

<file path=ppt/notesSlides/_rels/notesSlide15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94.xml"/></Relationships>
</file>

<file path=ppt/notesSlides/_rels/notesSlide15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95.xml"/></Relationships>
</file>

<file path=ppt/notesSlides/_rels/notesSlide15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96.xml"/></Relationships>
</file>

<file path=ppt/notesSlides/_rels/notesSlide15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97.xml"/></Relationships>
</file>

<file path=ppt/notesSlides/_rels/notesSlide15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98.xml"/></Relationships>
</file>

<file path=ppt/notesSlides/_rels/notesSlide15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99.xml"/></Relationships>
</file>

<file path=ppt/notesSlides/_rels/notesSlide15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00.xml"/></Relationships>
</file>

<file path=ppt/notesSlides/_rels/notesSlide15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01.xml"/></Relationships>
</file>

<file path=ppt/notesSlides/_rels/notesSlide1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50.xml"/></Relationships>
</file>

<file path=ppt/notesSlides/_rels/notesSlide16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02.xml"/></Relationships>
</file>

<file path=ppt/notesSlides/_rels/notesSlide16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03.xml"/></Relationships>
</file>

<file path=ppt/notesSlides/_rels/notesSlide16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04.xml"/></Relationships>
</file>

<file path=ppt/notesSlides/_rels/notesSlide16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05.xml"/></Relationships>
</file>

<file path=ppt/notesSlides/_rels/notesSlide16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06.xml"/></Relationships>
</file>

<file path=ppt/notesSlides/_rels/notesSlide16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07.xml"/></Relationships>
</file>

<file path=ppt/notesSlides/_rels/notesSlide16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08.xml"/></Relationships>
</file>

<file path=ppt/notesSlides/_rels/notesSlide16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09.xml"/></Relationships>
</file>

<file path=ppt/notesSlides/_rels/notesSlide16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10.xml"/></Relationships>
</file>

<file path=ppt/notesSlides/_rels/notesSlide16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11.xml"/></Relationships>
</file>

<file path=ppt/notesSlides/_rels/notesSlide1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51.xml"/></Relationships>
</file>

<file path=ppt/notesSlides/_rels/notesSlide17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12.xml"/></Relationships>
</file>

<file path=ppt/notesSlides/_rels/notesSlide17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13.xml"/></Relationships>
</file>

<file path=ppt/notesSlides/_rels/notesSlide17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14.xml"/></Relationships>
</file>

<file path=ppt/notesSlides/_rels/notesSlide1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52.xml"/></Relationships>
</file>

<file path=ppt/notesSlides/_rels/notesSlide1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53.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36.xml"/></Relationships>
</file>

<file path=ppt/notesSlides/_rels/notesSlide2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54.xml"/></Relationships>
</file>

<file path=ppt/notesSlides/_rels/notesSlide2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55.xml"/></Relationships>
</file>

<file path=ppt/notesSlides/_rels/notesSlide2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56.xml"/></Relationships>
</file>

<file path=ppt/notesSlides/_rels/notesSlide2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57.xml"/></Relationships>
</file>

<file path=ppt/notesSlides/_rels/notesSlide2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58.xml"/></Relationships>
</file>

<file path=ppt/notesSlides/_rels/notesSlide2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59.xml"/></Relationships>
</file>

<file path=ppt/notesSlides/_rels/notesSlide2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60.xml"/></Relationships>
</file>

<file path=ppt/notesSlides/_rels/notesSlide2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61.xml"/></Relationships>
</file>

<file path=ppt/notesSlides/_rels/notesSlide2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62.xml"/></Relationships>
</file>

<file path=ppt/notesSlides/_rels/notesSlide2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63.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37.xml"/></Relationships>
</file>

<file path=ppt/notesSlides/_rels/notesSlide3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64.xml"/></Relationships>
</file>

<file path=ppt/notesSlides/_rels/notesSlide3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65.xml"/></Relationships>
</file>

<file path=ppt/notesSlides/_rels/notesSlide3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66.xml"/></Relationships>
</file>

<file path=ppt/notesSlides/_rels/notesSlide3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67.xml"/></Relationships>
</file>

<file path=ppt/notesSlides/_rels/notesSlide3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68.xml"/></Relationships>
</file>

<file path=ppt/notesSlides/_rels/notesSlide3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69.xml"/></Relationships>
</file>

<file path=ppt/notesSlides/_rels/notesSlide3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70.xml"/></Relationships>
</file>

<file path=ppt/notesSlides/_rels/notesSlide3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71.xml"/></Relationships>
</file>

<file path=ppt/notesSlides/_rels/notesSlide3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72.xml"/></Relationships>
</file>

<file path=ppt/notesSlides/_rels/notesSlide3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73.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38.xml"/></Relationships>
</file>

<file path=ppt/notesSlides/_rels/notesSlide4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74.xml"/></Relationships>
</file>

<file path=ppt/notesSlides/_rels/notesSlide4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75.xml"/></Relationships>
</file>

<file path=ppt/notesSlides/_rels/notesSlide4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76.xml"/></Relationships>
</file>

<file path=ppt/notesSlides/_rels/notesSlide4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77.xml"/></Relationships>
</file>

<file path=ppt/notesSlides/_rels/notesSlide4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78.xml"/></Relationships>
</file>

<file path=ppt/notesSlides/_rels/notesSlide4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79.xml"/></Relationships>
</file>

<file path=ppt/notesSlides/_rels/notesSlide4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80.xml"/></Relationships>
</file>

<file path=ppt/notesSlides/_rels/notesSlide4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81.xml"/></Relationships>
</file>

<file path=ppt/notesSlides/_rels/notesSlide4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82.xml"/></Relationships>
</file>

<file path=ppt/notesSlides/_rels/notesSlide4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83.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39.xml"/></Relationships>
</file>

<file path=ppt/notesSlides/_rels/notesSlide5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84.xml"/></Relationships>
</file>

<file path=ppt/notesSlides/_rels/notesSlide5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85.xml"/></Relationships>
</file>

<file path=ppt/notesSlides/_rels/notesSlide5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86.xml"/></Relationships>
</file>

<file path=ppt/notesSlides/_rels/notesSlide5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87.xml"/></Relationships>
</file>

<file path=ppt/notesSlides/_rels/notesSlide5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88.xml"/></Relationships>
</file>

<file path=ppt/notesSlides/_rels/notesSlide5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89.xml"/></Relationships>
</file>

<file path=ppt/notesSlides/_rels/notesSlide5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90.xml"/></Relationships>
</file>

<file path=ppt/notesSlides/_rels/notesSlide5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91.xml"/></Relationships>
</file>

<file path=ppt/notesSlides/_rels/notesSlide5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92.xml"/></Relationships>
</file>

<file path=ppt/notesSlides/_rels/notesSlide5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93.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40.xml"/></Relationships>
</file>

<file path=ppt/notesSlides/_rels/notesSlide6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94.xml"/></Relationships>
</file>

<file path=ppt/notesSlides/_rels/notesSlide6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95.xml"/></Relationships>
</file>

<file path=ppt/notesSlides/_rels/notesSlide6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96.xml"/></Relationships>
</file>

<file path=ppt/notesSlides/_rels/notesSlide6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97.xml"/></Relationships>
</file>

<file path=ppt/notesSlides/_rels/notesSlide6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98.xml"/></Relationships>
</file>

<file path=ppt/notesSlides/_rels/notesSlide6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99.xml"/></Relationships>
</file>

<file path=ppt/notesSlides/_rels/notesSlide6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00.xml"/></Relationships>
</file>

<file path=ppt/notesSlides/_rels/notesSlide6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01.xml"/></Relationships>
</file>

<file path=ppt/notesSlides/_rels/notesSlide6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02.xml"/></Relationships>
</file>

<file path=ppt/notesSlides/_rels/notesSlide6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03.xml"/></Relationships>
</file>

<file path=ppt/notesSlides/_rels/notesSlide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41.xml"/></Relationships>
</file>

<file path=ppt/notesSlides/_rels/notesSlide7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04.xml"/></Relationships>
</file>

<file path=ppt/notesSlides/_rels/notesSlide7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05.xml"/></Relationships>
</file>

<file path=ppt/notesSlides/_rels/notesSlide7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06.xml"/></Relationships>
</file>

<file path=ppt/notesSlides/_rels/notesSlide7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07.xml"/></Relationships>
</file>

<file path=ppt/notesSlides/_rels/notesSlide7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08.xml"/></Relationships>
</file>

<file path=ppt/notesSlides/_rels/notesSlide7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09.xml"/></Relationships>
</file>

<file path=ppt/notesSlides/_rels/notesSlide7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10.xml"/></Relationships>
</file>

<file path=ppt/notesSlides/_rels/notesSlide7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11.xml"/></Relationships>
</file>

<file path=ppt/notesSlides/_rels/notesSlide7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12.xml"/></Relationships>
</file>

<file path=ppt/notesSlides/_rels/notesSlide7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13.xml"/></Relationships>
</file>

<file path=ppt/notesSlides/_rels/notesSlide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42.xml"/></Relationships>
</file>

<file path=ppt/notesSlides/_rels/notesSlide8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14.xml"/></Relationships>
</file>

<file path=ppt/notesSlides/_rels/notesSlide8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15.xml"/></Relationships>
</file>

<file path=ppt/notesSlides/_rels/notesSlide8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16.xml"/></Relationships>
</file>

<file path=ppt/notesSlides/_rels/notesSlide8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17.xml"/></Relationships>
</file>

<file path=ppt/notesSlides/_rels/notesSlide8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18.xml"/></Relationships>
</file>

<file path=ppt/notesSlides/_rels/notesSlide8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19.xml"/></Relationships>
</file>

<file path=ppt/notesSlides/_rels/notesSlide8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20.xml"/></Relationships>
</file>

<file path=ppt/notesSlides/_rels/notesSlide8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21.xml"/></Relationships>
</file>

<file path=ppt/notesSlides/_rels/notesSlide8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22.xml"/></Relationships>
</file>

<file path=ppt/notesSlides/_rels/notesSlide8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23.xml"/></Relationships>
</file>

<file path=ppt/notesSlides/_rels/notesSlide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43.xml"/></Relationships>
</file>

<file path=ppt/notesSlides/_rels/notesSlide9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24.xml"/></Relationships>
</file>

<file path=ppt/notesSlides/_rels/notesSlide9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25.xml"/></Relationships>
</file>

<file path=ppt/notesSlides/_rels/notesSlide9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26.xml"/></Relationships>
</file>

<file path=ppt/notesSlides/_rels/notesSlide9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27.xml"/></Relationships>
</file>

<file path=ppt/notesSlides/_rels/notesSlide9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28.xml"/></Relationships>
</file>

<file path=ppt/notesSlides/_rels/notesSlide9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29.xml"/></Relationships>
</file>

<file path=ppt/notesSlides/_rels/notesSlide9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30.xml"/></Relationships>
</file>

<file path=ppt/notesSlides/_rels/notesSlide9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31.xml"/></Relationships>
</file>

<file path=ppt/notesSlides/_rels/notesSlide9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32.xml"/></Relationships>
</file>

<file path=ppt/notesSlides/_rels/notesSlide9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33.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1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1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1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1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1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1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1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1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1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1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551</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1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552</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1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553</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1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554</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1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555</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1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556</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1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557</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1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558</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1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559</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1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560</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1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561</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1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562</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1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563</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1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564</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1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565</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1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566</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1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567</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1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568</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1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569</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1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570</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1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571</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1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572</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1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573</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1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574</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1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575</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1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576</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1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577</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1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578</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1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579</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1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580</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1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581</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1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582</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1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583</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1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584</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1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585</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1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586</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1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587</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1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588</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1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589</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1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590</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1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591</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1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592</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1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593</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1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594</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1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595</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1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596</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1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597</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1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598</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1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599</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1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600</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1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601</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1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602</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1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603</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1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604</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1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605</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1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606</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1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607</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1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608</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1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609</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1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610</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1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611</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1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612</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1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613</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1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614</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tags" Target="../tags/tag2.xml"/><Relationship Id="rId2" Type="http://schemas.openxmlformats.org/officeDocument/2006/relationships/slideMaster" Target="../slideMasters/slideMaster1.xml"/><Relationship Id="rId3" Type="http://schemas.openxmlformats.org/officeDocument/2006/relationships/oleObject" Target="../embeddings/oleObject2.bin"/><Relationship Id="rId4" Type="http://schemas.openxmlformats.org/officeDocument/2006/relationships/image" Target="../media/image2.emf"/><Relationship Id="rId5" Type="http://schemas.openxmlformats.org/officeDocument/2006/relationships/image" Target="../media/image3.jpeg"/></Relationships>
</file>

<file path=ppt/slideLayouts/_rels/slideLayout10.xml.rels><?xml version='1.0' encoding='UTF-8' standalone='yes'?>
<Relationships xmlns="http://schemas.openxmlformats.org/package/2006/relationships"><Relationship Id="rId1" Type="http://schemas.openxmlformats.org/officeDocument/2006/relationships/tags" Target="../tags/tag11.xml"/><Relationship Id="rId2" Type="http://schemas.openxmlformats.org/officeDocument/2006/relationships/slideMaster" Target="../slideMasters/slideMaster1.xml"/><Relationship Id="rId3" Type="http://schemas.openxmlformats.org/officeDocument/2006/relationships/oleObject" Target="../embeddings/oleObject11.bin"/><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1" Type="http://schemas.openxmlformats.org/officeDocument/2006/relationships/tags" Target="../tags/tag12.xml"/><Relationship Id="rId2" Type="http://schemas.openxmlformats.org/officeDocument/2006/relationships/slideMaster" Target="../slideMasters/slideMaster1.xml"/><Relationship Id="rId3" Type="http://schemas.openxmlformats.org/officeDocument/2006/relationships/oleObject" Target="../embeddings/oleObject12.bin"/><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1" Type="http://schemas.openxmlformats.org/officeDocument/2006/relationships/tags" Target="../tags/tag13.xml"/><Relationship Id="rId2" Type="http://schemas.openxmlformats.org/officeDocument/2006/relationships/slideMaster" Target="../slideMasters/slideMaster1.xml"/><Relationship Id="rId3" Type="http://schemas.openxmlformats.org/officeDocument/2006/relationships/oleObject" Target="../embeddings/oleObject13.bin"/><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1" Type="http://schemas.openxmlformats.org/officeDocument/2006/relationships/tags" Target="../tags/tag14.xml"/><Relationship Id="rId2" Type="http://schemas.openxmlformats.org/officeDocument/2006/relationships/slideMaster" Target="../slideMasters/slideMaster1.xml"/><Relationship Id="rId3" Type="http://schemas.openxmlformats.org/officeDocument/2006/relationships/oleObject" Target="../embeddings/oleObject14.bin"/><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1" Type="http://schemas.openxmlformats.org/officeDocument/2006/relationships/tags" Target="../tags/tag15.xml"/><Relationship Id="rId2" Type="http://schemas.openxmlformats.org/officeDocument/2006/relationships/slideMaster" Target="../slideMasters/slideMaster1.xml"/><Relationship Id="rId3" Type="http://schemas.openxmlformats.org/officeDocument/2006/relationships/oleObject" Target="../embeddings/oleObject15.bin"/><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1" Type="http://schemas.openxmlformats.org/officeDocument/2006/relationships/tags" Target="../tags/tag16.xml"/><Relationship Id="rId2" Type="http://schemas.openxmlformats.org/officeDocument/2006/relationships/slideMaster" Target="../slideMasters/slideMaster1.xml"/><Relationship Id="rId3" Type="http://schemas.openxmlformats.org/officeDocument/2006/relationships/oleObject" Target="../embeddings/oleObject16.bin"/><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1" Type="http://schemas.openxmlformats.org/officeDocument/2006/relationships/tags" Target="../tags/tag17.xml"/><Relationship Id="rId2" Type="http://schemas.openxmlformats.org/officeDocument/2006/relationships/slideMaster" Target="../slideMasters/slideMaster1.xml"/><Relationship Id="rId3" Type="http://schemas.openxmlformats.org/officeDocument/2006/relationships/oleObject" Target="../embeddings/oleObject17.bin"/><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1" Type="http://schemas.openxmlformats.org/officeDocument/2006/relationships/tags" Target="../tags/tag18.xml"/><Relationship Id="rId2" Type="http://schemas.openxmlformats.org/officeDocument/2006/relationships/slideMaster" Target="../slideMasters/slideMaster1.xml"/><Relationship Id="rId3" Type="http://schemas.openxmlformats.org/officeDocument/2006/relationships/oleObject" Target="../embeddings/oleObject18.bin"/><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1" Type="http://schemas.openxmlformats.org/officeDocument/2006/relationships/tags" Target="../tags/tag19.xml"/><Relationship Id="rId2" Type="http://schemas.openxmlformats.org/officeDocument/2006/relationships/slideMaster" Target="../slideMasters/slideMaster1.xml"/><Relationship Id="rId3" Type="http://schemas.openxmlformats.org/officeDocument/2006/relationships/oleObject" Target="../embeddings/oleObject19.bin"/><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1" Type="http://schemas.openxmlformats.org/officeDocument/2006/relationships/tags" Target="../tags/tag20.xml"/><Relationship Id="rId2" Type="http://schemas.openxmlformats.org/officeDocument/2006/relationships/slideMaster" Target="../slideMasters/slideMaster1.xml"/><Relationship Id="rId3" Type="http://schemas.openxmlformats.org/officeDocument/2006/relationships/oleObject" Target="../embeddings/oleObject20.bin"/><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1" Type="http://schemas.openxmlformats.org/officeDocument/2006/relationships/tags" Target="../tags/tag3.xml"/><Relationship Id="rId2" Type="http://schemas.openxmlformats.org/officeDocument/2006/relationships/slideMaster" Target="../slideMasters/slideMaster1.xml"/><Relationship Id="rId3" Type="http://schemas.openxmlformats.org/officeDocument/2006/relationships/oleObject" Target="../embeddings/oleObject3.bin"/><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1" Type="http://schemas.openxmlformats.org/officeDocument/2006/relationships/tags" Target="../tags/tag21.xml"/><Relationship Id="rId2" Type="http://schemas.openxmlformats.org/officeDocument/2006/relationships/slideMaster" Target="../slideMasters/slideMaster1.xml"/><Relationship Id="rId3" Type="http://schemas.openxmlformats.org/officeDocument/2006/relationships/oleObject" Target="../embeddings/oleObject21.bin"/><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1" Type="http://schemas.openxmlformats.org/officeDocument/2006/relationships/tags" Target="../tags/tag22.xml"/><Relationship Id="rId2" Type="http://schemas.openxmlformats.org/officeDocument/2006/relationships/slideMaster" Target="../slideMasters/slideMaster1.xml"/><Relationship Id="rId3" Type="http://schemas.openxmlformats.org/officeDocument/2006/relationships/oleObject" Target="../embeddings/oleObject22.bin"/><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1" Type="http://schemas.openxmlformats.org/officeDocument/2006/relationships/tags" Target="../tags/tag23.xml"/><Relationship Id="rId2" Type="http://schemas.openxmlformats.org/officeDocument/2006/relationships/slideMaster" Target="../slideMasters/slideMaster1.xml"/><Relationship Id="rId3" Type="http://schemas.openxmlformats.org/officeDocument/2006/relationships/oleObject" Target="../embeddings/oleObject23.bin"/><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1" Type="http://schemas.openxmlformats.org/officeDocument/2006/relationships/tags" Target="../tags/tag24.xml"/><Relationship Id="rId2" Type="http://schemas.openxmlformats.org/officeDocument/2006/relationships/slideMaster" Target="../slideMasters/slideMaster1.xml"/><Relationship Id="rId3" Type="http://schemas.openxmlformats.org/officeDocument/2006/relationships/oleObject" Target="../embeddings/oleObject24.bin"/><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1" Type="http://schemas.openxmlformats.org/officeDocument/2006/relationships/tags" Target="../tags/tag25.xml"/><Relationship Id="rId2" Type="http://schemas.openxmlformats.org/officeDocument/2006/relationships/tags" Target="../tags/tag26.xml"/><Relationship Id="rId3" Type="http://schemas.openxmlformats.org/officeDocument/2006/relationships/tags" Target="../tags/tag27.xml"/><Relationship Id="rId4" Type="http://schemas.openxmlformats.org/officeDocument/2006/relationships/slideMaster" Target="../slideMasters/slideMaster1.xml"/><Relationship Id="rId5" Type="http://schemas.openxmlformats.org/officeDocument/2006/relationships/oleObject" Target="../embeddings/oleObject25.bin"/><Relationship Id="rId6" Type="http://schemas.openxmlformats.org/officeDocument/2006/relationships/image" Target="../media/image26.emf"/><Relationship Id="rId7" Type="http://schemas.openxmlformats.org/officeDocument/2006/relationships/image" Target="../media/image27.png"/><Relationship Id="rId8" Type="http://schemas.openxmlformats.org/officeDocument/2006/relationships/oleObject" Target="../embeddings/oleObject26.bin"/></Relationships>
</file>

<file path=ppt/slideLayouts/_rels/slideLayout3.xml.rels><?xml version='1.0' encoding='UTF-8' standalone='yes'?>
<Relationships xmlns="http://schemas.openxmlformats.org/package/2006/relationships"><Relationship Id="rId1" Type="http://schemas.openxmlformats.org/officeDocument/2006/relationships/tags" Target="../tags/tag4.xml"/><Relationship Id="rId2" Type="http://schemas.openxmlformats.org/officeDocument/2006/relationships/slideMaster" Target="../slideMasters/slideMaster1.xml"/><Relationship Id="rId3" Type="http://schemas.openxmlformats.org/officeDocument/2006/relationships/oleObject" Target="../embeddings/oleObject4.bin"/><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1" Type="http://schemas.openxmlformats.org/officeDocument/2006/relationships/tags" Target="../tags/tag5.xml"/><Relationship Id="rId2" Type="http://schemas.openxmlformats.org/officeDocument/2006/relationships/slideMaster" Target="../slideMasters/slideMaster1.xml"/><Relationship Id="rId3" Type="http://schemas.openxmlformats.org/officeDocument/2006/relationships/oleObject" Target="../embeddings/oleObject5.bin"/><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1" Type="http://schemas.openxmlformats.org/officeDocument/2006/relationships/tags" Target="../tags/tag6.xml"/><Relationship Id="rId2" Type="http://schemas.openxmlformats.org/officeDocument/2006/relationships/slideMaster" Target="../slideMasters/slideMaster1.xml"/><Relationship Id="rId3" Type="http://schemas.openxmlformats.org/officeDocument/2006/relationships/oleObject" Target="../embeddings/oleObject6.bin"/><Relationship Id="rId4"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1" Type="http://schemas.openxmlformats.org/officeDocument/2006/relationships/tags" Target="../tags/tag7.xml"/><Relationship Id="rId2" Type="http://schemas.openxmlformats.org/officeDocument/2006/relationships/slideMaster" Target="../slideMasters/slideMaster1.xml"/><Relationship Id="rId3" Type="http://schemas.openxmlformats.org/officeDocument/2006/relationships/oleObject" Target="../embeddings/oleObject7.bin"/><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1" Type="http://schemas.openxmlformats.org/officeDocument/2006/relationships/tags" Target="../tags/tag8.xml"/><Relationship Id="rId2" Type="http://schemas.openxmlformats.org/officeDocument/2006/relationships/slideMaster" Target="../slideMasters/slideMaster1.xml"/><Relationship Id="rId3" Type="http://schemas.openxmlformats.org/officeDocument/2006/relationships/oleObject" Target="../embeddings/oleObject8.bin"/><Relationship Id="rId4" Type="http://schemas.openxmlformats.org/officeDocument/2006/relationships/image" Target="../media/image9.emf"/></Relationships>
</file>

<file path=ppt/slideLayouts/_rels/slideLayout8.xml.rels><?xml version='1.0' encoding='UTF-8' standalone='yes'?>
<Relationships xmlns="http://schemas.openxmlformats.org/package/2006/relationships"><Relationship Id="rId1" Type="http://schemas.openxmlformats.org/officeDocument/2006/relationships/tags" Target="../tags/tag9.xml"/><Relationship Id="rId2" Type="http://schemas.openxmlformats.org/officeDocument/2006/relationships/slideMaster" Target="../slideMasters/slideMaster1.xml"/><Relationship Id="rId3" Type="http://schemas.openxmlformats.org/officeDocument/2006/relationships/oleObject" Target="../embeddings/oleObject9.bin"/><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1" Type="http://schemas.openxmlformats.org/officeDocument/2006/relationships/tags" Target="../tags/tag10.xml"/><Relationship Id="rId2" Type="http://schemas.openxmlformats.org/officeDocument/2006/relationships/slideMaster" Target="../slideMasters/slideMaster1.xml"/><Relationship Id="rId3" Type="http://schemas.openxmlformats.org/officeDocument/2006/relationships/oleObject" Target="../embeddings/oleObject10.bin"/><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334819500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DBBFC13E-3F64-4E36-814E-4A390258C12B}" type="datetime1">
              <a:rPr lang="en-US" smtClean="0"/>
              <a:t>9/9/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937536793"/>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D50F348D-8052-4CFF-A59A-38700A83BEA1}" type="datetime1">
              <a:rPr lang="en-US" smtClean="0"/>
              <a:t>9/9/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766921897"/>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80ACA9F3-09D5-4DB9-A036-5BB8C1DA1B12}" type="datetime1">
              <a:rPr lang="en-US" smtClean="0"/>
              <a:t>9/9/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97682050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A1577D70-F57E-432D-B3D5-0759FA0A3343}" type="datetime1">
              <a:rPr lang="en-US" smtClean="0"/>
              <a:t>9/9/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13872105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84E78701-F38D-4E5C-ABBC-833AA43BD5FA}" type="datetime1">
              <a:rPr lang="en-US" smtClean="0"/>
              <a:t>9/9/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60254800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fld id="{14C6B110-5A78-424A-9D1E-371817D87CD3}" type="datetime1">
              <a:rPr lang="en-US" smtClean="0"/>
              <a:t>9/9/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54013366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352CCA97-18F7-420E-AA09-369E2E7F8144}" type="datetime1">
              <a:rPr lang="en-US" smtClean="0"/>
              <a:t>9/9/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58406272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A197316-5A91-47EC-86A0-A3A842E46FD3}" type="datetime1">
              <a:rPr lang="en-US" smtClean="0"/>
              <a:t>9/9/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1943778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1E1AB04-F9EF-4B2B-85D6-244B8E45D3EA}" type="datetime1">
              <a:rPr lang="en-US" smtClean="0"/>
              <a:t>9/9/2025</a:t>
            </a:fld>
            <a:endParaRPr lang="en-US"/>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324700258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fld id="{7996436F-1613-4BD9-8DA2-0B828AB65D9D}" type="datetime1">
              <a:rPr lang="en-US" smtClean="0"/>
              <a:t>9/9/2025</a:t>
            </a:fld>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127354767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F9F4D88D-6F95-4734-9E93-59E96F4C5B2D}" type="datetime1">
              <a:rPr lang="en-US" smtClean="0"/>
              <a:t>9/9/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200210190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fld id="{4B539E5B-D660-4908-A930-5D7ED25D7968}" type="datetime1">
              <a:rPr lang="en-US" smtClean="0"/>
              <a:t>9/9/2025</a:t>
            </a:fld>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22605537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fld id="{E87FDB52-BBB2-437C-B730-0F4FD1CC342B}" type="datetime1">
              <a:rPr lang="en-US" smtClean="0"/>
              <a:t>9/9/2025</a:t>
            </a:fld>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40333730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fld id="{32E4E91C-ACCB-4FB2-9CE2-8479C989DF49}" type="datetime1">
              <a:rPr lang="en-US" smtClean="0"/>
              <a:t>9/9/2025</a:t>
            </a:fld>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396318068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59482696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3FC227B7-6CE2-494E-9FF0-D5486E326F93}" type="datetime1">
              <a:rPr lang="en-US" smtClean="0"/>
              <a:t>9/9/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411723028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fld id="{9BA698F9-E0CC-4675-A2A3-920539354D2A}" type="datetime1">
              <a:rPr lang="en-US" smtClean="0"/>
              <a:t>9/9/2025</a:t>
            </a:fld>
            <a:endParaRPr lang="en-US"/>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423769522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FFB77DA4-E66A-483D-9837-A2011CF448D8}" type="datetime1">
              <a:rPr lang="en-US" smtClean="0"/>
              <a:t>9/9/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371457121"/>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D2DFC3E4-C284-436E-93E6-279BCC9ECA79}" type="datetime1">
              <a:rPr lang="en-US" smtClean="0"/>
              <a:t>9/9/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248522655"/>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88775FBB-4E36-4540-99EF-CA50C933F081}" type="datetime1">
              <a:rPr lang="en-US" smtClean="0"/>
              <a:t>9/9/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156286301"/>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fld id="{98C7047C-F6FF-45B2-9077-DC747EBFC0B4}" type="datetime1">
              <a:rPr lang="en-US" smtClean="0"/>
              <a:t>9/9/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728603763"/>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fld id="{67EBB61B-CA5F-4D3B-A745-33BC47F4D24F}" type="datetime1">
              <a:rPr lang="en-US" smtClean="0"/>
              <a:t>9/9/2025</a:t>
            </a:fld>
            <a:endParaRPr lang="en-US"/>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333341570"/>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EBC32BF-A67C-4A09-93F2-0403FF7C946C}" type="datetime1">
              <a:rPr lang="en-US" smtClean="0"/>
              <a:t>9/9/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347767643"/>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 Id="rId10" Type="http://schemas.openxmlformats.org/officeDocument/2006/relationships/slideLayout" Target="../slideLayouts/slideLayout10.xml"/><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slideLayout" Target="../slideLayouts/slideLayout13.xml"/><Relationship Id="rId14" Type="http://schemas.openxmlformats.org/officeDocument/2006/relationships/slideLayout" Target="../slideLayouts/slideLayout14.xml"/><Relationship Id="rId15" Type="http://schemas.openxmlformats.org/officeDocument/2006/relationships/slideLayout" Target="../slideLayouts/slideLayout15.xml"/><Relationship Id="rId16" Type="http://schemas.openxmlformats.org/officeDocument/2006/relationships/slideLayout" Target="../slideLayouts/slideLayout16.xml"/><Relationship Id="rId17" Type="http://schemas.openxmlformats.org/officeDocument/2006/relationships/slideLayout" Target="../slideLayouts/slideLayout17.xml"/><Relationship Id="rId18" Type="http://schemas.openxmlformats.org/officeDocument/2006/relationships/slideLayout" Target="../slideLayouts/slideLayout18.xml"/><Relationship Id="rId19" Type="http://schemas.openxmlformats.org/officeDocument/2006/relationships/slideLayout" Target="../slideLayouts/slideLayout19.xml"/><Relationship Id="rId20" Type="http://schemas.openxmlformats.org/officeDocument/2006/relationships/slideLayout" Target="../slideLayouts/slideLayout20.xml"/><Relationship Id="rId21" Type="http://schemas.openxmlformats.org/officeDocument/2006/relationships/slideLayout" Target="../slideLayouts/slideLayout21.xml"/><Relationship Id="rId22" Type="http://schemas.openxmlformats.org/officeDocument/2006/relationships/slideLayout" Target="../slideLayouts/slideLayout22.xml"/><Relationship Id="rId23" Type="http://schemas.openxmlformats.org/officeDocument/2006/relationships/slideLayout" Target="../slideLayouts/slideLayout23.xml"/><Relationship Id="rId24" Type="http://schemas.openxmlformats.org/officeDocument/2006/relationships/slideLayout" Target="../slideLayouts/slideLayout24.xml"/><Relationship Id="rId25" Type="http://schemas.openxmlformats.org/officeDocument/2006/relationships/theme" Target="../theme/theme1.xml"/><Relationship Id="rId26" Type="http://schemas.openxmlformats.org/officeDocument/2006/relationships/tags" Target="../tags/tag1.xml"/><Relationship Id="rId27" Type="http://schemas.openxmlformats.org/officeDocument/2006/relationships/oleObject" Target="../embeddings/oleObject1.bin"/><Relationship Id="rId28"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fld id="{AE4C06A1-875F-4586-BE13-F337DE5DF152}" type="datetime1">
              <a:rPr lang="en-US" smtClean="0"/>
              <a:t>9/9/2025</a:t>
            </a:fld>
            <a:endParaRPr lang="en-US"/>
          </a:p>
        </p:txBody>
      </p:sp>
    </p:spTree>
    <p:extLst>
      <p:ext uri="{BB962C8B-B14F-4D97-AF65-F5344CB8AC3E}">
        <p14:creationId xmlns:p14="http://schemas.microsoft.com/office/powerpoint/2010/main" val="2397515005"/>
      </p:ext>
    </p:extLst>
  </p:cSld>
  <p:clrMap bg1="lt1" tx1="dk1" bg2="lt2" tx2="dk2" accent1="accent1" accent2="accent2" accent3="accent3" accent4="accent4" accent5="accent5" accent6="accent6" hlink="hlink" folHlink="folHlink"/>
  <p:sldLayoutIdLst>
    <p:sldLayoutId id="2147483844" r:id="rId1"/>
    <p:sldLayoutId id="2147483848" r:id="rId2"/>
    <p:sldLayoutId id="2147483849" r:id="rId3"/>
    <p:sldLayoutId id="2147483850" r:id="rId4"/>
    <p:sldLayoutId id="2147483851" r:id="rId5"/>
    <p:sldLayoutId id="2147483852" r:id="rId6"/>
    <p:sldLayoutId id="2147483853" r:id="rId7"/>
    <p:sldLayoutId id="2147483854" r:id="rId8"/>
    <p:sldLayoutId id="2147483855" r:id="rId9"/>
    <p:sldLayoutId id="2147483856" r:id="rId10"/>
    <p:sldLayoutId id="2147483857" r:id="rId11"/>
    <p:sldLayoutId id="2147483858" r:id="rId12"/>
    <p:sldLayoutId id="2147483859" r:id="rId13"/>
    <p:sldLayoutId id="2147483860" r:id="rId14"/>
    <p:sldLayoutId id="2147483861" r:id="rId15"/>
    <p:sldLayoutId id="2147483862" r:id="rId16"/>
    <p:sldLayoutId id="2147483863" r:id="rId17"/>
    <p:sldLayoutId id="2147483864" r:id="rId18"/>
    <p:sldLayoutId id="2147483865" r:id="rId19"/>
    <p:sldLayoutId id="2147483866" r:id="rId20"/>
    <p:sldLayoutId id="2147483867" r:id="rId21"/>
    <p:sldLayoutId id="2147483868" r:id="rId22"/>
    <p:sldLayoutId id="2147483903" r:id="rId23"/>
    <p:sldLayoutId id="2147483904"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tags" Target="../tags/tag2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xml"/></Relationships>
</file>

<file path=ppt/slides/_rels/slide10.xml.rels><?xml version='1.0' encoding='UTF-8' standalone='yes'?>
<Relationships xmlns="http://schemas.openxmlformats.org/package/2006/relationships"><Relationship Id="rId1" Type="http://schemas.openxmlformats.org/officeDocument/2006/relationships/tags" Target="../tags/tag3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0.xml"/></Relationships>
</file>

<file path=ppt/slides/_rels/slide100.xml.rels><?xml version='1.0' encoding='UTF-8' standalone='yes'?>
<Relationships xmlns="http://schemas.openxmlformats.org/package/2006/relationships"><Relationship Id="rId1" Type="http://schemas.openxmlformats.org/officeDocument/2006/relationships/tags" Target="../tags/tag12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00.xml"/></Relationships>
</file>

<file path=ppt/slides/_rels/slide101.xml.rels><?xml version='1.0' encoding='UTF-8' standalone='yes'?>
<Relationships xmlns="http://schemas.openxmlformats.org/package/2006/relationships"><Relationship Id="rId1" Type="http://schemas.openxmlformats.org/officeDocument/2006/relationships/tags" Target="../tags/tag12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01.xml"/></Relationships>
</file>

<file path=ppt/slides/_rels/slide102.xml.rels><?xml version='1.0' encoding='UTF-8' standalone='yes'?>
<Relationships xmlns="http://schemas.openxmlformats.org/package/2006/relationships"><Relationship Id="rId1" Type="http://schemas.openxmlformats.org/officeDocument/2006/relationships/tags" Target="../tags/tag12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02.xml"/></Relationships>
</file>

<file path=ppt/slides/_rels/slide103.xml.rels><?xml version='1.0' encoding='UTF-8' standalone='yes'?>
<Relationships xmlns="http://schemas.openxmlformats.org/package/2006/relationships"><Relationship Id="rId1" Type="http://schemas.openxmlformats.org/officeDocument/2006/relationships/tags" Target="../tags/tag13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03.xml"/></Relationships>
</file>

<file path=ppt/slides/_rels/slide104.xml.rels><?xml version='1.0' encoding='UTF-8' standalone='yes'?>
<Relationships xmlns="http://schemas.openxmlformats.org/package/2006/relationships"><Relationship Id="rId1" Type="http://schemas.openxmlformats.org/officeDocument/2006/relationships/tags" Target="../tags/tag13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04.xml"/></Relationships>
</file>

<file path=ppt/slides/_rels/slide105.xml.rels><?xml version='1.0' encoding='UTF-8' standalone='yes'?>
<Relationships xmlns="http://schemas.openxmlformats.org/package/2006/relationships"><Relationship Id="rId1" Type="http://schemas.openxmlformats.org/officeDocument/2006/relationships/tags" Target="../tags/tag13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05.xml"/></Relationships>
</file>

<file path=ppt/slides/_rels/slide106.xml.rels><?xml version='1.0' encoding='UTF-8' standalone='yes'?>
<Relationships xmlns="http://schemas.openxmlformats.org/package/2006/relationships"><Relationship Id="rId1" Type="http://schemas.openxmlformats.org/officeDocument/2006/relationships/tags" Target="../tags/tag13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06.xml"/></Relationships>
</file>

<file path=ppt/slides/_rels/slide107.xml.rels><?xml version='1.0' encoding='UTF-8' standalone='yes'?>
<Relationships xmlns="http://schemas.openxmlformats.org/package/2006/relationships"><Relationship Id="rId1" Type="http://schemas.openxmlformats.org/officeDocument/2006/relationships/tags" Target="../tags/tag13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07.xml"/></Relationships>
</file>

<file path=ppt/slides/_rels/slide108.xml.rels><?xml version='1.0' encoding='UTF-8' standalone='yes'?>
<Relationships xmlns="http://schemas.openxmlformats.org/package/2006/relationships"><Relationship Id="rId1" Type="http://schemas.openxmlformats.org/officeDocument/2006/relationships/tags" Target="../tags/tag13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08.xml"/></Relationships>
</file>

<file path=ppt/slides/_rels/slide109.xml.rels><?xml version='1.0' encoding='UTF-8' standalone='yes'?>
<Relationships xmlns="http://schemas.openxmlformats.org/package/2006/relationships"><Relationship Id="rId1" Type="http://schemas.openxmlformats.org/officeDocument/2006/relationships/tags" Target="../tags/tag13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09.xml"/></Relationships>
</file>

<file path=ppt/slides/_rels/slide11.xml.rels><?xml version='1.0' encoding='UTF-8' standalone='yes'?>
<Relationships xmlns="http://schemas.openxmlformats.org/package/2006/relationships"><Relationship Id="rId1" Type="http://schemas.openxmlformats.org/officeDocument/2006/relationships/tags" Target="../tags/tag3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1.xml"/></Relationships>
</file>

<file path=ppt/slides/_rels/slide110.xml.rels><?xml version='1.0' encoding='UTF-8' standalone='yes'?>
<Relationships xmlns="http://schemas.openxmlformats.org/package/2006/relationships"><Relationship Id="rId1" Type="http://schemas.openxmlformats.org/officeDocument/2006/relationships/tags" Target="../tags/tag13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10.xml"/></Relationships>
</file>

<file path=ppt/slides/_rels/slide111.xml.rels><?xml version='1.0' encoding='UTF-8' standalone='yes'?>
<Relationships xmlns="http://schemas.openxmlformats.org/package/2006/relationships"><Relationship Id="rId1" Type="http://schemas.openxmlformats.org/officeDocument/2006/relationships/tags" Target="../tags/tag13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11.xml"/></Relationships>
</file>

<file path=ppt/slides/_rels/slide112.xml.rels><?xml version='1.0' encoding='UTF-8' standalone='yes'?>
<Relationships xmlns="http://schemas.openxmlformats.org/package/2006/relationships"><Relationship Id="rId1" Type="http://schemas.openxmlformats.org/officeDocument/2006/relationships/tags" Target="../tags/tag13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12.xml"/></Relationships>
</file>

<file path=ppt/slides/_rels/slide113.xml.rels><?xml version='1.0' encoding='UTF-8' standalone='yes'?>
<Relationships xmlns="http://schemas.openxmlformats.org/package/2006/relationships"><Relationship Id="rId1" Type="http://schemas.openxmlformats.org/officeDocument/2006/relationships/tags" Target="../tags/tag14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13.xml"/></Relationships>
</file>

<file path=ppt/slides/_rels/slide114.xml.rels><?xml version='1.0' encoding='UTF-8' standalone='yes'?>
<Relationships xmlns="http://schemas.openxmlformats.org/package/2006/relationships"><Relationship Id="rId1" Type="http://schemas.openxmlformats.org/officeDocument/2006/relationships/tags" Target="../tags/tag14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14.xml"/></Relationships>
</file>

<file path=ppt/slides/_rels/slide115.xml.rels><?xml version='1.0' encoding='UTF-8' standalone='yes'?>
<Relationships xmlns="http://schemas.openxmlformats.org/package/2006/relationships"><Relationship Id="rId1" Type="http://schemas.openxmlformats.org/officeDocument/2006/relationships/tags" Target="../tags/tag14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15.xml"/></Relationships>
</file>

<file path=ppt/slides/_rels/slide116.xml.rels><?xml version='1.0' encoding='UTF-8' standalone='yes'?>
<Relationships xmlns="http://schemas.openxmlformats.org/package/2006/relationships"><Relationship Id="rId1" Type="http://schemas.openxmlformats.org/officeDocument/2006/relationships/tags" Target="../tags/tag14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16.xml"/></Relationships>
</file>

<file path=ppt/slides/_rels/slide117.xml.rels><?xml version='1.0' encoding='UTF-8' standalone='yes'?>
<Relationships xmlns="http://schemas.openxmlformats.org/package/2006/relationships"><Relationship Id="rId1" Type="http://schemas.openxmlformats.org/officeDocument/2006/relationships/tags" Target="../tags/tag14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17.xml"/></Relationships>
</file>

<file path=ppt/slides/_rels/slide118.xml.rels><?xml version='1.0' encoding='UTF-8' standalone='yes'?>
<Relationships xmlns="http://schemas.openxmlformats.org/package/2006/relationships"><Relationship Id="rId1" Type="http://schemas.openxmlformats.org/officeDocument/2006/relationships/tags" Target="../tags/tag14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18.xml"/></Relationships>
</file>

<file path=ppt/slides/_rels/slide119.xml.rels><?xml version='1.0' encoding='UTF-8' standalone='yes'?>
<Relationships xmlns="http://schemas.openxmlformats.org/package/2006/relationships"><Relationship Id="rId1" Type="http://schemas.openxmlformats.org/officeDocument/2006/relationships/tags" Target="../tags/tag14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19.xml"/></Relationships>
</file>

<file path=ppt/slides/_rels/slide12.xml.rels><?xml version='1.0' encoding='UTF-8' standalone='yes'?>
<Relationships xmlns="http://schemas.openxmlformats.org/package/2006/relationships"><Relationship Id="rId1" Type="http://schemas.openxmlformats.org/officeDocument/2006/relationships/tags" Target="../tags/tag3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2.xml"/></Relationships>
</file>

<file path=ppt/slides/_rels/slide120.xml.rels><?xml version='1.0' encoding='UTF-8' standalone='yes'?>
<Relationships xmlns="http://schemas.openxmlformats.org/package/2006/relationships"><Relationship Id="rId1" Type="http://schemas.openxmlformats.org/officeDocument/2006/relationships/tags" Target="../tags/tag14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20.xml"/></Relationships>
</file>

<file path=ppt/slides/_rels/slide121.xml.rels><?xml version='1.0' encoding='UTF-8' standalone='yes'?>
<Relationships xmlns="http://schemas.openxmlformats.org/package/2006/relationships"><Relationship Id="rId1" Type="http://schemas.openxmlformats.org/officeDocument/2006/relationships/tags" Target="../tags/tag14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21.xml"/></Relationships>
</file>

<file path=ppt/slides/_rels/slide122.xml.rels><?xml version='1.0' encoding='UTF-8' standalone='yes'?>
<Relationships xmlns="http://schemas.openxmlformats.org/package/2006/relationships"><Relationship Id="rId1" Type="http://schemas.openxmlformats.org/officeDocument/2006/relationships/tags" Target="../tags/tag14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22.xml"/></Relationships>
</file>

<file path=ppt/slides/_rels/slide123.xml.rels><?xml version='1.0' encoding='UTF-8' standalone='yes'?>
<Relationships xmlns="http://schemas.openxmlformats.org/package/2006/relationships"><Relationship Id="rId1" Type="http://schemas.openxmlformats.org/officeDocument/2006/relationships/tags" Target="../tags/tag15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23.xml"/></Relationships>
</file>

<file path=ppt/slides/_rels/slide124.xml.rels><?xml version='1.0' encoding='UTF-8' standalone='yes'?>
<Relationships xmlns="http://schemas.openxmlformats.org/package/2006/relationships"><Relationship Id="rId1" Type="http://schemas.openxmlformats.org/officeDocument/2006/relationships/tags" Target="../tags/tag15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24.xml"/></Relationships>
</file>

<file path=ppt/slides/_rels/slide125.xml.rels><?xml version='1.0' encoding='UTF-8' standalone='yes'?>
<Relationships xmlns="http://schemas.openxmlformats.org/package/2006/relationships"><Relationship Id="rId1" Type="http://schemas.openxmlformats.org/officeDocument/2006/relationships/tags" Target="../tags/tag15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25.xml"/></Relationships>
</file>

<file path=ppt/slides/_rels/slide126.xml.rels><?xml version='1.0' encoding='UTF-8' standalone='yes'?>
<Relationships xmlns="http://schemas.openxmlformats.org/package/2006/relationships"><Relationship Id="rId1" Type="http://schemas.openxmlformats.org/officeDocument/2006/relationships/tags" Target="../tags/tag15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26.xml"/></Relationships>
</file>

<file path=ppt/slides/_rels/slide127.xml.rels><?xml version='1.0' encoding='UTF-8' standalone='yes'?>
<Relationships xmlns="http://schemas.openxmlformats.org/package/2006/relationships"><Relationship Id="rId1" Type="http://schemas.openxmlformats.org/officeDocument/2006/relationships/tags" Target="../tags/tag15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27.xml"/></Relationships>
</file>

<file path=ppt/slides/_rels/slide128.xml.rels><?xml version='1.0' encoding='UTF-8' standalone='yes'?>
<Relationships xmlns="http://schemas.openxmlformats.org/package/2006/relationships"><Relationship Id="rId1" Type="http://schemas.openxmlformats.org/officeDocument/2006/relationships/tags" Target="../tags/tag15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28.xml"/></Relationships>
</file>

<file path=ppt/slides/_rels/slide129.xml.rels><?xml version='1.0' encoding='UTF-8' standalone='yes'?>
<Relationships xmlns="http://schemas.openxmlformats.org/package/2006/relationships"><Relationship Id="rId1" Type="http://schemas.openxmlformats.org/officeDocument/2006/relationships/tags" Target="../tags/tag15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29.xml"/></Relationships>
</file>

<file path=ppt/slides/_rels/slide13.xml.rels><?xml version='1.0' encoding='UTF-8' standalone='yes'?>
<Relationships xmlns="http://schemas.openxmlformats.org/package/2006/relationships"><Relationship Id="rId1" Type="http://schemas.openxmlformats.org/officeDocument/2006/relationships/tags" Target="../tags/tag4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3.xml"/></Relationships>
</file>

<file path=ppt/slides/_rels/slide130.xml.rels><?xml version='1.0' encoding='UTF-8' standalone='yes'?>
<Relationships xmlns="http://schemas.openxmlformats.org/package/2006/relationships"><Relationship Id="rId1" Type="http://schemas.openxmlformats.org/officeDocument/2006/relationships/tags" Target="../tags/tag15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30.xml"/></Relationships>
</file>

<file path=ppt/slides/_rels/slide131.xml.rels><?xml version='1.0' encoding='UTF-8' standalone='yes'?>
<Relationships xmlns="http://schemas.openxmlformats.org/package/2006/relationships"><Relationship Id="rId1" Type="http://schemas.openxmlformats.org/officeDocument/2006/relationships/tags" Target="../tags/tag15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31.xml"/></Relationships>
</file>

<file path=ppt/slides/_rels/slide132.xml.rels><?xml version='1.0' encoding='UTF-8' standalone='yes'?>
<Relationships xmlns="http://schemas.openxmlformats.org/package/2006/relationships"><Relationship Id="rId1" Type="http://schemas.openxmlformats.org/officeDocument/2006/relationships/tags" Target="../tags/tag15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32.xml"/></Relationships>
</file>

<file path=ppt/slides/_rels/slide133.xml.rels><?xml version='1.0' encoding='UTF-8' standalone='yes'?>
<Relationships xmlns="http://schemas.openxmlformats.org/package/2006/relationships"><Relationship Id="rId1" Type="http://schemas.openxmlformats.org/officeDocument/2006/relationships/tags" Target="../tags/tag16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33.xml"/></Relationships>
</file>

<file path=ppt/slides/_rels/slide134.xml.rels><?xml version='1.0' encoding='UTF-8' standalone='yes'?>
<Relationships xmlns="http://schemas.openxmlformats.org/package/2006/relationships"><Relationship Id="rId1" Type="http://schemas.openxmlformats.org/officeDocument/2006/relationships/tags" Target="../tags/tag16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34.xml"/></Relationships>
</file>

<file path=ppt/slides/_rels/slide135.xml.rels><?xml version='1.0' encoding='UTF-8' standalone='yes'?>
<Relationships xmlns="http://schemas.openxmlformats.org/package/2006/relationships"><Relationship Id="rId1" Type="http://schemas.openxmlformats.org/officeDocument/2006/relationships/tags" Target="../tags/tag16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35.xml"/></Relationships>
</file>

<file path=ppt/slides/_rels/slide136.xml.rels><?xml version='1.0' encoding='UTF-8' standalone='yes'?>
<Relationships xmlns="http://schemas.openxmlformats.org/package/2006/relationships"><Relationship Id="rId1" Type="http://schemas.openxmlformats.org/officeDocument/2006/relationships/tags" Target="../tags/tag16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36.xml"/></Relationships>
</file>

<file path=ppt/slides/_rels/slide137.xml.rels><?xml version='1.0' encoding='UTF-8' standalone='yes'?>
<Relationships xmlns="http://schemas.openxmlformats.org/package/2006/relationships"><Relationship Id="rId1" Type="http://schemas.openxmlformats.org/officeDocument/2006/relationships/tags" Target="../tags/tag16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37.xml"/></Relationships>
</file>

<file path=ppt/slides/_rels/slide138.xml.rels><?xml version='1.0' encoding='UTF-8' standalone='yes'?>
<Relationships xmlns="http://schemas.openxmlformats.org/package/2006/relationships"><Relationship Id="rId1" Type="http://schemas.openxmlformats.org/officeDocument/2006/relationships/tags" Target="../tags/tag16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38.xml"/></Relationships>
</file>

<file path=ppt/slides/_rels/slide139.xml.rels><?xml version='1.0' encoding='UTF-8' standalone='yes'?>
<Relationships xmlns="http://schemas.openxmlformats.org/package/2006/relationships"><Relationship Id="rId1" Type="http://schemas.openxmlformats.org/officeDocument/2006/relationships/tags" Target="../tags/tag16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39.xml"/></Relationships>
</file>

<file path=ppt/slides/_rels/slide14.xml.rels><?xml version='1.0' encoding='UTF-8' standalone='yes'?>
<Relationships xmlns="http://schemas.openxmlformats.org/package/2006/relationships"><Relationship Id="rId1" Type="http://schemas.openxmlformats.org/officeDocument/2006/relationships/tags" Target="../tags/tag4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4.xml"/></Relationships>
</file>

<file path=ppt/slides/_rels/slide140.xml.rels><?xml version='1.0' encoding='UTF-8' standalone='yes'?>
<Relationships xmlns="http://schemas.openxmlformats.org/package/2006/relationships"><Relationship Id="rId1" Type="http://schemas.openxmlformats.org/officeDocument/2006/relationships/tags" Target="../tags/tag16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40.xml"/></Relationships>
</file>

<file path=ppt/slides/_rels/slide141.xml.rels><?xml version='1.0' encoding='UTF-8' standalone='yes'?>
<Relationships xmlns="http://schemas.openxmlformats.org/package/2006/relationships"><Relationship Id="rId1" Type="http://schemas.openxmlformats.org/officeDocument/2006/relationships/tags" Target="../tags/tag16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41.xml"/></Relationships>
</file>

<file path=ppt/slides/_rels/slide142.xml.rels><?xml version='1.0' encoding='UTF-8' standalone='yes'?>
<Relationships xmlns="http://schemas.openxmlformats.org/package/2006/relationships"><Relationship Id="rId1" Type="http://schemas.openxmlformats.org/officeDocument/2006/relationships/tags" Target="../tags/tag16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42.xml"/></Relationships>
</file>

<file path=ppt/slides/_rels/slide143.xml.rels><?xml version='1.0' encoding='UTF-8' standalone='yes'?>
<Relationships xmlns="http://schemas.openxmlformats.org/package/2006/relationships"><Relationship Id="rId1" Type="http://schemas.openxmlformats.org/officeDocument/2006/relationships/tags" Target="../tags/tag17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43.xml"/></Relationships>
</file>

<file path=ppt/slides/_rels/slide144.xml.rels><?xml version='1.0' encoding='UTF-8' standalone='yes'?>
<Relationships xmlns="http://schemas.openxmlformats.org/package/2006/relationships"><Relationship Id="rId1" Type="http://schemas.openxmlformats.org/officeDocument/2006/relationships/tags" Target="../tags/tag17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44.xml"/></Relationships>
</file>

<file path=ppt/slides/_rels/slide145.xml.rels><?xml version='1.0' encoding='UTF-8' standalone='yes'?>
<Relationships xmlns="http://schemas.openxmlformats.org/package/2006/relationships"><Relationship Id="rId1" Type="http://schemas.openxmlformats.org/officeDocument/2006/relationships/tags" Target="../tags/tag17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45.xml"/></Relationships>
</file>

<file path=ppt/slides/_rels/slide146.xml.rels><?xml version='1.0' encoding='UTF-8' standalone='yes'?>
<Relationships xmlns="http://schemas.openxmlformats.org/package/2006/relationships"><Relationship Id="rId1" Type="http://schemas.openxmlformats.org/officeDocument/2006/relationships/tags" Target="../tags/tag17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46.xml"/></Relationships>
</file>

<file path=ppt/slides/_rels/slide147.xml.rels><?xml version='1.0' encoding='UTF-8' standalone='yes'?>
<Relationships xmlns="http://schemas.openxmlformats.org/package/2006/relationships"><Relationship Id="rId1" Type="http://schemas.openxmlformats.org/officeDocument/2006/relationships/tags" Target="../tags/tag17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47.xml"/></Relationships>
</file>

<file path=ppt/slides/_rels/slide148.xml.rels><?xml version='1.0' encoding='UTF-8' standalone='yes'?>
<Relationships xmlns="http://schemas.openxmlformats.org/package/2006/relationships"><Relationship Id="rId1" Type="http://schemas.openxmlformats.org/officeDocument/2006/relationships/tags" Target="../tags/tag17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48.xml"/></Relationships>
</file>

<file path=ppt/slides/_rels/slide149.xml.rels><?xml version='1.0' encoding='UTF-8' standalone='yes'?>
<Relationships xmlns="http://schemas.openxmlformats.org/package/2006/relationships"><Relationship Id="rId1" Type="http://schemas.openxmlformats.org/officeDocument/2006/relationships/tags" Target="../tags/tag17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49.xml"/></Relationships>
</file>

<file path=ppt/slides/_rels/slide15.xml.rels><?xml version='1.0' encoding='UTF-8' standalone='yes'?>
<Relationships xmlns="http://schemas.openxmlformats.org/package/2006/relationships"><Relationship Id="rId1" Type="http://schemas.openxmlformats.org/officeDocument/2006/relationships/tags" Target="../tags/tag4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5.xml"/></Relationships>
</file>

<file path=ppt/slides/_rels/slide150.xml.rels><?xml version='1.0' encoding='UTF-8' standalone='yes'?>
<Relationships xmlns="http://schemas.openxmlformats.org/package/2006/relationships"><Relationship Id="rId1" Type="http://schemas.openxmlformats.org/officeDocument/2006/relationships/tags" Target="../tags/tag17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50.xml"/></Relationships>
</file>

<file path=ppt/slides/_rels/slide151.xml.rels><?xml version='1.0' encoding='UTF-8' standalone='yes'?>
<Relationships xmlns="http://schemas.openxmlformats.org/package/2006/relationships"><Relationship Id="rId1" Type="http://schemas.openxmlformats.org/officeDocument/2006/relationships/tags" Target="../tags/tag17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51.xml"/></Relationships>
</file>

<file path=ppt/slides/_rels/slide152.xml.rels><?xml version='1.0' encoding='UTF-8' standalone='yes'?>
<Relationships xmlns="http://schemas.openxmlformats.org/package/2006/relationships"><Relationship Id="rId1" Type="http://schemas.openxmlformats.org/officeDocument/2006/relationships/tags" Target="../tags/tag17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52.xml"/></Relationships>
</file>

<file path=ppt/slides/_rels/slide153.xml.rels><?xml version='1.0' encoding='UTF-8' standalone='yes'?>
<Relationships xmlns="http://schemas.openxmlformats.org/package/2006/relationships"><Relationship Id="rId1" Type="http://schemas.openxmlformats.org/officeDocument/2006/relationships/tags" Target="../tags/tag18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53.xml"/></Relationships>
</file>

<file path=ppt/slides/_rels/slide154.xml.rels><?xml version='1.0' encoding='UTF-8' standalone='yes'?>
<Relationships xmlns="http://schemas.openxmlformats.org/package/2006/relationships"><Relationship Id="rId1" Type="http://schemas.openxmlformats.org/officeDocument/2006/relationships/tags" Target="../tags/tag18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54.xml"/></Relationships>
</file>

<file path=ppt/slides/_rels/slide155.xml.rels><?xml version='1.0' encoding='UTF-8' standalone='yes'?>
<Relationships xmlns="http://schemas.openxmlformats.org/package/2006/relationships"><Relationship Id="rId1" Type="http://schemas.openxmlformats.org/officeDocument/2006/relationships/tags" Target="../tags/tag18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55.xml"/></Relationships>
</file>

<file path=ppt/slides/_rels/slide156.xml.rels><?xml version='1.0' encoding='UTF-8' standalone='yes'?>
<Relationships xmlns="http://schemas.openxmlformats.org/package/2006/relationships"><Relationship Id="rId1" Type="http://schemas.openxmlformats.org/officeDocument/2006/relationships/tags" Target="../tags/tag18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56.xml"/></Relationships>
</file>

<file path=ppt/slides/_rels/slide157.xml.rels><?xml version='1.0' encoding='UTF-8' standalone='yes'?>
<Relationships xmlns="http://schemas.openxmlformats.org/package/2006/relationships"><Relationship Id="rId1" Type="http://schemas.openxmlformats.org/officeDocument/2006/relationships/tags" Target="../tags/tag18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57.xml"/></Relationships>
</file>

<file path=ppt/slides/_rels/slide158.xml.rels><?xml version='1.0' encoding='UTF-8' standalone='yes'?>
<Relationships xmlns="http://schemas.openxmlformats.org/package/2006/relationships"><Relationship Id="rId1" Type="http://schemas.openxmlformats.org/officeDocument/2006/relationships/tags" Target="../tags/tag18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58.xml"/></Relationships>
</file>

<file path=ppt/slides/_rels/slide159.xml.rels><?xml version='1.0' encoding='UTF-8' standalone='yes'?>
<Relationships xmlns="http://schemas.openxmlformats.org/package/2006/relationships"><Relationship Id="rId1" Type="http://schemas.openxmlformats.org/officeDocument/2006/relationships/tags" Target="../tags/tag18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59.xml"/></Relationships>
</file>

<file path=ppt/slides/_rels/slide16.xml.rels><?xml version='1.0' encoding='UTF-8' standalone='yes'?>
<Relationships xmlns="http://schemas.openxmlformats.org/package/2006/relationships"><Relationship Id="rId1" Type="http://schemas.openxmlformats.org/officeDocument/2006/relationships/tags" Target="../tags/tag4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6.xml"/></Relationships>
</file>

<file path=ppt/slides/_rels/slide160.xml.rels><?xml version='1.0' encoding='UTF-8' standalone='yes'?>
<Relationships xmlns="http://schemas.openxmlformats.org/package/2006/relationships"><Relationship Id="rId1" Type="http://schemas.openxmlformats.org/officeDocument/2006/relationships/tags" Target="../tags/tag18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60.xml"/></Relationships>
</file>

<file path=ppt/slides/_rels/slide161.xml.rels><?xml version='1.0' encoding='UTF-8' standalone='yes'?>
<Relationships xmlns="http://schemas.openxmlformats.org/package/2006/relationships"><Relationship Id="rId1" Type="http://schemas.openxmlformats.org/officeDocument/2006/relationships/tags" Target="../tags/tag18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61.xml"/></Relationships>
</file>

<file path=ppt/slides/_rels/slide162.xml.rels><?xml version='1.0' encoding='UTF-8' standalone='yes'?>
<Relationships xmlns="http://schemas.openxmlformats.org/package/2006/relationships"><Relationship Id="rId1" Type="http://schemas.openxmlformats.org/officeDocument/2006/relationships/tags" Target="../tags/tag18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62.xml"/></Relationships>
</file>

<file path=ppt/slides/_rels/slide163.xml.rels><?xml version='1.0' encoding='UTF-8' standalone='yes'?>
<Relationships xmlns="http://schemas.openxmlformats.org/package/2006/relationships"><Relationship Id="rId1" Type="http://schemas.openxmlformats.org/officeDocument/2006/relationships/tags" Target="../tags/tag19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63.xml"/></Relationships>
</file>

<file path=ppt/slides/_rels/slide164.xml.rels><?xml version='1.0' encoding='UTF-8' standalone='yes'?>
<Relationships xmlns="http://schemas.openxmlformats.org/package/2006/relationships"><Relationship Id="rId1" Type="http://schemas.openxmlformats.org/officeDocument/2006/relationships/tags" Target="../tags/tag19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64.xml"/></Relationships>
</file>

<file path=ppt/slides/_rels/slide165.xml.rels><?xml version='1.0' encoding='UTF-8' standalone='yes'?>
<Relationships xmlns="http://schemas.openxmlformats.org/package/2006/relationships"><Relationship Id="rId1" Type="http://schemas.openxmlformats.org/officeDocument/2006/relationships/tags" Target="../tags/tag19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65.xml"/></Relationships>
</file>

<file path=ppt/slides/_rels/slide166.xml.rels><?xml version='1.0' encoding='UTF-8' standalone='yes'?>
<Relationships xmlns="http://schemas.openxmlformats.org/package/2006/relationships"><Relationship Id="rId1" Type="http://schemas.openxmlformats.org/officeDocument/2006/relationships/tags" Target="../tags/tag19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66.xml"/></Relationships>
</file>

<file path=ppt/slides/_rels/slide167.xml.rels><?xml version='1.0' encoding='UTF-8' standalone='yes'?>
<Relationships xmlns="http://schemas.openxmlformats.org/package/2006/relationships"><Relationship Id="rId1" Type="http://schemas.openxmlformats.org/officeDocument/2006/relationships/tags" Target="../tags/tag19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67.xml"/></Relationships>
</file>

<file path=ppt/slides/_rels/slide168.xml.rels><?xml version='1.0' encoding='UTF-8' standalone='yes'?>
<Relationships xmlns="http://schemas.openxmlformats.org/package/2006/relationships"><Relationship Id="rId1" Type="http://schemas.openxmlformats.org/officeDocument/2006/relationships/tags" Target="../tags/tag19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68.xml"/></Relationships>
</file>

<file path=ppt/slides/_rels/slide169.xml.rels><?xml version='1.0' encoding='UTF-8' standalone='yes'?>
<Relationships xmlns="http://schemas.openxmlformats.org/package/2006/relationships"><Relationship Id="rId1" Type="http://schemas.openxmlformats.org/officeDocument/2006/relationships/tags" Target="../tags/tag19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69.xml"/></Relationships>
</file>

<file path=ppt/slides/_rels/slide17.xml.rels><?xml version='1.0' encoding='UTF-8' standalone='yes'?>
<Relationships xmlns="http://schemas.openxmlformats.org/package/2006/relationships"><Relationship Id="rId1" Type="http://schemas.openxmlformats.org/officeDocument/2006/relationships/tags" Target="../tags/tag4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7.xml"/></Relationships>
</file>

<file path=ppt/slides/_rels/slide170.xml.rels><?xml version='1.0' encoding='UTF-8' standalone='yes'?>
<Relationships xmlns="http://schemas.openxmlformats.org/package/2006/relationships"><Relationship Id="rId1" Type="http://schemas.openxmlformats.org/officeDocument/2006/relationships/tags" Target="../tags/tag19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70.xml"/></Relationships>
</file>

<file path=ppt/slides/_rels/slide171.xml.rels><?xml version='1.0' encoding='UTF-8' standalone='yes'?>
<Relationships xmlns="http://schemas.openxmlformats.org/package/2006/relationships"><Relationship Id="rId1" Type="http://schemas.openxmlformats.org/officeDocument/2006/relationships/tags" Target="../tags/tag19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71.xml"/></Relationships>
</file>

<file path=ppt/slides/_rels/slide172.xml.rels><?xml version='1.0' encoding='UTF-8' standalone='yes'?>
<Relationships xmlns="http://schemas.openxmlformats.org/package/2006/relationships"><Relationship Id="rId1" Type="http://schemas.openxmlformats.org/officeDocument/2006/relationships/tags" Target="../tags/tag19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72.xml"/></Relationships>
</file>

<file path=ppt/slides/_rels/slide173.xml.rels><?xml version='1.0' encoding='UTF-8' standalone='yes'?>
<Relationships xmlns="http://schemas.openxmlformats.org/package/2006/relationships"><Relationship Id="rId1" Type="http://schemas.openxmlformats.org/officeDocument/2006/relationships/tags" Target="../tags/tag20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73.xml"/></Relationships>
</file>

<file path=ppt/slides/_rels/slide174.xml.rels><?xml version='1.0' encoding='UTF-8' standalone='yes'?>
<Relationships xmlns="http://schemas.openxmlformats.org/package/2006/relationships"><Relationship Id="rId1" Type="http://schemas.openxmlformats.org/officeDocument/2006/relationships/tags" Target="../tags/tag20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74.xml"/></Relationships>
</file>

<file path=ppt/slides/_rels/slide175.xml.rels><?xml version='1.0' encoding='UTF-8' standalone='yes'?>
<Relationships xmlns="http://schemas.openxmlformats.org/package/2006/relationships"><Relationship Id="rId1" Type="http://schemas.openxmlformats.org/officeDocument/2006/relationships/tags" Target="../tags/tag20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75.xml"/></Relationships>
</file>

<file path=ppt/slides/_rels/slide176.xml.rels><?xml version='1.0' encoding='UTF-8' standalone='yes'?>
<Relationships xmlns="http://schemas.openxmlformats.org/package/2006/relationships"><Relationship Id="rId1" Type="http://schemas.openxmlformats.org/officeDocument/2006/relationships/tags" Target="../tags/tag20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76.xml"/></Relationships>
</file>

<file path=ppt/slides/_rels/slide177.xml.rels><?xml version='1.0' encoding='UTF-8' standalone='yes'?>
<Relationships xmlns="http://schemas.openxmlformats.org/package/2006/relationships"><Relationship Id="rId1" Type="http://schemas.openxmlformats.org/officeDocument/2006/relationships/tags" Target="../tags/tag20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77.xml"/></Relationships>
</file>

<file path=ppt/slides/_rels/slide178.xml.rels><?xml version='1.0' encoding='UTF-8' standalone='yes'?>
<Relationships xmlns="http://schemas.openxmlformats.org/package/2006/relationships"><Relationship Id="rId1" Type="http://schemas.openxmlformats.org/officeDocument/2006/relationships/tags" Target="../tags/tag20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78.xml"/></Relationships>
</file>

<file path=ppt/slides/_rels/slide179.xml.rels><?xml version='1.0' encoding='UTF-8' standalone='yes'?>
<Relationships xmlns="http://schemas.openxmlformats.org/package/2006/relationships"><Relationship Id="rId1" Type="http://schemas.openxmlformats.org/officeDocument/2006/relationships/tags" Target="../tags/tag20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79.xml"/></Relationships>
</file>

<file path=ppt/slides/_rels/slide18.xml.rels><?xml version='1.0' encoding='UTF-8' standalone='yes'?>
<Relationships xmlns="http://schemas.openxmlformats.org/package/2006/relationships"><Relationship Id="rId1" Type="http://schemas.openxmlformats.org/officeDocument/2006/relationships/tags" Target="../tags/tag4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8.xml"/></Relationships>
</file>

<file path=ppt/slides/_rels/slide180.xml.rels><?xml version='1.0' encoding='UTF-8' standalone='yes'?>
<Relationships xmlns="http://schemas.openxmlformats.org/package/2006/relationships"><Relationship Id="rId1" Type="http://schemas.openxmlformats.org/officeDocument/2006/relationships/tags" Target="../tags/tag20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80.xml"/></Relationships>
</file>

<file path=ppt/slides/_rels/slide181.xml.rels><?xml version='1.0' encoding='UTF-8' standalone='yes'?>
<Relationships xmlns="http://schemas.openxmlformats.org/package/2006/relationships"><Relationship Id="rId1" Type="http://schemas.openxmlformats.org/officeDocument/2006/relationships/tags" Target="../tags/tag20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81.xml"/></Relationships>
</file>

<file path=ppt/slides/_rels/slide182.xml.rels><?xml version='1.0' encoding='UTF-8' standalone='yes'?>
<Relationships xmlns="http://schemas.openxmlformats.org/package/2006/relationships"><Relationship Id="rId1" Type="http://schemas.openxmlformats.org/officeDocument/2006/relationships/tags" Target="../tags/tag20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82.xml"/></Relationships>
</file>

<file path=ppt/slides/_rels/slide183.xml.rels><?xml version='1.0' encoding='UTF-8' standalone='yes'?>
<Relationships xmlns="http://schemas.openxmlformats.org/package/2006/relationships"><Relationship Id="rId1" Type="http://schemas.openxmlformats.org/officeDocument/2006/relationships/tags" Target="../tags/tag21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83.xml"/></Relationships>
</file>

<file path=ppt/slides/_rels/slide184.xml.rels><?xml version='1.0' encoding='UTF-8' standalone='yes'?>
<Relationships xmlns="http://schemas.openxmlformats.org/package/2006/relationships"><Relationship Id="rId1" Type="http://schemas.openxmlformats.org/officeDocument/2006/relationships/tags" Target="../tags/tag21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84.xml"/></Relationships>
</file>

<file path=ppt/slides/_rels/slide185.xml.rels><?xml version='1.0' encoding='UTF-8' standalone='yes'?>
<Relationships xmlns="http://schemas.openxmlformats.org/package/2006/relationships"><Relationship Id="rId1" Type="http://schemas.openxmlformats.org/officeDocument/2006/relationships/tags" Target="../tags/tag21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85.xml"/></Relationships>
</file>

<file path=ppt/slides/_rels/slide186.xml.rels><?xml version='1.0' encoding='UTF-8' standalone='yes'?>
<Relationships xmlns="http://schemas.openxmlformats.org/package/2006/relationships"><Relationship Id="rId1" Type="http://schemas.openxmlformats.org/officeDocument/2006/relationships/tags" Target="../tags/tag21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86.xml"/></Relationships>
</file>

<file path=ppt/slides/_rels/slide187.xml.rels><?xml version='1.0' encoding='UTF-8' standalone='yes'?>
<Relationships xmlns="http://schemas.openxmlformats.org/package/2006/relationships"><Relationship Id="rId1" Type="http://schemas.openxmlformats.org/officeDocument/2006/relationships/tags" Target="../tags/tag21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87.xml"/></Relationships>
</file>

<file path=ppt/slides/_rels/slide188.xml.rels><?xml version='1.0' encoding='UTF-8' standalone='yes'?>
<Relationships xmlns="http://schemas.openxmlformats.org/package/2006/relationships"><Relationship Id="rId1" Type="http://schemas.openxmlformats.org/officeDocument/2006/relationships/tags" Target="../tags/tag21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88.xml"/></Relationships>
</file>

<file path=ppt/slides/_rels/slide189.xml.rels><?xml version='1.0' encoding='UTF-8' standalone='yes'?>
<Relationships xmlns="http://schemas.openxmlformats.org/package/2006/relationships"><Relationship Id="rId1" Type="http://schemas.openxmlformats.org/officeDocument/2006/relationships/tags" Target="../tags/tag21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89.xml"/></Relationships>
</file>

<file path=ppt/slides/_rels/slide19.xml.rels><?xml version='1.0' encoding='UTF-8' standalone='yes'?>
<Relationships xmlns="http://schemas.openxmlformats.org/package/2006/relationships"><Relationship Id="rId1" Type="http://schemas.openxmlformats.org/officeDocument/2006/relationships/tags" Target="../tags/tag4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9.xml"/></Relationships>
</file>

<file path=ppt/slides/_rels/slide190.xml.rels><?xml version='1.0' encoding='UTF-8' standalone='yes'?>
<Relationships xmlns="http://schemas.openxmlformats.org/package/2006/relationships"><Relationship Id="rId1" Type="http://schemas.openxmlformats.org/officeDocument/2006/relationships/tags" Target="../tags/tag21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90.xml"/></Relationships>
</file>

<file path=ppt/slides/_rels/slide191.xml.rels><?xml version='1.0' encoding='UTF-8' standalone='yes'?>
<Relationships xmlns="http://schemas.openxmlformats.org/package/2006/relationships"><Relationship Id="rId1" Type="http://schemas.openxmlformats.org/officeDocument/2006/relationships/tags" Target="../tags/tag21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91.xml"/></Relationships>
</file>

<file path=ppt/slides/_rels/slide192.xml.rels><?xml version='1.0' encoding='UTF-8' standalone='yes'?>
<Relationships xmlns="http://schemas.openxmlformats.org/package/2006/relationships"><Relationship Id="rId1" Type="http://schemas.openxmlformats.org/officeDocument/2006/relationships/tags" Target="../tags/tag21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92.xml"/></Relationships>
</file>

<file path=ppt/slides/_rels/slide193.xml.rels><?xml version='1.0' encoding='UTF-8' standalone='yes'?>
<Relationships xmlns="http://schemas.openxmlformats.org/package/2006/relationships"><Relationship Id="rId1" Type="http://schemas.openxmlformats.org/officeDocument/2006/relationships/tags" Target="../tags/tag22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93.xml"/></Relationships>
</file>

<file path=ppt/slides/_rels/slide194.xml.rels><?xml version='1.0' encoding='UTF-8' standalone='yes'?>
<Relationships xmlns="http://schemas.openxmlformats.org/package/2006/relationships"><Relationship Id="rId1" Type="http://schemas.openxmlformats.org/officeDocument/2006/relationships/tags" Target="../tags/tag22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94.xml"/></Relationships>
</file>

<file path=ppt/slides/_rels/slide195.xml.rels><?xml version='1.0' encoding='UTF-8' standalone='yes'?>
<Relationships xmlns="http://schemas.openxmlformats.org/package/2006/relationships"><Relationship Id="rId1" Type="http://schemas.openxmlformats.org/officeDocument/2006/relationships/tags" Target="../tags/tag22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95.xml"/></Relationships>
</file>

<file path=ppt/slides/_rels/slide196.xml.rels><?xml version='1.0' encoding='UTF-8' standalone='yes'?>
<Relationships xmlns="http://schemas.openxmlformats.org/package/2006/relationships"><Relationship Id="rId1" Type="http://schemas.openxmlformats.org/officeDocument/2006/relationships/tags" Target="../tags/tag22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96.xml"/></Relationships>
</file>

<file path=ppt/slides/_rels/slide197.xml.rels><?xml version='1.0' encoding='UTF-8' standalone='yes'?>
<Relationships xmlns="http://schemas.openxmlformats.org/package/2006/relationships"><Relationship Id="rId1" Type="http://schemas.openxmlformats.org/officeDocument/2006/relationships/tags" Target="../tags/tag22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97.xml"/></Relationships>
</file>

<file path=ppt/slides/_rels/slide198.xml.rels><?xml version='1.0' encoding='UTF-8' standalone='yes'?>
<Relationships xmlns="http://schemas.openxmlformats.org/package/2006/relationships"><Relationship Id="rId1" Type="http://schemas.openxmlformats.org/officeDocument/2006/relationships/tags" Target="../tags/tag22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98.xml"/></Relationships>
</file>

<file path=ppt/slides/_rels/slide199.xml.rels><?xml version='1.0' encoding='UTF-8' standalone='yes'?>
<Relationships xmlns="http://schemas.openxmlformats.org/package/2006/relationships"><Relationship Id="rId1" Type="http://schemas.openxmlformats.org/officeDocument/2006/relationships/tags" Target="../tags/tag22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99.xml"/></Relationships>
</file>

<file path=ppt/slides/_rels/slide2.xml.rels><?xml version='1.0' encoding='UTF-8' standalone='yes'?>
<Relationships xmlns="http://schemas.openxmlformats.org/package/2006/relationships"><Relationship Id="rId1" Type="http://schemas.openxmlformats.org/officeDocument/2006/relationships/tags" Target="../tags/tag2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xml"/></Relationships>
</file>

<file path=ppt/slides/_rels/slide20.xml.rels><?xml version='1.0' encoding='UTF-8' standalone='yes'?>
<Relationships xmlns="http://schemas.openxmlformats.org/package/2006/relationships"><Relationship Id="rId1" Type="http://schemas.openxmlformats.org/officeDocument/2006/relationships/tags" Target="../tags/tag4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0.xml"/></Relationships>
</file>

<file path=ppt/slides/_rels/slide200.xml.rels><?xml version='1.0' encoding='UTF-8' standalone='yes'?>
<Relationships xmlns="http://schemas.openxmlformats.org/package/2006/relationships"><Relationship Id="rId1" Type="http://schemas.openxmlformats.org/officeDocument/2006/relationships/tags" Target="../tags/tag22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00.xml"/></Relationships>
</file>

<file path=ppt/slides/_rels/slide201.xml.rels><?xml version='1.0' encoding='UTF-8' standalone='yes'?>
<Relationships xmlns="http://schemas.openxmlformats.org/package/2006/relationships"><Relationship Id="rId1" Type="http://schemas.openxmlformats.org/officeDocument/2006/relationships/tags" Target="../tags/tag22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01.xml"/></Relationships>
</file>

<file path=ppt/slides/_rels/slide202.xml.rels><?xml version='1.0' encoding='UTF-8' standalone='yes'?>
<Relationships xmlns="http://schemas.openxmlformats.org/package/2006/relationships"><Relationship Id="rId1" Type="http://schemas.openxmlformats.org/officeDocument/2006/relationships/tags" Target="../tags/tag22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02.xml"/></Relationships>
</file>

<file path=ppt/slides/_rels/slide203.xml.rels><?xml version='1.0' encoding='UTF-8' standalone='yes'?>
<Relationships xmlns="http://schemas.openxmlformats.org/package/2006/relationships"><Relationship Id="rId1" Type="http://schemas.openxmlformats.org/officeDocument/2006/relationships/tags" Target="../tags/tag23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03.xml"/></Relationships>
</file>

<file path=ppt/slides/_rels/slide204.xml.rels><?xml version='1.0' encoding='UTF-8' standalone='yes'?>
<Relationships xmlns="http://schemas.openxmlformats.org/package/2006/relationships"><Relationship Id="rId1" Type="http://schemas.openxmlformats.org/officeDocument/2006/relationships/tags" Target="../tags/tag23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04.xml"/></Relationships>
</file>

<file path=ppt/slides/_rels/slide205.xml.rels><?xml version='1.0' encoding='UTF-8' standalone='yes'?>
<Relationships xmlns="http://schemas.openxmlformats.org/package/2006/relationships"><Relationship Id="rId1" Type="http://schemas.openxmlformats.org/officeDocument/2006/relationships/tags" Target="../tags/tag23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05.xml"/></Relationships>
</file>

<file path=ppt/slides/_rels/slide206.xml.rels><?xml version='1.0' encoding='UTF-8' standalone='yes'?>
<Relationships xmlns="http://schemas.openxmlformats.org/package/2006/relationships"><Relationship Id="rId1" Type="http://schemas.openxmlformats.org/officeDocument/2006/relationships/tags" Target="../tags/tag23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06.xml"/></Relationships>
</file>

<file path=ppt/slides/_rels/slide207.xml.rels><?xml version='1.0' encoding='UTF-8' standalone='yes'?>
<Relationships xmlns="http://schemas.openxmlformats.org/package/2006/relationships"><Relationship Id="rId1" Type="http://schemas.openxmlformats.org/officeDocument/2006/relationships/tags" Target="../tags/tag23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07.xml"/></Relationships>
</file>

<file path=ppt/slides/_rels/slide208.xml.rels><?xml version='1.0' encoding='UTF-8' standalone='yes'?>
<Relationships xmlns="http://schemas.openxmlformats.org/package/2006/relationships"><Relationship Id="rId1" Type="http://schemas.openxmlformats.org/officeDocument/2006/relationships/tags" Target="../tags/tag23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08.xml"/></Relationships>
</file>

<file path=ppt/slides/_rels/slide209.xml.rels><?xml version='1.0' encoding='UTF-8' standalone='yes'?>
<Relationships xmlns="http://schemas.openxmlformats.org/package/2006/relationships"><Relationship Id="rId1" Type="http://schemas.openxmlformats.org/officeDocument/2006/relationships/tags" Target="../tags/tag23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09.xml"/></Relationships>
</file>

<file path=ppt/slides/_rels/slide21.xml.rels><?xml version='1.0' encoding='UTF-8' standalone='yes'?>
<Relationships xmlns="http://schemas.openxmlformats.org/package/2006/relationships"><Relationship Id="rId1" Type="http://schemas.openxmlformats.org/officeDocument/2006/relationships/tags" Target="../tags/tag4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1.xml"/></Relationships>
</file>

<file path=ppt/slides/_rels/slide210.xml.rels><?xml version='1.0' encoding='UTF-8' standalone='yes'?>
<Relationships xmlns="http://schemas.openxmlformats.org/package/2006/relationships"><Relationship Id="rId1" Type="http://schemas.openxmlformats.org/officeDocument/2006/relationships/tags" Target="../tags/tag23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10.xml"/></Relationships>
</file>

<file path=ppt/slides/_rels/slide211.xml.rels><?xml version='1.0' encoding='UTF-8' standalone='yes'?>
<Relationships xmlns="http://schemas.openxmlformats.org/package/2006/relationships"><Relationship Id="rId1" Type="http://schemas.openxmlformats.org/officeDocument/2006/relationships/tags" Target="../tags/tag23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11.xml"/></Relationships>
</file>

<file path=ppt/slides/_rels/slide212.xml.rels><?xml version='1.0' encoding='UTF-8' standalone='yes'?>
<Relationships xmlns="http://schemas.openxmlformats.org/package/2006/relationships"><Relationship Id="rId1" Type="http://schemas.openxmlformats.org/officeDocument/2006/relationships/tags" Target="../tags/tag23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12.xml"/></Relationships>
</file>

<file path=ppt/slides/_rels/slide213.xml.rels><?xml version='1.0' encoding='UTF-8' standalone='yes'?>
<Relationships xmlns="http://schemas.openxmlformats.org/package/2006/relationships"><Relationship Id="rId1" Type="http://schemas.openxmlformats.org/officeDocument/2006/relationships/tags" Target="../tags/tag24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13.xml"/></Relationships>
</file>

<file path=ppt/slides/_rels/slide214.xml.rels><?xml version='1.0' encoding='UTF-8' standalone='yes'?>
<Relationships xmlns="http://schemas.openxmlformats.org/package/2006/relationships"><Relationship Id="rId1" Type="http://schemas.openxmlformats.org/officeDocument/2006/relationships/tags" Target="../tags/tag24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14.xml"/></Relationships>
</file>

<file path=ppt/slides/_rels/slide215.xml.rels><?xml version='1.0' encoding='UTF-8' standalone='yes'?>
<Relationships xmlns="http://schemas.openxmlformats.org/package/2006/relationships"><Relationship Id="rId1" Type="http://schemas.openxmlformats.org/officeDocument/2006/relationships/tags" Target="../tags/tag24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15.xml"/></Relationships>
</file>

<file path=ppt/slides/_rels/slide216.xml.rels><?xml version='1.0' encoding='UTF-8' standalone='yes'?>
<Relationships xmlns="http://schemas.openxmlformats.org/package/2006/relationships"><Relationship Id="rId1" Type="http://schemas.openxmlformats.org/officeDocument/2006/relationships/tags" Target="../tags/tag24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16.xml"/></Relationships>
</file>

<file path=ppt/slides/_rels/slide217.xml.rels><?xml version='1.0' encoding='UTF-8' standalone='yes'?>
<Relationships xmlns="http://schemas.openxmlformats.org/package/2006/relationships"><Relationship Id="rId1" Type="http://schemas.openxmlformats.org/officeDocument/2006/relationships/tags" Target="../tags/tag24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17.xml"/></Relationships>
</file>

<file path=ppt/slides/_rels/slide218.xml.rels><?xml version='1.0' encoding='UTF-8' standalone='yes'?>
<Relationships xmlns="http://schemas.openxmlformats.org/package/2006/relationships"><Relationship Id="rId1" Type="http://schemas.openxmlformats.org/officeDocument/2006/relationships/tags" Target="../tags/tag24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18.xml"/></Relationships>
</file>

<file path=ppt/slides/_rels/slide219.xml.rels><?xml version='1.0' encoding='UTF-8' standalone='yes'?>
<Relationships xmlns="http://schemas.openxmlformats.org/package/2006/relationships"><Relationship Id="rId1" Type="http://schemas.openxmlformats.org/officeDocument/2006/relationships/tags" Target="../tags/tag24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19.xml"/></Relationships>
</file>

<file path=ppt/slides/_rels/slide22.xml.rels><?xml version='1.0' encoding='UTF-8' standalone='yes'?>
<Relationships xmlns="http://schemas.openxmlformats.org/package/2006/relationships"><Relationship Id="rId1" Type="http://schemas.openxmlformats.org/officeDocument/2006/relationships/tags" Target="../tags/tag4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2.xml"/></Relationships>
</file>

<file path=ppt/slides/_rels/slide220.xml.rels><?xml version='1.0' encoding='UTF-8' standalone='yes'?>
<Relationships xmlns="http://schemas.openxmlformats.org/package/2006/relationships"><Relationship Id="rId1" Type="http://schemas.openxmlformats.org/officeDocument/2006/relationships/tags" Target="../tags/tag24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20.xml"/></Relationships>
</file>

<file path=ppt/slides/_rels/slide221.xml.rels><?xml version='1.0' encoding='UTF-8' standalone='yes'?>
<Relationships xmlns="http://schemas.openxmlformats.org/package/2006/relationships"><Relationship Id="rId1" Type="http://schemas.openxmlformats.org/officeDocument/2006/relationships/tags" Target="../tags/tag24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21.xml"/></Relationships>
</file>

<file path=ppt/slides/_rels/slide222.xml.rels><?xml version='1.0' encoding='UTF-8' standalone='yes'?>
<Relationships xmlns="http://schemas.openxmlformats.org/package/2006/relationships"><Relationship Id="rId1" Type="http://schemas.openxmlformats.org/officeDocument/2006/relationships/tags" Target="../tags/tag24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22.xml"/></Relationships>
</file>

<file path=ppt/slides/_rels/slide223.xml.rels><?xml version='1.0' encoding='UTF-8' standalone='yes'?>
<Relationships xmlns="http://schemas.openxmlformats.org/package/2006/relationships"><Relationship Id="rId1" Type="http://schemas.openxmlformats.org/officeDocument/2006/relationships/tags" Target="../tags/tag25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23.xml"/></Relationships>
</file>

<file path=ppt/slides/_rels/slide224.xml.rels><?xml version='1.0' encoding='UTF-8' standalone='yes'?>
<Relationships xmlns="http://schemas.openxmlformats.org/package/2006/relationships"><Relationship Id="rId1" Type="http://schemas.openxmlformats.org/officeDocument/2006/relationships/tags" Target="../tags/tag25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24.xml"/></Relationships>
</file>

<file path=ppt/slides/_rels/slide225.xml.rels><?xml version='1.0' encoding='UTF-8' standalone='yes'?>
<Relationships xmlns="http://schemas.openxmlformats.org/package/2006/relationships"><Relationship Id="rId1" Type="http://schemas.openxmlformats.org/officeDocument/2006/relationships/tags" Target="../tags/tag25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25.xml"/></Relationships>
</file>

<file path=ppt/slides/_rels/slide226.xml.rels><?xml version='1.0' encoding='UTF-8' standalone='yes'?>
<Relationships xmlns="http://schemas.openxmlformats.org/package/2006/relationships"><Relationship Id="rId1" Type="http://schemas.openxmlformats.org/officeDocument/2006/relationships/tags" Target="../tags/tag25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26.xml"/></Relationships>
</file>

<file path=ppt/slides/_rels/slide227.xml.rels><?xml version='1.0' encoding='UTF-8' standalone='yes'?>
<Relationships xmlns="http://schemas.openxmlformats.org/package/2006/relationships"><Relationship Id="rId1" Type="http://schemas.openxmlformats.org/officeDocument/2006/relationships/tags" Target="../tags/tag25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27.xml"/></Relationships>
</file>

<file path=ppt/slides/_rels/slide228.xml.rels><?xml version='1.0' encoding='UTF-8' standalone='yes'?>
<Relationships xmlns="http://schemas.openxmlformats.org/package/2006/relationships"><Relationship Id="rId1" Type="http://schemas.openxmlformats.org/officeDocument/2006/relationships/tags" Target="../tags/tag25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28.xml"/></Relationships>
</file>

<file path=ppt/slides/_rels/slide229.xml.rels><?xml version='1.0' encoding='UTF-8' standalone='yes'?>
<Relationships xmlns="http://schemas.openxmlformats.org/package/2006/relationships"><Relationship Id="rId1" Type="http://schemas.openxmlformats.org/officeDocument/2006/relationships/tags" Target="../tags/tag25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29.xml"/></Relationships>
</file>

<file path=ppt/slides/_rels/slide23.xml.rels><?xml version='1.0' encoding='UTF-8' standalone='yes'?>
<Relationships xmlns="http://schemas.openxmlformats.org/package/2006/relationships"><Relationship Id="rId1" Type="http://schemas.openxmlformats.org/officeDocument/2006/relationships/tags" Target="../tags/tag5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3.xml"/></Relationships>
</file>

<file path=ppt/slides/_rels/slide230.xml.rels><?xml version='1.0' encoding='UTF-8' standalone='yes'?>
<Relationships xmlns="http://schemas.openxmlformats.org/package/2006/relationships"><Relationship Id="rId1" Type="http://schemas.openxmlformats.org/officeDocument/2006/relationships/tags" Target="../tags/tag25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30.xml"/></Relationships>
</file>

<file path=ppt/slides/_rels/slide231.xml.rels><?xml version='1.0' encoding='UTF-8' standalone='yes'?>
<Relationships xmlns="http://schemas.openxmlformats.org/package/2006/relationships"><Relationship Id="rId1" Type="http://schemas.openxmlformats.org/officeDocument/2006/relationships/tags" Target="../tags/tag25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31.xml"/></Relationships>
</file>

<file path=ppt/slides/_rels/slide232.xml.rels><?xml version='1.0' encoding='UTF-8' standalone='yes'?>
<Relationships xmlns="http://schemas.openxmlformats.org/package/2006/relationships"><Relationship Id="rId1" Type="http://schemas.openxmlformats.org/officeDocument/2006/relationships/tags" Target="../tags/tag25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32.xml"/></Relationships>
</file>

<file path=ppt/slides/_rels/slide233.xml.rels><?xml version='1.0' encoding='UTF-8' standalone='yes'?>
<Relationships xmlns="http://schemas.openxmlformats.org/package/2006/relationships"><Relationship Id="rId1" Type="http://schemas.openxmlformats.org/officeDocument/2006/relationships/tags" Target="../tags/tag26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33.xml"/></Relationships>
</file>

<file path=ppt/slides/_rels/slide234.xml.rels><?xml version='1.0' encoding='UTF-8' standalone='yes'?>
<Relationships xmlns="http://schemas.openxmlformats.org/package/2006/relationships"><Relationship Id="rId1" Type="http://schemas.openxmlformats.org/officeDocument/2006/relationships/tags" Target="../tags/tag26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34.xml"/></Relationships>
</file>

<file path=ppt/slides/_rels/slide235.xml.rels><?xml version='1.0' encoding='UTF-8' standalone='yes'?>
<Relationships xmlns="http://schemas.openxmlformats.org/package/2006/relationships"><Relationship Id="rId1" Type="http://schemas.openxmlformats.org/officeDocument/2006/relationships/tags" Target="../tags/tag26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35.xml"/></Relationships>
</file>

<file path=ppt/slides/_rels/slide236.xml.rels><?xml version='1.0' encoding='UTF-8' standalone='yes'?>
<Relationships xmlns="http://schemas.openxmlformats.org/package/2006/relationships"><Relationship Id="rId1" Type="http://schemas.openxmlformats.org/officeDocument/2006/relationships/tags" Target="../tags/tag26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36.xml"/></Relationships>
</file>

<file path=ppt/slides/_rels/slide237.xml.rels><?xml version='1.0' encoding='UTF-8' standalone='yes'?>
<Relationships xmlns="http://schemas.openxmlformats.org/package/2006/relationships"><Relationship Id="rId1" Type="http://schemas.openxmlformats.org/officeDocument/2006/relationships/tags" Target="../tags/tag26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37.xml"/></Relationships>
</file>

<file path=ppt/slides/_rels/slide238.xml.rels><?xml version='1.0' encoding='UTF-8' standalone='yes'?>
<Relationships xmlns="http://schemas.openxmlformats.org/package/2006/relationships"><Relationship Id="rId1" Type="http://schemas.openxmlformats.org/officeDocument/2006/relationships/tags" Target="../tags/tag26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38.xml"/></Relationships>
</file>

<file path=ppt/slides/_rels/slide239.xml.rels><?xml version='1.0' encoding='UTF-8' standalone='yes'?>
<Relationships xmlns="http://schemas.openxmlformats.org/package/2006/relationships"><Relationship Id="rId1" Type="http://schemas.openxmlformats.org/officeDocument/2006/relationships/tags" Target="../tags/tag26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39.xml"/></Relationships>
</file>

<file path=ppt/slides/_rels/slide24.xml.rels><?xml version='1.0' encoding='UTF-8' standalone='yes'?>
<Relationships xmlns="http://schemas.openxmlformats.org/package/2006/relationships"><Relationship Id="rId1" Type="http://schemas.openxmlformats.org/officeDocument/2006/relationships/tags" Target="../tags/tag5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4.xml"/></Relationships>
</file>

<file path=ppt/slides/_rels/slide240.xml.rels><?xml version='1.0' encoding='UTF-8' standalone='yes'?>
<Relationships xmlns="http://schemas.openxmlformats.org/package/2006/relationships"><Relationship Id="rId1" Type="http://schemas.openxmlformats.org/officeDocument/2006/relationships/tags" Target="../tags/tag26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40.xml"/></Relationships>
</file>

<file path=ppt/slides/_rels/slide241.xml.rels><?xml version='1.0' encoding='UTF-8' standalone='yes'?>
<Relationships xmlns="http://schemas.openxmlformats.org/package/2006/relationships"><Relationship Id="rId1" Type="http://schemas.openxmlformats.org/officeDocument/2006/relationships/tags" Target="../tags/tag26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41.xml"/></Relationships>
</file>

<file path=ppt/slides/_rels/slide242.xml.rels><?xml version='1.0' encoding='UTF-8' standalone='yes'?>
<Relationships xmlns="http://schemas.openxmlformats.org/package/2006/relationships"><Relationship Id="rId1" Type="http://schemas.openxmlformats.org/officeDocument/2006/relationships/tags" Target="../tags/tag26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42.xml"/></Relationships>
</file>

<file path=ppt/slides/_rels/slide243.xml.rels><?xml version='1.0' encoding='UTF-8' standalone='yes'?>
<Relationships xmlns="http://schemas.openxmlformats.org/package/2006/relationships"><Relationship Id="rId1" Type="http://schemas.openxmlformats.org/officeDocument/2006/relationships/tags" Target="../tags/tag27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43.xml"/></Relationships>
</file>

<file path=ppt/slides/_rels/slide244.xml.rels><?xml version='1.0' encoding='UTF-8' standalone='yes'?>
<Relationships xmlns="http://schemas.openxmlformats.org/package/2006/relationships"><Relationship Id="rId1" Type="http://schemas.openxmlformats.org/officeDocument/2006/relationships/tags" Target="../tags/tag27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44.xml"/></Relationships>
</file>

<file path=ppt/slides/_rels/slide245.xml.rels><?xml version='1.0' encoding='UTF-8' standalone='yes'?>
<Relationships xmlns="http://schemas.openxmlformats.org/package/2006/relationships"><Relationship Id="rId1" Type="http://schemas.openxmlformats.org/officeDocument/2006/relationships/tags" Target="../tags/tag27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45.xml"/></Relationships>
</file>

<file path=ppt/slides/_rels/slide246.xml.rels><?xml version='1.0' encoding='UTF-8' standalone='yes'?>
<Relationships xmlns="http://schemas.openxmlformats.org/package/2006/relationships"><Relationship Id="rId1" Type="http://schemas.openxmlformats.org/officeDocument/2006/relationships/tags" Target="../tags/tag27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46.xml"/></Relationships>
</file>

<file path=ppt/slides/_rels/slide247.xml.rels><?xml version='1.0' encoding='UTF-8' standalone='yes'?>
<Relationships xmlns="http://schemas.openxmlformats.org/package/2006/relationships"><Relationship Id="rId1" Type="http://schemas.openxmlformats.org/officeDocument/2006/relationships/tags" Target="../tags/tag27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47.xml"/></Relationships>
</file>

<file path=ppt/slides/_rels/slide248.xml.rels><?xml version='1.0' encoding='UTF-8' standalone='yes'?>
<Relationships xmlns="http://schemas.openxmlformats.org/package/2006/relationships"><Relationship Id="rId1" Type="http://schemas.openxmlformats.org/officeDocument/2006/relationships/tags" Target="../tags/tag27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48.xml"/></Relationships>
</file>

<file path=ppt/slides/_rels/slide249.xml.rels><?xml version='1.0' encoding='UTF-8' standalone='yes'?>
<Relationships xmlns="http://schemas.openxmlformats.org/package/2006/relationships"><Relationship Id="rId1" Type="http://schemas.openxmlformats.org/officeDocument/2006/relationships/tags" Target="../tags/tag27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49.xml"/></Relationships>
</file>

<file path=ppt/slides/_rels/slide25.xml.rels><?xml version='1.0' encoding='UTF-8' standalone='yes'?>
<Relationships xmlns="http://schemas.openxmlformats.org/package/2006/relationships"><Relationship Id="rId1" Type="http://schemas.openxmlformats.org/officeDocument/2006/relationships/tags" Target="../tags/tag5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5.xml"/></Relationships>
</file>

<file path=ppt/slides/_rels/slide250.xml.rels><?xml version='1.0' encoding='UTF-8' standalone='yes'?>
<Relationships xmlns="http://schemas.openxmlformats.org/package/2006/relationships"><Relationship Id="rId1" Type="http://schemas.openxmlformats.org/officeDocument/2006/relationships/tags" Target="../tags/tag27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50.xml"/></Relationships>
</file>

<file path=ppt/slides/_rels/slide251.xml.rels><?xml version='1.0' encoding='UTF-8' standalone='yes'?>
<Relationships xmlns="http://schemas.openxmlformats.org/package/2006/relationships"><Relationship Id="rId1" Type="http://schemas.openxmlformats.org/officeDocument/2006/relationships/tags" Target="../tags/tag27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51.xml"/></Relationships>
</file>

<file path=ppt/slides/_rels/slide252.xml.rels><?xml version='1.0' encoding='UTF-8' standalone='yes'?>
<Relationships xmlns="http://schemas.openxmlformats.org/package/2006/relationships"><Relationship Id="rId1" Type="http://schemas.openxmlformats.org/officeDocument/2006/relationships/tags" Target="../tags/tag27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52.xml"/></Relationships>
</file>

<file path=ppt/slides/_rels/slide253.xml.rels><?xml version='1.0' encoding='UTF-8' standalone='yes'?>
<Relationships xmlns="http://schemas.openxmlformats.org/package/2006/relationships"><Relationship Id="rId1" Type="http://schemas.openxmlformats.org/officeDocument/2006/relationships/tags" Target="../tags/tag28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53.xml"/></Relationships>
</file>

<file path=ppt/slides/_rels/slide254.xml.rels><?xml version='1.0' encoding='UTF-8' standalone='yes'?>
<Relationships xmlns="http://schemas.openxmlformats.org/package/2006/relationships"><Relationship Id="rId1" Type="http://schemas.openxmlformats.org/officeDocument/2006/relationships/tags" Target="../tags/tag28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54.xml"/></Relationships>
</file>

<file path=ppt/slides/_rels/slide255.xml.rels><?xml version='1.0' encoding='UTF-8' standalone='yes'?>
<Relationships xmlns="http://schemas.openxmlformats.org/package/2006/relationships"><Relationship Id="rId1" Type="http://schemas.openxmlformats.org/officeDocument/2006/relationships/tags" Target="../tags/tag28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55.xml"/></Relationships>
</file>

<file path=ppt/slides/_rels/slide256.xml.rels><?xml version='1.0' encoding='UTF-8' standalone='yes'?>
<Relationships xmlns="http://schemas.openxmlformats.org/package/2006/relationships"><Relationship Id="rId1" Type="http://schemas.openxmlformats.org/officeDocument/2006/relationships/tags" Target="../tags/tag28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56.xml"/></Relationships>
</file>

<file path=ppt/slides/_rels/slide257.xml.rels><?xml version='1.0' encoding='UTF-8' standalone='yes'?>
<Relationships xmlns="http://schemas.openxmlformats.org/package/2006/relationships"><Relationship Id="rId1" Type="http://schemas.openxmlformats.org/officeDocument/2006/relationships/tags" Target="../tags/tag28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57.xml"/></Relationships>
</file>

<file path=ppt/slides/_rels/slide258.xml.rels><?xml version='1.0' encoding='UTF-8' standalone='yes'?>
<Relationships xmlns="http://schemas.openxmlformats.org/package/2006/relationships"><Relationship Id="rId1" Type="http://schemas.openxmlformats.org/officeDocument/2006/relationships/tags" Target="../tags/tag28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58.xml"/></Relationships>
</file>

<file path=ppt/slides/_rels/slide259.xml.rels><?xml version='1.0' encoding='UTF-8' standalone='yes'?>
<Relationships xmlns="http://schemas.openxmlformats.org/package/2006/relationships"><Relationship Id="rId1" Type="http://schemas.openxmlformats.org/officeDocument/2006/relationships/tags" Target="../tags/tag28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59.xml"/></Relationships>
</file>

<file path=ppt/slides/_rels/slide26.xml.rels><?xml version='1.0' encoding='UTF-8' standalone='yes'?>
<Relationships xmlns="http://schemas.openxmlformats.org/package/2006/relationships"><Relationship Id="rId1" Type="http://schemas.openxmlformats.org/officeDocument/2006/relationships/tags" Target="../tags/tag5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6.xml"/></Relationships>
</file>

<file path=ppt/slides/_rels/slide260.xml.rels><?xml version='1.0' encoding='UTF-8' standalone='yes'?>
<Relationships xmlns="http://schemas.openxmlformats.org/package/2006/relationships"><Relationship Id="rId1" Type="http://schemas.openxmlformats.org/officeDocument/2006/relationships/tags" Target="../tags/tag28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60.xml"/></Relationships>
</file>

<file path=ppt/slides/_rels/slide261.xml.rels><?xml version='1.0' encoding='UTF-8' standalone='yes'?>
<Relationships xmlns="http://schemas.openxmlformats.org/package/2006/relationships"><Relationship Id="rId1" Type="http://schemas.openxmlformats.org/officeDocument/2006/relationships/tags" Target="../tags/tag28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61.xml"/></Relationships>
</file>

<file path=ppt/slides/_rels/slide262.xml.rels><?xml version='1.0' encoding='UTF-8' standalone='yes'?>
<Relationships xmlns="http://schemas.openxmlformats.org/package/2006/relationships"><Relationship Id="rId1" Type="http://schemas.openxmlformats.org/officeDocument/2006/relationships/tags" Target="../tags/tag28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62.xml"/></Relationships>
</file>

<file path=ppt/slides/_rels/slide263.xml.rels><?xml version='1.0' encoding='UTF-8' standalone='yes'?>
<Relationships xmlns="http://schemas.openxmlformats.org/package/2006/relationships"><Relationship Id="rId1" Type="http://schemas.openxmlformats.org/officeDocument/2006/relationships/tags" Target="../tags/tag29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63.xml"/></Relationships>
</file>

<file path=ppt/slides/_rels/slide264.xml.rels><?xml version='1.0' encoding='UTF-8' standalone='yes'?>
<Relationships xmlns="http://schemas.openxmlformats.org/package/2006/relationships"><Relationship Id="rId1" Type="http://schemas.openxmlformats.org/officeDocument/2006/relationships/tags" Target="../tags/tag29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64.xml"/></Relationships>
</file>

<file path=ppt/slides/_rels/slide265.xml.rels><?xml version='1.0' encoding='UTF-8' standalone='yes'?>
<Relationships xmlns="http://schemas.openxmlformats.org/package/2006/relationships"><Relationship Id="rId1" Type="http://schemas.openxmlformats.org/officeDocument/2006/relationships/tags" Target="../tags/tag29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65.xml"/></Relationships>
</file>

<file path=ppt/slides/_rels/slide266.xml.rels><?xml version='1.0' encoding='UTF-8' standalone='yes'?>
<Relationships xmlns="http://schemas.openxmlformats.org/package/2006/relationships"><Relationship Id="rId1" Type="http://schemas.openxmlformats.org/officeDocument/2006/relationships/tags" Target="../tags/tag29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66.xml"/></Relationships>
</file>

<file path=ppt/slides/_rels/slide267.xml.rels><?xml version='1.0' encoding='UTF-8' standalone='yes'?>
<Relationships xmlns="http://schemas.openxmlformats.org/package/2006/relationships"><Relationship Id="rId1" Type="http://schemas.openxmlformats.org/officeDocument/2006/relationships/tags" Target="../tags/tag29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67.xml"/></Relationships>
</file>

<file path=ppt/slides/_rels/slide268.xml.rels><?xml version='1.0' encoding='UTF-8' standalone='yes'?>
<Relationships xmlns="http://schemas.openxmlformats.org/package/2006/relationships"><Relationship Id="rId1" Type="http://schemas.openxmlformats.org/officeDocument/2006/relationships/tags" Target="../tags/tag29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68.xml"/></Relationships>
</file>

<file path=ppt/slides/_rels/slide269.xml.rels><?xml version='1.0' encoding='UTF-8' standalone='yes'?>
<Relationships xmlns="http://schemas.openxmlformats.org/package/2006/relationships"><Relationship Id="rId1" Type="http://schemas.openxmlformats.org/officeDocument/2006/relationships/tags" Target="../tags/tag29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69.xml"/></Relationships>
</file>

<file path=ppt/slides/_rels/slide27.xml.rels><?xml version='1.0' encoding='UTF-8' standalone='yes'?>
<Relationships xmlns="http://schemas.openxmlformats.org/package/2006/relationships"><Relationship Id="rId1" Type="http://schemas.openxmlformats.org/officeDocument/2006/relationships/tags" Target="../tags/tag5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7.xml"/></Relationships>
</file>

<file path=ppt/slides/_rels/slide270.xml.rels><?xml version='1.0' encoding='UTF-8' standalone='yes'?>
<Relationships xmlns="http://schemas.openxmlformats.org/package/2006/relationships"><Relationship Id="rId1" Type="http://schemas.openxmlformats.org/officeDocument/2006/relationships/tags" Target="../tags/tag29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70.xml"/></Relationships>
</file>

<file path=ppt/slides/_rels/slide271.xml.rels><?xml version='1.0' encoding='UTF-8' standalone='yes'?>
<Relationships xmlns="http://schemas.openxmlformats.org/package/2006/relationships"><Relationship Id="rId1" Type="http://schemas.openxmlformats.org/officeDocument/2006/relationships/tags" Target="../tags/tag29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71.xml"/></Relationships>
</file>

<file path=ppt/slides/_rels/slide272.xml.rels><?xml version='1.0' encoding='UTF-8' standalone='yes'?>
<Relationships xmlns="http://schemas.openxmlformats.org/package/2006/relationships"><Relationship Id="rId1" Type="http://schemas.openxmlformats.org/officeDocument/2006/relationships/tags" Target="../tags/tag29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72.xml"/></Relationships>
</file>

<file path=ppt/slides/_rels/slide273.xml.rels><?xml version='1.0' encoding='UTF-8' standalone='yes'?>
<Relationships xmlns="http://schemas.openxmlformats.org/package/2006/relationships"><Relationship Id="rId1" Type="http://schemas.openxmlformats.org/officeDocument/2006/relationships/tags" Target="../tags/tag30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73.xml"/></Relationships>
</file>

<file path=ppt/slides/_rels/slide274.xml.rels><?xml version='1.0' encoding='UTF-8' standalone='yes'?>
<Relationships xmlns="http://schemas.openxmlformats.org/package/2006/relationships"><Relationship Id="rId1" Type="http://schemas.openxmlformats.org/officeDocument/2006/relationships/tags" Target="../tags/tag30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74.xml"/></Relationships>
</file>

<file path=ppt/slides/_rels/slide275.xml.rels><?xml version='1.0' encoding='UTF-8' standalone='yes'?>
<Relationships xmlns="http://schemas.openxmlformats.org/package/2006/relationships"><Relationship Id="rId1" Type="http://schemas.openxmlformats.org/officeDocument/2006/relationships/tags" Target="../tags/tag30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75.xml"/></Relationships>
</file>

<file path=ppt/slides/_rels/slide276.xml.rels><?xml version='1.0' encoding='UTF-8' standalone='yes'?>
<Relationships xmlns="http://schemas.openxmlformats.org/package/2006/relationships"><Relationship Id="rId1" Type="http://schemas.openxmlformats.org/officeDocument/2006/relationships/tags" Target="../tags/tag30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76.xml"/></Relationships>
</file>

<file path=ppt/slides/_rels/slide277.xml.rels><?xml version='1.0' encoding='UTF-8' standalone='yes'?>
<Relationships xmlns="http://schemas.openxmlformats.org/package/2006/relationships"><Relationship Id="rId1" Type="http://schemas.openxmlformats.org/officeDocument/2006/relationships/tags" Target="../tags/tag30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77.xml"/></Relationships>
</file>

<file path=ppt/slides/_rels/slide278.xml.rels><?xml version='1.0' encoding='UTF-8' standalone='yes'?>
<Relationships xmlns="http://schemas.openxmlformats.org/package/2006/relationships"><Relationship Id="rId1" Type="http://schemas.openxmlformats.org/officeDocument/2006/relationships/tags" Target="../tags/tag30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78.xml"/></Relationships>
</file>

<file path=ppt/slides/_rels/slide279.xml.rels><?xml version='1.0' encoding='UTF-8' standalone='yes'?>
<Relationships xmlns="http://schemas.openxmlformats.org/package/2006/relationships"><Relationship Id="rId1" Type="http://schemas.openxmlformats.org/officeDocument/2006/relationships/tags" Target="../tags/tag30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s>
</file>

<file path=ppt/slides/_rels/slide28.xml.rels><?xml version='1.0' encoding='UTF-8' standalone='yes'?>
<Relationships xmlns="http://schemas.openxmlformats.org/package/2006/relationships"><Relationship Id="rId1" Type="http://schemas.openxmlformats.org/officeDocument/2006/relationships/tags" Target="../tags/tag5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8.xml"/></Relationships>
</file>

<file path=ppt/slides/_rels/slide280.xml.rels><?xml version='1.0' encoding='UTF-8' standalone='yes'?>
<Relationships xmlns="http://schemas.openxmlformats.org/package/2006/relationships"><Relationship Id="rId1" Type="http://schemas.openxmlformats.org/officeDocument/2006/relationships/tags" Target="../tags/tag30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s>
</file>

<file path=ppt/slides/_rels/slide281.xml.rels><?xml version='1.0' encoding='UTF-8' standalone='yes'?>
<Relationships xmlns="http://schemas.openxmlformats.org/package/2006/relationships"><Relationship Id="rId1" Type="http://schemas.openxmlformats.org/officeDocument/2006/relationships/tags" Target="../tags/tag30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s>
</file>

<file path=ppt/slides/_rels/slide282.xml.rels><?xml version='1.0' encoding='UTF-8' standalone='yes'?>
<Relationships xmlns="http://schemas.openxmlformats.org/package/2006/relationships"><Relationship Id="rId1" Type="http://schemas.openxmlformats.org/officeDocument/2006/relationships/tags" Target="../tags/tag30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s>
</file>

<file path=ppt/slides/_rels/slide283.xml.rels><?xml version='1.0' encoding='UTF-8' standalone='yes'?>
<Relationships xmlns="http://schemas.openxmlformats.org/package/2006/relationships"><Relationship Id="rId1" Type="http://schemas.openxmlformats.org/officeDocument/2006/relationships/tags" Target="../tags/tag31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s>
</file>

<file path=ppt/slides/_rels/slide284.xml.rels><?xml version='1.0' encoding='UTF-8' standalone='yes'?>
<Relationships xmlns="http://schemas.openxmlformats.org/package/2006/relationships"><Relationship Id="rId1" Type="http://schemas.openxmlformats.org/officeDocument/2006/relationships/tags" Target="../tags/tag31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s>
</file>

<file path=ppt/slides/_rels/slide285.xml.rels><?xml version='1.0' encoding='UTF-8' standalone='yes'?>
<Relationships xmlns="http://schemas.openxmlformats.org/package/2006/relationships"><Relationship Id="rId1" Type="http://schemas.openxmlformats.org/officeDocument/2006/relationships/tags" Target="../tags/tag31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s>
</file>

<file path=ppt/slides/_rels/slide286.xml.rels><?xml version='1.0' encoding='UTF-8' standalone='yes'?>
<Relationships xmlns="http://schemas.openxmlformats.org/package/2006/relationships"><Relationship Id="rId1" Type="http://schemas.openxmlformats.org/officeDocument/2006/relationships/tags" Target="../tags/tag31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s>
</file>

<file path=ppt/slides/_rels/slide287.xml.rels><?xml version='1.0' encoding='UTF-8' standalone='yes'?>
<Relationships xmlns="http://schemas.openxmlformats.org/package/2006/relationships"><Relationship Id="rId1" Type="http://schemas.openxmlformats.org/officeDocument/2006/relationships/tags" Target="../tags/tag31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s>
</file>

<file path=ppt/slides/_rels/slide288.xml.rels><?xml version='1.0' encoding='UTF-8' standalone='yes'?>
<Relationships xmlns="http://schemas.openxmlformats.org/package/2006/relationships"><Relationship Id="rId1" Type="http://schemas.openxmlformats.org/officeDocument/2006/relationships/tags" Target="../tags/tag31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s>
</file>

<file path=ppt/slides/_rels/slide289.xml.rels><?xml version='1.0' encoding='UTF-8' standalone='yes'?>
<Relationships xmlns="http://schemas.openxmlformats.org/package/2006/relationships"><Relationship Id="rId1" Type="http://schemas.openxmlformats.org/officeDocument/2006/relationships/tags" Target="../tags/tag31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s>
</file>

<file path=ppt/slides/_rels/slide29.xml.rels><?xml version='1.0' encoding='UTF-8' standalone='yes'?>
<Relationships xmlns="http://schemas.openxmlformats.org/package/2006/relationships"><Relationship Id="rId1" Type="http://schemas.openxmlformats.org/officeDocument/2006/relationships/tags" Target="../tags/tag5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9.xml"/></Relationships>
</file>

<file path=ppt/slides/_rels/slide290.xml.rels><?xml version='1.0' encoding='UTF-8' standalone='yes'?>
<Relationships xmlns="http://schemas.openxmlformats.org/package/2006/relationships"><Relationship Id="rId1" Type="http://schemas.openxmlformats.org/officeDocument/2006/relationships/tags" Target="../tags/tag31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s>
</file>

<file path=ppt/slides/_rels/slide291.xml.rels><?xml version='1.0' encoding='UTF-8' standalone='yes'?>
<Relationships xmlns="http://schemas.openxmlformats.org/package/2006/relationships"><Relationship Id="rId1" Type="http://schemas.openxmlformats.org/officeDocument/2006/relationships/tags" Target="../tags/tag31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s>
</file>

<file path=ppt/slides/_rels/slide292.xml.rels><?xml version='1.0' encoding='UTF-8' standalone='yes'?>
<Relationships xmlns="http://schemas.openxmlformats.org/package/2006/relationships"><Relationship Id="rId1" Type="http://schemas.openxmlformats.org/officeDocument/2006/relationships/tags" Target="../tags/tag31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s>
</file>

<file path=ppt/slides/_rels/slide293.xml.rels><?xml version='1.0' encoding='UTF-8' standalone='yes'?>
<Relationships xmlns="http://schemas.openxmlformats.org/package/2006/relationships"><Relationship Id="rId1" Type="http://schemas.openxmlformats.org/officeDocument/2006/relationships/tags" Target="../tags/tag32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s>
</file>

<file path=ppt/slides/_rels/slide294.xml.rels><?xml version='1.0' encoding='UTF-8' standalone='yes'?>
<Relationships xmlns="http://schemas.openxmlformats.org/package/2006/relationships"><Relationship Id="rId1" Type="http://schemas.openxmlformats.org/officeDocument/2006/relationships/tags" Target="../tags/tag32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s>
</file>

<file path=ppt/slides/_rels/slide295.xml.rels><?xml version='1.0' encoding='UTF-8' standalone='yes'?>
<Relationships xmlns="http://schemas.openxmlformats.org/package/2006/relationships"><Relationship Id="rId1" Type="http://schemas.openxmlformats.org/officeDocument/2006/relationships/tags" Target="../tags/tag32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s>
</file>

<file path=ppt/slides/_rels/slide296.xml.rels><?xml version='1.0' encoding='UTF-8' standalone='yes'?>
<Relationships xmlns="http://schemas.openxmlformats.org/package/2006/relationships"><Relationship Id="rId1" Type="http://schemas.openxmlformats.org/officeDocument/2006/relationships/tags" Target="../tags/tag32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s>
</file>

<file path=ppt/slides/_rels/slide297.xml.rels><?xml version='1.0' encoding='UTF-8' standalone='yes'?>
<Relationships xmlns="http://schemas.openxmlformats.org/package/2006/relationships"><Relationship Id="rId1" Type="http://schemas.openxmlformats.org/officeDocument/2006/relationships/tags" Target="../tags/tag32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s>
</file>

<file path=ppt/slides/_rels/slide298.xml.rels><?xml version='1.0' encoding='UTF-8' standalone='yes'?>
<Relationships xmlns="http://schemas.openxmlformats.org/package/2006/relationships"><Relationship Id="rId1" Type="http://schemas.openxmlformats.org/officeDocument/2006/relationships/tags" Target="../tags/tag32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s>
</file>

<file path=ppt/slides/_rels/slide299.xml.rels><?xml version='1.0' encoding='UTF-8' standalone='yes'?>
<Relationships xmlns="http://schemas.openxmlformats.org/package/2006/relationships"><Relationship Id="rId1" Type="http://schemas.openxmlformats.org/officeDocument/2006/relationships/tags" Target="../tags/tag32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s>
</file>

<file path=ppt/slides/_rels/slide3.xml.rels><?xml version='1.0' encoding='UTF-8' standalone='yes'?>
<Relationships xmlns="http://schemas.openxmlformats.org/package/2006/relationships"><Relationship Id="rId1" Type="http://schemas.openxmlformats.org/officeDocument/2006/relationships/tags" Target="../tags/tag3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xml"/></Relationships>
</file>

<file path=ppt/slides/_rels/slide30.xml.rels><?xml version='1.0' encoding='UTF-8' standalone='yes'?>
<Relationships xmlns="http://schemas.openxmlformats.org/package/2006/relationships"><Relationship Id="rId1" Type="http://schemas.openxmlformats.org/officeDocument/2006/relationships/tags" Target="../tags/tag5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0.xml"/></Relationships>
</file>

<file path=ppt/slides/_rels/slide300.xml.rels><?xml version='1.0' encoding='UTF-8' standalone='yes'?>
<Relationships xmlns="http://schemas.openxmlformats.org/package/2006/relationships"><Relationship Id="rId1" Type="http://schemas.openxmlformats.org/officeDocument/2006/relationships/tags" Target="../tags/tag32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s>
</file>

<file path=ppt/slides/_rels/slide301.xml.rels><?xml version='1.0' encoding='UTF-8' standalone='yes'?>
<Relationships xmlns="http://schemas.openxmlformats.org/package/2006/relationships"><Relationship Id="rId1" Type="http://schemas.openxmlformats.org/officeDocument/2006/relationships/tags" Target="../tags/tag32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s>
</file>

<file path=ppt/slides/_rels/slide302.xml.rels><?xml version='1.0' encoding='UTF-8' standalone='yes'?>
<Relationships xmlns="http://schemas.openxmlformats.org/package/2006/relationships"><Relationship Id="rId1" Type="http://schemas.openxmlformats.org/officeDocument/2006/relationships/tags" Target="../tags/tag32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s>
</file>

<file path=ppt/slides/_rels/slide303.xml.rels><?xml version='1.0' encoding='UTF-8' standalone='yes'?>
<Relationships xmlns="http://schemas.openxmlformats.org/package/2006/relationships"><Relationship Id="rId1" Type="http://schemas.openxmlformats.org/officeDocument/2006/relationships/tags" Target="../tags/tag33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s>
</file>

<file path=ppt/slides/_rels/slide304.xml.rels><?xml version='1.0' encoding='UTF-8' standalone='yes'?>
<Relationships xmlns="http://schemas.openxmlformats.org/package/2006/relationships"><Relationship Id="rId1" Type="http://schemas.openxmlformats.org/officeDocument/2006/relationships/tags" Target="../tags/tag33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s>
</file>

<file path=ppt/slides/_rels/slide305.xml.rels><?xml version='1.0' encoding='UTF-8' standalone='yes'?>
<Relationships xmlns="http://schemas.openxmlformats.org/package/2006/relationships"><Relationship Id="rId1" Type="http://schemas.openxmlformats.org/officeDocument/2006/relationships/tags" Target="../tags/tag33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s>
</file>

<file path=ppt/slides/_rels/slide306.xml.rels><?xml version='1.0' encoding='UTF-8' standalone='yes'?>
<Relationships xmlns="http://schemas.openxmlformats.org/package/2006/relationships"><Relationship Id="rId1" Type="http://schemas.openxmlformats.org/officeDocument/2006/relationships/tags" Target="../tags/tag33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s>
</file>

<file path=ppt/slides/_rels/slide307.xml.rels><?xml version='1.0' encoding='UTF-8' standalone='yes'?>
<Relationships xmlns="http://schemas.openxmlformats.org/package/2006/relationships"><Relationship Id="rId1" Type="http://schemas.openxmlformats.org/officeDocument/2006/relationships/tags" Target="../tags/tag33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s>
</file>

<file path=ppt/slides/_rels/slide308.xml.rels><?xml version='1.0' encoding='UTF-8' standalone='yes'?>
<Relationships xmlns="http://schemas.openxmlformats.org/package/2006/relationships"><Relationship Id="rId1" Type="http://schemas.openxmlformats.org/officeDocument/2006/relationships/tags" Target="../tags/tag33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s>
</file>

<file path=ppt/slides/_rels/slide309.xml.rels><?xml version='1.0' encoding='UTF-8' standalone='yes'?>
<Relationships xmlns="http://schemas.openxmlformats.org/package/2006/relationships"><Relationship Id="rId1" Type="http://schemas.openxmlformats.org/officeDocument/2006/relationships/tags" Target="../tags/tag33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s>
</file>

<file path=ppt/slides/_rels/slide31.xml.rels><?xml version='1.0' encoding='UTF-8' standalone='yes'?>
<Relationships xmlns="http://schemas.openxmlformats.org/package/2006/relationships"><Relationship Id="rId1" Type="http://schemas.openxmlformats.org/officeDocument/2006/relationships/tags" Target="../tags/tag5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1.xml"/></Relationships>
</file>

<file path=ppt/slides/_rels/slide310.xml.rels><?xml version='1.0' encoding='UTF-8' standalone='yes'?>
<Relationships xmlns="http://schemas.openxmlformats.org/package/2006/relationships"><Relationship Id="rId1" Type="http://schemas.openxmlformats.org/officeDocument/2006/relationships/tags" Target="../tags/tag33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s>
</file>

<file path=ppt/slides/_rels/slide311.xml.rels><?xml version='1.0' encoding='UTF-8' standalone='yes'?>
<Relationships xmlns="http://schemas.openxmlformats.org/package/2006/relationships"><Relationship Id="rId1" Type="http://schemas.openxmlformats.org/officeDocument/2006/relationships/tags" Target="../tags/tag33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s>
</file>

<file path=ppt/slides/_rels/slide312.xml.rels><?xml version='1.0' encoding='UTF-8' standalone='yes'?>
<Relationships xmlns="http://schemas.openxmlformats.org/package/2006/relationships"><Relationship Id="rId1" Type="http://schemas.openxmlformats.org/officeDocument/2006/relationships/tags" Target="../tags/tag33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s>
</file>

<file path=ppt/slides/_rels/slide313.xml.rels><?xml version='1.0' encoding='UTF-8' standalone='yes'?>
<Relationships xmlns="http://schemas.openxmlformats.org/package/2006/relationships"><Relationship Id="rId1" Type="http://schemas.openxmlformats.org/officeDocument/2006/relationships/tags" Target="../tags/tag34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s>
</file>

<file path=ppt/slides/_rels/slide314.xml.rels><?xml version='1.0' encoding='UTF-8' standalone='yes'?>
<Relationships xmlns="http://schemas.openxmlformats.org/package/2006/relationships"><Relationship Id="rId1" Type="http://schemas.openxmlformats.org/officeDocument/2006/relationships/tags" Target="../tags/tag34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s>
</file>

<file path=ppt/slides/_rels/slide315.xml.rels><?xml version='1.0' encoding='UTF-8' standalone='yes'?>
<Relationships xmlns="http://schemas.openxmlformats.org/package/2006/relationships"><Relationship Id="rId1" Type="http://schemas.openxmlformats.org/officeDocument/2006/relationships/tags" Target="../tags/tag34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s>
</file>

<file path=ppt/slides/_rels/slide316.xml.rels><?xml version='1.0' encoding='UTF-8' standalone='yes'?>
<Relationships xmlns="http://schemas.openxmlformats.org/package/2006/relationships"><Relationship Id="rId1" Type="http://schemas.openxmlformats.org/officeDocument/2006/relationships/tags" Target="../tags/tag34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s>
</file>

<file path=ppt/slides/_rels/slide317.xml.rels><?xml version='1.0' encoding='UTF-8' standalone='yes'?>
<Relationships xmlns="http://schemas.openxmlformats.org/package/2006/relationships"><Relationship Id="rId1" Type="http://schemas.openxmlformats.org/officeDocument/2006/relationships/tags" Target="../tags/tag34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s>
</file>

<file path=ppt/slides/_rels/slide318.xml.rels><?xml version='1.0' encoding='UTF-8' standalone='yes'?>
<Relationships xmlns="http://schemas.openxmlformats.org/package/2006/relationships"><Relationship Id="rId1" Type="http://schemas.openxmlformats.org/officeDocument/2006/relationships/tags" Target="../tags/tag34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s>
</file>

<file path=ppt/slides/_rels/slide319.xml.rels><?xml version='1.0' encoding='UTF-8' standalone='yes'?>
<Relationships xmlns="http://schemas.openxmlformats.org/package/2006/relationships"><Relationship Id="rId1" Type="http://schemas.openxmlformats.org/officeDocument/2006/relationships/tags" Target="../tags/tag34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s>
</file>

<file path=ppt/slides/_rels/slide32.xml.rels><?xml version='1.0' encoding='UTF-8' standalone='yes'?>
<Relationships xmlns="http://schemas.openxmlformats.org/package/2006/relationships"><Relationship Id="rId1" Type="http://schemas.openxmlformats.org/officeDocument/2006/relationships/tags" Target="../tags/tag5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2.xml"/></Relationships>
</file>

<file path=ppt/slides/_rels/slide320.xml.rels><?xml version='1.0' encoding='UTF-8' standalone='yes'?>
<Relationships xmlns="http://schemas.openxmlformats.org/package/2006/relationships"><Relationship Id="rId1" Type="http://schemas.openxmlformats.org/officeDocument/2006/relationships/tags" Target="../tags/tag34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s>
</file>

<file path=ppt/slides/_rels/slide321.xml.rels><?xml version='1.0' encoding='UTF-8' standalone='yes'?>
<Relationships xmlns="http://schemas.openxmlformats.org/package/2006/relationships"><Relationship Id="rId1" Type="http://schemas.openxmlformats.org/officeDocument/2006/relationships/tags" Target="../tags/tag34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s>
</file>

<file path=ppt/slides/_rels/slide322.xml.rels><?xml version='1.0' encoding='UTF-8' standalone='yes'?>
<Relationships xmlns="http://schemas.openxmlformats.org/package/2006/relationships"><Relationship Id="rId1" Type="http://schemas.openxmlformats.org/officeDocument/2006/relationships/tags" Target="../tags/tag34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s>
</file>

<file path=ppt/slides/_rels/slide323.xml.rels><?xml version='1.0' encoding='UTF-8' standalone='yes'?>
<Relationships xmlns="http://schemas.openxmlformats.org/package/2006/relationships"><Relationship Id="rId1" Type="http://schemas.openxmlformats.org/officeDocument/2006/relationships/tags" Target="../tags/tag35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s>
</file>

<file path=ppt/slides/_rels/slide324.xml.rels><?xml version='1.0' encoding='UTF-8' standalone='yes'?>
<Relationships xmlns="http://schemas.openxmlformats.org/package/2006/relationships"><Relationship Id="rId1" Type="http://schemas.openxmlformats.org/officeDocument/2006/relationships/tags" Target="../tags/tag35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s>
</file>

<file path=ppt/slides/_rels/slide325.xml.rels><?xml version='1.0' encoding='UTF-8' standalone='yes'?>
<Relationships xmlns="http://schemas.openxmlformats.org/package/2006/relationships"><Relationship Id="rId1" Type="http://schemas.openxmlformats.org/officeDocument/2006/relationships/tags" Target="../tags/tag35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s>
</file>

<file path=ppt/slides/_rels/slide326.xml.rels><?xml version='1.0' encoding='UTF-8' standalone='yes'?>
<Relationships xmlns="http://schemas.openxmlformats.org/package/2006/relationships"><Relationship Id="rId1" Type="http://schemas.openxmlformats.org/officeDocument/2006/relationships/tags" Target="../tags/tag35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s>
</file>

<file path=ppt/slides/_rels/slide327.xml.rels><?xml version='1.0' encoding='UTF-8' standalone='yes'?>
<Relationships xmlns="http://schemas.openxmlformats.org/package/2006/relationships"><Relationship Id="rId1" Type="http://schemas.openxmlformats.org/officeDocument/2006/relationships/tags" Target="../tags/tag35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s>
</file>

<file path=ppt/slides/_rels/slide328.xml.rels><?xml version='1.0' encoding='UTF-8' standalone='yes'?>
<Relationships xmlns="http://schemas.openxmlformats.org/package/2006/relationships"><Relationship Id="rId1" Type="http://schemas.openxmlformats.org/officeDocument/2006/relationships/tags" Target="../tags/tag35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s>
</file>

<file path=ppt/slides/_rels/slide329.xml.rels><?xml version='1.0' encoding='UTF-8' standalone='yes'?>
<Relationships xmlns="http://schemas.openxmlformats.org/package/2006/relationships"><Relationship Id="rId1" Type="http://schemas.openxmlformats.org/officeDocument/2006/relationships/tags" Target="../tags/tag35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s>
</file>

<file path=ppt/slides/_rels/slide33.xml.rels><?xml version='1.0' encoding='UTF-8' standalone='yes'?>
<Relationships xmlns="http://schemas.openxmlformats.org/package/2006/relationships"><Relationship Id="rId1" Type="http://schemas.openxmlformats.org/officeDocument/2006/relationships/tags" Target="../tags/tag6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3.xml"/></Relationships>
</file>

<file path=ppt/slides/_rels/slide330.xml.rels><?xml version='1.0' encoding='UTF-8' standalone='yes'?>
<Relationships xmlns="http://schemas.openxmlformats.org/package/2006/relationships"><Relationship Id="rId1" Type="http://schemas.openxmlformats.org/officeDocument/2006/relationships/tags" Target="../tags/tag35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s>
</file>

<file path=ppt/slides/_rels/slide331.xml.rels><?xml version='1.0' encoding='UTF-8' standalone='yes'?>
<Relationships xmlns="http://schemas.openxmlformats.org/package/2006/relationships"><Relationship Id="rId1" Type="http://schemas.openxmlformats.org/officeDocument/2006/relationships/tags" Target="../tags/tag35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s>
</file>

<file path=ppt/slides/_rels/slide332.xml.rels><?xml version='1.0' encoding='UTF-8' standalone='yes'?>
<Relationships xmlns="http://schemas.openxmlformats.org/package/2006/relationships"><Relationship Id="rId1" Type="http://schemas.openxmlformats.org/officeDocument/2006/relationships/tags" Target="../tags/tag35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s>
</file>

<file path=ppt/slides/_rels/slide333.xml.rels><?xml version='1.0' encoding='UTF-8' standalone='yes'?>
<Relationships xmlns="http://schemas.openxmlformats.org/package/2006/relationships"><Relationship Id="rId1" Type="http://schemas.openxmlformats.org/officeDocument/2006/relationships/tags" Target="../tags/tag36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s>
</file>

<file path=ppt/slides/_rels/slide334.xml.rels><?xml version='1.0' encoding='UTF-8' standalone='yes'?>
<Relationships xmlns="http://schemas.openxmlformats.org/package/2006/relationships"><Relationship Id="rId1" Type="http://schemas.openxmlformats.org/officeDocument/2006/relationships/tags" Target="../tags/tag36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s>
</file>

<file path=ppt/slides/_rels/slide335.xml.rels><?xml version='1.0' encoding='UTF-8' standalone='yes'?>
<Relationships xmlns="http://schemas.openxmlformats.org/package/2006/relationships"><Relationship Id="rId1" Type="http://schemas.openxmlformats.org/officeDocument/2006/relationships/tags" Target="../tags/tag362.xml"/><Relationship Id="rId2" Type="http://schemas.openxmlformats.org/officeDocument/2006/relationships/slideLayout" Target="../slideLayouts/slideLayout7.xml"/><Relationship Id="rId3" Type="http://schemas.openxmlformats.org/officeDocument/2006/relationships/notesSlide" Target="../notesSlides/notesSlide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79.xml"/></Relationships>
</file>

<file path=ppt/slides/_rels/slide336.xml.rels><?xml version='1.0' encoding='UTF-8' standalone='yes'?>
<Relationships xmlns="http://schemas.openxmlformats.org/package/2006/relationships"><Relationship Id="rId1" Type="http://schemas.openxmlformats.org/officeDocument/2006/relationships/tags" Target="../tags/tag363.xml"/><Relationship Id="rId2" Type="http://schemas.openxmlformats.org/officeDocument/2006/relationships/slideLayout" Target="../slideLayouts/slideLayout7.xml"/><Relationship Id="rId3" Type="http://schemas.openxmlformats.org/officeDocument/2006/relationships/notesSlide" Target="../notesSlides/notesSlide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80.xml"/></Relationships>
</file>

<file path=ppt/slides/_rels/slide337.xml.rels><?xml version='1.0' encoding='UTF-8' standalone='yes'?>
<Relationships xmlns="http://schemas.openxmlformats.org/package/2006/relationships"><Relationship Id="rId1" Type="http://schemas.openxmlformats.org/officeDocument/2006/relationships/tags" Target="../tags/tag364.xml"/><Relationship Id="rId2" Type="http://schemas.openxmlformats.org/officeDocument/2006/relationships/slideLayout" Target="../slideLayouts/slideLayout7.xml"/><Relationship Id="rId3" Type="http://schemas.openxmlformats.org/officeDocument/2006/relationships/notesSlide" Target="../notesSlides/notesSlide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81.xml"/></Relationships>
</file>

<file path=ppt/slides/_rels/slide338.xml.rels><?xml version='1.0' encoding='UTF-8' standalone='yes'?>
<Relationships xmlns="http://schemas.openxmlformats.org/package/2006/relationships"><Relationship Id="rId1" Type="http://schemas.openxmlformats.org/officeDocument/2006/relationships/tags" Target="../tags/tag365.xml"/><Relationship Id="rId2" Type="http://schemas.openxmlformats.org/officeDocument/2006/relationships/slideLayout" Target="../slideLayouts/slideLayout7.xml"/><Relationship Id="rId3" Type="http://schemas.openxmlformats.org/officeDocument/2006/relationships/notesSlide" Target="../notesSlides/notesSlide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82.xml"/></Relationships>
</file>

<file path=ppt/slides/_rels/slide339.xml.rels><?xml version='1.0' encoding='UTF-8' standalone='yes'?>
<Relationships xmlns="http://schemas.openxmlformats.org/package/2006/relationships"><Relationship Id="rId1" Type="http://schemas.openxmlformats.org/officeDocument/2006/relationships/tags" Target="../tags/tag366.xml"/><Relationship Id="rId2" Type="http://schemas.openxmlformats.org/officeDocument/2006/relationships/slideLayout" Target="../slideLayouts/slideLayout7.xml"/><Relationship Id="rId3" Type="http://schemas.openxmlformats.org/officeDocument/2006/relationships/notesSlide" Target="../notesSlides/notesSlide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83.xml"/></Relationships>
</file>

<file path=ppt/slides/_rels/slide34.xml.rels><?xml version='1.0' encoding='UTF-8' standalone='yes'?>
<Relationships xmlns="http://schemas.openxmlformats.org/package/2006/relationships"><Relationship Id="rId1" Type="http://schemas.openxmlformats.org/officeDocument/2006/relationships/tags" Target="../tags/tag6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4.xml"/></Relationships>
</file>

<file path=ppt/slides/_rels/slide340.xml.rels><?xml version='1.0' encoding='UTF-8' standalone='yes'?>
<Relationships xmlns="http://schemas.openxmlformats.org/package/2006/relationships"><Relationship Id="rId1" Type="http://schemas.openxmlformats.org/officeDocument/2006/relationships/tags" Target="../tags/tag367.xml"/><Relationship Id="rId2" Type="http://schemas.openxmlformats.org/officeDocument/2006/relationships/slideLayout" Target="../slideLayouts/slideLayout7.xml"/><Relationship Id="rId3" Type="http://schemas.openxmlformats.org/officeDocument/2006/relationships/notesSlide" Target="../notesSlides/notesSlide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84.xml"/></Relationships>
</file>

<file path=ppt/slides/_rels/slide341.xml.rels><?xml version='1.0' encoding='UTF-8' standalone='yes'?>
<Relationships xmlns="http://schemas.openxmlformats.org/package/2006/relationships"><Relationship Id="rId1" Type="http://schemas.openxmlformats.org/officeDocument/2006/relationships/tags" Target="../tags/tag368.xml"/><Relationship Id="rId2" Type="http://schemas.openxmlformats.org/officeDocument/2006/relationships/slideLayout" Target="../slideLayouts/slideLayout7.xml"/><Relationship Id="rId3" Type="http://schemas.openxmlformats.org/officeDocument/2006/relationships/notesSlide" Target="../notesSlides/notesSlide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85.xml"/></Relationships>
</file>

<file path=ppt/slides/_rels/slide342.xml.rels><?xml version='1.0' encoding='UTF-8' standalone='yes'?>
<Relationships xmlns="http://schemas.openxmlformats.org/package/2006/relationships"><Relationship Id="rId1" Type="http://schemas.openxmlformats.org/officeDocument/2006/relationships/tags" Target="../tags/tag369.xml"/><Relationship Id="rId2" Type="http://schemas.openxmlformats.org/officeDocument/2006/relationships/slideLayout" Target="../slideLayouts/slideLayout7.xml"/><Relationship Id="rId3" Type="http://schemas.openxmlformats.org/officeDocument/2006/relationships/notesSlide" Target="../notesSlides/notesSlide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86.xml"/></Relationships>
</file>

<file path=ppt/slides/_rels/slide343.xml.rels><?xml version='1.0' encoding='UTF-8' standalone='yes'?>
<Relationships xmlns="http://schemas.openxmlformats.org/package/2006/relationships"><Relationship Id="rId1" Type="http://schemas.openxmlformats.org/officeDocument/2006/relationships/tags" Target="../tags/tag370.xml"/><Relationship Id="rId2" Type="http://schemas.openxmlformats.org/officeDocument/2006/relationships/slideLayout" Target="../slideLayouts/slideLayout7.xml"/><Relationship Id="rId3" Type="http://schemas.openxmlformats.org/officeDocument/2006/relationships/notesSlide" Target="../notesSlides/notesSlide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87.xml"/></Relationships>
</file>

<file path=ppt/slides/_rels/slide344.xml.rels><?xml version='1.0' encoding='UTF-8' standalone='yes'?>
<Relationships xmlns="http://schemas.openxmlformats.org/package/2006/relationships"><Relationship Id="rId1" Type="http://schemas.openxmlformats.org/officeDocument/2006/relationships/tags" Target="../tags/tag371.xml"/><Relationship Id="rId2" Type="http://schemas.openxmlformats.org/officeDocument/2006/relationships/slideLayout" Target="../slideLayouts/slideLayout7.xml"/><Relationship Id="rId3" Type="http://schemas.openxmlformats.org/officeDocument/2006/relationships/notesSlide" Target="../notesSlides/notesSlide1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88.xml"/></Relationships>
</file>

<file path=ppt/slides/_rels/slide345.xml.rels><?xml version='1.0' encoding='UTF-8' standalone='yes'?>
<Relationships xmlns="http://schemas.openxmlformats.org/package/2006/relationships"><Relationship Id="rId1" Type="http://schemas.openxmlformats.org/officeDocument/2006/relationships/tags" Target="../tags/tag372.xml"/><Relationship Id="rId2" Type="http://schemas.openxmlformats.org/officeDocument/2006/relationships/slideLayout" Target="../slideLayouts/slideLayout7.xml"/><Relationship Id="rId3" Type="http://schemas.openxmlformats.org/officeDocument/2006/relationships/notesSlide" Target="../notesSlides/notesSlide1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89.xml"/></Relationships>
</file>

<file path=ppt/slides/_rels/slide346.xml.rels><?xml version='1.0' encoding='UTF-8' standalone='yes'?>
<Relationships xmlns="http://schemas.openxmlformats.org/package/2006/relationships"><Relationship Id="rId1" Type="http://schemas.openxmlformats.org/officeDocument/2006/relationships/tags" Target="../tags/tag373.xml"/><Relationship Id="rId2" Type="http://schemas.openxmlformats.org/officeDocument/2006/relationships/slideLayout" Target="../slideLayouts/slideLayout7.xml"/><Relationship Id="rId3" Type="http://schemas.openxmlformats.org/officeDocument/2006/relationships/notesSlide" Target="../notesSlides/notesSlide1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90.xml"/></Relationships>
</file>

<file path=ppt/slides/_rels/slide347.xml.rels><?xml version='1.0' encoding='UTF-8' standalone='yes'?>
<Relationships xmlns="http://schemas.openxmlformats.org/package/2006/relationships"><Relationship Id="rId1" Type="http://schemas.openxmlformats.org/officeDocument/2006/relationships/tags" Target="../tags/tag374.xml"/><Relationship Id="rId2" Type="http://schemas.openxmlformats.org/officeDocument/2006/relationships/slideLayout" Target="../slideLayouts/slideLayout7.xml"/><Relationship Id="rId3" Type="http://schemas.openxmlformats.org/officeDocument/2006/relationships/notesSlide" Target="../notesSlides/notesSlide1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91.xml"/></Relationships>
</file>

<file path=ppt/slides/_rels/slide348.xml.rels><?xml version='1.0' encoding='UTF-8' standalone='yes'?>
<Relationships xmlns="http://schemas.openxmlformats.org/package/2006/relationships"><Relationship Id="rId1" Type="http://schemas.openxmlformats.org/officeDocument/2006/relationships/tags" Target="../tags/tag375.xml"/><Relationship Id="rId2" Type="http://schemas.openxmlformats.org/officeDocument/2006/relationships/slideLayout" Target="../slideLayouts/slideLayout7.xml"/><Relationship Id="rId3" Type="http://schemas.openxmlformats.org/officeDocument/2006/relationships/notesSlide" Target="../notesSlides/notesSlide1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92.xml"/></Relationships>
</file>

<file path=ppt/slides/_rels/slide349.xml.rels><?xml version='1.0' encoding='UTF-8' standalone='yes'?>
<Relationships xmlns="http://schemas.openxmlformats.org/package/2006/relationships"><Relationship Id="rId1" Type="http://schemas.openxmlformats.org/officeDocument/2006/relationships/tags" Target="../tags/tag376.xml"/><Relationship Id="rId2" Type="http://schemas.openxmlformats.org/officeDocument/2006/relationships/slideLayout" Target="../slideLayouts/slideLayout7.xml"/><Relationship Id="rId3" Type="http://schemas.openxmlformats.org/officeDocument/2006/relationships/notesSlide" Target="../notesSlides/notesSlide1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93.xml"/></Relationships>
</file>

<file path=ppt/slides/_rels/slide35.xml.rels><?xml version='1.0' encoding='UTF-8' standalone='yes'?>
<Relationships xmlns="http://schemas.openxmlformats.org/package/2006/relationships"><Relationship Id="rId1" Type="http://schemas.openxmlformats.org/officeDocument/2006/relationships/tags" Target="../tags/tag6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5.xml"/></Relationships>
</file>

<file path=ppt/slides/_rels/slide350.xml.rels><?xml version='1.0' encoding='UTF-8' standalone='yes'?>
<Relationships xmlns="http://schemas.openxmlformats.org/package/2006/relationships"><Relationship Id="rId1" Type="http://schemas.openxmlformats.org/officeDocument/2006/relationships/tags" Target="../tags/tag377.xml"/><Relationship Id="rId2" Type="http://schemas.openxmlformats.org/officeDocument/2006/relationships/slideLayout" Target="../slideLayouts/slideLayout7.xml"/><Relationship Id="rId3" Type="http://schemas.openxmlformats.org/officeDocument/2006/relationships/notesSlide" Target="../notesSlides/notesSlide1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94.xml"/></Relationships>
</file>

<file path=ppt/slides/_rels/slide351.xml.rels><?xml version='1.0' encoding='UTF-8' standalone='yes'?>
<Relationships xmlns="http://schemas.openxmlformats.org/package/2006/relationships"><Relationship Id="rId1" Type="http://schemas.openxmlformats.org/officeDocument/2006/relationships/tags" Target="../tags/tag378.xml"/><Relationship Id="rId2" Type="http://schemas.openxmlformats.org/officeDocument/2006/relationships/slideLayout" Target="../slideLayouts/slideLayout7.xml"/><Relationship Id="rId3" Type="http://schemas.openxmlformats.org/officeDocument/2006/relationships/notesSlide" Target="../notesSlides/notesSlide1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95.xml"/></Relationships>
</file>

<file path=ppt/slides/_rels/slide352.xml.rels><?xml version='1.0' encoding='UTF-8' standalone='yes'?>
<Relationships xmlns="http://schemas.openxmlformats.org/package/2006/relationships"><Relationship Id="rId1" Type="http://schemas.openxmlformats.org/officeDocument/2006/relationships/tags" Target="../tags/tag379.xml"/><Relationship Id="rId2" Type="http://schemas.openxmlformats.org/officeDocument/2006/relationships/slideLayout" Target="../slideLayouts/slideLayout7.xml"/><Relationship Id="rId3" Type="http://schemas.openxmlformats.org/officeDocument/2006/relationships/notesSlide" Target="../notesSlides/notesSlide1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96.xml"/></Relationships>
</file>

<file path=ppt/slides/_rels/slide353.xml.rels><?xml version='1.0' encoding='UTF-8' standalone='yes'?>
<Relationships xmlns="http://schemas.openxmlformats.org/package/2006/relationships"><Relationship Id="rId1" Type="http://schemas.openxmlformats.org/officeDocument/2006/relationships/tags" Target="../tags/tag380.xml"/><Relationship Id="rId2" Type="http://schemas.openxmlformats.org/officeDocument/2006/relationships/slideLayout" Target="../slideLayouts/slideLayout7.xml"/><Relationship Id="rId3" Type="http://schemas.openxmlformats.org/officeDocument/2006/relationships/notesSlide" Target="../notesSlides/notesSlide1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97.xml"/></Relationships>
</file>

<file path=ppt/slides/_rels/slide354.xml.rels><?xml version='1.0' encoding='UTF-8' standalone='yes'?>
<Relationships xmlns="http://schemas.openxmlformats.org/package/2006/relationships"><Relationship Id="rId1" Type="http://schemas.openxmlformats.org/officeDocument/2006/relationships/tags" Target="../tags/tag381.xml"/><Relationship Id="rId2" Type="http://schemas.openxmlformats.org/officeDocument/2006/relationships/slideLayout" Target="../slideLayouts/slideLayout7.xml"/><Relationship Id="rId3" Type="http://schemas.openxmlformats.org/officeDocument/2006/relationships/notesSlide" Target="../notesSlides/notesSlide2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98.xml"/></Relationships>
</file>

<file path=ppt/slides/_rels/slide355.xml.rels><?xml version='1.0' encoding='UTF-8' standalone='yes'?>
<Relationships xmlns="http://schemas.openxmlformats.org/package/2006/relationships"><Relationship Id="rId1" Type="http://schemas.openxmlformats.org/officeDocument/2006/relationships/tags" Target="../tags/tag382.xml"/><Relationship Id="rId2" Type="http://schemas.openxmlformats.org/officeDocument/2006/relationships/slideLayout" Target="../slideLayouts/slideLayout7.xml"/><Relationship Id="rId3" Type="http://schemas.openxmlformats.org/officeDocument/2006/relationships/notesSlide" Target="../notesSlides/notesSlide2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99.xml"/></Relationships>
</file>

<file path=ppt/slides/_rels/slide356.xml.rels><?xml version='1.0' encoding='UTF-8' standalone='yes'?>
<Relationships xmlns="http://schemas.openxmlformats.org/package/2006/relationships"><Relationship Id="rId1" Type="http://schemas.openxmlformats.org/officeDocument/2006/relationships/tags" Target="../tags/tag383.xml"/><Relationship Id="rId2" Type="http://schemas.openxmlformats.org/officeDocument/2006/relationships/slideLayout" Target="../slideLayouts/slideLayout7.xml"/><Relationship Id="rId3" Type="http://schemas.openxmlformats.org/officeDocument/2006/relationships/notesSlide" Target="../notesSlides/notesSlide2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00.xml"/></Relationships>
</file>

<file path=ppt/slides/_rels/slide357.xml.rels><?xml version='1.0' encoding='UTF-8' standalone='yes'?>
<Relationships xmlns="http://schemas.openxmlformats.org/package/2006/relationships"><Relationship Id="rId1" Type="http://schemas.openxmlformats.org/officeDocument/2006/relationships/tags" Target="../tags/tag384.xml"/><Relationship Id="rId2" Type="http://schemas.openxmlformats.org/officeDocument/2006/relationships/slideLayout" Target="../slideLayouts/slideLayout7.xml"/><Relationship Id="rId3" Type="http://schemas.openxmlformats.org/officeDocument/2006/relationships/notesSlide" Target="../notesSlides/notesSlide2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01.xml"/></Relationships>
</file>

<file path=ppt/slides/_rels/slide358.xml.rels><?xml version='1.0' encoding='UTF-8' standalone='yes'?>
<Relationships xmlns="http://schemas.openxmlformats.org/package/2006/relationships"><Relationship Id="rId1" Type="http://schemas.openxmlformats.org/officeDocument/2006/relationships/tags" Target="../tags/tag385.xml"/><Relationship Id="rId2" Type="http://schemas.openxmlformats.org/officeDocument/2006/relationships/slideLayout" Target="../slideLayouts/slideLayout7.xml"/><Relationship Id="rId3" Type="http://schemas.openxmlformats.org/officeDocument/2006/relationships/notesSlide" Target="../notesSlides/notesSlide2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02.xml"/></Relationships>
</file>

<file path=ppt/slides/_rels/slide359.xml.rels><?xml version='1.0' encoding='UTF-8' standalone='yes'?>
<Relationships xmlns="http://schemas.openxmlformats.org/package/2006/relationships"><Relationship Id="rId1" Type="http://schemas.openxmlformats.org/officeDocument/2006/relationships/tags" Target="../tags/tag386.xml"/><Relationship Id="rId2" Type="http://schemas.openxmlformats.org/officeDocument/2006/relationships/slideLayout" Target="../slideLayouts/slideLayout7.xml"/><Relationship Id="rId3" Type="http://schemas.openxmlformats.org/officeDocument/2006/relationships/notesSlide" Target="../notesSlides/notesSlide2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03.xml"/></Relationships>
</file>

<file path=ppt/slides/_rels/slide36.xml.rels><?xml version='1.0' encoding='UTF-8' standalone='yes'?>
<Relationships xmlns="http://schemas.openxmlformats.org/package/2006/relationships"><Relationship Id="rId1" Type="http://schemas.openxmlformats.org/officeDocument/2006/relationships/tags" Target="../tags/tag6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6.xml"/></Relationships>
</file>

<file path=ppt/slides/_rels/slide360.xml.rels><?xml version='1.0' encoding='UTF-8' standalone='yes'?>
<Relationships xmlns="http://schemas.openxmlformats.org/package/2006/relationships"><Relationship Id="rId1" Type="http://schemas.openxmlformats.org/officeDocument/2006/relationships/tags" Target="../tags/tag387.xml"/><Relationship Id="rId2" Type="http://schemas.openxmlformats.org/officeDocument/2006/relationships/slideLayout" Target="../slideLayouts/slideLayout7.xml"/><Relationship Id="rId3" Type="http://schemas.openxmlformats.org/officeDocument/2006/relationships/notesSlide" Target="../notesSlides/notesSlide2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04.xml"/></Relationships>
</file>

<file path=ppt/slides/_rels/slide361.xml.rels><?xml version='1.0' encoding='UTF-8' standalone='yes'?>
<Relationships xmlns="http://schemas.openxmlformats.org/package/2006/relationships"><Relationship Id="rId1" Type="http://schemas.openxmlformats.org/officeDocument/2006/relationships/tags" Target="../tags/tag388.xml"/><Relationship Id="rId2" Type="http://schemas.openxmlformats.org/officeDocument/2006/relationships/slideLayout" Target="../slideLayouts/slideLayout7.xml"/><Relationship Id="rId3" Type="http://schemas.openxmlformats.org/officeDocument/2006/relationships/notesSlide" Target="../notesSlides/notesSlide2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05.xml"/></Relationships>
</file>

<file path=ppt/slides/_rels/slide362.xml.rels><?xml version='1.0' encoding='UTF-8' standalone='yes'?>
<Relationships xmlns="http://schemas.openxmlformats.org/package/2006/relationships"><Relationship Id="rId1" Type="http://schemas.openxmlformats.org/officeDocument/2006/relationships/tags" Target="../tags/tag389.xml"/><Relationship Id="rId2" Type="http://schemas.openxmlformats.org/officeDocument/2006/relationships/slideLayout" Target="../slideLayouts/slideLayout7.xml"/><Relationship Id="rId3" Type="http://schemas.openxmlformats.org/officeDocument/2006/relationships/notesSlide" Target="../notesSlides/notesSlide2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06.xml"/></Relationships>
</file>

<file path=ppt/slides/_rels/slide363.xml.rels><?xml version='1.0' encoding='UTF-8' standalone='yes'?>
<Relationships xmlns="http://schemas.openxmlformats.org/package/2006/relationships"><Relationship Id="rId1" Type="http://schemas.openxmlformats.org/officeDocument/2006/relationships/tags" Target="../tags/tag390.xml"/><Relationship Id="rId2" Type="http://schemas.openxmlformats.org/officeDocument/2006/relationships/slideLayout" Target="../slideLayouts/slideLayout7.xml"/><Relationship Id="rId3" Type="http://schemas.openxmlformats.org/officeDocument/2006/relationships/notesSlide" Target="../notesSlides/notesSlide2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07.xml"/></Relationships>
</file>

<file path=ppt/slides/_rels/slide364.xml.rels><?xml version='1.0' encoding='UTF-8' standalone='yes'?>
<Relationships xmlns="http://schemas.openxmlformats.org/package/2006/relationships"><Relationship Id="rId1" Type="http://schemas.openxmlformats.org/officeDocument/2006/relationships/tags" Target="../tags/tag391.xml"/><Relationship Id="rId2" Type="http://schemas.openxmlformats.org/officeDocument/2006/relationships/slideLayout" Target="../slideLayouts/slideLayout7.xml"/><Relationship Id="rId3" Type="http://schemas.openxmlformats.org/officeDocument/2006/relationships/notesSlide" Target="../notesSlides/notesSlide3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08.xml"/></Relationships>
</file>

<file path=ppt/slides/_rels/slide365.xml.rels><?xml version='1.0' encoding='UTF-8' standalone='yes'?>
<Relationships xmlns="http://schemas.openxmlformats.org/package/2006/relationships"><Relationship Id="rId1" Type="http://schemas.openxmlformats.org/officeDocument/2006/relationships/tags" Target="../tags/tag392.xml"/><Relationship Id="rId2" Type="http://schemas.openxmlformats.org/officeDocument/2006/relationships/slideLayout" Target="../slideLayouts/slideLayout7.xml"/><Relationship Id="rId3" Type="http://schemas.openxmlformats.org/officeDocument/2006/relationships/notesSlide" Target="../notesSlides/notesSlide3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09.xml"/></Relationships>
</file>

<file path=ppt/slides/_rels/slide366.xml.rels><?xml version='1.0' encoding='UTF-8' standalone='yes'?>
<Relationships xmlns="http://schemas.openxmlformats.org/package/2006/relationships"><Relationship Id="rId1" Type="http://schemas.openxmlformats.org/officeDocument/2006/relationships/tags" Target="../tags/tag393.xml"/><Relationship Id="rId2" Type="http://schemas.openxmlformats.org/officeDocument/2006/relationships/slideLayout" Target="../slideLayouts/slideLayout7.xml"/><Relationship Id="rId3" Type="http://schemas.openxmlformats.org/officeDocument/2006/relationships/notesSlide" Target="../notesSlides/notesSlide3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10.xml"/></Relationships>
</file>

<file path=ppt/slides/_rels/slide367.xml.rels><?xml version='1.0' encoding='UTF-8' standalone='yes'?>
<Relationships xmlns="http://schemas.openxmlformats.org/package/2006/relationships"><Relationship Id="rId1" Type="http://schemas.openxmlformats.org/officeDocument/2006/relationships/tags" Target="../tags/tag394.xml"/><Relationship Id="rId2" Type="http://schemas.openxmlformats.org/officeDocument/2006/relationships/slideLayout" Target="../slideLayouts/slideLayout7.xml"/><Relationship Id="rId3" Type="http://schemas.openxmlformats.org/officeDocument/2006/relationships/notesSlide" Target="../notesSlides/notesSlide3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11.xml"/></Relationships>
</file>

<file path=ppt/slides/_rels/slide368.xml.rels><?xml version='1.0' encoding='UTF-8' standalone='yes'?>
<Relationships xmlns="http://schemas.openxmlformats.org/package/2006/relationships"><Relationship Id="rId1" Type="http://schemas.openxmlformats.org/officeDocument/2006/relationships/tags" Target="../tags/tag395.xml"/><Relationship Id="rId2" Type="http://schemas.openxmlformats.org/officeDocument/2006/relationships/slideLayout" Target="../slideLayouts/slideLayout7.xml"/><Relationship Id="rId3" Type="http://schemas.openxmlformats.org/officeDocument/2006/relationships/notesSlide" Target="../notesSlides/notesSlide3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12.xml"/></Relationships>
</file>

<file path=ppt/slides/_rels/slide369.xml.rels><?xml version='1.0' encoding='UTF-8' standalone='yes'?>
<Relationships xmlns="http://schemas.openxmlformats.org/package/2006/relationships"><Relationship Id="rId1" Type="http://schemas.openxmlformats.org/officeDocument/2006/relationships/tags" Target="../tags/tag396.xml"/><Relationship Id="rId2" Type="http://schemas.openxmlformats.org/officeDocument/2006/relationships/slideLayout" Target="../slideLayouts/slideLayout7.xml"/><Relationship Id="rId3" Type="http://schemas.openxmlformats.org/officeDocument/2006/relationships/notesSlide" Target="../notesSlides/notesSlide3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13.xml"/></Relationships>
</file>

<file path=ppt/slides/_rels/slide37.xml.rels><?xml version='1.0' encoding='UTF-8' standalone='yes'?>
<Relationships xmlns="http://schemas.openxmlformats.org/package/2006/relationships"><Relationship Id="rId1" Type="http://schemas.openxmlformats.org/officeDocument/2006/relationships/tags" Target="../tags/tag6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7.xml"/></Relationships>
</file>

<file path=ppt/slides/_rels/slide370.xml.rels><?xml version='1.0' encoding='UTF-8' standalone='yes'?>
<Relationships xmlns="http://schemas.openxmlformats.org/package/2006/relationships"><Relationship Id="rId1" Type="http://schemas.openxmlformats.org/officeDocument/2006/relationships/tags" Target="../tags/tag397.xml"/><Relationship Id="rId2" Type="http://schemas.openxmlformats.org/officeDocument/2006/relationships/slideLayout" Target="../slideLayouts/slideLayout7.xml"/><Relationship Id="rId3" Type="http://schemas.openxmlformats.org/officeDocument/2006/relationships/notesSlide" Target="../notesSlides/notesSlide3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14.xml"/></Relationships>
</file>

<file path=ppt/slides/_rels/slide371.xml.rels><?xml version='1.0' encoding='UTF-8' standalone='yes'?>
<Relationships xmlns="http://schemas.openxmlformats.org/package/2006/relationships"><Relationship Id="rId1" Type="http://schemas.openxmlformats.org/officeDocument/2006/relationships/tags" Target="../tags/tag398.xml"/><Relationship Id="rId2" Type="http://schemas.openxmlformats.org/officeDocument/2006/relationships/slideLayout" Target="../slideLayouts/slideLayout7.xml"/><Relationship Id="rId3" Type="http://schemas.openxmlformats.org/officeDocument/2006/relationships/notesSlide" Target="../notesSlides/notesSlide3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15.xml"/></Relationships>
</file>

<file path=ppt/slides/_rels/slide372.xml.rels><?xml version='1.0' encoding='UTF-8' standalone='yes'?>
<Relationships xmlns="http://schemas.openxmlformats.org/package/2006/relationships"><Relationship Id="rId1" Type="http://schemas.openxmlformats.org/officeDocument/2006/relationships/tags" Target="../tags/tag399.xml"/><Relationship Id="rId2" Type="http://schemas.openxmlformats.org/officeDocument/2006/relationships/slideLayout" Target="../slideLayouts/slideLayout7.xml"/><Relationship Id="rId3" Type="http://schemas.openxmlformats.org/officeDocument/2006/relationships/notesSlide" Target="../notesSlides/notesSlide3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16.xml"/></Relationships>
</file>

<file path=ppt/slides/_rels/slide373.xml.rels><?xml version='1.0' encoding='UTF-8' standalone='yes'?>
<Relationships xmlns="http://schemas.openxmlformats.org/package/2006/relationships"><Relationship Id="rId1" Type="http://schemas.openxmlformats.org/officeDocument/2006/relationships/tags" Target="../tags/tag400.xml"/><Relationship Id="rId2" Type="http://schemas.openxmlformats.org/officeDocument/2006/relationships/slideLayout" Target="../slideLayouts/slideLayout7.xml"/><Relationship Id="rId3" Type="http://schemas.openxmlformats.org/officeDocument/2006/relationships/notesSlide" Target="../notesSlides/notesSlide3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17.xml"/></Relationships>
</file>

<file path=ppt/slides/_rels/slide374.xml.rels><?xml version='1.0' encoding='UTF-8' standalone='yes'?>
<Relationships xmlns="http://schemas.openxmlformats.org/package/2006/relationships"><Relationship Id="rId1" Type="http://schemas.openxmlformats.org/officeDocument/2006/relationships/tags" Target="../tags/tag401.xml"/><Relationship Id="rId2" Type="http://schemas.openxmlformats.org/officeDocument/2006/relationships/slideLayout" Target="../slideLayouts/slideLayout7.xml"/><Relationship Id="rId3" Type="http://schemas.openxmlformats.org/officeDocument/2006/relationships/notesSlide" Target="../notesSlides/notesSlide4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18.xml"/></Relationships>
</file>

<file path=ppt/slides/_rels/slide375.xml.rels><?xml version='1.0' encoding='UTF-8' standalone='yes'?>
<Relationships xmlns="http://schemas.openxmlformats.org/package/2006/relationships"><Relationship Id="rId1" Type="http://schemas.openxmlformats.org/officeDocument/2006/relationships/tags" Target="../tags/tag402.xml"/><Relationship Id="rId2" Type="http://schemas.openxmlformats.org/officeDocument/2006/relationships/slideLayout" Target="../slideLayouts/slideLayout7.xml"/><Relationship Id="rId3" Type="http://schemas.openxmlformats.org/officeDocument/2006/relationships/notesSlide" Target="../notesSlides/notesSlide4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19.xml"/></Relationships>
</file>

<file path=ppt/slides/_rels/slide376.xml.rels><?xml version='1.0' encoding='UTF-8' standalone='yes'?>
<Relationships xmlns="http://schemas.openxmlformats.org/package/2006/relationships"><Relationship Id="rId1" Type="http://schemas.openxmlformats.org/officeDocument/2006/relationships/tags" Target="../tags/tag403.xml"/><Relationship Id="rId2" Type="http://schemas.openxmlformats.org/officeDocument/2006/relationships/slideLayout" Target="../slideLayouts/slideLayout7.xml"/><Relationship Id="rId3" Type="http://schemas.openxmlformats.org/officeDocument/2006/relationships/notesSlide" Target="../notesSlides/notesSlide4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20.xml"/></Relationships>
</file>

<file path=ppt/slides/_rels/slide377.xml.rels><?xml version='1.0' encoding='UTF-8' standalone='yes'?>
<Relationships xmlns="http://schemas.openxmlformats.org/package/2006/relationships"><Relationship Id="rId1" Type="http://schemas.openxmlformats.org/officeDocument/2006/relationships/tags" Target="../tags/tag404.xml"/><Relationship Id="rId2" Type="http://schemas.openxmlformats.org/officeDocument/2006/relationships/slideLayout" Target="../slideLayouts/slideLayout7.xml"/><Relationship Id="rId3" Type="http://schemas.openxmlformats.org/officeDocument/2006/relationships/notesSlide" Target="../notesSlides/notesSlide4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21.xml"/></Relationships>
</file>

<file path=ppt/slides/_rels/slide378.xml.rels><?xml version='1.0' encoding='UTF-8' standalone='yes'?>
<Relationships xmlns="http://schemas.openxmlformats.org/package/2006/relationships"><Relationship Id="rId1" Type="http://schemas.openxmlformats.org/officeDocument/2006/relationships/tags" Target="../tags/tag405.xml"/><Relationship Id="rId2" Type="http://schemas.openxmlformats.org/officeDocument/2006/relationships/slideLayout" Target="../slideLayouts/slideLayout7.xml"/><Relationship Id="rId3" Type="http://schemas.openxmlformats.org/officeDocument/2006/relationships/notesSlide" Target="../notesSlides/notesSlide4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22.xml"/></Relationships>
</file>

<file path=ppt/slides/_rels/slide379.xml.rels><?xml version='1.0' encoding='UTF-8' standalone='yes'?>
<Relationships xmlns="http://schemas.openxmlformats.org/package/2006/relationships"><Relationship Id="rId1" Type="http://schemas.openxmlformats.org/officeDocument/2006/relationships/tags" Target="../tags/tag406.xml"/><Relationship Id="rId2" Type="http://schemas.openxmlformats.org/officeDocument/2006/relationships/slideLayout" Target="../slideLayouts/slideLayout7.xml"/><Relationship Id="rId3" Type="http://schemas.openxmlformats.org/officeDocument/2006/relationships/notesSlide" Target="../notesSlides/notesSlide4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23.xml"/></Relationships>
</file>

<file path=ppt/slides/_rels/slide38.xml.rels><?xml version='1.0' encoding='UTF-8' standalone='yes'?>
<Relationships xmlns="http://schemas.openxmlformats.org/package/2006/relationships"><Relationship Id="rId1" Type="http://schemas.openxmlformats.org/officeDocument/2006/relationships/tags" Target="../tags/tag6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8.xml"/></Relationships>
</file>

<file path=ppt/slides/_rels/slide380.xml.rels><?xml version='1.0' encoding='UTF-8' standalone='yes'?>
<Relationships xmlns="http://schemas.openxmlformats.org/package/2006/relationships"><Relationship Id="rId1" Type="http://schemas.openxmlformats.org/officeDocument/2006/relationships/tags" Target="../tags/tag407.xml"/><Relationship Id="rId2" Type="http://schemas.openxmlformats.org/officeDocument/2006/relationships/slideLayout" Target="../slideLayouts/slideLayout7.xml"/><Relationship Id="rId3" Type="http://schemas.openxmlformats.org/officeDocument/2006/relationships/notesSlide" Target="../notesSlides/notesSlide4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24.xml"/></Relationships>
</file>

<file path=ppt/slides/_rels/slide381.xml.rels><?xml version='1.0' encoding='UTF-8' standalone='yes'?>
<Relationships xmlns="http://schemas.openxmlformats.org/package/2006/relationships"><Relationship Id="rId1" Type="http://schemas.openxmlformats.org/officeDocument/2006/relationships/tags" Target="../tags/tag408.xml"/><Relationship Id="rId2" Type="http://schemas.openxmlformats.org/officeDocument/2006/relationships/slideLayout" Target="../slideLayouts/slideLayout7.xml"/><Relationship Id="rId3" Type="http://schemas.openxmlformats.org/officeDocument/2006/relationships/notesSlide" Target="../notesSlides/notesSlide4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25.xml"/></Relationships>
</file>

<file path=ppt/slides/_rels/slide382.xml.rels><?xml version='1.0' encoding='UTF-8' standalone='yes'?>
<Relationships xmlns="http://schemas.openxmlformats.org/package/2006/relationships"><Relationship Id="rId1" Type="http://schemas.openxmlformats.org/officeDocument/2006/relationships/tags" Target="../tags/tag409.xml"/><Relationship Id="rId2" Type="http://schemas.openxmlformats.org/officeDocument/2006/relationships/slideLayout" Target="../slideLayouts/slideLayout7.xml"/><Relationship Id="rId3" Type="http://schemas.openxmlformats.org/officeDocument/2006/relationships/notesSlide" Target="../notesSlides/notesSlide4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26.xml"/></Relationships>
</file>

<file path=ppt/slides/_rels/slide383.xml.rels><?xml version='1.0' encoding='UTF-8' standalone='yes'?>
<Relationships xmlns="http://schemas.openxmlformats.org/package/2006/relationships"><Relationship Id="rId1" Type="http://schemas.openxmlformats.org/officeDocument/2006/relationships/tags" Target="../tags/tag410.xml"/><Relationship Id="rId2" Type="http://schemas.openxmlformats.org/officeDocument/2006/relationships/slideLayout" Target="../slideLayouts/slideLayout7.xml"/><Relationship Id="rId3" Type="http://schemas.openxmlformats.org/officeDocument/2006/relationships/notesSlide" Target="../notesSlides/notesSlide4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27.xml"/></Relationships>
</file>

<file path=ppt/slides/_rels/slide384.xml.rels><?xml version='1.0' encoding='UTF-8' standalone='yes'?>
<Relationships xmlns="http://schemas.openxmlformats.org/package/2006/relationships"><Relationship Id="rId1" Type="http://schemas.openxmlformats.org/officeDocument/2006/relationships/tags" Target="../tags/tag411.xml"/><Relationship Id="rId2" Type="http://schemas.openxmlformats.org/officeDocument/2006/relationships/slideLayout" Target="../slideLayouts/slideLayout7.xml"/><Relationship Id="rId3" Type="http://schemas.openxmlformats.org/officeDocument/2006/relationships/notesSlide" Target="../notesSlides/notesSlide5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28.xml"/></Relationships>
</file>

<file path=ppt/slides/_rels/slide385.xml.rels><?xml version='1.0' encoding='UTF-8' standalone='yes'?>
<Relationships xmlns="http://schemas.openxmlformats.org/package/2006/relationships"><Relationship Id="rId1" Type="http://schemas.openxmlformats.org/officeDocument/2006/relationships/tags" Target="../tags/tag412.xml"/><Relationship Id="rId2" Type="http://schemas.openxmlformats.org/officeDocument/2006/relationships/slideLayout" Target="../slideLayouts/slideLayout7.xml"/><Relationship Id="rId3" Type="http://schemas.openxmlformats.org/officeDocument/2006/relationships/notesSlide" Target="../notesSlides/notesSlide5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29.xml"/></Relationships>
</file>

<file path=ppt/slides/_rels/slide386.xml.rels><?xml version='1.0' encoding='UTF-8' standalone='yes'?>
<Relationships xmlns="http://schemas.openxmlformats.org/package/2006/relationships"><Relationship Id="rId1" Type="http://schemas.openxmlformats.org/officeDocument/2006/relationships/tags" Target="../tags/tag413.xml"/><Relationship Id="rId2" Type="http://schemas.openxmlformats.org/officeDocument/2006/relationships/slideLayout" Target="../slideLayouts/slideLayout7.xml"/><Relationship Id="rId3" Type="http://schemas.openxmlformats.org/officeDocument/2006/relationships/notesSlide" Target="../notesSlides/notesSlide5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30.xml"/></Relationships>
</file>

<file path=ppt/slides/_rels/slide387.xml.rels><?xml version='1.0' encoding='UTF-8' standalone='yes'?>
<Relationships xmlns="http://schemas.openxmlformats.org/package/2006/relationships"><Relationship Id="rId1" Type="http://schemas.openxmlformats.org/officeDocument/2006/relationships/tags" Target="../tags/tag414.xml"/><Relationship Id="rId2" Type="http://schemas.openxmlformats.org/officeDocument/2006/relationships/slideLayout" Target="../slideLayouts/slideLayout7.xml"/><Relationship Id="rId3" Type="http://schemas.openxmlformats.org/officeDocument/2006/relationships/notesSlide" Target="../notesSlides/notesSlide5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31.xml"/></Relationships>
</file>

<file path=ppt/slides/_rels/slide388.xml.rels><?xml version='1.0' encoding='UTF-8' standalone='yes'?>
<Relationships xmlns="http://schemas.openxmlformats.org/package/2006/relationships"><Relationship Id="rId1" Type="http://schemas.openxmlformats.org/officeDocument/2006/relationships/tags" Target="../tags/tag415.xml"/><Relationship Id="rId2" Type="http://schemas.openxmlformats.org/officeDocument/2006/relationships/slideLayout" Target="../slideLayouts/slideLayout7.xml"/><Relationship Id="rId3" Type="http://schemas.openxmlformats.org/officeDocument/2006/relationships/notesSlide" Target="../notesSlides/notesSlide5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32.xml"/></Relationships>
</file>

<file path=ppt/slides/_rels/slide389.xml.rels><?xml version='1.0' encoding='UTF-8' standalone='yes'?>
<Relationships xmlns="http://schemas.openxmlformats.org/package/2006/relationships"><Relationship Id="rId1" Type="http://schemas.openxmlformats.org/officeDocument/2006/relationships/tags" Target="../tags/tag416.xml"/><Relationship Id="rId2" Type="http://schemas.openxmlformats.org/officeDocument/2006/relationships/slideLayout" Target="../slideLayouts/slideLayout7.xml"/><Relationship Id="rId3" Type="http://schemas.openxmlformats.org/officeDocument/2006/relationships/notesSlide" Target="../notesSlides/notesSlide5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33.xml"/></Relationships>
</file>

<file path=ppt/slides/_rels/slide39.xml.rels><?xml version='1.0' encoding='UTF-8' standalone='yes'?>
<Relationships xmlns="http://schemas.openxmlformats.org/package/2006/relationships"><Relationship Id="rId1" Type="http://schemas.openxmlformats.org/officeDocument/2006/relationships/tags" Target="../tags/tag6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9.xml"/></Relationships>
</file>

<file path=ppt/slides/_rels/slide390.xml.rels><?xml version='1.0' encoding='UTF-8' standalone='yes'?>
<Relationships xmlns="http://schemas.openxmlformats.org/package/2006/relationships"><Relationship Id="rId1" Type="http://schemas.openxmlformats.org/officeDocument/2006/relationships/tags" Target="../tags/tag417.xml"/><Relationship Id="rId2" Type="http://schemas.openxmlformats.org/officeDocument/2006/relationships/slideLayout" Target="../slideLayouts/slideLayout7.xml"/><Relationship Id="rId3" Type="http://schemas.openxmlformats.org/officeDocument/2006/relationships/notesSlide" Target="../notesSlides/notesSlide5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34.xml"/></Relationships>
</file>

<file path=ppt/slides/_rels/slide391.xml.rels><?xml version='1.0' encoding='UTF-8' standalone='yes'?>
<Relationships xmlns="http://schemas.openxmlformats.org/package/2006/relationships"><Relationship Id="rId1" Type="http://schemas.openxmlformats.org/officeDocument/2006/relationships/tags" Target="../tags/tag418.xml"/><Relationship Id="rId2" Type="http://schemas.openxmlformats.org/officeDocument/2006/relationships/slideLayout" Target="../slideLayouts/slideLayout7.xml"/><Relationship Id="rId3" Type="http://schemas.openxmlformats.org/officeDocument/2006/relationships/notesSlide" Target="../notesSlides/notesSlide5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35.xml"/></Relationships>
</file>

<file path=ppt/slides/_rels/slide392.xml.rels><?xml version='1.0' encoding='UTF-8' standalone='yes'?>
<Relationships xmlns="http://schemas.openxmlformats.org/package/2006/relationships"><Relationship Id="rId1" Type="http://schemas.openxmlformats.org/officeDocument/2006/relationships/tags" Target="../tags/tag419.xml"/><Relationship Id="rId2" Type="http://schemas.openxmlformats.org/officeDocument/2006/relationships/slideLayout" Target="../slideLayouts/slideLayout7.xml"/><Relationship Id="rId3" Type="http://schemas.openxmlformats.org/officeDocument/2006/relationships/notesSlide" Target="../notesSlides/notesSlide5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36.xml"/></Relationships>
</file>

<file path=ppt/slides/_rels/slide393.xml.rels><?xml version='1.0' encoding='UTF-8' standalone='yes'?>
<Relationships xmlns="http://schemas.openxmlformats.org/package/2006/relationships"><Relationship Id="rId1" Type="http://schemas.openxmlformats.org/officeDocument/2006/relationships/tags" Target="../tags/tag420.xml"/><Relationship Id="rId2" Type="http://schemas.openxmlformats.org/officeDocument/2006/relationships/slideLayout" Target="../slideLayouts/slideLayout7.xml"/><Relationship Id="rId3" Type="http://schemas.openxmlformats.org/officeDocument/2006/relationships/notesSlide" Target="../notesSlides/notesSlide5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37.xml"/></Relationships>
</file>

<file path=ppt/slides/_rels/slide394.xml.rels><?xml version='1.0' encoding='UTF-8' standalone='yes'?>
<Relationships xmlns="http://schemas.openxmlformats.org/package/2006/relationships"><Relationship Id="rId1" Type="http://schemas.openxmlformats.org/officeDocument/2006/relationships/tags" Target="../tags/tag421.xml"/><Relationship Id="rId2" Type="http://schemas.openxmlformats.org/officeDocument/2006/relationships/slideLayout" Target="../slideLayouts/slideLayout7.xml"/><Relationship Id="rId3" Type="http://schemas.openxmlformats.org/officeDocument/2006/relationships/notesSlide" Target="../notesSlides/notesSlide6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38.xml"/></Relationships>
</file>

<file path=ppt/slides/_rels/slide395.xml.rels><?xml version='1.0' encoding='UTF-8' standalone='yes'?>
<Relationships xmlns="http://schemas.openxmlformats.org/package/2006/relationships"><Relationship Id="rId1" Type="http://schemas.openxmlformats.org/officeDocument/2006/relationships/tags" Target="../tags/tag422.xml"/><Relationship Id="rId2" Type="http://schemas.openxmlformats.org/officeDocument/2006/relationships/slideLayout" Target="../slideLayouts/slideLayout7.xml"/><Relationship Id="rId3" Type="http://schemas.openxmlformats.org/officeDocument/2006/relationships/notesSlide" Target="../notesSlides/notesSlide6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39.xml"/></Relationships>
</file>

<file path=ppt/slides/_rels/slide396.xml.rels><?xml version='1.0' encoding='UTF-8' standalone='yes'?>
<Relationships xmlns="http://schemas.openxmlformats.org/package/2006/relationships"><Relationship Id="rId1" Type="http://schemas.openxmlformats.org/officeDocument/2006/relationships/tags" Target="../tags/tag423.xml"/><Relationship Id="rId2" Type="http://schemas.openxmlformats.org/officeDocument/2006/relationships/slideLayout" Target="../slideLayouts/slideLayout7.xml"/><Relationship Id="rId3" Type="http://schemas.openxmlformats.org/officeDocument/2006/relationships/notesSlide" Target="../notesSlides/notesSlide6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40.xml"/></Relationships>
</file>

<file path=ppt/slides/_rels/slide397.xml.rels><?xml version='1.0' encoding='UTF-8' standalone='yes'?>
<Relationships xmlns="http://schemas.openxmlformats.org/package/2006/relationships"><Relationship Id="rId1" Type="http://schemas.openxmlformats.org/officeDocument/2006/relationships/tags" Target="../tags/tag424.xml"/><Relationship Id="rId2" Type="http://schemas.openxmlformats.org/officeDocument/2006/relationships/slideLayout" Target="../slideLayouts/slideLayout7.xml"/><Relationship Id="rId3" Type="http://schemas.openxmlformats.org/officeDocument/2006/relationships/notesSlide" Target="../notesSlides/notesSlide6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41.xml"/></Relationships>
</file>

<file path=ppt/slides/_rels/slide398.xml.rels><?xml version='1.0' encoding='UTF-8' standalone='yes'?>
<Relationships xmlns="http://schemas.openxmlformats.org/package/2006/relationships"><Relationship Id="rId1" Type="http://schemas.openxmlformats.org/officeDocument/2006/relationships/tags" Target="../tags/tag425.xml"/><Relationship Id="rId2" Type="http://schemas.openxmlformats.org/officeDocument/2006/relationships/slideLayout" Target="../slideLayouts/slideLayout7.xml"/><Relationship Id="rId3" Type="http://schemas.openxmlformats.org/officeDocument/2006/relationships/notesSlide" Target="../notesSlides/notesSlide6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42.xml"/></Relationships>
</file>

<file path=ppt/slides/_rels/slide399.xml.rels><?xml version='1.0' encoding='UTF-8' standalone='yes'?>
<Relationships xmlns="http://schemas.openxmlformats.org/package/2006/relationships"><Relationship Id="rId1" Type="http://schemas.openxmlformats.org/officeDocument/2006/relationships/tags" Target="../tags/tag426.xml"/><Relationship Id="rId2" Type="http://schemas.openxmlformats.org/officeDocument/2006/relationships/slideLayout" Target="../slideLayouts/slideLayout7.xml"/><Relationship Id="rId3" Type="http://schemas.openxmlformats.org/officeDocument/2006/relationships/notesSlide" Target="../notesSlides/notesSlide6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43.xml"/></Relationships>
</file>

<file path=ppt/slides/_rels/slide4.xml.rels><?xml version='1.0' encoding='UTF-8' standalone='yes'?>
<Relationships xmlns="http://schemas.openxmlformats.org/package/2006/relationships"><Relationship Id="rId1" Type="http://schemas.openxmlformats.org/officeDocument/2006/relationships/tags" Target="../tags/tag3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xml"/></Relationships>
</file>

<file path=ppt/slides/_rels/slide40.xml.rels><?xml version='1.0' encoding='UTF-8' standalone='yes'?>
<Relationships xmlns="http://schemas.openxmlformats.org/package/2006/relationships"><Relationship Id="rId1" Type="http://schemas.openxmlformats.org/officeDocument/2006/relationships/tags" Target="../tags/tag6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0.xml"/></Relationships>
</file>

<file path=ppt/slides/_rels/slide400.xml.rels><?xml version='1.0' encoding='UTF-8' standalone='yes'?>
<Relationships xmlns="http://schemas.openxmlformats.org/package/2006/relationships"><Relationship Id="rId1" Type="http://schemas.openxmlformats.org/officeDocument/2006/relationships/tags" Target="../tags/tag427.xml"/><Relationship Id="rId2" Type="http://schemas.openxmlformats.org/officeDocument/2006/relationships/slideLayout" Target="../slideLayouts/slideLayout7.xml"/><Relationship Id="rId3" Type="http://schemas.openxmlformats.org/officeDocument/2006/relationships/notesSlide" Target="../notesSlides/notesSlide6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44.xml"/></Relationships>
</file>

<file path=ppt/slides/_rels/slide401.xml.rels><?xml version='1.0' encoding='UTF-8' standalone='yes'?>
<Relationships xmlns="http://schemas.openxmlformats.org/package/2006/relationships"><Relationship Id="rId1" Type="http://schemas.openxmlformats.org/officeDocument/2006/relationships/tags" Target="../tags/tag428.xml"/><Relationship Id="rId2" Type="http://schemas.openxmlformats.org/officeDocument/2006/relationships/slideLayout" Target="../slideLayouts/slideLayout7.xml"/><Relationship Id="rId3" Type="http://schemas.openxmlformats.org/officeDocument/2006/relationships/notesSlide" Target="../notesSlides/notesSlide6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45.xml"/></Relationships>
</file>

<file path=ppt/slides/_rels/slide402.xml.rels><?xml version='1.0' encoding='UTF-8' standalone='yes'?>
<Relationships xmlns="http://schemas.openxmlformats.org/package/2006/relationships"><Relationship Id="rId1" Type="http://schemas.openxmlformats.org/officeDocument/2006/relationships/tags" Target="../tags/tag429.xml"/><Relationship Id="rId2" Type="http://schemas.openxmlformats.org/officeDocument/2006/relationships/slideLayout" Target="../slideLayouts/slideLayout7.xml"/><Relationship Id="rId3" Type="http://schemas.openxmlformats.org/officeDocument/2006/relationships/notesSlide" Target="../notesSlides/notesSlide6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46.xml"/></Relationships>
</file>

<file path=ppt/slides/_rels/slide403.xml.rels><?xml version='1.0' encoding='UTF-8' standalone='yes'?>
<Relationships xmlns="http://schemas.openxmlformats.org/package/2006/relationships"><Relationship Id="rId1" Type="http://schemas.openxmlformats.org/officeDocument/2006/relationships/tags" Target="../tags/tag430.xml"/><Relationship Id="rId2" Type="http://schemas.openxmlformats.org/officeDocument/2006/relationships/slideLayout" Target="../slideLayouts/slideLayout7.xml"/><Relationship Id="rId3" Type="http://schemas.openxmlformats.org/officeDocument/2006/relationships/notesSlide" Target="../notesSlides/notesSlide6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47.xml"/></Relationships>
</file>

<file path=ppt/slides/_rels/slide404.xml.rels><?xml version='1.0' encoding='UTF-8' standalone='yes'?>
<Relationships xmlns="http://schemas.openxmlformats.org/package/2006/relationships"><Relationship Id="rId1" Type="http://schemas.openxmlformats.org/officeDocument/2006/relationships/tags" Target="../tags/tag431.xml"/><Relationship Id="rId2" Type="http://schemas.openxmlformats.org/officeDocument/2006/relationships/slideLayout" Target="../slideLayouts/slideLayout7.xml"/><Relationship Id="rId3" Type="http://schemas.openxmlformats.org/officeDocument/2006/relationships/notesSlide" Target="../notesSlides/notesSlide7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48.xml"/></Relationships>
</file>

<file path=ppt/slides/_rels/slide405.xml.rels><?xml version='1.0' encoding='UTF-8' standalone='yes'?>
<Relationships xmlns="http://schemas.openxmlformats.org/package/2006/relationships"><Relationship Id="rId1" Type="http://schemas.openxmlformats.org/officeDocument/2006/relationships/tags" Target="../tags/tag432.xml"/><Relationship Id="rId2" Type="http://schemas.openxmlformats.org/officeDocument/2006/relationships/slideLayout" Target="../slideLayouts/slideLayout7.xml"/><Relationship Id="rId3" Type="http://schemas.openxmlformats.org/officeDocument/2006/relationships/notesSlide" Target="../notesSlides/notesSlide7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49.xml"/></Relationships>
</file>

<file path=ppt/slides/_rels/slide406.xml.rels><?xml version='1.0' encoding='UTF-8' standalone='yes'?>
<Relationships xmlns="http://schemas.openxmlformats.org/package/2006/relationships"><Relationship Id="rId1" Type="http://schemas.openxmlformats.org/officeDocument/2006/relationships/tags" Target="../tags/tag433.xml"/><Relationship Id="rId2" Type="http://schemas.openxmlformats.org/officeDocument/2006/relationships/slideLayout" Target="../slideLayouts/slideLayout7.xml"/><Relationship Id="rId3" Type="http://schemas.openxmlformats.org/officeDocument/2006/relationships/notesSlide" Target="../notesSlides/notesSlide7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50.xml"/></Relationships>
</file>

<file path=ppt/slides/_rels/slide407.xml.rels><?xml version='1.0' encoding='UTF-8' standalone='yes'?>
<Relationships xmlns="http://schemas.openxmlformats.org/package/2006/relationships"><Relationship Id="rId1" Type="http://schemas.openxmlformats.org/officeDocument/2006/relationships/tags" Target="../tags/tag434.xml"/><Relationship Id="rId2" Type="http://schemas.openxmlformats.org/officeDocument/2006/relationships/slideLayout" Target="../slideLayouts/slideLayout7.xml"/><Relationship Id="rId3" Type="http://schemas.openxmlformats.org/officeDocument/2006/relationships/notesSlide" Target="../notesSlides/notesSlide7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51.xml"/></Relationships>
</file>

<file path=ppt/slides/_rels/slide408.xml.rels><?xml version='1.0' encoding='UTF-8' standalone='yes'?>
<Relationships xmlns="http://schemas.openxmlformats.org/package/2006/relationships"><Relationship Id="rId1" Type="http://schemas.openxmlformats.org/officeDocument/2006/relationships/tags" Target="../tags/tag435.xml"/><Relationship Id="rId2" Type="http://schemas.openxmlformats.org/officeDocument/2006/relationships/slideLayout" Target="../slideLayouts/slideLayout7.xml"/><Relationship Id="rId3" Type="http://schemas.openxmlformats.org/officeDocument/2006/relationships/notesSlide" Target="../notesSlides/notesSlide7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52.xml"/></Relationships>
</file>

<file path=ppt/slides/_rels/slide409.xml.rels><?xml version='1.0' encoding='UTF-8' standalone='yes'?>
<Relationships xmlns="http://schemas.openxmlformats.org/package/2006/relationships"><Relationship Id="rId1" Type="http://schemas.openxmlformats.org/officeDocument/2006/relationships/tags" Target="../tags/tag436.xml"/><Relationship Id="rId2" Type="http://schemas.openxmlformats.org/officeDocument/2006/relationships/slideLayout" Target="../slideLayouts/slideLayout7.xml"/><Relationship Id="rId3" Type="http://schemas.openxmlformats.org/officeDocument/2006/relationships/notesSlide" Target="../notesSlides/notesSlide7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53.xml"/></Relationships>
</file>

<file path=ppt/slides/_rels/slide41.xml.rels><?xml version='1.0' encoding='UTF-8' standalone='yes'?>
<Relationships xmlns="http://schemas.openxmlformats.org/package/2006/relationships"><Relationship Id="rId1" Type="http://schemas.openxmlformats.org/officeDocument/2006/relationships/tags" Target="../tags/tag6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1.xml"/></Relationships>
</file>

<file path=ppt/slides/_rels/slide410.xml.rels><?xml version='1.0' encoding='UTF-8' standalone='yes'?>
<Relationships xmlns="http://schemas.openxmlformats.org/package/2006/relationships"><Relationship Id="rId1" Type="http://schemas.openxmlformats.org/officeDocument/2006/relationships/tags" Target="../tags/tag437.xml"/><Relationship Id="rId2" Type="http://schemas.openxmlformats.org/officeDocument/2006/relationships/slideLayout" Target="../slideLayouts/slideLayout7.xml"/><Relationship Id="rId3" Type="http://schemas.openxmlformats.org/officeDocument/2006/relationships/notesSlide" Target="../notesSlides/notesSlide7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54.xml"/></Relationships>
</file>

<file path=ppt/slides/_rels/slide411.xml.rels><?xml version='1.0' encoding='UTF-8' standalone='yes'?>
<Relationships xmlns="http://schemas.openxmlformats.org/package/2006/relationships"><Relationship Id="rId1" Type="http://schemas.openxmlformats.org/officeDocument/2006/relationships/tags" Target="../tags/tag438.xml"/><Relationship Id="rId2" Type="http://schemas.openxmlformats.org/officeDocument/2006/relationships/slideLayout" Target="../slideLayouts/slideLayout7.xml"/><Relationship Id="rId3" Type="http://schemas.openxmlformats.org/officeDocument/2006/relationships/notesSlide" Target="../notesSlides/notesSlide7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55.xml"/></Relationships>
</file>

<file path=ppt/slides/_rels/slide412.xml.rels><?xml version='1.0' encoding='UTF-8' standalone='yes'?>
<Relationships xmlns="http://schemas.openxmlformats.org/package/2006/relationships"><Relationship Id="rId1" Type="http://schemas.openxmlformats.org/officeDocument/2006/relationships/tags" Target="../tags/tag439.xml"/><Relationship Id="rId2" Type="http://schemas.openxmlformats.org/officeDocument/2006/relationships/slideLayout" Target="../slideLayouts/slideLayout7.xml"/><Relationship Id="rId3" Type="http://schemas.openxmlformats.org/officeDocument/2006/relationships/notesSlide" Target="../notesSlides/notesSlide7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56.xml"/></Relationships>
</file>

<file path=ppt/slides/_rels/slide413.xml.rels><?xml version='1.0' encoding='UTF-8' standalone='yes'?>
<Relationships xmlns="http://schemas.openxmlformats.org/package/2006/relationships"><Relationship Id="rId1" Type="http://schemas.openxmlformats.org/officeDocument/2006/relationships/tags" Target="../tags/tag440.xml"/><Relationship Id="rId2" Type="http://schemas.openxmlformats.org/officeDocument/2006/relationships/slideLayout" Target="../slideLayouts/slideLayout7.xml"/><Relationship Id="rId3" Type="http://schemas.openxmlformats.org/officeDocument/2006/relationships/notesSlide" Target="../notesSlides/notesSlide7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57.xml"/></Relationships>
</file>

<file path=ppt/slides/_rels/slide414.xml.rels><?xml version='1.0' encoding='UTF-8' standalone='yes'?>
<Relationships xmlns="http://schemas.openxmlformats.org/package/2006/relationships"><Relationship Id="rId1" Type="http://schemas.openxmlformats.org/officeDocument/2006/relationships/tags" Target="../tags/tag441.xml"/><Relationship Id="rId2" Type="http://schemas.openxmlformats.org/officeDocument/2006/relationships/slideLayout" Target="../slideLayouts/slideLayout7.xml"/><Relationship Id="rId3" Type="http://schemas.openxmlformats.org/officeDocument/2006/relationships/notesSlide" Target="../notesSlides/notesSlide8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58.xml"/></Relationships>
</file>

<file path=ppt/slides/_rels/slide415.xml.rels><?xml version='1.0' encoding='UTF-8' standalone='yes'?>
<Relationships xmlns="http://schemas.openxmlformats.org/package/2006/relationships"><Relationship Id="rId1" Type="http://schemas.openxmlformats.org/officeDocument/2006/relationships/tags" Target="../tags/tag442.xml"/><Relationship Id="rId2" Type="http://schemas.openxmlformats.org/officeDocument/2006/relationships/slideLayout" Target="../slideLayouts/slideLayout7.xml"/><Relationship Id="rId3" Type="http://schemas.openxmlformats.org/officeDocument/2006/relationships/notesSlide" Target="../notesSlides/notesSlide8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59.xml"/></Relationships>
</file>

<file path=ppt/slides/_rels/slide416.xml.rels><?xml version='1.0' encoding='UTF-8' standalone='yes'?>
<Relationships xmlns="http://schemas.openxmlformats.org/package/2006/relationships"><Relationship Id="rId1" Type="http://schemas.openxmlformats.org/officeDocument/2006/relationships/tags" Target="../tags/tag443.xml"/><Relationship Id="rId2" Type="http://schemas.openxmlformats.org/officeDocument/2006/relationships/slideLayout" Target="../slideLayouts/slideLayout7.xml"/><Relationship Id="rId3" Type="http://schemas.openxmlformats.org/officeDocument/2006/relationships/notesSlide" Target="../notesSlides/notesSlide8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60.xml"/></Relationships>
</file>

<file path=ppt/slides/_rels/slide417.xml.rels><?xml version='1.0' encoding='UTF-8' standalone='yes'?>
<Relationships xmlns="http://schemas.openxmlformats.org/package/2006/relationships"><Relationship Id="rId1" Type="http://schemas.openxmlformats.org/officeDocument/2006/relationships/tags" Target="../tags/tag444.xml"/><Relationship Id="rId2" Type="http://schemas.openxmlformats.org/officeDocument/2006/relationships/slideLayout" Target="../slideLayouts/slideLayout7.xml"/><Relationship Id="rId3" Type="http://schemas.openxmlformats.org/officeDocument/2006/relationships/notesSlide" Target="../notesSlides/notesSlide8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61.xml"/></Relationships>
</file>

<file path=ppt/slides/_rels/slide418.xml.rels><?xml version='1.0' encoding='UTF-8' standalone='yes'?>
<Relationships xmlns="http://schemas.openxmlformats.org/package/2006/relationships"><Relationship Id="rId1" Type="http://schemas.openxmlformats.org/officeDocument/2006/relationships/tags" Target="../tags/tag445.xml"/><Relationship Id="rId2" Type="http://schemas.openxmlformats.org/officeDocument/2006/relationships/slideLayout" Target="../slideLayouts/slideLayout7.xml"/><Relationship Id="rId3" Type="http://schemas.openxmlformats.org/officeDocument/2006/relationships/notesSlide" Target="../notesSlides/notesSlide8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62.xml"/></Relationships>
</file>

<file path=ppt/slides/_rels/slide419.xml.rels><?xml version='1.0' encoding='UTF-8' standalone='yes'?>
<Relationships xmlns="http://schemas.openxmlformats.org/package/2006/relationships"><Relationship Id="rId1" Type="http://schemas.openxmlformats.org/officeDocument/2006/relationships/tags" Target="../tags/tag446.xml"/><Relationship Id="rId2" Type="http://schemas.openxmlformats.org/officeDocument/2006/relationships/slideLayout" Target="../slideLayouts/slideLayout7.xml"/><Relationship Id="rId3" Type="http://schemas.openxmlformats.org/officeDocument/2006/relationships/notesSlide" Target="../notesSlides/notesSlide8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63.xml"/></Relationships>
</file>

<file path=ppt/slides/_rels/slide42.xml.rels><?xml version='1.0' encoding='UTF-8' standalone='yes'?>
<Relationships xmlns="http://schemas.openxmlformats.org/package/2006/relationships"><Relationship Id="rId1" Type="http://schemas.openxmlformats.org/officeDocument/2006/relationships/tags" Target="../tags/tag6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2.xml"/></Relationships>
</file>

<file path=ppt/slides/_rels/slide420.xml.rels><?xml version='1.0' encoding='UTF-8' standalone='yes'?>
<Relationships xmlns="http://schemas.openxmlformats.org/package/2006/relationships"><Relationship Id="rId1" Type="http://schemas.openxmlformats.org/officeDocument/2006/relationships/tags" Target="../tags/tag447.xml"/><Relationship Id="rId2" Type="http://schemas.openxmlformats.org/officeDocument/2006/relationships/slideLayout" Target="../slideLayouts/slideLayout7.xml"/><Relationship Id="rId3" Type="http://schemas.openxmlformats.org/officeDocument/2006/relationships/notesSlide" Target="../notesSlides/notesSlide8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64.xml"/></Relationships>
</file>

<file path=ppt/slides/_rels/slide421.xml.rels><?xml version='1.0' encoding='UTF-8' standalone='yes'?>
<Relationships xmlns="http://schemas.openxmlformats.org/package/2006/relationships"><Relationship Id="rId1" Type="http://schemas.openxmlformats.org/officeDocument/2006/relationships/tags" Target="../tags/tag448.xml"/><Relationship Id="rId2" Type="http://schemas.openxmlformats.org/officeDocument/2006/relationships/slideLayout" Target="../slideLayouts/slideLayout7.xml"/><Relationship Id="rId3" Type="http://schemas.openxmlformats.org/officeDocument/2006/relationships/notesSlide" Target="../notesSlides/notesSlide8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65.xml"/></Relationships>
</file>

<file path=ppt/slides/_rels/slide422.xml.rels><?xml version='1.0' encoding='UTF-8' standalone='yes'?>
<Relationships xmlns="http://schemas.openxmlformats.org/package/2006/relationships"><Relationship Id="rId1" Type="http://schemas.openxmlformats.org/officeDocument/2006/relationships/tags" Target="../tags/tag449.xml"/><Relationship Id="rId2" Type="http://schemas.openxmlformats.org/officeDocument/2006/relationships/slideLayout" Target="../slideLayouts/slideLayout7.xml"/><Relationship Id="rId3" Type="http://schemas.openxmlformats.org/officeDocument/2006/relationships/notesSlide" Target="../notesSlides/notesSlide8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66.xml"/></Relationships>
</file>

<file path=ppt/slides/_rels/slide423.xml.rels><?xml version='1.0' encoding='UTF-8' standalone='yes'?>
<Relationships xmlns="http://schemas.openxmlformats.org/package/2006/relationships"><Relationship Id="rId1" Type="http://schemas.openxmlformats.org/officeDocument/2006/relationships/tags" Target="../tags/tag450.xml"/><Relationship Id="rId2" Type="http://schemas.openxmlformats.org/officeDocument/2006/relationships/slideLayout" Target="../slideLayouts/slideLayout7.xml"/><Relationship Id="rId3" Type="http://schemas.openxmlformats.org/officeDocument/2006/relationships/notesSlide" Target="../notesSlides/notesSlide8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67.xml"/></Relationships>
</file>

<file path=ppt/slides/_rels/slide424.xml.rels><?xml version='1.0' encoding='UTF-8' standalone='yes'?>
<Relationships xmlns="http://schemas.openxmlformats.org/package/2006/relationships"><Relationship Id="rId1" Type="http://schemas.openxmlformats.org/officeDocument/2006/relationships/tags" Target="../tags/tag451.xml"/><Relationship Id="rId2" Type="http://schemas.openxmlformats.org/officeDocument/2006/relationships/slideLayout" Target="../slideLayouts/slideLayout7.xml"/><Relationship Id="rId3" Type="http://schemas.openxmlformats.org/officeDocument/2006/relationships/notesSlide" Target="../notesSlides/notesSlide9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68.xml"/></Relationships>
</file>

<file path=ppt/slides/_rels/slide425.xml.rels><?xml version='1.0' encoding='UTF-8' standalone='yes'?>
<Relationships xmlns="http://schemas.openxmlformats.org/package/2006/relationships"><Relationship Id="rId1" Type="http://schemas.openxmlformats.org/officeDocument/2006/relationships/tags" Target="../tags/tag452.xml"/><Relationship Id="rId2" Type="http://schemas.openxmlformats.org/officeDocument/2006/relationships/slideLayout" Target="../slideLayouts/slideLayout7.xml"/><Relationship Id="rId3" Type="http://schemas.openxmlformats.org/officeDocument/2006/relationships/notesSlide" Target="../notesSlides/notesSlide9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69.xml"/></Relationships>
</file>

<file path=ppt/slides/_rels/slide426.xml.rels><?xml version='1.0' encoding='UTF-8' standalone='yes'?>
<Relationships xmlns="http://schemas.openxmlformats.org/package/2006/relationships"><Relationship Id="rId1" Type="http://schemas.openxmlformats.org/officeDocument/2006/relationships/tags" Target="../tags/tag453.xml"/><Relationship Id="rId2" Type="http://schemas.openxmlformats.org/officeDocument/2006/relationships/slideLayout" Target="../slideLayouts/slideLayout7.xml"/><Relationship Id="rId3" Type="http://schemas.openxmlformats.org/officeDocument/2006/relationships/notesSlide" Target="../notesSlides/notesSlide9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70.xml"/></Relationships>
</file>

<file path=ppt/slides/_rels/slide427.xml.rels><?xml version='1.0' encoding='UTF-8' standalone='yes'?>
<Relationships xmlns="http://schemas.openxmlformats.org/package/2006/relationships"><Relationship Id="rId1" Type="http://schemas.openxmlformats.org/officeDocument/2006/relationships/tags" Target="../tags/tag454.xml"/><Relationship Id="rId2" Type="http://schemas.openxmlformats.org/officeDocument/2006/relationships/slideLayout" Target="../slideLayouts/slideLayout7.xml"/><Relationship Id="rId3" Type="http://schemas.openxmlformats.org/officeDocument/2006/relationships/notesSlide" Target="../notesSlides/notesSlide9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71.xml"/></Relationships>
</file>

<file path=ppt/slides/_rels/slide428.xml.rels><?xml version='1.0' encoding='UTF-8' standalone='yes'?>
<Relationships xmlns="http://schemas.openxmlformats.org/package/2006/relationships"><Relationship Id="rId1" Type="http://schemas.openxmlformats.org/officeDocument/2006/relationships/tags" Target="../tags/tag455.xml"/><Relationship Id="rId2" Type="http://schemas.openxmlformats.org/officeDocument/2006/relationships/slideLayout" Target="../slideLayouts/slideLayout7.xml"/><Relationship Id="rId3" Type="http://schemas.openxmlformats.org/officeDocument/2006/relationships/notesSlide" Target="../notesSlides/notesSlide9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72.xml"/></Relationships>
</file>

<file path=ppt/slides/_rels/slide429.xml.rels><?xml version='1.0' encoding='UTF-8' standalone='yes'?>
<Relationships xmlns="http://schemas.openxmlformats.org/package/2006/relationships"><Relationship Id="rId1" Type="http://schemas.openxmlformats.org/officeDocument/2006/relationships/tags" Target="../tags/tag456.xml"/><Relationship Id="rId2" Type="http://schemas.openxmlformats.org/officeDocument/2006/relationships/slideLayout" Target="../slideLayouts/slideLayout7.xml"/><Relationship Id="rId3" Type="http://schemas.openxmlformats.org/officeDocument/2006/relationships/notesSlide" Target="../notesSlides/notesSlide9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73.xml"/></Relationships>
</file>

<file path=ppt/slides/_rels/slide43.xml.rels><?xml version='1.0' encoding='UTF-8' standalone='yes'?>
<Relationships xmlns="http://schemas.openxmlformats.org/package/2006/relationships"><Relationship Id="rId1" Type="http://schemas.openxmlformats.org/officeDocument/2006/relationships/tags" Target="../tags/tag7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3.xml"/></Relationships>
</file>

<file path=ppt/slides/_rels/slide430.xml.rels><?xml version='1.0' encoding='UTF-8' standalone='yes'?>
<Relationships xmlns="http://schemas.openxmlformats.org/package/2006/relationships"><Relationship Id="rId1" Type="http://schemas.openxmlformats.org/officeDocument/2006/relationships/tags" Target="../tags/tag457.xml"/><Relationship Id="rId2" Type="http://schemas.openxmlformats.org/officeDocument/2006/relationships/slideLayout" Target="../slideLayouts/slideLayout7.xml"/><Relationship Id="rId3" Type="http://schemas.openxmlformats.org/officeDocument/2006/relationships/notesSlide" Target="../notesSlides/notesSlide9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74.xml"/></Relationships>
</file>

<file path=ppt/slides/_rels/slide431.xml.rels><?xml version='1.0' encoding='UTF-8' standalone='yes'?>
<Relationships xmlns="http://schemas.openxmlformats.org/package/2006/relationships"><Relationship Id="rId1" Type="http://schemas.openxmlformats.org/officeDocument/2006/relationships/tags" Target="../tags/tag458.xml"/><Relationship Id="rId2" Type="http://schemas.openxmlformats.org/officeDocument/2006/relationships/slideLayout" Target="../slideLayouts/slideLayout7.xml"/><Relationship Id="rId3" Type="http://schemas.openxmlformats.org/officeDocument/2006/relationships/notesSlide" Target="../notesSlides/notesSlide9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75.xml"/></Relationships>
</file>

<file path=ppt/slides/_rels/slide432.xml.rels><?xml version='1.0' encoding='UTF-8' standalone='yes'?>
<Relationships xmlns="http://schemas.openxmlformats.org/package/2006/relationships"><Relationship Id="rId1" Type="http://schemas.openxmlformats.org/officeDocument/2006/relationships/tags" Target="../tags/tag459.xml"/><Relationship Id="rId2" Type="http://schemas.openxmlformats.org/officeDocument/2006/relationships/slideLayout" Target="../slideLayouts/slideLayout7.xml"/><Relationship Id="rId3" Type="http://schemas.openxmlformats.org/officeDocument/2006/relationships/notesSlide" Target="../notesSlides/notesSlide9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76.xml"/></Relationships>
</file>

<file path=ppt/slides/_rels/slide433.xml.rels><?xml version='1.0' encoding='UTF-8' standalone='yes'?>
<Relationships xmlns="http://schemas.openxmlformats.org/package/2006/relationships"><Relationship Id="rId1" Type="http://schemas.openxmlformats.org/officeDocument/2006/relationships/tags" Target="../tags/tag460.xml"/><Relationship Id="rId2" Type="http://schemas.openxmlformats.org/officeDocument/2006/relationships/slideLayout" Target="../slideLayouts/slideLayout7.xml"/><Relationship Id="rId3" Type="http://schemas.openxmlformats.org/officeDocument/2006/relationships/notesSlide" Target="../notesSlides/notesSlide9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77.xml"/></Relationships>
</file>

<file path=ppt/slides/_rels/slide434.xml.rels><?xml version='1.0' encoding='UTF-8' standalone='yes'?>
<Relationships xmlns="http://schemas.openxmlformats.org/package/2006/relationships"><Relationship Id="rId1" Type="http://schemas.openxmlformats.org/officeDocument/2006/relationships/tags" Target="../tags/tag461.xml"/><Relationship Id="rId2" Type="http://schemas.openxmlformats.org/officeDocument/2006/relationships/slideLayout" Target="../slideLayouts/slideLayout7.xml"/><Relationship Id="rId3" Type="http://schemas.openxmlformats.org/officeDocument/2006/relationships/notesSlide" Target="../notesSlides/notesSlide10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78.xml"/></Relationships>
</file>

<file path=ppt/slides/_rels/slide435.xml.rels><?xml version='1.0' encoding='UTF-8' standalone='yes'?>
<Relationships xmlns="http://schemas.openxmlformats.org/package/2006/relationships"><Relationship Id="rId1" Type="http://schemas.openxmlformats.org/officeDocument/2006/relationships/tags" Target="../tags/tag462.xml"/><Relationship Id="rId2" Type="http://schemas.openxmlformats.org/officeDocument/2006/relationships/slideLayout" Target="../slideLayouts/slideLayout7.xml"/><Relationship Id="rId3" Type="http://schemas.openxmlformats.org/officeDocument/2006/relationships/notesSlide" Target="../notesSlides/notesSlide10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79.xml"/></Relationships>
</file>

<file path=ppt/slides/_rels/slide436.xml.rels><?xml version='1.0' encoding='UTF-8' standalone='yes'?>
<Relationships xmlns="http://schemas.openxmlformats.org/package/2006/relationships"><Relationship Id="rId1" Type="http://schemas.openxmlformats.org/officeDocument/2006/relationships/tags" Target="../tags/tag463.xml"/><Relationship Id="rId2" Type="http://schemas.openxmlformats.org/officeDocument/2006/relationships/slideLayout" Target="../slideLayouts/slideLayout7.xml"/><Relationship Id="rId3" Type="http://schemas.openxmlformats.org/officeDocument/2006/relationships/notesSlide" Target="../notesSlides/notesSlide10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80.xml"/></Relationships>
</file>

<file path=ppt/slides/_rels/slide437.xml.rels><?xml version='1.0' encoding='UTF-8' standalone='yes'?>
<Relationships xmlns="http://schemas.openxmlformats.org/package/2006/relationships"><Relationship Id="rId1" Type="http://schemas.openxmlformats.org/officeDocument/2006/relationships/tags" Target="../tags/tag464.xml"/><Relationship Id="rId2" Type="http://schemas.openxmlformats.org/officeDocument/2006/relationships/slideLayout" Target="../slideLayouts/slideLayout7.xml"/><Relationship Id="rId3" Type="http://schemas.openxmlformats.org/officeDocument/2006/relationships/notesSlide" Target="../notesSlides/notesSlide10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81.xml"/></Relationships>
</file>

<file path=ppt/slides/_rels/slide438.xml.rels><?xml version='1.0' encoding='UTF-8' standalone='yes'?>
<Relationships xmlns="http://schemas.openxmlformats.org/package/2006/relationships"><Relationship Id="rId1" Type="http://schemas.openxmlformats.org/officeDocument/2006/relationships/tags" Target="../tags/tag465.xml"/><Relationship Id="rId2" Type="http://schemas.openxmlformats.org/officeDocument/2006/relationships/slideLayout" Target="../slideLayouts/slideLayout7.xml"/><Relationship Id="rId3" Type="http://schemas.openxmlformats.org/officeDocument/2006/relationships/notesSlide" Target="../notesSlides/notesSlide10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82.xml"/></Relationships>
</file>

<file path=ppt/slides/_rels/slide439.xml.rels><?xml version='1.0' encoding='UTF-8' standalone='yes'?>
<Relationships xmlns="http://schemas.openxmlformats.org/package/2006/relationships"><Relationship Id="rId1" Type="http://schemas.openxmlformats.org/officeDocument/2006/relationships/tags" Target="../tags/tag466.xml"/><Relationship Id="rId2" Type="http://schemas.openxmlformats.org/officeDocument/2006/relationships/slideLayout" Target="../slideLayouts/slideLayout7.xml"/><Relationship Id="rId3" Type="http://schemas.openxmlformats.org/officeDocument/2006/relationships/notesSlide" Target="../notesSlides/notesSlide10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83.xml"/></Relationships>
</file>

<file path=ppt/slides/_rels/slide44.xml.rels><?xml version='1.0' encoding='UTF-8' standalone='yes'?>
<Relationships xmlns="http://schemas.openxmlformats.org/package/2006/relationships"><Relationship Id="rId1" Type="http://schemas.openxmlformats.org/officeDocument/2006/relationships/tags" Target="../tags/tag7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4.xml"/></Relationships>
</file>

<file path=ppt/slides/_rels/slide440.xml.rels><?xml version='1.0' encoding='UTF-8' standalone='yes'?>
<Relationships xmlns="http://schemas.openxmlformats.org/package/2006/relationships"><Relationship Id="rId1" Type="http://schemas.openxmlformats.org/officeDocument/2006/relationships/tags" Target="../tags/tag467.xml"/><Relationship Id="rId2" Type="http://schemas.openxmlformats.org/officeDocument/2006/relationships/slideLayout" Target="../slideLayouts/slideLayout7.xml"/><Relationship Id="rId3" Type="http://schemas.openxmlformats.org/officeDocument/2006/relationships/notesSlide" Target="../notesSlides/notesSlide10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84.xml"/></Relationships>
</file>

<file path=ppt/slides/_rels/slide441.xml.rels><?xml version='1.0' encoding='UTF-8' standalone='yes'?>
<Relationships xmlns="http://schemas.openxmlformats.org/package/2006/relationships"><Relationship Id="rId1" Type="http://schemas.openxmlformats.org/officeDocument/2006/relationships/tags" Target="../tags/tag468.xml"/><Relationship Id="rId2" Type="http://schemas.openxmlformats.org/officeDocument/2006/relationships/slideLayout" Target="../slideLayouts/slideLayout7.xml"/><Relationship Id="rId3" Type="http://schemas.openxmlformats.org/officeDocument/2006/relationships/notesSlide" Target="../notesSlides/notesSlide10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85.xml"/></Relationships>
</file>

<file path=ppt/slides/_rels/slide442.xml.rels><?xml version='1.0' encoding='UTF-8' standalone='yes'?>
<Relationships xmlns="http://schemas.openxmlformats.org/package/2006/relationships"><Relationship Id="rId1" Type="http://schemas.openxmlformats.org/officeDocument/2006/relationships/tags" Target="../tags/tag469.xml"/><Relationship Id="rId2" Type="http://schemas.openxmlformats.org/officeDocument/2006/relationships/slideLayout" Target="../slideLayouts/slideLayout7.xml"/><Relationship Id="rId3" Type="http://schemas.openxmlformats.org/officeDocument/2006/relationships/notesSlide" Target="../notesSlides/notesSlide10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86.xml"/></Relationships>
</file>

<file path=ppt/slides/_rels/slide443.xml.rels><?xml version='1.0' encoding='UTF-8' standalone='yes'?>
<Relationships xmlns="http://schemas.openxmlformats.org/package/2006/relationships"><Relationship Id="rId1" Type="http://schemas.openxmlformats.org/officeDocument/2006/relationships/tags" Target="../tags/tag47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87.xml"/></Relationships>
</file>

<file path=ppt/slides/_rels/slide444.xml.rels><?xml version='1.0' encoding='UTF-8' standalone='yes'?>
<Relationships xmlns="http://schemas.openxmlformats.org/package/2006/relationships"><Relationship Id="rId1" Type="http://schemas.openxmlformats.org/officeDocument/2006/relationships/tags" Target="../tags/tag47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88.xml"/></Relationships>
</file>

<file path=ppt/slides/_rels/slide445.xml.rels><?xml version='1.0' encoding='UTF-8' standalone='yes'?>
<Relationships xmlns="http://schemas.openxmlformats.org/package/2006/relationships"><Relationship Id="rId1" Type="http://schemas.openxmlformats.org/officeDocument/2006/relationships/tags" Target="../tags/tag47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89.xml"/></Relationships>
</file>

<file path=ppt/slides/_rels/slide446.xml.rels><?xml version='1.0' encoding='UTF-8' standalone='yes'?>
<Relationships xmlns="http://schemas.openxmlformats.org/package/2006/relationships"><Relationship Id="rId1" Type="http://schemas.openxmlformats.org/officeDocument/2006/relationships/tags" Target="../tags/tag47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90.xml"/></Relationships>
</file>

<file path=ppt/slides/_rels/slide447.xml.rels><?xml version='1.0' encoding='UTF-8' standalone='yes'?>
<Relationships xmlns="http://schemas.openxmlformats.org/package/2006/relationships"><Relationship Id="rId1" Type="http://schemas.openxmlformats.org/officeDocument/2006/relationships/tags" Target="../tags/tag47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91.xml"/></Relationships>
</file>

<file path=ppt/slides/_rels/slide448.xml.rels><?xml version='1.0' encoding='UTF-8' standalone='yes'?>
<Relationships xmlns="http://schemas.openxmlformats.org/package/2006/relationships"><Relationship Id="rId1" Type="http://schemas.openxmlformats.org/officeDocument/2006/relationships/tags" Target="../tags/tag47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92.xml"/></Relationships>
</file>

<file path=ppt/slides/_rels/slide449.xml.rels><?xml version='1.0' encoding='UTF-8' standalone='yes'?>
<Relationships xmlns="http://schemas.openxmlformats.org/package/2006/relationships"><Relationship Id="rId1" Type="http://schemas.openxmlformats.org/officeDocument/2006/relationships/tags" Target="../tags/tag47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93.xml"/></Relationships>
</file>

<file path=ppt/slides/_rels/slide45.xml.rels><?xml version='1.0' encoding='UTF-8' standalone='yes'?>
<Relationships xmlns="http://schemas.openxmlformats.org/package/2006/relationships"><Relationship Id="rId1" Type="http://schemas.openxmlformats.org/officeDocument/2006/relationships/tags" Target="../tags/tag7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5.xml"/></Relationships>
</file>

<file path=ppt/slides/_rels/slide450.xml.rels><?xml version='1.0' encoding='UTF-8' standalone='yes'?>
<Relationships xmlns="http://schemas.openxmlformats.org/package/2006/relationships"><Relationship Id="rId1" Type="http://schemas.openxmlformats.org/officeDocument/2006/relationships/tags" Target="../tags/tag47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94.xml"/></Relationships>
</file>

<file path=ppt/slides/_rels/slide451.xml.rels><?xml version='1.0' encoding='UTF-8' standalone='yes'?>
<Relationships xmlns="http://schemas.openxmlformats.org/package/2006/relationships"><Relationship Id="rId1" Type="http://schemas.openxmlformats.org/officeDocument/2006/relationships/tags" Target="../tags/tag47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95.xml"/></Relationships>
</file>

<file path=ppt/slides/_rels/slide452.xml.rels><?xml version='1.0' encoding='UTF-8' standalone='yes'?>
<Relationships xmlns="http://schemas.openxmlformats.org/package/2006/relationships"><Relationship Id="rId1" Type="http://schemas.openxmlformats.org/officeDocument/2006/relationships/tags" Target="../tags/tag47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96.xml"/></Relationships>
</file>

<file path=ppt/slides/_rels/slide453.xml.rels><?xml version='1.0' encoding='UTF-8' standalone='yes'?>
<Relationships xmlns="http://schemas.openxmlformats.org/package/2006/relationships"><Relationship Id="rId1" Type="http://schemas.openxmlformats.org/officeDocument/2006/relationships/tags" Target="../tags/tag48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97.xml"/></Relationships>
</file>

<file path=ppt/slides/_rels/slide454.xml.rels><?xml version='1.0' encoding='UTF-8' standalone='yes'?>
<Relationships xmlns="http://schemas.openxmlformats.org/package/2006/relationships"><Relationship Id="rId1" Type="http://schemas.openxmlformats.org/officeDocument/2006/relationships/tags" Target="../tags/tag48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98.xml"/></Relationships>
</file>

<file path=ppt/slides/_rels/slide455.xml.rels><?xml version='1.0' encoding='UTF-8' standalone='yes'?>
<Relationships xmlns="http://schemas.openxmlformats.org/package/2006/relationships"><Relationship Id="rId1" Type="http://schemas.openxmlformats.org/officeDocument/2006/relationships/tags" Target="../tags/tag48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99.xml"/></Relationships>
</file>

<file path=ppt/slides/_rels/slide456.xml.rels><?xml version='1.0' encoding='UTF-8' standalone='yes'?>
<Relationships xmlns="http://schemas.openxmlformats.org/package/2006/relationships"><Relationship Id="rId1" Type="http://schemas.openxmlformats.org/officeDocument/2006/relationships/tags" Target="../tags/tag48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00.xml"/></Relationships>
</file>

<file path=ppt/slides/_rels/slide457.xml.rels><?xml version='1.0' encoding='UTF-8' standalone='yes'?>
<Relationships xmlns="http://schemas.openxmlformats.org/package/2006/relationships"><Relationship Id="rId1" Type="http://schemas.openxmlformats.org/officeDocument/2006/relationships/tags" Target="../tags/tag48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01.xml"/></Relationships>
</file>

<file path=ppt/slides/_rels/slide458.xml.rels><?xml version='1.0' encoding='UTF-8' standalone='yes'?>
<Relationships xmlns="http://schemas.openxmlformats.org/package/2006/relationships"><Relationship Id="rId1" Type="http://schemas.openxmlformats.org/officeDocument/2006/relationships/tags" Target="../tags/tag48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02.xml"/></Relationships>
</file>

<file path=ppt/slides/_rels/slide459.xml.rels><?xml version='1.0' encoding='UTF-8' standalone='yes'?>
<Relationships xmlns="http://schemas.openxmlformats.org/package/2006/relationships"><Relationship Id="rId1" Type="http://schemas.openxmlformats.org/officeDocument/2006/relationships/tags" Target="../tags/tag48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03.xml"/></Relationships>
</file>

<file path=ppt/slides/_rels/slide46.xml.rels><?xml version='1.0' encoding='UTF-8' standalone='yes'?>
<Relationships xmlns="http://schemas.openxmlformats.org/package/2006/relationships"><Relationship Id="rId1" Type="http://schemas.openxmlformats.org/officeDocument/2006/relationships/tags" Target="../tags/tag7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6.xml"/></Relationships>
</file>

<file path=ppt/slides/_rels/slide460.xml.rels><?xml version='1.0' encoding='UTF-8' standalone='yes'?>
<Relationships xmlns="http://schemas.openxmlformats.org/package/2006/relationships"><Relationship Id="rId1" Type="http://schemas.openxmlformats.org/officeDocument/2006/relationships/tags" Target="../tags/tag48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04.xml"/></Relationships>
</file>

<file path=ppt/slides/_rels/slide461.xml.rels><?xml version='1.0' encoding='UTF-8' standalone='yes'?>
<Relationships xmlns="http://schemas.openxmlformats.org/package/2006/relationships"><Relationship Id="rId1" Type="http://schemas.openxmlformats.org/officeDocument/2006/relationships/tags" Target="../tags/tag48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05.xml"/></Relationships>
</file>

<file path=ppt/slides/_rels/slide462.xml.rels><?xml version='1.0' encoding='UTF-8' standalone='yes'?>
<Relationships xmlns="http://schemas.openxmlformats.org/package/2006/relationships"><Relationship Id="rId1" Type="http://schemas.openxmlformats.org/officeDocument/2006/relationships/tags" Target="../tags/tag48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06.xml"/></Relationships>
</file>

<file path=ppt/slides/_rels/slide463.xml.rels><?xml version='1.0' encoding='UTF-8' standalone='yes'?>
<Relationships xmlns="http://schemas.openxmlformats.org/package/2006/relationships"><Relationship Id="rId1" Type="http://schemas.openxmlformats.org/officeDocument/2006/relationships/tags" Target="../tags/tag49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07.xml"/></Relationships>
</file>

<file path=ppt/slides/_rels/slide464.xml.rels><?xml version='1.0' encoding='UTF-8' standalone='yes'?>
<Relationships xmlns="http://schemas.openxmlformats.org/package/2006/relationships"><Relationship Id="rId1" Type="http://schemas.openxmlformats.org/officeDocument/2006/relationships/tags" Target="../tags/tag49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08.xml"/></Relationships>
</file>

<file path=ppt/slides/_rels/slide465.xml.rels><?xml version='1.0' encoding='UTF-8' standalone='yes'?>
<Relationships xmlns="http://schemas.openxmlformats.org/package/2006/relationships"><Relationship Id="rId1" Type="http://schemas.openxmlformats.org/officeDocument/2006/relationships/tags" Target="../tags/tag49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09.xml"/></Relationships>
</file>

<file path=ppt/slides/_rels/slide466.xml.rels><?xml version='1.0' encoding='UTF-8' standalone='yes'?>
<Relationships xmlns="http://schemas.openxmlformats.org/package/2006/relationships"><Relationship Id="rId1" Type="http://schemas.openxmlformats.org/officeDocument/2006/relationships/tags" Target="../tags/tag49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10.xml"/></Relationships>
</file>

<file path=ppt/slides/_rels/slide467.xml.rels><?xml version='1.0' encoding='UTF-8' standalone='yes'?>
<Relationships xmlns="http://schemas.openxmlformats.org/package/2006/relationships"><Relationship Id="rId1" Type="http://schemas.openxmlformats.org/officeDocument/2006/relationships/tags" Target="../tags/tag49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11.xml"/></Relationships>
</file>

<file path=ppt/slides/_rels/slide468.xml.rels><?xml version='1.0' encoding='UTF-8' standalone='yes'?>
<Relationships xmlns="http://schemas.openxmlformats.org/package/2006/relationships"><Relationship Id="rId1" Type="http://schemas.openxmlformats.org/officeDocument/2006/relationships/tags" Target="../tags/tag49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12.xml"/></Relationships>
</file>

<file path=ppt/slides/_rels/slide469.xml.rels><?xml version='1.0' encoding='UTF-8' standalone='yes'?>
<Relationships xmlns="http://schemas.openxmlformats.org/package/2006/relationships"><Relationship Id="rId1" Type="http://schemas.openxmlformats.org/officeDocument/2006/relationships/tags" Target="../tags/tag49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13.xml"/></Relationships>
</file>

<file path=ppt/slides/_rels/slide47.xml.rels><?xml version='1.0' encoding='UTF-8' standalone='yes'?>
<Relationships xmlns="http://schemas.openxmlformats.org/package/2006/relationships"><Relationship Id="rId1" Type="http://schemas.openxmlformats.org/officeDocument/2006/relationships/tags" Target="../tags/tag7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7.xml"/></Relationships>
</file>

<file path=ppt/slides/_rels/slide470.xml.rels><?xml version='1.0' encoding='UTF-8' standalone='yes'?>
<Relationships xmlns="http://schemas.openxmlformats.org/package/2006/relationships"><Relationship Id="rId1" Type="http://schemas.openxmlformats.org/officeDocument/2006/relationships/tags" Target="../tags/tag49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14.xml"/></Relationships>
</file>

<file path=ppt/slides/_rels/slide471.xml.rels><?xml version='1.0' encoding='UTF-8' standalone='yes'?>
<Relationships xmlns="http://schemas.openxmlformats.org/package/2006/relationships"><Relationship Id="rId1" Type="http://schemas.openxmlformats.org/officeDocument/2006/relationships/tags" Target="../tags/tag49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15.xml"/></Relationships>
</file>

<file path=ppt/slides/_rels/slide472.xml.rels><?xml version='1.0' encoding='UTF-8' standalone='yes'?>
<Relationships xmlns="http://schemas.openxmlformats.org/package/2006/relationships"><Relationship Id="rId1" Type="http://schemas.openxmlformats.org/officeDocument/2006/relationships/tags" Target="../tags/tag49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16.xml"/></Relationships>
</file>

<file path=ppt/slides/_rels/slide473.xml.rels><?xml version='1.0' encoding='UTF-8' standalone='yes'?>
<Relationships xmlns="http://schemas.openxmlformats.org/package/2006/relationships"><Relationship Id="rId1" Type="http://schemas.openxmlformats.org/officeDocument/2006/relationships/tags" Target="../tags/tag50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17.xml"/></Relationships>
</file>

<file path=ppt/slides/_rels/slide474.xml.rels><?xml version='1.0' encoding='UTF-8' standalone='yes'?>
<Relationships xmlns="http://schemas.openxmlformats.org/package/2006/relationships"><Relationship Id="rId1" Type="http://schemas.openxmlformats.org/officeDocument/2006/relationships/tags" Target="../tags/tag50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18.xml"/></Relationships>
</file>

<file path=ppt/slides/_rels/slide475.xml.rels><?xml version='1.0' encoding='UTF-8' standalone='yes'?>
<Relationships xmlns="http://schemas.openxmlformats.org/package/2006/relationships"><Relationship Id="rId1" Type="http://schemas.openxmlformats.org/officeDocument/2006/relationships/tags" Target="../tags/tag50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19.xml"/></Relationships>
</file>

<file path=ppt/slides/_rels/slide476.xml.rels><?xml version='1.0' encoding='UTF-8' standalone='yes'?>
<Relationships xmlns="http://schemas.openxmlformats.org/package/2006/relationships"><Relationship Id="rId1" Type="http://schemas.openxmlformats.org/officeDocument/2006/relationships/tags" Target="../tags/tag50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20.xml"/></Relationships>
</file>

<file path=ppt/slides/_rels/slide477.xml.rels><?xml version='1.0' encoding='UTF-8' standalone='yes'?>
<Relationships xmlns="http://schemas.openxmlformats.org/package/2006/relationships"><Relationship Id="rId1" Type="http://schemas.openxmlformats.org/officeDocument/2006/relationships/tags" Target="../tags/tag50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21.xml"/></Relationships>
</file>

<file path=ppt/slides/_rels/slide478.xml.rels><?xml version='1.0' encoding='UTF-8' standalone='yes'?>
<Relationships xmlns="http://schemas.openxmlformats.org/package/2006/relationships"><Relationship Id="rId1" Type="http://schemas.openxmlformats.org/officeDocument/2006/relationships/tags" Target="../tags/tag50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22.xml"/></Relationships>
</file>

<file path=ppt/slides/_rels/slide479.xml.rels><?xml version='1.0' encoding='UTF-8' standalone='yes'?>
<Relationships xmlns="http://schemas.openxmlformats.org/package/2006/relationships"><Relationship Id="rId1" Type="http://schemas.openxmlformats.org/officeDocument/2006/relationships/tags" Target="../tags/tag50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23.xml"/></Relationships>
</file>

<file path=ppt/slides/_rels/slide48.xml.rels><?xml version='1.0' encoding='UTF-8' standalone='yes'?>
<Relationships xmlns="http://schemas.openxmlformats.org/package/2006/relationships"><Relationship Id="rId1" Type="http://schemas.openxmlformats.org/officeDocument/2006/relationships/tags" Target="../tags/tag7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8.xml"/></Relationships>
</file>

<file path=ppt/slides/_rels/slide480.xml.rels><?xml version='1.0' encoding='UTF-8' standalone='yes'?>
<Relationships xmlns="http://schemas.openxmlformats.org/package/2006/relationships"><Relationship Id="rId1" Type="http://schemas.openxmlformats.org/officeDocument/2006/relationships/tags" Target="../tags/tag50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24.xml"/></Relationships>
</file>

<file path=ppt/slides/_rels/slide481.xml.rels><?xml version='1.0' encoding='UTF-8' standalone='yes'?>
<Relationships xmlns="http://schemas.openxmlformats.org/package/2006/relationships"><Relationship Id="rId1" Type="http://schemas.openxmlformats.org/officeDocument/2006/relationships/tags" Target="../tags/tag50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25.xml"/></Relationships>
</file>

<file path=ppt/slides/_rels/slide482.xml.rels><?xml version='1.0' encoding='UTF-8' standalone='yes'?>
<Relationships xmlns="http://schemas.openxmlformats.org/package/2006/relationships"><Relationship Id="rId1" Type="http://schemas.openxmlformats.org/officeDocument/2006/relationships/tags" Target="../tags/tag50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26.xml"/></Relationships>
</file>

<file path=ppt/slides/_rels/slide483.xml.rels><?xml version='1.0' encoding='UTF-8' standalone='yes'?>
<Relationships xmlns="http://schemas.openxmlformats.org/package/2006/relationships"><Relationship Id="rId1" Type="http://schemas.openxmlformats.org/officeDocument/2006/relationships/tags" Target="../tags/tag51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27.xml"/></Relationships>
</file>

<file path=ppt/slides/_rels/slide484.xml.rels><?xml version='1.0' encoding='UTF-8' standalone='yes'?>
<Relationships xmlns="http://schemas.openxmlformats.org/package/2006/relationships"><Relationship Id="rId1" Type="http://schemas.openxmlformats.org/officeDocument/2006/relationships/tags" Target="../tags/tag51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28.xml"/></Relationships>
</file>

<file path=ppt/slides/_rels/slide485.xml.rels><?xml version='1.0' encoding='UTF-8' standalone='yes'?>
<Relationships xmlns="http://schemas.openxmlformats.org/package/2006/relationships"><Relationship Id="rId1" Type="http://schemas.openxmlformats.org/officeDocument/2006/relationships/tags" Target="../tags/tag51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29.xml"/></Relationships>
</file>

<file path=ppt/slides/_rels/slide486.xml.rels><?xml version='1.0' encoding='UTF-8' standalone='yes'?>
<Relationships xmlns="http://schemas.openxmlformats.org/package/2006/relationships"><Relationship Id="rId1" Type="http://schemas.openxmlformats.org/officeDocument/2006/relationships/tags" Target="../tags/tag51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30.xml"/></Relationships>
</file>

<file path=ppt/slides/_rels/slide487.xml.rels><?xml version='1.0' encoding='UTF-8' standalone='yes'?>
<Relationships xmlns="http://schemas.openxmlformats.org/package/2006/relationships"><Relationship Id="rId1" Type="http://schemas.openxmlformats.org/officeDocument/2006/relationships/tags" Target="../tags/tag51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31.xml"/></Relationships>
</file>

<file path=ppt/slides/_rels/slide488.xml.rels><?xml version='1.0' encoding='UTF-8' standalone='yes'?>
<Relationships xmlns="http://schemas.openxmlformats.org/package/2006/relationships"><Relationship Id="rId1" Type="http://schemas.openxmlformats.org/officeDocument/2006/relationships/tags" Target="../tags/tag51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32.xml"/></Relationships>
</file>

<file path=ppt/slides/_rels/slide489.xml.rels><?xml version='1.0' encoding='UTF-8' standalone='yes'?>
<Relationships xmlns="http://schemas.openxmlformats.org/package/2006/relationships"><Relationship Id="rId1" Type="http://schemas.openxmlformats.org/officeDocument/2006/relationships/tags" Target="../tags/tag51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33.xml"/></Relationships>
</file>

<file path=ppt/slides/_rels/slide49.xml.rels><?xml version='1.0' encoding='UTF-8' standalone='yes'?>
<Relationships xmlns="http://schemas.openxmlformats.org/package/2006/relationships"><Relationship Id="rId1" Type="http://schemas.openxmlformats.org/officeDocument/2006/relationships/tags" Target="../tags/tag7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9.xml"/></Relationships>
</file>

<file path=ppt/slides/_rels/slide490.xml.rels><?xml version='1.0' encoding='UTF-8' standalone='yes'?>
<Relationships xmlns="http://schemas.openxmlformats.org/package/2006/relationships"><Relationship Id="rId1" Type="http://schemas.openxmlformats.org/officeDocument/2006/relationships/tags" Target="../tags/tag51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34.xml"/></Relationships>
</file>

<file path=ppt/slides/_rels/slide491.xml.rels><?xml version='1.0' encoding='UTF-8' standalone='yes'?>
<Relationships xmlns="http://schemas.openxmlformats.org/package/2006/relationships"><Relationship Id="rId1" Type="http://schemas.openxmlformats.org/officeDocument/2006/relationships/tags" Target="../tags/tag51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35.xml"/></Relationships>
</file>

<file path=ppt/slides/_rels/slide492.xml.rels><?xml version='1.0' encoding='UTF-8' standalone='yes'?>
<Relationships xmlns="http://schemas.openxmlformats.org/package/2006/relationships"><Relationship Id="rId1" Type="http://schemas.openxmlformats.org/officeDocument/2006/relationships/tags" Target="../tags/tag51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36.xml"/></Relationships>
</file>

<file path=ppt/slides/_rels/slide493.xml.rels><?xml version='1.0' encoding='UTF-8' standalone='yes'?>
<Relationships xmlns="http://schemas.openxmlformats.org/package/2006/relationships"><Relationship Id="rId1" Type="http://schemas.openxmlformats.org/officeDocument/2006/relationships/tags" Target="../tags/tag52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37.xml"/></Relationships>
</file>

<file path=ppt/slides/_rels/slide494.xml.rels><?xml version='1.0' encoding='UTF-8' standalone='yes'?>
<Relationships xmlns="http://schemas.openxmlformats.org/package/2006/relationships"><Relationship Id="rId1" Type="http://schemas.openxmlformats.org/officeDocument/2006/relationships/tags" Target="../tags/tag52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38.xml"/></Relationships>
</file>

<file path=ppt/slides/_rels/slide495.xml.rels><?xml version='1.0' encoding='UTF-8' standalone='yes'?>
<Relationships xmlns="http://schemas.openxmlformats.org/package/2006/relationships"><Relationship Id="rId1" Type="http://schemas.openxmlformats.org/officeDocument/2006/relationships/tags" Target="../tags/tag52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39.xml"/></Relationships>
</file>

<file path=ppt/slides/_rels/slide496.xml.rels><?xml version='1.0' encoding='UTF-8' standalone='yes'?>
<Relationships xmlns="http://schemas.openxmlformats.org/package/2006/relationships"><Relationship Id="rId1" Type="http://schemas.openxmlformats.org/officeDocument/2006/relationships/tags" Target="../tags/tag52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40.xml"/></Relationships>
</file>

<file path=ppt/slides/_rels/slide497.xml.rels><?xml version='1.0' encoding='UTF-8' standalone='yes'?>
<Relationships xmlns="http://schemas.openxmlformats.org/package/2006/relationships"><Relationship Id="rId1" Type="http://schemas.openxmlformats.org/officeDocument/2006/relationships/tags" Target="../tags/tag52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41.xml"/></Relationships>
</file>

<file path=ppt/slides/_rels/slide498.xml.rels><?xml version='1.0' encoding='UTF-8' standalone='yes'?>
<Relationships xmlns="http://schemas.openxmlformats.org/package/2006/relationships"><Relationship Id="rId1" Type="http://schemas.openxmlformats.org/officeDocument/2006/relationships/tags" Target="../tags/tag52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42.xml"/></Relationships>
</file>

<file path=ppt/slides/_rels/slide499.xml.rels><?xml version='1.0' encoding='UTF-8' standalone='yes'?>
<Relationships xmlns="http://schemas.openxmlformats.org/package/2006/relationships"><Relationship Id="rId1" Type="http://schemas.openxmlformats.org/officeDocument/2006/relationships/tags" Target="../tags/tag52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43.xml"/></Relationships>
</file>

<file path=ppt/slides/_rels/slide5.xml.rels><?xml version='1.0' encoding='UTF-8' standalone='yes'?>
<Relationships xmlns="http://schemas.openxmlformats.org/package/2006/relationships"><Relationship Id="rId1" Type="http://schemas.openxmlformats.org/officeDocument/2006/relationships/tags" Target="../tags/tag3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xml"/></Relationships>
</file>

<file path=ppt/slides/_rels/slide50.xml.rels><?xml version='1.0' encoding='UTF-8' standalone='yes'?>
<Relationships xmlns="http://schemas.openxmlformats.org/package/2006/relationships"><Relationship Id="rId1" Type="http://schemas.openxmlformats.org/officeDocument/2006/relationships/tags" Target="../tags/tag7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0.xml"/></Relationships>
</file>

<file path=ppt/slides/_rels/slide500.xml.rels><?xml version='1.0' encoding='UTF-8' standalone='yes'?>
<Relationships xmlns="http://schemas.openxmlformats.org/package/2006/relationships"><Relationship Id="rId1" Type="http://schemas.openxmlformats.org/officeDocument/2006/relationships/tags" Target="../tags/tag52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44.xml"/></Relationships>
</file>

<file path=ppt/slides/_rels/slide501.xml.rels><?xml version='1.0' encoding='UTF-8' standalone='yes'?>
<Relationships xmlns="http://schemas.openxmlformats.org/package/2006/relationships"><Relationship Id="rId1" Type="http://schemas.openxmlformats.org/officeDocument/2006/relationships/tags" Target="../tags/tag52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45.xml"/></Relationships>
</file>

<file path=ppt/slides/_rels/slide502.xml.rels><?xml version='1.0' encoding='UTF-8' standalone='yes'?>
<Relationships xmlns="http://schemas.openxmlformats.org/package/2006/relationships"><Relationship Id="rId1" Type="http://schemas.openxmlformats.org/officeDocument/2006/relationships/tags" Target="../tags/tag52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46.xml"/></Relationships>
</file>

<file path=ppt/slides/_rels/slide503.xml.rels><?xml version='1.0' encoding='UTF-8' standalone='yes'?>
<Relationships xmlns="http://schemas.openxmlformats.org/package/2006/relationships"><Relationship Id="rId1" Type="http://schemas.openxmlformats.org/officeDocument/2006/relationships/tags" Target="../tags/tag53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47.xml"/></Relationships>
</file>

<file path=ppt/slides/_rels/slide504.xml.rels><?xml version='1.0' encoding='UTF-8' standalone='yes'?>
<Relationships xmlns="http://schemas.openxmlformats.org/package/2006/relationships"><Relationship Id="rId1" Type="http://schemas.openxmlformats.org/officeDocument/2006/relationships/tags" Target="../tags/tag53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48.xml"/></Relationships>
</file>

<file path=ppt/slides/_rels/slide505.xml.rels><?xml version='1.0' encoding='UTF-8' standalone='yes'?>
<Relationships xmlns="http://schemas.openxmlformats.org/package/2006/relationships"><Relationship Id="rId1" Type="http://schemas.openxmlformats.org/officeDocument/2006/relationships/tags" Target="../tags/tag53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49.xml"/></Relationships>
</file>

<file path=ppt/slides/_rels/slide506.xml.rels><?xml version='1.0' encoding='UTF-8' standalone='yes'?>
<Relationships xmlns="http://schemas.openxmlformats.org/package/2006/relationships"><Relationship Id="rId1" Type="http://schemas.openxmlformats.org/officeDocument/2006/relationships/tags" Target="../tags/tag53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50.xml"/></Relationships>
</file>

<file path=ppt/slides/_rels/slide507.xml.rels><?xml version='1.0' encoding='UTF-8' standalone='yes'?>
<Relationships xmlns="http://schemas.openxmlformats.org/package/2006/relationships"><Relationship Id="rId1" Type="http://schemas.openxmlformats.org/officeDocument/2006/relationships/tags" Target="../tags/tag53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51.xml"/></Relationships>
</file>

<file path=ppt/slides/_rels/slide508.xml.rels><?xml version='1.0' encoding='UTF-8' standalone='yes'?>
<Relationships xmlns="http://schemas.openxmlformats.org/package/2006/relationships"><Relationship Id="rId1" Type="http://schemas.openxmlformats.org/officeDocument/2006/relationships/tags" Target="../tags/tag53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52.xml"/></Relationships>
</file>

<file path=ppt/slides/_rels/slide509.xml.rels><?xml version='1.0' encoding='UTF-8' standalone='yes'?>
<Relationships xmlns="http://schemas.openxmlformats.org/package/2006/relationships"><Relationship Id="rId1" Type="http://schemas.openxmlformats.org/officeDocument/2006/relationships/tags" Target="../tags/tag53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53.xml"/></Relationships>
</file>

<file path=ppt/slides/_rels/slide51.xml.rels><?xml version='1.0' encoding='UTF-8' standalone='yes'?>
<Relationships xmlns="http://schemas.openxmlformats.org/package/2006/relationships"><Relationship Id="rId1" Type="http://schemas.openxmlformats.org/officeDocument/2006/relationships/tags" Target="../tags/tag7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1.xml"/></Relationships>
</file>

<file path=ppt/slides/_rels/slide510.xml.rels><?xml version='1.0' encoding='UTF-8' standalone='yes'?>
<Relationships xmlns="http://schemas.openxmlformats.org/package/2006/relationships"><Relationship Id="rId1" Type="http://schemas.openxmlformats.org/officeDocument/2006/relationships/tags" Target="../tags/tag53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54.xml"/></Relationships>
</file>

<file path=ppt/slides/_rels/slide511.xml.rels><?xml version='1.0' encoding='UTF-8' standalone='yes'?>
<Relationships xmlns="http://schemas.openxmlformats.org/package/2006/relationships"><Relationship Id="rId1" Type="http://schemas.openxmlformats.org/officeDocument/2006/relationships/tags" Target="../tags/tag53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55.xml"/></Relationships>
</file>

<file path=ppt/slides/_rels/slide512.xml.rels><?xml version='1.0' encoding='UTF-8' standalone='yes'?>
<Relationships xmlns="http://schemas.openxmlformats.org/package/2006/relationships"><Relationship Id="rId1" Type="http://schemas.openxmlformats.org/officeDocument/2006/relationships/tags" Target="../tags/tag53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56.xml"/></Relationships>
</file>

<file path=ppt/slides/_rels/slide513.xml.rels><?xml version='1.0' encoding='UTF-8' standalone='yes'?>
<Relationships xmlns="http://schemas.openxmlformats.org/package/2006/relationships"><Relationship Id="rId1" Type="http://schemas.openxmlformats.org/officeDocument/2006/relationships/tags" Target="../tags/tag54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57.xml"/></Relationships>
</file>

<file path=ppt/slides/_rels/slide514.xml.rels><?xml version='1.0' encoding='UTF-8' standalone='yes'?>
<Relationships xmlns="http://schemas.openxmlformats.org/package/2006/relationships"><Relationship Id="rId1" Type="http://schemas.openxmlformats.org/officeDocument/2006/relationships/tags" Target="../tags/tag54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58.xml"/></Relationships>
</file>

<file path=ppt/slides/_rels/slide515.xml.rels><?xml version='1.0' encoding='UTF-8' standalone='yes'?>
<Relationships xmlns="http://schemas.openxmlformats.org/package/2006/relationships"><Relationship Id="rId1" Type="http://schemas.openxmlformats.org/officeDocument/2006/relationships/tags" Target="../tags/tag54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59.xml"/></Relationships>
</file>

<file path=ppt/slides/_rels/slide516.xml.rels><?xml version='1.0' encoding='UTF-8' standalone='yes'?>
<Relationships xmlns="http://schemas.openxmlformats.org/package/2006/relationships"><Relationship Id="rId1" Type="http://schemas.openxmlformats.org/officeDocument/2006/relationships/tags" Target="../tags/tag54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60.xml"/></Relationships>
</file>

<file path=ppt/slides/_rels/slide517.xml.rels><?xml version='1.0' encoding='UTF-8' standalone='yes'?>
<Relationships xmlns="http://schemas.openxmlformats.org/package/2006/relationships"><Relationship Id="rId1" Type="http://schemas.openxmlformats.org/officeDocument/2006/relationships/tags" Target="../tags/tag54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61.xml"/></Relationships>
</file>

<file path=ppt/slides/_rels/slide518.xml.rels><?xml version='1.0' encoding='UTF-8' standalone='yes'?>
<Relationships xmlns="http://schemas.openxmlformats.org/package/2006/relationships"><Relationship Id="rId1" Type="http://schemas.openxmlformats.org/officeDocument/2006/relationships/tags" Target="../tags/tag54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62.xml"/></Relationships>
</file>

<file path=ppt/slides/_rels/slide519.xml.rels><?xml version='1.0' encoding='UTF-8' standalone='yes'?>
<Relationships xmlns="http://schemas.openxmlformats.org/package/2006/relationships"><Relationship Id="rId1" Type="http://schemas.openxmlformats.org/officeDocument/2006/relationships/tags" Target="../tags/tag54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63.xml"/></Relationships>
</file>

<file path=ppt/slides/_rels/slide52.xml.rels><?xml version='1.0' encoding='UTF-8' standalone='yes'?>
<Relationships xmlns="http://schemas.openxmlformats.org/package/2006/relationships"><Relationship Id="rId1" Type="http://schemas.openxmlformats.org/officeDocument/2006/relationships/tags" Target="../tags/tag7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2.xml"/></Relationships>
</file>

<file path=ppt/slides/_rels/slide520.xml.rels><?xml version='1.0' encoding='UTF-8' standalone='yes'?>
<Relationships xmlns="http://schemas.openxmlformats.org/package/2006/relationships"><Relationship Id="rId1" Type="http://schemas.openxmlformats.org/officeDocument/2006/relationships/tags" Target="../tags/tag54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64.xml"/></Relationships>
</file>

<file path=ppt/slides/_rels/slide521.xml.rels><?xml version='1.0' encoding='UTF-8' standalone='yes'?>
<Relationships xmlns="http://schemas.openxmlformats.org/package/2006/relationships"><Relationship Id="rId1" Type="http://schemas.openxmlformats.org/officeDocument/2006/relationships/tags" Target="../tags/tag54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65.xml"/></Relationships>
</file>

<file path=ppt/slides/_rels/slide522.xml.rels><?xml version='1.0' encoding='UTF-8' standalone='yes'?>
<Relationships xmlns="http://schemas.openxmlformats.org/package/2006/relationships"><Relationship Id="rId1" Type="http://schemas.openxmlformats.org/officeDocument/2006/relationships/tags" Target="../tags/tag54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66.xml"/></Relationships>
</file>

<file path=ppt/slides/_rels/slide523.xml.rels><?xml version='1.0' encoding='UTF-8' standalone='yes'?>
<Relationships xmlns="http://schemas.openxmlformats.org/package/2006/relationships"><Relationship Id="rId1" Type="http://schemas.openxmlformats.org/officeDocument/2006/relationships/tags" Target="../tags/tag55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67.xml"/></Relationships>
</file>

<file path=ppt/slides/_rels/slide524.xml.rels><?xml version='1.0' encoding='UTF-8' standalone='yes'?>
<Relationships xmlns="http://schemas.openxmlformats.org/package/2006/relationships"><Relationship Id="rId1" Type="http://schemas.openxmlformats.org/officeDocument/2006/relationships/tags" Target="../tags/tag55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68.xml"/></Relationships>
</file>

<file path=ppt/slides/_rels/slide525.xml.rels><?xml version='1.0' encoding='UTF-8' standalone='yes'?>
<Relationships xmlns="http://schemas.openxmlformats.org/package/2006/relationships"><Relationship Id="rId1" Type="http://schemas.openxmlformats.org/officeDocument/2006/relationships/tags" Target="../tags/tag55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69.xml"/></Relationships>
</file>

<file path=ppt/slides/_rels/slide526.xml.rels><?xml version='1.0' encoding='UTF-8' standalone='yes'?>
<Relationships xmlns="http://schemas.openxmlformats.org/package/2006/relationships"><Relationship Id="rId1" Type="http://schemas.openxmlformats.org/officeDocument/2006/relationships/tags" Target="../tags/tag55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70.xml"/></Relationships>
</file>

<file path=ppt/slides/_rels/slide527.xml.rels><?xml version='1.0' encoding='UTF-8' standalone='yes'?>
<Relationships xmlns="http://schemas.openxmlformats.org/package/2006/relationships"><Relationship Id="rId1" Type="http://schemas.openxmlformats.org/officeDocument/2006/relationships/tags" Target="../tags/tag55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71.xml"/></Relationships>
</file>

<file path=ppt/slides/_rels/slide528.xml.rels><?xml version='1.0' encoding='UTF-8' standalone='yes'?>
<Relationships xmlns="http://schemas.openxmlformats.org/package/2006/relationships"><Relationship Id="rId1" Type="http://schemas.openxmlformats.org/officeDocument/2006/relationships/tags" Target="../tags/tag55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72.xml"/></Relationships>
</file>

<file path=ppt/slides/_rels/slide529.xml.rels><?xml version='1.0' encoding='UTF-8' standalone='yes'?>
<Relationships xmlns="http://schemas.openxmlformats.org/package/2006/relationships"><Relationship Id="rId1" Type="http://schemas.openxmlformats.org/officeDocument/2006/relationships/tags" Target="../tags/tag55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73.xml"/></Relationships>
</file>

<file path=ppt/slides/_rels/slide53.xml.rels><?xml version='1.0' encoding='UTF-8' standalone='yes'?>
<Relationships xmlns="http://schemas.openxmlformats.org/package/2006/relationships"><Relationship Id="rId1" Type="http://schemas.openxmlformats.org/officeDocument/2006/relationships/tags" Target="../tags/tag8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3.xml"/></Relationships>
</file>

<file path=ppt/slides/_rels/slide530.xml.rels><?xml version='1.0' encoding='UTF-8' standalone='yes'?>
<Relationships xmlns="http://schemas.openxmlformats.org/package/2006/relationships"><Relationship Id="rId1" Type="http://schemas.openxmlformats.org/officeDocument/2006/relationships/tags" Target="../tags/tag55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74.xml"/></Relationships>
</file>

<file path=ppt/slides/_rels/slide531.xml.rels><?xml version='1.0' encoding='UTF-8' standalone='yes'?>
<Relationships xmlns="http://schemas.openxmlformats.org/package/2006/relationships"><Relationship Id="rId1" Type="http://schemas.openxmlformats.org/officeDocument/2006/relationships/tags" Target="../tags/tag55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75.xml"/></Relationships>
</file>

<file path=ppt/slides/_rels/slide532.xml.rels><?xml version='1.0' encoding='UTF-8' standalone='yes'?>
<Relationships xmlns="http://schemas.openxmlformats.org/package/2006/relationships"><Relationship Id="rId1" Type="http://schemas.openxmlformats.org/officeDocument/2006/relationships/tags" Target="../tags/tag55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76.xml"/></Relationships>
</file>

<file path=ppt/slides/_rels/slide533.xml.rels><?xml version='1.0' encoding='UTF-8' standalone='yes'?>
<Relationships xmlns="http://schemas.openxmlformats.org/package/2006/relationships"><Relationship Id="rId1" Type="http://schemas.openxmlformats.org/officeDocument/2006/relationships/tags" Target="../tags/tag56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77.xml"/></Relationships>
</file>

<file path=ppt/slides/_rels/slide534.xml.rels><?xml version='1.0' encoding='UTF-8' standalone='yes'?>
<Relationships xmlns="http://schemas.openxmlformats.org/package/2006/relationships"><Relationship Id="rId1" Type="http://schemas.openxmlformats.org/officeDocument/2006/relationships/tags" Target="../tags/tag56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78.xml"/></Relationships>
</file>

<file path=ppt/slides/_rels/slide535.xml.rels><?xml version='1.0' encoding='UTF-8' standalone='yes'?>
<Relationships xmlns="http://schemas.openxmlformats.org/package/2006/relationships"><Relationship Id="rId1" Type="http://schemas.openxmlformats.org/officeDocument/2006/relationships/tags" Target="../tags/tag56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79.xml"/></Relationships>
</file>

<file path=ppt/slides/_rels/slide536.xml.rels><?xml version='1.0' encoding='UTF-8' standalone='yes'?>
<Relationships xmlns="http://schemas.openxmlformats.org/package/2006/relationships"><Relationship Id="rId1" Type="http://schemas.openxmlformats.org/officeDocument/2006/relationships/tags" Target="../tags/tag56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80.xml"/></Relationships>
</file>

<file path=ppt/slides/_rels/slide537.xml.rels><?xml version='1.0' encoding='UTF-8' standalone='yes'?>
<Relationships xmlns="http://schemas.openxmlformats.org/package/2006/relationships"><Relationship Id="rId1" Type="http://schemas.openxmlformats.org/officeDocument/2006/relationships/tags" Target="../tags/tag56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81.xml"/></Relationships>
</file>

<file path=ppt/slides/_rels/slide538.xml.rels><?xml version='1.0' encoding='UTF-8' standalone='yes'?>
<Relationships xmlns="http://schemas.openxmlformats.org/package/2006/relationships"><Relationship Id="rId1" Type="http://schemas.openxmlformats.org/officeDocument/2006/relationships/tags" Target="../tags/tag56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82.xml"/></Relationships>
</file>

<file path=ppt/slides/_rels/slide539.xml.rels><?xml version='1.0' encoding='UTF-8' standalone='yes'?>
<Relationships xmlns="http://schemas.openxmlformats.org/package/2006/relationships"><Relationship Id="rId1" Type="http://schemas.openxmlformats.org/officeDocument/2006/relationships/tags" Target="../tags/tag56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83.xml"/></Relationships>
</file>

<file path=ppt/slides/_rels/slide54.xml.rels><?xml version='1.0' encoding='UTF-8' standalone='yes'?>
<Relationships xmlns="http://schemas.openxmlformats.org/package/2006/relationships"><Relationship Id="rId1" Type="http://schemas.openxmlformats.org/officeDocument/2006/relationships/tags" Target="../tags/tag8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4.xml"/></Relationships>
</file>

<file path=ppt/slides/_rels/slide540.xml.rels><?xml version='1.0' encoding='UTF-8' standalone='yes'?>
<Relationships xmlns="http://schemas.openxmlformats.org/package/2006/relationships"><Relationship Id="rId1" Type="http://schemas.openxmlformats.org/officeDocument/2006/relationships/tags" Target="../tags/tag56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84.xml"/></Relationships>
</file>

<file path=ppt/slides/_rels/slide541.xml.rels><?xml version='1.0' encoding='UTF-8' standalone='yes'?>
<Relationships xmlns="http://schemas.openxmlformats.org/package/2006/relationships"><Relationship Id="rId1" Type="http://schemas.openxmlformats.org/officeDocument/2006/relationships/tags" Target="../tags/tag56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85.xml"/></Relationships>
</file>

<file path=ppt/slides/_rels/slide542.xml.rels><?xml version='1.0' encoding='UTF-8' standalone='yes'?>
<Relationships xmlns="http://schemas.openxmlformats.org/package/2006/relationships"><Relationship Id="rId1" Type="http://schemas.openxmlformats.org/officeDocument/2006/relationships/tags" Target="../tags/tag56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86.xml"/></Relationships>
</file>

<file path=ppt/slides/_rels/slide543.xml.rels><?xml version='1.0' encoding='UTF-8' standalone='yes'?>
<Relationships xmlns="http://schemas.openxmlformats.org/package/2006/relationships"><Relationship Id="rId1" Type="http://schemas.openxmlformats.org/officeDocument/2006/relationships/tags" Target="../tags/tag57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87.xml"/></Relationships>
</file>

<file path=ppt/slides/_rels/slide544.xml.rels><?xml version='1.0' encoding='UTF-8' standalone='yes'?>
<Relationships xmlns="http://schemas.openxmlformats.org/package/2006/relationships"><Relationship Id="rId1" Type="http://schemas.openxmlformats.org/officeDocument/2006/relationships/tags" Target="../tags/tag57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88.xml"/></Relationships>
</file>

<file path=ppt/slides/_rels/slide545.xml.rels><?xml version='1.0' encoding='UTF-8' standalone='yes'?>
<Relationships xmlns="http://schemas.openxmlformats.org/package/2006/relationships"><Relationship Id="rId1" Type="http://schemas.openxmlformats.org/officeDocument/2006/relationships/tags" Target="../tags/tag57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89.xml"/></Relationships>
</file>

<file path=ppt/slides/_rels/slide546.xml.rels><?xml version='1.0' encoding='UTF-8' standalone='yes'?>
<Relationships xmlns="http://schemas.openxmlformats.org/package/2006/relationships"><Relationship Id="rId1" Type="http://schemas.openxmlformats.org/officeDocument/2006/relationships/tags" Target="../tags/tag57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90.xml"/></Relationships>
</file>

<file path=ppt/slides/_rels/slide547.xml.rels><?xml version='1.0' encoding='UTF-8' standalone='yes'?>
<Relationships xmlns="http://schemas.openxmlformats.org/package/2006/relationships"><Relationship Id="rId1" Type="http://schemas.openxmlformats.org/officeDocument/2006/relationships/tags" Target="../tags/tag57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91.xml"/></Relationships>
</file>

<file path=ppt/slides/_rels/slide548.xml.rels><?xml version='1.0' encoding='UTF-8' standalone='yes'?>
<Relationships xmlns="http://schemas.openxmlformats.org/package/2006/relationships"><Relationship Id="rId1" Type="http://schemas.openxmlformats.org/officeDocument/2006/relationships/tags" Target="../tags/tag57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92.xml"/></Relationships>
</file>

<file path=ppt/slides/_rels/slide549.xml.rels><?xml version='1.0' encoding='UTF-8' standalone='yes'?>
<Relationships xmlns="http://schemas.openxmlformats.org/package/2006/relationships"><Relationship Id="rId1" Type="http://schemas.openxmlformats.org/officeDocument/2006/relationships/tags" Target="../tags/tag57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93.xml"/></Relationships>
</file>

<file path=ppt/slides/_rels/slide55.xml.rels><?xml version='1.0' encoding='UTF-8' standalone='yes'?>
<Relationships xmlns="http://schemas.openxmlformats.org/package/2006/relationships"><Relationship Id="rId1" Type="http://schemas.openxmlformats.org/officeDocument/2006/relationships/tags" Target="../tags/tag8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5.xml"/></Relationships>
</file>

<file path=ppt/slides/_rels/slide550.xml.rels><?xml version='1.0' encoding='UTF-8' standalone='yes'?>
<Relationships xmlns="http://schemas.openxmlformats.org/package/2006/relationships"><Relationship Id="rId1" Type="http://schemas.openxmlformats.org/officeDocument/2006/relationships/tags" Target="../tags/tag57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94.xml"/></Relationships>
</file>

<file path=ppt/slides/_rels/slide551.xml.rels><?xml version='1.0' encoding='UTF-8' standalone='yes'?>
<Relationships xmlns="http://schemas.openxmlformats.org/package/2006/relationships"><Relationship Id="rId1" Type="http://schemas.openxmlformats.org/officeDocument/2006/relationships/tags" Target="../tags/tag578.xml"/><Relationship Id="rId2" Type="http://schemas.openxmlformats.org/officeDocument/2006/relationships/slideLayout" Target="../slideLayouts/slideLayout7.xml"/><Relationship Id="rId3" Type="http://schemas.openxmlformats.org/officeDocument/2006/relationships/notesSlide" Target="../notesSlides/notesSlide109.xml"/><Relationship Id="rId4" Type="http://schemas.openxmlformats.org/officeDocument/2006/relationships/oleObject" Target="../embeddings/oleObject28.bin"/><Relationship Id="rId5" Type="http://schemas.openxmlformats.org/officeDocument/2006/relationships/image" Target="../media/image28.emf"/></Relationships>
</file>

<file path=ppt/slides/_rels/slide552.xml.rels><?xml version='1.0' encoding='UTF-8' standalone='yes'?>
<Relationships xmlns="http://schemas.openxmlformats.org/package/2006/relationships"><Relationship Id="rId1" Type="http://schemas.openxmlformats.org/officeDocument/2006/relationships/tags" Target="../tags/tag579.xml"/><Relationship Id="rId2" Type="http://schemas.openxmlformats.org/officeDocument/2006/relationships/slideLayout" Target="../slideLayouts/slideLayout7.xml"/><Relationship Id="rId3" Type="http://schemas.openxmlformats.org/officeDocument/2006/relationships/notesSlide" Target="../notesSlides/notesSlide110.xml"/><Relationship Id="rId4" Type="http://schemas.openxmlformats.org/officeDocument/2006/relationships/oleObject" Target="../embeddings/oleObject28.bin"/><Relationship Id="rId5" Type="http://schemas.openxmlformats.org/officeDocument/2006/relationships/image" Target="../media/image28.emf"/></Relationships>
</file>

<file path=ppt/slides/_rels/slide553.xml.rels><?xml version='1.0' encoding='UTF-8' standalone='yes'?>
<Relationships xmlns="http://schemas.openxmlformats.org/package/2006/relationships"><Relationship Id="rId1" Type="http://schemas.openxmlformats.org/officeDocument/2006/relationships/tags" Target="../tags/tag580.xml"/><Relationship Id="rId2" Type="http://schemas.openxmlformats.org/officeDocument/2006/relationships/slideLayout" Target="../slideLayouts/slideLayout7.xml"/><Relationship Id="rId3" Type="http://schemas.openxmlformats.org/officeDocument/2006/relationships/notesSlide" Target="../notesSlides/notesSlide111.xml"/><Relationship Id="rId4" Type="http://schemas.openxmlformats.org/officeDocument/2006/relationships/oleObject" Target="../embeddings/oleObject28.bin"/><Relationship Id="rId5" Type="http://schemas.openxmlformats.org/officeDocument/2006/relationships/image" Target="../media/image28.emf"/></Relationships>
</file>

<file path=ppt/slides/_rels/slide554.xml.rels><?xml version='1.0' encoding='UTF-8' standalone='yes'?>
<Relationships xmlns="http://schemas.openxmlformats.org/package/2006/relationships"><Relationship Id="rId1" Type="http://schemas.openxmlformats.org/officeDocument/2006/relationships/tags" Target="../tags/tag581.xml"/><Relationship Id="rId2" Type="http://schemas.openxmlformats.org/officeDocument/2006/relationships/slideLayout" Target="../slideLayouts/slideLayout7.xml"/><Relationship Id="rId3" Type="http://schemas.openxmlformats.org/officeDocument/2006/relationships/notesSlide" Target="../notesSlides/notesSlide112.xml"/><Relationship Id="rId4" Type="http://schemas.openxmlformats.org/officeDocument/2006/relationships/oleObject" Target="../embeddings/oleObject28.bin"/><Relationship Id="rId5" Type="http://schemas.openxmlformats.org/officeDocument/2006/relationships/image" Target="../media/image28.emf"/></Relationships>
</file>

<file path=ppt/slides/_rels/slide555.xml.rels><?xml version='1.0' encoding='UTF-8' standalone='yes'?>
<Relationships xmlns="http://schemas.openxmlformats.org/package/2006/relationships"><Relationship Id="rId1" Type="http://schemas.openxmlformats.org/officeDocument/2006/relationships/tags" Target="../tags/tag582.xml"/><Relationship Id="rId2" Type="http://schemas.openxmlformats.org/officeDocument/2006/relationships/slideLayout" Target="../slideLayouts/slideLayout7.xml"/><Relationship Id="rId3" Type="http://schemas.openxmlformats.org/officeDocument/2006/relationships/notesSlide" Target="../notesSlides/notesSlide113.xml"/><Relationship Id="rId4" Type="http://schemas.openxmlformats.org/officeDocument/2006/relationships/oleObject" Target="../embeddings/oleObject28.bin"/><Relationship Id="rId5" Type="http://schemas.openxmlformats.org/officeDocument/2006/relationships/image" Target="../media/image28.emf"/></Relationships>
</file>

<file path=ppt/slides/_rels/slide556.xml.rels><?xml version='1.0' encoding='UTF-8' standalone='yes'?>
<Relationships xmlns="http://schemas.openxmlformats.org/package/2006/relationships"><Relationship Id="rId1" Type="http://schemas.openxmlformats.org/officeDocument/2006/relationships/tags" Target="../tags/tag583.xml"/><Relationship Id="rId2" Type="http://schemas.openxmlformats.org/officeDocument/2006/relationships/slideLayout" Target="../slideLayouts/slideLayout7.xml"/><Relationship Id="rId3" Type="http://schemas.openxmlformats.org/officeDocument/2006/relationships/notesSlide" Target="../notesSlides/notesSlide114.xml"/><Relationship Id="rId4" Type="http://schemas.openxmlformats.org/officeDocument/2006/relationships/oleObject" Target="../embeddings/oleObject28.bin"/><Relationship Id="rId5" Type="http://schemas.openxmlformats.org/officeDocument/2006/relationships/image" Target="../media/image28.emf"/></Relationships>
</file>

<file path=ppt/slides/_rels/slide557.xml.rels><?xml version='1.0' encoding='UTF-8' standalone='yes'?>
<Relationships xmlns="http://schemas.openxmlformats.org/package/2006/relationships"><Relationship Id="rId1" Type="http://schemas.openxmlformats.org/officeDocument/2006/relationships/tags" Target="../tags/tag584.xml"/><Relationship Id="rId2" Type="http://schemas.openxmlformats.org/officeDocument/2006/relationships/slideLayout" Target="../slideLayouts/slideLayout7.xml"/><Relationship Id="rId3" Type="http://schemas.openxmlformats.org/officeDocument/2006/relationships/notesSlide" Target="../notesSlides/notesSlide115.xml"/><Relationship Id="rId4" Type="http://schemas.openxmlformats.org/officeDocument/2006/relationships/oleObject" Target="../embeddings/oleObject28.bin"/><Relationship Id="rId5" Type="http://schemas.openxmlformats.org/officeDocument/2006/relationships/image" Target="../media/image28.emf"/></Relationships>
</file>

<file path=ppt/slides/_rels/slide558.xml.rels><?xml version='1.0' encoding='UTF-8' standalone='yes'?>
<Relationships xmlns="http://schemas.openxmlformats.org/package/2006/relationships"><Relationship Id="rId1" Type="http://schemas.openxmlformats.org/officeDocument/2006/relationships/tags" Target="../tags/tag585.xml"/><Relationship Id="rId2" Type="http://schemas.openxmlformats.org/officeDocument/2006/relationships/slideLayout" Target="../slideLayouts/slideLayout7.xml"/><Relationship Id="rId3" Type="http://schemas.openxmlformats.org/officeDocument/2006/relationships/notesSlide" Target="../notesSlides/notesSlide116.xml"/><Relationship Id="rId4" Type="http://schemas.openxmlformats.org/officeDocument/2006/relationships/oleObject" Target="../embeddings/oleObject28.bin"/><Relationship Id="rId5" Type="http://schemas.openxmlformats.org/officeDocument/2006/relationships/image" Target="../media/image28.emf"/></Relationships>
</file>

<file path=ppt/slides/_rels/slide559.xml.rels><?xml version='1.0' encoding='UTF-8' standalone='yes'?>
<Relationships xmlns="http://schemas.openxmlformats.org/package/2006/relationships"><Relationship Id="rId1" Type="http://schemas.openxmlformats.org/officeDocument/2006/relationships/tags" Target="../tags/tag586.xml"/><Relationship Id="rId2" Type="http://schemas.openxmlformats.org/officeDocument/2006/relationships/slideLayout" Target="../slideLayouts/slideLayout7.xml"/><Relationship Id="rId3" Type="http://schemas.openxmlformats.org/officeDocument/2006/relationships/notesSlide" Target="../notesSlides/notesSlide117.xml"/><Relationship Id="rId4" Type="http://schemas.openxmlformats.org/officeDocument/2006/relationships/oleObject" Target="../embeddings/oleObject28.bin"/><Relationship Id="rId5" Type="http://schemas.openxmlformats.org/officeDocument/2006/relationships/image" Target="../media/image28.emf"/></Relationships>
</file>

<file path=ppt/slides/_rels/slide56.xml.rels><?xml version='1.0' encoding='UTF-8' standalone='yes'?>
<Relationships xmlns="http://schemas.openxmlformats.org/package/2006/relationships"><Relationship Id="rId1" Type="http://schemas.openxmlformats.org/officeDocument/2006/relationships/tags" Target="../tags/tag8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6.xml"/></Relationships>
</file>

<file path=ppt/slides/_rels/slide560.xml.rels><?xml version='1.0' encoding='UTF-8' standalone='yes'?>
<Relationships xmlns="http://schemas.openxmlformats.org/package/2006/relationships"><Relationship Id="rId1" Type="http://schemas.openxmlformats.org/officeDocument/2006/relationships/tags" Target="../tags/tag587.xml"/><Relationship Id="rId2" Type="http://schemas.openxmlformats.org/officeDocument/2006/relationships/slideLayout" Target="../slideLayouts/slideLayout7.xml"/><Relationship Id="rId3" Type="http://schemas.openxmlformats.org/officeDocument/2006/relationships/notesSlide" Target="../notesSlides/notesSlide118.xml"/><Relationship Id="rId4" Type="http://schemas.openxmlformats.org/officeDocument/2006/relationships/oleObject" Target="../embeddings/oleObject28.bin"/><Relationship Id="rId5" Type="http://schemas.openxmlformats.org/officeDocument/2006/relationships/image" Target="../media/image28.emf"/></Relationships>
</file>

<file path=ppt/slides/_rels/slide561.xml.rels><?xml version='1.0' encoding='UTF-8' standalone='yes'?>
<Relationships xmlns="http://schemas.openxmlformats.org/package/2006/relationships"><Relationship Id="rId1" Type="http://schemas.openxmlformats.org/officeDocument/2006/relationships/tags" Target="../tags/tag588.xml"/><Relationship Id="rId2" Type="http://schemas.openxmlformats.org/officeDocument/2006/relationships/slideLayout" Target="../slideLayouts/slideLayout7.xml"/><Relationship Id="rId3" Type="http://schemas.openxmlformats.org/officeDocument/2006/relationships/notesSlide" Target="../notesSlides/notesSlide119.xml"/><Relationship Id="rId4" Type="http://schemas.openxmlformats.org/officeDocument/2006/relationships/oleObject" Target="../embeddings/oleObject28.bin"/><Relationship Id="rId5" Type="http://schemas.openxmlformats.org/officeDocument/2006/relationships/image" Target="../media/image28.emf"/></Relationships>
</file>

<file path=ppt/slides/_rels/slide562.xml.rels><?xml version='1.0' encoding='UTF-8' standalone='yes'?>
<Relationships xmlns="http://schemas.openxmlformats.org/package/2006/relationships"><Relationship Id="rId1" Type="http://schemas.openxmlformats.org/officeDocument/2006/relationships/tags" Target="../tags/tag589.xml"/><Relationship Id="rId2" Type="http://schemas.openxmlformats.org/officeDocument/2006/relationships/slideLayout" Target="../slideLayouts/slideLayout7.xml"/><Relationship Id="rId3" Type="http://schemas.openxmlformats.org/officeDocument/2006/relationships/notesSlide" Target="../notesSlides/notesSlide120.xml"/><Relationship Id="rId4" Type="http://schemas.openxmlformats.org/officeDocument/2006/relationships/oleObject" Target="../embeddings/oleObject28.bin"/><Relationship Id="rId5" Type="http://schemas.openxmlformats.org/officeDocument/2006/relationships/image" Target="../media/image28.emf"/></Relationships>
</file>

<file path=ppt/slides/_rels/slide563.xml.rels><?xml version='1.0' encoding='UTF-8' standalone='yes'?>
<Relationships xmlns="http://schemas.openxmlformats.org/package/2006/relationships"><Relationship Id="rId1" Type="http://schemas.openxmlformats.org/officeDocument/2006/relationships/tags" Target="../tags/tag590.xml"/><Relationship Id="rId2" Type="http://schemas.openxmlformats.org/officeDocument/2006/relationships/slideLayout" Target="../slideLayouts/slideLayout7.xml"/><Relationship Id="rId3" Type="http://schemas.openxmlformats.org/officeDocument/2006/relationships/notesSlide" Target="../notesSlides/notesSlide121.xml"/><Relationship Id="rId4" Type="http://schemas.openxmlformats.org/officeDocument/2006/relationships/oleObject" Target="../embeddings/oleObject28.bin"/><Relationship Id="rId5" Type="http://schemas.openxmlformats.org/officeDocument/2006/relationships/image" Target="../media/image28.emf"/></Relationships>
</file>

<file path=ppt/slides/_rels/slide564.xml.rels><?xml version='1.0' encoding='UTF-8' standalone='yes'?>
<Relationships xmlns="http://schemas.openxmlformats.org/package/2006/relationships"><Relationship Id="rId1" Type="http://schemas.openxmlformats.org/officeDocument/2006/relationships/tags" Target="../tags/tag591.xml"/><Relationship Id="rId2" Type="http://schemas.openxmlformats.org/officeDocument/2006/relationships/slideLayout" Target="../slideLayouts/slideLayout7.xml"/><Relationship Id="rId3" Type="http://schemas.openxmlformats.org/officeDocument/2006/relationships/notesSlide" Target="../notesSlides/notesSlide122.xml"/><Relationship Id="rId4" Type="http://schemas.openxmlformats.org/officeDocument/2006/relationships/oleObject" Target="../embeddings/oleObject28.bin"/><Relationship Id="rId5" Type="http://schemas.openxmlformats.org/officeDocument/2006/relationships/image" Target="../media/image28.emf"/></Relationships>
</file>

<file path=ppt/slides/_rels/slide565.xml.rels><?xml version='1.0' encoding='UTF-8' standalone='yes'?>
<Relationships xmlns="http://schemas.openxmlformats.org/package/2006/relationships"><Relationship Id="rId1" Type="http://schemas.openxmlformats.org/officeDocument/2006/relationships/tags" Target="../tags/tag592.xml"/><Relationship Id="rId2" Type="http://schemas.openxmlformats.org/officeDocument/2006/relationships/slideLayout" Target="../slideLayouts/slideLayout7.xml"/><Relationship Id="rId3" Type="http://schemas.openxmlformats.org/officeDocument/2006/relationships/notesSlide" Target="../notesSlides/notesSlide123.xml"/><Relationship Id="rId4" Type="http://schemas.openxmlformats.org/officeDocument/2006/relationships/oleObject" Target="../embeddings/oleObject28.bin"/><Relationship Id="rId5" Type="http://schemas.openxmlformats.org/officeDocument/2006/relationships/image" Target="../media/image28.emf"/></Relationships>
</file>

<file path=ppt/slides/_rels/slide566.xml.rels><?xml version='1.0' encoding='UTF-8' standalone='yes'?>
<Relationships xmlns="http://schemas.openxmlformats.org/package/2006/relationships"><Relationship Id="rId1" Type="http://schemas.openxmlformats.org/officeDocument/2006/relationships/tags" Target="../tags/tag593.xml"/><Relationship Id="rId2" Type="http://schemas.openxmlformats.org/officeDocument/2006/relationships/slideLayout" Target="../slideLayouts/slideLayout7.xml"/><Relationship Id="rId3" Type="http://schemas.openxmlformats.org/officeDocument/2006/relationships/notesSlide" Target="../notesSlides/notesSlide124.xml"/><Relationship Id="rId4" Type="http://schemas.openxmlformats.org/officeDocument/2006/relationships/oleObject" Target="../embeddings/oleObject28.bin"/><Relationship Id="rId5" Type="http://schemas.openxmlformats.org/officeDocument/2006/relationships/image" Target="../media/image28.emf"/></Relationships>
</file>

<file path=ppt/slides/_rels/slide567.xml.rels><?xml version='1.0' encoding='UTF-8' standalone='yes'?>
<Relationships xmlns="http://schemas.openxmlformats.org/package/2006/relationships"><Relationship Id="rId1" Type="http://schemas.openxmlformats.org/officeDocument/2006/relationships/tags" Target="../tags/tag594.xml"/><Relationship Id="rId2" Type="http://schemas.openxmlformats.org/officeDocument/2006/relationships/slideLayout" Target="../slideLayouts/slideLayout7.xml"/><Relationship Id="rId3" Type="http://schemas.openxmlformats.org/officeDocument/2006/relationships/notesSlide" Target="../notesSlides/notesSlide125.xml"/><Relationship Id="rId4" Type="http://schemas.openxmlformats.org/officeDocument/2006/relationships/oleObject" Target="../embeddings/oleObject28.bin"/><Relationship Id="rId5" Type="http://schemas.openxmlformats.org/officeDocument/2006/relationships/image" Target="../media/image28.emf"/></Relationships>
</file>

<file path=ppt/slides/_rels/slide568.xml.rels><?xml version='1.0' encoding='UTF-8' standalone='yes'?>
<Relationships xmlns="http://schemas.openxmlformats.org/package/2006/relationships"><Relationship Id="rId1" Type="http://schemas.openxmlformats.org/officeDocument/2006/relationships/tags" Target="../tags/tag595.xml"/><Relationship Id="rId2" Type="http://schemas.openxmlformats.org/officeDocument/2006/relationships/slideLayout" Target="../slideLayouts/slideLayout7.xml"/><Relationship Id="rId3" Type="http://schemas.openxmlformats.org/officeDocument/2006/relationships/notesSlide" Target="../notesSlides/notesSlide126.xml"/><Relationship Id="rId4" Type="http://schemas.openxmlformats.org/officeDocument/2006/relationships/oleObject" Target="../embeddings/oleObject28.bin"/><Relationship Id="rId5" Type="http://schemas.openxmlformats.org/officeDocument/2006/relationships/image" Target="../media/image28.emf"/></Relationships>
</file>

<file path=ppt/slides/_rels/slide569.xml.rels><?xml version='1.0' encoding='UTF-8' standalone='yes'?>
<Relationships xmlns="http://schemas.openxmlformats.org/package/2006/relationships"><Relationship Id="rId1" Type="http://schemas.openxmlformats.org/officeDocument/2006/relationships/tags" Target="../tags/tag596.xml"/><Relationship Id="rId2" Type="http://schemas.openxmlformats.org/officeDocument/2006/relationships/slideLayout" Target="../slideLayouts/slideLayout7.xml"/><Relationship Id="rId3" Type="http://schemas.openxmlformats.org/officeDocument/2006/relationships/notesSlide" Target="../notesSlides/notesSlide127.xml"/><Relationship Id="rId4" Type="http://schemas.openxmlformats.org/officeDocument/2006/relationships/oleObject" Target="../embeddings/oleObject28.bin"/><Relationship Id="rId5" Type="http://schemas.openxmlformats.org/officeDocument/2006/relationships/image" Target="../media/image28.emf"/></Relationships>
</file>

<file path=ppt/slides/_rels/slide57.xml.rels><?xml version='1.0' encoding='UTF-8' standalone='yes'?>
<Relationships xmlns="http://schemas.openxmlformats.org/package/2006/relationships"><Relationship Id="rId1" Type="http://schemas.openxmlformats.org/officeDocument/2006/relationships/tags" Target="../tags/tag8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7.xml"/></Relationships>
</file>

<file path=ppt/slides/_rels/slide570.xml.rels><?xml version='1.0' encoding='UTF-8' standalone='yes'?>
<Relationships xmlns="http://schemas.openxmlformats.org/package/2006/relationships"><Relationship Id="rId1" Type="http://schemas.openxmlformats.org/officeDocument/2006/relationships/tags" Target="../tags/tag597.xml"/><Relationship Id="rId2" Type="http://schemas.openxmlformats.org/officeDocument/2006/relationships/slideLayout" Target="../slideLayouts/slideLayout7.xml"/><Relationship Id="rId3" Type="http://schemas.openxmlformats.org/officeDocument/2006/relationships/notesSlide" Target="../notesSlides/notesSlide128.xml"/><Relationship Id="rId4" Type="http://schemas.openxmlformats.org/officeDocument/2006/relationships/oleObject" Target="../embeddings/oleObject28.bin"/><Relationship Id="rId5" Type="http://schemas.openxmlformats.org/officeDocument/2006/relationships/image" Target="../media/image28.emf"/></Relationships>
</file>

<file path=ppt/slides/_rels/slide571.xml.rels><?xml version='1.0' encoding='UTF-8' standalone='yes'?>
<Relationships xmlns="http://schemas.openxmlformats.org/package/2006/relationships"><Relationship Id="rId1" Type="http://schemas.openxmlformats.org/officeDocument/2006/relationships/tags" Target="../tags/tag598.xml"/><Relationship Id="rId2" Type="http://schemas.openxmlformats.org/officeDocument/2006/relationships/slideLayout" Target="../slideLayouts/slideLayout7.xml"/><Relationship Id="rId3" Type="http://schemas.openxmlformats.org/officeDocument/2006/relationships/notesSlide" Target="../notesSlides/notesSlide129.xml"/><Relationship Id="rId4" Type="http://schemas.openxmlformats.org/officeDocument/2006/relationships/oleObject" Target="../embeddings/oleObject28.bin"/><Relationship Id="rId5" Type="http://schemas.openxmlformats.org/officeDocument/2006/relationships/image" Target="../media/image28.emf"/></Relationships>
</file>

<file path=ppt/slides/_rels/slide572.xml.rels><?xml version='1.0' encoding='UTF-8' standalone='yes'?>
<Relationships xmlns="http://schemas.openxmlformats.org/package/2006/relationships"><Relationship Id="rId1" Type="http://schemas.openxmlformats.org/officeDocument/2006/relationships/tags" Target="../tags/tag599.xml"/><Relationship Id="rId2" Type="http://schemas.openxmlformats.org/officeDocument/2006/relationships/slideLayout" Target="../slideLayouts/slideLayout7.xml"/><Relationship Id="rId3" Type="http://schemas.openxmlformats.org/officeDocument/2006/relationships/notesSlide" Target="../notesSlides/notesSlide130.xml"/><Relationship Id="rId4" Type="http://schemas.openxmlformats.org/officeDocument/2006/relationships/oleObject" Target="../embeddings/oleObject28.bin"/><Relationship Id="rId5" Type="http://schemas.openxmlformats.org/officeDocument/2006/relationships/image" Target="../media/image28.emf"/></Relationships>
</file>

<file path=ppt/slides/_rels/slide573.xml.rels><?xml version='1.0' encoding='UTF-8' standalone='yes'?>
<Relationships xmlns="http://schemas.openxmlformats.org/package/2006/relationships"><Relationship Id="rId1" Type="http://schemas.openxmlformats.org/officeDocument/2006/relationships/tags" Target="../tags/tag600.xml"/><Relationship Id="rId2" Type="http://schemas.openxmlformats.org/officeDocument/2006/relationships/slideLayout" Target="../slideLayouts/slideLayout7.xml"/><Relationship Id="rId3" Type="http://schemas.openxmlformats.org/officeDocument/2006/relationships/notesSlide" Target="../notesSlides/notesSlide131.xml"/><Relationship Id="rId4" Type="http://schemas.openxmlformats.org/officeDocument/2006/relationships/oleObject" Target="../embeddings/oleObject28.bin"/><Relationship Id="rId5" Type="http://schemas.openxmlformats.org/officeDocument/2006/relationships/image" Target="../media/image28.emf"/></Relationships>
</file>

<file path=ppt/slides/_rels/slide574.xml.rels><?xml version='1.0' encoding='UTF-8' standalone='yes'?>
<Relationships xmlns="http://schemas.openxmlformats.org/package/2006/relationships"><Relationship Id="rId1" Type="http://schemas.openxmlformats.org/officeDocument/2006/relationships/tags" Target="../tags/tag601.xml"/><Relationship Id="rId2" Type="http://schemas.openxmlformats.org/officeDocument/2006/relationships/slideLayout" Target="../slideLayouts/slideLayout7.xml"/><Relationship Id="rId3" Type="http://schemas.openxmlformats.org/officeDocument/2006/relationships/notesSlide" Target="../notesSlides/notesSlide132.xml"/><Relationship Id="rId4" Type="http://schemas.openxmlformats.org/officeDocument/2006/relationships/oleObject" Target="../embeddings/oleObject28.bin"/><Relationship Id="rId5" Type="http://schemas.openxmlformats.org/officeDocument/2006/relationships/image" Target="../media/image28.emf"/></Relationships>
</file>

<file path=ppt/slides/_rels/slide575.xml.rels><?xml version='1.0' encoding='UTF-8' standalone='yes'?>
<Relationships xmlns="http://schemas.openxmlformats.org/package/2006/relationships"><Relationship Id="rId1" Type="http://schemas.openxmlformats.org/officeDocument/2006/relationships/tags" Target="../tags/tag602.xml"/><Relationship Id="rId2" Type="http://schemas.openxmlformats.org/officeDocument/2006/relationships/slideLayout" Target="../slideLayouts/slideLayout7.xml"/><Relationship Id="rId3" Type="http://schemas.openxmlformats.org/officeDocument/2006/relationships/notesSlide" Target="../notesSlides/notesSlide133.xml"/><Relationship Id="rId4" Type="http://schemas.openxmlformats.org/officeDocument/2006/relationships/oleObject" Target="../embeddings/oleObject28.bin"/><Relationship Id="rId5" Type="http://schemas.openxmlformats.org/officeDocument/2006/relationships/image" Target="../media/image28.emf"/></Relationships>
</file>

<file path=ppt/slides/_rels/slide576.xml.rels><?xml version='1.0' encoding='UTF-8' standalone='yes'?>
<Relationships xmlns="http://schemas.openxmlformats.org/package/2006/relationships"><Relationship Id="rId1" Type="http://schemas.openxmlformats.org/officeDocument/2006/relationships/tags" Target="../tags/tag603.xml"/><Relationship Id="rId2" Type="http://schemas.openxmlformats.org/officeDocument/2006/relationships/slideLayout" Target="../slideLayouts/slideLayout7.xml"/><Relationship Id="rId3" Type="http://schemas.openxmlformats.org/officeDocument/2006/relationships/notesSlide" Target="../notesSlides/notesSlide134.xml"/><Relationship Id="rId4" Type="http://schemas.openxmlformats.org/officeDocument/2006/relationships/oleObject" Target="../embeddings/oleObject28.bin"/><Relationship Id="rId5" Type="http://schemas.openxmlformats.org/officeDocument/2006/relationships/image" Target="../media/image28.emf"/></Relationships>
</file>

<file path=ppt/slides/_rels/slide577.xml.rels><?xml version='1.0' encoding='UTF-8' standalone='yes'?>
<Relationships xmlns="http://schemas.openxmlformats.org/package/2006/relationships"><Relationship Id="rId1" Type="http://schemas.openxmlformats.org/officeDocument/2006/relationships/tags" Target="../tags/tag604.xml"/><Relationship Id="rId2" Type="http://schemas.openxmlformats.org/officeDocument/2006/relationships/slideLayout" Target="../slideLayouts/slideLayout7.xml"/><Relationship Id="rId3" Type="http://schemas.openxmlformats.org/officeDocument/2006/relationships/notesSlide" Target="../notesSlides/notesSlide135.xml"/><Relationship Id="rId4" Type="http://schemas.openxmlformats.org/officeDocument/2006/relationships/oleObject" Target="../embeddings/oleObject28.bin"/><Relationship Id="rId5" Type="http://schemas.openxmlformats.org/officeDocument/2006/relationships/image" Target="../media/image28.emf"/></Relationships>
</file>

<file path=ppt/slides/_rels/slide578.xml.rels><?xml version='1.0' encoding='UTF-8' standalone='yes'?>
<Relationships xmlns="http://schemas.openxmlformats.org/package/2006/relationships"><Relationship Id="rId1" Type="http://schemas.openxmlformats.org/officeDocument/2006/relationships/tags" Target="../tags/tag605.xml"/><Relationship Id="rId2" Type="http://schemas.openxmlformats.org/officeDocument/2006/relationships/slideLayout" Target="../slideLayouts/slideLayout7.xml"/><Relationship Id="rId3" Type="http://schemas.openxmlformats.org/officeDocument/2006/relationships/notesSlide" Target="../notesSlides/notesSlide136.xml"/><Relationship Id="rId4" Type="http://schemas.openxmlformats.org/officeDocument/2006/relationships/oleObject" Target="../embeddings/oleObject28.bin"/><Relationship Id="rId5" Type="http://schemas.openxmlformats.org/officeDocument/2006/relationships/image" Target="../media/image28.emf"/></Relationships>
</file>

<file path=ppt/slides/_rels/slide579.xml.rels><?xml version='1.0' encoding='UTF-8' standalone='yes'?>
<Relationships xmlns="http://schemas.openxmlformats.org/package/2006/relationships"><Relationship Id="rId1" Type="http://schemas.openxmlformats.org/officeDocument/2006/relationships/tags" Target="../tags/tag606.xml"/><Relationship Id="rId2" Type="http://schemas.openxmlformats.org/officeDocument/2006/relationships/slideLayout" Target="../slideLayouts/slideLayout7.xml"/><Relationship Id="rId3" Type="http://schemas.openxmlformats.org/officeDocument/2006/relationships/notesSlide" Target="../notesSlides/notesSlide137.xml"/><Relationship Id="rId4" Type="http://schemas.openxmlformats.org/officeDocument/2006/relationships/oleObject" Target="../embeddings/oleObject28.bin"/><Relationship Id="rId5" Type="http://schemas.openxmlformats.org/officeDocument/2006/relationships/image" Target="../media/image28.emf"/></Relationships>
</file>

<file path=ppt/slides/_rels/slide58.xml.rels><?xml version='1.0' encoding='UTF-8' standalone='yes'?>
<Relationships xmlns="http://schemas.openxmlformats.org/package/2006/relationships"><Relationship Id="rId1" Type="http://schemas.openxmlformats.org/officeDocument/2006/relationships/tags" Target="../tags/tag8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8.xml"/></Relationships>
</file>

<file path=ppt/slides/_rels/slide580.xml.rels><?xml version='1.0' encoding='UTF-8' standalone='yes'?>
<Relationships xmlns="http://schemas.openxmlformats.org/package/2006/relationships"><Relationship Id="rId1" Type="http://schemas.openxmlformats.org/officeDocument/2006/relationships/tags" Target="../tags/tag607.xml"/><Relationship Id="rId2" Type="http://schemas.openxmlformats.org/officeDocument/2006/relationships/slideLayout" Target="../slideLayouts/slideLayout7.xml"/><Relationship Id="rId3" Type="http://schemas.openxmlformats.org/officeDocument/2006/relationships/notesSlide" Target="../notesSlides/notesSlide138.xml"/><Relationship Id="rId4" Type="http://schemas.openxmlformats.org/officeDocument/2006/relationships/oleObject" Target="../embeddings/oleObject28.bin"/><Relationship Id="rId5" Type="http://schemas.openxmlformats.org/officeDocument/2006/relationships/image" Target="../media/image28.emf"/></Relationships>
</file>

<file path=ppt/slides/_rels/slide581.xml.rels><?xml version='1.0' encoding='UTF-8' standalone='yes'?>
<Relationships xmlns="http://schemas.openxmlformats.org/package/2006/relationships"><Relationship Id="rId1" Type="http://schemas.openxmlformats.org/officeDocument/2006/relationships/tags" Target="../tags/tag608.xml"/><Relationship Id="rId2" Type="http://schemas.openxmlformats.org/officeDocument/2006/relationships/slideLayout" Target="../slideLayouts/slideLayout7.xml"/><Relationship Id="rId3" Type="http://schemas.openxmlformats.org/officeDocument/2006/relationships/notesSlide" Target="../notesSlides/notesSlide139.xml"/><Relationship Id="rId4" Type="http://schemas.openxmlformats.org/officeDocument/2006/relationships/oleObject" Target="../embeddings/oleObject28.bin"/><Relationship Id="rId5" Type="http://schemas.openxmlformats.org/officeDocument/2006/relationships/image" Target="../media/image28.emf"/></Relationships>
</file>

<file path=ppt/slides/_rels/slide582.xml.rels><?xml version='1.0' encoding='UTF-8' standalone='yes'?>
<Relationships xmlns="http://schemas.openxmlformats.org/package/2006/relationships"><Relationship Id="rId1" Type="http://schemas.openxmlformats.org/officeDocument/2006/relationships/tags" Target="../tags/tag609.xml"/><Relationship Id="rId2" Type="http://schemas.openxmlformats.org/officeDocument/2006/relationships/slideLayout" Target="../slideLayouts/slideLayout7.xml"/><Relationship Id="rId3" Type="http://schemas.openxmlformats.org/officeDocument/2006/relationships/notesSlide" Target="../notesSlides/notesSlide140.xml"/><Relationship Id="rId4" Type="http://schemas.openxmlformats.org/officeDocument/2006/relationships/oleObject" Target="../embeddings/oleObject28.bin"/><Relationship Id="rId5" Type="http://schemas.openxmlformats.org/officeDocument/2006/relationships/image" Target="../media/image28.emf"/></Relationships>
</file>

<file path=ppt/slides/_rels/slide583.xml.rels><?xml version='1.0' encoding='UTF-8' standalone='yes'?>
<Relationships xmlns="http://schemas.openxmlformats.org/package/2006/relationships"><Relationship Id="rId1" Type="http://schemas.openxmlformats.org/officeDocument/2006/relationships/tags" Target="../tags/tag610.xml"/><Relationship Id="rId2" Type="http://schemas.openxmlformats.org/officeDocument/2006/relationships/slideLayout" Target="../slideLayouts/slideLayout7.xml"/><Relationship Id="rId3" Type="http://schemas.openxmlformats.org/officeDocument/2006/relationships/notesSlide" Target="../notesSlides/notesSlide141.xml"/><Relationship Id="rId4" Type="http://schemas.openxmlformats.org/officeDocument/2006/relationships/oleObject" Target="../embeddings/oleObject28.bin"/><Relationship Id="rId5" Type="http://schemas.openxmlformats.org/officeDocument/2006/relationships/image" Target="../media/image28.emf"/></Relationships>
</file>

<file path=ppt/slides/_rels/slide584.xml.rels><?xml version='1.0' encoding='UTF-8' standalone='yes'?>
<Relationships xmlns="http://schemas.openxmlformats.org/package/2006/relationships"><Relationship Id="rId1" Type="http://schemas.openxmlformats.org/officeDocument/2006/relationships/tags" Target="../tags/tag611.xml"/><Relationship Id="rId2" Type="http://schemas.openxmlformats.org/officeDocument/2006/relationships/slideLayout" Target="../slideLayouts/slideLayout7.xml"/><Relationship Id="rId3" Type="http://schemas.openxmlformats.org/officeDocument/2006/relationships/notesSlide" Target="../notesSlides/notesSlide142.xml"/><Relationship Id="rId4" Type="http://schemas.openxmlformats.org/officeDocument/2006/relationships/oleObject" Target="../embeddings/oleObject28.bin"/><Relationship Id="rId5" Type="http://schemas.openxmlformats.org/officeDocument/2006/relationships/image" Target="../media/image28.emf"/></Relationships>
</file>

<file path=ppt/slides/_rels/slide585.xml.rels><?xml version='1.0' encoding='UTF-8' standalone='yes'?>
<Relationships xmlns="http://schemas.openxmlformats.org/package/2006/relationships"><Relationship Id="rId1" Type="http://schemas.openxmlformats.org/officeDocument/2006/relationships/tags" Target="../tags/tag612.xml"/><Relationship Id="rId2" Type="http://schemas.openxmlformats.org/officeDocument/2006/relationships/slideLayout" Target="../slideLayouts/slideLayout7.xml"/><Relationship Id="rId3" Type="http://schemas.openxmlformats.org/officeDocument/2006/relationships/notesSlide" Target="../notesSlides/notesSlide143.xml"/><Relationship Id="rId4" Type="http://schemas.openxmlformats.org/officeDocument/2006/relationships/oleObject" Target="../embeddings/oleObject28.bin"/><Relationship Id="rId5" Type="http://schemas.openxmlformats.org/officeDocument/2006/relationships/image" Target="../media/image28.emf"/></Relationships>
</file>

<file path=ppt/slides/_rels/slide586.xml.rels><?xml version='1.0' encoding='UTF-8' standalone='yes'?>
<Relationships xmlns="http://schemas.openxmlformats.org/package/2006/relationships"><Relationship Id="rId1" Type="http://schemas.openxmlformats.org/officeDocument/2006/relationships/tags" Target="../tags/tag613.xml"/><Relationship Id="rId2" Type="http://schemas.openxmlformats.org/officeDocument/2006/relationships/slideLayout" Target="../slideLayouts/slideLayout7.xml"/><Relationship Id="rId3" Type="http://schemas.openxmlformats.org/officeDocument/2006/relationships/notesSlide" Target="../notesSlides/notesSlide144.xml"/><Relationship Id="rId4" Type="http://schemas.openxmlformats.org/officeDocument/2006/relationships/oleObject" Target="../embeddings/oleObject28.bin"/><Relationship Id="rId5" Type="http://schemas.openxmlformats.org/officeDocument/2006/relationships/image" Target="../media/image28.emf"/></Relationships>
</file>

<file path=ppt/slides/_rels/slide587.xml.rels><?xml version='1.0' encoding='UTF-8' standalone='yes'?>
<Relationships xmlns="http://schemas.openxmlformats.org/package/2006/relationships"><Relationship Id="rId1" Type="http://schemas.openxmlformats.org/officeDocument/2006/relationships/tags" Target="../tags/tag614.xml"/><Relationship Id="rId2" Type="http://schemas.openxmlformats.org/officeDocument/2006/relationships/slideLayout" Target="../slideLayouts/slideLayout7.xml"/><Relationship Id="rId3" Type="http://schemas.openxmlformats.org/officeDocument/2006/relationships/notesSlide" Target="../notesSlides/notesSlide145.xml"/><Relationship Id="rId4" Type="http://schemas.openxmlformats.org/officeDocument/2006/relationships/oleObject" Target="../embeddings/oleObject28.bin"/><Relationship Id="rId5" Type="http://schemas.openxmlformats.org/officeDocument/2006/relationships/image" Target="../media/image28.emf"/></Relationships>
</file>

<file path=ppt/slides/_rels/slide588.xml.rels><?xml version='1.0' encoding='UTF-8' standalone='yes'?>
<Relationships xmlns="http://schemas.openxmlformats.org/package/2006/relationships"><Relationship Id="rId1" Type="http://schemas.openxmlformats.org/officeDocument/2006/relationships/tags" Target="../tags/tag615.xml"/><Relationship Id="rId2" Type="http://schemas.openxmlformats.org/officeDocument/2006/relationships/slideLayout" Target="../slideLayouts/slideLayout7.xml"/><Relationship Id="rId3" Type="http://schemas.openxmlformats.org/officeDocument/2006/relationships/notesSlide" Target="../notesSlides/notesSlide146.xml"/><Relationship Id="rId4" Type="http://schemas.openxmlformats.org/officeDocument/2006/relationships/oleObject" Target="../embeddings/oleObject28.bin"/><Relationship Id="rId5" Type="http://schemas.openxmlformats.org/officeDocument/2006/relationships/image" Target="../media/image28.emf"/></Relationships>
</file>

<file path=ppt/slides/_rels/slide589.xml.rels><?xml version='1.0' encoding='UTF-8' standalone='yes'?>
<Relationships xmlns="http://schemas.openxmlformats.org/package/2006/relationships"><Relationship Id="rId1" Type="http://schemas.openxmlformats.org/officeDocument/2006/relationships/tags" Target="../tags/tag616.xml"/><Relationship Id="rId2" Type="http://schemas.openxmlformats.org/officeDocument/2006/relationships/slideLayout" Target="../slideLayouts/slideLayout7.xml"/><Relationship Id="rId3" Type="http://schemas.openxmlformats.org/officeDocument/2006/relationships/notesSlide" Target="../notesSlides/notesSlide147.xml"/><Relationship Id="rId4" Type="http://schemas.openxmlformats.org/officeDocument/2006/relationships/oleObject" Target="../embeddings/oleObject28.bin"/><Relationship Id="rId5" Type="http://schemas.openxmlformats.org/officeDocument/2006/relationships/image" Target="../media/image28.emf"/></Relationships>
</file>

<file path=ppt/slides/_rels/slide59.xml.rels><?xml version='1.0' encoding='UTF-8' standalone='yes'?>
<Relationships xmlns="http://schemas.openxmlformats.org/package/2006/relationships"><Relationship Id="rId1" Type="http://schemas.openxmlformats.org/officeDocument/2006/relationships/tags" Target="../tags/tag8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9.xml"/></Relationships>
</file>

<file path=ppt/slides/_rels/slide590.xml.rels><?xml version='1.0' encoding='UTF-8' standalone='yes'?>
<Relationships xmlns="http://schemas.openxmlformats.org/package/2006/relationships"><Relationship Id="rId1" Type="http://schemas.openxmlformats.org/officeDocument/2006/relationships/tags" Target="../tags/tag617.xml"/><Relationship Id="rId2" Type="http://schemas.openxmlformats.org/officeDocument/2006/relationships/slideLayout" Target="../slideLayouts/slideLayout7.xml"/><Relationship Id="rId3" Type="http://schemas.openxmlformats.org/officeDocument/2006/relationships/notesSlide" Target="../notesSlides/notesSlide148.xml"/><Relationship Id="rId4" Type="http://schemas.openxmlformats.org/officeDocument/2006/relationships/oleObject" Target="../embeddings/oleObject28.bin"/><Relationship Id="rId5" Type="http://schemas.openxmlformats.org/officeDocument/2006/relationships/image" Target="../media/image28.emf"/></Relationships>
</file>

<file path=ppt/slides/_rels/slide591.xml.rels><?xml version='1.0' encoding='UTF-8' standalone='yes'?>
<Relationships xmlns="http://schemas.openxmlformats.org/package/2006/relationships"><Relationship Id="rId1" Type="http://schemas.openxmlformats.org/officeDocument/2006/relationships/tags" Target="../tags/tag618.xml"/><Relationship Id="rId2" Type="http://schemas.openxmlformats.org/officeDocument/2006/relationships/slideLayout" Target="../slideLayouts/slideLayout7.xml"/><Relationship Id="rId3" Type="http://schemas.openxmlformats.org/officeDocument/2006/relationships/notesSlide" Target="../notesSlides/notesSlide149.xml"/><Relationship Id="rId4" Type="http://schemas.openxmlformats.org/officeDocument/2006/relationships/oleObject" Target="../embeddings/oleObject28.bin"/><Relationship Id="rId5" Type="http://schemas.openxmlformats.org/officeDocument/2006/relationships/image" Target="../media/image28.emf"/></Relationships>
</file>

<file path=ppt/slides/_rels/slide592.xml.rels><?xml version='1.0' encoding='UTF-8' standalone='yes'?>
<Relationships xmlns="http://schemas.openxmlformats.org/package/2006/relationships"><Relationship Id="rId1" Type="http://schemas.openxmlformats.org/officeDocument/2006/relationships/tags" Target="../tags/tag619.xml"/><Relationship Id="rId2" Type="http://schemas.openxmlformats.org/officeDocument/2006/relationships/slideLayout" Target="../slideLayouts/slideLayout7.xml"/><Relationship Id="rId3" Type="http://schemas.openxmlformats.org/officeDocument/2006/relationships/notesSlide" Target="../notesSlides/notesSlide150.xml"/><Relationship Id="rId4" Type="http://schemas.openxmlformats.org/officeDocument/2006/relationships/oleObject" Target="../embeddings/oleObject28.bin"/><Relationship Id="rId5" Type="http://schemas.openxmlformats.org/officeDocument/2006/relationships/image" Target="../media/image28.emf"/></Relationships>
</file>

<file path=ppt/slides/_rels/slide593.xml.rels><?xml version='1.0' encoding='UTF-8' standalone='yes'?>
<Relationships xmlns="http://schemas.openxmlformats.org/package/2006/relationships"><Relationship Id="rId1" Type="http://schemas.openxmlformats.org/officeDocument/2006/relationships/tags" Target="../tags/tag620.xml"/><Relationship Id="rId2" Type="http://schemas.openxmlformats.org/officeDocument/2006/relationships/slideLayout" Target="../slideLayouts/slideLayout7.xml"/><Relationship Id="rId3" Type="http://schemas.openxmlformats.org/officeDocument/2006/relationships/notesSlide" Target="../notesSlides/notesSlide151.xml"/><Relationship Id="rId4" Type="http://schemas.openxmlformats.org/officeDocument/2006/relationships/oleObject" Target="../embeddings/oleObject28.bin"/><Relationship Id="rId5" Type="http://schemas.openxmlformats.org/officeDocument/2006/relationships/image" Target="../media/image28.emf"/></Relationships>
</file>

<file path=ppt/slides/_rels/slide594.xml.rels><?xml version='1.0' encoding='UTF-8' standalone='yes'?>
<Relationships xmlns="http://schemas.openxmlformats.org/package/2006/relationships"><Relationship Id="rId1" Type="http://schemas.openxmlformats.org/officeDocument/2006/relationships/tags" Target="../tags/tag621.xml"/><Relationship Id="rId2" Type="http://schemas.openxmlformats.org/officeDocument/2006/relationships/slideLayout" Target="../slideLayouts/slideLayout7.xml"/><Relationship Id="rId3" Type="http://schemas.openxmlformats.org/officeDocument/2006/relationships/notesSlide" Target="../notesSlides/notesSlide152.xml"/><Relationship Id="rId4" Type="http://schemas.openxmlformats.org/officeDocument/2006/relationships/oleObject" Target="../embeddings/oleObject28.bin"/><Relationship Id="rId5" Type="http://schemas.openxmlformats.org/officeDocument/2006/relationships/image" Target="../media/image28.emf"/></Relationships>
</file>

<file path=ppt/slides/_rels/slide595.xml.rels><?xml version='1.0' encoding='UTF-8' standalone='yes'?>
<Relationships xmlns="http://schemas.openxmlformats.org/package/2006/relationships"><Relationship Id="rId1" Type="http://schemas.openxmlformats.org/officeDocument/2006/relationships/tags" Target="../tags/tag622.xml"/><Relationship Id="rId2" Type="http://schemas.openxmlformats.org/officeDocument/2006/relationships/slideLayout" Target="../slideLayouts/slideLayout7.xml"/><Relationship Id="rId3" Type="http://schemas.openxmlformats.org/officeDocument/2006/relationships/notesSlide" Target="../notesSlides/notesSlide153.xml"/><Relationship Id="rId4" Type="http://schemas.openxmlformats.org/officeDocument/2006/relationships/oleObject" Target="../embeddings/oleObject28.bin"/><Relationship Id="rId5" Type="http://schemas.openxmlformats.org/officeDocument/2006/relationships/image" Target="../media/image28.emf"/></Relationships>
</file>

<file path=ppt/slides/_rels/slide596.xml.rels><?xml version='1.0' encoding='UTF-8' standalone='yes'?>
<Relationships xmlns="http://schemas.openxmlformats.org/package/2006/relationships"><Relationship Id="rId1" Type="http://schemas.openxmlformats.org/officeDocument/2006/relationships/tags" Target="../tags/tag623.xml"/><Relationship Id="rId2" Type="http://schemas.openxmlformats.org/officeDocument/2006/relationships/slideLayout" Target="../slideLayouts/slideLayout7.xml"/><Relationship Id="rId3" Type="http://schemas.openxmlformats.org/officeDocument/2006/relationships/notesSlide" Target="../notesSlides/notesSlide154.xml"/><Relationship Id="rId4" Type="http://schemas.openxmlformats.org/officeDocument/2006/relationships/oleObject" Target="../embeddings/oleObject28.bin"/><Relationship Id="rId5" Type="http://schemas.openxmlformats.org/officeDocument/2006/relationships/image" Target="../media/image28.emf"/></Relationships>
</file>

<file path=ppt/slides/_rels/slide597.xml.rels><?xml version='1.0' encoding='UTF-8' standalone='yes'?>
<Relationships xmlns="http://schemas.openxmlformats.org/package/2006/relationships"><Relationship Id="rId1" Type="http://schemas.openxmlformats.org/officeDocument/2006/relationships/tags" Target="../tags/tag624.xml"/><Relationship Id="rId2" Type="http://schemas.openxmlformats.org/officeDocument/2006/relationships/slideLayout" Target="../slideLayouts/slideLayout7.xml"/><Relationship Id="rId3" Type="http://schemas.openxmlformats.org/officeDocument/2006/relationships/notesSlide" Target="../notesSlides/notesSlide155.xml"/><Relationship Id="rId4" Type="http://schemas.openxmlformats.org/officeDocument/2006/relationships/oleObject" Target="../embeddings/oleObject28.bin"/><Relationship Id="rId5" Type="http://schemas.openxmlformats.org/officeDocument/2006/relationships/image" Target="../media/image28.emf"/></Relationships>
</file>

<file path=ppt/slides/_rels/slide598.xml.rels><?xml version='1.0' encoding='UTF-8' standalone='yes'?>
<Relationships xmlns="http://schemas.openxmlformats.org/package/2006/relationships"><Relationship Id="rId1" Type="http://schemas.openxmlformats.org/officeDocument/2006/relationships/tags" Target="../tags/tag625.xml"/><Relationship Id="rId2" Type="http://schemas.openxmlformats.org/officeDocument/2006/relationships/slideLayout" Target="../slideLayouts/slideLayout7.xml"/><Relationship Id="rId3" Type="http://schemas.openxmlformats.org/officeDocument/2006/relationships/notesSlide" Target="../notesSlides/notesSlide156.xml"/><Relationship Id="rId4" Type="http://schemas.openxmlformats.org/officeDocument/2006/relationships/oleObject" Target="../embeddings/oleObject28.bin"/><Relationship Id="rId5" Type="http://schemas.openxmlformats.org/officeDocument/2006/relationships/image" Target="../media/image28.emf"/></Relationships>
</file>

<file path=ppt/slides/_rels/slide599.xml.rels><?xml version='1.0' encoding='UTF-8' standalone='yes'?>
<Relationships xmlns="http://schemas.openxmlformats.org/package/2006/relationships"><Relationship Id="rId1" Type="http://schemas.openxmlformats.org/officeDocument/2006/relationships/tags" Target="../tags/tag626.xml"/><Relationship Id="rId2" Type="http://schemas.openxmlformats.org/officeDocument/2006/relationships/slideLayout" Target="../slideLayouts/slideLayout7.xml"/><Relationship Id="rId3" Type="http://schemas.openxmlformats.org/officeDocument/2006/relationships/notesSlide" Target="../notesSlides/notesSlide157.xml"/><Relationship Id="rId4" Type="http://schemas.openxmlformats.org/officeDocument/2006/relationships/oleObject" Target="../embeddings/oleObject28.bin"/><Relationship Id="rId5" Type="http://schemas.openxmlformats.org/officeDocument/2006/relationships/image" Target="../media/image28.emf"/></Relationships>
</file>

<file path=ppt/slides/_rels/slide6.xml.rels><?xml version='1.0' encoding='UTF-8' standalone='yes'?>
<Relationships xmlns="http://schemas.openxmlformats.org/package/2006/relationships"><Relationship Id="rId1" Type="http://schemas.openxmlformats.org/officeDocument/2006/relationships/tags" Target="../tags/tag3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6.xml"/></Relationships>
</file>

<file path=ppt/slides/_rels/slide60.xml.rels><?xml version='1.0' encoding='UTF-8' standalone='yes'?>
<Relationships xmlns="http://schemas.openxmlformats.org/package/2006/relationships"><Relationship Id="rId1" Type="http://schemas.openxmlformats.org/officeDocument/2006/relationships/tags" Target="../tags/tag8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60.xml"/></Relationships>
</file>

<file path=ppt/slides/_rels/slide600.xml.rels><?xml version='1.0' encoding='UTF-8' standalone='yes'?>
<Relationships xmlns="http://schemas.openxmlformats.org/package/2006/relationships"><Relationship Id="rId1" Type="http://schemas.openxmlformats.org/officeDocument/2006/relationships/tags" Target="../tags/tag627.xml"/><Relationship Id="rId2" Type="http://schemas.openxmlformats.org/officeDocument/2006/relationships/slideLayout" Target="../slideLayouts/slideLayout7.xml"/><Relationship Id="rId3" Type="http://schemas.openxmlformats.org/officeDocument/2006/relationships/notesSlide" Target="../notesSlides/notesSlide158.xml"/><Relationship Id="rId4" Type="http://schemas.openxmlformats.org/officeDocument/2006/relationships/oleObject" Target="../embeddings/oleObject28.bin"/><Relationship Id="rId5" Type="http://schemas.openxmlformats.org/officeDocument/2006/relationships/image" Target="../media/image28.emf"/></Relationships>
</file>

<file path=ppt/slides/_rels/slide601.xml.rels><?xml version='1.0' encoding='UTF-8' standalone='yes'?>
<Relationships xmlns="http://schemas.openxmlformats.org/package/2006/relationships"><Relationship Id="rId1" Type="http://schemas.openxmlformats.org/officeDocument/2006/relationships/tags" Target="../tags/tag628.xml"/><Relationship Id="rId2" Type="http://schemas.openxmlformats.org/officeDocument/2006/relationships/slideLayout" Target="../slideLayouts/slideLayout7.xml"/><Relationship Id="rId3" Type="http://schemas.openxmlformats.org/officeDocument/2006/relationships/notesSlide" Target="../notesSlides/notesSlide159.xml"/><Relationship Id="rId4" Type="http://schemas.openxmlformats.org/officeDocument/2006/relationships/oleObject" Target="../embeddings/oleObject28.bin"/><Relationship Id="rId5" Type="http://schemas.openxmlformats.org/officeDocument/2006/relationships/image" Target="../media/image28.emf"/></Relationships>
</file>

<file path=ppt/slides/_rels/slide602.xml.rels><?xml version='1.0' encoding='UTF-8' standalone='yes'?>
<Relationships xmlns="http://schemas.openxmlformats.org/package/2006/relationships"><Relationship Id="rId1" Type="http://schemas.openxmlformats.org/officeDocument/2006/relationships/tags" Target="../tags/tag629.xml"/><Relationship Id="rId2" Type="http://schemas.openxmlformats.org/officeDocument/2006/relationships/slideLayout" Target="../slideLayouts/slideLayout7.xml"/><Relationship Id="rId3" Type="http://schemas.openxmlformats.org/officeDocument/2006/relationships/notesSlide" Target="../notesSlides/notesSlide160.xml"/><Relationship Id="rId4" Type="http://schemas.openxmlformats.org/officeDocument/2006/relationships/oleObject" Target="../embeddings/oleObject28.bin"/><Relationship Id="rId5" Type="http://schemas.openxmlformats.org/officeDocument/2006/relationships/image" Target="../media/image28.emf"/></Relationships>
</file>

<file path=ppt/slides/_rels/slide603.xml.rels><?xml version='1.0' encoding='UTF-8' standalone='yes'?>
<Relationships xmlns="http://schemas.openxmlformats.org/package/2006/relationships"><Relationship Id="rId1" Type="http://schemas.openxmlformats.org/officeDocument/2006/relationships/tags" Target="../tags/tag630.xml"/><Relationship Id="rId2" Type="http://schemas.openxmlformats.org/officeDocument/2006/relationships/slideLayout" Target="../slideLayouts/slideLayout7.xml"/><Relationship Id="rId3" Type="http://schemas.openxmlformats.org/officeDocument/2006/relationships/notesSlide" Target="../notesSlides/notesSlide161.xml"/><Relationship Id="rId4" Type="http://schemas.openxmlformats.org/officeDocument/2006/relationships/oleObject" Target="../embeddings/oleObject28.bin"/><Relationship Id="rId5" Type="http://schemas.openxmlformats.org/officeDocument/2006/relationships/image" Target="../media/image28.emf"/></Relationships>
</file>

<file path=ppt/slides/_rels/slide604.xml.rels><?xml version='1.0' encoding='UTF-8' standalone='yes'?>
<Relationships xmlns="http://schemas.openxmlformats.org/package/2006/relationships"><Relationship Id="rId1" Type="http://schemas.openxmlformats.org/officeDocument/2006/relationships/tags" Target="../tags/tag631.xml"/><Relationship Id="rId2" Type="http://schemas.openxmlformats.org/officeDocument/2006/relationships/slideLayout" Target="../slideLayouts/slideLayout7.xml"/><Relationship Id="rId3" Type="http://schemas.openxmlformats.org/officeDocument/2006/relationships/notesSlide" Target="../notesSlides/notesSlide162.xml"/><Relationship Id="rId4" Type="http://schemas.openxmlformats.org/officeDocument/2006/relationships/oleObject" Target="../embeddings/oleObject28.bin"/><Relationship Id="rId5" Type="http://schemas.openxmlformats.org/officeDocument/2006/relationships/image" Target="../media/image28.emf"/></Relationships>
</file>

<file path=ppt/slides/_rels/slide605.xml.rels><?xml version='1.0' encoding='UTF-8' standalone='yes'?>
<Relationships xmlns="http://schemas.openxmlformats.org/package/2006/relationships"><Relationship Id="rId1" Type="http://schemas.openxmlformats.org/officeDocument/2006/relationships/tags" Target="../tags/tag632.xml"/><Relationship Id="rId2" Type="http://schemas.openxmlformats.org/officeDocument/2006/relationships/slideLayout" Target="../slideLayouts/slideLayout7.xml"/><Relationship Id="rId3" Type="http://schemas.openxmlformats.org/officeDocument/2006/relationships/notesSlide" Target="../notesSlides/notesSlide163.xml"/><Relationship Id="rId4" Type="http://schemas.openxmlformats.org/officeDocument/2006/relationships/oleObject" Target="../embeddings/oleObject28.bin"/><Relationship Id="rId5" Type="http://schemas.openxmlformats.org/officeDocument/2006/relationships/image" Target="../media/image28.emf"/></Relationships>
</file>

<file path=ppt/slides/_rels/slide606.xml.rels><?xml version='1.0' encoding='UTF-8' standalone='yes'?>
<Relationships xmlns="http://schemas.openxmlformats.org/package/2006/relationships"><Relationship Id="rId1" Type="http://schemas.openxmlformats.org/officeDocument/2006/relationships/tags" Target="../tags/tag633.xml"/><Relationship Id="rId2" Type="http://schemas.openxmlformats.org/officeDocument/2006/relationships/slideLayout" Target="../slideLayouts/slideLayout7.xml"/><Relationship Id="rId3" Type="http://schemas.openxmlformats.org/officeDocument/2006/relationships/notesSlide" Target="../notesSlides/notesSlide164.xml"/><Relationship Id="rId4" Type="http://schemas.openxmlformats.org/officeDocument/2006/relationships/oleObject" Target="../embeddings/oleObject28.bin"/><Relationship Id="rId5" Type="http://schemas.openxmlformats.org/officeDocument/2006/relationships/image" Target="../media/image28.emf"/></Relationships>
</file>

<file path=ppt/slides/_rels/slide607.xml.rels><?xml version='1.0' encoding='UTF-8' standalone='yes'?>
<Relationships xmlns="http://schemas.openxmlformats.org/package/2006/relationships"><Relationship Id="rId1" Type="http://schemas.openxmlformats.org/officeDocument/2006/relationships/tags" Target="../tags/tag634.xml"/><Relationship Id="rId2" Type="http://schemas.openxmlformats.org/officeDocument/2006/relationships/slideLayout" Target="../slideLayouts/slideLayout7.xml"/><Relationship Id="rId3" Type="http://schemas.openxmlformats.org/officeDocument/2006/relationships/notesSlide" Target="../notesSlides/notesSlide165.xml"/><Relationship Id="rId4" Type="http://schemas.openxmlformats.org/officeDocument/2006/relationships/oleObject" Target="../embeddings/oleObject28.bin"/><Relationship Id="rId5" Type="http://schemas.openxmlformats.org/officeDocument/2006/relationships/image" Target="../media/image28.emf"/></Relationships>
</file>

<file path=ppt/slides/_rels/slide608.xml.rels><?xml version='1.0' encoding='UTF-8' standalone='yes'?>
<Relationships xmlns="http://schemas.openxmlformats.org/package/2006/relationships"><Relationship Id="rId1" Type="http://schemas.openxmlformats.org/officeDocument/2006/relationships/tags" Target="../tags/tag635.xml"/><Relationship Id="rId2" Type="http://schemas.openxmlformats.org/officeDocument/2006/relationships/slideLayout" Target="../slideLayouts/slideLayout7.xml"/><Relationship Id="rId3" Type="http://schemas.openxmlformats.org/officeDocument/2006/relationships/notesSlide" Target="../notesSlides/notesSlide166.xml"/><Relationship Id="rId4" Type="http://schemas.openxmlformats.org/officeDocument/2006/relationships/oleObject" Target="../embeddings/oleObject28.bin"/><Relationship Id="rId5" Type="http://schemas.openxmlformats.org/officeDocument/2006/relationships/image" Target="../media/image28.emf"/></Relationships>
</file>

<file path=ppt/slides/_rels/slide609.xml.rels><?xml version='1.0' encoding='UTF-8' standalone='yes'?>
<Relationships xmlns="http://schemas.openxmlformats.org/package/2006/relationships"><Relationship Id="rId1" Type="http://schemas.openxmlformats.org/officeDocument/2006/relationships/tags" Target="../tags/tag636.xml"/><Relationship Id="rId2" Type="http://schemas.openxmlformats.org/officeDocument/2006/relationships/slideLayout" Target="../slideLayouts/slideLayout7.xml"/><Relationship Id="rId3" Type="http://schemas.openxmlformats.org/officeDocument/2006/relationships/notesSlide" Target="../notesSlides/notesSlide167.xml"/><Relationship Id="rId4" Type="http://schemas.openxmlformats.org/officeDocument/2006/relationships/oleObject" Target="../embeddings/oleObject28.bin"/><Relationship Id="rId5" Type="http://schemas.openxmlformats.org/officeDocument/2006/relationships/image" Target="../media/image28.emf"/></Relationships>
</file>

<file path=ppt/slides/_rels/slide61.xml.rels><?xml version='1.0' encoding='UTF-8' standalone='yes'?>
<Relationships xmlns="http://schemas.openxmlformats.org/package/2006/relationships"><Relationship Id="rId1" Type="http://schemas.openxmlformats.org/officeDocument/2006/relationships/tags" Target="../tags/tag8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61.xml"/></Relationships>
</file>

<file path=ppt/slides/_rels/slide610.xml.rels><?xml version='1.0' encoding='UTF-8' standalone='yes'?>
<Relationships xmlns="http://schemas.openxmlformats.org/package/2006/relationships"><Relationship Id="rId1" Type="http://schemas.openxmlformats.org/officeDocument/2006/relationships/tags" Target="../tags/tag637.xml"/><Relationship Id="rId2" Type="http://schemas.openxmlformats.org/officeDocument/2006/relationships/slideLayout" Target="../slideLayouts/slideLayout7.xml"/><Relationship Id="rId3" Type="http://schemas.openxmlformats.org/officeDocument/2006/relationships/notesSlide" Target="../notesSlides/notesSlide168.xml"/><Relationship Id="rId4" Type="http://schemas.openxmlformats.org/officeDocument/2006/relationships/oleObject" Target="../embeddings/oleObject28.bin"/><Relationship Id="rId5" Type="http://schemas.openxmlformats.org/officeDocument/2006/relationships/image" Target="../media/image28.emf"/></Relationships>
</file>

<file path=ppt/slides/_rels/slide611.xml.rels><?xml version='1.0' encoding='UTF-8' standalone='yes'?>
<Relationships xmlns="http://schemas.openxmlformats.org/package/2006/relationships"><Relationship Id="rId1" Type="http://schemas.openxmlformats.org/officeDocument/2006/relationships/tags" Target="../tags/tag638.xml"/><Relationship Id="rId2" Type="http://schemas.openxmlformats.org/officeDocument/2006/relationships/slideLayout" Target="../slideLayouts/slideLayout7.xml"/><Relationship Id="rId3" Type="http://schemas.openxmlformats.org/officeDocument/2006/relationships/notesSlide" Target="../notesSlides/notesSlide169.xml"/><Relationship Id="rId4" Type="http://schemas.openxmlformats.org/officeDocument/2006/relationships/oleObject" Target="../embeddings/oleObject28.bin"/><Relationship Id="rId5" Type="http://schemas.openxmlformats.org/officeDocument/2006/relationships/image" Target="../media/image28.emf"/></Relationships>
</file>

<file path=ppt/slides/_rels/slide612.xml.rels><?xml version='1.0' encoding='UTF-8' standalone='yes'?>
<Relationships xmlns="http://schemas.openxmlformats.org/package/2006/relationships"><Relationship Id="rId1" Type="http://schemas.openxmlformats.org/officeDocument/2006/relationships/tags" Target="../tags/tag639.xml"/><Relationship Id="rId2" Type="http://schemas.openxmlformats.org/officeDocument/2006/relationships/slideLayout" Target="../slideLayouts/slideLayout7.xml"/><Relationship Id="rId3" Type="http://schemas.openxmlformats.org/officeDocument/2006/relationships/notesSlide" Target="../notesSlides/notesSlide170.xml"/><Relationship Id="rId4" Type="http://schemas.openxmlformats.org/officeDocument/2006/relationships/oleObject" Target="../embeddings/oleObject28.bin"/><Relationship Id="rId5" Type="http://schemas.openxmlformats.org/officeDocument/2006/relationships/image" Target="../media/image28.emf"/></Relationships>
</file>

<file path=ppt/slides/_rels/slide613.xml.rels><?xml version='1.0' encoding='UTF-8' standalone='yes'?>
<Relationships xmlns="http://schemas.openxmlformats.org/package/2006/relationships"><Relationship Id="rId1" Type="http://schemas.openxmlformats.org/officeDocument/2006/relationships/tags" Target="../tags/tag640.xml"/><Relationship Id="rId2" Type="http://schemas.openxmlformats.org/officeDocument/2006/relationships/slideLayout" Target="../slideLayouts/slideLayout7.xml"/><Relationship Id="rId3" Type="http://schemas.openxmlformats.org/officeDocument/2006/relationships/notesSlide" Target="../notesSlides/notesSlide171.xml"/><Relationship Id="rId4" Type="http://schemas.openxmlformats.org/officeDocument/2006/relationships/oleObject" Target="../embeddings/oleObject28.bin"/><Relationship Id="rId5" Type="http://schemas.openxmlformats.org/officeDocument/2006/relationships/image" Target="../media/image28.emf"/></Relationships>
</file>

<file path=ppt/slides/_rels/slide614.xml.rels><?xml version='1.0' encoding='UTF-8' standalone='yes'?>
<Relationships xmlns="http://schemas.openxmlformats.org/package/2006/relationships"><Relationship Id="rId1" Type="http://schemas.openxmlformats.org/officeDocument/2006/relationships/tags" Target="../tags/tag641.xml"/><Relationship Id="rId2" Type="http://schemas.openxmlformats.org/officeDocument/2006/relationships/slideLayout" Target="../slideLayouts/slideLayout7.xml"/><Relationship Id="rId3" Type="http://schemas.openxmlformats.org/officeDocument/2006/relationships/notesSlide" Target="../notesSlides/notesSlide172.xml"/><Relationship Id="rId4" Type="http://schemas.openxmlformats.org/officeDocument/2006/relationships/oleObject" Target="../embeddings/oleObject28.bin"/><Relationship Id="rId5" Type="http://schemas.openxmlformats.org/officeDocument/2006/relationships/image" Target="../media/image28.emf"/></Relationships>
</file>

<file path=ppt/slides/_rels/slide62.xml.rels><?xml version='1.0' encoding='UTF-8' standalone='yes'?>
<Relationships xmlns="http://schemas.openxmlformats.org/package/2006/relationships"><Relationship Id="rId1" Type="http://schemas.openxmlformats.org/officeDocument/2006/relationships/tags" Target="../tags/tag8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62.xml"/></Relationships>
</file>

<file path=ppt/slides/_rels/slide63.xml.rels><?xml version='1.0' encoding='UTF-8' standalone='yes'?>
<Relationships xmlns="http://schemas.openxmlformats.org/package/2006/relationships"><Relationship Id="rId1" Type="http://schemas.openxmlformats.org/officeDocument/2006/relationships/tags" Target="../tags/tag9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63.xml"/></Relationships>
</file>

<file path=ppt/slides/_rels/slide64.xml.rels><?xml version='1.0' encoding='UTF-8' standalone='yes'?>
<Relationships xmlns="http://schemas.openxmlformats.org/package/2006/relationships"><Relationship Id="rId1" Type="http://schemas.openxmlformats.org/officeDocument/2006/relationships/tags" Target="../tags/tag9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64.xml"/></Relationships>
</file>

<file path=ppt/slides/_rels/slide65.xml.rels><?xml version='1.0' encoding='UTF-8' standalone='yes'?>
<Relationships xmlns="http://schemas.openxmlformats.org/package/2006/relationships"><Relationship Id="rId1" Type="http://schemas.openxmlformats.org/officeDocument/2006/relationships/tags" Target="../tags/tag9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65.xml"/></Relationships>
</file>

<file path=ppt/slides/_rels/slide66.xml.rels><?xml version='1.0' encoding='UTF-8' standalone='yes'?>
<Relationships xmlns="http://schemas.openxmlformats.org/package/2006/relationships"><Relationship Id="rId1" Type="http://schemas.openxmlformats.org/officeDocument/2006/relationships/tags" Target="../tags/tag9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66.xml"/></Relationships>
</file>

<file path=ppt/slides/_rels/slide67.xml.rels><?xml version='1.0' encoding='UTF-8' standalone='yes'?>
<Relationships xmlns="http://schemas.openxmlformats.org/package/2006/relationships"><Relationship Id="rId1" Type="http://schemas.openxmlformats.org/officeDocument/2006/relationships/tags" Target="../tags/tag9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67.xml"/></Relationships>
</file>

<file path=ppt/slides/_rels/slide68.xml.rels><?xml version='1.0' encoding='UTF-8' standalone='yes'?>
<Relationships xmlns="http://schemas.openxmlformats.org/package/2006/relationships"><Relationship Id="rId1" Type="http://schemas.openxmlformats.org/officeDocument/2006/relationships/tags" Target="../tags/tag9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68.xml"/></Relationships>
</file>

<file path=ppt/slides/_rels/slide69.xml.rels><?xml version='1.0' encoding='UTF-8' standalone='yes'?>
<Relationships xmlns="http://schemas.openxmlformats.org/package/2006/relationships"><Relationship Id="rId1" Type="http://schemas.openxmlformats.org/officeDocument/2006/relationships/tags" Target="../tags/tag9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69.xml"/></Relationships>
</file>

<file path=ppt/slides/_rels/slide7.xml.rels><?xml version='1.0' encoding='UTF-8' standalone='yes'?>
<Relationships xmlns="http://schemas.openxmlformats.org/package/2006/relationships"><Relationship Id="rId1" Type="http://schemas.openxmlformats.org/officeDocument/2006/relationships/tags" Target="../tags/tag3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7.xml"/></Relationships>
</file>

<file path=ppt/slides/_rels/slide70.xml.rels><?xml version='1.0' encoding='UTF-8' standalone='yes'?>
<Relationships xmlns="http://schemas.openxmlformats.org/package/2006/relationships"><Relationship Id="rId1" Type="http://schemas.openxmlformats.org/officeDocument/2006/relationships/tags" Target="../tags/tag9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70.xml"/></Relationships>
</file>

<file path=ppt/slides/_rels/slide71.xml.rels><?xml version='1.0' encoding='UTF-8' standalone='yes'?>
<Relationships xmlns="http://schemas.openxmlformats.org/package/2006/relationships"><Relationship Id="rId1" Type="http://schemas.openxmlformats.org/officeDocument/2006/relationships/tags" Target="../tags/tag9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71.xml"/></Relationships>
</file>

<file path=ppt/slides/_rels/slide72.xml.rels><?xml version='1.0' encoding='UTF-8' standalone='yes'?>
<Relationships xmlns="http://schemas.openxmlformats.org/package/2006/relationships"><Relationship Id="rId1" Type="http://schemas.openxmlformats.org/officeDocument/2006/relationships/tags" Target="../tags/tag9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72.xml"/></Relationships>
</file>

<file path=ppt/slides/_rels/slide73.xml.rels><?xml version='1.0' encoding='UTF-8' standalone='yes'?>
<Relationships xmlns="http://schemas.openxmlformats.org/package/2006/relationships"><Relationship Id="rId1" Type="http://schemas.openxmlformats.org/officeDocument/2006/relationships/tags" Target="../tags/tag10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73.xml"/></Relationships>
</file>

<file path=ppt/slides/_rels/slide74.xml.rels><?xml version='1.0' encoding='UTF-8' standalone='yes'?>
<Relationships xmlns="http://schemas.openxmlformats.org/package/2006/relationships"><Relationship Id="rId1" Type="http://schemas.openxmlformats.org/officeDocument/2006/relationships/tags" Target="../tags/tag10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74.xml"/></Relationships>
</file>

<file path=ppt/slides/_rels/slide75.xml.rels><?xml version='1.0' encoding='UTF-8' standalone='yes'?>
<Relationships xmlns="http://schemas.openxmlformats.org/package/2006/relationships"><Relationship Id="rId1" Type="http://schemas.openxmlformats.org/officeDocument/2006/relationships/tags" Target="../tags/tag10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75.xml"/></Relationships>
</file>

<file path=ppt/slides/_rels/slide76.xml.rels><?xml version='1.0' encoding='UTF-8' standalone='yes'?>
<Relationships xmlns="http://schemas.openxmlformats.org/package/2006/relationships"><Relationship Id="rId1" Type="http://schemas.openxmlformats.org/officeDocument/2006/relationships/tags" Target="../tags/tag10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76.xml"/></Relationships>
</file>

<file path=ppt/slides/_rels/slide77.xml.rels><?xml version='1.0' encoding='UTF-8' standalone='yes'?>
<Relationships xmlns="http://schemas.openxmlformats.org/package/2006/relationships"><Relationship Id="rId1" Type="http://schemas.openxmlformats.org/officeDocument/2006/relationships/tags" Target="../tags/tag10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77.xml"/></Relationships>
</file>

<file path=ppt/slides/_rels/slide78.xml.rels><?xml version='1.0' encoding='UTF-8' standalone='yes'?>
<Relationships xmlns="http://schemas.openxmlformats.org/package/2006/relationships"><Relationship Id="rId1" Type="http://schemas.openxmlformats.org/officeDocument/2006/relationships/tags" Target="../tags/tag10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78.xml"/></Relationships>
</file>

<file path=ppt/slides/_rels/slide79.xml.rels><?xml version='1.0' encoding='UTF-8' standalone='yes'?>
<Relationships xmlns="http://schemas.openxmlformats.org/package/2006/relationships"><Relationship Id="rId1" Type="http://schemas.openxmlformats.org/officeDocument/2006/relationships/tags" Target="../tags/tag10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79.xml"/></Relationships>
</file>

<file path=ppt/slides/_rels/slide8.xml.rels><?xml version='1.0' encoding='UTF-8' standalone='yes'?>
<Relationships xmlns="http://schemas.openxmlformats.org/package/2006/relationships"><Relationship Id="rId1" Type="http://schemas.openxmlformats.org/officeDocument/2006/relationships/tags" Target="../tags/tag3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8.xml"/></Relationships>
</file>

<file path=ppt/slides/_rels/slide80.xml.rels><?xml version='1.0' encoding='UTF-8' standalone='yes'?>
<Relationships xmlns="http://schemas.openxmlformats.org/package/2006/relationships"><Relationship Id="rId1" Type="http://schemas.openxmlformats.org/officeDocument/2006/relationships/tags" Target="../tags/tag10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80.xml"/></Relationships>
</file>

<file path=ppt/slides/_rels/slide81.xml.rels><?xml version='1.0' encoding='UTF-8' standalone='yes'?>
<Relationships xmlns="http://schemas.openxmlformats.org/package/2006/relationships"><Relationship Id="rId1" Type="http://schemas.openxmlformats.org/officeDocument/2006/relationships/tags" Target="../tags/tag10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81.xml"/></Relationships>
</file>

<file path=ppt/slides/_rels/slide82.xml.rels><?xml version='1.0' encoding='UTF-8' standalone='yes'?>
<Relationships xmlns="http://schemas.openxmlformats.org/package/2006/relationships"><Relationship Id="rId1" Type="http://schemas.openxmlformats.org/officeDocument/2006/relationships/tags" Target="../tags/tag10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82.xml"/></Relationships>
</file>

<file path=ppt/slides/_rels/slide83.xml.rels><?xml version='1.0' encoding='UTF-8' standalone='yes'?>
<Relationships xmlns="http://schemas.openxmlformats.org/package/2006/relationships"><Relationship Id="rId1" Type="http://schemas.openxmlformats.org/officeDocument/2006/relationships/tags" Target="../tags/tag11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83.xml"/></Relationships>
</file>

<file path=ppt/slides/_rels/slide84.xml.rels><?xml version='1.0' encoding='UTF-8' standalone='yes'?>
<Relationships xmlns="http://schemas.openxmlformats.org/package/2006/relationships"><Relationship Id="rId1" Type="http://schemas.openxmlformats.org/officeDocument/2006/relationships/tags" Target="../tags/tag11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84.xml"/></Relationships>
</file>

<file path=ppt/slides/_rels/slide85.xml.rels><?xml version='1.0' encoding='UTF-8' standalone='yes'?>
<Relationships xmlns="http://schemas.openxmlformats.org/package/2006/relationships"><Relationship Id="rId1" Type="http://schemas.openxmlformats.org/officeDocument/2006/relationships/tags" Target="../tags/tag11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85.xml"/></Relationships>
</file>

<file path=ppt/slides/_rels/slide86.xml.rels><?xml version='1.0' encoding='UTF-8' standalone='yes'?>
<Relationships xmlns="http://schemas.openxmlformats.org/package/2006/relationships"><Relationship Id="rId1" Type="http://schemas.openxmlformats.org/officeDocument/2006/relationships/tags" Target="../tags/tag11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86.xml"/></Relationships>
</file>

<file path=ppt/slides/_rels/slide87.xml.rels><?xml version='1.0' encoding='UTF-8' standalone='yes'?>
<Relationships xmlns="http://schemas.openxmlformats.org/package/2006/relationships"><Relationship Id="rId1" Type="http://schemas.openxmlformats.org/officeDocument/2006/relationships/tags" Target="../tags/tag11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87.xml"/></Relationships>
</file>

<file path=ppt/slides/_rels/slide88.xml.rels><?xml version='1.0' encoding='UTF-8' standalone='yes'?>
<Relationships xmlns="http://schemas.openxmlformats.org/package/2006/relationships"><Relationship Id="rId1" Type="http://schemas.openxmlformats.org/officeDocument/2006/relationships/tags" Target="../tags/tag11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88.xml"/></Relationships>
</file>

<file path=ppt/slides/_rels/slide89.xml.rels><?xml version='1.0' encoding='UTF-8' standalone='yes'?>
<Relationships xmlns="http://schemas.openxmlformats.org/package/2006/relationships"><Relationship Id="rId1" Type="http://schemas.openxmlformats.org/officeDocument/2006/relationships/tags" Target="../tags/tag11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89.xml"/></Relationships>
</file>

<file path=ppt/slides/_rels/slide9.xml.rels><?xml version='1.0' encoding='UTF-8' standalone='yes'?>
<Relationships xmlns="http://schemas.openxmlformats.org/package/2006/relationships"><Relationship Id="rId1" Type="http://schemas.openxmlformats.org/officeDocument/2006/relationships/tags" Target="../tags/tag3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9.xml"/></Relationships>
</file>

<file path=ppt/slides/_rels/slide90.xml.rels><?xml version='1.0' encoding='UTF-8' standalone='yes'?>
<Relationships xmlns="http://schemas.openxmlformats.org/package/2006/relationships"><Relationship Id="rId1" Type="http://schemas.openxmlformats.org/officeDocument/2006/relationships/tags" Target="../tags/tag11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90.xml"/></Relationships>
</file>

<file path=ppt/slides/_rels/slide91.xml.rels><?xml version='1.0' encoding='UTF-8' standalone='yes'?>
<Relationships xmlns="http://schemas.openxmlformats.org/package/2006/relationships"><Relationship Id="rId1" Type="http://schemas.openxmlformats.org/officeDocument/2006/relationships/tags" Target="../tags/tag11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91.xml"/></Relationships>
</file>

<file path=ppt/slides/_rels/slide92.xml.rels><?xml version='1.0' encoding='UTF-8' standalone='yes'?>
<Relationships xmlns="http://schemas.openxmlformats.org/package/2006/relationships"><Relationship Id="rId1" Type="http://schemas.openxmlformats.org/officeDocument/2006/relationships/tags" Target="../tags/tag11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92.xml"/></Relationships>
</file>

<file path=ppt/slides/_rels/slide93.xml.rels><?xml version='1.0' encoding='UTF-8' standalone='yes'?>
<Relationships xmlns="http://schemas.openxmlformats.org/package/2006/relationships"><Relationship Id="rId1" Type="http://schemas.openxmlformats.org/officeDocument/2006/relationships/tags" Target="../tags/tag12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93.xml"/></Relationships>
</file>

<file path=ppt/slides/_rels/slide94.xml.rels><?xml version='1.0' encoding='UTF-8' standalone='yes'?>
<Relationships xmlns="http://schemas.openxmlformats.org/package/2006/relationships"><Relationship Id="rId1" Type="http://schemas.openxmlformats.org/officeDocument/2006/relationships/tags" Target="../tags/tag12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94.xml"/></Relationships>
</file>

<file path=ppt/slides/_rels/slide95.xml.rels><?xml version='1.0' encoding='UTF-8' standalone='yes'?>
<Relationships xmlns="http://schemas.openxmlformats.org/package/2006/relationships"><Relationship Id="rId1" Type="http://schemas.openxmlformats.org/officeDocument/2006/relationships/tags" Target="../tags/tag12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95.xml"/></Relationships>
</file>

<file path=ppt/slides/_rels/slide96.xml.rels><?xml version='1.0' encoding='UTF-8' standalone='yes'?>
<Relationships xmlns="http://schemas.openxmlformats.org/package/2006/relationships"><Relationship Id="rId1" Type="http://schemas.openxmlformats.org/officeDocument/2006/relationships/tags" Target="../tags/tag12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96.xml"/></Relationships>
</file>

<file path=ppt/slides/_rels/slide97.xml.rels><?xml version='1.0' encoding='UTF-8' standalone='yes'?>
<Relationships xmlns="http://schemas.openxmlformats.org/package/2006/relationships"><Relationship Id="rId1" Type="http://schemas.openxmlformats.org/officeDocument/2006/relationships/tags" Target="../tags/tag12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97.xml"/></Relationships>
</file>

<file path=ppt/slides/_rels/slide98.xml.rels><?xml version='1.0' encoding='UTF-8' standalone='yes'?>
<Relationships xmlns="http://schemas.openxmlformats.org/package/2006/relationships"><Relationship Id="rId1" Type="http://schemas.openxmlformats.org/officeDocument/2006/relationships/tags" Target="../tags/tag12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98.xml"/></Relationships>
</file>

<file path=ppt/slides/_rels/slide99.xml.rels><?xml version='1.0' encoding='UTF-8' standalone='yes'?>
<Relationships xmlns="http://schemas.openxmlformats.org/package/2006/relationships"><Relationship Id="rId1" Type="http://schemas.openxmlformats.org/officeDocument/2006/relationships/tags" Target="../tags/tag12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9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9/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Total Fromage | Carrefour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a:t>
            </a:fld>
            <a:endParaRPr lang="en-US"/>
          </a:p>
        </p:txBody>
      </p:sp>
    </p:spTree>
    <p:extLst>
      <p:ext uri="{BB962C8B-B14F-4D97-AF65-F5344CB8AC3E}">
        <p14:creationId xmlns:p14="http://schemas.microsoft.com/office/powerpoint/2010/main" val="54191552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9/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Soft Cheese | Intermarche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0</a:t>
            </a:fld>
            <a:endParaRPr lang="en-US"/>
          </a:p>
        </p:txBody>
      </p:sp>
    </p:spTree>
    <p:extLst>
      <p:ext uri="{BB962C8B-B14F-4D97-AF65-F5344CB8AC3E}">
        <p14:creationId xmlns:p14="http://schemas.microsoft.com/office/powerpoint/2010/main" val="629219711"/>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9/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July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Frais A Tartiner | Carrefour Supermarket + Drive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23</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12</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4</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100</a:t>
            </a:fld>
            <a:endParaRPr lang="en-US"/>
          </a:p>
        </p:txBody>
      </p:sp>
    </p:spTree>
    <p:extLst>
      <p:ext uri="{BB962C8B-B14F-4D97-AF65-F5344CB8AC3E}">
        <p14:creationId xmlns:p14="http://schemas.microsoft.com/office/powerpoint/2010/main" val="2941534303"/>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9/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July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Frais A Tartiner | Carrefour Proximite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13</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5</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101</a:t>
            </a:fld>
            <a:endParaRPr lang="en-US"/>
          </a:p>
        </p:txBody>
      </p:sp>
    </p:spTree>
    <p:extLst>
      <p:ext uri="{BB962C8B-B14F-4D97-AF65-F5344CB8AC3E}">
        <p14:creationId xmlns:p14="http://schemas.microsoft.com/office/powerpoint/2010/main" val="1262642642"/>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9/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July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Frais A Tartiner | Intermarche Super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24</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11</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4</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102</a:t>
            </a:fld>
            <a:endParaRPr lang="en-US"/>
          </a:p>
        </p:txBody>
      </p:sp>
    </p:spTree>
    <p:extLst>
      <p:ext uri="{BB962C8B-B14F-4D97-AF65-F5344CB8AC3E}">
        <p14:creationId xmlns:p14="http://schemas.microsoft.com/office/powerpoint/2010/main" val="147835670"/>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9/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July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Frais A Tartiner | Intermarche Hyper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27</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11</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4</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103</a:t>
            </a:fld>
            <a:endParaRPr lang="en-US"/>
          </a:p>
        </p:txBody>
      </p:sp>
    </p:spTree>
    <p:extLst>
      <p:ext uri="{BB962C8B-B14F-4D97-AF65-F5344CB8AC3E}">
        <p14:creationId xmlns:p14="http://schemas.microsoft.com/office/powerpoint/2010/main" val="3554580283"/>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9/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July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Frais A Tartiner | Intermarche Proxi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22</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10</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3</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104</a:t>
            </a:fld>
            <a:endParaRPr lang="en-US"/>
          </a:p>
        </p:txBody>
      </p:sp>
    </p:spTree>
    <p:extLst>
      <p:ext uri="{BB962C8B-B14F-4D97-AF65-F5344CB8AC3E}">
        <p14:creationId xmlns:p14="http://schemas.microsoft.com/office/powerpoint/2010/main" val="3495737218"/>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9/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July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Salade | Carrefour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33</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8</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105</a:t>
            </a:fld>
            <a:endParaRPr lang="en-US"/>
          </a:p>
        </p:txBody>
      </p:sp>
    </p:spTree>
    <p:extLst>
      <p:ext uri="{BB962C8B-B14F-4D97-AF65-F5344CB8AC3E}">
        <p14:creationId xmlns:p14="http://schemas.microsoft.com/office/powerpoint/2010/main" val="2373957103"/>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9/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July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Salade | Intermarche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24</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10</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3</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106</a:t>
            </a:fld>
            <a:endParaRPr lang="en-US"/>
          </a:p>
        </p:txBody>
      </p:sp>
    </p:spTree>
    <p:extLst>
      <p:ext uri="{BB962C8B-B14F-4D97-AF65-F5344CB8AC3E}">
        <p14:creationId xmlns:p14="http://schemas.microsoft.com/office/powerpoint/2010/main" val="1356408285"/>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9/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July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Salade | Carrefour Hyper + Drive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42</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12</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107</a:t>
            </a:fld>
            <a:endParaRPr lang="en-US"/>
          </a:p>
        </p:txBody>
      </p:sp>
    </p:spTree>
    <p:extLst>
      <p:ext uri="{BB962C8B-B14F-4D97-AF65-F5344CB8AC3E}">
        <p14:creationId xmlns:p14="http://schemas.microsoft.com/office/powerpoint/2010/main" val="2532979544"/>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9/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July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Salade | Carrefour Supermarket + Drive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33</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9</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108</a:t>
            </a:fld>
            <a:endParaRPr lang="en-US"/>
          </a:p>
        </p:txBody>
      </p:sp>
    </p:spTree>
    <p:extLst>
      <p:ext uri="{BB962C8B-B14F-4D97-AF65-F5344CB8AC3E}">
        <p14:creationId xmlns:p14="http://schemas.microsoft.com/office/powerpoint/2010/main" val="1035126208"/>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9/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July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Salade | Carrefour Proximite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10</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2</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109</a:t>
            </a:fld>
            <a:endParaRPr lang="en-US"/>
          </a:p>
        </p:txBody>
      </p:sp>
    </p:spTree>
    <p:extLst>
      <p:ext uri="{BB962C8B-B14F-4D97-AF65-F5344CB8AC3E}">
        <p14:creationId xmlns:p14="http://schemas.microsoft.com/office/powerpoint/2010/main" val="198992337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9/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Soft Cheese | Carrefour Hyper + Drive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1</a:t>
            </a:fld>
            <a:endParaRPr lang="en-US"/>
          </a:p>
        </p:txBody>
      </p:sp>
    </p:spTree>
    <p:extLst>
      <p:ext uri="{BB962C8B-B14F-4D97-AF65-F5344CB8AC3E}">
        <p14:creationId xmlns:p14="http://schemas.microsoft.com/office/powerpoint/2010/main" val="1274215170"/>
      </p:ext>
    </p:extLst>
  </p:cSld>
  <p:clrMapOvr>
    <a:masterClrMapping/>
  </p:clrMapOvr>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9/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July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Salade | Intermarche Super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24</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10</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3</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110</a:t>
            </a:fld>
            <a:endParaRPr lang="en-US"/>
          </a:p>
        </p:txBody>
      </p:sp>
    </p:spTree>
    <p:extLst>
      <p:ext uri="{BB962C8B-B14F-4D97-AF65-F5344CB8AC3E}">
        <p14:creationId xmlns:p14="http://schemas.microsoft.com/office/powerpoint/2010/main" val="3797459260"/>
      </p:ext>
    </p:extLst>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9/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July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Salade | Intermarche Hyper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28</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11</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3</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111</a:t>
            </a:fld>
            <a:endParaRPr lang="en-US"/>
          </a:p>
        </p:txBody>
      </p:sp>
    </p:spTree>
    <p:extLst>
      <p:ext uri="{BB962C8B-B14F-4D97-AF65-F5344CB8AC3E}">
        <p14:creationId xmlns:p14="http://schemas.microsoft.com/office/powerpoint/2010/main" val="2201486761"/>
      </p:ext>
    </p:extLst>
  </p:cSld>
  <p:clrMapOvr>
    <a:masterClrMapping/>
  </p:clrMapOvr>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9/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July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Salade | Intermarche Proxi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20</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7</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112</a:t>
            </a:fld>
            <a:endParaRPr lang="en-US"/>
          </a:p>
        </p:txBody>
      </p:sp>
    </p:spTree>
    <p:extLst>
      <p:ext uri="{BB962C8B-B14F-4D97-AF65-F5344CB8AC3E}">
        <p14:creationId xmlns:p14="http://schemas.microsoft.com/office/powerpoint/2010/main" val="371638984"/>
      </p:ext>
    </p:extLst>
  </p:cSld>
  <p:clrMapOvr>
    <a:masterClrMapping/>
  </p:clrMapOvr>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Total Fromage | Bel | Carrefour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13</a:t>
            </a:fld>
            <a:endParaRPr lang="en-US"/>
          </a:p>
        </p:txBody>
      </p:sp>
    </p:spTree>
    <p:extLst>
      <p:ext uri="{BB962C8B-B14F-4D97-AF65-F5344CB8AC3E}">
        <p14:creationId xmlns:p14="http://schemas.microsoft.com/office/powerpoint/2010/main" val="1959154821"/>
      </p:ext>
    </p:extLst>
  </p:cSld>
  <p:clrMapOvr>
    <a:masterClrMapping/>
  </p:clrMapOvr>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Total Fromage | Bel | Intermarche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14</a:t>
            </a:fld>
            <a:endParaRPr lang="en-US"/>
          </a:p>
        </p:txBody>
      </p:sp>
    </p:spTree>
    <p:extLst>
      <p:ext uri="{BB962C8B-B14F-4D97-AF65-F5344CB8AC3E}">
        <p14:creationId xmlns:p14="http://schemas.microsoft.com/office/powerpoint/2010/main" val="3083245588"/>
      </p:ext>
    </p:extLst>
  </p:cSld>
  <p:clrMapOvr>
    <a:masterClrMapping/>
  </p:clrMapOvr>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Total Fromage | Bel | Carrefour Hyper + Drive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15</a:t>
            </a:fld>
            <a:endParaRPr lang="en-US"/>
          </a:p>
        </p:txBody>
      </p:sp>
    </p:spTree>
    <p:extLst>
      <p:ext uri="{BB962C8B-B14F-4D97-AF65-F5344CB8AC3E}">
        <p14:creationId xmlns:p14="http://schemas.microsoft.com/office/powerpoint/2010/main" val="3994166276"/>
      </p:ext>
    </p:extLst>
  </p:cSld>
  <p:clrMapOvr>
    <a:masterClrMapping/>
  </p:clrMapOvr>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Total Fromage | Bel | Carrefour Supermarket + Drive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16</a:t>
            </a:fld>
            <a:endParaRPr lang="en-US"/>
          </a:p>
        </p:txBody>
      </p:sp>
    </p:spTree>
    <p:extLst>
      <p:ext uri="{BB962C8B-B14F-4D97-AF65-F5344CB8AC3E}">
        <p14:creationId xmlns:p14="http://schemas.microsoft.com/office/powerpoint/2010/main" val="1001228242"/>
      </p:ext>
    </p:extLst>
  </p:cSld>
  <p:clrMapOvr>
    <a:masterClrMapping/>
  </p:clrMapOvr>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Total Fromage | Bel | Carrefour Proximite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17</a:t>
            </a:fld>
            <a:endParaRPr lang="en-US"/>
          </a:p>
        </p:txBody>
      </p:sp>
    </p:spTree>
    <p:extLst>
      <p:ext uri="{BB962C8B-B14F-4D97-AF65-F5344CB8AC3E}">
        <p14:creationId xmlns:p14="http://schemas.microsoft.com/office/powerpoint/2010/main" val="647376516"/>
      </p:ext>
    </p:extLst>
  </p:cSld>
  <p:clrMapOvr>
    <a:masterClrMapping/>
  </p:clrMapOvr>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Total Fromage | Bel | Intermarche Super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18</a:t>
            </a:fld>
            <a:endParaRPr lang="en-US"/>
          </a:p>
        </p:txBody>
      </p:sp>
    </p:spTree>
    <p:extLst>
      <p:ext uri="{BB962C8B-B14F-4D97-AF65-F5344CB8AC3E}">
        <p14:creationId xmlns:p14="http://schemas.microsoft.com/office/powerpoint/2010/main" val="1119121997"/>
      </p:ext>
    </p:extLst>
  </p:cSld>
  <p:clrMapOvr>
    <a:masterClrMapping/>
  </p:clrMapOvr>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Total Fromage | Bel | Intermarche Hyper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19</a:t>
            </a:fld>
            <a:endParaRPr lang="en-US"/>
          </a:p>
        </p:txBody>
      </p:sp>
    </p:spTree>
    <p:extLst>
      <p:ext uri="{BB962C8B-B14F-4D97-AF65-F5344CB8AC3E}">
        <p14:creationId xmlns:p14="http://schemas.microsoft.com/office/powerpoint/2010/main" val="281469257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9/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Soft Cheese | Carrefour Supermarket + Drive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2</a:t>
            </a:fld>
            <a:endParaRPr lang="en-US"/>
          </a:p>
        </p:txBody>
      </p:sp>
    </p:spTree>
    <p:extLst>
      <p:ext uri="{BB962C8B-B14F-4D97-AF65-F5344CB8AC3E}">
        <p14:creationId xmlns:p14="http://schemas.microsoft.com/office/powerpoint/2010/main" val="4279154207"/>
      </p:ext>
    </p:extLst>
  </p:cSld>
  <p:clrMapOvr>
    <a:masterClrMapping/>
  </p:clrMapOvr>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Total Fromage | Bel | Intermarche Proxi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20</a:t>
            </a:fld>
            <a:endParaRPr lang="en-US"/>
          </a:p>
        </p:txBody>
      </p:sp>
    </p:spTree>
    <p:extLst>
      <p:ext uri="{BB962C8B-B14F-4D97-AF65-F5344CB8AC3E}">
        <p14:creationId xmlns:p14="http://schemas.microsoft.com/office/powerpoint/2010/main" val="2193713383"/>
      </p:ext>
    </p:extLst>
  </p:cSld>
  <p:clrMapOvr>
    <a:masterClrMapping/>
  </p:clrMapOvr>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Soft Cheese | Bel | Carrefour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21</a:t>
            </a:fld>
            <a:endParaRPr lang="en-US"/>
          </a:p>
        </p:txBody>
      </p:sp>
    </p:spTree>
    <p:extLst>
      <p:ext uri="{BB962C8B-B14F-4D97-AF65-F5344CB8AC3E}">
        <p14:creationId xmlns:p14="http://schemas.microsoft.com/office/powerpoint/2010/main" val="1574980608"/>
      </p:ext>
    </p:extLst>
  </p:cSld>
  <p:clrMapOvr>
    <a:masterClrMapping/>
  </p:clrMapOvr>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Soft Cheese | Bel | Intermarche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22</a:t>
            </a:fld>
            <a:endParaRPr lang="en-US"/>
          </a:p>
        </p:txBody>
      </p:sp>
    </p:spTree>
    <p:extLst>
      <p:ext uri="{BB962C8B-B14F-4D97-AF65-F5344CB8AC3E}">
        <p14:creationId xmlns:p14="http://schemas.microsoft.com/office/powerpoint/2010/main" val="825923555"/>
      </p:ext>
    </p:extLst>
  </p:cSld>
  <p:clrMapOvr>
    <a:masterClrMapping/>
  </p:clrMapOvr>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Soft Cheese | Bel | Carrefour Hyper + Drive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23</a:t>
            </a:fld>
            <a:endParaRPr lang="en-US"/>
          </a:p>
        </p:txBody>
      </p:sp>
    </p:spTree>
    <p:extLst>
      <p:ext uri="{BB962C8B-B14F-4D97-AF65-F5344CB8AC3E}">
        <p14:creationId xmlns:p14="http://schemas.microsoft.com/office/powerpoint/2010/main" val="1272447467"/>
      </p:ext>
    </p:extLst>
  </p:cSld>
  <p:clrMapOvr>
    <a:masterClrMapping/>
  </p:clrMapOvr>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Soft Cheese | Bel | Carrefour Supermarket + Drive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24</a:t>
            </a:fld>
            <a:endParaRPr lang="en-US"/>
          </a:p>
        </p:txBody>
      </p:sp>
    </p:spTree>
    <p:extLst>
      <p:ext uri="{BB962C8B-B14F-4D97-AF65-F5344CB8AC3E}">
        <p14:creationId xmlns:p14="http://schemas.microsoft.com/office/powerpoint/2010/main" val="3891320092"/>
      </p:ext>
    </p:extLst>
  </p:cSld>
  <p:clrMapOvr>
    <a:masterClrMapping/>
  </p:clrMapOvr>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Soft Cheese | Bel | Carrefour Proximite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25</a:t>
            </a:fld>
            <a:endParaRPr lang="en-US"/>
          </a:p>
        </p:txBody>
      </p:sp>
    </p:spTree>
    <p:extLst>
      <p:ext uri="{BB962C8B-B14F-4D97-AF65-F5344CB8AC3E}">
        <p14:creationId xmlns:p14="http://schemas.microsoft.com/office/powerpoint/2010/main" val="3426669214"/>
      </p:ext>
    </p:extLst>
  </p:cSld>
  <p:clrMapOvr>
    <a:masterClrMapping/>
  </p:clrMapOvr>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Soft Cheese | Bel | Intermarche Super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26</a:t>
            </a:fld>
            <a:endParaRPr lang="en-US"/>
          </a:p>
        </p:txBody>
      </p:sp>
    </p:spTree>
    <p:extLst>
      <p:ext uri="{BB962C8B-B14F-4D97-AF65-F5344CB8AC3E}">
        <p14:creationId xmlns:p14="http://schemas.microsoft.com/office/powerpoint/2010/main" val="1532315737"/>
      </p:ext>
    </p:extLst>
  </p:cSld>
  <p:clrMapOvr>
    <a:masterClrMapping/>
  </p:clrMapOvr>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Soft Cheese | Bel | Intermarche Hyper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27</a:t>
            </a:fld>
            <a:endParaRPr lang="en-US"/>
          </a:p>
        </p:txBody>
      </p:sp>
    </p:spTree>
    <p:extLst>
      <p:ext uri="{BB962C8B-B14F-4D97-AF65-F5344CB8AC3E}">
        <p14:creationId xmlns:p14="http://schemas.microsoft.com/office/powerpoint/2010/main" val="110039009"/>
      </p:ext>
    </p:extLst>
  </p:cSld>
  <p:clrMapOvr>
    <a:masterClrMapping/>
  </p:clrMapOvr>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Soft Cheese | Bel | Intermarche Proxi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28</a:t>
            </a:fld>
            <a:endParaRPr lang="en-US"/>
          </a:p>
        </p:txBody>
      </p:sp>
    </p:spTree>
    <p:extLst>
      <p:ext uri="{BB962C8B-B14F-4D97-AF65-F5344CB8AC3E}">
        <p14:creationId xmlns:p14="http://schemas.microsoft.com/office/powerpoint/2010/main" val="1111292966"/>
      </p:ext>
    </p:extLst>
  </p:cSld>
  <p:clrMapOvr>
    <a:masterClrMapping/>
  </p:clrMapOvr>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Aperitif | Bel | Carrefour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29</a:t>
            </a:fld>
            <a:endParaRPr lang="en-US"/>
          </a:p>
        </p:txBody>
      </p:sp>
    </p:spTree>
    <p:extLst>
      <p:ext uri="{BB962C8B-B14F-4D97-AF65-F5344CB8AC3E}">
        <p14:creationId xmlns:p14="http://schemas.microsoft.com/office/powerpoint/2010/main" val="273487964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9/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Soft Cheese | Carrefour Proximite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3</a:t>
            </a:fld>
            <a:endParaRPr lang="en-US"/>
          </a:p>
        </p:txBody>
      </p:sp>
    </p:spTree>
    <p:extLst>
      <p:ext uri="{BB962C8B-B14F-4D97-AF65-F5344CB8AC3E}">
        <p14:creationId xmlns:p14="http://schemas.microsoft.com/office/powerpoint/2010/main" val="1109773981"/>
      </p:ext>
    </p:extLst>
  </p:cSld>
  <p:clrMapOvr>
    <a:masterClrMapping/>
  </p:clrMapOvr>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Aperitif | Bel | Intermarche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30</a:t>
            </a:fld>
            <a:endParaRPr lang="en-US"/>
          </a:p>
        </p:txBody>
      </p:sp>
    </p:spTree>
    <p:extLst>
      <p:ext uri="{BB962C8B-B14F-4D97-AF65-F5344CB8AC3E}">
        <p14:creationId xmlns:p14="http://schemas.microsoft.com/office/powerpoint/2010/main" val="3354077661"/>
      </p:ext>
    </p:extLst>
  </p:cSld>
  <p:clrMapOvr>
    <a:masterClrMapping/>
  </p:clrMapOvr>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Aperitif | Bel | Carrefour Hyper + Drive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31</a:t>
            </a:fld>
            <a:endParaRPr lang="en-US"/>
          </a:p>
        </p:txBody>
      </p:sp>
    </p:spTree>
    <p:extLst>
      <p:ext uri="{BB962C8B-B14F-4D97-AF65-F5344CB8AC3E}">
        <p14:creationId xmlns:p14="http://schemas.microsoft.com/office/powerpoint/2010/main" val="3603317131"/>
      </p:ext>
    </p:extLst>
  </p:cSld>
  <p:clrMapOvr>
    <a:masterClrMapping/>
  </p:clrMapOvr>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Aperitif | Bel | Carrefour Supermarket + Drive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32</a:t>
            </a:fld>
            <a:endParaRPr lang="en-US"/>
          </a:p>
        </p:txBody>
      </p:sp>
    </p:spTree>
    <p:extLst>
      <p:ext uri="{BB962C8B-B14F-4D97-AF65-F5344CB8AC3E}">
        <p14:creationId xmlns:p14="http://schemas.microsoft.com/office/powerpoint/2010/main" val="526798779"/>
      </p:ext>
    </p:extLst>
  </p:cSld>
  <p:clrMapOvr>
    <a:masterClrMapping/>
  </p:clrMapOvr>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Aperitif | Bel | Carrefour Proximite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33</a:t>
            </a:fld>
            <a:endParaRPr lang="en-US"/>
          </a:p>
        </p:txBody>
      </p:sp>
    </p:spTree>
    <p:extLst>
      <p:ext uri="{BB962C8B-B14F-4D97-AF65-F5344CB8AC3E}">
        <p14:creationId xmlns:p14="http://schemas.microsoft.com/office/powerpoint/2010/main" val="3059309154"/>
      </p:ext>
    </p:extLst>
  </p:cSld>
  <p:clrMapOvr>
    <a:masterClrMapping/>
  </p:clrMapOvr>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Aperitif | Bel | Intermarche Super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34</a:t>
            </a:fld>
            <a:endParaRPr lang="en-US"/>
          </a:p>
        </p:txBody>
      </p:sp>
    </p:spTree>
    <p:extLst>
      <p:ext uri="{BB962C8B-B14F-4D97-AF65-F5344CB8AC3E}">
        <p14:creationId xmlns:p14="http://schemas.microsoft.com/office/powerpoint/2010/main" val="2644231417"/>
      </p:ext>
    </p:extLst>
  </p:cSld>
  <p:clrMapOvr>
    <a:masterClrMapping/>
  </p:clrMapOvr>
</p:sld>
</file>

<file path=ppt/slides/slide1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Aperitif | Bel | Intermarche Hyper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35</a:t>
            </a:fld>
            <a:endParaRPr lang="en-US"/>
          </a:p>
        </p:txBody>
      </p:sp>
    </p:spTree>
    <p:extLst>
      <p:ext uri="{BB962C8B-B14F-4D97-AF65-F5344CB8AC3E}">
        <p14:creationId xmlns:p14="http://schemas.microsoft.com/office/powerpoint/2010/main" val="1142756711"/>
      </p:ext>
    </p:extLst>
  </p:cSld>
  <p:clrMapOvr>
    <a:masterClrMapping/>
  </p:clrMapOvr>
</p:sld>
</file>

<file path=ppt/slides/slide1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Aperitif | Bel | Intermarche Proxi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36</a:t>
            </a:fld>
            <a:endParaRPr lang="en-US"/>
          </a:p>
        </p:txBody>
      </p:sp>
    </p:spTree>
    <p:extLst>
      <p:ext uri="{BB962C8B-B14F-4D97-AF65-F5344CB8AC3E}">
        <p14:creationId xmlns:p14="http://schemas.microsoft.com/office/powerpoint/2010/main" val="2263644351"/>
      </p:ext>
    </p:extLst>
  </p:cSld>
  <p:clrMapOvr>
    <a:masterClrMapping/>
  </p:clrMapOvr>
</p:sld>
</file>

<file path=ppt/slides/slide1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Ingredient A Chaud | Bel | Carrefour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37</a:t>
            </a:fld>
            <a:endParaRPr lang="en-US"/>
          </a:p>
        </p:txBody>
      </p:sp>
    </p:spTree>
    <p:extLst>
      <p:ext uri="{BB962C8B-B14F-4D97-AF65-F5344CB8AC3E}">
        <p14:creationId xmlns:p14="http://schemas.microsoft.com/office/powerpoint/2010/main" val="1335897800"/>
      </p:ext>
    </p:extLst>
  </p:cSld>
  <p:clrMapOvr>
    <a:masterClrMapping/>
  </p:clrMapOvr>
</p:sld>
</file>

<file path=ppt/slides/slide1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Ingredient A Chaud | Bel | Intermarche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38</a:t>
            </a:fld>
            <a:endParaRPr lang="en-US"/>
          </a:p>
        </p:txBody>
      </p:sp>
    </p:spTree>
    <p:extLst>
      <p:ext uri="{BB962C8B-B14F-4D97-AF65-F5344CB8AC3E}">
        <p14:creationId xmlns:p14="http://schemas.microsoft.com/office/powerpoint/2010/main" val="4027213346"/>
      </p:ext>
    </p:extLst>
  </p:cSld>
  <p:clrMapOvr>
    <a:masterClrMapping/>
  </p:clrMapOvr>
</p:sld>
</file>

<file path=ppt/slides/slide1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Ingredient A Chaud | Bel | Carrefour Hyper + Drive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39</a:t>
            </a:fld>
            <a:endParaRPr lang="en-US"/>
          </a:p>
        </p:txBody>
      </p:sp>
    </p:spTree>
    <p:extLst>
      <p:ext uri="{BB962C8B-B14F-4D97-AF65-F5344CB8AC3E}">
        <p14:creationId xmlns:p14="http://schemas.microsoft.com/office/powerpoint/2010/main" val="27361961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9/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Soft Cheese | Intermarche Super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4</a:t>
            </a:fld>
            <a:endParaRPr lang="en-US"/>
          </a:p>
        </p:txBody>
      </p:sp>
    </p:spTree>
    <p:extLst>
      <p:ext uri="{BB962C8B-B14F-4D97-AF65-F5344CB8AC3E}">
        <p14:creationId xmlns:p14="http://schemas.microsoft.com/office/powerpoint/2010/main" val="2385155036"/>
      </p:ext>
    </p:extLst>
  </p:cSld>
  <p:clrMapOvr>
    <a:masterClrMapping/>
  </p:clrMapOvr>
</p:sld>
</file>

<file path=ppt/slides/slide1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Ingredient A Chaud | Bel | Carrefour Supermarket + Drive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40</a:t>
            </a:fld>
            <a:endParaRPr lang="en-US"/>
          </a:p>
        </p:txBody>
      </p:sp>
    </p:spTree>
    <p:extLst>
      <p:ext uri="{BB962C8B-B14F-4D97-AF65-F5344CB8AC3E}">
        <p14:creationId xmlns:p14="http://schemas.microsoft.com/office/powerpoint/2010/main" val="3628637257"/>
      </p:ext>
    </p:extLst>
  </p:cSld>
  <p:clrMapOvr>
    <a:masterClrMapping/>
  </p:clrMapOvr>
</p:sld>
</file>

<file path=ppt/slides/slide1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Ingredient A Chaud | Bel | Carrefour Proximite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41</a:t>
            </a:fld>
            <a:endParaRPr lang="en-US"/>
          </a:p>
        </p:txBody>
      </p:sp>
    </p:spTree>
    <p:extLst>
      <p:ext uri="{BB962C8B-B14F-4D97-AF65-F5344CB8AC3E}">
        <p14:creationId xmlns:p14="http://schemas.microsoft.com/office/powerpoint/2010/main" val="2585142920"/>
      </p:ext>
    </p:extLst>
  </p:cSld>
  <p:clrMapOvr>
    <a:masterClrMapping/>
  </p:clrMapOvr>
</p:sld>
</file>

<file path=ppt/slides/slide1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Ingredient A Chaud | Bel | Intermarche Super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42</a:t>
            </a:fld>
            <a:endParaRPr lang="en-US"/>
          </a:p>
        </p:txBody>
      </p:sp>
    </p:spTree>
    <p:extLst>
      <p:ext uri="{BB962C8B-B14F-4D97-AF65-F5344CB8AC3E}">
        <p14:creationId xmlns:p14="http://schemas.microsoft.com/office/powerpoint/2010/main" val="2817169635"/>
      </p:ext>
    </p:extLst>
  </p:cSld>
  <p:clrMapOvr>
    <a:masterClrMapping/>
  </p:clrMapOvr>
</p:sld>
</file>

<file path=ppt/slides/slide1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Ingredient A Chaud | Bel | Intermarche Hyper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43</a:t>
            </a:fld>
            <a:endParaRPr lang="en-US"/>
          </a:p>
        </p:txBody>
      </p:sp>
    </p:spTree>
    <p:extLst>
      <p:ext uri="{BB962C8B-B14F-4D97-AF65-F5344CB8AC3E}">
        <p14:creationId xmlns:p14="http://schemas.microsoft.com/office/powerpoint/2010/main" val="2683269203"/>
      </p:ext>
    </p:extLst>
  </p:cSld>
  <p:clrMapOvr>
    <a:masterClrMapping/>
  </p:clrMapOvr>
</p:sld>
</file>

<file path=ppt/slides/slide1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Ingredient A Chaud | Bel | Intermarche Proxi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44</a:t>
            </a:fld>
            <a:endParaRPr lang="en-US"/>
          </a:p>
        </p:txBody>
      </p:sp>
    </p:spTree>
    <p:extLst>
      <p:ext uri="{BB962C8B-B14F-4D97-AF65-F5344CB8AC3E}">
        <p14:creationId xmlns:p14="http://schemas.microsoft.com/office/powerpoint/2010/main" val="3581342201"/>
      </p:ext>
    </p:extLst>
  </p:cSld>
  <p:clrMapOvr>
    <a:masterClrMapping/>
  </p:clrMapOvr>
</p:sld>
</file>

<file path=ppt/slides/slide1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Enfant | Bel | Carrefour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45</a:t>
            </a:fld>
            <a:endParaRPr lang="en-US"/>
          </a:p>
        </p:txBody>
      </p:sp>
    </p:spTree>
    <p:extLst>
      <p:ext uri="{BB962C8B-B14F-4D97-AF65-F5344CB8AC3E}">
        <p14:creationId xmlns:p14="http://schemas.microsoft.com/office/powerpoint/2010/main" val="505229856"/>
      </p:ext>
    </p:extLst>
  </p:cSld>
  <p:clrMapOvr>
    <a:masterClrMapping/>
  </p:clrMapOvr>
</p:sld>
</file>

<file path=ppt/slides/slide1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Enfant | Bel | Intermarche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46</a:t>
            </a:fld>
            <a:endParaRPr lang="en-US"/>
          </a:p>
        </p:txBody>
      </p:sp>
    </p:spTree>
    <p:extLst>
      <p:ext uri="{BB962C8B-B14F-4D97-AF65-F5344CB8AC3E}">
        <p14:creationId xmlns:p14="http://schemas.microsoft.com/office/powerpoint/2010/main" val="3144077680"/>
      </p:ext>
    </p:extLst>
  </p:cSld>
  <p:clrMapOvr>
    <a:masterClrMapping/>
  </p:clrMapOvr>
</p:sld>
</file>

<file path=ppt/slides/slide1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Enfant | Bel | Carrefour Hyper + Drive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47</a:t>
            </a:fld>
            <a:endParaRPr lang="en-US"/>
          </a:p>
        </p:txBody>
      </p:sp>
    </p:spTree>
    <p:extLst>
      <p:ext uri="{BB962C8B-B14F-4D97-AF65-F5344CB8AC3E}">
        <p14:creationId xmlns:p14="http://schemas.microsoft.com/office/powerpoint/2010/main" val="3685944997"/>
      </p:ext>
    </p:extLst>
  </p:cSld>
  <p:clrMapOvr>
    <a:masterClrMapping/>
  </p:clrMapOvr>
</p:sld>
</file>

<file path=ppt/slides/slide1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Enfant | Bel | Carrefour Supermarket + Drive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48</a:t>
            </a:fld>
            <a:endParaRPr lang="en-US"/>
          </a:p>
        </p:txBody>
      </p:sp>
    </p:spTree>
    <p:extLst>
      <p:ext uri="{BB962C8B-B14F-4D97-AF65-F5344CB8AC3E}">
        <p14:creationId xmlns:p14="http://schemas.microsoft.com/office/powerpoint/2010/main" val="3014421747"/>
      </p:ext>
    </p:extLst>
  </p:cSld>
  <p:clrMapOvr>
    <a:masterClrMapping/>
  </p:clrMapOvr>
</p:sld>
</file>

<file path=ppt/slides/slide1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Enfant | Bel | Carrefour Proximite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49</a:t>
            </a:fld>
            <a:endParaRPr lang="en-US"/>
          </a:p>
        </p:txBody>
      </p:sp>
    </p:spTree>
    <p:extLst>
      <p:ext uri="{BB962C8B-B14F-4D97-AF65-F5344CB8AC3E}">
        <p14:creationId xmlns:p14="http://schemas.microsoft.com/office/powerpoint/2010/main" val="66699977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9/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Soft Cheese | Intermarche Hyper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5</a:t>
            </a:fld>
            <a:endParaRPr lang="en-US"/>
          </a:p>
        </p:txBody>
      </p:sp>
    </p:spTree>
    <p:extLst>
      <p:ext uri="{BB962C8B-B14F-4D97-AF65-F5344CB8AC3E}">
        <p14:creationId xmlns:p14="http://schemas.microsoft.com/office/powerpoint/2010/main" val="3970900612"/>
      </p:ext>
    </p:extLst>
  </p:cSld>
  <p:clrMapOvr>
    <a:masterClrMapping/>
  </p:clrMapOvr>
</p:sld>
</file>

<file path=ppt/slides/slide1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Enfant | Bel | Intermarche Super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50</a:t>
            </a:fld>
            <a:endParaRPr lang="en-US"/>
          </a:p>
        </p:txBody>
      </p:sp>
    </p:spTree>
    <p:extLst>
      <p:ext uri="{BB962C8B-B14F-4D97-AF65-F5344CB8AC3E}">
        <p14:creationId xmlns:p14="http://schemas.microsoft.com/office/powerpoint/2010/main" val="3601275029"/>
      </p:ext>
    </p:extLst>
  </p:cSld>
  <p:clrMapOvr>
    <a:masterClrMapping/>
  </p:clrMapOvr>
</p:sld>
</file>

<file path=ppt/slides/slide1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Enfant | Bel | Intermarche Hyper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51</a:t>
            </a:fld>
            <a:endParaRPr lang="en-US"/>
          </a:p>
        </p:txBody>
      </p:sp>
    </p:spTree>
    <p:extLst>
      <p:ext uri="{BB962C8B-B14F-4D97-AF65-F5344CB8AC3E}">
        <p14:creationId xmlns:p14="http://schemas.microsoft.com/office/powerpoint/2010/main" val="2931614135"/>
      </p:ext>
    </p:extLst>
  </p:cSld>
  <p:clrMapOvr>
    <a:masterClrMapping/>
  </p:clrMapOvr>
</p:sld>
</file>

<file path=ppt/slides/slide1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Enfant | Bel | Intermarche Proxi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52</a:t>
            </a:fld>
            <a:endParaRPr lang="en-US"/>
          </a:p>
        </p:txBody>
      </p:sp>
    </p:spTree>
    <p:extLst>
      <p:ext uri="{BB962C8B-B14F-4D97-AF65-F5344CB8AC3E}">
        <p14:creationId xmlns:p14="http://schemas.microsoft.com/office/powerpoint/2010/main" val="4292649733"/>
      </p:ext>
    </p:extLst>
  </p:cSld>
  <p:clrMapOvr>
    <a:masterClrMapping/>
  </p:clrMapOvr>
</p:sld>
</file>

<file path=ppt/slides/slide1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Frais A Tartiner | Bel | Carrefour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53</a:t>
            </a:fld>
            <a:endParaRPr lang="en-US"/>
          </a:p>
        </p:txBody>
      </p:sp>
    </p:spTree>
    <p:extLst>
      <p:ext uri="{BB962C8B-B14F-4D97-AF65-F5344CB8AC3E}">
        <p14:creationId xmlns:p14="http://schemas.microsoft.com/office/powerpoint/2010/main" val="3560745793"/>
      </p:ext>
    </p:extLst>
  </p:cSld>
  <p:clrMapOvr>
    <a:masterClrMapping/>
  </p:clrMapOvr>
</p:sld>
</file>

<file path=ppt/slides/slide1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Frais A Tartiner | Bel | Intermarche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54</a:t>
            </a:fld>
            <a:endParaRPr lang="en-US"/>
          </a:p>
        </p:txBody>
      </p:sp>
    </p:spTree>
    <p:extLst>
      <p:ext uri="{BB962C8B-B14F-4D97-AF65-F5344CB8AC3E}">
        <p14:creationId xmlns:p14="http://schemas.microsoft.com/office/powerpoint/2010/main" val="837535348"/>
      </p:ext>
    </p:extLst>
  </p:cSld>
  <p:clrMapOvr>
    <a:masterClrMapping/>
  </p:clrMapOvr>
</p:sld>
</file>

<file path=ppt/slides/slide1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Frais A Tartiner | Bel | Carrefour Hyper + Drive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55</a:t>
            </a:fld>
            <a:endParaRPr lang="en-US"/>
          </a:p>
        </p:txBody>
      </p:sp>
    </p:spTree>
    <p:extLst>
      <p:ext uri="{BB962C8B-B14F-4D97-AF65-F5344CB8AC3E}">
        <p14:creationId xmlns:p14="http://schemas.microsoft.com/office/powerpoint/2010/main" val="2855936210"/>
      </p:ext>
    </p:extLst>
  </p:cSld>
  <p:clrMapOvr>
    <a:masterClrMapping/>
  </p:clrMapOvr>
</p:sld>
</file>

<file path=ppt/slides/slide1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Frais A Tartiner | Bel | Carrefour Supermarket + Drive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56</a:t>
            </a:fld>
            <a:endParaRPr lang="en-US"/>
          </a:p>
        </p:txBody>
      </p:sp>
    </p:spTree>
    <p:extLst>
      <p:ext uri="{BB962C8B-B14F-4D97-AF65-F5344CB8AC3E}">
        <p14:creationId xmlns:p14="http://schemas.microsoft.com/office/powerpoint/2010/main" val="3258976261"/>
      </p:ext>
    </p:extLst>
  </p:cSld>
  <p:clrMapOvr>
    <a:masterClrMapping/>
  </p:clrMapOvr>
</p:sld>
</file>

<file path=ppt/slides/slide1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Frais A Tartiner | Bel | Carrefour Proximite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57</a:t>
            </a:fld>
            <a:endParaRPr lang="en-US"/>
          </a:p>
        </p:txBody>
      </p:sp>
    </p:spTree>
    <p:extLst>
      <p:ext uri="{BB962C8B-B14F-4D97-AF65-F5344CB8AC3E}">
        <p14:creationId xmlns:p14="http://schemas.microsoft.com/office/powerpoint/2010/main" val="69061503"/>
      </p:ext>
    </p:extLst>
  </p:cSld>
  <p:clrMapOvr>
    <a:masterClrMapping/>
  </p:clrMapOvr>
</p:sld>
</file>

<file path=ppt/slides/slide1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Frais A Tartiner | Bel | Intermarche Super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58</a:t>
            </a:fld>
            <a:endParaRPr lang="en-US"/>
          </a:p>
        </p:txBody>
      </p:sp>
    </p:spTree>
    <p:extLst>
      <p:ext uri="{BB962C8B-B14F-4D97-AF65-F5344CB8AC3E}">
        <p14:creationId xmlns:p14="http://schemas.microsoft.com/office/powerpoint/2010/main" val="3781452340"/>
      </p:ext>
    </p:extLst>
  </p:cSld>
  <p:clrMapOvr>
    <a:masterClrMapping/>
  </p:clrMapOvr>
</p:sld>
</file>

<file path=ppt/slides/slide1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Frais A Tartiner | Bel | Intermarche Hyper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59</a:t>
            </a:fld>
            <a:endParaRPr lang="en-US"/>
          </a:p>
        </p:txBody>
      </p:sp>
    </p:spTree>
    <p:extLst>
      <p:ext uri="{BB962C8B-B14F-4D97-AF65-F5344CB8AC3E}">
        <p14:creationId xmlns:p14="http://schemas.microsoft.com/office/powerpoint/2010/main" val="278956071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9/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Soft Cheese | Intermarche Proxi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6</a:t>
            </a:fld>
            <a:endParaRPr lang="en-US"/>
          </a:p>
        </p:txBody>
      </p:sp>
    </p:spTree>
    <p:extLst>
      <p:ext uri="{BB962C8B-B14F-4D97-AF65-F5344CB8AC3E}">
        <p14:creationId xmlns:p14="http://schemas.microsoft.com/office/powerpoint/2010/main" val="837989555"/>
      </p:ext>
    </p:extLst>
  </p:cSld>
  <p:clrMapOvr>
    <a:masterClrMapping/>
  </p:clrMapOvr>
</p:sld>
</file>

<file path=ppt/slides/slide1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Frais A Tartiner | Bel | Intermarche Proxi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60</a:t>
            </a:fld>
            <a:endParaRPr lang="en-US"/>
          </a:p>
        </p:txBody>
      </p:sp>
    </p:spTree>
    <p:extLst>
      <p:ext uri="{BB962C8B-B14F-4D97-AF65-F5344CB8AC3E}">
        <p14:creationId xmlns:p14="http://schemas.microsoft.com/office/powerpoint/2010/main" val="4184837078"/>
      </p:ext>
    </p:extLst>
  </p:cSld>
  <p:clrMapOvr>
    <a:masterClrMapping/>
  </p:clrMapOvr>
</p:sld>
</file>

<file path=ppt/slides/slide1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Salade | Bel | Carrefour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61</a:t>
            </a:fld>
            <a:endParaRPr lang="en-US"/>
          </a:p>
        </p:txBody>
      </p:sp>
    </p:spTree>
    <p:extLst>
      <p:ext uri="{BB962C8B-B14F-4D97-AF65-F5344CB8AC3E}">
        <p14:creationId xmlns:p14="http://schemas.microsoft.com/office/powerpoint/2010/main" val="3461002273"/>
      </p:ext>
    </p:extLst>
  </p:cSld>
  <p:clrMapOvr>
    <a:masterClrMapping/>
  </p:clrMapOvr>
</p:sld>
</file>

<file path=ppt/slides/slide1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Salade | Bel | Intermarche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62</a:t>
            </a:fld>
            <a:endParaRPr lang="en-US"/>
          </a:p>
        </p:txBody>
      </p:sp>
    </p:spTree>
    <p:extLst>
      <p:ext uri="{BB962C8B-B14F-4D97-AF65-F5344CB8AC3E}">
        <p14:creationId xmlns:p14="http://schemas.microsoft.com/office/powerpoint/2010/main" val="638107864"/>
      </p:ext>
    </p:extLst>
  </p:cSld>
  <p:clrMapOvr>
    <a:masterClrMapping/>
  </p:clrMapOvr>
</p:sld>
</file>

<file path=ppt/slides/slide1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Salade | Bel | Carrefour Hyper + Drive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63</a:t>
            </a:fld>
            <a:endParaRPr lang="en-US"/>
          </a:p>
        </p:txBody>
      </p:sp>
    </p:spTree>
    <p:extLst>
      <p:ext uri="{BB962C8B-B14F-4D97-AF65-F5344CB8AC3E}">
        <p14:creationId xmlns:p14="http://schemas.microsoft.com/office/powerpoint/2010/main" val="872153579"/>
      </p:ext>
    </p:extLst>
  </p:cSld>
  <p:clrMapOvr>
    <a:masterClrMapping/>
  </p:clrMapOvr>
</p:sld>
</file>

<file path=ppt/slides/slide1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Salade | Bel | Carrefour Supermarket + Drive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64</a:t>
            </a:fld>
            <a:endParaRPr lang="en-US"/>
          </a:p>
        </p:txBody>
      </p:sp>
    </p:spTree>
    <p:extLst>
      <p:ext uri="{BB962C8B-B14F-4D97-AF65-F5344CB8AC3E}">
        <p14:creationId xmlns:p14="http://schemas.microsoft.com/office/powerpoint/2010/main" val="1010014812"/>
      </p:ext>
    </p:extLst>
  </p:cSld>
  <p:clrMapOvr>
    <a:masterClrMapping/>
  </p:clrMapOvr>
</p:sld>
</file>

<file path=ppt/slides/slide1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Salade | Bel | Carrefour Proximite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65</a:t>
            </a:fld>
            <a:endParaRPr lang="en-US"/>
          </a:p>
        </p:txBody>
      </p:sp>
    </p:spTree>
    <p:extLst>
      <p:ext uri="{BB962C8B-B14F-4D97-AF65-F5344CB8AC3E}">
        <p14:creationId xmlns:p14="http://schemas.microsoft.com/office/powerpoint/2010/main" val="17902161"/>
      </p:ext>
    </p:extLst>
  </p:cSld>
  <p:clrMapOvr>
    <a:masterClrMapping/>
  </p:clrMapOvr>
</p:sld>
</file>

<file path=ppt/slides/slide1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Salade | Bel | Intermarche Super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66</a:t>
            </a:fld>
            <a:endParaRPr lang="en-US"/>
          </a:p>
        </p:txBody>
      </p:sp>
    </p:spTree>
    <p:extLst>
      <p:ext uri="{BB962C8B-B14F-4D97-AF65-F5344CB8AC3E}">
        <p14:creationId xmlns:p14="http://schemas.microsoft.com/office/powerpoint/2010/main" val="2008982146"/>
      </p:ext>
    </p:extLst>
  </p:cSld>
  <p:clrMapOvr>
    <a:masterClrMapping/>
  </p:clrMapOvr>
</p:sld>
</file>

<file path=ppt/slides/slide1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Salade | Bel | Intermarche Hyper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67</a:t>
            </a:fld>
            <a:endParaRPr lang="en-US"/>
          </a:p>
        </p:txBody>
      </p:sp>
    </p:spTree>
    <p:extLst>
      <p:ext uri="{BB962C8B-B14F-4D97-AF65-F5344CB8AC3E}">
        <p14:creationId xmlns:p14="http://schemas.microsoft.com/office/powerpoint/2010/main" val="1555115634"/>
      </p:ext>
    </p:extLst>
  </p:cSld>
  <p:clrMapOvr>
    <a:masterClrMapping/>
  </p:clrMapOvr>
</p:sld>
</file>

<file path=ppt/slides/slide1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Salade | Bel | Intermarche Proxi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68</a:t>
            </a:fld>
            <a:endParaRPr lang="en-US"/>
          </a:p>
        </p:txBody>
      </p:sp>
    </p:spTree>
    <p:extLst>
      <p:ext uri="{BB962C8B-B14F-4D97-AF65-F5344CB8AC3E}">
        <p14:creationId xmlns:p14="http://schemas.microsoft.com/office/powerpoint/2010/main" val="1484239197"/>
      </p:ext>
    </p:extLst>
  </p:cSld>
  <p:clrMapOvr>
    <a:masterClrMapping/>
  </p:clrMapOvr>
</p:sld>
</file>

<file path=ppt/slides/slide1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Total Fromage | Kiri | Carrefour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69</a:t>
            </a:fld>
            <a:endParaRPr lang="en-US"/>
          </a:p>
        </p:txBody>
      </p:sp>
    </p:spTree>
    <p:extLst>
      <p:ext uri="{BB962C8B-B14F-4D97-AF65-F5344CB8AC3E}">
        <p14:creationId xmlns:p14="http://schemas.microsoft.com/office/powerpoint/2010/main" val="107828925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9/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Aperitif | Carrefour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7</a:t>
            </a:fld>
            <a:endParaRPr lang="en-US"/>
          </a:p>
        </p:txBody>
      </p:sp>
    </p:spTree>
    <p:extLst>
      <p:ext uri="{BB962C8B-B14F-4D97-AF65-F5344CB8AC3E}">
        <p14:creationId xmlns:p14="http://schemas.microsoft.com/office/powerpoint/2010/main" val="190961947"/>
      </p:ext>
    </p:extLst>
  </p:cSld>
  <p:clrMapOvr>
    <a:masterClrMapping/>
  </p:clrMapOvr>
</p:sld>
</file>

<file path=ppt/slides/slide1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Total Fromage | La Vache Qui Rit | Carrefour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70</a:t>
            </a:fld>
            <a:endParaRPr lang="en-US"/>
          </a:p>
        </p:txBody>
      </p:sp>
    </p:spTree>
    <p:extLst>
      <p:ext uri="{BB962C8B-B14F-4D97-AF65-F5344CB8AC3E}">
        <p14:creationId xmlns:p14="http://schemas.microsoft.com/office/powerpoint/2010/main" val="2757528762"/>
      </p:ext>
    </p:extLst>
  </p:cSld>
  <p:clrMapOvr>
    <a:masterClrMapping/>
  </p:clrMapOvr>
</p:sld>
</file>

<file path=ppt/slides/slide1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Total Fromage | Boursin | Carrefour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71</a:t>
            </a:fld>
            <a:endParaRPr lang="en-US"/>
          </a:p>
        </p:txBody>
      </p:sp>
    </p:spTree>
    <p:extLst>
      <p:ext uri="{BB962C8B-B14F-4D97-AF65-F5344CB8AC3E}">
        <p14:creationId xmlns:p14="http://schemas.microsoft.com/office/powerpoint/2010/main" val="3841719291"/>
      </p:ext>
    </p:extLst>
  </p:cSld>
  <p:clrMapOvr>
    <a:masterClrMapping/>
  </p:clrMapOvr>
</p:sld>
</file>

<file path=ppt/slides/slide1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Total Fromage | Kiri | Intermarche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72</a:t>
            </a:fld>
            <a:endParaRPr lang="en-US"/>
          </a:p>
        </p:txBody>
      </p:sp>
    </p:spTree>
    <p:extLst>
      <p:ext uri="{BB962C8B-B14F-4D97-AF65-F5344CB8AC3E}">
        <p14:creationId xmlns:p14="http://schemas.microsoft.com/office/powerpoint/2010/main" val="3203697782"/>
      </p:ext>
    </p:extLst>
  </p:cSld>
  <p:clrMapOvr>
    <a:masterClrMapping/>
  </p:clrMapOvr>
</p:sld>
</file>

<file path=ppt/slides/slide1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Total Fromage | La Vache Qui Rit | Intermarche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73</a:t>
            </a:fld>
            <a:endParaRPr lang="en-US"/>
          </a:p>
        </p:txBody>
      </p:sp>
    </p:spTree>
    <p:extLst>
      <p:ext uri="{BB962C8B-B14F-4D97-AF65-F5344CB8AC3E}">
        <p14:creationId xmlns:p14="http://schemas.microsoft.com/office/powerpoint/2010/main" val="3624266828"/>
      </p:ext>
    </p:extLst>
  </p:cSld>
  <p:clrMapOvr>
    <a:masterClrMapping/>
  </p:clrMapOvr>
</p:sld>
</file>

<file path=ppt/slides/slide1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Total Fromage | Boursin | Intermarche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74</a:t>
            </a:fld>
            <a:endParaRPr lang="en-US"/>
          </a:p>
        </p:txBody>
      </p:sp>
    </p:spTree>
    <p:extLst>
      <p:ext uri="{BB962C8B-B14F-4D97-AF65-F5344CB8AC3E}">
        <p14:creationId xmlns:p14="http://schemas.microsoft.com/office/powerpoint/2010/main" val="2633086449"/>
      </p:ext>
    </p:extLst>
  </p:cSld>
  <p:clrMapOvr>
    <a:masterClrMapping/>
  </p:clrMapOvr>
</p:sld>
</file>

<file path=ppt/slides/slide1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Total Fromage | Kiri | Carrefour Hyper + Drive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75</a:t>
            </a:fld>
            <a:endParaRPr lang="en-US"/>
          </a:p>
        </p:txBody>
      </p:sp>
    </p:spTree>
    <p:extLst>
      <p:ext uri="{BB962C8B-B14F-4D97-AF65-F5344CB8AC3E}">
        <p14:creationId xmlns:p14="http://schemas.microsoft.com/office/powerpoint/2010/main" val="1379458399"/>
      </p:ext>
    </p:extLst>
  </p:cSld>
  <p:clrMapOvr>
    <a:masterClrMapping/>
  </p:clrMapOvr>
</p:sld>
</file>

<file path=ppt/slides/slide1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Total Fromage | La Vache Qui Rit | Carrefour Hyper + Drive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76</a:t>
            </a:fld>
            <a:endParaRPr lang="en-US"/>
          </a:p>
        </p:txBody>
      </p:sp>
    </p:spTree>
    <p:extLst>
      <p:ext uri="{BB962C8B-B14F-4D97-AF65-F5344CB8AC3E}">
        <p14:creationId xmlns:p14="http://schemas.microsoft.com/office/powerpoint/2010/main" val="3015388469"/>
      </p:ext>
    </p:extLst>
  </p:cSld>
  <p:clrMapOvr>
    <a:masterClrMapping/>
  </p:clrMapOvr>
</p:sld>
</file>

<file path=ppt/slides/slide1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Total Fromage | Boursin | Carrefour Hyper + Drive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77</a:t>
            </a:fld>
            <a:endParaRPr lang="en-US"/>
          </a:p>
        </p:txBody>
      </p:sp>
    </p:spTree>
    <p:extLst>
      <p:ext uri="{BB962C8B-B14F-4D97-AF65-F5344CB8AC3E}">
        <p14:creationId xmlns:p14="http://schemas.microsoft.com/office/powerpoint/2010/main" val="2208493476"/>
      </p:ext>
    </p:extLst>
  </p:cSld>
  <p:clrMapOvr>
    <a:masterClrMapping/>
  </p:clrMapOvr>
</p:sld>
</file>

<file path=ppt/slides/slide1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Total Fromage | Kiri | Carrefour Supermarket + Drive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78</a:t>
            </a:fld>
            <a:endParaRPr lang="en-US"/>
          </a:p>
        </p:txBody>
      </p:sp>
    </p:spTree>
    <p:extLst>
      <p:ext uri="{BB962C8B-B14F-4D97-AF65-F5344CB8AC3E}">
        <p14:creationId xmlns:p14="http://schemas.microsoft.com/office/powerpoint/2010/main" val="1300033008"/>
      </p:ext>
    </p:extLst>
  </p:cSld>
  <p:clrMapOvr>
    <a:masterClrMapping/>
  </p:clrMapOvr>
</p:sld>
</file>

<file path=ppt/slides/slide1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Total Fromage | La Vache Qui Rit | Carrefour Supermarket + Drive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79</a:t>
            </a:fld>
            <a:endParaRPr lang="en-US"/>
          </a:p>
        </p:txBody>
      </p:sp>
    </p:spTree>
    <p:extLst>
      <p:ext uri="{BB962C8B-B14F-4D97-AF65-F5344CB8AC3E}">
        <p14:creationId xmlns:p14="http://schemas.microsoft.com/office/powerpoint/2010/main" val="307847359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9/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Aperitif | Intermarche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8</a:t>
            </a:fld>
            <a:endParaRPr lang="en-US"/>
          </a:p>
        </p:txBody>
      </p:sp>
    </p:spTree>
    <p:extLst>
      <p:ext uri="{BB962C8B-B14F-4D97-AF65-F5344CB8AC3E}">
        <p14:creationId xmlns:p14="http://schemas.microsoft.com/office/powerpoint/2010/main" val="3547250768"/>
      </p:ext>
    </p:extLst>
  </p:cSld>
  <p:clrMapOvr>
    <a:masterClrMapping/>
  </p:clrMapOvr>
</p:sld>
</file>

<file path=ppt/slides/slide1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Total Fromage | Boursin | Carrefour Supermarket + Drive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80</a:t>
            </a:fld>
            <a:endParaRPr lang="en-US"/>
          </a:p>
        </p:txBody>
      </p:sp>
    </p:spTree>
    <p:extLst>
      <p:ext uri="{BB962C8B-B14F-4D97-AF65-F5344CB8AC3E}">
        <p14:creationId xmlns:p14="http://schemas.microsoft.com/office/powerpoint/2010/main" val="2731547763"/>
      </p:ext>
    </p:extLst>
  </p:cSld>
  <p:clrMapOvr>
    <a:masterClrMapping/>
  </p:clrMapOvr>
</p:sld>
</file>

<file path=ppt/slides/slide1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Total Fromage | Kiri | Carrefour Proximite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81</a:t>
            </a:fld>
            <a:endParaRPr lang="en-US"/>
          </a:p>
        </p:txBody>
      </p:sp>
    </p:spTree>
    <p:extLst>
      <p:ext uri="{BB962C8B-B14F-4D97-AF65-F5344CB8AC3E}">
        <p14:creationId xmlns:p14="http://schemas.microsoft.com/office/powerpoint/2010/main" val="3384713121"/>
      </p:ext>
    </p:extLst>
  </p:cSld>
  <p:clrMapOvr>
    <a:masterClrMapping/>
  </p:clrMapOvr>
</p:sld>
</file>

<file path=ppt/slides/slide1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Total Fromage | La Vache Qui Rit | Carrefour Proximite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82</a:t>
            </a:fld>
            <a:endParaRPr lang="en-US"/>
          </a:p>
        </p:txBody>
      </p:sp>
    </p:spTree>
    <p:extLst>
      <p:ext uri="{BB962C8B-B14F-4D97-AF65-F5344CB8AC3E}">
        <p14:creationId xmlns:p14="http://schemas.microsoft.com/office/powerpoint/2010/main" val="2270473542"/>
      </p:ext>
    </p:extLst>
  </p:cSld>
  <p:clrMapOvr>
    <a:masterClrMapping/>
  </p:clrMapOvr>
</p:sld>
</file>

<file path=ppt/slides/slide1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Total Fromage | Boursin | Carrefour Proximite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83</a:t>
            </a:fld>
            <a:endParaRPr lang="en-US"/>
          </a:p>
        </p:txBody>
      </p:sp>
    </p:spTree>
    <p:extLst>
      <p:ext uri="{BB962C8B-B14F-4D97-AF65-F5344CB8AC3E}">
        <p14:creationId xmlns:p14="http://schemas.microsoft.com/office/powerpoint/2010/main" val="2839916626"/>
      </p:ext>
    </p:extLst>
  </p:cSld>
  <p:clrMapOvr>
    <a:masterClrMapping/>
  </p:clrMapOvr>
</p:sld>
</file>

<file path=ppt/slides/slide1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Total Fromage | Kiri | Intermarche Super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84</a:t>
            </a:fld>
            <a:endParaRPr lang="en-US"/>
          </a:p>
        </p:txBody>
      </p:sp>
    </p:spTree>
    <p:extLst>
      <p:ext uri="{BB962C8B-B14F-4D97-AF65-F5344CB8AC3E}">
        <p14:creationId xmlns:p14="http://schemas.microsoft.com/office/powerpoint/2010/main" val="962927463"/>
      </p:ext>
    </p:extLst>
  </p:cSld>
  <p:clrMapOvr>
    <a:masterClrMapping/>
  </p:clrMapOvr>
</p:sld>
</file>

<file path=ppt/slides/slide1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Total Fromage | La Vache Qui Rit | Intermarche Super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85</a:t>
            </a:fld>
            <a:endParaRPr lang="en-US"/>
          </a:p>
        </p:txBody>
      </p:sp>
    </p:spTree>
    <p:extLst>
      <p:ext uri="{BB962C8B-B14F-4D97-AF65-F5344CB8AC3E}">
        <p14:creationId xmlns:p14="http://schemas.microsoft.com/office/powerpoint/2010/main" val="2030020386"/>
      </p:ext>
    </p:extLst>
  </p:cSld>
  <p:clrMapOvr>
    <a:masterClrMapping/>
  </p:clrMapOvr>
</p:sld>
</file>

<file path=ppt/slides/slide1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Total Fromage | Boursin | Intermarche Super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86</a:t>
            </a:fld>
            <a:endParaRPr lang="en-US"/>
          </a:p>
        </p:txBody>
      </p:sp>
    </p:spTree>
    <p:extLst>
      <p:ext uri="{BB962C8B-B14F-4D97-AF65-F5344CB8AC3E}">
        <p14:creationId xmlns:p14="http://schemas.microsoft.com/office/powerpoint/2010/main" val="2816336119"/>
      </p:ext>
    </p:extLst>
  </p:cSld>
  <p:clrMapOvr>
    <a:masterClrMapping/>
  </p:clrMapOvr>
</p:sld>
</file>

<file path=ppt/slides/slide1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Total Fromage | Kiri | Intermarche Hyper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87</a:t>
            </a:fld>
            <a:endParaRPr lang="en-US"/>
          </a:p>
        </p:txBody>
      </p:sp>
    </p:spTree>
    <p:extLst>
      <p:ext uri="{BB962C8B-B14F-4D97-AF65-F5344CB8AC3E}">
        <p14:creationId xmlns:p14="http://schemas.microsoft.com/office/powerpoint/2010/main" val="2706795833"/>
      </p:ext>
    </p:extLst>
  </p:cSld>
  <p:clrMapOvr>
    <a:masterClrMapping/>
  </p:clrMapOvr>
</p:sld>
</file>

<file path=ppt/slides/slide1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Total Fromage | La Vache Qui Rit | Intermarche Hyper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88</a:t>
            </a:fld>
            <a:endParaRPr lang="en-US"/>
          </a:p>
        </p:txBody>
      </p:sp>
    </p:spTree>
    <p:extLst>
      <p:ext uri="{BB962C8B-B14F-4D97-AF65-F5344CB8AC3E}">
        <p14:creationId xmlns:p14="http://schemas.microsoft.com/office/powerpoint/2010/main" val="2515598222"/>
      </p:ext>
    </p:extLst>
  </p:cSld>
  <p:clrMapOvr>
    <a:masterClrMapping/>
  </p:clrMapOvr>
</p:sld>
</file>

<file path=ppt/slides/slide1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Total Fromage | Boursin | Intermarche Hyper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89</a:t>
            </a:fld>
            <a:endParaRPr lang="en-US"/>
          </a:p>
        </p:txBody>
      </p:sp>
    </p:spTree>
    <p:extLst>
      <p:ext uri="{BB962C8B-B14F-4D97-AF65-F5344CB8AC3E}">
        <p14:creationId xmlns:p14="http://schemas.microsoft.com/office/powerpoint/2010/main" val="300844122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9/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Aperitif | Carrefour Hyper + Drive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9</a:t>
            </a:fld>
            <a:endParaRPr lang="en-US"/>
          </a:p>
        </p:txBody>
      </p:sp>
    </p:spTree>
    <p:extLst>
      <p:ext uri="{BB962C8B-B14F-4D97-AF65-F5344CB8AC3E}">
        <p14:creationId xmlns:p14="http://schemas.microsoft.com/office/powerpoint/2010/main" val="3111284569"/>
      </p:ext>
    </p:extLst>
  </p:cSld>
  <p:clrMapOvr>
    <a:masterClrMapping/>
  </p:clrMapOvr>
</p:sld>
</file>

<file path=ppt/slides/slide1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Total Fromage | Kiri | Intermarche Proxi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90</a:t>
            </a:fld>
            <a:endParaRPr lang="en-US"/>
          </a:p>
        </p:txBody>
      </p:sp>
    </p:spTree>
    <p:extLst>
      <p:ext uri="{BB962C8B-B14F-4D97-AF65-F5344CB8AC3E}">
        <p14:creationId xmlns:p14="http://schemas.microsoft.com/office/powerpoint/2010/main" val="79434857"/>
      </p:ext>
    </p:extLst>
  </p:cSld>
  <p:clrMapOvr>
    <a:masterClrMapping/>
  </p:clrMapOvr>
</p:sld>
</file>

<file path=ppt/slides/slide1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Total Fromage | La Vache Qui Rit | Intermarche Proxi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91</a:t>
            </a:fld>
            <a:endParaRPr lang="en-US"/>
          </a:p>
        </p:txBody>
      </p:sp>
    </p:spTree>
    <p:extLst>
      <p:ext uri="{BB962C8B-B14F-4D97-AF65-F5344CB8AC3E}">
        <p14:creationId xmlns:p14="http://schemas.microsoft.com/office/powerpoint/2010/main" val="3169084423"/>
      </p:ext>
    </p:extLst>
  </p:cSld>
  <p:clrMapOvr>
    <a:masterClrMapping/>
  </p:clrMapOvr>
</p:sld>
</file>

<file path=ppt/slides/slide1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Total Fromage | Boursin | Intermarche Proxi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92</a:t>
            </a:fld>
            <a:endParaRPr lang="en-US"/>
          </a:p>
        </p:txBody>
      </p:sp>
    </p:spTree>
    <p:extLst>
      <p:ext uri="{BB962C8B-B14F-4D97-AF65-F5344CB8AC3E}">
        <p14:creationId xmlns:p14="http://schemas.microsoft.com/office/powerpoint/2010/main" val="1366226246"/>
      </p:ext>
    </p:extLst>
  </p:cSld>
  <p:clrMapOvr>
    <a:masterClrMapping/>
  </p:clrMapOvr>
</p:sld>
</file>

<file path=ppt/slides/slide1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Soft Cheese | Kiri | Carrefour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93</a:t>
            </a:fld>
            <a:endParaRPr lang="en-US"/>
          </a:p>
        </p:txBody>
      </p:sp>
    </p:spTree>
    <p:extLst>
      <p:ext uri="{BB962C8B-B14F-4D97-AF65-F5344CB8AC3E}">
        <p14:creationId xmlns:p14="http://schemas.microsoft.com/office/powerpoint/2010/main" val="4245061656"/>
      </p:ext>
    </p:extLst>
  </p:cSld>
  <p:clrMapOvr>
    <a:masterClrMapping/>
  </p:clrMapOvr>
</p:sld>
</file>

<file path=ppt/slides/slide1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Soft Cheese | La Vache Qui Rit | Carrefour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94</a:t>
            </a:fld>
            <a:endParaRPr lang="en-US"/>
          </a:p>
        </p:txBody>
      </p:sp>
    </p:spTree>
    <p:extLst>
      <p:ext uri="{BB962C8B-B14F-4D97-AF65-F5344CB8AC3E}">
        <p14:creationId xmlns:p14="http://schemas.microsoft.com/office/powerpoint/2010/main" val="2170755740"/>
      </p:ext>
    </p:extLst>
  </p:cSld>
  <p:clrMapOvr>
    <a:masterClrMapping/>
  </p:clrMapOvr>
</p:sld>
</file>

<file path=ppt/slides/slide1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Soft Cheese | Boursin | Carrefour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95</a:t>
            </a:fld>
            <a:endParaRPr lang="en-US"/>
          </a:p>
        </p:txBody>
      </p:sp>
    </p:spTree>
    <p:extLst>
      <p:ext uri="{BB962C8B-B14F-4D97-AF65-F5344CB8AC3E}">
        <p14:creationId xmlns:p14="http://schemas.microsoft.com/office/powerpoint/2010/main" val="136210622"/>
      </p:ext>
    </p:extLst>
  </p:cSld>
  <p:clrMapOvr>
    <a:masterClrMapping/>
  </p:clrMapOvr>
</p:sld>
</file>

<file path=ppt/slides/slide1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Soft Cheese | Kiri | Intermarche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96</a:t>
            </a:fld>
            <a:endParaRPr lang="en-US"/>
          </a:p>
        </p:txBody>
      </p:sp>
    </p:spTree>
    <p:extLst>
      <p:ext uri="{BB962C8B-B14F-4D97-AF65-F5344CB8AC3E}">
        <p14:creationId xmlns:p14="http://schemas.microsoft.com/office/powerpoint/2010/main" val="853421530"/>
      </p:ext>
    </p:extLst>
  </p:cSld>
  <p:clrMapOvr>
    <a:masterClrMapping/>
  </p:clrMapOvr>
</p:sld>
</file>

<file path=ppt/slides/slide1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Soft Cheese | La Vache Qui Rit | Intermarche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97</a:t>
            </a:fld>
            <a:endParaRPr lang="en-US"/>
          </a:p>
        </p:txBody>
      </p:sp>
    </p:spTree>
    <p:extLst>
      <p:ext uri="{BB962C8B-B14F-4D97-AF65-F5344CB8AC3E}">
        <p14:creationId xmlns:p14="http://schemas.microsoft.com/office/powerpoint/2010/main" val="3265580259"/>
      </p:ext>
    </p:extLst>
  </p:cSld>
  <p:clrMapOvr>
    <a:masterClrMapping/>
  </p:clrMapOvr>
</p:sld>
</file>

<file path=ppt/slides/slide1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Soft Cheese | Boursin | Intermarche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98</a:t>
            </a:fld>
            <a:endParaRPr lang="en-US"/>
          </a:p>
        </p:txBody>
      </p:sp>
    </p:spTree>
    <p:extLst>
      <p:ext uri="{BB962C8B-B14F-4D97-AF65-F5344CB8AC3E}">
        <p14:creationId xmlns:p14="http://schemas.microsoft.com/office/powerpoint/2010/main" val="2173632417"/>
      </p:ext>
    </p:extLst>
  </p:cSld>
  <p:clrMapOvr>
    <a:masterClrMapping/>
  </p:clrMapOvr>
</p:sld>
</file>

<file path=ppt/slides/slide1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Soft Cheese | Kiri | Carrefour Hyper + Drive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99</a:t>
            </a:fld>
            <a:endParaRPr lang="en-US"/>
          </a:p>
        </p:txBody>
      </p:sp>
    </p:spTree>
    <p:extLst>
      <p:ext uri="{BB962C8B-B14F-4D97-AF65-F5344CB8AC3E}">
        <p14:creationId xmlns:p14="http://schemas.microsoft.com/office/powerpoint/2010/main" val="37409486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9/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Total Fromage | Intermarche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2</a:t>
            </a:fld>
            <a:endParaRPr lang="en-US"/>
          </a:p>
        </p:txBody>
      </p:sp>
    </p:spTree>
    <p:extLst>
      <p:ext uri="{BB962C8B-B14F-4D97-AF65-F5344CB8AC3E}">
        <p14:creationId xmlns:p14="http://schemas.microsoft.com/office/powerpoint/2010/main" val="391907838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9/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Aperitif | Carrefour Supermarket + Drive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20</a:t>
            </a:fld>
            <a:endParaRPr lang="en-US"/>
          </a:p>
        </p:txBody>
      </p:sp>
    </p:spTree>
    <p:extLst>
      <p:ext uri="{BB962C8B-B14F-4D97-AF65-F5344CB8AC3E}">
        <p14:creationId xmlns:p14="http://schemas.microsoft.com/office/powerpoint/2010/main" val="2148873289"/>
      </p:ext>
    </p:extLst>
  </p:cSld>
  <p:clrMapOvr>
    <a:masterClrMapping/>
  </p:clrMapOvr>
</p:sld>
</file>

<file path=ppt/slides/slide2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Soft Cheese | La Vache Qui Rit | Carrefour Hyper + Drive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200</a:t>
            </a:fld>
            <a:endParaRPr lang="en-US"/>
          </a:p>
        </p:txBody>
      </p:sp>
    </p:spTree>
    <p:extLst>
      <p:ext uri="{BB962C8B-B14F-4D97-AF65-F5344CB8AC3E}">
        <p14:creationId xmlns:p14="http://schemas.microsoft.com/office/powerpoint/2010/main" val="542741152"/>
      </p:ext>
    </p:extLst>
  </p:cSld>
  <p:clrMapOvr>
    <a:masterClrMapping/>
  </p:clrMapOvr>
</p:sld>
</file>

<file path=ppt/slides/slide2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Soft Cheese | Boursin | Carrefour Hyper + Drive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201</a:t>
            </a:fld>
            <a:endParaRPr lang="en-US"/>
          </a:p>
        </p:txBody>
      </p:sp>
    </p:spTree>
    <p:extLst>
      <p:ext uri="{BB962C8B-B14F-4D97-AF65-F5344CB8AC3E}">
        <p14:creationId xmlns:p14="http://schemas.microsoft.com/office/powerpoint/2010/main" val="3886460527"/>
      </p:ext>
    </p:extLst>
  </p:cSld>
  <p:clrMapOvr>
    <a:masterClrMapping/>
  </p:clrMapOvr>
</p:sld>
</file>

<file path=ppt/slides/slide2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Soft Cheese | Kiri | Carrefour Supermarket + Drive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202</a:t>
            </a:fld>
            <a:endParaRPr lang="en-US"/>
          </a:p>
        </p:txBody>
      </p:sp>
    </p:spTree>
    <p:extLst>
      <p:ext uri="{BB962C8B-B14F-4D97-AF65-F5344CB8AC3E}">
        <p14:creationId xmlns:p14="http://schemas.microsoft.com/office/powerpoint/2010/main" val="3728324630"/>
      </p:ext>
    </p:extLst>
  </p:cSld>
  <p:clrMapOvr>
    <a:masterClrMapping/>
  </p:clrMapOvr>
</p:sld>
</file>

<file path=ppt/slides/slide2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Soft Cheese | La Vache Qui Rit | Carrefour Supermarket + Drive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203</a:t>
            </a:fld>
            <a:endParaRPr lang="en-US"/>
          </a:p>
        </p:txBody>
      </p:sp>
    </p:spTree>
    <p:extLst>
      <p:ext uri="{BB962C8B-B14F-4D97-AF65-F5344CB8AC3E}">
        <p14:creationId xmlns:p14="http://schemas.microsoft.com/office/powerpoint/2010/main" val="1388766451"/>
      </p:ext>
    </p:extLst>
  </p:cSld>
  <p:clrMapOvr>
    <a:masterClrMapping/>
  </p:clrMapOvr>
</p:sld>
</file>

<file path=ppt/slides/slide2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Soft Cheese | Boursin | Carrefour Supermarket + Drive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204</a:t>
            </a:fld>
            <a:endParaRPr lang="en-US"/>
          </a:p>
        </p:txBody>
      </p:sp>
    </p:spTree>
    <p:extLst>
      <p:ext uri="{BB962C8B-B14F-4D97-AF65-F5344CB8AC3E}">
        <p14:creationId xmlns:p14="http://schemas.microsoft.com/office/powerpoint/2010/main" val="1922915063"/>
      </p:ext>
    </p:extLst>
  </p:cSld>
  <p:clrMapOvr>
    <a:masterClrMapping/>
  </p:clrMapOvr>
</p:sld>
</file>

<file path=ppt/slides/slide2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Soft Cheese | Kiri | Carrefour Proximite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205</a:t>
            </a:fld>
            <a:endParaRPr lang="en-US"/>
          </a:p>
        </p:txBody>
      </p:sp>
    </p:spTree>
    <p:extLst>
      <p:ext uri="{BB962C8B-B14F-4D97-AF65-F5344CB8AC3E}">
        <p14:creationId xmlns:p14="http://schemas.microsoft.com/office/powerpoint/2010/main" val="2113362338"/>
      </p:ext>
    </p:extLst>
  </p:cSld>
  <p:clrMapOvr>
    <a:masterClrMapping/>
  </p:clrMapOvr>
</p:sld>
</file>

<file path=ppt/slides/slide2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Soft Cheese | La Vache Qui Rit | Carrefour Proximite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206</a:t>
            </a:fld>
            <a:endParaRPr lang="en-US"/>
          </a:p>
        </p:txBody>
      </p:sp>
    </p:spTree>
    <p:extLst>
      <p:ext uri="{BB962C8B-B14F-4D97-AF65-F5344CB8AC3E}">
        <p14:creationId xmlns:p14="http://schemas.microsoft.com/office/powerpoint/2010/main" val="1829779427"/>
      </p:ext>
    </p:extLst>
  </p:cSld>
  <p:clrMapOvr>
    <a:masterClrMapping/>
  </p:clrMapOvr>
</p:sld>
</file>

<file path=ppt/slides/slide2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Soft Cheese | Boursin | Carrefour Proximite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207</a:t>
            </a:fld>
            <a:endParaRPr lang="en-US"/>
          </a:p>
        </p:txBody>
      </p:sp>
    </p:spTree>
    <p:extLst>
      <p:ext uri="{BB962C8B-B14F-4D97-AF65-F5344CB8AC3E}">
        <p14:creationId xmlns:p14="http://schemas.microsoft.com/office/powerpoint/2010/main" val="3131295056"/>
      </p:ext>
    </p:extLst>
  </p:cSld>
  <p:clrMapOvr>
    <a:masterClrMapping/>
  </p:clrMapOvr>
</p:sld>
</file>

<file path=ppt/slides/slide2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Soft Cheese | Kiri | Intermarche Super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208</a:t>
            </a:fld>
            <a:endParaRPr lang="en-US"/>
          </a:p>
        </p:txBody>
      </p:sp>
    </p:spTree>
    <p:extLst>
      <p:ext uri="{BB962C8B-B14F-4D97-AF65-F5344CB8AC3E}">
        <p14:creationId xmlns:p14="http://schemas.microsoft.com/office/powerpoint/2010/main" val="1336553385"/>
      </p:ext>
    </p:extLst>
  </p:cSld>
  <p:clrMapOvr>
    <a:masterClrMapping/>
  </p:clrMapOvr>
</p:sld>
</file>

<file path=ppt/slides/slide2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Soft Cheese | La Vache Qui Rit | Intermarche Super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209</a:t>
            </a:fld>
            <a:endParaRPr lang="en-US"/>
          </a:p>
        </p:txBody>
      </p:sp>
    </p:spTree>
    <p:extLst>
      <p:ext uri="{BB962C8B-B14F-4D97-AF65-F5344CB8AC3E}">
        <p14:creationId xmlns:p14="http://schemas.microsoft.com/office/powerpoint/2010/main" val="218609444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9/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Aperitif | Carrefour Proximite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21</a:t>
            </a:fld>
            <a:endParaRPr lang="en-US"/>
          </a:p>
        </p:txBody>
      </p:sp>
    </p:spTree>
    <p:extLst>
      <p:ext uri="{BB962C8B-B14F-4D97-AF65-F5344CB8AC3E}">
        <p14:creationId xmlns:p14="http://schemas.microsoft.com/office/powerpoint/2010/main" val="3176057576"/>
      </p:ext>
    </p:extLst>
  </p:cSld>
  <p:clrMapOvr>
    <a:masterClrMapping/>
  </p:clrMapOvr>
</p:sld>
</file>

<file path=ppt/slides/slide2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Soft Cheese | Boursin | Intermarche Super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210</a:t>
            </a:fld>
            <a:endParaRPr lang="en-US"/>
          </a:p>
        </p:txBody>
      </p:sp>
    </p:spTree>
    <p:extLst>
      <p:ext uri="{BB962C8B-B14F-4D97-AF65-F5344CB8AC3E}">
        <p14:creationId xmlns:p14="http://schemas.microsoft.com/office/powerpoint/2010/main" val="4274450223"/>
      </p:ext>
    </p:extLst>
  </p:cSld>
  <p:clrMapOvr>
    <a:masterClrMapping/>
  </p:clrMapOvr>
</p:sld>
</file>

<file path=ppt/slides/slide2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Soft Cheese | Kiri | Intermarche Hyper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211</a:t>
            </a:fld>
            <a:endParaRPr lang="en-US"/>
          </a:p>
        </p:txBody>
      </p:sp>
    </p:spTree>
    <p:extLst>
      <p:ext uri="{BB962C8B-B14F-4D97-AF65-F5344CB8AC3E}">
        <p14:creationId xmlns:p14="http://schemas.microsoft.com/office/powerpoint/2010/main" val="2552745849"/>
      </p:ext>
    </p:extLst>
  </p:cSld>
  <p:clrMapOvr>
    <a:masterClrMapping/>
  </p:clrMapOvr>
</p:sld>
</file>

<file path=ppt/slides/slide2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Soft Cheese | La Vache Qui Rit | Intermarche Hyper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212</a:t>
            </a:fld>
            <a:endParaRPr lang="en-US"/>
          </a:p>
        </p:txBody>
      </p:sp>
    </p:spTree>
    <p:extLst>
      <p:ext uri="{BB962C8B-B14F-4D97-AF65-F5344CB8AC3E}">
        <p14:creationId xmlns:p14="http://schemas.microsoft.com/office/powerpoint/2010/main" val="3882724462"/>
      </p:ext>
    </p:extLst>
  </p:cSld>
  <p:clrMapOvr>
    <a:masterClrMapping/>
  </p:clrMapOvr>
</p:sld>
</file>

<file path=ppt/slides/slide2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Soft Cheese | Boursin | Intermarche Hyper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213</a:t>
            </a:fld>
            <a:endParaRPr lang="en-US"/>
          </a:p>
        </p:txBody>
      </p:sp>
    </p:spTree>
    <p:extLst>
      <p:ext uri="{BB962C8B-B14F-4D97-AF65-F5344CB8AC3E}">
        <p14:creationId xmlns:p14="http://schemas.microsoft.com/office/powerpoint/2010/main" val="1488309342"/>
      </p:ext>
    </p:extLst>
  </p:cSld>
  <p:clrMapOvr>
    <a:masterClrMapping/>
  </p:clrMapOvr>
</p:sld>
</file>

<file path=ppt/slides/slide2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Soft Cheese | Kiri | Intermarche Proxi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214</a:t>
            </a:fld>
            <a:endParaRPr lang="en-US"/>
          </a:p>
        </p:txBody>
      </p:sp>
    </p:spTree>
    <p:extLst>
      <p:ext uri="{BB962C8B-B14F-4D97-AF65-F5344CB8AC3E}">
        <p14:creationId xmlns:p14="http://schemas.microsoft.com/office/powerpoint/2010/main" val="2607909859"/>
      </p:ext>
    </p:extLst>
  </p:cSld>
  <p:clrMapOvr>
    <a:masterClrMapping/>
  </p:clrMapOvr>
</p:sld>
</file>

<file path=ppt/slides/slide2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Soft Cheese | La Vache Qui Rit | Intermarche Proxi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215</a:t>
            </a:fld>
            <a:endParaRPr lang="en-US"/>
          </a:p>
        </p:txBody>
      </p:sp>
    </p:spTree>
    <p:extLst>
      <p:ext uri="{BB962C8B-B14F-4D97-AF65-F5344CB8AC3E}">
        <p14:creationId xmlns:p14="http://schemas.microsoft.com/office/powerpoint/2010/main" val="4081693563"/>
      </p:ext>
    </p:extLst>
  </p:cSld>
  <p:clrMapOvr>
    <a:masterClrMapping/>
  </p:clrMapOvr>
</p:sld>
</file>

<file path=ppt/slides/slide2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Soft Cheese | Boursin | Intermarche Proxi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216</a:t>
            </a:fld>
            <a:endParaRPr lang="en-US"/>
          </a:p>
        </p:txBody>
      </p:sp>
    </p:spTree>
    <p:extLst>
      <p:ext uri="{BB962C8B-B14F-4D97-AF65-F5344CB8AC3E}">
        <p14:creationId xmlns:p14="http://schemas.microsoft.com/office/powerpoint/2010/main" val="2766568950"/>
      </p:ext>
    </p:extLst>
  </p:cSld>
  <p:clrMapOvr>
    <a:masterClrMapping/>
  </p:clrMapOvr>
</p:sld>
</file>

<file path=ppt/slides/slide2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Aperitif | Boursin | Carrefour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217</a:t>
            </a:fld>
            <a:endParaRPr lang="en-US"/>
          </a:p>
        </p:txBody>
      </p:sp>
    </p:spTree>
    <p:extLst>
      <p:ext uri="{BB962C8B-B14F-4D97-AF65-F5344CB8AC3E}">
        <p14:creationId xmlns:p14="http://schemas.microsoft.com/office/powerpoint/2010/main" val="3182985966"/>
      </p:ext>
    </p:extLst>
  </p:cSld>
  <p:clrMapOvr>
    <a:masterClrMapping/>
  </p:clrMapOvr>
</p:sld>
</file>

<file path=ppt/slides/slide2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Aperitif | Boursin | Intermarche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218</a:t>
            </a:fld>
            <a:endParaRPr lang="en-US"/>
          </a:p>
        </p:txBody>
      </p:sp>
    </p:spTree>
    <p:extLst>
      <p:ext uri="{BB962C8B-B14F-4D97-AF65-F5344CB8AC3E}">
        <p14:creationId xmlns:p14="http://schemas.microsoft.com/office/powerpoint/2010/main" val="1517969765"/>
      </p:ext>
    </p:extLst>
  </p:cSld>
  <p:clrMapOvr>
    <a:masterClrMapping/>
  </p:clrMapOvr>
</p:sld>
</file>

<file path=ppt/slides/slide2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Aperitif | Boursin | Carrefour Hyper + Drive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219</a:t>
            </a:fld>
            <a:endParaRPr lang="en-US"/>
          </a:p>
        </p:txBody>
      </p:sp>
    </p:spTree>
    <p:extLst>
      <p:ext uri="{BB962C8B-B14F-4D97-AF65-F5344CB8AC3E}">
        <p14:creationId xmlns:p14="http://schemas.microsoft.com/office/powerpoint/2010/main" val="260840951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9/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Aperitif | Intermarche Super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22</a:t>
            </a:fld>
            <a:endParaRPr lang="en-US"/>
          </a:p>
        </p:txBody>
      </p:sp>
    </p:spTree>
    <p:extLst>
      <p:ext uri="{BB962C8B-B14F-4D97-AF65-F5344CB8AC3E}">
        <p14:creationId xmlns:p14="http://schemas.microsoft.com/office/powerpoint/2010/main" val="403153678"/>
      </p:ext>
    </p:extLst>
  </p:cSld>
  <p:clrMapOvr>
    <a:masterClrMapping/>
  </p:clrMapOvr>
</p:sld>
</file>

<file path=ppt/slides/slide2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Aperitif | Boursin | Carrefour Supermarket + Drive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220</a:t>
            </a:fld>
            <a:endParaRPr lang="en-US"/>
          </a:p>
        </p:txBody>
      </p:sp>
    </p:spTree>
    <p:extLst>
      <p:ext uri="{BB962C8B-B14F-4D97-AF65-F5344CB8AC3E}">
        <p14:creationId xmlns:p14="http://schemas.microsoft.com/office/powerpoint/2010/main" val="1621341288"/>
      </p:ext>
    </p:extLst>
  </p:cSld>
  <p:clrMapOvr>
    <a:masterClrMapping/>
  </p:clrMapOvr>
</p:sld>
</file>

<file path=ppt/slides/slide2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Aperitif | Boursin | Carrefour Proximite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221</a:t>
            </a:fld>
            <a:endParaRPr lang="en-US"/>
          </a:p>
        </p:txBody>
      </p:sp>
    </p:spTree>
    <p:extLst>
      <p:ext uri="{BB962C8B-B14F-4D97-AF65-F5344CB8AC3E}">
        <p14:creationId xmlns:p14="http://schemas.microsoft.com/office/powerpoint/2010/main" val="3748449224"/>
      </p:ext>
    </p:extLst>
  </p:cSld>
  <p:clrMapOvr>
    <a:masterClrMapping/>
  </p:clrMapOvr>
</p:sld>
</file>

<file path=ppt/slides/slide2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Aperitif | Boursin | Intermarche Super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222</a:t>
            </a:fld>
            <a:endParaRPr lang="en-US"/>
          </a:p>
        </p:txBody>
      </p:sp>
    </p:spTree>
    <p:extLst>
      <p:ext uri="{BB962C8B-B14F-4D97-AF65-F5344CB8AC3E}">
        <p14:creationId xmlns:p14="http://schemas.microsoft.com/office/powerpoint/2010/main" val="1190084695"/>
      </p:ext>
    </p:extLst>
  </p:cSld>
  <p:clrMapOvr>
    <a:masterClrMapping/>
  </p:clrMapOvr>
</p:sld>
</file>

<file path=ppt/slides/slide2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Aperitif | Boursin | Intermarche Hyper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223</a:t>
            </a:fld>
            <a:endParaRPr lang="en-US"/>
          </a:p>
        </p:txBody>
      </p:sp>
    </p:spTree>
    <p:extLst>
      <p:ext uri="{BB962C8B-B14F-4D97-AF65-F5344CB8AC3E}">
        <p14:creationId xmlns:p14="http://schemas.microsoft.com/office/powerpoint/2010/main" val="60379641"/>
      </p:ext>
    </p:extLst>
  </p:cSld>
  <p:clrMapOvr>
    <a:masterClrMapping/>
  </p:clrMapOvr>
</p:sld>
</file>

<file path=ppt/slides/slide2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Aperitif | Boursin | Intermarche Proxi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224</a:t>
            </a:fld>
            <a:endParaRPr lang="en-US"/>
          </a:p>
        </p:txBody>
      </p:sp>
    </p:spTree>
    <p:extLst>
      <p:ext uri="{BB962C8B-B14F-4D97-AF65-F5344CB8AC3E}">
        <p14:creationId xmlns:p14="http://schemas.microsoft.com/office/powerpoint/2010/main" val="1043962490"/>
      </p:ext>
    </p:extLst>
  </p:cSld>
  <p:clrMapOvr>
    <a:masterClrMapping/>
  </p:clrMapOvr>
</p:sld>
</file>

<file path=ppt/slides/slide2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Ingredient A Chaud | La Vache Qui Rit | Carrefour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225</a:t>
            </a:fld>
            <a:endParaRPr lang="en-US"/>
          </a:p>
        </p:txBody>
      </p:sp>
    </p:spTree>
    <p:extLst>
      <p:ext uri="{BB962C8B-B14F-4D97-AF65-F5344CB8AC3E}">
        <p14:creationId xmlns:p14="http://schemas.microsoft.com/office/powerpoint/2010/main" val="936073514"/>
      </p:ext>
    </p:extLst>
  </p:cSld>
  <p:clrMapOvr>
    <a:masterClrMapping/>
  </p:clrMapOvr>
</p:sld>
</file>

<file path=ppt/slides/slide2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Ingredient A Chaud | Boursin | Carrefour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226</a:t>
            </a:fld>
            <a:endParaRPr lang="en-US"/>
          </a:p>
        </p:txBody>
      </p:sp>
    </p:spTree>
    <p:extLst>
      <p:ext uri="{BB962C8B-B14F-4D97-AF65-F5344CB8AC3E}">
        <p14:creationId xmlns:p14="http://schemas.microsoft.com/office/powerpoint/2010/main" val="2549031836"/>
      </p:ext>
    </p:extLst>
  </p:cSld>
  <p:clrMapOvr>
    <a:masterClrMapping/>
  </p:clrMapOvr>
</p:sld>
</file>

<file path=ppt/slides/slide2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Ingredient A Chaud | La Vache Qui Rit | Intermarche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227</a:t>
            </a:fld>
            <a:endParaRPr lang="en-US"/>
          </a:p>
        </p:txBody>
      </p:sp>
    </p:spTree>
    <p:extLst>
      <p:ext uri="{BB962C8B-B14F-4D97-AF65-F5344CB8AC3E}">
        <p14:creationId xmlns:p14="http://schemas.microsoft.com/office/powerpoint/2010/main" val="115748145"/>
      </p:ext>
    </p:extLst>
  </p:cSld>
  <p:clrMapOvr>
    <a:masterClrMapping/>
  </p:clrMapOvr>
</p:sld>
</file>

<file path=ppt/slides/slide2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Ingredient A Chaud | Boursin | Intermarche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228</a:t>
            </a:fld>
            <a:endParaRPr lang="en-US"/>
          </a:p>
        </p:txBody>
      </p:sp>
    </p:spTree>
    <p:extLst>
      <p:ext uri="{BB962C8B-B14F-4D97-AF65-F5344CB8AC3E}">
        <p14:creationId xmlns:p14="http://schemas.microsoft.com/office/powerpoint/2010/main" val="167683715"/>
      </p:ext>
    </p:extLst>
  </p:cSld>
  <p:clrMapOvr>
    <a:masterClrMapping/>
  </p:clrMapOvr>
</p:sld>
</file>

<file path=ppt/slides/slide2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Ingredient A Chaud | La Vache Qui Rit | Carrefour Hyper + Drive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229</a:t>
            </a:fld>
            <a:endParaRPr lang="en-US"/>
          </a:p>
        </p:txBody>
      </p:sp>
    </p:spTree>
    <p:extLst>
      <p:ext uri="{BB962C8B-B14F-4D97-AF65-F5344CB8AC3E}">
        <p14:creationId xmlns:p14="http://schemas.microsoft.com/office/powerpoint/2010/main" val="28299006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9/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Aperitif | Intermarche Hyper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23</a:t>
            </a:fld>
            <a:endParaRPr lang="en-US"/>
          </a:p>
        </p:txBody>
      </p:sp>
    </p:spTree>
    <p:extLst>
      <p:ext uri="{BB962C8B-B14F-4D97-AF65-F5344CB8AC3E}">
        <p14:creationId xmlns:p14="http://schemas.microsoft.com/office/powerpoint/2010/main" val="1847512300"/>
      </p:ext>
    </p:extLst>
  </p:cSld>
  <p:clrMapOvr>
    <a:masterClrMapping/>
  </p:clrMapOvr>
</p:sld>
</file>

<file path=ppt/slides/slide2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Ingredient A Chaud | Boursin | Carrefour Hyper + Drive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230</a:t>
            </a:fld>
            <a:endParaRPr lang="en-US"/>
          </a:p>
        </p:txBody>
      </p:sp>
    </p:spTree>
    <p:extLst>
      <p:ext uri="{BB962C8B-B14F-4D97-AF65-F5344CB8AC3E}">
        <p14:creationId xmlns:p14="http://schemas.microsoft.com/office/powerpoint/2010/main" val="4273949837"/>
      </p:ext>
    </p:extLst>
  </p:cSld>
  <p:clrMapOvr>
    <a:masterClrMapping/>
  </p:clrMapOvr>
</p:sld>
</file>

<file path=ppt/slides/slide2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Ingredient A Chaud | La Vache Qui Rit | Carrefour Supermarket + Drive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231</a:t>
            </a:fld>
            <a:endParaRPr lang="en-US"/>
          </a:p>
        </p:txBody>
      </p:sp>
    </p:spTree>
    <p:extLst>
      <p:ext uri="{BB962C8B-B14F-4D97-AF65-F5344CB8AC3E}">
        <p14:creationId xmlns:p14="http://schemas.microsoft.com/office/powerpoint/2010/main" val="2945988516"/>
      </p:ext>
    </p:extLst>
  </p:cSld>
  <p:clrMapOvr>
    <a:masterClrMapping/>
  </p:clrMapOvr>
</p:sld>
</file>

<file path=ppt/slides/slide2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Ingredient A Chaud | Boursin | Carrefour Supermarket + Drive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232</a:t>
            </a:fld>
            <a:endParaRPr lang="en-US"/>
          </a:p>
        </p:txBody>
      </p:sp>
    </p:spTree>
    <p:extLst>
      <p:ext uri="{BB962C8B-B14F-4D97-AF65-F5344CB8AC3E}">
        <p14:creationId xmlns:p14="http://schemas.microsoft.com/office/powerpoint/2010/main" val="2537393905"/>
      </p:ext>
    </p:extLst>
  </p:cSld>
  <p:clrMapOvr>
    <a:masterClrMapping/>
  </p:clrMapOvr>
</p:sld>
</file>

<file path=ppt/slides/slide2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Ingredient A Chaud | La Vache Qui Rit | Carrefour Proximite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233</a:t>
            </a:fld>
            <a:endParaRPr lang="en-US"/>
          </a:p>
        </p:txBody>
      </p:sp>
    </p:spTree>
    <p:extLst>
      <p:ext uri="{BB962C8B-B14F-4D97-AF65-F5344CB8AC3E}">
        <p14:creationId xmlns:p14="http://schemas.microsoft.com/office/powerpoint/2010/main" val="2731658126"/>
      </p:ext>
    </p:extLst>
  </p:cSld>
  <p:clrMapOvr>
    <a:masterClrMapping/>
  </p:clrMapOvr>
</p:sld>
</file>

<file path=ppt/slides/slide2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Ingredient A Chaud | Boursin | Carrefour Proximite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234</a:t>
            </a:fld>
            <a:endParaRPr lang="en-US"/>
          </a:p>
        </p:txBody>
      </p:sp>
    </p:spTree>
    <p:extLst>
      <p:ext uri="{BB962C8B-B14F-4D97-AF65-F5344CB8AC3E}">
        <p14:creationId xmlns:p14="http://schemas.microsoft.com/office/powerpoint/2010/main" val="563271012"/>
      </p:ext>
    </p:extLst>
  </p:cSld>
  <p:clrMapOvr>
    <a:masterClrMapping/>
  </p:clrMapOvr>
</p:sld>
</file>

<file path=ppt/slides/slide2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Ingredient A Chaud | Boursin | Intermarche Super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235</a:t>
            </a:fld>
            <a:endParaRPr lang="en-US"/>
          </a:p>
        </p:txBody>
      </p:sp>
    </p:spTree>
    <p:extLst>
      <p:ext uri="{BB962C8B-B14F-4D97-AF65-F5344CB8AC3E}">
        <p14:creationId xmlns:p14="http://schemas.microsoft.com/office/powerpoint/2010/main" val="1808372763"/>
      </p:ext>
    </p:extLst>
  </p:cSld>
  <p:clrMapOvr>
    <a:masterClrMapping/>
  </p:clrMapOvr>
</p:sld>
</file>

<file path=ppt/slides/slide2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Ingredient A Chaud | Boursin | Intermarche Hyper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236</a:t>
            </a:fld>
            <a:endParaRPr lang="en-US"/>
          </a:p>
        </p:txBody>
      </p:sp>
    </p:spTree>
    <p:extLst>
      <p:ext uri="{BB962C8B-B14F-4D97-AF65-F5344CB8AC3E}">
        <p14:creationId xmlns:p14="http://schemas.microsoft.com/office/powerpoint/2010/main" val="1571034406"/>
      </p:ext>
    </p:extLst>
  </p:cSld>
  <p:clrMapOvr>
    <a:masterClrMapping/>
  </p:clrMapOvr>
</p:sld>
</file>

<file path=ppt/slides/slide2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Ingredient A Chaud | La Vache Qui Rit | Intermarche Proxi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237</a:t>
            </a:fld>
            <a:endParaRPr lang="en-US"/>
          </a:p>
        </p:txBody>
      </p:sp>
    </p:spTree>
    <p:extLst>
      <p:ext uri="{BB962C8B-B14F-4D97-AF65-F5344CB8AC3E}">
        <p14:creationId xmlns:p14="http://schemas.microsoft.com/office/powerpoint/2010/main" val="2653930203"/>
      </p:ext>
    </p:extLst>
  </p:cSld>
  <p:clrMapOvr>
    <a:masterClrMapping/>
  </p:clrMapOvr>
</p:sld>
</file>

<file path=ppt/slides/slide2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Ingredient A Chaud | Boursin | Intermarche Proxi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238</a:t>
            </a:fld>
            <a:endParaRPr lang="en-US"/>
          </a:p>
        </p:txBody>
      </p:sp>
    </p:spTree>
    <p:extLst>
      <p:ext uri="{BB962C8B-B14F-4D97-AF65-F5344CB8AC3E}">
        <p14:creationId xmlns:p14="http://schemas.microsoft.com/office/powerpoint/2010/main" val="3281015022"/>
      </p:ext>
    </p:extLst>
  </p:cSld>
  <p:clrMapOvr>
    <a:masterClrMapping/>
  </p:clrMapOvr>
</p:sld>
</file>

<file path=ppt/slides/slide2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Enfant | Kiri | Carrefour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239</a:t>
            </a:fld>
            <a:endParaRPr lang="en-US"/>
          </a:p>
        </p:txBody>
      </p:sp>
    </p:spTree>
    <p:extLst>
      <p:ext uri="{BB962C8B-B14F-4D97-AF65-F5344CB8AC3E}">
        <p14:creationId xmlns:p14="http://schemas.microsoft.com/office/powerpoint/2010/main" val="365391239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9/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Aperitif | Intermarche Proxi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24</a:t>
            </a:fld>
            <a:endParaRPr lang="en-US"/>
          </a:p>
        </p:txBody>
      </p:sp>
    </p:spTree>
    <p:extLst>
      <p:ext uri="{BB962C8B-B14F-4D97-AF65-F5344CB8AC3E}">
        <p14:creationId xmlns:p14="http://schemas.microsoft.com/office/powerpoint/2010/main" val="1858113742"/>
      </p:ext>
    </p:extLst>
  </p:cSld>
  <p:clrMapOvr>
    <a:masterClrMapping/>
  </p:clrMapOvr>
</p:sld>
</file>

<file path=ppt/slides/slide2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Enfant | La Vache Qui Rit | Carrefour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240</a:t>
            </a:fld>
            <a:endParaRPr lang="en-US"/>
          </a:p>
        </p:txBody>
      </p:sp>
    </p:spTree>
    <p:extLst>
      <p:ext uri="{BB962C8B-B14F-4D97-AF65-F5344CB8AC3E}">
        <p14:creationId xmlns:p14="http://schemas.microsoft.com/office/powerpoint/2010/main" val="3785979781"/>
      </p:ext>
    </p:extLst>
  </p:cSld>
  <p:clrMapOvr>
    <a:masterClrMapping/>
  </p:clrMapOvr>
</p:sld>
</file>

<file path=ppt/slides/slide2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Enfant | Kiri | Intermarche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241</a:t>
            </a:fld>
            <a:endParaRPr lang="en-US"/>
          </a:p>
        </p:txBody>
      </p:sp>
    </p:spTree>
    <p:extLst>
      <p:ext uri="{BB962C8B-B14F-4D97-AF65-F5344CB8AC3E}">
        <p14:creationId xmlns:p14="http://schemas.microsoft.com/office/powerpoint/2010/main" val="4208568514"/>
      </p:ext>
    </p:extLst>
  </p:cSld>
  <p:clrMapOvr>
    <a:masterClrMapping/>
  </p:clrMapOvr>
</p:sld>
</file>

<file path=ppt/slides/slide2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Enfant | La Vache Qui Rit | Intermarche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242</a:t>
            </a:fld>
            <a:endParaRPr lang="en-US"/>
          </a:p>
        </p:txBody>
      </p:sp>
    </p:spTree>
    <p:extLst>
      <p:ext uri="{BB962C8B-B14F-4D97-AF65-F5344CB8AC3E}">
        <p14:creationId xmlns:p14="http://schemas.microsoft.com/office/powerpoint/2010/main" val="642962358"/>
      </p:ext>
    </p:extLst>
  </p:cSld>
  <p:clrMapOvr>
    <a:masterClrMapping/>
  </p:clrMapOvr>
</p:sld>
</file>

<file path=ppt/slides/slide2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Enfant | Kiri | Carrefour Hyper + Drive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243</a:t>
            </a:fld>
            <a:endParaRPr lang="en-US"/>
          </a:p>
        </p:txBody>
      </p:sp>
    </p:spTree>
    <p:extLst>
      <p:ext uri="{BB962C8B-B14F-4D97-AF65-F5344CB8AC3E}">
        <p14:creationId xmlns:p14="http://schemas.microsoft.com/office/powerpoint/2010/main" val="3034363281"/>
      </p:ext>
    </p:extLst>
  </p:cSld>
  <p:clrMapOvr>
    <a:masterClrMapping/>
  </p:clrMapOvr>
</p:sld>
</file>

<file path=ppt/slides/slide2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Enfant | La Vache Qui Rit | Carrefour Hyper + Drive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244</a:t>
            </a:fld>
            <a:endParaRPr lang="en-US"/>
          </a:p>
        </p:txBody>
      </p:sp>
    </p:spTree>
    <p:extLst>
      <p:ext uri="{BB962C8B-B14F-4D97-AF65-F5344CB8AC3E}">
        <p14:creationId xmlns:p14="http://schemas.microsoft.com/office/powerpoint/2010/main" val="500019964"/>
      </p:ext>
    </p:extLst>
  </p:cSld>
  <p:clrMapOvr>
    <a:masterClrMapping/>
  </p:clrMapOvr>
</p:sld>
</file>

<file path=ppt/slides/slide2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Enfant | Kiri | Carrefour Supermarket + Drive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245</a:t>
            </a:fld>
            <a:endParaRPr lang="en-US"/>
          </a:p>
        </p:txBody>
      </p:sp>
    </p:spTree>
    <p:extLst>
      <p:ext uri="{BB962C8B-B14F-4D97-AF65-F5344CB8AC3E}">
        <p14:creationId xmlns:p14="http://schemas.microsoft.com/office/powerpoint/2010/main" val="974947027"/>
      </p:ext>
    </p:extLst>
  </p:cSld>
  <p:clrMapOvr>
    <a:masterClrMapping/>
  </p:clrMapOvr>
</p:sld>
</file>

<file path=ppt/slides/slide2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Enfant | La Vache Qui Rit | Carrefour Supermarket + Drive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246</a:t>
            </a:fld>
            <a:endParaRPr lang="en-US"/>
          </a:p>
        </p:txBody>
      </p:sp>
    </p:spTree>
    <p:extLst>
      <p:ext uri="{BB962C8B-B14F-4D97-AF65-F5344CB8AC3E}">
        <p14:creationId xmlns:p14="http://schemas.microsoft.com/office/powerpoint/2010/main" val="3482096073"/>
      </p:ext>
    </p:extLst>
  </p:cSld>
  <p:clrMapOvr>
    <a:masterClrMapping/>
  </p:clrMapOvr>
</p:sld>
</file>

<file path=ppt/slides/slide2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Enfant | Kiri | Carrefour Proximite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247</a:t>
            </a:fld>
            <a:endParaRPr lang="en-US"/>
          </a:p>
        </p:txBody>
      </p:sp>
    </p:spTree>
    <p:extLst>
      <p:ext uri="{BB962C8B-B14F-4D97-AF65-F5344CB8AC3E}">
        <p14:creationId xmlns:p14="http://schemas.microsoft.com/office/powerpoint/2010/main" val="4208756557"/>
      </p:ext>
    </p:extLst>
  </p:cSld>
  <p:clrMapOvr>
    <a:masterClrMapping/>
  </p:clrMapOvr>
</p:sld>
</file>

<file path=ppt/slides/slide2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Enfant | La Vache Qui Rit | Carrefour Proximite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248</a:t>
            </a:fld>
            <a:endParaRPr lang="en-US"/>
          </a:p>
        </p:txBody>
      </p:sp>
    </p:spTree>
    <p:extLst>
      <p:ext uri="{BB962C8B-B14F-4D97-AF65-F5344CB8AC3E}">
        <p14:creationId xmlns:p14="http://schemas.microsoft.com/office/powerpoint/2010/main" val="4180459938"/>
      </p:ext>
    </p:extLst>
  </p:cSld>
  <p:clrMapOvr>
    <a:masterClrMapping/>
  </p:clrMapOvr>
</p:sld>
</file>

<file path=ppt/slides/slide2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Enfant | Kiri | Intermarche Super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249</a:t>
            </a:fld>
            <a:endParaRPr lang="en-US"/>
          </a:p>
        </p:txBody>
      </p:sp>
    </p:spTree>
    <p:extLst>
      <p:ext uri="{BB962C8B-B14F-4D97-AF65-F5344CB8AC3E}">
        <p14:creationId xmlns:p14="http://schemas.microsoft.com/office/powerpoint/2010/main" val="89973498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9/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Ingredient A Chaud | Carrefour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25</a:t>
            </a:fld>
            <a:endParaRPr lang="en-US"/>
          </a:p>
        </p:txBody>
      </p:sp>
    </p:spTree>
    <p:extLst>
      <p:ext uri="{BB962C8B-B14F-4D97-AF65-F5344CB8AC3E}">
        <p14:creationId xmlns:p14="http://schemas.microsoft.com/office/powerpoint/2010/main" val="2676155489"/>
      </p:ext>
    </p:extLst>
  </p:cSld>
  <p:clrMapOvr>
    <a:masterClrMapping/>
  </p:clrMapOvr>
</p:sld>
</file>

<file path=ppt/slides/slide2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Enfant | La Vache Qui Rit | Intermarche Super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250</a:t>
            </a:fld>
            <a:endParaRPr lang="en-US"/>
          </a:p>
        </p:txBody>
      </p:sp>
    </p:spTree>
    <p:extLst>
      <p:ext uri="{BB962C8B-B14F-4D97-AF65-F5344CB8AC3E}">
        <p14:creationId xmlns:p14="http://schemas.microsoft.com/office/powerpoint/2010/main" val="1493322850"/>
      </p:ext>
    </p:extLst>
  </p:cSld>
  <p:clrMapOvr>
    <a:masterClrMapping/>
  </p:clrMapOvr>
</p:sld>
</file>

<file path=ppt/slides/slide2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Enfant | Kiri | Intermarche Hyper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251</a:t>
            </a:fld>
            <a:endParaRPr lang="en-US"/>
          </a:p>
        </p:txBody>
      </p:sp>
    </p:spTree>
    <p:extLst>
      <p:ext uri="{BB962C8B-B14F-4D97-AF65-F5344CB8AC3E}">
        <p14:creationId xmlns:p14="http://schemas.microsoft.com/office/powerpoint/2010/main" val="3839026923"/>
      </p:ext>
    </p:extLst>
  </p:cSld>
  <p:clrMapOvr>
    <a:masterClrMapping/>
  </p:clrMapOvr>
</p:sld>
</file>

<file path=ppt/slides/slide2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Enfant | La Vache Qui Rit | Intermarche Hyper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252</a:t>
            </a:fld>
            <a:endParaRPr lang="en-US"/>
          </a:p>
        </p:txBody>
      </p:sp>
    </p:spTree>
    <p:extLst>
      <p:ext uri="{BB962C8B-B14F-4D97-AF65-F5344CB8AC3E}">
        <p14:creationId xmlns:p14="http://schemas.microsoft.com/office/powerpoint/2010/main" val="46175443"/>
      </p:ext>
    </p:extLst>
  </p:cSld>
  <p:clrMapOvr>
    <a:masterClrMapping/>
  </p:clrMapOvr>
</p:sld>
</file>

<file path=ppt/slides/slide2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Enfant | Kiri | Intermarche Proxi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253</a:t>
            </a:fld>
            <a:endParaRPr lang="en-US"/>
          </a:p>
        </p:txBody>
      </p:sp>
    </p:spTree>
    <p:extLst>
      <p:ext uri="{BB962C8B-B14F-4D97-AF65-F5344CB8AC3E}">
        <p14:creationId xmlns:p14="http://schemas.microsoft.com/office/powerpoint/2010/main" val="2824536042"/>
      </p:ext>
    </p:extLst>
  </p:cSld>
  <p:clrMapOvr>
    <a:masterClrMapping/>
  </p:clrMapOvr>
</p:sld>
</file>

<file path=ppt/slides/slide2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Enfant | La Vache Qui Rit | Intermarche Proxi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254</a:t>
            </a:fld>
            <a:endParaRPr lang="en-US"/>
          </a:p>
        </p:txBody>
      </p:sp>
    </p:spTree>
    <p:extLst>
      <p:ext uri="{BB962C8B-B14F-4D97-AF65-F5344CB8AC3E}">
        <p14:creationId xmlns:p14="http://schemas.microsoft.com/office/powerpoint/2010/main" val="4033491220"/>
      </p:ext>
    </p:extLst>
  </p:cSld>
  <p:clrMapOvr>
    <a:masterClrMapping/>
  </p:clrMapOvr>
</p:sld>
</file>

<file path=ppt/slides/slide2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Frais A Tartiner | Kiri | Carrefour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255</a:t>
            </a:fld>
            <a:endParaRPr lang="en-US"/>
          </a:p>
        </p:txBody>
      </p:sp>
    </p:spTree>
    <p:extLst>
      <p:ext uri="{BB962C8B-B14F-4D97-AF65-F5344CB8AC3E}">
        <p14:creationId xmlns:p14="http://schemas.microsoft.com/office/powerpoint/2010/main" val="2851226337"/>
      </p:ext>
    </p:extLst>
  </p:cSld>
  <p:clrMapOvr>
    <a:masterClrMapping/>
  </p:clrMapOvr>
</p:sld>
</file>

<file path=ppt/slides/slide2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Frais A Tartiner | Boursin | Carrefour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256</a:t>
            </a:fld>
            <a:endParaRPr lang="en-US"/>
          </a:p>
        </p:txBody>
      </p:sp>
    </p:spTree>
    <p:extLst>
      <p:ext uri="{BB962C8B-B14F-4D97-AF65-F5344CB8AC3E}">
        <p14:creationId xmlns:p14="http://schemas.microsoft.com/office/powerpoint/2010/main" val="509600193"/>
      </p:ext>
    </p:extLst>
  </p:cSld>
  <p:clrMapOvr>
    <a:masterClrMapping/>
  </p:clrMapOvr>
</p:sld>
</file>

<file path=ppt/slides/slide2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Frais A Tartiner | Kiri | Intermarche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257</a:t>
            </a:fld>
            <a:endParaRPr lang="en-US"/>
          </a:p>
        </p:txBody>
      </p:sp>
    </p:spTree>
    <p:extLst>
      <p:ext uri="{BB962C8B-B14F-4D97-AF65-F5344CB8AC3E}">
        <p14:creationId xmlns:p14="http://schemas.microsoft.com/office/powerpoint/2010/main" val="2811790519"/>
      </p:ext>
    </p:extLst>
  </p:cSld>
  <p:clrMapOvr>
    <a:masterClrMapping/>
  </p:clrMapOvr>
</p:sld>
</file>

<file path=ppt/slides/slide2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Frais A Tartiner | Boursin | Intermarche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258</a:t>
            </a:fld>
            <a:endParaRPr lang="en-US"/>
          </a:p>
        </p:txBody>
      </p:sp>
    </p:spTree>
    <p:extLst>
      <p:ext uri="{BB962C8B-B14F-4D97-AF65-F5344CB8AC3E}">
        <p14:creationId xmlns:p14="http://schemas.microsoft.com/office/powerpoint/2010/main" val="2782332891"/>
      </p:ext>
    </p:extLst>
  </p:cSld>
  <p:clrMapOvr>
    <a:masterClrMapping/>
  </p:clrMapOvr>
</p:sld>
</file>

<file path=ppt/slides/slide2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Frais A Tartiner | Kiri | Carrefour Hyper + Drive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259</a:t>
            </a:fld>
            <a:endParaRPr lang="en-US"/>
          </a:p>
        </p:txBody>
      </p:sp>
    </p:spTree>
    <p:extLst>
      <p:ext uri="{BB962C8B-B14F-4D97-AF65-F5344CB8AC3E}">
        <p14:creationId xmlns:p14="http://schemas.microsoft.com/office/powerpoint/2010/main" val="193768796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9/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Ingredient A Chaud | Intermarche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26</a:t>
            </a:fld>
            <a:endParaRPr lang="en-US"/>
          </a:p>
        </p:txBody>
      </p:sp>
    </p:spTree>
    <p:extLst>
      <p:ext uri="{BB962C8B-B14F-4D97-AF65-F5344CB8AC3E}">
        <p14:creationId xmlns:p14="http://schemas.microsoft.com/office/powerpoint/2010/main" val="209673412"/>
      </p:ext>
    </p:extLst>
  </p:cSld>
  <p:clrMapOvr>
    <a:masterClrMapping/>
  </p:clrMapOvr>
</p:sld>
</file>

<file path=ppt/slides/slide2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Frais A Tartiner | Boursin | Carrefour Hyper + Drive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260</a:t>
            </a:fld>
            <a:endParaRPr lang="en-US"/>
          </a:p>
        </p:txBody>
      </p:sp>
    </p:spTree>
    <p:extLst>
      <p:ext uri="{BB962C8B-B14F-4D97-AF65-F5344CB8AC3E}">
        <p14:creationId xmlns:p14="http://schemas.microsoft.com/office/powerpoint/2010/main" val="573077898"/>
      </p:ext>
    </p:extLst>
  </p:cSld>
  <p:clrMapOvr>
    <a:masterClrMapping/>
  </p:clrMapOvr>
</p:sld>
</file>

<file path=ppt/slides/slide2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Frais A Tartiner | Kiri | Carrefour Supermarket + Drive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261</a:t>
            </a:fld>
            <a:endParaRPr lang="en-US"/>
          </a:p>
        </p:txBody>
      </p:sp>
    </p:spTree>
    <p:extLst>
      <p:ext uri="{BB962C8B-B14F-4D97-AF65-F5344CB8AC3E}">
        <p14:creationId xmlns:p14="http://schemas.microsoft.com/office/powerpoint/2010/main" val="1064584200"/>
      </p:ext>
    </p:extLst>
  </p:cSld>
  <p:clrMapOvr>
    <a:masterClrMapping/>
  </p:clrMapOvr>
</p:sld>
</file>

<file path=ppt/slides/slide2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Frais A Tartiner | Boursin | Carrefour Supermarket + Drive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262</a:t>
            </a:fld>
            <a:endParaRPr lang="en-US"/>
          </a:p>
        </p:txBody>
      </p:sp>
    </p:spTree>
    <p:extLst>
      <p:ext uri="{BB962C8B-B14F-4D97-AF65-F5344CB8AC3E}">
        <p14:creationId xmlns:p14="http://schemas.microsoft.com/office/powerpoint/2010/main" val="2158380412"/>
      </p:ext>
    </p:extLst>
  </p:cSld>
  <p:clrMapOvr>
    <a:masterClrMapping/>
  </p:clrMapOvr>
</p:sld>
</file>

<file path=ppt/slides/slide2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Frais A Tartiner | Kiri | Carrefour Proximite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263</a:t>
            </a:fld>
            <a:endParaRPr lang="en-US"/>
          </a:p>
        </p:txBody>
      </p:sp>
    </p:spTree>
    <p:extLst>
      <p:ext uri="{BB962C8B-B14F-4D97-AF65-F5344CB8AC3E}">
        <p14:creationId xmlns:p14="http://schemas.microsoft.com/office/powerpoint/2010/main" val="3061860973"/>
      </p:ext>
    </p:extLst>
  </p:cSld>
  <p:clrMapOvr>
    <a:masterClrMapping/>
  </p:clrMapOvr>
</p:sld>
</file>

<file path=ppt/slides/slide2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Frais A Tartiner | Boursin | Carrefour Proximite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264</a:t>
            </a:fld>
            <a:endParaRPr lang="en-US"/>
          </a:p>
        </p:txBody>
      </p:sp>
    </p:spTree>
    <p:extLst>
      <p:ext uri="{BB962C8B-B14F-4D97-AF65-F5344CB8AC3E}">
        <p14:creationId xmlns:p14="http://schemas.microsoft.com/office/powerpoint/2010/main" val="534502468"/>
      </p:ext>
    </p:extLst>
  </p:cSld>
  <p:clrMapOvr>
    <a:masterClrMapping/>
  </p:clrMapOvr>
</p:sld>
</file>

<file path=ppt/slides/slide2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Frais A Tartiner | Kiri | Intermarche Super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265</a:t>
            </a:fld>
            <a:endParaRPr lang="en-US"/>
          </a:p>
        </p:txBody>
      </p:sp>
    </p:spTree>
    <p:extLst>
      <p:ext uri="{BB962C8B-B14F-4D97-AF65-F5344CB8AC3E}">
        <p14:creationId xmlns:p14="http://schemas.microsoft.com/office/powerpoint/2010/main" val="112041070"/>
      </p:ext>
    </p:extLst>
  </p:cSld>
  <p:clrMapOvr>
    <a:masterClrMapping/>
  </p:clrMapOvr>
</p:sld>
</file>

<file path=ppt/slides/slide2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Frais A Tartiner | Boursin | Intermarche Super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266</a:t>
            </a:fld>
            <a:endParaRPr lang="en-US"/>
          </a:p>
        </p:txBody>
      </p:sp>
    </p:spTree>
    <p:extLst>
      <p:ext uri="{BB962C8B-B14F-4D97-AF65-F5344CB8AC3E}">
        <p14:creationId xmlns:p14="http://schemas.microsoft.com/office/powerpoint/2010/main" val="1856784528"/>
      </p:ext>
    </p:extLst>
  </p:cSld>
  <p:clrMapOvr>
    <a:masterClrMapping/>
  </p:clrMapOvr>
</p:sld>
</file>

<file path=ppt/slides/slide2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Frais A Tartiner | Kiri | Intermarche Hyper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267</a:t>
            </a:fld>
            <a:endParaRPr lang="en-US"/>
          </a:p>
        </p:txBody>
      </p:sp>
    </p:spTree>
    <p:extLst>
      <p:ext uri="{BB962C8B-B14F-4D97-AF65-F5344CB8AC3E}">
        <p14:creationId xmlns:p14="http://schemas.microsoft.com/office/powerpoint/2010/main" val="1292205295"/>
      </p:ext>
    </p:extLst>
  </p:cSld>
  <p:clrMapOvr>
    <a:masterClrMapping/>
  </p:clrMapOvr>
</p:sld>
</file>

<file path=ppt/slides/slide2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Frais A Tartiner | Boursin | Intermarche Hyper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268</a:t>
            </a:fld>
            <a:endParaRPr lang="en-US"/>
          </a:p>
        </p:txBody>
      </p:sp>
    </p:spTree>
    <p:extLst>
      <p:ext uri="{BB962C8B-B14F-4D97-AF65-F5344CB8AC3E}">
        <p14:creationId xmlns:p14="http://schemas.microsoft.com/office/powerpoint/2010/main" val="3276191942"/>
      </p:ext>
    </p:extLst>
  </p:cSld>
  <p:clrMapOvr>
    <a:masterClrMapping/>
  </p:clrMapOvr>
</p:sld>
</file>

<file path=ppt/slides/slide2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Frais A Tartiner | Kiri | Intermarche Proxi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269</a:t>
            </a:fld>
            <a:endParaRPr lang="en-US"/>
          </a:p>
        </p:txBody>
      </p:sp>
    </p:spTree>
    <p:extLst>
      <p:ext uri="{BB962C8B-B14F-4D97-AF65-F5344CB8AC3E}">
        <p14:creationId xmlns:p14="http://schemas.microsoft.com/office/powerpoint/2010/main" val="311083862"/>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9/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Ingredient A Chaud | Carrefour Hyper + Drive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27</a:t>
            </a:fld>
            <a:endParaRPr lang="en-US"/>
          </a:p>
        </p:txBody>
      </p:sp>
    </p:spTree>
    <p:extLst>
      <p:ext uri="{BB962C8B-B14F-4D97-AF65-F5344CB8AC3E}">
        <p14:creationId xmlns:p14="http://schemas.microsoft.com/office/powerpoint/2010/main" val="2078721443"/>
      </p:ext>
    </p:extLst>
  </p:cSld>
  <p:clrMapOvr>
    <a:masterClrMapping/>
  </p:clrMapOvr>
</p:sld>
</file>

<file path=ppt/slides/slide2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Frais A Tartiner | Boursin | Intermarche Proxi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270</a:t>
            </a:fld>
            <a:endParaRPr lang="en-US"/>
          </a:p>
        </p:txBody>
      </p:sp>
    </p:spTree>
    <p:extLst>
      <p:ext uri="{BB962C8B-B14F-4D97-AF65-F5344CB8AC3E}">
        <p14:creationId xmlns:p14="http://schemas.microsoft.com/office/powerpoint/2010/main" val="182177639"/>
      </p:ext>
    </p:extLst>
  </p:cSld>
  <p:clrMapOvr>
    <a:masterClrMapping/>
  </p:clrMapOvr>
</p:sld>
</file>

<file path=ppt/slides/slide2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Salade | Boursin | Carrefour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271</a:t>
            </a:fld>
            <a:endParaRPr lang="en-US"/>
          </a:p>
        </p:txBody>
      </p:sp>
    </p:spTree>
    <p:extLst>
      <p:ext uri="{BB962C8B-B14F-4D97-AF65-F5344CB8AC3E}">
        <p14:creationId xmlns:p14="http://schemas.microsoft.com/office/powerpoint/2010/main" val="3264744911"/>
      </p:ext>
    </p:extLst>
  </p:cSld>
  <p:clrMapOvr>
    <a:masterClrMapping/>
  </p:clrMapOvr>
</p:sld>
</file>

<file path=ppt/slides/slide2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Salade | Boursin | Intermarche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272</a:t>
            </a:fld>
            <a:endParaRPr lang="en-US"/>
          </a:p>
        </p:txBody>
      </p:sp>
    </p:spTree>
    <p:extLst>
      <p:ext uri="{BB962C8B-B14F-4D97-AF65-F5344CB8AC3E}">
        <p14:creationId xmlns:p14="http://schemas.microsoft.com/office/powerpoint/2010/main" val="1269932858"/>
      </p:ext>
    </p:extLst>
  </p:cSld>
  <p:clrMapOvr>
    <a:masterClrMapping/>
  </p:clrMapOvr>
</p:sld>
</file>

<file path=ppt/slides/slide2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Salade | Boursin | Carrefour Hyper + Drive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273</a:t>
            </a:fld>
            <a:endParaRPr lang="en-US"/>
          </a:p>
        </p:txBody>
      </p:sp>
    </p:spTree>
    <p:extLst>
      <p:ext uri="{BB962C8B-B14F-4D97-AF65-F5344CB8AC3E}">
        <p14:creationId xmlns:p14="http://schemas.microsoft.com/office/powerpoint/2010/main" val="2978082859"/>
      </p:ext>
    </p:extLst>
  </p:cSld>
  <p:clrMapOvr>
    <a:masterClrMapping/>
  </p:clrMapOvr>
</p:sld>
</file>

<file path=ppt/slides/slide2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Salade | Boursin | Carrefour Supermarket + Drive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274</a:t>
            </a:fld>
            <a:endParaRPr lang="en-US"/>
          </a:p>
        </p:txBody>
      </p:sp>
    </p:spTree>
    <p:extLst>
      <p:ext uri="{BB962C8B-B14F-4D97-AF65-F5344CB8AC3E}">
        <p14:creationId xmlns:p14="http://schemas.microsoft.com/office/powerpoint/2010/main" val="32959483"/>
      </p:ext>
    </p:extLst>
  </p:cSld>
  <p:clrMapOvr>
    <a:masterClrMapping/>
  </p:clrMapOvr>
</p:sld>
</file>

<file path=ppt/slides/slide2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Salade | Boursin | Carrefour Proximite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275</a:t>
            </a:fld>
            <a:endParaRPr lang="en-US"/>
          </a:p>
        </p:txBody>
      </p:sp>
    </p:spTree>
    <p:extLst>
      <p:ext uri="{BB962C8B-B14F-4D97-AF65-F5344CB8AC3E}">
        <p14:creationId xmlns:p14="http://schemas.microsoft.com/office/powerpoint/2010/main" val="297883499"/>
      </p:ext>
    </p:extLst>
  </p:cSld>
  <p:clrMapOvr>
    <a:masterClrMapping/>
  </p:clrMapOvr>
</p:sld>
</file>

<file path=ppt/slides/slide2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Salade | Boursin | Intermarche Super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276</a:t>
            </a:fld>
            <a:endParaRPr lang="en-US"/>
          </a:p>
        </p:txBody>
      </p:sp>
    </p:spTree>
    <p:extLst>
      <p:ext uri="{BB962C8B-B14F-4D97-AF65-F5344CB8AC3E}">
        <p14:creationId xmlns:p14="http://schemas.microsoft.com/office/powerpoint/2010/main" val="1378733655"/>
      </p:ext>
    </p:extLst>
  </p:cSld>
  <p:clrMapOvr>
    <a:masterClrMapping/>
  </p:clrMapOvr>
</p:sld>
</file>

<file path=ppt/slides/slide2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Salade | Boursin | Intermarche Hyper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277</a:t>
            </a:fld>
            <a:endParaRPr lang="en-US"/>
          </a:p>
        </p:txBody>
      </p:sp>
    </p:spTree>
    <p:extLst>
      <p:ext uri="{BB962C8B-B14F-4D97-AF65-F5344CB8AC3E}">
        <p14:creationId xmlns:p14="http://schemas.microsoft.com/office/powerpoint/2010/main" val="2539939110"/>
      </p:ext>
    </p:extLst>
  </p:cSld>
  <p:clrMapOvr>
    <a:masterClrMapping/>
  </p:clrMapOvr>
</p:sld>
</file>

<file path=ppt/slides/slide2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Salade | Boursin | Intermarche Proxi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278</a:t>
            </a:fld>
            <a:endParaRPr lang="en-US"/>
          </a:p>
        </p:txBody>
      </p:sp>
    </p:spTree>
    <p:extLst>
      <p:ext uri="{BB962C8B-B14F-4D97-AF65-F5344CB8AC3E}">
        <p14:creationId xmlns:p14="http://schemas.microsoft.com/office/powerpoint/2010/main" val="1270882958"/>
      </p:ext>
    </p:extLst>
  </p:cSld>
  <p:clrMapOvr>
    <a:masterClrMapping/>
  </p:clrMapOvr>
</p:sld>
</file>

<file path=ppt/slides/slide2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9/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Total Fromage | Carrefour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dd Std Undefined Rape 1X2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Caprice Des Dieux</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aprice Des Dieux Specialite Ovale Boite 1X3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dd Std Undefined Tranche 1X2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dd Std Emmental Rape 1X5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ivate Label Mdd Std Soft Cheese Salade 150G</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La Vache Qui Ri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La Vache Qui Rit Nature Fromage Fondu Boite Ronde 1X512Gr 32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776375343"/>
                  </a:ext>
                </a:extLst>
              </a:tr>
              <a:tr h="164170">
                <a:tc>
                  <a:txBody>
                    <a:bodyPr/>
                    <a:lstStyle/>
                    <a:p>
                      <a:pPr algn="ctr">
                        <a:defRPr sz="800">
                          <a:latin typeface="Nexa Book"/>
                        </a:defRPr>
                      </a:pPr>
                      <a:r>
                        <a:t>Coeur De Li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oeur De Lion Coulommiers Lait Pasteurise Boite 1X3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dd Std Undefined Rape 1X1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dd Std Emmental Rape 1X3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dd Std Undefined Rape 1X1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Caprice Des Dieux</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aprice Des Dieux Specialite Ovale Boite 1X2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Soign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oignon Ste Maure Affine Buche 1X2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Presiden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esident Camembert Lait Pasteurise Boite 1X2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dd Std Undefined Piece 1X125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dd Std Undefined 1X4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Mini Baby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ini Babybel Rouge Filet St Paulin Ferme 1X264Gr 12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dd Std Comte Bloc 1X2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dd Std Emmental Rape Chapelet 1X7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Le Rustiqu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 Rustique Camembert Lait Pasteurise Boite 1X2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Coeur De Li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oeur De Lion Camembert Lait Pasteurise Boite 1X2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279</a:t>
            </a:fld>
            <a:endParaRPr lang="en-US"/>
          </a:p>
        </p:txBody>
      </p:sp>
    </p:spTree>
    <p:extLst>
      <p:ext uri="{BB962C8B-B14F-4D97-AF65-F5344CB8AC3E}">
        <p14:creationId xmlns:p14="http://schemas.microsoft.com/office/powerpoint/2010/main" val="162836021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9/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Ingredient A Chaud | Carrefour Supermarket + Drive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28</a:t>
            </a:fld>
            <a:endParaRPr lang="en-US"/>
          </a:p>
        </p:txBody>
      </p:sp>
    </p:spTree>
    <p:extLst>
      <p:ext uri="{BB962C8B-B14F-4D97-AF65-F5344CB8AC3E}">
        <p14:creationId xmlns:p14="http://schemas.microsoft.com/office/powerpoint/2010/main" val="492329863"/>
      </p:ext>
    </p:extLst>
  </p:cSld>
  <p:clrMapOvr>
    <a:masterClrMapping/>
  </p:clrMapOvr>
</p:sld>
</file>

<file path=ppt/slides/slide2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9/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Total Fromage | Intermarche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Paturages Emmental Rape Sachet 1X5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Paturages Emmental Rape Sachet 1X3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Paturages Emmental Rape Sachet 1X2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Paturages Comte Bloc Sachet 1X3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Paturages Emmental Rape Sachet 3X7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Caprice Des Dieux</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aprice Des Dieux Specialite Ovale Boite 1X3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Paturages Emmental Rape Sachet 1X10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Paturages Mozzarella Piece Sachet 1X125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Paturages Coulommiers Lait Pasteurise Boite 1X3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Paturages Raclette Boite 1X4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Paturages Emmental Bloc Sachet 1X2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Top Budget Emmental Rape Sachet 1X2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Paturages Emmental Bloc Sachet 1X48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Paturages Camembert Lait Pasteurise Boite 1X2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Ids Grana Padano Rape Sachet 1X1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Coeur De Li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oeur De Lion Coulommiers Lait Pasteurise Boite 1X3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8.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a:defRPr sz="800">
                          <a:latin typeface="Nexa Book"/>
                        </a:defRPr>
                      </a:pPr>
                      <a:r>
                        <a:t>Presiden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esident Camembert Lait Pasteurise Boite 1X2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8.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Ids Feta Autre Boite 1X2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Mini Baby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ini Babybel Rouge Filet St Paulin Ferme 1X264Gr 12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Soign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oignon Ste Maure Affine Buche 1X2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280</a:t>
            </a:fld>
            <a:endParaRPr lang="en-US"/>
          </a:p>
        </p:txBody>
      </p:sp>
    </p:spTree>
    <p:extLst>
      <p:ext uri="{BB962C8B-B14F-4D97-AF65-F5344CB8AC3E}">
        <p14:creationId xmlns:p14="http://schemas.microsoft.com/office/powerpoint/2010/main" val="3901146174"/>
      </p:ext>
    </p:extLst>
  </p:cSld>
  <p:clrMapOvr>
    <a:masterClrMapping/>
  </p:clrMapOvr>
</p:sld>
</file>

<file path=ppt/slides/slide2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9/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Total Fromage | Carrefour Hyper + Drive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Caprice Des Dieux</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aprice Des Dieux Specialite Ovale Boite 1X3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La Vache Qui Ri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La Vache Qui Rit Nature Fromage Fondu Boite Ronde 1X512Gr 32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906332058"/>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dd Std Undefined Rape 1X2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dd Std Emmental Rape 1X3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ivate Label Mdd Std Soft Cheese Salade 150G</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dd Std Emmental Rape 1X5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dd Std Undefined Tranche 1X2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Mini Baby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ini Babybel Rouge Filet St Paulin Ferme 1X264Gr 12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Kiri</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Kiri Creme Fromage Blanc Frais Carre 1X432Gr 24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1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2304999854"/>
                  </a:ext>
                </a:extLst>
              </a:tr>
              <a:tr h="164170">
                <a:tc>
                  <a:txBody>
                    <a:bodyPr/>
                    <a:lstStyle/>
                    <a:p>
                      <a:pPr algn="ctr">
                        <a:defRPr sz="800">
                          <a:latin typeface="Nexa Book"/>
                        </a:defRPr>
                      </a:pPr>
                      <a:r>
                        <a:t>Coeur De Li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oeur De Lion Coulommiers Lait Pasteurise Boite 1X3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Caprice Des Dieux</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aprice Des Dieux Specialite Ovale Boite 1X2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Presiden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esident Camembert Lait Pasteurise Boite 1X2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dd Std Undefined Rape 1X1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dd Std Undefined 1X4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Soign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oignon Ste Maure Affine Buche 1X2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dd Std Undefined Rape 1X1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a:defRPr sz="800">
                          <a:latin typeface="Nexa Book"/>
                        </a:defRPr>
                      </a:pPr>
                      <a:r>
                        <a:t>Soign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oignon Ste Maure Affine Buche 1X3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dd Std Undefined Piece 1X125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La Vache Qui Ri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La Vache Qui Rit Nature Fromage Fondu Boite Ronde 1X384Gr 24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2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2959808831"/>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dd Std Emmental Rape Chapelet 1X7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281</a:t>
            </a:fld>
            <a:endParaRPr lang="en-US"/>
          </a:p>
        </p:txBody>
      </p:sp>
    </p:spTree>
    <p:extLst>
      <p:ext uri="{BB962C8B-B14F-4D97-AF65-F5344CB8AC3E}">
        <p14:creationId xmlns:p14="http://schemas.microsoft.com/office/powerpoint/2010/main" val="934217386"/>
      </p:ext>
    </p:extLst>
  </p:cSld>
  <p:clrMapOvr>
    <a:masterClrMapping/>
  </p:clrMapOvr>
</p:sld>
</file>

<file path=ppt/slides/slide2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9/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Total Fromage | Carrefour Supermarket + Drive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dd Std Undefined Rape 1X2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Caprice Des Dieux</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aprice Des Dieux Specialite Ovale Boite 1X3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dd Std Emmental Rape 1X5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ivate Label Mdd Std Soft Cheese Salade 150G</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dd Std Undefined Tranche 1X2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Coeur De Li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oeur De Lion Coulommiers Lait Pasteurise Boite 1X3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dd Std Emmental Rape 1X3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Presiden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esident Camembert Lait Pasteurise Boite 1X2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La Vache Qui Ri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La Vache Qui Rit Nature Fromage Fondu Boite Ronde 1X512Gr 32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1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2304999854"/>
                  </a:ext>
                </a:extLst>
              </a:tr>
              <a:tr h="164170">
                <a:tc>
                  <a:txBody>
                    <a:bodyPr/>
                    <a:lstStyle/>
                    <a:p>
                      <a:pPr algn="ctr">
                        <a:defRPr sz="800">
                          <a:latin typeface="Nexa Book"/>
                        </a:defRPr>
                      </a:pPr>
                      <a:r>
                        <a:t>Mini Baby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ini Babybel Rouge Filet St Paulin Ferme 1X264Gr 12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dd Std Undefined Rape 1X1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Caprice Des Dieux</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aprice Des Dieux Specialite Ovale Boite 1X2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dd Std Undefined Rape 1X1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Soign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oignon Ste Maure Affine Buche 1X2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dd Std Undefined Piece 1X125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7.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dd Std Emmental Rape Chapelet 1X7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dd Std Undefined 1X4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Coeur De Li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oeur De Lion Camembert Lait Pasteurise Boite 1X2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Galbani</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albani Mozzarella Piece Sachet 1X125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Soign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oignon Ste Maure Affine Buche 1X3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282</a:t>
            </a:fld>
            <a:endParaRPr lang="en-US"/>
          </a:p>
        </p:txBody>
      </p:sp>
    </p:spTree>
    <p:extLst>
      <p:ext uri="{BB962C8B-B14F-4D97-AF65-F5344CB8AC3E}">
        <p14:creationId xmlns:p14="http://schemas.microsoft.com/office/powerpoint/2010/main" val="1380887209"/>
      </p:ext>
    </p:extLst>
  </p:cSld>
  <p:clrMapOvr>
    <a:masterClrMapping/>
  </p:clrMapOvr>
</p:sld>
</file>

<file path=ppt/slides/slide2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9/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Total Fromage | Carrefour Proximite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dd Std Undefined Tranche 1X2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dd Std Undefined Rape 1X2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dd Std Undefined Rape 1X1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dd Std Emmental Rape 1X5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dd Std Undefined Rape 1X1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dd Std Undefined Piece 1X125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Soign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oignon Ste Maure Affine Buche 1X2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Caprice Des Dieux</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aprice Des Dieux Specialite Ovale Boite 1X2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Mini Baby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ini Babybel Rouge Filet St Paulin Ferme 1X132Gr 6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dd Std Comte Bloc 1X2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St More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t Moret Fromage Frais A Tartiner Boite 1X1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La Vache Qui Ri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La Vache Qui Rit Nature Fromage Fondu Boite Ronde 1X192Gr 12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26.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2976062154"/>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dd Std Undefined 1X4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Le Rustiqu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 Rustique Camembert Lait Pasteurise Boite 1X2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8.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Coeur De Li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oeur De Lion Coulommiers Lait Pasteurise Boite 1X3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Kiri</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Kiri Creme Fromage Blanc Frais Carre 1X144Gr 8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3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3490141980"/>
                  </a:ext>
                </a:extLst>
              </a:tr>
              <a:tr h="164170">
                <a:tc>
                  <a:txBody>
                    <a:bodyPr/>
                    <a:lstStyle/>
                    <a:p>
                      <a:pPr algn="ctr">
                        <a:defRPr sz="800">
                          <a:latin typeface="Nexa Book"/>
                        </a:defRPr>
                      </a:pPr>
                      <a:r>
                        <a:t>Galbani</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albani Mozzarella Piece Sachet 1X125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Presiden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esident Emmental Rape Sachet 1X2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4.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dd Std Undefined Piece 1X2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5.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Paysan Bret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aysan Breton Fromage Fouette De Madame Loik Frais A Tartiner Sel Guerande 1X18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6.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283</a:t>
            </a:fld>
            <a:endParaRPr lang="en-US"/>
          </a:p>
        </p:txBody>
      </p:sp>
    </p:spTree>
    <p:extLst>
      <p:ext uri="{BB962C8B-B14F-4D97-AF65-F5344CB8AC3E}">
        <p14:creationId xmlns:p14="http://schemas.microsoft.com/office/powerpoint/2010/main" val="238289189"/>
      </p:ext>
    </p:extLst>
  </p:cSld>
  <p:clrMapOvr>
    <a:masterClrMapping/>
  </p:clrMapOvr>
</p:sld>
</file>

<file path=ppt/slides/slide2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9/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Total Fromage | Intermarche Super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Paturages Emmental Rape Sachet 1X5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Paturages Emmental Rape Sachet 1X3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Paturages Emmental Rape Sachet 1X2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Paturages Comte Bloc Sachet 1X3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Paturages Emmental Rape Sachet 3X7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Caprice Des Dieux</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aprice Des Dieux Specialite Ovale Boite 1X3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Paturages Emmental Rape Sachet 1X10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Paturages Coulommiers Lait Pasteurise Boite 1X3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Paturages Raclette Boite 1X4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Paturages Emmental Bloc Sachet 1X2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Paturages Mozzarella Piece Sachet 1X125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Paturages Emmental Bloc Sachet 1X48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Top Budget Emmental Rape Sachet 1X2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Paturages Camembert Lait Pasteurise Boite 1X2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Coeur De Li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oeur De Lion Coulommiers Lait Pasteurise Boite 1X3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Ids Grana Padano Rape Sachet 1X1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a:defRPr sz="800">
                          <a:latin typeface="Nexa Book"/>
                        </a:defRPr>
                      </a:pPr>
                      <a:r>
                        <a:t>Mini Baby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ini Babybel Rouge Filet St Paulin Ferme 1X264Gr 12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Presiden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esident Camembert Lait Pasteurise Boite 1X2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Soign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oignon Ste Maure Affine Buche 1X2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Entremon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Entremont Comte Bloc Sachet 1X2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284</a:t>
            </a:fld>
            <a:endParaRPr lang="en-US"/>
          </a:p>
        </p:txBody>
      </p:sp>
    </p:spTree>
    <p:extLst>
      <p:ext uri="{BB962C8B-B14F-4D97-AF65-F5344CB8AC3E}">
        <p14:creationId xmlns:p14="http://schemas.microsoft.com/office/powerpoint/2010/main" val="4133459736"/>
      </p:ext>
    </p:extLst>
  </p:cSld>
  <p:clrMapOvr>
    <a:masterClrMapping/>
  </p:clrMapOvr>
</p:sld>
</file>

<file path=ppt/slides/slide2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9/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Total Fromage | Intermarche Hyper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Paturages Emmental Rape Sachet 1X5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Paturages Emmental Rape Sachet 1X3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Paturages Emmental Rape Sachet 1X2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Paturages Emmental Rape Sachet 3X7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Paturages Comte Bloc Sachet 1X3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Caprice Des Dieux</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aprice Des Dieux Specialite Ovale Boite 1X3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Paturages Emmental Rape Sachet 1X10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Paturages Raclette Boite 1X4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Paturages Coulommiers Lait Pasteurise Boite 1X3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Mini Baby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ini Babybel Rouge Filet St Paulin Ferme 1X264Gr 12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Paturages Emmental Bloc Sachet 1X2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Paturages Mozzarella Piece Sachet 1X125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Presiden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esident Camembert Lait Pasteurise Boite 1X2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Richesmont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ichesmonts Raclette Boite 1X420Gr 16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Top Budget Emmental Rape Sachet 1X2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Coeur De Li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oeur De Lion Coulommiers Lait Pasteurise Boite 1X3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7.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Paturages Camembert Lait Pasteurise Boite 1X2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Paturages Emmental Bloc Sachet 1X48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8.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Soign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oignon Ste Maure Affine Buche 1X2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Entremon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Entremont Comte Bloc Sachet 1X2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285</a:t>
            </a:fld>
            <a:endParaRPr lang="en-US"/>
          </a:p>
        </p:txBody>
      </p:sp>
    </p:spTree>
    <p:extLst>
      <p:ext uri="{BB962C8B-B14F-4D97-AF65-F5344CB8AC3E}">
        <p14:creationId xmlns:p14="http://schemas.microsoft.com/office/powerpoint/2010/main" val="660551275"/>
      </p:ext>
    </p:extLst>
  </p:cSld>
  <p:clrMapOvr>
    <a:masterClrMapping/>
  </p:clrMapOvr>
</p:sld>
</file>

<file path=ppt/slides/slide2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9/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Total Fromage | Intermarche Proxi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Paturages Emmental Rape Sachet 1X5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Paturages Comte Bloc Sachet 1X3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Paturages Emmental Rape Sachet 1X3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Paturages Emmental Rape Sachet 1X2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Paturages Mozzarella Piece Sachet 1X125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Paturages Emmental Rape Sachet 3X7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Ids Feta Autre Boite 1X2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Ids Grana Padano Rape Sachet 1X1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Ids Burrata Piece Boite 1X2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Caprice Des Dieux</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aprice Des Dieux Specialite Ovale Boite 1X3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Paturages Raclette Boite 1X4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Top Budget Emmental Rape Sachet 1X2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Paturages Emmental Bloc Sachet 1X2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Paturages Coulommiers Lait Pasteurise Boite 1X3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7.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Paturages Camembert Lait Pasteurise Boite 1X2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Paturages Emmental Bloc Sachet 1X48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a:defRPr sz="800">
                          <a:latin typeface="Nexa Book"/>
                        </a:defRPr>
                      </a:pPr>
                      <a:r>
                        <a:t>Presiden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esident Emmental Rape Sachet 1X2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Paturages Emmental Rape Sachet 1X10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Soign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oignon Ste Maure Affine Buche 1X2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Paturages Ste Maure Affine Buche Cendre Boite 1X2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286</a:t>
            </a:fld>
            <a:endParaRPr lang="en-US"/>
          </a:p>
        </p:txBody>
      </p:sp>
    </p:spTree>
    <p:extLst>
      <p:ext uri="{BB962C8B-B14F-4D97-AF65-F5344CB8AC3E}">
        <p14:creationId xmlns:p14="http://schemas.microsoft.com/office/powerpoint/2010/main" val="2904448637"/>
      </p:ext>
    </p:extLst>
  </p:cSld>
  <p:clrMapOvr>
    <a:masterClrMapping/>
  </p:clrMapOvr>
</p:sld>
</file>

<file path=ppt/slides/slide2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9/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Soft Cheese | Carrefour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Caprice Des Dieux</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aprice Des Dieux Specialite Ovale Boite 1X3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ivate Label Mdd Std Soft Cheese Salade 150G</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a:defRPr sz="800">
                          <a:latin typeface="Nexa Book"/>
                        </a:defRPr>
                      </a:pPr>
                      <a:r>
                        <a:t>La Vache Qui Ri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La Vache Qui Rit Nature Fromage Fondu Boite Ronde 1X512Gr 32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1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377019259"/>
                  </a:ext>
                </a:extLst>
              </a:tr>
              <a:tr h="164170">
                <a:tc>
                  <a:txBody>
                    <a:bodyPr/>
                    <a:lstStyle/>
                    <a:p>
                      <a:pPr algn="ctr">
                        <a:defRPr sz="800">
                          <a:latin typeface="Nexa Book"/>
                        </a:defRPr>
                      </a:pPr>
                      <a:r>
                        <a:t>Coeur De Li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oeur De Lion Coulommiers Lait Pasteurise Boite 1X3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Caprice Des Dieux</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aprice Des Dieux Specialite Ovale Boite 1X2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Soign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oignon Ste Maure Affine Buche 1X2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Presiden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esident Camembert Lait Pasteurise Boite 1X2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dd Std Undefined Piece 1X125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Mini Baby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ini Babybel Rouge Filet St Paulin Ferme 1X264Gr 12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Le Rustiqu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 Rustique Camembert Lait Pasteurise Boite 1X2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Coeur De Li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oeur De Lion Camembert Lait Pasteurise Boite 1X2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Galbani</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albani Mozzarella Piece Sachet 1X125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3.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Mini Baby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ini Babybel Rouge Filet St Paulin Ferme 1X132Gr 6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4.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Soign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oignon Ste Maure Affine Buche 1X3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5.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St More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t Moret Fromage Frais A Tartiner Boite 1X1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La Vache Qui Ri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La Vache Qui Rit Nature Fromage Fondu Boite Ronde 1X384Gr 24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2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3490141980"/>
                  </a:ext>
                </a:extLst>
              </a:tr>
              <a:tr h="164170">
                <a:tc>
                  <a:txBody>
                    <a:bodyPr/>
                    <a:lstStyle/>
                    <a:p>
                      <a:pPr algn="ctr">
                        <a:defRPr sz="800">
                          <a:latin typeface="Nexa Book"/>
                        </a:defRPr>
                      </a:pPr>
                      <a:r>
                        <a:t>La Vache Qui Ri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La Vache Qui Rit Nature Fromage Fondu Boite Ronde 1X192Gr 12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2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720551800"/>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dd Std Undefined Autre 1X2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Kiri</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Kiri Creme Fromage Blanc Frais Carre 1X432Gr 24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7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3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2959808831"/>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dd Std Undefined Piece 1X2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287</a:t>
            </a:fld>
            <a:endParaRPr lang="en-US"/>
          </a:p>
        </p:txBody>
      </p:sp>
    </p:spTree>
    <p:extLst>
      <p:ext uri="{BB962C8B-B14F-4D97-AF65-F5344CB8AC3E}">
        <p14:creationId xmlns:p14="http://schemas.microsoft.com/office/powerpoint/2010/main" val="3730356467"/>
      </p:ext>
    </p:extLst>
  </p:cSld>
  <p:clrMapOvr>
    <a:masterClrMapping/>
  </p:clrMapOvr>
</p:sld>
</file>

<file path=ppt/slides/slide2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9/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Soft Cheese | Intermarche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Caprice Des Dieux</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aprice Des Dieux Specialite Ovale Boite 1X3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Paturages Mozzarella Piece Sachet 1X125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Paturages Coulommiers Lait Pasteurise Boite 1X3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Paturages Camembert Lait Pasteurise Boite 1X2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Coeur De Li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oeur De Lion Coulommiers Lait Pasteurise Boite 1X3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Presiden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esident Camembert Lait Pasteurise Boite 1X2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Ids Feta Autre Boite 1X2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Mini Baby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ini Babybel Rouge Filet St Paulin Ferme 1X264Gr 12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Soign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oignon Ste Maure Affine Buche 1X2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Paturages Ste Maure Affine Buche Cendre Boite 1X2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Ids Burrata Piece Boite 1X2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Caprice Des Dieux</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aprice Des Dieux Specialite Ovale Boite 1X2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Presiden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esident La Buche Fondante Fromage De Chevre Affine 1X18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3.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La Vache Qui Ri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La Vache Qui Rit Nature Fromage Fondu Boite Ronde 1X512Gr 32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25.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4273312142"/>
                  </a:ext>
                </a:extLst>
              </a:tr>
              <a:tr h="164170">
                <a:tc>
                  <a:txBody>
                    <a:bodyPr/>
                    <a:lstStyle/>
                    <a:p>
                      <a:pPr algn="ctr">
                        <a:defRPr sz="800">
                          <a:latin typeface="Nexa Book"/>
                        </a:defRPr>
                      </a:pPr>
                      <a:r>
                        <a:t>Soign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oignon Ste Maure Affine Buche 1X3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6.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Le Rustiqu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 Rustique Camembert Lait Pasteurise Boite 1X2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Paturages Ste Maure Affine Buche Cendre Boite 1X3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St More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t Moret Fromage Frais A Tartiner Boite 1X4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St More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t Moret Fromage Frais A Tartiner Boite 1X3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La Vache Qui Ri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La Vache Qui Rit Nature Fromage Fondu Boite Ronde 1X192Gr 12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3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288</a:t>
            </a:fld>
            <a:endParaRPr lang="en-US"/>
          </a:p>
        </p:txBody>
      </p:sp>
    </p:spTree>
    <p:extLst>
      <p:ext uri="{BB962C8B-B14F-4D97-AF65-F5344CB8AC3E}">
        <p14:creationId xmlns:p14="http://schemas.microsoft.com/office/powerpoint/2010/main" val="1817977146"/>
      </p:ext>
    </p:extLst>
  </p:cSld>
  <p:clrMapOvr>
    <a:masterClrMapping/>
  </p:clrMapOvr>
</p:sld>
</file>

<file path=ppt/slides/slide2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9/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Soft Cheese | Carrefour Hyper + Drive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Caprice Des Dieux</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aprice Des Dieux Specialite Ovale Boite 1X3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La Vache Qui Ri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La Vache Qui Rit Nature Fromage Fondu Boite Ronde 1X512Gr 32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5.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906332058"/>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ivate Label Mdd Std Soft Cheese Salade 150G</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Mini Baby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ini Babybel Rouge Filet St Paulin Ferme 1X264Gr 12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Kiri</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Kiri Creme Fromage Blanc Frais Carre 1X432Gr 24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1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1102895257"/>
                  </a:ext>
                </a:extLst>
              </a:tr>
              <a:tr h="164170">
                <a:tc>
                  <a:txBody>
                    <a:bodyPr/>
                    <a:lstStyle/>
                    <a:p>
                      <a:pPr algn="ctr">
                        <a:defRPr sz="800">
                          <a:latin typeface="Nexa Book"/>
                        </a:defRPr>
                      </a:pPr>
                      <a:r>
                        <a:t>Coeur De Li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oeur De Lion Coulommiers Lait Pasteurise Boite 1X3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Caprice Des Dieux</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aprice Des Dieux Specialite Ovale Boite 1X2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Presiden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esident Camembert Lait Pasteurise Boite 1X2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Soign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oignon Ste Maure Affine Buche 1X2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8.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Soign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oignon Ste Maure Affine Buche 1X3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dd Std Undefined Piece 1X125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La Vache Qui Ri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La Vache Qui Rit Nature Fromage Fondu Boite Ronde 1X384Gr 24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2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2976062154"/>
                  </a:ext>
                </a:extLst>
              </a:tr>
              <a:tr h="164170">
                <a:tc>
                  <a:txBody>
                    <a:bodyPr/>
                    <a:lstStyle/>
                    <a:p>
                      <a:pPr algn="ctr">
                        <a:defRPr sz="800">
                          <a:latin typeface="Nexa Book"/>
                        </a:defRPr>
                      </a:pPr>
                      <a:r>
                        <a:t>Tartar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Tartare Fromage Frais A Tartiner Afh 1X2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4.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Coeur De Li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oeur De Lion Camembert Lait Pasteurise Boite 1X2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5.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Presiden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esident La Buche Fondante Fromage De Chevre Affine 1X18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6.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Presiden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esident Coulommiers Lait Pasteurise Boite 1X3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7.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a:defRPr sz="800">
                          <a:latin typeface="Nexa Book"/>
                        </a:defRPr>
                      </a:pPr>
                      <a:r>
                        <a:t>Le Rustiqu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 Rustique Camembert Lait Pasteurise Boite 1X2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7.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Galbani</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albani Mozzarella Piece Sachet 1X125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Ficello</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Ficello Fromage Fondu Ferme Sachet 1X168Gr 8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Soign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oignon Fromage De Chevre Affine Buche 1X4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289</a:t>
            </a:fld>
            <a:endParaRPr lang="en-US"/>
          </a:p>
        </p:txBody>
      </p:sp>
    </p:spTree>
    <p:extLst>
      <p:ext uri="{BB962C8B-B14F-4D97-AF65-F5344CB8AC3E}">
        <p14:creationId xmlns:p14="http://schemas.microsoft.com/office/powerpoint/2010/main" val="1879650916"/>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9/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Ingredient A Chaud | Carrefour Proximite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29</a:t>
            </a:fld>
            <a:endParaRPr lang="en-US"/>
          </a:p>
        </p:txBody>
      </p:sp>
    </p:spTree>
    <p:extLst>
      <p:ext uri="{BB962C8B-B14F-4D97-AF65-F5344CB8AC3E}">
        <p14:creationId xmlns:p14="http://schemas.microsoft.com/office/powerpoint/2010/main" val="1641635689"/>
      </p:ext>
    </p:extLst>
  </p:cSld>
  <p:clrMapOvr>
    <a:masterClrMapping/>
  </p:clrMapOvr>
</p:sld>
</file>

<file path=ppt/slides/slide2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9/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Soft Cheese | Carrefour Supermarket + Drive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Caprice Des Dieux</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aprice Des Dieux Specialite Ovale Boite 1X3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ivate Label Mdd Std Soft Cheese Salade 150G</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a:defRPr sz="800">
                          <a:latin typeface="Nexa Book"/>
                        </a:defRPr>
                      </a:pPr>
                      <a:r>
                        <a:t>Coeur De Li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oeur De Lion Coulommiers Lait Pasteurise Boite 1X3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Presiden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esident Camembert Lait Pasteurise Boite 1X2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La Vache Qui Ri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La Vache Qui Rit Nature Fromage Fondu Boite Ronde 1X512Gr 32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1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1102895257"/>
                  </a:ext>
                </a:extLst>
              </a:tr>
              <a:tr h="164170">
                <a:tc>
                  <a:txBody>
                    <a:bodyPr/>
                    <a:lstStyle/>
                    <a:p>
                      <a:pPr algn="ctr">
                        <a:defRPr sz="800">
                          <a:latin typeface="Nexa Book"/>
                        </a:defRPr>
                      </a:pPr>
                      <a:r>
                        <a:t>Mini Baby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ini Babybel Rouge Filet St Paulin Ferme 1X264Gr 12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Caprice Des Dieux</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aprice Des Dieux Specialite Ovale Boite 1X2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Soign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oignon Ste Maure Affine Buche 1X2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7.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dd Std Undefined Piece 1X125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Coeur De Li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oeur De Lion Camembert Lait Pasteurise Boite 1X2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Galbani</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albani Mozzarella Piece Sachet 1X125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Soign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oignon Ste Maure Affine Buche 1X3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Le Rustiqu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 Rustique Camembert Lait Pasteurise Boite 1X2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3.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St More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t Moret Fromage Frais A Tartiner Boite 1X4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4.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dd Std Undefined Autre 1X2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4.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La Vache Qui Ri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La Vache Qui Rit Nature Fromage Fondu Boite Ronde 1X384Gr 24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25.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3490141980"/>
                  </a:ext>
                </a:extLst>
              </a:tr>
              <a:tr h="164170">
                <a:tc>
                  <a:txBody>
                    <a:bodyPr/>
                    <a:lstStyle/>
                    <a:p>
                      <a:pPr algn="ctr">
                        <a:defRPr sz="800">
                          <a:latin typeface="Nexa Book"/>
                        </a:defRPr>
                      </a:pPr>
                      <a:r>
                        <a:t>Soign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oignon Fromage De Chevre Affine Buche 1X4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Presiden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esident La Buche Fondante Fromage De Chevre Affine 1X18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7.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Tartar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Tartare Fromage Frais A Tartiner Afh 1X2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8.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ons Mayennais Camembert Lait Pasteurise Boite 1X2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290</a:t>
            </a:fld>
            <a:endParaRPr lang="en-US"/>
          </a:p>
        </p:txBody>
      </p:sp>
    </p:spTree>
    <p:extLst>
      <p:ext uri="{BB962C8B-B14F-4D97-AF65-F5344CB8AC3E}">
        <p14:creationId xmlns:p14="http://schemas.microsoft.com/office/powerpoint/2010/main" val="1087912897"/>
      </p:ext>
    </p:extLst>
  </p:cSld>
  <p:clrMapOvr>
    <a:masterClrMapping/>
  </p:clrMapOvr>
</p:sld>
</file>

<file path=ppt/slides/slide2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9/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Soft Cheese | Carrefour Proximite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dd Std Undefined Piece 1X125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Soign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oignon Ste Maure Affine Buche 1X2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a:defRPr sz="800">
                          <a:latin typeface="Nexa Book"/>
                        </a:defRPr>
                      </a:pPr>
                      <a:r>
                        <a:t>Caprice Des Dieux</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aprice Des Dieux Specialite Ovale Boite 1X2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Mini Baby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ini Babybel Rouge Filet St Paulin Ferme 1X132Gr 6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8.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St More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t Moret Fromage Frais A Tartiner Boite 1X1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La Vache Qui Ri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La Vache Qui Rit Nature Fromage Fondu Boite Ronde 1X192Gr 12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24.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776375343"/>
                  </a:ext>
                </a:extLst>
              </a:tr>
              <a:tr h="164170">
                <a:tc>
                  <a:txBody>
                    <a:bodyPr/>
                    <a:lstStyle/>
                    <a:p>
                      <a:pPr algn="ctr">
                        <a:defRPr sz="800">
                          <a:latin typeface="Nexa Book"/>
                        </a:defRPr>
                      </a:pPr>
                      <a:r>
                        <a:t>Le Rustiqu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 Rustique Camembert Lait Pasteurise Boite 1X2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6.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Coeur De Li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oeur De Lion Coulommiers Lait Pasteurise Boite 1X3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Kiri</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Kiri Creme Fromage Blanc Frais Carre 1X144Gr 8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33.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2304999854"/>
                  </a:ext>
                </a:extLst>
              </a:tr>
              <a:tr h="164170">
                <a:tc>
                  <a:txBody>
                    <a:bodyPr/>
                    <a:lstStyle/>
                    <a:p>
                      <a:pPr algn="ctr">
                        <a:defRPr sz="800">
                          <a:latin typeface="Nexa Book"/>
                        </a:defRPr>
                      </a:pPr>
                      <a:r>
                        <a:t>Galbani</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albani Mozzarella Piece Sachet 1X125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dd Std Undefined Piece 1X2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Paysan Bret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aysan Breton Fromage Fouette De Madame Loik Frais A Tartiner Sel Guerande 1X18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Presiden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esident Camembert Lait Pasteurise Boite 1X2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Philadelphi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hiladelphia Fromage Frais A Tartiner Boite 1X1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Coeur De Li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oeur De Lion Camembert Lait Pasteurise Boite 1X2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3.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dd Std Undefined Autre 1X2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dd Std Fromage De Chevre Affine Buche 1X18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Ficello</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Ficello Fromage Fondu Ferme Sachet 1X84Gr 4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Caprice Des Dieux</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aprice Des Dieux Specialite Ovale Boite 1X3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Salaki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alakis Assimile Feta Autre Boite 1X2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291</a:t>
            </a:fld>
            <a:endParaRPr lang="en-US"/>
          </a:p>
        </p:txBody>
      </p:sp>
    </p:spTree>
    <p:extLst>
      <p:ext uri="{BB962C8B-B14F-4D97-AF65-F5344CB8AC3E}">
        <p14:creationId xmlns:p14="http://schemas.microsoft.com/office/powerpoint/2010/main" val="2478522233"/>
      </p:ext>
    </p:extLst>
  </p:cSld>
  <p:clrMapOvr>
    <a:masterClrMapping/>
  </p:clrMapOvr>
</p:sld>
</file>

<file path=ppt/slides/slide2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9/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Soft Cheese | Intermarche Super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Caprice Des Dieux</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aprice Des Dieux Specialite Ovale Boite 1X3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Paturages Coulommiers Lait Pasteurise Boite 1X3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Paturages Mozzarella Piece Sachet 1X125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Paturages Camembert Lait Pasteurise Boite 1X2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Coeur De Li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oeur De Lion Coulommiers Lait Pasteurise Boite 1X3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Mini Baby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ini Babybel Rouge Filet St Paulin Ferme 1X264Gr 12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Presiden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esident Camembert Lait Pasteurise Boite 1X2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Soign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oignon Ste Maure Affine Buche 1X2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Paturages Ste Maure Affine Buche Cendre Boite 1X2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Ids Feta Autre Boite 1X2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Ids Burrata Piece Boite 1X2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Caprice Des Dieux</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aprice Des Dieux Specialite Ovale Boite 1X2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Presiden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esident La Buche Fondante Fromage De Chevre Affine 1X18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3.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La Vache Qui Ri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La Vache Qui Rit Nature Fromage Fondu Boite Ronde 1X512Gr 32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25.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4273312142"/>
                  </a:ext>
                </a:extLst>
              </a:tr>
              <a:tr h="164170">
                <a:tc>
                  <a:txBody>
                    <a:bodyPr/>
                    <a:lstStyle/>
                    <a:p>
                      <a:pPr algn="ctr">
                        <a:defRPr sz="800">
                          <a:latin typeface="Nexa Book"/>
                        </a:defRPr>
                      </a:pPr>
                      <a:r>
                        <a:t>Soign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oignon Ste Maure Affine Buche 1X3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6.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Le Rustiqu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 Rustique Camembert Lait Pasteurise Boite 1X2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Paturages Ste Maure Affine Buche Cendre Boite 1X3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8.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St More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t Moret Fromage Frais A Tartiner Boite 1X4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St More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t Moret Fromage Frais A Tartiner Boite 1X3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Presiden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esident Coulommiers Lait Pasteurise Boite 1X3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292</a:t>
            </a:fld>
            <a:endParaRPr lang="en-US"/>
          </a:p>
        </p:txBody>
      </p:sp>
    </p:spTree>
    <p:extLst>
      <p:ext uri="{BB962C8B-B14F-4D97-AF65-F5344CB8AC3E}">
        <p14:creationId xmlns:p14="http://schemas.microsoft.com/office/powerpoint/2010/main" val="3258105751"/>
      </p:ext>
    </p:extLst>
  </p:cSld>
  <p:clrMapOvr>
    <a:masterClrMapping/>
  </p:clrMapOvr>
</p:sld>
</file>

<file path=ppt/slides/slide2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9/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Soft Cheese | Intermarche Hyper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Caprice Des Dieux</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aprice Des Dieux Specialite Ovale Boite 1X3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Paturages Coulommiers Lait Pasteurise Boite 1X3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a:defRPr sz="800">
                          <a:latin typeface="Nexa Book"/>
                        </a:defRPr>
                      </a:pPr>
                      <a:r>
                        <a:t>Mini Baby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ini Babybel Rouge Filet St Paulin Ferme 1X264Gr 12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Paturages Mozzarella Piece Sachet 1X125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Presiden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esident Camembert Lait Pasteurise Boite 1X2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Coeur De Li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oeur De Lion Coulommiers Lait Pasteurise Boite 1X3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Paturages Camembert Lait Pasteurise Boite 1X2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Soign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oignon Ste Maure Affine Buche 1X2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Caprice Des Dieux</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aprice Des Dieux Specialite Ovale Boite 1X2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7.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La Vache Qui Ri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La Vache Qui Rit Nature Fromage Fondu Boite Ronde 1X512Gr 32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1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933184382"/>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Paturages Ste Maure Affine Buche Cendre Boite 1X2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Ids Feta Autre Boite 1X2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Presiden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esident La Buche Fondante Fromage De Chevre Affine 1X18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Ids Burrata Piece Boite 1X2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Soign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oignon Ste Maure Affine Buche 1X3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5.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St More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t Moret Fromage Frais A Tartiner Boite 1X4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6.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a:defRPr sz="800">
                          <a:latin typeface="Nexa Book"/>
                        </a:defRPr>
                      </a:pPr>
                      <a:r>
                        <a:t>Le Rustiqu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 Rustique Camembert Lait Pasteurise Boite 1X2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St More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t Moret Fromage Frais A Tartiner Boite 1X3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8.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ons Mayennais Camembert Lait Pasteurise Boite 1X2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Paturages Ste Maure Affine Buche Cendre Boite 1X3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293</a:t>
            </a:fld>
            <a:endParaRPr lang="en-US"/>
          </a:p>
        </p:txBody>
      </p:sp>
    </p:spTree>
    <p:extLst>
      <p:ext uri="{BB962C8B-B14F-4D97-AF65-F5344CB8AC3E}">
        <p14:creationId xmlns:p14="http://schemas.microsoft.com/office/powerpoint/2010/main" val="1457962840"/>
      </p:ext>
    </p:extLst>
  </p:cSld>
  <p:clrMapOvr>
    <a:masterClrMapping/>
  </p:clrMapOvr>
</p:sld>
</file>

<file path=ppt/slides/slide2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9/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Soft Cheese | Intermarche Proxi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Paturages Mozzarella Piece Sachet 1X125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Ids Feta Autre Boite 1X2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Ids Burrata Piece Boite 1X2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Caprice Des Dieux</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aprice Des Dieux Specialite Ovale Boite 1X3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Paturages Coulommiers Lait Pasteurise Boite 1X3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Paturages Camembert Lait Pasteurise Boite 1X2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Soign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oignon Ste Maure Affine Buche 1X2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Paturages Ste Maure Affine Buche Cendre Boite 1X2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Presiden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esident Camembert Lait Pasteurise Boite 1X2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Ids Mozzarella Bufflonne Piece Sachet 1X125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Coeur De Li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oeur De Lion Coulommiers Lait Pasteurise Boite 1X3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Mini Baby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ini Babybel Rouge Filet St Paulin Ferme 1X264Gr 12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4.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Caprice Des Dieux</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aprice Des Dieux Specialite Ovale Boite 1X2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5.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Presiden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esident La Buche Fondante Fromage De Chevre Affine 1X18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6.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Galbani</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albani Mozzarella Piece Sachet 1X125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Paturages Fromage Frais A Tartiner 1X1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Paturages Ste Maure Affine Buche Cendre Boite 1X3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La Vache Qui Ri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La Vache Qui Rit Nature Fromage Fondu Boite Ronde 1X192Gr 12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3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3682606022"/>
                  </a:ext>
                </a:extLst>
              </a:tr>
              <a:tr h="164170">
                <a:tc>
                  <a:txBody>
                    <a:bodyPr/>
                    <a:lstStyle/>
                    <a:p>
                      <a:pPr algn="ctr">
                        <a:defRPr sz="800">
                          <a:latin typeface="Nexa Book"/>
                        </a:defRPr>
                      </a:pPr>
                      <a:r>
                        <a:t>Le Rustiqu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 Rustique Camembert Lait Pasteurise Boite 1X2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Mini Baby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ini Babybel Rouge Filet St Paulin Ferme 1X132Gr 6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294</a:t>
            </a:fld>
            <a:endParaRPr lang="en-US"/>
          </a:p>
        </p:txBody>
      </p:sp>
    </p:spTree>
    <p:extLst>
      <p:ext uri="{BB962C8B-B14F-4D97-AF65-F5344CB8AC3E}">
        <p14:creationId xmlns:p14="http://schemas.microsoft.com/office/powerpoint/2010/main" val="192915845"/>
      </p:ext>
    </p:extLst>
  </p:cSld>
  <p:clrMapOvr>
    <a:masterClrMapping/>
  </p:clrMapOvr>
</p:sld>
</file>

<file path=ppt/slides/slide2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9/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Aperitif | Carrefour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Apericub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pericube Edition Limitee Best Of Foot Fromage Fondu Cube Assortis 1X250Gr 48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Apericub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pericube Cocktail Fromage Fondu Cube Assortis 1X250Gr 48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a:defRPr sz="800">
                          <a:latin typeface="Nexa Book"/>
                        </a:defRPr>
                      </a:pPr>
                      <a:r>
                        <a:t>Apericub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pericube Long Drink Fromage Fondu Cube Assortis 1X250Gr 48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Boursi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Boursin Aperitif Roules Fromage Frais Roule Afh Et Jambon Fume Boite 1X100Gr 20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34.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2166894017"/>
                  </a:ext>
                </a:extLst>
              </a:tr>
              <a:tr h="164170">
                <a:tc>
                  <a:txBody>
                    <a:bodyPr/>
                    <a:lstStyle/>
                    <a:p>
                      <a:pPr algn="ctr">
                        <a:defRPr sz="800">
                          <a:latin typeface="Nexa Book"/>
                        </a:defRPr>
                      </a:pPr>
                      <a:r>
                        <a:t>Aperivrai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perivrais Saveurs De Provence Fromage Frais Bouchee Assortis 1X100Gr 20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Aperivrai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perivrais Saveurs D'Italie Fromage Frais Bouchee Epice Herbe Et Oignon 1X100Gr 20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Apericub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pericube Tonic Fromage Fondu Cube Assortis 1X250Gr 48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Apericub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pericube Edition Limitee Saison Fromage Fondu Cube Assortis 1X250Gr 48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4.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Apericub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pericube Nature Fromage Fondu Cube 1X125Gr 24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8.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Apericub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pericube Incontournable Fromage Fondu Cube Assortis 1X250Gr 48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Boursi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Boursin Aperitif Roules Fromage Frais Roule Ciboulette &amp; Echalote Jambon Fume Boite 1X100Gr 20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6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3432996514"/>
                  </a:ext>
                </a:extLst>
              </a:tr>
              <a:tr h="164170">
                <a:tc>
                  <a:txBody>
                    <a:bodyPr/>
                    <a:lstStyle/>
                    <a:p>
                      <a:pPr algn="ctr">
                        <a:defRPr sz="800">
                          <a:latin typeface="Nexa Book"/>
                        </a:defRPr>
                      </a:pPr>
                      <a:r>
                        <a:t>Apericub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pericube Campagne Fromage Fondu Cube Assortis 1X125Gr 24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Apericub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pericube Carrement Toque Fromage Fondu Cube Assortis 1X250Gr 48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Apericub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pericube Best Of Des Saveurs Fromage Fondu Cube Assortis 1X125Gr 24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3.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dd Std Fromage Frais Bouchee Afh Boite 1X100Gr 20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5.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Aperivrai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perivrais Ail Et Fines Herbes Fromage Frais Bouchee Afh 1X100Gr 20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a:defRPr sz="800">
                          <a:latin typeface="Nexa Book"/>
                        </a:defRPr>
                      </a:pPr>
                      <a:r>
                        <a:t>Apericub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pericube Edition Voyage Fromage Fondu Cube Assortis 1X250Gr 48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St More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t Moret Billes Fromage Frais Bille Figue Boite 1X100Gr 24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Apericub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pericube Long Drink Fromage Fondu Cube Assortis 1X125Gr 24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Apericub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pericube Vertical Soiree Apero Fromage Fondu Cube Assortis 1X125Gr 24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3.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295</a:t>
            </a:fld>
            <a:endParaRPr lang="en-US"/>
          </a:p>
        </p:txBody>
      </p:sp>
    </p:spTree>
    <p:extLst>
      <p:ext uri="{BB962C8B-B14F-4D97-AF65-F5344CB8AC3E}">
        <p14:creationId xmlns:p14="http://schemas.microsoft.com/office/powerpoint/2010/main" val="1343059906"/>
      </p:ext>
    </p:extLst>
  </p:cSld>
  <p:clrMapOvr>
    <a:masterClrMapping/>
  </p:clrMapOvr>
</p:sld>
</file>

<file path=ppt/slides/slide2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9/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Aperitif | Intermarche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Apericub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pericube Edition Limitee Best Of Foot Fromage Fondu Cube Assortis 1X250Gr 48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Apericub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pericube Cocktail Fromage Fondu Cube Assortis 1X250Gr 48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a:defRPr sz="800">
                          <a:latin typeface="Nexa Book"/>
                        </a:defRPr>
                      </a:pPr>
                      <a:r>
                        <a:t>Apericub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pericube Long Drink Fromage Fondu Cube Assortis 1X250Gr 48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Apericub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pericube Tonic Fromage Fondu Cube Assortis 1X250Gr 48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Boursi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Boursin Aperitif Roules Fromage Frais Roule Afh Et Jambon Fume Boite 1X100Gr 20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3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1102895257"/>
                  </a:ext>
                </a:extLst>
              </a:tr>
              <a:tr h="164170">
                <a:tc>
                  <a:txBody>
                    <a:bodyPr/>
                    <a:lstStyle/>
                    <a:p>
                      <a:pPr algn="ctr">
                        <a:defRPr sz="800">
                          <a:latin typeface="Nexa Book"/>
                        </a:defRPr>
                      </a:pPr>
                      <a:r>
                        <a:t>Apericub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pericube Incontournable Fromage Fondu Cube Assortis 1X250Gr 48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Paturages Specialite Jambon Et Fromage Boite 1X1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Apericub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pericube Edition Limitee Saison Fromage Fondu Cube Assortis 1X250Gr 48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Apericub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pericube Nature Fromage Fondu Cube 1X125Gr 24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Aperivrai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perivrais Saveurs De Provence Fromage Frais Bouchee Assortis 1X100Gr 20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Apericub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pericube Edition Voyage Fromage Fondu Cube Assortis 1X250Gr 48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Boursi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Boursin Aperitif Roules Fromage Frais Roule Ciboulette &amp; Echalote Jambon Fume Boite 1X100Gr 20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7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2976062154"/>
                  </a:ext>
                </a:extLst>
              </a:tr>
              <a:tr h="164170">
                <a:tc>
                  <a:txBody>
                    <a:bodyPr/>
                    <a:lstStyle/>
                    <a:p>
                      <a:pPr algn="ctr">
                        <a:defRPr sz="800">
                          <a:latin typeface="Nexa Book"/>
                        </a:defRPr>
                      </a:pPr>
                      <a:r>
                        <a:t>Apericub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pericube Campagne Fromage Fondu Cube Assortis 1X125Gr 24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3.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St More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t Moret Billes Fromage Frais Bille Figue Boite 1X100Gr 24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6.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Apericub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pericube Saveurs De L'Authentique Fromage Fondu Cube Assortis 1X250Gr 48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Aperivrai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perivrais Ail Et Fines Herbes Fromage Frais Bouchee Afh 1X100Gr 20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a:defRPr sz="800">
                          <a:latin typeface="Nexa Book"/>
                        </a:defRPr>
                      </a:pPr>
                      <a:r>
                        <a:t>Aperivrai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perivrais Saveurs D'Italie Fromage Frais Bouchee Epice Herbe Et Oignon 1X100Gr 20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Paturages Fromage De Chevre Boite 1X200Gr 10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Boursi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Boursin Aperitif Roules Fromage Frais Roule Basilic &amp; Jambon Fume Tomate Boite 1X100Gr 20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8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87.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2959808831"/>
                  </a:ext>
                </a:extLst>
              </a:tr>
              <a:tr h="164170">
                <a:tc>
                  <a:txBody>
                    <a:bodyPr/>
                    <a:lstStyle/>
                    <a:p>
                      <a:pPr algn="ctr">
                        <a:defRPr sz="800">
                          <a:latin typeface="Nexa Book"/>
                        </a:defRPr>
                      </a:pPr>
                      <a:r>
                        <a:t>St More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t Moret Billes Fromage Frais Bille Oignon Boite 1X100Gr 24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296</a:t>
            </a:fld>
            <a:endParaRPr lang="en-US"/>
          </a:p>
        </p:txBody>
      </p:sp>
    </p:spTree>
    <p:extLst>
      <p:ext uri="{BB962C8B-B14F-4D97-AF65-F5344CB8AC3E}">
        <p14:creationId xmlns:p14="http://schemas.microsoft.com/office/powerpoint/2010/main" val="1566235823"/>
      </p:ext>
    </p:extLst>
  </p:cSld>
  <p:clrMapOvr>
    <a:masterClrMapping/>
  </p:clrMapOvr>
</p:sld>
</file>

<file path=ppt/slides/slide2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9/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Aperitif | Carrefour Hyper + Drive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Apericub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pericube Edition Limitee Best Of Foot Fromage Fondu Cube Assortis 1X250Gr 48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Apericub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pericube Long Drink Fromage Fondu Cube Assortis 1X250Gr 48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a:defRPr sz="800">
                          <a:latin typeface="Nexa Book"/>
                        </a:defRPr>
                      </a:pPr>
                      <a:r>
                        <a:t>Apericub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pericube Cocktail Fromage Fondu Cube Assortis 1X250Gr 48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3.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Apericub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pericube Incontournable Fromage Fondu Cube Assortis 1X250Gr 48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Apericub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pericube Tonic Fromage Fondu Cube Assortis 1X250Gr 48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4.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Apericub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pericube Edition Limitee Saison Fromage Fondu Cube Assortis 1X250Gr 48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Boursi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Boursin Aperitif Roules Fromage Frais Roule Afh Et Jambon Fume Boite 1X100Gr 20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44.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4267548465"/>
                  </a:ext>
                </a:extLst>
              </a:tr>
              <a:tr h="164170">
                <a:tc>
                  <a:txBody>
                    <a:bodyPr/>
                    <a:lstStyle/>
                    <a:p>
                      <a:pPr algn="ctr">
                        <a:defRPr sz="800">
                          <a:latin typeface="Nexa Book"/>
                        </a:defRPr>
                      </a:pPr>
                      <a:r>
                        <a:t>Apericub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pericube Carrement Toque Fromage Fondu Cube Assortis 1X250Gr 48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Apericub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pericube Nature Fromage Fondu Cube 1X125Gr 24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Apericub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pericube Edition Voyage Fromage Fondu Cube Assortis 1X250Gr 48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6.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Aperivrai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perivrais Saveurs D'Italie Fromage Frais Bouchee Epice Herbe Et Oignon 1X100Gr 20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Aperivrai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perivrais Saveurs De Provence Fromage Frais Bouchee Assortis 1X100Gr 20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Apericub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pericube Campagne Fromage Fondu Cube Assortis 1X125Gr 24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Boursi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Boursin Aperitif Roules Fromage Frais Roule Ciboulette &amp; Echalote Jambon Fume Boite 1X100Gr 20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7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4273312142"/>
                  </a:ext>
                </a:extLst>
              </a:tr>
              <a:tr h="164170">
                <a:tc>
                  <a:txBody>
                    <a:bodyPr/>
                    <a:lstStyle/>
                    <a:p>
                      <a:pPr algn="ctr">
                        <a:defRPr sz="800">
                          <a:latin typeface="Nexa Book"/>
                        </a:defRPr>
                      </a:pPr>
                      <a:r>
                        <a:t>Aperivrai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perivrais Ail Et Fines Herbes Fromage Frais Bouchee Afh 1X100Gr 20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St More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t Moret Billes Fromage Frais Bille Figue Boite 1X100Gr 24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a:defRPr sz="800">
                          <a:latin typeface="Nexa Book"/>
                        </a:defRPr>
                      </a:pPr>
                      <a:r>
                        <a:t>Apericub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pericube Best Of Des Saveurs Fromage Fondu Cube Assortis 1X125Gr 24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5.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Aperivrai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perivrais Edition Limitee Saison Fromage Frais Bouchee Assortis 1X100Gr 20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Apericub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pericube Long Drink Fromage Fondu Cube Assortis 1X125Gr 24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Apericub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pericube Charcut' Fromages Fromage Fondu Cube Assortis 1X250Gr 48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297</a:t>
            </a:fld>
            <a:endParaRPr lang="en-US"/>
          </a:p>
        </p:txBody>
      </p:sp>
    </p:spTree>
    <p:extLst>
      <p:ext uri="{BB962C8B-B14F-4D97-AF65-F5344CB8AC3E}">
        <p14:creationId xmlns:p14="http://schemas.microsoft.com/office/powerpoint/2010/main" val="2704110774"/>
      </p:ext>
    </p:extLst>
  </p:cSld>
  <p:clrMapOvr>
    <a:masterClrMapping/>
  </p:clrMapOvr>
</p:sld>
</file>

<file path=ppt/slides/slide2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9/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Aperitif | Carrefour Supermarket + Drive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Apericub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pericube Edition Limitee Best Of Foot Fromage Fondu Cube Assortis 1X250Gr 48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Apericub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pericube Cocktail Fromage Fondu Cube Assortis 1X250Gr 48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3.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a:defRPr sz="800">
                          <a:latin typeface="Nexa Book"/>
                        </a:defRPr>
                      </a:pPr>
                      <a:r>
                        <a:t>Apericub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pericube Long Drink Fromage Fondu Cube Assortis 1X250Gr 48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3.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Boursi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Boursin Aperitif Roules Fromage Frais Roule Afh Et Jambon Fume Boite 1X100Gr 20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3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2166894017"/>
                  </a:ext>
                </a:extLst>
              </a:tr>
              <a:tr h="164170">
                <a:tc>
                  <a:txBody>
                    <a:bodyPr/>
                    <a:lstStyle/>
                    <a:p>
                      <a:pPr algn="ctr">
                        <a:defRPr sz="800">
                          <a:latin typeface="Nexa Book"/>
                        </a:defRPr>
                      </a:pPr>
                      <a:r>
                        <a:t>Apericub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pericube Edition Limitee Saison Fromage Fondu Cube Assortis 1X250Gr 48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4.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Apericub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pericube Tonic Fromage Fondu Cube Assortis 1X250Gr 48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Apericub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pericube Nature Fromage Fondu Cube 1X125Gr 24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Aperivrai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perivrais Saveurs De Provence Fromage Frais Bouchee Assortis 1X100Gr 20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Aperivrai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perivrais Saveurs D'Italie Fromage Frais Bouchee Epice Herbe Et Oignon 1X100Gr 20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4.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Boursi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Boursin Aperitif Roules Fromage Frais Roule Ciboulette &amp; Echalote Jambon Fume Boite 1X100Gr 20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67.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933184382"/>
                  </a:ext>
                </a:extLst>
              </a:tr>
              <a:tr h="164170">
                <a:tc>
                  <a:txBody>
                    <a:bodyPr/>
                    <a:lstStyle/>
                    <a:p>
                      <a:pPr algn="ctr">
                        <a:defRPr sz="800">
                          <a:latin typeface="Nexa Book"/>
                        </a:defRPr>
                      </a:pPr>
                      <a:r>
                        <a:t>Apericub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pericube Campagne Fromage Fondu Cube Assortis 1X125Gr 24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3.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Apericub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pericube Best Of Des Saveurs Fromage Fondu Cube Assortis 1X125Gr 24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6.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Aperivrai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perivrais Ail Et Fines Herbes Fromage Frais Bouchee Afh 1X100Gr 20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dd Std Fromage Frais Bouchee Afh Boite 1X100Gr 20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Apericub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pericube Long Drink Fromage Fondu Cube Assortis 1X125Gr 24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St More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t Moret Billes Fromage Frais Bille Oignon Boite 1X100Gr 24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4.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a:defRPr sz="800">
                          <a:latin typeface="Nexa Book"/>
                        </a:defRPr>
                      </a:pPr>
                      <a:r>
                        <a:t>Aperivrai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perivrais Edition Limitee Saison Fromage Frais Bouchee Assortis 1X100Gr 20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5.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Apericub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pericube Soiree Match Aperitif 250G</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6.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St More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t Moret Billes Fromage Frais Bille Figue Boite 1X100Gr 24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8.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Aperitif Tete De Moine Boite 1X1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298</a:t>
            </a:fld>
            <a:endParaRPr lang="en-US"/>
          </a:p>
        </p:txBody>
      </p:sp>
    </p:spTree>
    <p:extLst>
      <p:ext uri="{BB962C8B-B14F-4D97-AF65-F5344CB8AC3E}">
        <p14:creationId xmlns:p14="http://schemas.microsoft.com/office/powerpoint/2010/main" val="2353034558"/>
      </p:ext>
    </p:extLst>
  </p:cSld>
  <p:clrMapOvr>
    <a:masterClrMapping/>
  </p:clrMapOvr>
</p:sld>
</file>

<file path=ppt/slides/slide2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9/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Aperitif | Carrefour Proximite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Boursi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Boursin Aperitif Roules Fromage Frais Roule Afh Et Jambon Fume Boite 1X100Gr 20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16.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1172644296"/>
                  </a:ext>
                </a:extLst>
              </a:tr>
              <a:tr h="164170">
                <a:tc>
                  <a:txBody>
                    <a:bodyPr/>
                    <a:lstStyle/>
                    <a:p>
                      <a:pPr algn="ctr">
                        <a:defRPr sz="800">
                          <a:latin typeface="Nexa Book"/>
                        </a:defRPr>
                      </a:pPr>
                      <a:r>
                        <a:t>Aperivrai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perivrais Saveurs De Provence Fromage Frais Bouchee Assortis 1X100Gr 20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a:defRPr sz="800">
                          <a:latin typeface="Nexa Book"/>
                        </a:defRPr>
                      </a:pPr>
                      <a:r>
                        <a:t>Apericub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pericube Edition Limitee Best Of Foot Fromage Fondu Cube Assortis 1X250Gr 48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Aperivrai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perivrais Saveurs D'Italie Fromage Frais Bouchee Epice Herbe Et Oignon 1X100Gr 20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8.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Apericub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pericube Vertical Soiree Apero Fromage Fondu Cube Assortis 1X125Gr 24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Apericub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pericube Cocktail Fromage Fondu Cube Assortis 1X250Gr 48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6.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Apericub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pericube Vertical Nature Fromage Fondu Cube 1X125Gr 24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5.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dd Std Fromage Frais Bouchee Afh Boite 1X100Gr 20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St More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t Moret Billes Fromage Frais Bille Figue Boite 1X100Gr 24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Apericub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pericube Best Of Des Saveurs Fromage Fondu Cube Assortis 1X125Gr 24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Apericub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pericube Long Drink Fromage Fondu Cube Assortis 1X125Gr 24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Boursi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Boursin Aperitif Roules Fromage Frais Roule Ciboulette &amp; Echalote Jambon Fume Boite 1X100Gr 20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6.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2976062154"/>
                  </a:ext>
                </a:extLst>
              </a:tr>
              <a:tr h="164170">
                <a:tc>
                  <a:txBody>
                    <a:bodyPr/>
                    <a:lstStyle/>
                    <a:p>
                      <a:pPr algn="ctr">
                        <a:defRPr sz="800">
                          <a:latin typeface="Nexa Book"/>
                        </a:defRPr>
                      </a:pPr>
                      <a:r>
                        <a:t>Apericub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pericube Long Drink Fromage Fondu Cube Assortis 1X250Gr 48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O'Tapas Apero</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O'Tapas Apero Les Roules Du Fromager Fromage Frais Roule Assortis Boite 1X112Gr 16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Aperitif Tete De Moine Boite 1X1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Apericub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pericube Nature Fromage Fondu Cube 1X125Gr 24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a:defRPr sz="800">
                          <a:latin typeface="Nexa Book"/>
                        </a:defRPr>
                      </a:pPr>
                      <a:r>
                        <a:t>Leerdamm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erdammer Billes Croustillantes Aperitif 45G</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randjean Specialite Boite 1X12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Apericub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pericube Soiree Match Aperitif 250G</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O'Tapas Apero</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O'Tapas Apero Tapas Du Fromager Fromage Frais Bouchee Assortis Boite 1X110Gr 16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299</a:t>
            </a:fld>
            <a:endParaRPr lang="en-US"/>
          </a:p>
        </p:txBody>
      </p:sp>
    </p:spTree>
    <p:extLst>
      <p:ext uri="{BB962C8B-B14F-4D97-AF65-F5344CB8AC3E}">
        <p14:creationId xmlns:p14="http://schemas.microsoft.com/office/powerpoint/2010/main" val="115725924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9/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Total Fromage | Carrefour Hyper + Drive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3</a:t>
            </a:fld>
            <a:endParaRPr lang="en-US"/>
          </a:p>
        </p:txBody>
      </p:sp>
    </p:spTree>
    <p:extLst>
      <p:ext uri="{BB962C8B-B14F-4D97-AF65-F5344CB8AC3E}">
        <p14:creationId xmlns:p14="http://schemas.microsoft.com/office/powerpoint/2010/main" val="3652538570"/>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9/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Ingredient A Chaud | Intermarche Super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30</a:t>
            </a:fld>
            <a:endParaRPr lang="en-US"/>
          </a:p>
        </p:txBody>
      </p:sp>
    </p:spTree>
    <p:extLst>
      <p:ext uri="{BB962C8B-B14F-4D97-AF65-F5344CB8AC3E}">
        <p14:creationId xmlns:p14="http://schemas.microsoft.com/office/powerpoint/2010/main" val="3877962067"/>
      </p:ext>
    </p:extLst>
  </p:cSld>
  <p:clrMapOvr>
    <a:masterClrMapping/>
  </p:clrMapOvr>
</p:sld>
</file>

<file path=ppt/slides/slide3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9/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Aperitif | Intermarche Super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Apericub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pericube Edition Limitee Best Of Foot Fromage Fondu Cube Assortis 1X250Gr 48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Apericub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pericube Cocktail Fromage Fondu Cube Assortis 1X250Gr 48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a:defRPr sz="800">
                          <a:latin typeface="Nexa Book"/>
                        </a:defRPr>
                      </a:pPr>
                      <a:r>
                        <a:t>Apericub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pericube Long Drink Fromage Fondu Cube Assortis 1X250Gr 48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7.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Apericub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pericube Tonic Fromage Fondu Cube Assortis 1X250Gr 48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3.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Boursi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Boursin Aperitif Roules Fromage Frais Roule Afh Et Jambon Fume Boite 1X100Gr 20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3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1102895257"/>
                  </a:ext>
                </a:extLst>
              </a:tr>
              <a:tr h="164170">
                <a:tc>
                  <a:txBody>
                    <a:bodyPr/>
                    <a:lstStyle/>
                    <a:p>
                      <a:pPr algn="ctr">
                        <a:defRPr sz="800">
                          <a:latin typeface="Nexa Book"/>
                        </a:defRPr>
                      </a:pPr>
                      <a:r>
                        <a:t>Apericub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pericube Incontournable Fromage Fondu Cube Assortis 1X250Gr 48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Paturages Specialite Jambon Et Fromage Boite 1X1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Apericub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pericube Edition Limitee Saison Fromage Fondu Cube Assortis 1X250Gr 48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4.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Apericub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pericube Nature Fromage Fondu Cube 1X125Gr 24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8.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Aperivrai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perivrais Saveurs De Provence Fromage Frais Bouchee Assortis 1X100Gr 20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Apericub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pericube Edition Voyage Fromage Fondu Cube Assortis 1X250Gr 48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Boursi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Boursin Aperitif Roules Fromage Frais Roule Ciboulette &amp; Echalote Jambon Fume Boite 1X100Gr 20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7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2976062154"/>
                  </a:ext>
                </a:extLst>
              </a:tr>
              <a:tr h="164170">
                <a:tc>
                  <a:txBody>
                    <a:bodyPr/>
                    <a:lstStyle/>
                    <a:p>
                      <a:pPr algn="ctr">
                        <a:defRPr sz="800">
                          <a:latin typeface="Nexa Book"/>
                        </a:defRPr>
                      </a:pPr>
                      <a:r>
                        <a:t>Apericub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pericube Campagne Fromage Fondu Cube Assortis 1X125Gr 24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3.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St More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t Moret Billes Fromage Frais Bille Figue Boite 1X100Gr 24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Apericub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pericube Saveurs De L'Authentique Fromage Fondu Cube Assortis 1X250Gr 48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Aperivrai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perivrais Ail Et Fines Herbes Fromage Frais Bouchee Afh 1X100Gr 20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a:defRPr sz="800">
                          <a:latin typeface="Nexa Book"/>
                        </a:defRPr>
                      </a:pPr>
                      <a:r>
                        <a:t>Aperivrai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perivrais Saveurs D'Italie Fromage Frais Bouchee Epice Herbe Et Oignon 1X100Gr 20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Paturages Fromage De Chevre Boite 1X200Gr 10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Boursi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Boursin Aperitif Roules Fromage Frais Roule Basilic &amp; Jambon Fume Tomate Boite 1X100Gr 20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8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2959808831"/>
                  </a:ext>
                </a:extLst>
              </a:tr>
              <a:tr h="164170">
                <a:tc>
                  <a:txBody>
                    <a:bodyPr/>
                    <a:lstStyle/>
                    <a:p>
                      <a:pPr algn="ctr">
                        <a:defRPr sz="800">
                          <a:latin typeface="Nexa Book"/>
                        </a:defRPr>
                      </a:pPr>
                      <a:r>
                        <a:t>St More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t Moret Billes Fromage Frais Bille Oignon Boite 1X100Gr 24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300</a:t>
            </a:fld>
            <a:endParaRPr lang="en-US"/>
          </a:p>
        </p:txBody>
      </p:sp>
    </p:spTree>
    <p:extLst>
      <p:ext uri="{BB962C8B-B14F-4D97-AF65-F5344CB8AC3E}">
        <p14:creationId xmlns:p14="http://schemas.microsoft.com/office/powerpoint/2010/main" val="839351219"/>
      </p:ext>
    </p:extLst>
  </p:cSld>
  <p:clrMapOvr>
    <a:masterClrMapping/>
  </p:clrMapOvr>
</p:sld>
</file>

<file path=ppt/slides/slide3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9/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Aperitif | Intermarche Hyper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Apericub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pericube Edition Limitee Best Of Foot Fromage Fondu Cube Assortis 1X250Gr 48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Apericub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pericube Cocktail Fromage Fondu Cube Assortis 1X250Gr 48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a:defRPr sz="800">
                          <a:latin typeface="Nexa Book"/>
                        </a:defRPr>
                      </a:pPr>
                      <a:r>
                        <a:t>Apericub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pericube Long Drink Fromage Fondu Cube Assortis 1X250Gr 48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Apericub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pericube Incontournable Fromage Fondu Cube Assortis 1X250Gr 48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Apericub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pericube Tonic Fromage Fondu Cube Assortis 1X250Gr 48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Boursi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Boursin Aperitif Roules Fromage Frais Roule Afh Et Jambon Fume Boite 1X100Gr 20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44.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776375343"/>
                  </a:ext>
                </a:extLst>
              </a:tr>
              <a:tr h="164170">
                <a:tc>
                  <a:txBody>
                    <a:bodyPr/>
                    <a:lstStyle/>
                    <a:p>
                      <a:pPr algn="ctr">
                        <a:defRPr sz="800">
                          <a:latin typeface="Nexa Book"/>
                        </a:defRPr>
                      </a:pPr>
                      <a:r>
                        <a:t>Apericub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pericube Edition Limitee Saison Fromage Fondu Cube Assortis 1X250Gr 48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Paturages Specialite Jambon Et Fromage Boite 1X1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4.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Apericub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pericube Nature Fromage Fondu Cube 1X125Gr 24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8.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Apericub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pericube Edition Voyage Fromage Fondu Cube Assortis 1X250Gr 48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Aperivrai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perivrais Saveurs De Provence Fromage Frais Bouchee Assortis 1X100Gr 20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5.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Boursi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Boursin Aperitif Roules Fromage Frais Roule Ciboulette &amp; Echalote Jambon Fume Boite 1X100Gr 20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6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2976062154"/>
                  </a:ext>
                </a:extLst>
              </a:tr>
              <a:tr h="164170">
                <a:tc>
                  <a:txBody>
                    <a:bodyPr/>
                    <a:lstStyle/>
                    <a:p>
                      <a:pPr algn="ctr">
                        <a:defRPr sz="800">
                          <a:latin typeface="Nexa Book"/>
                        </a:defRPr>
                      </a:pPr>
                      <a:r>
                        <a:t>Apericub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pericube Saveurs De L'Authentique Fromage Fondu Cube Assortis 1X250Gr 48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Apericub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pericube Campagne Fromage Fondu Cube Assortis 1X125Gr 24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5.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St More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t Moret Billes Fromage Frais Bille Figue Boite 1X100Gr 24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Aperivrai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perivrais Saveurs D'Italie Fromage Frais Bouchee Epice Herbe Et Oignon 1X100Gr 20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a:defRPr sz="800">
                          <a:latin typeface="Nexa Book"/>
                        </a:defRPr>
                      </a:pPr>
                      <a:r>
                        <a:t>Aperivrai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perivrais Ail Et Fines Herbes Fromage Frais Bouchee Afh 1X100Gr 20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St More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t Moret Billes Fromage Frais Bille Oignon Boite 1X100Gr 24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4.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Boursi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Boursin Aperitif Roules Fromage Frais Roule Basilic &amp; Jambon Fume Tomate Boite 1X100Gr 20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86.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2959808831"/>
                  </a:ext>
                </a:extLst>
              </a:tr>
              <a:tr h="164170">
                <a:tc>
                  <a:txBody>
                    <a:bodyPr/>
                    <a:lstStyle/>
                    <a:p>
                      <a:pPr algn="ctr">
                        <a:defRPr sz="800">
                          <a:latin typeface="Nexa Book"/>
                        </a:defRPr>
                      </a:pPr>
                      <a:r>
                        <a:t>Apericub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pericube Long Drink Fromage Fondu Cube Assortis 1X125Gr 24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301</a:t>
            </a:fld>
            <a:endParaRPr lang="en-US"/>
          </a:p>
        </p:txBody>
      </p:sp>
    </p:spTree>
    <p:extLst>
      <p:ext uri="{BB962C8B-B14F-4D97-AF65-F5344CB8AC3E}">
        <p14:creationId xmlns:p14="http://schemas.microsoft.com/office/powerpoint/2010/main" val="2073712929"/>
      </p:ext>
    </p:extLst>
  </p:cSld>
  <p:clrMapOvr>
    <a:masterClrMapping/>
  </p:clrMapOvr>
</p:sld>
</file>

<file path=ppt/slides/slide3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9/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Aperitif | Intermarche Proxi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Apericub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pericube Edition Limitee Best Of Foot Fromage Fondu Cube Assortis 1X250Gr 48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Apericub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pericube Cocktail Fromage Fondu Cube Assortis 1X250Gr 48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a:defRPr sz="800">
                          <a:latin typeface="Nexa Book"/>
                        </a:defRPr>
                      </a:pPr>
                      <a:r>
                        <a:t>Boursi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Boursin Aperitif Roules Fromage Frais Roule Afh Et Jambon Fume Boite 1X100Gr 20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2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377019259"/>
                  </a:ext>
                </a:extLst>
              </a:tr>
              <a:tr h="164170">
                <a:tc>
                  <a:txBody>
                    <a:bodyPr/>
                    <a:lstStyle/>
                    <a:p>
                      <a:pPr algn="ctr">
                        <a:defRPr sz="800">
                          <a:latin typeface="Nexa Book"/>
                        </a:defRPr>
                      </a:pPr>
                      <a:r>
                        <a:t>Aperivrai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perivrais Saveurs De Provence Fromage Frais Bouchee Assortis 1X100Gr 20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Apericub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pericube Long Drink Fromage Fondu Cube Assortis 1X250Gr 48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Apericub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pericube Tonic Fromage Fondu Cube Assortis 1X250Gr 48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7.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Apericub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pericube Campagne Fromage Fondu Cube Assortis 1X125Gr 24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Paturages Specialite Jambon Et Fromage Boite 1X1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Apericub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pericube Nature Fromage Fondu Cube 1X125Gr 24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Apericub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pericube Edition Limitee Saison Fromage Fondu Cube Assortis 1X250Gr 48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Paturages Fromage De Chevre Boite 1X200Gr 10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Apericub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pericube Edition Voyage Fromage Fondu Cube Assortis 1X250Gr 48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Apericub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pericube Incontournable Fromage Fondu Cube Assortis 1X250Gr 48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5.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St More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t Moret Billes Fromage Frais Bille Figue Boite 1X100Gr 24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Boursi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Boursin Aperitif Roules Fromage Frais Roule Ciboulette &amp; Echalote Jambon Fume Boite 1X100Gr 20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8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714509061"/>
                  </a:ext>
                </a:extLst>
              </a:tr>
              <a:tr h="164170">
                <a:tc>
                  <a:txBody>
                    <a:bodyPr/>
                    <a:lstStyle/>
                    <a:p>
                      <a:pPr algn="ctr">
                        <a:defRPr sz="800">
                          <a:latin typeface="Nexa Book"/>
                        </a:defRPr>
                      </a:pPr>
                      <a:r>
                        <a:t>Aperivrai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perivrais Ail Et Fines Herbes Fromage Frais Bouchee Afh 1X100Gr 20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a:defRPr sz="800">
                          <a:latin typeface="Nexa Book"/>
                        </a:defRPr>
                      </a:pPr>
                      <a:r>
                        <a:t>Aperivrai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perivrais Saveurs D'Italie Fromage Frais Bouchee Epice Herbe Et Oignon 1X100Gr 20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Apericub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pericube Saveurs De L'Authentique Fromage Fondu Cube Assortis 1X250Gr 48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Boursi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Boursin Aperitif Roules Fromage Frais Roule Basilic &amp; Jambon Fume Tomate Boite 1X100Gr 20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5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2959808831"/>
                  </a:ext>
                </a:extLst>
              </a:tr>
              <a:tr h="164170">
                <a:tc>
                  <a:txBody>
                    <a:bodyPr/>
                    <a:lstStyle/>
                    <a:p>
                      <a:pPr algn="ctr">
                        <a:defRPr sz="800">
                          <a:latin typeface="Nexa Book"/>
                        </a:defRPr>
                      </a:pPr>
                      <a:r>
                        <a:t>St More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t Moret Billes Fromage Frais Bille Ciboulette &amp; Citron Saumon Fume Boite 1X100Gr 24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302</a:t>
            </a:fld>
            <a:endParaRPr lang="en-US"/>
          </a:p>
        </p:txBody>
      </p:sp>
    </p:spTree>
    <p:extLst>
      <p:ext uri="{BB962C8B-B14F-4D97-AF65-F5344CB8AC3E}">
        <p14:creationId xmlns:p14="http://schemas.microsoft.com/office/powerpoint/2010/main" val="1116747792"/>
      </p:ext>
    </p:extLst>
  </p:cSld>
  <p:clrMapOvr>
    <a:masterClrMapping/>
  </p:clrMapOvr>
</p:sld>
</file>

<file path=ppt/slides/slide3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9/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Ingredient A Chaud | Carrefour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dd Std Cheddar Fondu Tranche A Chaud Sachet 1X2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Presiden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esident Burger' Fromage Fondu Tranche A Chaud Cheddar Et Emmental Sachet 1X200Gr 12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dd Std Fromage Fondu Tranche A Chaud 1X3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dd Std Undefined Tranche A Chaud 1X2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Presiden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esident Croque' Emmental Fondu Tranche A Chaud Sachet 1X200Gr 12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3.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dd Std Cancoillotte 1X2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La Vache Qui Ri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Toastinette Cheddar Fondu Tranche A Chaud Sachet 1X200Gr 10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63.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4267548465"/>
                  </a:ext>
                </a:extLst>
              </a:tr>
              <a:tr h="164170">
                <a:tc>
                  <a:txBody>
                    <a:bodyPr/>
                    <a:lstStyle/>
                    <a:p>
                      <a:pPr algn="ctr">
                        <a:defRPr sz="800">
                          <a:latin typeface="Nexa Book"/>
                        </a:defRPr>
                      </a:pPr>
                      <a:r>
                        <a:t>La Vache Qui Ri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Toastinette Fromage Fondu Tranche A Chaud Sachet 1X200Gr 10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6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2585022217"/>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dd Std Cancoillotte Ail 1X2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Presiden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esident Burger' Fromage Fondu Tranche A Chaud Cheddar Et Emmental Sachet 1X340Gr 20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dd Std Cheddar Fondu Tranche A Chaud Sachet 1X34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Boursi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Boursin Cuisine Sauce Fromage Afh 1X24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7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2976062154"/>
                  </a:ext>
                </a:extLst>
              </a:tr>
              <a:tr h="164170">
                <a:tc>
                  <a:txBody>
                    <a:bodyPr/>
                    <a:lstStyle/>
                    <a:p>
                      <a:pPr algn="ctr">
                        <a:defRPr sz="800">
                          <a:latin typeface="Nexa Book"/>
                        </a:defRPr>
                      </a:pPr>
                      <a:r>
                        <a:t>Presiden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esident Croque' Emmental Fondu Tranche A Chaud Boite 1X340Gr 20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Presiden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esident Facon Brasserie Cheddar Tranche A Chaud Boite 1X200Gr 6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3.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dd Std Fromage Fondu Tranche A Chaud Sachet 1X34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5.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La Belle Etoil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a Belle Etoile Cancoillotte Bocal 1X2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6.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dd 1Er Prix Fromage Fondu Tranche A Chaud 1X2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dd Std Fromage Fondu Tranche A Chaud Raclette Sachet 1X2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La Belle Etoil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a Belle Etoile Cancoillotte Ail 1X2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Fauque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Fauquet Creme De Maroilles 1X1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303</a:t>
            </a:fld>
            <a:endParaRPr lang="en-US"/>
          </a:p>
        </p:txBody>
      </p:sp>
    </p:spTree>
    <p:extLst>
      <p:ext uri="{BB962C8B-B14F-4D97-AF65-F5344CB8AC3E}">
        <p14:creationId xmlns:p14="http://schemas.microsoft.com/office/powerpoint/2010/main" val="63472151"/>
      </p:ext>
    </p:extLst>
  </p:cSld>
  <p:clrMapOvr>
    <a:masterClrMapping/>
  </p:clrMapOvr>
</p:sld>
</file>

<file path=ppt/slides/slide3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9/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Ingredient A Chaud | Intermarche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Paturages Fromage Fondu Tranche A Chaud Sachet 1X2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Paturages Fromage Fondu Tranche A Chaud Sachet 1X34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6.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a:defRPr sz="800">
                          <a:latin typeface="Nexa Book"/>
                        </a:defRPr>
                      </a:pPr>
                      <a:r>
                        <a:t>Presiden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esident Burger' Fromage Fondu Tranche A Chaud Cheddar Et Emmental Sachet 1X200Gr 12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Presiden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esident Burger' Fromage Fondu Tranche A Chaud Cheddar Et Emmental Sachet 1X340Gr 20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Presiden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esident Croque' Emmental Fondu Tranche A Chaud Sachet 1X200Gr 12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6.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Presiden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esident Croque' Emmental Fondu Tranche A Chaud Boite 1X340Gr 20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Idr Cancoillotte 1X2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7.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Idr Cancoillotte Ail 1X2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Boursi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Boursin Cuisine Sauce Fromage Afh 1X24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8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83.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2304999854"/>
                  </a:ext>
                </a:extLst>
              </a:tr>
              <a:tr h="164170">
                <a:tc>
                  <a:txBody>
                    <a:bodyPr/>
                    <a:lstStyle/>
                    <a:p>
                      <a:pPr algn="ctr">
                        <a:defRPr sz="800">
                          <a:latin typeface="Nexa Book"/>
                        </a:defRPr>
                      </a:pPr>
                      <a:r>
                        <a:t>La Belle Etoil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a Belle Etoile Cancoillotte Bocal 1X5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4.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La Belle Etoil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a Belle Etoile Cancoillotte Ail Bocal 1X5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Presiden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esident Cancoillotte 1X2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Richesmont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ichesmonts La Raclette Speciale Tranche A Chaud Boite 1X140Gr 6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La Belle Etoil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a Belle Etoile Cancoillotte Ail 1X2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Ragui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aguin Cancoillotte 1X5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La Belle Etoil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a Belle Etoile Cancoillotte Bocal 1X2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a:defRPr sz="800">
                          <a:latin typeface="Nexa Book"/>
                        </a:defRPr>
                      </a:pPr>
                      <a:r>
                        <a:t>Ragui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aguin Cancoillotte 1X2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La Belle Etoil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a Belle Etoile Metton Fondu Allege Boite 1X2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Ragui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aguin Cancoillotte Ail Bocal 1X5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Ragui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aguin Cancoillotte Ail 1X2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304</a:t>
            </a:fld>
            <a:endParaRPr lang="en-US"/>
          </a:p>
        </p:txBody>
      </p:sp>
    </p:spTree>
    <p:extLst>
      <p:ext uri="{BB962C8B-B14F-4D97-AF65-F5344CB8AC3E}">
        <p14:creationId xmlns:p14="http://schemas.microsoft.com/office/powerpoint/2010/main" val="2699915152"/>
      </p:ext>
    </p:extLst>
  </p:cSld>
  <p:clrMapOvr>
    <a:masterClrMapping/>
  </p:clrMapOvr>
</p:sld>
</file>

<file path=ppt/slides/slide3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9/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Ingredient A Chaud | Carrefour Hyper + Drive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dd Std Cheddar Fondu Tranche A Chaud Sachet 1X2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Presiden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esident Burger' Fromage Fondu Tranche A Chaud Cheddar Et Emmental Sachet 1X200Gr 12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dd Std Fromage Fondu Tranche A Chaud 1X3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Presiden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esident Burger' Fromage Fondu Tranche A Chaud Cheddar Et Emmental Sachet 1X340Gr 20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5.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La Vache Qui Ri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Toastinette Fromage Fondu Tranche A Chaud Sachet 1X200Gr 10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4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1102895257"/>
                  </a:ext>
                </a:extLst>
              </a:tr>
              <a:tr h="164170">
                <a:tc>
                  <a:txBody>
                    <a:bodyPr/>
                    <a:lstStyle/>
                    <a:p>
                      <a:pPr algn="ctr">
                        <a:defRPr sz="800">
                          <a:latin typeface="Nexa Book"/>
                        </a:defRPr>
                      </a:pPr>
                      <a:r>
                        <a:t>La Vache Qui Ri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Toastinette Cheddar Fondu Tranche A Chaud Sachet 1X200Gr 10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46.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776375343"/>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dd Std Undefined Tranche A Chaud 1X2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dd Std Cheddar Fondu Tranche A Chaud Sachet 1X34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6.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Presiden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esident Croque' Emmental Fondu Tranche A Chaud Sachet 1X200Gr 12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dd Std Cancoillotte 1X2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5.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Presiden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esident Croque' Emmental Fondu Tranche A Chaud Boite 1X340Gr 20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8.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dd Std Cancoillotte Ail 1X2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dd Std Fromage Fondu Tranche A Chaud Sachet 1X34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4.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Boursi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Boursin Cuisine Sauce Fromage Afh 1X24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7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4273312142"/>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dd 1Er Prix Fromage Fondu Tranche A Chaud 1X2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Presiden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esident Facon Brasserie Cheddar Tranche A Chaud Boite 1X200Gr 6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a:defRPr sz="800">
                          <a:latin typeface="Nexa Book"/>
                        </a:defRPr>
                      </a:pPr>
                      <a:r>
                        <a:t>Presiden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esident Creme De Camembert 1X1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La Belle Etoil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a Belle Etoile Cancoillotte Bocal 1X2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3.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La Belle Etoil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a Belle Etoile Cancoillotte Ail 1X2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Leerdamm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erdammer Le Croque Tranche A Chaud Sachet 1X150Gr 6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5.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305</a:t>
            </a:fld>
            <a:endParaRPr lang="en-US"/>
          </a:p>
        </p:txBody>
      </p:sp>
    </p:spTree>
    <p:extLst>
      <p:ext uri="{BB962C8B-B14F-4D97-AF65-F5344CB8AC3E}">
        <p14:creationId xmlns:p14="http://schemas.microsoft.com/office/powerpoint/2010/main" val="1399920506"/>
      </p:ext>
    </p:extLst>
  </p:cSld>
  <p:clrMapOvr>
    <a:masterClrMapping/>
  </p:clrMapOvr>
</p:sld>
</file>

<file path=ppt/slides/slide3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9/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Ingredient A Chaud | Carrefour Supermarket + Drive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dd Std Fromage Fondu Tranche A Chaud 1X3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8.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dd Std Cheddar Fondu Tranche A Chaud Sachet 1X2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a:defRPr sz="800">
                          <a:latin typeface="Nexa Book"/>
                        </a:defRPr>
                      </a:pPr>
                      <a:r>
                        <a:t>Presiden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esident Burger' Fromage Fondu Tranche A Chaud Cheddar Et Emmental Sachet 1X200Gr 12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4.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dd Std Undefined Tranche A Chaud 1X2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4.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La Vache Qui Ri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Toastinette Cheddar Fondu Tranche A Chaud Sachet 1X200Gr 10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6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1102895257"/>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dd Std Cancoillotte 1X2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6.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La Vache Qui Ri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Toastinette Fromage Fondu Tranche A Chaud Sachet 1X200Gr 10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7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4267548465"/>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dd Std Cancoillotte Ail 1X2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5.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Presiden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esident Croque' Emmental Fondu Tranche A Chaud Sachet 1X200Gr 12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Presiden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esident Facon Brasserie Cheddar Tranche A Chaud Boite 1X200Gr 6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dd Std Cheddar Fondu Tranche A Chaud Sachet 1X34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Presiden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esident Croque' Emmental Fondu Tranche A Chaud Boite 1X340Gr 20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7.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Boursi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Boursin Cuisine Sauce Fromage Afh 1X24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7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8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2630007318"/>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dd Std Fromage Fondu Tranche A Chaud Raclette Sachet 1X2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dd Std Fromage Fondu Tranche A Chaud Sachet 1X34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Fauque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Fauquet Creme De Maroilles 1X1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a:defRPr sz="800">
                          <a:latin typeface="Nexa Book"/>
                        </a:defRPr>
                      </a:pPr>
                      <a:r>
                        <a:t>La Belle Etoil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a Belle Etoile Cancoillotte Bocal 1X2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La Belle Etoil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a Belle Etoile Cancoillotte Ail 1X2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adoz Cancoillotte Ail 1X2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Nobrand Cheddar Fondu Tranche A Chaud Sachet 1X200Gr 10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306</a:t>
            </a:fld>
            <a:endParaRPr lang="en-US"/>
          </a:p>
        </p:txBody>
      </p:sp>
    </p:spTree>
    <p:extLst>
      <p:ext uri="{BB962C8B-B14F-4D97-AF65-F5344CB8AC3E}">
        <p14:creationId xmlns:p14="http://schemas.microsoft.com/office/powerpoint/2010/main" val="1363980638"/>
      </p:ext>
    </p:extLst>
  </p:cSld>
  <p:clrMapOvr>
    <a:masterClrMapping/>
  </p:clrMapOvr>
</p:sld>
</file>

<file path=ppt/slides/slide3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9/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Ingredient A Chaud | Carrefour Proximite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dd Std Cheddar Fondu Tranche A Chaud Sachet 1X2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Presiden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esident Burger' Fromage Fondu Tranche A Chaud Cheddar Et Emmental Sachet 1X200Gr 12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dd Std Undefined Tranche A Chaud 1X2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3.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Presiden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esident Croque' Emmental Fondu Tranche A Chaud Sachet 1X200Gr 12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5.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dd Std Cancoillotte 1X2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dd Std Cancoillotte Ail 1X2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7.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Boursi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Boursin Cuisine Sauce Fromage Afh 1X24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8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4267548465"/>
                  </a:ext>
                </a:extLst>
              </a:tr>
              <a:tr h="164170">
                <a:tc>
                  <a:txBody>
                    <a:bodyPr/>
                    <a:lstStyle/>
                    <a:p>
                      <a:pPr algn="ctr">
                        <a:defRPr sz="800">
                          <a:latin typeface="Nexa Book"/>
                        </a:defRPr>
                      </a:pPr>
                      <a:r>
                        <a:t>La Vache Qui Ri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Toastinette Cheddar Fondu Tranche A Chaud Sachet 1X200Gr 10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2585022217"/>
                  </a:ext>
                </a:extLst>
              </a:tr>
              <a:tr h="164170">
                <a:tc>
                  <a:txBody>
                    <a:bodyPr/>
                    <a:lstStyle/>
                    <a:p>
                      <a:pPr algn="ctr">
                        <a:defRPr sz="800">
                          <a:latin typeface="Nexa Book"/>
                        </a:defRPr>
                      </a:pPr>
                      <a:r>
                        <a:t>Fauque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Fauquet Creme De Maroilles 1X1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La Belle Etoil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a Belle Etoile Cancoillotte Bocal 1X2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La Belle Etoil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a Belle Etoile Cancoillotte Ail 1X2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La Belle Etoil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a Belle Etoile Cancoillotte Bocal 1X5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La Vache Qui Ri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Toastinette Fromage Fondu Tranche A Chaud Sachet 1X200Gr 10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2630007318"/>
                  </a:ext>
                </a:extLst>
              </a:tr>
              <a:tr h="164170">
                <a:tc>
                  <a:txBody>
                    <a:bodyPr/>
                    <a:lstStyle/>
                    <a:p>
                      <a:pPr algn="ctr">
                        <a:defRPr sz="800">
                          <a:latin typeface="Nexa Book"/>
                        </a:defRPr>
                      </a:pPr>
                      <a:r>
                        <a:t>La Belle Etoil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a Belle Etoile Cancoillotte Ail Bocal 1X5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Presiden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esident Facon Brasserie Cheddar Tranche A Chaud Boite 1X200Gr 6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Leerdamm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erdammer Le Burger Tranche A Chaud Boite 1X150Gr 8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a:defRPr sz="800">
                          <a:latin typeface="Nexa Book"/>
                        </a:defRPr>
                      </a:pPr>
                      <a:r>
                        <a:t>La Belle Etoil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a Belle Etoile Metton Fondu Allege Boite 1X2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ire Creme De Maroilles 1X18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Ragui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aguin Cancoillotte 1X5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hmann Cancoillotte Ail 1X24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307</a:t>
            </a:fld>
            <a:endParaRPr lang="en-US"/>
          </a:p>
        </p:txBody>
      </p:sp>
    </p:spTree>
    <p:extLst>
      <p:ext uri="{BB962C8B-B14F-4D97-AF65-F5344CB8AC3E}">
        <p14:creationId xmlns:p14="http://schemas.microsoft.com/office/powerpoint/2010/main" val="545262466"/>
      </p:ext>
    </p:extLst>
  </p:cSld>
  <p:clrMapOvr>
    <a:masterClrMapping/>
  </p:clrMapOvr>
</p:sld>
</file>

<file path=ppt/slides/slide3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9/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Ingredient A Chaud | Intermarche Super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Paturages Fromage Fondu Tranche A Chaud Sachet 1X2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Paturages Fromage Fondu Tranche A Chaud Sachet 1X34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6.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a:defRPr sz="800">
                          <a:latin typeface="Nexa Book"/>
                        </a:defRPr>
                      </a:pPr>
                      <a:r>
                        <a:t>Presiden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esident Burger' Fromage Fondu Tranche A Chaud Cheddar Et Emmental Sachet 1X200Gr 12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Presiden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esident Burger' Fromage Fondu Tranche A Chaud Cheddar Et Emmental Sachet 1X340Gr 20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Presiden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esident Croque' Emmental Fondu Tranche A Chaud Sachet 1X200Gr 12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6.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Presiden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esident Croque' Emmental Fondu Tranche A Chaud Boite 1X340Gr 20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Idr Cancoillotte 1X2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Idr Cancoillotte Ail 1X2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Boursi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Boursin Cuisine Sauce Fromage Afh 1X24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83.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2304999854"/>
                  </a:ext>
                </a:extLst>
              </a:tr>
              <a:tr h="164170">
                <a:tc>
                  <a:txBody>
                    <a:bodyPr/>
                    <a:lstStyle/>
                    <a:p>
                      <a:pPr algn="ctr">
                        <a:defRPr sz="800">
                          <a:latin typeface="Nexa Book"/>
                        </a:defRPr>
                      </a:pPr>
                      <a:r>
                        <a:t>La Belle Etoil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a Belle Etoile Cancoillotte Bocal 1X5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La Belle Etoil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a Belle Etoile Cancoillotte Ail Bocal 1X5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Presiden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esident Cancoillotte 1X2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Richesmont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ichesmonts La Raclette Speciale Tranche A Chaud Boite 1X140Gr 6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8.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Ragui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aguin Cancoillotte 1X5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Ragui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aguin Cancoillotte 1X2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La Belle Etoil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a Belle Etoile Cancoillotte Ail 1X2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a:defRPr sz="800">
                          <a:latin typeface="Nexa Book"/>
                        </a:defRPr>
                      </a:pPr>
                      <a:r>
                        <a:t>La Belle Etoil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a Belle Etoile Cancoillotte Bocal 1X2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La Belle Etoil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a Belle Etoile Metton Fondu Allege Boite 1X2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Ragui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aguin Cancoillotte Ail 1X2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Ragui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aguin Cancoillotte Ail Bocal 1X5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308</a:t>
            </a:fld>
            <a:endParaRPr lang="en-US"/>
          </a:p>
        </p:txBody>
      </p:sp>
    </p:spTree>
    <p:extLst>
      <p:ext uri="{BB962C8B-B14F-4D97-AF65-F5344CB8AC3E}">
        <p14:creationId xmlns:p14="http://schemas.microsoft.com/office/powerpoint/2010/main" val="2871984348"/>
      </p:ext>
    </p:extLst>
  </p:cSld>
  <p:clrMapOvr>
    <a:masterClrMapping/>
  </p:clrMapOvr>
</p:sld>
</file>

<file path=ppt/slides/slide3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9/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Ingredient A Chaud | Intermarche Hyper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Paturages Fromage Fondu Tranche A Chaud Sachet 1X34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Paturages Fromage Fondu Tranche A Chaud Sachet 1X2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a:defRPr sz="800">
                          <a:latin typeface="Nexa Book"/>
                        </a:defRPr>
                      </a:pPr>
                      <a:r>
                        <a:t>Presiden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esident Burger' Fromage Fondu Tranche A Chaud Cheddar Et Emmental Sachet 1X200Gr 12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5.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Presiden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esident Burger' Fromage Fondu Tranche A Chaud Cheddar Et Emmental Sachet 1X340Gr 20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Presiden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esident Croque' Emmental Fondu Tranche A Chaud Sachet 1X200Gr 12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Presiden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esident Croque' Emmental Fondu Tranche A Chaud Boite 1X340Gr 20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Idr Cancoillotte 1X2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Idr Cancoillotte Ail 1X2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La Belle Etoil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a Belle Etoile Cancoillotte Bocal 1X5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La Belle Etoil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a Belle Etoile Cancoillotte Ail Bocal 1X5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Boursi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Boursin Cuisine Sauce Fromage Afh 1X24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8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3432996514"/>
                  </a:ext>
                </a:extLst>
              </a:tr>
              <a:tr h="164170">
                <a:tc>
                  <a:txBody>
                    <a:bodyPr/>
                    <a:lstStyle/>
                    <a:p>
                      <a:pPr algn="ctr">
                        <a:defRPr sz="800">
                          <a:latin typeface="Nexa Book"/>
                        </a:defRPr>
                      </a:pPr>
                      <a:r>
                        <a:t>La Belle Etoil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a Belle Etoile Cancoillotte Ail 1X2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Presiden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esident Cancoillotte 1X2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4.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Richesmont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ichesmonts La Raclette Speciale Tranche A Chaud Boite 1X140Gr 6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La Belle Etoil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a Belle Etoile Cancoillotte Bocal 1X2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6.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Ragui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aguin Cancoillotte 1X2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a:defRPr sz="800">
                          <a:latin typeface="Nexa Book"/>
                        </a:defRPr>
                      </a:pPr>
                      <a:r>
                        <a:t>La Belle Etoil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a Belle Etoile Metton Fondu Allege Boite 1X2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7.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Ragui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aguin Cancoillotte 1X5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ire Creme De Maroilles 1X18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Ragui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aguin Cancoillotte Ail 1X2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309</a:t>
            </a:fld>
            <a:endParaRPr lang="en-US"/>
          </a:p>
        </p:txBody>
      </p:sp>
    </p:spTree>
    <p:extLst>
      <p:ext uri="{BB962C8B-B14F-4D97-AF65-F5344CB8AC3E}">
        <p14:creationId xmlns:p14="http://schemas.microsoft.com/office/powerpoint/2010/main" val="262026042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9/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Ingredient A Chaud | Intermarche Hyper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31</a:t>
            </a:fld>
            <a:endParaRPr lang="en-US"/>
          </a:p>
        </p:txBody>
      </p:sp>
    </p:spTree>
    <p:extLst>
      <p:ext uri="{BB962C8B-B14F-4D97-AF65-F5344CB8AC3E}">
        <p14:creationId xmlns:p14="http://schemas.microsoft.com/office/powerpoint/2010/main" val="368420918"/>
      </p:ext>
    </p:extLst>
  </p:cSld>
  <p:clrMapOvr>
    <a:masterClrMapping/>
  </p:clrMapOvr>
</p:sld>
</file>

<file path=ppt/slides/slide3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9/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Ingredient A Chaud | Intermarche Proxi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Paturages Fromage Fondu Tranche A Chaud Sachet 1X2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Presiden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esident Burger' Fromage Fondu Tranche A Chaud Cheddar Et Emmental Sachet 1X200Gr 12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5.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Paturages Fromage Fondu Tranche A Chaud Sachet 1X34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6.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Idr Cancoillotte 1X2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3.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Presiden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esident Burger' Fromage Fondu Tranche A Chaud Cheddar Et Emmental Sachet 1X340Gr 20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Presiden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esident Croque' Emmental Fondu Tranche A Chaud Sachet 1X200Gr 12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Idr Cancoillotte Ail 1X2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Presiden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esident Croque' Emmental Fondu Tranche A Chaud Boite 1X340Gr 20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4.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Boursi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Boursin Cuisine Sauce Fromage Afh 1X24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8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2304999854"/>
                  </a:ext>
                </a:extLst>
              </a:tr>
              <a:tr h="164170">
                <a:tc>
                  <a:txBody>
                    <a:bodyPr/>
                    <a:lstStyle/>
                    <a:p>
                      <a:pPr algn="ctr">
                        <a:defRPr sz="800">
                          <a:latin typeface="Nexa Book"/>
                        </a:defRPr>
                      </a:pPr>
                      <a:r>
                        <a:t>La Belle Etoil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a Belle Etoile Cancoillotte Bocal 1X5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La Belle Etoil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a Belle Etoile Cancoillotte Ail Bocal 1X5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Presiden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esident Cancoillotte 1X2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Ragui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aguin Cancoillotte 1X5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Ragui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aguin Cancoillotte 1X2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La Belle Etoil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a Belle Etoile Cancoillotte Bocal 1X2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La Belle Etoil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a Belle Etoile Cancoillotte Ail 1X2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a:defRPr sz="800">
                          <a:latin typeface="Nexa Book"/>
                        </a:defRPr>
                      </a:pPr>
                      <a:r>
                        <a:t>Ragui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aguin Cancoillotte Ail Bocal 1X5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La Belle Etoil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a Belle Etoile Metton Fondu Allege Boite 1X2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Ragui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aguin Cancoillotte Ail 1X2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Milleret: 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 Francomtois Cancoillotte 1X2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310</a:t>
            </a:fld>
            <a:endParaRPr lang="en-US"/>
          </a:p>
        </p:txBody>
      </p:sp>
    </p:spTree>
    <p:extLst>
      <p:ext uri="{BB962C8B-B14F-4D97-AF65-F5344CB8AC3E}">
        <p14:creationId xmlns:p14="http://schemas.microsoft.com/office/powerpoint/2010/main" val="1404472715"/>
      </p:ext>
    </p:extLst>
  </p:cSld>
  <p:clrMapOvr>
    <a:masterClrMapping/>
  </p:clrMapOvr>
</p:sld>
</file>

<file path=ppt/slides/slide3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9/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Enfant | Carrefour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La Vache Qui Ri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La Vache Qui Rit Nature Fromage Fondu Boite Ronde 1X512Gr 32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1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1172644296"/>
                  </a:ext>
                </a:extLst>
              </a:tr>
              <a:tr h="164170">
                <a:tc>
                  <a:txBody>
                    <a:bodyPr/>
                    <a:lstStyle/>
                    <a:p>
                      <a:pPr algn="ctr">
                        <a:defRPr sz="800">
                          <a:latin typeface="Nexa Book"/>
                        </a:defRPr>
                      </a:pPr>
                      <a:r>
                        <a:t>Mini Baby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ini Babybel Rouge Filet St Paulin Ferme 1X264Gr 12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a:defRPr sz="800">
                          <a:latin typeface="Nexa Book"/>
                        </a:defRPr>
                      </a:pPr>
                      <a:r>
                        <a:t>Mini Baby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ini Babybel Rouge Filet St Paulin Ferme 1X132Gr 6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La Vache Qui Ri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La Vache Qui Rit Nature Fromage Fondu Boite Ronde 1X384Gr 24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35.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2166894017"/>
                  </a:ext>
                </a:extLst>
              </a:tr>
              <a:tr h="164170">
                <a:tc>
                  <a:txBody>
                    <a:bodyPr/>
                    <a:lstStyle/>
                    <a:p>
                      <a:pPr algn="ctr">
                        <a:defRPr sz="800">
                          <a:latin typeface="Nexa Book"/>
                        </a:defRPr>
                      </a:pPr>
                      <a:r>
                        <a:t>La Vache Qui Ri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La Vache Qui Rit Nature Fromage Fondu Boite Ronde 1X192Gr 12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4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1102895257"/>
                  </a:ext>
                </a:extLst>
              </a:tr>
              <a:tr h="164170">
                <a:tc>
                  <a:txBody>
                    <a:bodyPr/>
                    <a:lstStyle/>
                    <a:p>
                      <a:pPr algn="ctr">
                        <a:defRPr sz="800">
                          <a:latin typeface="Nexa Book"/>
                        </a:defRPr>
                      </a:pPr>
                      <a:r>
                        <a:t>Kiri</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Kiri Creme Fromage Blanc Frais Carre 1X432Gr 24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7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4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776375343"/>
                  </a:ext>
                </a:extLst>
              </a:tr>
              <a:tr h="164170">
                <a:tc>
                  <a:txBody>
                    <a:bodyPr/>
                    <a:lstStyle/>
                    <a:p>
                      <a:pPr algn="ctr">
                        <a:defRPr sz="800">
                          <a:latin typeface="Nexa Book"/>
                        </a:defRPr>
                      </a:pPr>
                      <a:r>
                        <a:t>Kiri</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Kiri Creme Fromage Blanc Frais Carre 1X144Gr 8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54.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4267548465"/>
                  </a:ext>
                </a:extLst>
              </a:tr>
              <a:tr h="164170">
                <a:tc>
                  <a:txBody>
                    <a:bodyPr/>
                    <a:lstStyle/>
                    <a:p>
                      <a:pPr algn="ctr">
                        <a:defRPr sz="800">
                          <a:latin typeface="Nexa Book"/>
                        </a:defRPr>
                      </a:pPr>
                      <a:r>
                        <a:t>Ficello</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Ficello Fromage Fondu Ferme Sachet 1X168Gr 8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8.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Kiri</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Kiri Creme Fromage Blanc Frais Carre 1X216Gr 12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6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2304999854"/>
                  </a:ext>
                </a:extLst>
              </a:tr>
              <a:tr h="164170">
                <a:tc>
                  <a:txBody>
                    <a:bodyPr/>
                    <a:lstStyle/>
                    <a:p>
                      <a:pPr algn="ctr">
                        <a:defRPr sz="800">
                          <a:latin typeface="Nexa Book"/>
                        </a:defRPr>
                      </a:pPr>
                      <a:r>
                        <a:t>Kiri</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Kiri Gouter Fromage Blanc Dips Boite 1X175Gr 5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6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933184382"/>
                  </a:ext>
                </a:extLst>
              </a:tr>
              <a:tr h="164170">
                <a:tc>
                  <a:txBody>
                    <a:bodyPr/>
                    <a:lstStyle/>
                    <a:p>
                      <a:pPr algn="ctr">
                        <a:defRPr sz="800">
                          <a:latin typeface="Nexa Book"/>
                        </a:defRPr>
                      </a:pPr>
                      <a:r>
                        <a:t>Ficello</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Ficello Fromage Fondu Ferme Sachet 1X84Gr 4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Kiri</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Kiri Gouter Fromage Blanc Dips Boite 1X280Gr 8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73.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2976062154"/>
                  </a:ext>
                </a:extLst>
              </a:tr>
              <a:tr h="164170">
                <a:tc>
                  <a:txBody>
                    <a:bodyPr/>
                    <a:lstStyle/>
                    <a:p>
                      <a:pPr algn="ctr">
                        <a:defRPr sz="800">
                          <a:latin typeface="Nexa Book"/>
                        </a:defRPr>
                      </a:pPr>
                      <a:r>
                        <a:t>La Vache Qui Ri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La Vache Qui Rit Pik Et Croq' Fromage Fondu Dips Boite 1X175Gr 5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75.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2630007318"/>
                  </a:ext>
                </a:extLst>
              </a:tr>
              <a:tr h="164170">
                <a:tc>
                  <a:txBody>
                    <a:bodyPr/>
                    <a:lstStyle/>
                    <a:p>
                      <a:pPr algn="ctr">
                        <a:defRPr sz="800">
                          <a:latin typeface="Nexa Book"/>
                        </a:defRPr>
                      </a:pPr>
                      <a:r>
                        <a:t>Mini Baby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ini Babybel Rouge Filet St Paulin Ferme 1X440Gr 20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6.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La Vache Qui Ri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La Vache Qui Rit Nature Fromage Fondu Boite Ronde 1X128Gr 8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8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714509061"/>
                  </a:ext>
                </a:extLst>
              </a:tr>
              <a:tr h="164170">
                <a:tc>
                  <a:txBody>
                    <a:bodyPr/>
                    <a:lstStyle/>
                    <a:p>
                      <a:pPr algn="ctr">
                        <a:defRPr sz="800">
                          <a:latin typeface="Nexa Book"/>
                        </a:defRPr>
                      </a:pPr>
                      <a:r>
                        <a:t>Mini Baby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ini Babybel Rouge Filet Soft Cheese Enfant 352G</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dd Std Fromage Blanc Frais Carre 1X240Gr 12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La Vache Qui Ri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La Vache Qui Rit Nature Fromage Fondu Boite Ronde 1X512Gr 24+8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7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84.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3682606022"/>
                  </a:ext>
                </a:extLst>
              </a:tr>
              <a:tr h="164170">
                <a:tc>
                  <a:txBody>
                    <a:bodyPr/>
                    <a:lstStyle/>
                    <a:p>
                      <a:pPr algn="ctr">
                        <a:defRPr sz="800">
                          <a:latin typeface="Nexa Book"/>
                        </a:defRPr>
                      </a:pPr>
                      <a:r>
                        <a:t>Kiri</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Kiri Creme Fromage Blanc Frais Carre 1X432Gr 18+6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7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85.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2959808831"/>
                  </a:ext>
                </a:extLst>
              </a:tr>
              <a:tr h="164170">
                <a:tc>
                  <a:txBody>
                    <a:bodyPr/>
                    <a:lstStyle/>
                    <a:p>
                      <a:pPr algn="ctr">
                        <a:defRPr sz="800">
                          <a:latin typeface="Nexa Book"/>
                        </a:defRPr>
                      </a:pPr>
                      <a:r>
                        <a:t>P'Tit Loui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Tit Louis Fromage Frais Fondant 1X160Gr 8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7.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311</a:t>
            </a:fld>
            <a:endParaRPr lang="en-US"/>
          </a:p>
        </p:txBody>
      </p:sp>
    </p:spTree>
    <p:extLst>
      <p:ext uri="{BB962C8B-B14F-4D97-AF65-F5344CB8AC3E}">
        <p14:creationId xmlns:p14="http://schemas.microsoft.com/office/powerpoint/2010/main" val="4032970473"/>
      </p:ext>
    </p:extLst>
  </p:cSld>
  <p:clrMapOvr>
    <a:masterClrMapping/>
  </p:clrMapOvr>
</p:sld>
</file>

<file path=ppt/slides/slide3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9/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Enfant | Intermarche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Mini Baby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ini Babybel Rouge Filet St Paulin Ferme 1X264Gr 12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La Vache Qui Ri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La Vache Qui Rit Nature Fromage Fondu Boite Ronde 1X512Gr 32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2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906332058"/>
                  </a:ext>
                </a:extLst>
              </a:tr>
              <a:tr h="164170">
                <a:tc>
                  <a:txBody>
                    <a:bodyPr/>
                    <a:lstStyle/>
                    <a:p>
                      <a:pPr algn="ctr">
                        <a:defRPr sz="800">
                          <a:latin typeface="Nexa Book"/>
                        </a:defRPr>
                      </a:pPr>
                      <a:r>
                        <a:t>La Vache Qui Ri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La Vache Qui Rit Nature Fromage Fondu Boite Ronde 1X192Gr 12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3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377019259"/>
                  </a:ext>
                </a:extLst>
              </a:tr>
              <a:tr h="164170">
                <a:tc>
                  <a:txBody>
                    <a:bodyPr/>
                    <a:lstStyle/>
                    <a:p>
                      <a:pPr algn="ctr">
                        <a:defRPr sz="800">
                          <a:latin typeface="Nexa Book"/>
                        </a:defRPr>
                      </a:pPr>
                      <a:r>
                        <a:t>Mini Baby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ini Babybel Rouge Filet St Paulin Ferme 1X132Gr 6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La Vache Qui Ri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La Vache Qui Rit Nature Fromage Fondu Boite Ronde 1X384Gr 24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4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1102895257"/>
                  </a:ext>
                </a:extLst>
              </a:tr>
              <a:tr h="164170">
                <a:tc>
                  <a:txBody>
                    <a:bodyPr/>
                    <a:lstStyle/>
                    <a:p>
                      <a:pPr algn="ctr">
                        <a:defRPr sz="800">
                          <a:latin typeface="Nexa Book"/>
                        </a:defRPr>
                      </a:pPr>
                      <a:r>
                        <a:t>Kiri</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Kiri Creme Fromage Blanc Frais Carre 1X216Gr 12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5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776375343"/>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Paturages Fromage Blanc Frais Carre 1X216Gr 12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5.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Paturages Fromage Fondu Boite Ronde 1X400Gr 24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Kiri</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Kiri Creme Fromage Blanc Frais Carre 1X432Gr 24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65.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2304999854"/>
                  </a:ext>
                </a:extLst>
              </a:tr>
              <a:tr h="164170">
                <a:tc>
                  <a:txBody>
                    <a:bodyPr/>
                    <a:lstStyle/>
                    <a:p>
                      <a:pPr algn="ctr">
                        <a:defRPr sz="800">
                          <a:latin typeface="Nexa Book"/>
                        </a:defRPr>
                      </a:pPr>
                      <a:r>
                        <a:t>Ficello</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Ficello Fromage Fondu Ferme Sachet 1X168Gr 8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Kiri</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Kiri Gouter Fromage Blanc Dips Boite 1X280Gr 8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7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3432996514"/>
                  </a:ext>
                </a:extLst>
              </a:tr>
              <a:tr h="164170">
                <a:tc>
                  <a:txBody>
                    <a:bodyPr/>
                    <a:lstStyle/>
                    <a:p>
                      <a:pPr algn="ctr">
                        <a:defRPr sz="800">
                          <a:latin typeface="Nexa Book"/>
                        </a:defRPr>
                      </a:pPr>
                      <a:r>
                        <a:t>Kiri</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Kiri Creme Fromage Blanc Frais Carre 1X144Gr 8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76.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2976062154"/>
                  </a:ext>
                </a:extLst>
              </a:tr>
              <a:tr h="164170">
                <a:tc>
                  <a:txBody>
                    <a:bodyPr/>
                    <a:lstStyle/>
                    <a:p>
                      <a:pPr algn="ctr">
                        <a:defRPr sz="800">
                          <a:latin typeface="Nexa Book"/>
                        </a:defRPr>
                      </a:pPr>
                      <a:r>
                        <a:t>Kiri</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Kiri Gouter Fromage Blanc Dips Boite 1X175Gr 5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7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2630007318"/>
                  </a:ext>
                </a:extLst>
              </a:tr>
              <a:tr h="164170">
                <a:tc>
                  <a:txBody>
                    <a:bodyPr/>
                    <a:lstStyle/>
                    <a:p>
                      <a:pPr algn="ctr">
                        <a:defRPr sz="800">
                          <a:latin typeface="Nexa Book"/>
                        </a:defRPr>
                      </a:pPr>
                      <a:r>
                        <a:t>Mini Baby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ini Babybel Rouge Filet St Paulin Ferme 1X440Gr 20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Ficello</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Ficello Fromage Fondu Ferme Sachet 1X84Gr 4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Paturages Fromage Fondu Boite Ronde 1X200Gr 12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5.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a:defRPr sz="800">
                          <a:latin typeface="Nexa Book"/>
                        </a:defRPr>
                      </a:pPr>
                      <a:r>
                        <a:t>La Vache Qui Ri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La Vache Qui Rit Pik Et Croq' Fromage Fondu Dips Boite 1X175Gr 5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8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720551800"/>
                  </a:ext>
                </a:extLst>
              </a:tr>
              <a:tr h="164170">
                <a:tc>
                  <a:txBody>
                    <a:bodyPr/>
                    <a:lstStyle/>
                    <a:p>
                      <a:pPr algn="ctr">
                        <a:defRPr sz="800">
                          <a:latin typeface="Nexa Book"/>
                        </a:defRPr>
                      </a:pPr>
                      <a:r>
                        <a:t>Ficello</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Ficello Fromage Fondu Ferme Emmental Sachet 1X84Gr 4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P'Tit Loui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Tit Louis Fromage Frais Fondant Filet 1X240Gr 12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La Vache Qui Ri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La Vache Qui Rit Pik Et Croq' Fromage Fondu Dips Boite 1X280Gr 8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312</a:t>
            </a:fld>
            <a:endParaRPr lang="en-US"/>
          </a:p>
        </p:txBody>
      </p:sp>
    </p:spTree>
    <p:extLst>
      <p:ext uri="{BB962C8B-B14F-4D97-AF65-F5344CB8AC3E}">
        <p14:creationId xmlns:p14="http://schemas.microsoft.com/office/powerpoint/2010/main" val="2479720915"/>
      </p:ext>
    </p:extLst>
  </p:cSld>
  <p:clrMapOvr>
    <a:masterClrMapping/>
  </p:clrMapOvr>
</p:sld>
</file>

<file path=ppt/slides/slide3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9/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Enfant | Carrefour Hyper + Drive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La Vache Qui Ri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La Vache Qui Rit Nature Fromage Fondu Boite Ronde 1X512Gr 32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16.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1172644296"/>
                  </a:ext>
                </a:extLst>
              </a:tr>
              <a:tr h="164170">
                <a:tc>
                  <a:txBody>
                    <a:bodyPr/>
                    <a:lstStyle/>
                    <a:p>
                      <a:pPr algn="ctr">
                        <a:defRPr sz="800">
                          <a:latin typeface="Nexa Book"/>
                        </a:defRPr>
                      </a:pPr>
                      <a:r>
                        <a:t>Mini Baby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ini Babybel Rouge Filet St Paulin Ferme 1X264Gr 12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6.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a:defRPr sz="800">
                          <a:latin typeface="Nexa Book"/>
                        </a:defRPr>
                      </a:pPr>
                      <a:r>
                        <a:t>Kiri</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Kiri Creme Fromage Blanc Frais Carre 1X432Gr 24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3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377019259"/>
                  </a:ext>
                </a:extLst>
              </a:tr>
              <a:tr h="164170">
                <a:tc>
                  <a:txBody>
                    <a:bodyPr/>
                    <a:lstStyle/>
                    <a:p>
                      <a:pPr algn="ctr">
                        <a:defRPr sz="800">
                          <a:latin typeface="Nexa Book"/>
                        </a:defRPr>
                      </a:pPr>
                      <a:r>
                        <a:t>La Vache Qui Ri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La Vache Qui Rit Nature Fromage Fondu Boite Ronde 1X384Gr 24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4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2166894017"/>
                  </a:ext>
                </a:extLst>
              </a:tr>
              <a:tr h="164170">
                <a:tc>
                  <a:txBody>
                    <a:bodyPr/>
                    <a:lstStyle/>
                    <a:p>
                      <a:pPr algn="ctr">
                        <a:defRPr sz="800">
                          <a:latin typeface="Nexa Book"/>
                        </a:defRPr>
                      </a:pPr>
                      <a:r>
                        <a:t>Ficello</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Ficello Fromage Fondu Ferme Sachet 1X168Gr 8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6.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Mini Baby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ini Babybel Rouge Filet St Paulin Ferme 1X132Gr 6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Kiri</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Kiri Creme Fromage Blanc Frais Carre 1X216Gr 12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5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4267548465"/>
                  </a:ext>
                </a:extLst>
              </a:tr>
              <a:tr h="164170">
                <a:tc>
                  <a:txBody>
                    <a:bodyPr/>
                    <a:lstStyle/>
                    <a:p>
                      <a:pPr algn="ctr">
                        <a:defRPr sz="800">
                          <a:latin typeface="Nexa Book"/>
                        </a:defRPr>
                      </a:pPr>
                      <a:r>
                        <a:t>La Vache Qui Ri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La Vache Qui Rit Nature Fromage Fondu Boite Ronde 1X192Gr 12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57.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2585022217"/>
                  </a:ext>
                </a:extLst>
              </a:tr>
              <a:tr h="164170">
                <a:tc>
                  <a:txBody>
                    <a:bodyPr/>
                    <a:lstStyle/>
                    <a:p>
                      <a:pPr algn="ctr">
                        <a:defRPr sz="800">
                          <a:latin typeface="Nexa Book"/>
                        </a:defRPr>
                      </a:pPr>
                      <a:r>
                        <a:t>Kiri</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Kiri Gouter Fromage Blanc Dips Boite 1X175Gr 5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6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2304999854"/>
                  </a:ext>
                </a:extLst>
              </a:tr>
              <a:tr h="164170">
                <a:tc>
                  <a:txBody>
                    <a:bodyPr/>
                    <a:lstStyle/>
                    <a:p>
                      <a:pPr algn="ctr">
                        <a:defRPr sz="800">
                          <a:latin typeface="Nexa Book"/>
                        </a:defRPr>
                      </a:pPr>
                      <a:r>
                        <a:t>Kiri</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Kiri Creme Fromage Blanc Frais Carre 1X144Gr 8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63.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933184382"/>
                  </a:ext>
                </a:extLst>
              </a:tr>
              <a:tr h="164170">
                <a:tc>
                  <a:txBody>
                    <a:bodyPr/>
                    <a:lstStyle/>
                    <a:p>
                      <a:pPr algn="ctr">
                        <a:defRPr sz="800">
                          <a:latin typeface="Nexa Book"/>
                        </a:defRPr>
                      </a:pPr>
                      <a:r>
                        <a:t>Kiri</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Kiri Gouter Fromage Blanc Dips Boite 1X280Gr 8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6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3432996514"/>
                  </a:ext>
                </a:extLst>
              </a:tr>
              <a:tr h="164170">
                <a:tc>
                  <a:txBody>
                    <a:bodyPr/>
                    <a:lstStyle/>
                    <a:p>
                      <a:pPr algn="ctr">
                        <a:defRPr sz="800">
                          <a:latin typeface="Nexa Book"/>
                        </a:defRPr>
                      </a:pPr>
                      <a:r>
                        <a:t>Mini Baby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ini Babybel Rouge Filet Soft Cheese Enfant 484G</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Mini Baby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ini Babybel Rouge Filet St Paulin Ferme 1X440Gr 20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La Vache Qui Ri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La Vache Qui Rit Nature Fromage Fondu Boite Ronde 1X512Gr 24+8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7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4273312142"/>
                  </a:ext>
                </a:extLst>
              </a:tr>
              <a:tr h="164170">
                <a:tc>
                  <a:txBody>
                    <a:bodyPr/>
                    <a:lstStyle/>
                    <a:p>
                      <a:pPr algn="ctr">
                        <a:defRPr sz="800">
                          <a:latin typeface="Nexa Book"/>
                        </a:defRPr>
                      </a:pPr>
                      <a:r>
                        <a:t>Kiri</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Kiri Creme Fromage Blanc Frais Carre 1X432Gr 18+6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7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714509061"/>
                  </a:ext>
                </a:extLst>
              </a:tr>
              <a:tr h="164170">
                <a:tc>
                  <a:txBody>
                    <a:bodyPr/>
                    <a:lstStyle/>
                    <a:p>
                      <a:pPr algn="ctr">
                        <a:defRPr sz="800">
                          <a:latin typeface="Nexa Book"/>
                        </a:defRPr>
                      </a:pPr>
                      <a:r>
                        <a:t>La Vache Qui Ri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La Vache Qui Rit Nature Fromage Fondu Boite Ronde 1X128Gr 8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7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3490141980"/>
                  </a:ext>
                </a:extLst>
              </a:tr>
              <a:tr h="164170">
                <a:tc>
                  <a:txBody>
                    <a:bodyPr/>
                    <a:lstStyle/>
                    <a:p>
                      <a:pPr algn="ctr">
                        <a:defRPr sz="800">
                          <a:latin typeface="Nexa Book"/>
                        </a:defRPr>
                      </a:pPr>
                      <a:r>
                        <a:t>Ficello</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Ficello Fromage Fondu Ferme Sachet 1X84Gr 4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Mini Baby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ini Babybel Rouge Filet Soft Cheese Enfant 352G</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3.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La Vache Qui Ri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La Vache Qui Rit Pik Et Croq' Fromage Fondu Dips Boite 1X175Gr 5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84.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2959808831"/>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dd Std Fromage Blanc Frais Carre 1X240Gr 12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5.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313</a:t>
            </a:fld>
            <a:endParaRPr lang="en-US"/>
          </a:p>
        </p:txBody>
      </p:sp>
    </p:spTree>
    <p:extLst>
      <p:ext uri="{BB962C8B-B14F-4D97-AF65-F5344CB8AC3E}">
        <p14:creationId xmlns:p14="http://schemas.microsoft.com/office/powerpoint/2010/main" val="4138638648"/>
      </p:ext>
    </p:extLst>
  </p:cSld>
  <p:clrMapOvr>
    <a:masterClrMapping/>
  </p:clrMapOvr>
</p:sld>
</file>

<file path=ppt/slides/slide3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9/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Enfant | Carrefour Supermarket + Drive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La Vache Qui Ri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La Vache Qui Rit Nature Fromage Fondu Boite Ronde 1X512Gr 32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1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1172644296"/>
                  </a:ext>
                </a:extLst>
              </a:tr>
              <a:tr h="164170">
                <a:tc>
                  <a:txBody>
                    <a:bodyPr/>
                    <a:lstStyle/>
                    <a:p>
                      <a:pPr algn="ctr">
                        <a:defRPr sz="800">
                          <a:latin typeface="Nexa Book"/>
                        </a:defRPr>
                      </a:pPr>
                      <a:r>
                        <a:t>Mini Baby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ini Babybel Rouge Filet St Paulin Ferme 1X264Gr 12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a:defRPr sz="800">
                          <a:latin typeface="Nexa Book"/>
                        </a:defRPr>
                      </a:pPr>
                      <a:r>
                        <a:t>La Vache Qui Ri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La Vache Qui Rit Nature Fromage Fondu Boite Ronde 1X384Gr 24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2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377019259"/>
                  </a:ext>
                </a:extLst>
              </a:tr>
              <a:tr h="164170">
                <a:tc>
                  <a:txBody>
                    <a:bodyPr/>
                    <a:lstStyle/>
                    <a:p>
                      <a:pPr algn="ctr">
                        <a:defRPr sz="800">
                          <a:latin typeface="Nexa Book"/>
                        </a:defRPr>
                      </a:pPr>
                      <a:r>
                        <a:t>Ficello</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Ficello Fromage Fondu Ferme Sachet 1X168Gr 8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La Vache Qui Ri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La Vache Qui Rit Nature Fromage Fondu Boite Ronde 1X192Gr 12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4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1102895257"/>
                  </a:ext>
                </a:extLst>
              </a:tr>
              <a:tr h="164170">
                <a:tc>
                  <a:txBody>
                    <a:bodyPr/>
                    <a:lstStyle/>
                    <a:p>
                      <a:pPr algn="ctr">
                        <a:defRPr sz="800">
                          <a:latin typeface="Nexa Book"/>
                        </a:defRPr>
                      </a:pPr>
                      <a:r>
                        <a:t>Mini Baby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ini Babybel Rouge Filet St Paulin Ferme 1X132Gr 6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Kiri</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Kiri Creme Fromage Blanc Frais Carre 1X432Gr 24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5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4267548465"/>
                  </a:ext>
                </a:extLst>
              </a:tr>
              <a:tr h="164170">
                <a:tc>
                  <a:txBody>
                    <a:bodyPr/>
                    <a:lstStyle/>
                    <a:p>
                      <a:pPr algn="ctr">
                        <a:defRPr sz="800">
                          <a:latin typeface="Nexa Book"/>
                        </a:defRPr>
                      </a:pPr>
                      <a:r>
                        <a:t>Kiri</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Kiri Creme Fromage Blanc Frais Carre 1X216Gr 12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5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2585022217"/>
                  </a:ext>
                </a:extLst>
              </a:tr>
              <a:tr h="164170">
                <a:tc>
                  <a:txBody>
                    <a:bodyPr/>
                    <a:lstStyle/>
                    <a:p>
                      <a:pPr algn="ctr">
                        <a:defRPr sz="800">
                          <a:latin typeface="Nexa Book"/>
                        </a:defRPr>
                      </a:pPr>
                      <a:r>
                        <a:t>Kiri</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Kiri Creme Fromage Blanc Frais Carre 1X144Gr 8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6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2304999854"/>
                  </a:ext>
                </a:extLst>
              </a:tr>
              <a:tr h="164170">
                <a:tc>
                  <a:txBody>
                    <a:bodyPr/>
                    <a:lstStyle/>
                    <a:p>
                      <a:pPr algn="ctr">
                        <a:defRPr sz="800">
                          <a:latin typeface="Nexa Book"/>
                        </a:defRPr>
                      </a:pPr>
                      <a:r>
                        <a:t>Kiri</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Kiri Gouter Fromage Blanc Dips Boite 1X175Gr 5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6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933184382"/>
                  </a:ext>
                </a:extLst>
              </a:tr>
              <a:tr h="164170">
                <a:tc>
                  <a:txBody>
                    <a:bodyPr/>
                    <a:lstStyle/>
                    <a:p>
                      <a:pPr algn="ctr">
                        <a:defRPr sz="800">
                          <a:latin typeface="Nexa Book"/>
                        </a:defRPr>
                      </a:pPr>
                      <a:r>
                        <a:t>Mini Baby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ini Babybel Rouge Filet Soft Cheese Enfant 352G</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Ficello</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Ficello Fromage Fondu Ferme Sachet 1X84Gr 4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4.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Mini Baby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ini Babybel Rouge Filet St Paulin Ferme 1X440Gr 20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7.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Kiri</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Kiri Gouter Fromage Blanc Dips Boite 1X280Gr 8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7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4273312142"/>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dd Std Fromage Blanc Frais Carre 1X240Gr 12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La Vache Qui Ri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La Vache Qui Rit Nature Fromage Fondu Boite Ronde 1X128Gr 8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83.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3490141980"/>
                  </a:ext>
                </a:extLst>
              </a:tr>
              <a:tr h="164170">
                <a:tc>
                  <a:txBody>
                    <a:bodyPr/>
                    <a:lstStyle/>
                    <a:p>
                      <a:pPr algn="ctr">
                        <a:defRPr sz="800">
                          <a:latin typeface="Nexa Book"/>
                        </a:defRPr>
                      </a:pPr>
                      <a:r>
                        <a:t>La Vache Qui Ri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La Vache Qui Rit Pik Et Croq' Fromage Fondu Dips Boite 1X175Gr 5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85.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720551800"/>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dd Std Fromage Fondu Boite Ronde 1X400Gr 24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7.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P'Tit Loui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Tit Louis Fromage Frais Fondant 1X160Gr 8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La Vache Qui Ri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La Vache Qui Rit Nature Fromage Fondu Boite Ronde 1X512Gr 24+8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7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314</a:t>
            </a:fld>
            <a:endParaRPr lang="en-US"/>
          </a:p>
        </p:txBody>
      </p:sp>
    </p:spTree>
    <p:extLst>
      <p:ext uri="{BB962C8B-B14F-4D97-AF65-F5344CB8AC3E}">
        <p14:creationId xmlns:p14="http://schemas.microsoft.com/office/powerpoint/2010/main" val="2860952422"/>
      </p:ext>
    </p:extLst>
  </p:cSld>
  <p:clrMapOvr>
    <a:masterClrMapping/>
  </p:clrMapOvr>
</p:sld>
</file>

<file path=ppt/slides/slide3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9/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Enfant | Carrefour Proximite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Mini Baby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ini Babybel Rouge Filet St Paulin Ferme 1X132Gr 6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La Vache Qui Ri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La Vache Qui Rit Nature Fromage Fondu Boite Ronde 1X192Gr 12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4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906332058"/>
                  </a:ext>
                </a:extLst>
              </a:tr>
              <a:tr h="164170">
                <a:tc>
                  <a:txBody>
                    <a:bodyPr/>
                    <a:lstStyle/>
                    <a:p>
                      <a:pPr algn="ctr">
                        <a:defRPr sz="800">
                          <a:latin typeface="Nexa Book"/>
                        </a:defRPr>
                      </a:pPr>
                      <a:r>
                        <a:t>Kiri</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Kiri Creme Fromage Blanc Frais Carre 1X144Gr 8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57.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377019259"/>
                  </a:ext>
                </a:extLst>
              </a:tr>
              <a:tr h="164170">
                <a:tc>
                  <a:txBody>
                    <a:bodyPr/>
                    <a:lstStyle/>
                    <a:p>
                      <a:pPr algn="ctr">
                        <a:defRPr sz="800">
                          <a:latin typeface="Nexa Book"/>
                        </a:defRPr>
                      </a:pPr>
                      <a:r>
                        <a:t>Ficello</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Ficello Fromage Fondu Ferme Sachet 1X84Gr 4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La Vache Qui Ri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La Vache Qui Rit Nature Fromage Fondu Boite Ronde 1X384Gr 24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4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7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1102895257"/>
                  </a:ext>
                </a:extLst>
              </a:tr>
              <a:tr h="164170">
                <a:tc>
                  <a:txBody>
                    <a:bodyPr/>
                    <a:lstStyle/>
                    <a:p>
                      <a:pPr algn="ctr">
                        <a:defRPr sz="800">
                          <a:latin typeface="Nexa Book"/>
                        </a:defRPr>
                      </a:pPr>
                      <a:r>
                        <a:t>Kiri</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Kiri Gouter Fromage Blanc Dips Boite 1X175Gr 5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8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776375343"/>
                  </a:ext>
                </a:extLst>
              </a:tr>
              <a:tr h="164170">
                <a:tc>
                  <a:txBody>
                    <a:bodyPr/>
                    <a:lstStyle/>
                    <a:p>
                      <a:pPr algn="ctr">
                        <a:defRPr sz="800">
                          <a:latin typeface="Nexa Book"/>
                        </a:defRPr>
                      </a:pPr>
                      <a:r>
                        <a:t>La Vache Qui Ri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La Vache Qui Rit Pik Et Croq' Fromage Fondu Dips Boite 1X175Gr 5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5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87.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4267548465"/>
                  </a:ext>
                </a:extLst>
              </a:tr>
              <a:tr h="164170">
                <a:tc>
                  <a:txBody>
                    <a:bodyPr/>
                    <a:lstStyle/>
                    <a:p>
                      <a:pPr algn="ctr">
                        <a:defRPr sz="800">
                          <a:latin typeface="Nexa Book"/>
                        </a:defRPr>
                      </a:pPr>
                      <a:r>
                        <a:t>Mini Baby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ini Babybel Rouge Filet St Paulin Ferme 1X264Gr 12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P'Tit Loui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Tit Louis Fromage Frais Fondant 1X160Gr 8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dd Std Fromage Blanc Frais Carre 1X240Gr 12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La Vache Qui Ri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La Vache Qui Rit Nature Fromage Fondu Boite Ronde 1X128Gr 8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3432996514"/>
                  </a:ext>
                </a:extLst>
              </a:tr>
              <a:tr h="164170">
                <a:tc>
                  <a:txBody>
                    <a:bodyPr/>
                    <a:lstStyle/>
                    <a:p>
                      <a:pPr algn="ctr">
                        <a:defRPr sz="800">
                          <a:latin typeface="Nexa Book"/>
                        </a:defRPr>
                      </a:pPr>
                      <a:r>
                        <a:t>P'Tit Loui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Tit Louis Fromage Frais Fondant Filet 1X240Gr 12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dd Std Fromage Fondu Boite Ronde 1X200Gr 12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Mini Baby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ini Babybel Aros St Paulin Ferme Raclette Filet 1X132Gr 6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Kiri</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Kiri Creme Fromage Blanc Frais Carre 1X216Gr 12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7.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714509061"/>
                  </a:ext>
                </a:extLst>
              </a:tr>
              <a:tr h="164170">
                <a:tc>
                  <a:txBody>
                    <a:bodyPr/>
                    <a:lstStyle/>
                    <a:p>
                      <a:pPr algn="ctr">
                        <a:defRPr sz="800">
                          <a:latin typeface="Nexa Book"/>
                        </a:defRPr>
                      </a:pPr>
                      <a:r>
                        <a:t>Mini Baby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abybel Mini Rolls St Paulin Ferme Sachet 1X85Gr 5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dd Std Fromage Blanc Frais Carre 1X140Gr 8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La Vache Qui Ri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La Vache Qui Rit Bio Fromage Fondu Boite Ronde 1X128Gr 8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8.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3682606022"/>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dd Std Fromage Fondu Dips Boite 1X280Gr 8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Mini Baby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ini Babybel Rouge Filet St Paulin Ferme Sachet 1X4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315</a:t>
            </a:fld>
            <a:endParaRPr lang="en-US"/>
          </a:p>
        </p:txBody>
      </p:sp>
    </p:spTree>
    <p:extLst>
      <p:ext uri="{BB962C8B-B14F-4D97-AF65-F5344CB8AC3E}">
        <p14:creationId xmlns:p14="http://schemas.microsoft.com/office/powerpoint/2010/main" val="1360055495"/>
      </p:ext>
    </p:extLst>
  </p:cSld>
  <p:clrMapOvr>
    <a:masterClrMapping/>
  </p:clrMapOvr>
</p:sld>
</file>

<file path=ppt/slides/slide3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9/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Enfant | Intermarche Super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Mini Baby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ini Babybel Rouge Filet St Paulin Ferme 1X264Gr 12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La Vache Qui Ri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La Vache Qui Rit Nature Fromage Fondu Boite Ronde 1X512Gr 32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23.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906332058"/>
                  </a:ext>
                </a:extLst>
              </a:tr>
              <a:tr h="164170">
                <a:tc>
                  <a:txBody>
                    <a:bodyPr/>
                    <a:lstStyle/>
                    <a:p>
                      <a:pPr algn="ctr">
                        <a:defRPr sz="800">
                          <a:latin typeface="Nexa Book"/>
                        </a:defRPr>
                      </a:pPr>
                      <a:r>
                        <a:t>La Vache Qui Ri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La Vache Qui Rit Nature Fromage Fondu Boite Ronde 1X192Gr 12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3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377019259"/>
                  </a:ext>
                </a:extLst>
              </a:tr>
              <a:tr h="164170">
                <a:tc>
                  <a:txBody>
                    <a:bodyPr/>
                    <a:lstStyle/>
                    <a:p>
                      <a:pPr algn="ctr">
                        <a:defRPr sz="800">
                          <a:latin typeface="Nexa Book"/>
                        </a:defRPr>
                      </a:pPr>
                      <a:r>
                        <a:t>Mini Baby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ini Babybel Rouge Filet St Paulin Ferme 1X132Gr 6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8.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La Vache Qui Ri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La Vache Qui Rit Nature Fromage Fondu Boite Ronde 1X384Gr 24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4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1102895257"/>
                  </a:ext>
                </a:extLst>
              </a:tr>
              <a:tr h="164170">
                <a:tc>
                  <a:txBody>
                    <a:bodyPr/>
                    <a:lstStyle/>
                    <a:p>
                      <a:pPr algn="ctr">
                        <a:defRPr sz="800">
                          <a:latin typeface="Nexa Book"/>
                        </a:defRPr>
                      </a:pPr>
                      <a:r>
                        <a:t>Kiri</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Kiri Creme Fromage Blanc Frais Carre 1X216Gr 12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5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776375343"/>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Paturages Fromage Blanc Frais Carre 1X216Gr 12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Kiri</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Kiri Creme Fromage Blanc Frais Carre 1X432Gr 24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6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2585022217"/>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Paturages Fromage Fondu Boite Ronde 1X400Gr 24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Ficello</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Ficello Fromage Fondu Ferme Sachet 1X168Gr 8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Kiri</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Kiri Gouter Fromage Blanc Dips Boite 1X280Gr 8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7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3432996514"/>
                  </a:ext>
                </a:extLst>
              </a:tr>
              <a:tr h="164170">
                <a:tc>
                  <a:txBody>
                    <a:bodyPr/>
                    <a:lstStyle/>
                    <a:p>
                      <a:pPr algn="ctr">
                        <a:defRPr sz="800">
                          <a:latin typeface="Nexa Book"/>
                        </a:defRPr>
                      </a:pPr>
                      <a:r>
                        <a:t>Kiri</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Kiri Creme Fromage Blanc Frais Carre 1X144Gr 8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76.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2976062154"/>
                  </a:ext>
                </a:extLst>
              </a:tr>
              <a:tr h="164170">
                <a:tc>
                  <a:txBody>
                    <a:bodyPr/>
                    <a:lstStyle/>
                    <a:p>
                      <a:pPr algn="ctr">
                        <a:defRPr sz="800">
                          <a:latin typeface="Nexa Book"/>
                        </a:defRPr>
                      </a:pPr>
                      <a:r>
                        <a:t>Mini Baby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ini Babybel Rouge Filet St Paulin Ferme 1X440Gr 20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Kiri</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Kiri Gouter Fromage Blanc Dips Boite 1X175Gr 5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8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4273312142"/>
                  </a:ext>
                </a:extLst>
              </a:tr>
              <a:tr h="164170">
                <a:tc>
                  <a:txBody>
                    <a:bodyPr/>
                    <a:lstStyle/>
                    <a:p>
                      <a:pPr algn="ctr">
                        <a:defRPr sz="800">
                          <a:latin typeface="Nexa Book"/>
                        </a:defRPr>
                      </a:pPr>
                      <a:r>
                        <a:t>Ficello</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Ficello Fromage Fondu Ferme Sachet 1X84Gr 4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3.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Paturages Fromage Fondu Boite Ronde 1X200Gr 12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a:defRPr sz="800">
                          <a:latin typeface="Nexa Book"/>
                        </a:defRPr>
                      </a:pPr>
                      <a:r>
                        <a:t>La Vache Qui Ri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La Vache Qui Rit Pik Et Croq' Fromage Fondu Dips Boite 1X175Gr 5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8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720551800"/>
                  </a:ext>
                </a:extLst>
              </a:tr>
              <a:tr h="164170">
                <a:tc>
                  <a:txBody>
                    <a:bodyPr/>
                    <a:lstStyle/>
                    <a:p>
                      <a:pPr algn="ctr">
                        <a:defRPr sz="800">
                          <a:latin typeface="Nexa Book"/>
                        </a:defRPr>
                      </a:pPr>
                      <a:r>
                        <a:t>La Vache Qui Ri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La Vache Qui Rit Pik Et Croq' Fromage Fondu Dips Boite 1X280Gr 8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8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3682606022"/>
                  </a:ext>
                </a:extLst>
              </a:tr>
              <a:tr h="164170">
                <a:tc>
                  <a:txBody>
                    <a:bodyPr/>
                    <a:lstStyle/>
                    <a:p>
                      <a:pPr algn="ctr">
                        <a:defRPr sz="800">
                          <a:latin typeface="Nexa Book"/>
                        </a:defRPr>
                      </a:pPr>
                      <a:r>
                        <a:t>P'Tit Loui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Tit Louis Fromage Frais Fondant Filet 1X240Gr 12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Ficello</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Ficello Fromage Fondu Ferme Emmental Sachet 1X84Gr 4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316</a:t>
            </a:fld>
            <a:endParaRPr lang="en-US"/>
          </a:p>
        </p:txBody>
      </p:sp>
    </p:spTree>
    <p:extLst>
      <p:ext uri="{BB962C8B-B14F-4D97-AF65-F5344CB8AC3E}">
        <p14:creationId xmlns:p14="http://schemas.microsoft.com/office/powerpoint/2010/main" val="862895433"/>
      </p:ext>
    </p:extLst>
  </p:cSld>
  <p:clrMapOvr>
    <a:masterClrMapping/>
  </p:clrMapOvr>
</p:sld>
</file>

<file path=ppt/slides/slide3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9/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Enfant | Intermarche Hyper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Mini Baby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ini Babybel Rouge Filet St Paulin Ferme 1X264Gr 12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La Vache Qui Ri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La Vache Qui Rit Nature Fromage Fondu Boite Ronde 1X512Gr 32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2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906332058"/>
                  </a:ext>
                </a:extLst>
              </a:tr>
              <a:tr h="164170">
                <a:tc>
                  <a:txBody>
                    <a:bodyPr/>
                    <a:lstStyle/>
                    <a:p>
                      <a:pPr algn="ctr">
                        <a:defRPr sz="800">
                          <a:latin typeface="Nexa Book"/>
                        </a:defRPr>
                      </a:pPr>
                      <a:r>
                        <a:t>La Vache Qui Ri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La Vache Qui Rit Nature Fromage Fondu Boite Ronde 1X192Gr 12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3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377019259"/>
                  </a:ext>
                </a:extLst>
              </a:tr>
              <a:tr h="164170">
                <a:tc>
                  <a:txBody>
                    <a:bodyPr/>
                    <a:lstStyle/>
                    <a:p>
                      <a:pPr algn="ctr">
                        <a:defRPr sz="800">
                          <a:latin typeface="Nexa Book"/>
                        </a:defRPr>
                      </a:pPr>
                      <a:r>
                        <a:t>La Vache Qui Ri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La Vache Qui Rit Nature Fromage Fondu Boite Ronde 1X384Gr 24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3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2166894017"/>
                  </a:ext>
                </a:extLst>
              </a:tr>
              <a:tr h="164170">
                <a:tc>
                  <a:txBody>
                    <a:bodyPr/>
                    <a:lstStyle/>
                    <a:p>
                      <a:pPr algn="ctr">
                        <a:defRPr sz="800">
                          <a:latin typeface="Nexa Book"/>
                        </a:defRPr>
                      </a:pPr>
                      <a:r>
                        <a:t>Mini Baby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ini Babybel Rouge Filet St Paulin Ferme 1X132Gr 6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4.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Kiri</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Kiri Creme Fromage Blanc Frais Carre 1X432Gr 24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4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776375343"/>
                  </a:ext>
                </a:extLst>
              </a:tr>
              <a:tr h="164170">
                <a:tc>
                  <a:txBody>
                    <a:bodyPr/>
                    <a:lstStyle/>
                    <a:p>
                      <a:pPr algn="ctr">
                        <a:defRPr sz="800">
                          <a:latin typeface="Nexa Book"/>
                        </a:defRPr>
                      </a:pPr>
                      <a:r>
                        <a:t>Kiri</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Kiri Creme Fromage Blanc Frais Carre 1X216Gr 12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5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4267548465"/>
                  </a:ext>
                </a:extLst>
              </a:tr>
              <a:tr h="164170">
                <a:tc>
                  <a:txBody>
                    <a:bodyPr/>
                    <a:lstStyle/>
                    <a:p>
                      <a:pPr algn="ctr">
                        <a:defRPr sz="800">
                          <a:latin typeface="Nexa Book"/>
                        </a:defRPr>
                      </a:pPr>
                      <a:r>
                        <a:t>Ficello</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Ficello Fromage Fondu Ferme Sachet 1X168Gr 8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Paturages Fromage Blanc Frais Carre 1X216Gr 12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5.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Paturages Fromage Fondu Boite Ronde 1X400Gr 24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Kiri</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Kiri Gouter Fromage Blanc Dips Boite 1X280Gr 8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7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3432996514"/>
                  </a:ext>
                </a:extLst>
              </a:tr>
              <a:tr h="164170">
                <a:tc>
                  <a:txBody>
                    <a:bodyPr/>
                    <a:lstStyle/>
                    <a:p>
                      <a:pPr algn="ctr">
                        <a:defRPr sz="800">
                          <a:latin typeface="Nexa Book"/>
                        </a:defRPr>
                      </a:pPr>
                      <a:r>
                        <a:t>Mini Baby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ini Babybel Rouge Filet St Paulin Ferme 1X440Gr 20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Kiri</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Kiri Creme Fromage Blanc Frais Carre 1X144Gr 8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78.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2630007318"/>
                  </a:ext>
                </a:extLst>
              </a:tr>
              <a:tr h="164170">
                <a:tc>
                  <a:txBody>
                    <a:bodyPr/>
                    <a:lstStyle/>
                    <a:p>
                      <a:pPr algn="ctr">
                        <a:defRPr sz="800">
                          <a:latin typeface="Nexa Book"/>
                        </a:defRPr>
                      </a:pPr>
                      <a:r>
                        <a:t>Kiri</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Kiri Gouter Fromage Blanc Dips Boite 1X175Gr 5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8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4273312142"/>
                  </a:ext>
                </a:extLst>
              </a:tr>
              <a:tr h="164170">
                <a:tc>
                  <a:txBody>
                    <a:bodyPr/>
                    <a:lstStyle/>
                    <a:p>
                      <a:pPr algn="ctr">
                        <a:defRPr sz="800">
                          <a:latin typeface="Nexa Book"/>
                        </a:defRPr>
                      </a:pPr>
                      <a:r>
                        <a:t>La Vache Qui Ri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La Vache Qui Rit Pik Et Croq' Fromage Fondu Dips Boite 1X280Gr 8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83.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714509061"/>
                  </a:ext>
                </a:extLst>
              </a:tr>
              <a:tr h="164170">
                <a:tc>
                  <a:txBody>
                    <a:bodyPr/>
                    <a:lstStyle/>
                    <a:p>
                      <a:pPr algn="ctr">
                        <a:defRPr sz="800">
                          <a:latin typeface="Nexa Book"/>
                        </a:defRPr>
                      </a:pPr>
                      <a:r>
                        <a:t>La Vache Qui Ri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La Vache Qui Rit Pik Et Croq' Fromage Fondu Dips Boite 1X175Gr 5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8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3490141980"/>
                  </a:ext>
                </a:extLst>
              </a:tr>
              <a:tr h="164170">
                <a:tc>
                  <a:txBody>
                    <a:bodyPr/>
                    <a:lstStyle/>
                    <a:p>
                      <a:pPr algn="ctr">
                        <a:defRPr sz="800">
                          <a:latin typeface="Nexa Book"/>
                        </a:defRPr>
                      </a:pPr>
                      <a:r>
                        <a:t>Ficello</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Ficello Fromage Fondu Ferme Sachet 1X84Gr 4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Paturages Fromage Fondu Boite Ronde 1X200Gr 12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P'Tit Loui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Tit Louis Fromage Frais Fondant Filet 1X240Gr 12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Ficello</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Ficello Fromage Fondu Ferme Emmental Sachet 1X84Gr 4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317</a:t>
            </a:fld>
            <a:endParaRPr lang="en-US"/>
          </a:p>
        </p:txBody>
      </p:sp>
    </p:spTree>
    <p:extLst>
      <p:ext uri="{BB962C8B-B14F-4D97-AF65-F5344CB8AC3E}">
        <p14:creationId xmlns:p14="http://schemas.microsoft.com/office/powerpoint/2010/main" val="3774263959"/>
      </p:ext>
    </p:extLst>
  </p:cSld>
  <p:clrMapOvr>
    <a:masterClrMapping/>
  </p:clrMapOvr>
</p:sld>
</file>

<file path=ppt/slides/slide3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9/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Enfant | Intermarche Proxi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Mini Baby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ini Babybel Rouge Filet St Paulin Ferme 1X264Gr 12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La Vache Qui Ri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La Vache Qui Rit Nature Fromage Fondu Boite Ronde 1X192Gr 12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2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906332058"/>
                  </a:ext>
                </a:extLst>
              </a:tr>
              <a:tr h="164170">
                <a:tc>
                  <a:txBody>
                    <a:bodyPr/>
                    <a:lstStyle/>
                    <a:p>
                      <a:pPr algn="ctr">
                        <a:defRPr sz="800">
                          <a:latin typeface="Nexa Book"/>
                        </a:defRPr>
                      </a:pPr>
                      <a:r>
                        <a:t>Mini Baby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ini Babybel Rouge Filet St Paulin Ferme 1X132Gr 6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Paturages Fromage Blanc Frais Carre 1X216Gr 12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La Vache Qui Ri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La Vache Qui Rit Nature Fromage Fondu Boite Ronde 1X512Gr 32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6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4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1102895257"/>
                  </a:ext>
                </a:extLst>
              </a:tr>
              <a:tr h="164170">
                <a:tc>
                  <a:txBody>
                    <a:bodyPr/>
                    <a:lstStyle/>
                    <a:p>
                      <a:pPr algn="ctr">
                        <a:defRPr sz="800">
                          <a:latin typeface="Nexa Book"/>
                        </a:defRPr>
                      </a:pPr>
                      <a:r>
                        <a:t>Kiri</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Kiri Creme Fromage Blanc Frais Carre 1X216Gr 12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5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776375343"/>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Paturages Fromage Fondu Boite Ronde 1X400Gr 24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La Vache Qui Ri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La Vache Qui Rit Nature Fromage Fondu Boite Ronde 1X384Gr 24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6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6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2585022217"/>
                  </a:ext>
                </a:extLst>
              </a:tr>
              <a:tr h="164170">
                <a:tc>
                  <a:txBody>
                    <a:bodyPr/>
                    <a:lstStyle/>
                    <a:p>
                      <a:pPr algn="ctr">
                        <a:defRPr sz="800">
                          <a:latin typeface="Nexa Book"/>
                        </a:defRPr>
                      </a:pPr>
                      <a:r>
                        <a:t>Kiri</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Kiri Creme Fromage Blanc Frais Carre 1X144Gr 8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67.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2304999854"/>
                  </a:ext>
                </a:extLst>
              </a:tr>
              <a:tr h="164170">
                <a:tc>
                  <a:txBody>
                    <a:bodyPr/>
                    <a:lstStyle/>
                    <a:p>
                      <a:pPr algn="ctr">
                        <a:defRPr sz="800">
                          <a:latin typeface="Nexa Book"/>
                        </a:defRPr>
                      </a:pPr>
                      <a:r>
                        <a:t>Kiri</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Kiri Gouter Fromage Blanc Dips Boite 1X175Gr 5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7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933184382"/>
                  </a:ext>
                </a:extLst>
              </a:tr>
              <a:tr h="164170">
                <a:tc>
                  <a:txBody>
                    <a:bodyPr/>
                    <a:lstStyle/>
                    <a:p>
                      <a:pPr algn="ctr">
                        <a:defRPr sz="800">
                          <a:latin typeface="Nexa Book"/>
                        </a:defRPr>
                      </a:pPr>
                      <a:r>
                        <a:t>Ficello</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Ficello Fromage Fondu Ferme Sachet 1X84Gr 4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Kiri</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Kiri Creme Fromage Blanc Frais Carre 1X432Gr 24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7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2976062154"/>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Paturages Fromage Fondu Boite Ronde 1X200Gr 12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Kiri</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Kiri Gouter Fromage Blanc Dips Boite 1X280Gr 8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6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83.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4273312142"/>
                  </a:ext>
                </a:extLst>
              </a:tr>
              <a:tr h="164170">
                <a:tc>
                  <a:txBody>
                    <a:bodyPr/>
                    <a:lstStyle/>
                    <a:p>
                      <a:pPr algn="ctr">
                        <a:defRPr sz="800">
                          <a:latin typeface="Nexa Book"/>
                        </a:defRPr>
                      </a:pPr>
                      <a:r>
                        <a:t>Ficello</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Ficello Fromage Fondu Ferme Emmental Sachet 1X84Gr 4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Ficello</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Ficello Fromage Fondu Ferme Sachet 1X168Gr 8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7.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a:defRPr sz="800">
                          <a:latin typeface="Nexa Book"/>
                        </a:defRPr>
                      </a:pPr>
                      <a:r>
                        <a:t>La Vache Qui Ri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La Vache Qui Rit Pik Et Croq' Fromage Fondu Dips Boite 1X175Gr 5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8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8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720551800"/>
                  </a:ext>
                </a:extLst>
              </a:tr>
              <a:tr h="164170">
                <a:tc>
                  <a:txBody>
                    <a:bodyPr/>
                    <a:lstStyle/>
                    <a:p>
                      <a:pPr algn="ctr">
                        <a:defRPr sz="800">
                          <a:latin typeface="Nexa Book"/>
                        </a:defRPr>
                      </a:pPr>
                      <a:r>
                        <a:t>P'Tit Loui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Tit Louis Fromage Frais Fondant Filet 1X240Gr 12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Paturages Fromage Blanc Frais Carre 1X144Gr 8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Mini Baby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ini Babybel Rouge Filet St Paulin Ferme 1X440Gr 20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318</a:t>
            </a:fld>
            <a:endParaRPr lang="en-US"/>
          </a:p>
        </p:txBody>
      </p:sp>
    </p:spTree>
    <p:extLst>
      <p:ext uri="{BB962C8B-B14F-4D97-AF65-F5344CB8AC3E}">
        <p14:creationId xmlns:p14="http://schemas.microsoft.com/office/powerpoint/2010/main" val="1143448593"/>
      </p:ext>
    </p:extLst>
  </p:cSld>
  <p:clrMapOvr>
    <a:masterClrMapping/>
  </p:clrMapOvr>
</p:sld>
</file>

<file path=ppt/slides/slide3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9/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Frais A Tartiner | Carrefour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St More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t Moret Fromage Frais A Tartiner Boite 1X1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Tartar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Tartare Fromage Frais A Tartiner Afh 1X2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a:defRPr sz="800">
                          <a:latin typeface="Nexa Book"/>
                        </a:defRPr>
                      </a:pPr>
                      <a:r>
                        <a:t>St More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t Moret Fromage Frais A Tartiner Boite 1X4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Paysan Bret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aysan Breton Fromage Fouette De Madame Loik Frais A Tartiner Sel Guerande 1X18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St More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t Moret Fromage Frais A Tartiner 1X180Gr 9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Philadelphi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hiladelphia Fromage Frais A Tartiner Boite 1X1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Carre Frai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arre Frais 0% Fromage A Tartiner Allege 1X200Gr 8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Carre Frai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arre Frais Fromage A Tartiner 1X200Gr 8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8.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Paysan Bret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aysan Breton Fromage Fouette De Madame Loik Frais A Tartiner Sel Guerande 1X32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Boursi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Boursin Classique Fromage Frais A Tartiner Afh Boite 1X1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44.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933184382"/>
                  </a:ext>
                </a:extLst>
              </a:tr>
              <a:tr h="164170">
                <a:tc>
                  <a:txBody>
                    <a:bodyPr/>
                    <a:lstStyle/>
                    <a:p>
                      <a:pPr algn="ctr">
                        <a:defRPr sz="800">
                          <a:latin typeface="Nexa Book"/>
                        </a:defRPr>
                      </a:pPr>
                      <a:r>
                        <a:t>Boursi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Boursin Classique Fromage Frais A Tartiner Afh 1X160Gr 10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4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3432996514"/>
                  </a:ext>
                </a:extLst>
              </a:tr>
              <a:tr h="164170">
                <a:tc>
                  <a:txBody>
                    <a:bodyPr/>
                    <a:lstStyle/>
                    <a:p>
                      <a:pPr algn="ctr">
                        <a:defRPr sz="800">
                          <a:latin typeface="Nexa Book"/>
                        </a:defRPr>
                      </a:pPr>
                      <a:r>
                        <a:t>Philadelphi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hiladelphia Fromage Frais A Tartiner Boite 1X3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St More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t Moret Fromage Frais A Tartiner Boite 1X3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St More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t Moret Ligne Et Plaisir Fromage Frais A Tartiner Allege Boite 1X1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Tartar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Tartare Fromage Frais A Tartiner Afh 1X160Gr 10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Tartar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Tartare Fromage Frais A Tartiner Afh 1X1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dd Std Undefined A Tartiner 1X3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Boursi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Boursin Classique Fromage Frais A Tartiner Afh Boite 1X2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8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65.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3682606022"/>
                  </a:ext>
                </a:extLst>
              </a:tr>
              <a:tr h="164170">
                <a:tc>
                  <a:txBody>
                    <a:bodyPr/>
                    <a:lstStyle/>
                    <a:p>
                      <a:pPr algn="ctr">
                        <a:defRPr sz="800">
                          <a:latin typeface="Nexa Book"/>
                        </a:defRPr>
                      </a:pPr>
                      <a:r>
                        <a:t>St More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t Moret Ligne Et Plaisir Fromage Frais A Tartiner Allege Boite 1X3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St More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t Moret Fromage Frais A Tartiner Boite 1X225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319</a:t>
            </a:fld>
            <a:endParaRPr lang="en-US"/>
          </a:p>
        </p:txBody>
      </p:sp>
    </p:spTree>
    <p:extLst>
      <p:ext uri="{BB962C8B-B14F-4D97-AF65-F5344CB8AC3E}">
        <p14:creationId xmlns:p14="http://schemas.microsoft.com/office/powerpoint/2010/main" val="119745238"/>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9/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Ingredient A Chaud | Intermarche Proxi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32</a:t>
            </a:fld>
            <a:endParaRPr lang="en-US"/>
          </a:p>
        </p:txBody>
      </p:sp>
    </p:spTree>
    <p:extLst>
      <p:ext uri="{BB962C8B-B14F-4D97-AF65-F5344CB8AC3E}">
        <p14:creationId xmlns:p14="http://schemas.microsoft.com/office/powerpoint/2010/main" val="3047717192"/>
      </p:ext>
    </p:extLst>
  </p:cSld>
  <p:clrMapOvr>
    <a:masterClrMapping/>
  </p:clrMapOvr>
</p:sld>
</file>

<file path=ppt/slides/slide3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9/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Frais A Tartiner | Intermarche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St More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t Moret Fromage Frais A Tartiner Boite 1X4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St More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t Moret Fromage Frais A Tartiner Boite 1X3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Paturages Fromage Frais A Tartiner 1X1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St More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t Moret Fromage Frais A Tartiner Boite 1X1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Tartar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Tartare Fromage Frais A Tartiner Afh 1X2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St More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t Moret Fromage Frais A Tartiner 1X180Gr 9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5.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Paysan Bret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aysan Breton Fromage Fouette De Madame Loik Frais A Tartiner Sel Guerande 1X18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Paysan Bret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aysan Breton Fromage Fouette De Madame Loik Frais A Tartiner Sel Guerande 1X32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Paturages Fromage Frais A Tartiner 1X3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Tartar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Tartare Fromage Frais A Tartiner Afh 1X160Gr 10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Boursi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Boursin Classique Fromage Frais A Tartiner Afh Boite 1X2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5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3432996514"/>
                  </a:ext>
                </a:extLst>
              </a:tr>
              <a:tr h="164170">
                <a:tc>
                  <a:txBody>
                    <a:bodyPr/>
                    <a:lstStyle/>
                    <a:p>
                      <a:pPr algn="ctr">
                        <a:defRPr sz="800">
                          <a:latin typeface="Nexa Book"/>
                        </a:defRPr>
                      </a:pPr>
                      <a:r>
                        <a:t>Boursi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Boursin Classique Fromage Frais A Tartiner Afh 1X160Gr 10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5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2976062154"/>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Paturages Fromage Frais A Tartiner Ail &amp; Fines Herbes Boite 1X1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St More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t Moret Ligne Et Plaisir Fromage Frais A Tartiner Allege Boite 1X3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Carre Frai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arre Frais Fromage A Tartiner 1X200Gr 8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Boursi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Boursin Classique Fromage Frais A Tartiner Afh Boite 1X1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6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3490141980"/>
                  </a:ext>
                </a:extLst>
              </a:tr>
              <a:tr h="164170">
                <a:tc>
                  <a:txBody>
                    <a:bodyPr/>
                    <a:lstStyle/>
                    <a:p>
                      <a:pPr algn="ctr">
                        <a:defRPr sz="800">
                          <a:latin typeface="Nexa Book"/>
                        </a:defRPr>
                      </a:pPr>
                      <a:r>
                        <a:t>Carre Frai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arre Frais 0% Fromage A Tartiner Allege 1X200Gr 8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Philadelphi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hiladelphia Fromage Frais A Tartiner Boite 1X3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St More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t Moret Ligne Et Plaisir Fromage Frais A Tartiner Allege 1X180Gr 9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Paturages Fromage Frais A Tartiner Ail &amp; Fines Herbes Boite 1X2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4.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320</a:t>
            </a:fld>
            <a:endParaRPr lang="en-US"/>
          </a:p>
        </p:txBody>
      </p:sp>
    </p:spTree>
    <p:extLst>
      <p:ext uri="{BB962C8B-B14F-4D97-AF65-F5344CB8AC3E}">
        <p14:creationId xmlns:p14="http://schemas.microsoft.com/office/powerpoint/2010/main" val="2381617409"/>
      </p:ext>
    </p:extLst>
  </p:cSld>
  <p:clrMapOvr>
    <a:masterClrMapping/>
  </p:clrMapOvr>
</p:sld>
</file>

<file path=ppt/slides/slide3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9/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Frais A Tartiner | Carrefour Hyper + Drive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Tartar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Tartare Fromage Frais A Tartiner Afh 1X2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St More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t Moret Fromage Frais A Tartiner Boite 1X4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a:defRPr sz="800">
                          <a:latin typeface="Nexa Book"/>
                        </a:defRPr>
                      </a:pPr>
                      <a:r>
                        <a:t>St More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t Moret Fromage Frais A Tartiner Boite 1X1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St More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t Moret Fromage Frais A Tartiner 1X180Gr 9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St More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t Moret Fromage Frais A Tartiner Boite 1X3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Carre Frai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arre Frais 0% Fromage A Tartiner Allege 1X200Gr 8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St More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t Moret Fromage Frais A Tartiner Boite 1X5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Paysan Bret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aysan Breton Fromage Fouette De Madame Loik Frais A Tartiner Sel Guerande 1X32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3.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Philadelphi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hiladelphia Fromage Frais A Tartiner Boite 1X3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6.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Boursi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Boursin Classique Fromage Frais A Tartiner Afh 1X160Gr 10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3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933184382"/>
                  </a:ext>
                </a:extLst>
              </a:tr>
              <a:tr h="164170">
                <a:tc>
                  <a:txBody>
                    <a:bodyPr/>
                    <a:lstStyle/>
                    <a:p>
                      <a:pPr algn="ctr">
                        <a:defRPr sz="800">
                          <a:latin typeface="Nexa Book"/>
                        </a:defRPr>
                      </a:pPr>
                      <a:r>
                        <a:t>Carre Frai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arre Frais Fromage A Tartiner 1X200Gr 8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Paysan Bret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aysan Breton Fromage Fouette De Madame Loik Frais A Tartiner Sel Guerande 1X46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5.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St More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t Moret Ligne Et Plaisir Fromage Frais A Tartiner Allege Boite 1X3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Paysan Bret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aysan Breton Fromage Fouette De Madame Loik Frais A Tartiner Sel Guerande 1X18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Tartar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Tartare Fromage Frais A Tartiner Afh 1X160Gr 10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5.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Boursi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Boursin Classique Fromage Frais A Tartiner Afh Boite 1X2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5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3490141980"/>
                  </a:ext>
                </a:extLst>
              </a:tr>
              <a:tr h="164170">
                <a:tc>
                  <a:txBody>
                    <a:bodyPr/>
                    <a:lstStyle/>
                    <a:p>
                      <a:pPr algn="ctr">
                        <a:defRPr sz="800">
                          <a:latin typeface="Nexa Book"/>
                        </a:defRPr>
                      </a:pPr>
                      <a:r>
                        <a:t>Carre Frai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arre Frais 0% Fromage A Tartiner Afh Allege 1X200Gr 8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Boursi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Boursin Classique Fromage Frais A Tartiner Afh Boite 1X1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6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3682606022"/>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dd Std Undefined A Tartiner 1X3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3.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St More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t Moret Ligne Et Plaisir Fromage Frais A Tartiner Allege 1X180Gr 9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4.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321</a:t>
            </a:fld>
            <a:endParaRPr lang="en-US"/>
          </a:p>
        </p:txBody>
      </p:sp>
    </p:spTree>
    <p:extLst>
      <p:ext uri="{BB962C8B-B14F-4D97-AF65-F5344CB8AC3E}">
        <p14:creationId xmlns:p14="http://schemas.microsoft.com/office/powerpoint/2010/main" val="3827288822"/>
      </p:ext>
    </p:extLst>
  </p:cSld>
  <p:clrMapOvr>
    <a:masterClrMapping/>
  </p:clrMapOvr>
</p:sld>
</file>

<file path=ppt/slides/slide3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9/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Frais A Tartiner | Carrefour Supermarket + Drive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St More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t Moret Fromage Frais A Tartiner Boite 1X4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Tartar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Tartare Fromage Frais A Tartiner Afh 1X2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a:defRPr sz="800">
                          <a:latin typeface="Nexa Book"/>
                        </a:defRPr>
                      </a:pPr>
                      <a:r>
                        <a:t>St More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t Moret Fromage Frais A Tartiner Boite 1X1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Paysan Bret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aysan Breton Fromage Fouette De Madame Loik Frais A Tartiner Sel Guerande 1X32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St More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t Moret Fromage Frais A Tartiner 1X180Gr 9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4.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Carre Frai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arre Frais 0% Fromage A Tartiner Allege 1X200Gr 8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8.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Philadelphi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hiladelphia Fromage Frais A Tartiner Boite 1X3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Paysan Bret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aysan Breton Fromage Fouette De Madame Loik Frais A Tartiner Sel Guerande 1X18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6.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St More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t Moret Fromage Frais A Tartiner Boite 1X3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Carre Frai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arre Frais Fromage A Tartiner 1X200Gr 8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6.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Tartar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Tartare Fromage Frais A Tartiner Afh 1X160Gr 10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Boursi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Boursin Classique Fromage Frais A Tartiner Afh 1X160Gr 10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5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2976062154"/>
                  </a:ext>
                </a:extLst>
              </a:tr>
              <a:tr h="164170">
                <a:tc>
                  <a:txBody>
                    <a:bodyPr/>
                    <a:lstStyle/>
                    <a:p>
                      <a:pPr algn="ctr">
                        <a:defRPr sz="800">
                          <a:latin typeface="Nexa Book"/>
                        </a:defRPr>
                      </a:pPr>
                      <a:r>
                        <a:t>St More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t Moret Fromage Frais A Tartiner Boite 1X225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5.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Boursi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Boursin Classique Fromage Frais A Tartiner Afh Boite 1X1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5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4273312142"/>
                  </a:ext>
                </a:extLst>
              </a:tr>
              <a:tr h="164170">
                <a:tc>
                  <a:txBody>
                    <a:bodyPr/>
                    <a:lstStyle/>
                    <a:p>
                      <a:pPr algn="ctr">
                        <a:defRPr sz="800">
                          <a:latin typeface="Nexa Book"/>
                        </a:defRPr>
                      </a:pPr>
                      <a:r>
                        <a:t>Philadelphi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hiladelphia Fromage Frais A Tartiner Boite 1X1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3.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Boursi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Boursin Classique Fromage Frais A Tartiner Afh Boite 1X2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65.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3490141980"/>
                  </a:ext>
                </a:extLst>
              </a:tr>
              <a:tr h="164170">
                <a:tc>
                  <a:txBody>
                    <a:bodyPr/>
                    <a:lstStyle/>
                    <a:p>
                      <a:pPr algn="ctr">
                        <a:defRPr sz="800">
                          <a:latin typeface="Nexa Book"/>
                        </a:defRPr>
                      </a:pPr>
                      <a:r>
                        <a:t>St More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t Moret Ligne Et Plaisir Fromage Frais A Tartiner Allege 1X180Gr 9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St More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t Moret Ligne Et Plaisir Fromage Frais A Tartiner Allege Boite 1X1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dd Std Undefined A Tartiner 1X3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St More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t Moret Ligne Et Plaisir Fromage Frais A Tartiner Allege Boite 1X3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322</a:t>
            </a:fld>
            <a:endParaRPr lang="en-US"/>
          </a:p>
        </p:txBody>
      </p:sp>
    </p:spTree>
    <p:extLst>
      <p:ext uri="{BB962C8B-B14F-4D97-AF65-F5344CB8AC3E}">
        <p14:creationId xmlns:p14="http://schemas.microsoft.com/office/powerpoint/2010/main" val="2650975631"/>
      </p:ext>
    </p:extLst>
  </p:cSld>
  <p:clrMapOvr>
    <a:masterClrMapping/>
  </p:clrMapOvr>
</p:sld>
</file>

<file path=ppt/slides/slide3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9/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Frais A Tartiner | Carrefour Proximite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St More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t Moret Fromage Frais A Tartiner Boite 1X1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Paysan Bret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aysan Breton Fromage Fouette De Madame Loik Frais A Tartiner Sel Guerande 1X18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3.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a:defRPr sz="800">
                          <a:latin typeface="Nexa Book"/>
                        </a:defRPr>
                      </a:pPr>
                      <a:r>
                        <a:t>Philadelphi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hiladelphia Fromage Frais A Tartiner Boite 1X1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Boursi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Boursin Classique Fromage Frais A Tartiner Afh Boite 1X1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4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2166894017"/>
                  </a:ext>
                </a:extLst>
              </a:tr>
              <a:tr h="164170">
                <a:tc>
                  <a:txBody>
                    <a:bodyPr/>
                    <a:lstStyle/>
                    <a:p>
                      <a:pPr algn="ctr">
                        <a:defRPr sz="800">
                          <a:latin typeface="Nexa Book"/>
                        </a:defRPr>
                      </a:pPr>
                      <a:r>
                        <a:t>St More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t Moret Ligne Et Plaisir Fromage Frais A Tartiner Allege Boite 1X1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3.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St More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t Moret Fromage Frais A Tartiner 1X180Gr 9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8.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Tartar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Tartare Fromage Frais A Tartiner Afh 1X1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dd Std Undefined A Tartiner Afh 1X1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Carre Frai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arre Frais Fromage A Tartiner 1X200Gr 8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dd Std Undefined A Tartiner 1X1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3.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Boursi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Boursin Classique Fromage Frais A Tartiner Afh 1X160Gr 10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7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3432996514"/>
                  </a:ext>
                </a:extLst>
              </a:tr>
              <a:tr h="164170">
                <a:tc>
                  <a:txBody>
                    <a:bodyPr/>
                    <a:lstStyle/>
                    <a:p>
                      <a:pPr algn="ctr">
                        <a:defRPr sz="800">
                          <a:latin typeface="Nexa Book"/>
                        </a:defRPr>
                      </a:pPr>
                      <a:r>
                        <a:t>Paysan Bret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aysan Breton Fromage Fouette De Madame Loik Frais A Tartiner Afh 1X1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Tartar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Tartare Fromage Frais A Tartiner Afh 1X2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Tartar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Tartare Fromage Frais A Tartiner Afh 1X96Gr 6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6.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St More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t Moret Fromage Frais A Tartiner Boite 1X4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8.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dd Std Undefined A Tartiner 1X3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a:defRPr sz="800">
                          <a:latin typeface="Nexa Book"/>
                        </a:defRPr>
                      </a:pPr>
                      <a:r>
                        <a:t>Kiri</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Kiri Delicieusement Fouette Fromage Frais A Tartiner 1X125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720551800"/>
                  </a:ext>
                </a:extLst>
              </a:tr>
              <a:tr h="164170">
                <a:tc>
                  <a:txBody>
                    <a:bodyPr/>
                    <a:lstStyle/>
                    <a:p>
                      <a:pPr algn="ctr">
                        <a:defRPr sz="800">
                          <a:latin typeface="Nexa Book"/>
                        </a:defRPr>
                      </a:pPr>
                      <a:r>
                        <a:t>Carre Frai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arre Frais 0% Fromage A Tartiner Allege 1X200Gr 8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Paysan Bret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aysan Breton Fromage Fouette De Madame Loik Frais A Tartiner Figue &amp; Noix 1X1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Paysan Bret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aysan Breton Fromage Fouette De Madame Loik Frais A Tartiner Sel Guerande 1X180Gr 9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323</a:t>
            </a:fld>
            <a:endParaRPr lang="en-US"/>
          </a:p>
        </p:txBody>
      </p:sp>
    </p:spTree>
    <p:extLst>
      <p:ext uri="{BB962C8B-B14F-4D97-AF65-F5344CB8AC3E}">
        <p14:creationId xmlns:p14="http://schemas.microsoft.com/office/powerpoint/2010/main" val="2016266530"/>
      </p:ext>
    </p:extLst>
  </p:cSld>
  <p:clrMapOvr>
    <a:masterClrMapping/>
  </p:clrMapOvr>
</p:sld>
</file>

<file path=ppt/slides/slide3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9/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Frais A Tartiner | Intermarche Super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St More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t Moret Fromage Frais A Tartiner Boite 1X4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St More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t Moret Fromage Frais A Tartiner Boite 1X3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Paturages Fromage Frais A Tartiner 1X1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St More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t Moret Fromage Frais A Tartiner Boite 1X1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5.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Tartar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Tartare Fromage Frais A Tartiner Afh 1X2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St More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t Moret Fromage Frais A Tartiner 1X180Gr 9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Paysan Bret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aysan Breton Fromage Fouette De Madame Loik Frais A Tartiner Sel Guerande 1X32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Paysan Bret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aysan Breton Fromage Fouette De Madame Loik Frais A Tartiner Sel Guerande 1X18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Paturages Fromage Frais A Tartiner 1X3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Tartar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Tartare Fromage Frais A Tartiner Afh 1X160Gr 10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Boursi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Boursin Classique Fromage Frais A Tartiner Afh Boite 1X2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5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3432996514"/>
                  </a:ext>
                </a:extLst>
              </a:tr>
              <a:tr h="164170">
                <a:tc>
                  <a:txBody>
                    <a:bodyPr/>
                    <a:lstStyle/>
                    <a:p>
                      <a:pPr algn="ctr">
                        <a:defRPr sz="800">
                          <a:latin typeface="Nexa Book"/>
                        </a:defRPr>
                      </a:pPr>
                      <a:r>
                        <a:t>Boursi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Boursin Classique Fromage Frais A Tartiner Afh 1X160Gr 10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54.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2976062154"/>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Paturages Fromage Frais A Tartiner Ail &amp; Fines Herbes Boite 1X1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St More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t Moret Ligne Et Plaisir Fromage Frais A Tartiner Allege Boite 1X3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Carre Frai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arre Frais Fromage A Tartiner 1X200Gr 8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Boursi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Boursin Classique Fromage Frais A Tartiner Afh Boite 1X1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65.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3490141980"/>
                  </a:ext>
                </a:extLst>
              </a:tr>
              <a:tr h="164170">
                <a:tc>
                  <a:txBody>
                    <a:bodyPr/>
                    <a:lstStyle/>
                    <a:p>
                      <a:pPr algn="ctr">
                        <a:defRPr sz="800">
                          <a:latin typeface="Nexa Book"/>
                        </a:defRPr>
                      </a:pPr>
                      <a:r>
                        <a:t>Carre Frai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arre Frais 0% Fromage A Tartiner Allege 1X200Gr 8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7.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Philadelphi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hiladelphia Fromage Frais A Tartiner Boite 1X3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St More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t Moret Ligne Et Plaisir Fromage Frais A Tartiner Allege 1X180Gr 9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Paturages Fromage Frais A Tartiner Ail &amp; Fines Herbes Boite 1X2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324</a:t>
            </a:fld>
            <a:endParaRPr lang="en-US"/>
          </a:p>
        </p:txBody>
      </p:sp>
    </p:spTree>
    <p:extLst>
      <p:ext uri="{BB962C8B-B14F-4D97-AF65-F5344CB8AC3E}">
        <p14:creationId xmlns:p14="http://schemas.microsoft.com/office/powerpoint/2010/main" val="1694594028"/>
      </p:ext>
    </p:extLst>
  </p:cSld>
  <p:clrMapOvr>
    <a:masterClrMapping/>
  </p:clrMapOvr>
</p:sld>
</file>

<file path=ppt/slides/slide3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9/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Frais A Tartiner | Intermarche Hyper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St More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t Moret Fromage Frais A Tartiner Boite 1X4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St More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t Moret Fromage Frais A Tartiner Boite 1X3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a:defRPr sz="800">
                          <a:latin typeface="Nexa Book"/>
                        </a:defRPr>
                      </a:pPr>
                      <a:r>
                        <a:t>St More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t Moret Fromage Frais A Tartiner Boite 1X1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Paturages Fromage Frais A Tartiner 1X1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St More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t Moret Fromage Frais A Tartiner 1X180Gr 9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Tartar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Tartare Fromage Frais A Tartiner Afh 1X2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4.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Paysan Bret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aysan Breton Fromage Fouette De Madame Loik Frais A Tartiner Sel Guerande 1X32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Boursi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Boursin Classique Fromage Frais A Tartiner Afh Boite 1X2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4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2585022217"/>
                  </a:ext>
                </a:extLst>
              </a:tr>
              <a:tr h="164170">
                <a:tc>
                  <a:txBody>
                    <a:bodyPr/>
                    <a:lstStyle/>
                    <a:p>
                      <a:pPr algn="ctr">
                        <a:defRPr sz="800">
                          <a:latin typeface="Nexa Book"/>
                        </a:defRPr>
                      </a:pPr>
                      <a:r>
                        <a:t>St More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t Moret Ligne Et Plaisir Fromage Frais A Tartiner Allege Boite 1X3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4.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Paysan Bret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aysan Breton Fromage Fouette De Madame Loik Frais A Tartiner Sel Guerande 1X18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Philadelphi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hiladelphia Fromage Frais A Tartiner Boite 1X3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Tartar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Tartare Fromage Frais A Tartiner Afh 1X160Gr 10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3.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Boursi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Boursin Classique Fromage Frais A Tartiner Afh 1X160Gr 10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56.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2630007318"/>
                  </a:ext>
                </a:extLst>
              </a:tr>
              <a:tr h="164170">
                <a:tc>
                  <a:txBody>
                    <a:bodyPr/>
                    <a:lstStyle/>
                    <a:p>
                      <a:pPr algn="ctr">
                        <a:defRPr sz="800">
                          <a:latin typeface="Nexa Book"/>
                        </a:defRPr>
                      </a:pPr>
                      <a:r>
                        <a:t>Boursi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Boursin Classique Fromage Frais A Tartiner Afh Boite 1X1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5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4273312142"/>
                  </a:ext>
                </a:extLst>
              </a:tr>
              <a:tr h="164170">
                <a:tc>
                  <a:txBody>
                    <a:bodyPr/>
                    <a:lstStyle/>
                    <a:p>
                      <a:pPr algn="ctr">
                        <a:defRPr sz="800">
                          <a:latin typeface="Nexa Book"/>
                        </a:defRPr>
                      </a:pPr>
                      <a:r>
                        <a:t>Carre Frai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arre Frais 0% Fromage A Tartiner Allege 1X200Gr 8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Carre Frai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arre Frais Fromage A Tartiner 1X200Gr 8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3.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Paturages Fromage Frais A Tartiner Ail &amp; Fines Herbes Boite 1X1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St More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t Moret Ligne Et Plaisir Fromage Frais A Tartiner Allege 1X180Gr 9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Paturages Fromage Frais A Tartiner 1X3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Paturages Fromage Frais A Tartiner Ail &amp; Fines Herbes Boite 1X2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325</a:t>
            </a:fld>
            <a:endParaRPr lang="en-US"/>
          </a:p>
        </p:txBody>
      </p:sp>
    </p:spTree>
    <p:extLst>
      <p:ext uri="{BB962C8B-B14F-4D97-AF65-F5344CB8AC3E}">
        <p14:creationId xmlns:p14="http://schemas.microsoft.com/office/powerpoint/2010/main" val="2914058221"/>
      </p:ext>
    </p:extLst>
  </p:cSld>
  <p:clrMapOvr>
    <a:masterClrMapping/>
  </p:clrMapOvr>
</p:sld>
</file>

<file path=ppt/slides/slide3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9/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Frais A Tartiner | Intermarche Proxi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Paturages Fromage Frais A Tartiner 1X1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St More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t Moret Fromage Frais A Tartiner Boite 1X1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a:defRPr sz="800">
                          <a:latin typeface="Nexa Book"/>
                        </a:defRPr>
                      </a:pPr>
                      <a:r>
                        <a:t>St More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t Moret Fromage Frais A Tartiner Boite 1X3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Tartar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Tartare Fromage Frais A Tartiner Afh 1X2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St More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t Moret Fromage Frais A Tartiner 1X180Gr 9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St More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t Moret Fromage Frais A Tartiner Boite 1X4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6.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Paturages Fromage Frais A Tartiner 1X3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Paysan Bret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aysan Breton Fromage Fouette De Madame Loik Frais A Tartiner Sel Guerande 1X18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4.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Paturages Fromage Frais A Tartiner Ail &amp; Fines Herbes Boite 1X1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Carre Frai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arre Frais Fromage A Tartiner 1X200Gr 8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Philadelphi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hiladelphia Fromage Frais A Tartiner Boite 1X1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4.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Boursi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Boursin Classique Fromage Frais A Tartiner Afh Boite 1X1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57.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2976062154"/>
                  </a:ext>
                </a:extLst>
              </a:tr>
              <a:tr h="164170">
                <a:tc>
                  <a:txBody>
                    <a:bodyPr/>
                    <a:lstStyle/>
                    <a:p>
                      <a:pPr algn="ctr">
                        <a:defRPr sz="800">
                          <a:latin typeface="Nexa Book"/>
                        </a:defRPr>
                      </a:pPr>
                      <a:r>
                        <a:t>Carre Frai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arre Frais 0% Fromage A Tartiner Allege 1X200Gr 8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Boursi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Boursin Classique Fromage Frais A Tartiner Afh 1X160Gr 10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63.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4273312142"/>
                  </a:ext>
                </a:extLst>
              </a:tr>
              <a:tr h="164170">
                <a:tc>
                  <a:txBody>
                    <a:bodyPr/>
                    <a:lstStyle/>
                    <a:p>
                      <a:pPr algn="ctr">
                        <a:defRPr sz="800">
                          <a:latin typeface="Nexa Book"/>
                        </a:defRPr>
                      </a:pPr>
                      <a:r>
                        <a:t>Paysan Bret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aysan Breton Fromage Fouette De Madame Loik Frais A Tartiner Sel Guerande 1X32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Tartar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Tartare Fromage Frais A Tartiner Afh 1X160Gr 10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a:defRPr sz="800">
                          <a:latin typeface="Nexa Book"/>
                        </a:defRPr>
                      </a:pPr>
                      <a:r>
                        <a:t>Philadelphi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hiladelphia Fromage Frais A Tartiner Boite 1X3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St More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t Moret Ligne Et Plaisir Fromage Frais A Tartiner Allege 1X180Gr 9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3.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St More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t Moret Ligne Et Plaisir Fromage Frais A Tartiner Allege Boite 1X3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5.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Boursi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Boursin Classique Fromage Frais A Tartiner Afh Boite 1X2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7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326</a:t>
            </a:fld>
            <a:endParaRPr lang="en-US"/>
          </a:p>
        </p:txBody>
      </p:sp>
    </p:spTree>
    <p:extLst>
      <p:ext uri="{BB962C8B-B14F-4D97-AF65-F5344CB8AC3E}">
        <p14:creationId xmlns:p14="http://schemas.microsoft.com/office/powerpoint/2010/main" val="2344000469"/>
      </p:ext>
    </p:extLst>
  </p:cSld>
  <p:clrMapOvr>
    <a:masterClrMapping/>
  </p:clrMapOvr>
</p:sld>
</file>

<file path=ppt/slides/slide3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9/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Salade | Carrefour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ivate Label Mdd Std Soft Cheese Salade 150G</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dd Std Undefined Piece 1X125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a:defRPr sz="800">
                          <a:latin typeface="Nexa Book"/>
                        </a:defRPr>
                      </a:pPr>
                      <a:r>
                        <a:t>Galbani</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albani Mozzarella Piece Sachet 1X125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6.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dd Std Undefined Piece 1X2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dd Std Undefined Autre 1X2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Salaki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alakis Assimile Feta Autre Boite 1X2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5.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Islo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Islos Feta Autre Boite 1X1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dd Std Undefined Des 1X1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dd Std Undefined Piece Sachet 1X375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Galbani</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albani Mozzarella Piece Sachet 1X375Gr 3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Salaki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alakis Assimile Feta Des Herbes De Provence Bocal 1X3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Galbani</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albani Mozzarella Bille 1X150Gr 20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Casa Azzurr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asa Azzurra Mozzarella Bufflonne Piece Sachet 1X125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dd Std Undefined Bille 1X1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Casa Azzurr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asa Azzurra Mozzarella Piece Sachet 1X125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Galbani</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albani Mozzarella Piece Sachet 1X2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a:defRPr sz="800">
                          <a:latin typeface="Nexa Book"/>
                        </a:defRPr>
                      </a:pPr>
                      <a:r>
                        <a:t>Boursi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Boursin Salade &amp; Aperitif Fromage Frais Des Afh 1X12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66.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720551800"/>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Italie Des Fromages Mozzarella Bufflonne Piece Sachet 1X2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dd 1Er Prix Mozzarella Piece Sachet 1X125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aiullari Mozzarella Piece Boite 1X2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327</a:t>
            </a:fld>
            <a:endParaRPr lang="en-US"/>
          </a:p>
        </p:txBody>
      </p:sp>
    </p:spTree>
    <p:extLst>
      <p:ext uri="{BB962C8B-B14F-4D97-AF65-F5344CB8AC3E}">
        <p14:creationId xmlns:p14="http://schemas.microsoft.com/office/powerpoint/2010/main" val="1609489809"/>
      </p:ext>
    </p:extLst>
  </p:cSld>
  <p:clrMapOvr>
    <a:masterClrMapping/>
  </p:clrMapOvr>
</p:sld>
</file>

<file path=ppt/slides/slide3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9/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Salade | Intermarche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Paturages Mozzarella Piece Sachet 1X125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Ids Feta Autre Boite 1X2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8.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Ids Burrata Piece Boite 1X2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Ids Mozzarella Bufflonne Piece Sachet 1X125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Paturages Mozzarella Piece Sachet 1X4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5.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Galbani</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albani Mozzarella Piece Sachet 1X125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Salaki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alakis Assimile Feta Autre Boite 1X2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3.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Paturages Mozzarella Bille Sachet 1X1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6.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Galbani</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albani Burrata Piece 1X1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Paturages Mozzarella Piece Sachet 3X125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3.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Galbani</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albani Mozzarella Piece Sachet 1X375Gr 3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5.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Paturages Hollande Des Boite 1X1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Paturages Mozzarella Piece Sachet 1X2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Galbani</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albani Mozzarella Piece Sachet 1X2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3.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Galbani</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albani Mozzarella Bille 1X150Gr 20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5.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Paturages Assimile Feta Des Herbes Bocal 1X3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Paturages Burrata Bufflonne Piece Boite 1X125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Islo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Islos Feta Autre Boite 1X1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Salaki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alakis Assimile Feta Des Herbes De Provence Bocal 1X3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3.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Galbani</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albani Mozzarella Bufflonne Piece Sachet 1X125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5.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328</a:t>
            </a:fld>
            <a:endParaRPr lang="en-US"/>
          </a:p>
        </p:txBody>
      </p:sp>
    </p:spTree>
    <p:extLst>
      <p:ext uri="{BB962C8B-B14F-4D97-AF65-F5344CB8AC3E}">
        <p14:creationId xmlns:p14="http://schemas.microsoft.com/office/powerpoint/2010/main" val="1610773705"/>
      </p:ext>
    </p:extLst>
  </p:cSld>
  <p:clrMapOvr>
    <a:masterClrMapping/>
  </p:clrMapOvr>
</p:sld>
</file>

<file path=ppt/slides/slide3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9/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Salade | Carrefour Hyper + Drive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ivate Label Mdd Std Soft Cheese Salade 150G</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dd Std Undefined Piece 1X125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a:defRPr sz="800">
                          <a:latin typeface="Nexa Book"/>
                        </a:defRPr>
                      </a:pPr>
                      <a:r>
                        <a:t>Galbani</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albani Mozzarella Piece Sachet 1X125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3.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dd Std Undefined Autre 1X2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5.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dd Std Undefined Piece Sachet 1X375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dd Std Undefined Piece 1X2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Salaki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alakis Assimile Feta Autre Boite 1X2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Galbani</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albani Mozzarella Piece Sachet 1X375Gr 3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Islo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Islos Feta Autre Boite 1X1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5.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dd Std Undefined Des 1X1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8.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Galbani</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albani Mozzarella Bille 1X150Gr 20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Salaki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alakis Assimile Feta Des Herbes De Provence Bocal 1X3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Casa Azzurr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asa Azzurra Mozzarella Piece Sachet 1X125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4.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aiullari Mozzarella Piece Boite 1X2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5.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Italie Des Fromages Mozzarella Bufflonne Piece Sachet 1X2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Galbani</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albani Mozzarella Piece Sachet 1X2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dd Std Undefined Bille 1X1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3.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Casa Azzurr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asa Azzurra Mozzarella Bufflonne Piece Sachet 1X125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4.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Salaki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alakis Assimile Feta Des Basilic &amp; Huile Bocal 1X3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5.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dd Std Mozzarella Bloc 1X4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329</a:t>
            </a:fld>
            <a:endParaRPr lang="en-US"/>
          </a:p>
        </p:txBody>
      </p:sp>
    </p:spTree>
    <p:extLst>
      <p:ext uri="{BB962C8B-B14F-4D97-AF65-F5344CB8AC3E}">
        <p14:creationId xmlns:p14="http://schemas.microsoft.com/office/powerpoint/2010/main" val="3283315316"/>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9/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Enfant | Carrefour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33</a:t>
            </a:fld>
            <a:endParaRPr lang="en-US"/>
          </a:p>
        </p:txBody>
      </p:sp>
    </p:spTree>
    <p:extLst>
      <p:ext uri="{BB962C8B-B14F-4D97-AF65-F5344CB8AC3E}">
        <p14:creationId xmlns:p14="http://schemas.microsoft.com/office/powerpoint/2010/main" val="1193501628"/>
      </p:ext>
    </p:extLst>
  </p:cSld>
  <p:clrMapOvr>
    <a:masterClrMapping/>
  </p:clrMapOvr>
</p:sld>
</file>

<file path=ppt/slides/slide3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9/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Salade | Carrefour Supermarket + Drive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ivate Label Mdd Std Soft Cheese Salade 150G</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4.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dd Std Undefined Piece 1X125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a:defRPr sz="800">
                          <a:latin typeface="Nexa Book"/>
                        </a:defRPr>
                      </a:pPr>
                      <a:r>
                        <a:t>Galbani</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albani Mozzarella Piece Sachet 1X125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Salaki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alakis Assimile Feta Autre Boite 1X2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dd Std Undefined Autre 1X2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dd Std Undefined Piece 1X2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Islo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Islos Feta Autre Boite 1X1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dd Std Undefined Des 1X1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Casa Azzurr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asa Azzurra Mozzarella Bufflonne Piece Sachet 1X300Gr 3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Casa Azzurr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asa Azzurra Mozzarella Bufflonne Piece Sachet 1X125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Galbani</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albani Mozzarella Piece Sachet 1X375Gr 3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dd Std Undefined Piece Sachet 1X375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5.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Salaki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alakis Assimile Feta Des Herbes De Provence Bocal 1X3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Galbani</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albani Mozzarella Bille 1X150Gr 20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Casa Azzurr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asa Azzurra Mozzarella Piece Sachet 1X125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3.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Galbani</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albani Mozzarella Piece Sachet 1X2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4.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a:defRPr sz="800">
                          <a:latin typeface="Nexa Book"/>
                        </a:defRPr>
                      </a:pPr>
                      <a:r>
                        <a:t>Casa Azzurr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asa Azzurra Burrata Piece 1X125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5.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dd Std Undefined Bille 1X1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6.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Boursi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Boursin Salade &amp; Aperitif Fromage Frais Des Afh 1X12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6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2959808831"/>
                  </a:ext>
                </a:extLst>
              </a:tr>
              <a:tr h="164170">
                <a:tc>
                  <a:txBody>
                    <a:bodyPr/>
                    <a:lstStyle/>
                    <a:p>
                      <a:pPr algn="ctr">
                        <a:defRPr sz="800">
                          <a:latin typeface="Nexa Book"/>
                        </a:defRPr>
                      </a:pPr>
                      <a:r>
                        <a:t>Salaki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alakis Feta Autre Boite 1X1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330</a:t>
            </a:fld>
            <a:endParaRPr lang="en-US"/>
          </a:p>
        </p:txBody>
      </p:sp>
    </p:spTree>
    <p:extLst>
      <p:ext uri="{BB962C8B-B14F-4D97-AF65-F5344CB8AC3E}">
        <p14:creationId xmlns:p14="http://schemas.microsoft.com/office/powerpoint/2010/main" val="1771111283"/>
      </p:ext>
    </p:extLst>
  </p:cSld>
  <p:clrMapOvr>
    <a:masterClrMapping/>
  </p:clrMapOvr>
</p:sld>
</file>

<file path=ppt/slides/slide3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9/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Salade | Carrefour Proximite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dd Std Undefined Piece 1X125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Galbani</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albani Mozzarella Piece Sachet 1X125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5.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dd Std Undefined Piece 1X2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dd Std Undefined Autre 1X2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Salaki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alakis Assimile Feta Autre Boite 1X2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dd Std Undefined Des 1X1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5.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dd Std Undefined Piece 1X2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Boursi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Boursin Salade &amp; Aperitif Fromage Frais Des Afh 1X12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7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2585022217"/>
                  </a:ext>
                </a:extLst>
              </a:tr>
              <a:tr h="164170">
                <a:tc>
                  <a:txBody>
                    <a:bodyPr/>
                    <a:lstStyle/>
                    <a:p>
                      <a:pPr algn="ctr">
                        <a:defRPr sz="800">
                          <a:latin typeface="Nexa Book"/>
                        </a:defRPr>
                      </a:pPr>
                      <a:r>
                        <a:t>Salaki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alakis Assimile Feta Des Herbes De Provence Bocal 1X3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Casa Azzurr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asa Azzurra Mozzarella Bufflonne Piece Sachet 1X125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dd 1Er Prix Mozzarella Piece Sachet 1X125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dd Std Undefined Bille 1X1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4.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Galbani</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albani Mozzarella Bille 1X150Gr 20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5.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dd Std Gouda Des Cumin 1X1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Italie Des Fromages Mozzarella Bufflonne Piece Sachet 1X2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Islo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Islos Feta Autre Boite 1X1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a:defRPr sz="800">
                          <a:latin typeface="Nexa Book"/>
                        </a:defRPr>
                      </a:pPr>
                      <a:r>
                        <a:t>Casa Azzurr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asa Azzurra Feta Autre Boite 1X1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dd Std Assimile Feta Des Huile Et Epice Bocal 1X1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dd Std Feta Autre Boite 1X18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aiullari Mozzarella Piece Boite 1X2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331</a:t>
            </a:fld>
            <a:endParaRPr lang="en-US"/>
          </a:p>
        </p:txBody>
      </p:sp>
    </p:spTree>
    <p:extLst>
      <p:ext uri="{BB962C8B-B14F-4D97-AF65-F5344CB8AC3E}">
        <p14:creationId xmlns:p14="http://schemas.microsoft.com/office/powerpoint/2010/main" val="2840464849"/>
      </p:ext>
    </p:extLst>
  </p:cSld>
  <p:clrMapOvr>
    <a:masterClrMapping/>
  </p:clrMapOvr>
</p:sld>
</file>

<file path=ppt/slides/slide3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9/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Salade | Intermarche Super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Paturages Mozzarella Piece Sachet 1X125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Ids Feta Autre Boite 1X2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Ids Burrata Piece Boite 1X2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5.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Ids Mozzarella Bufflonne Piece Sachet 1X125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Paturages Mozzarella Piece Sachet 1X4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5.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Galbani</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albani Mozzarella Piece Sachet 1X125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Salaki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alakis Assimile Feta Autre Boite 1X2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Paturages Mozzarella Bille Sachet 1X1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Galbani</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albani Burrata Piece 1X1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Paturages Mozzarella Piece Sachet 3X125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Galbani</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albani Mozzarella Piece Sachet 1X375Gr 3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5.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Paturages Hollande Des Boite 1X1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Paturages Mozzarella Piece Sachet 1X2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Paturages Assimile Feta Des Herbes Bocal 1X3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Galbani</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albani Mozzarella Bille 1X150Gr 20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Galbani</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albani Mozzarella Piece Sachet 1X2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a:defRPr sz="800">
                          <a:latin typeface="Nexa Book"/>
                        </a:defRPr>
                      </a:pPr>
                      <a:r>
                        <a:t>Islo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Islos Feta Autre Boite 1X1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Paturages Burrata Bufflonne Piece Boite 1X125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Salaki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alakis Assimile Feta Des Herbes De Provence Bocal 1X3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3.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Galbani</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albani Mozzarella Bufflonne Piece Sachet 1X125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5.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332</a:t>
            </a:fld>
            <a:endParaRPr lang="en-US"/>
          </a:p>
        </p:txBody>
      </p:sp>
    </p:spTree>
    <p:extLst>
      <p:ext uri="{BB962C8B-B14F-4D97-AF65-F5344CB8AC3E}">
        <p14:creationId xmlns:p14="http://schemas.microsoft.com/office/powerpoint/2010/main" val="4100967725"/>
      </p:ext>
    </p:extLst>
  </p:cSld>
  <p:clrMapOvr>
    <a:masterClrMapping/>
  </p:clrMapOvr>
</p:sld>
</file>

<file path=ppt/slides/slide3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9/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Salade | Intermarche Hyper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Paturages Mozzarella Piece Sachet 1X125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Ids Feta Autre Boite 1X2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Ids Burrata Piece Boite 1X2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Ids Mozzarella Bufflonne Piece Sachet 1X125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5.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Galbani</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albani Mozzarella Piece Sachet 1X125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Paturages Mozzarella Piece Sachet 1X4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3.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Galbani</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albani Burrata Piece 1X1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6.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Paturages Mozzarella Piece Sachet 3X125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Galbani</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albani Mozzarella Piece Sachet 1X375Gr 3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3.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Salaki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alakis Assimile Feta Autre Boite 1X2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Paturages Mozzarella Bille Sachet 1X1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Paturages Hollande Des Boite 1X1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3.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Paturages Mozzarella Piece Sachet 1X2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5.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Galbani</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albani Mozzarella Bille 1X150Gr 20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Islo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Islos Feta Autre Boite 1X1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Salaki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alakis Assimile Feta Des Herbes De Provence Bocal 1X3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a:defRPr sz="800">
                          <a:latin typeface="Nexa Book"/>
                        </a:defRPr>
                      </a:pPr>
                      <a:r>
                        <a:t>Galbani</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albani Mozzarella Piece Sachet 1X2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ichelangelo Burrata Bufflonne Piece Sachet 1X125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5.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Paturages Assimile Feta Des Herbes Bocal 1X3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Paturages Burrata Bufflonne Piece Boite 1X125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333</a:t>
            </a:fld>
            <a:endParaRPr lang="en-US"/>
          </a:p>
        </p:txBody>
      </p:sp>
    </p:spTree>
    <p:extLst>
      <p:ext uri="{BB962C8B-B14F-4D97-AF65-F5344CB8AC3E}">
        <p14:creationId xmlns:p14="http://schemas.microsoft.com/office/powerpoint/2010/main" val="3335062710"/>
      </p:ext>
    </p:extLst>
  </p:cSld>
  <p:clrMapOvr>
    <a:masterClrMapping/>
  </p:clrMapOvr>
</p:sld>
</file>

<file path=ppt/slides/slide3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9/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Salade | Intermarche Proxi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Paturages Mozzarella Piece Sachet 1X125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Ids Feta Autre Boite 1X2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Ids Burrata Piece Boite 1X2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Ids Mozzarella Bufflonne Piece Sachet 1X125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Galbani</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albani Mozzarella Piece Sachet 1X125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Paturages Mozzarella Piece Sachet 1X4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Salaki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alakis Assimile Feta Autre Boite 1X2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Paturages Mozzarella Piece Sachet 1X2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4.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Galbani</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albani Burrata Piece 1X1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Paturages Mozzarella Bille Sachet 1X1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Paturages Burrata Bufflonne Piece Boite 1X125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Paturages Hollande Des Boite 1X1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Galbani</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albani Mozzarella Piece Sachet 1X2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Paturages Mozzarella Piece Sachet 3X125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Paturages Assimile Feta Des Herbes Bocal 1X3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Galbani</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albani Mozzarella Bille 1X150Gr 20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a:defRPr sz="800">
                          <a:latin typeface="Nexa Book"/>
                        </a:defRPr>
                      </a:pPr>
                      <a:r>
                        <a:t>Galbani</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albani Mozzarella Piece Sachet 1X375Gr 3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Islo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Islos Feta Autre Boite 1X1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7.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Paturages Burrata Bufflonne Piece Bio Boite 1X125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Galbani</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albani Mozzarella Bufflonne Piece Sachet 1X125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334</a:t>
            </a:fld>
            <a:endParaRPr lang="en-US"/>
          </a:p>
        </p:txBody>
      </p:sp>
    </p:spTree>
    <p:extLst>
      <p:ext uri="{BB962C8B-B14F-4D97-AF65-F5344CB8AC3E}">
        <p14:creationId xmlns:p14="http://schemas.microsoft.com/office/powerpoint/2010/main" val="3651955636"/>
      </p:ext>
    </p:extLst>
  </p:cSld>
  <p:clrMapOvr>
    <a:masterClrMapping/>
  </p:clrMapOvr>
</p:sld>
</file>

<file path=ppt/slides/slide3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9/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Total Fromage | Kiri | Carrefour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11041532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335</a:t>
            </a:fld>
            <a:endParaRPr lang="en-US"/>
          </a:p>
        </p:txBody>
      </p:sp>
    </p:spTree>
    <p:extLst>
      <p:ext uri="{BB962C8B-B14F-4D97-AF65-F5344CB8AC3E}">
        <p14:creationId xmlns:p14="http://schemas.microsoft.com/office/powerpoint/2010/main" val="3770524096"/>
      </p:ext>
    </p:extLst>
  </p:cSld>
  <p:clrMapOvr>
    <a:masterClrMapping/>
  </p:clrMapOvr>
</p:sld>
</file>

<file path=ppt/slides/slide3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9/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Total Fromage | La Vache Qui Rit | Carrefour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11041532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336</a:t>
            </a:fld>
            <a:endParaRPr lang="en-US"/>
          </a:p>
        </p:txBody>
      </p:sp>
    </p:spTree>
    <p:extLst>
      <p:ext uri="{BB962C8B-B14F-4D97-AF65-F5344CB8AC3E}">
        <p14:creationId xmlns:p14="http://schemas.microsoft.com/office/powerpoint/2010/main" val="1520629210"/>
      </p:ext>
    </p:extLst>
  </p:cSld>
  <p:clrMapOvr>
    <a:masterClrMapping/>
  </p:clrMapOvr>
</p:sld>
</file>

<file path=ppt/slides/slide3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9/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Total Fromage | Boursin | Carrefour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11041532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337</a:t>
            </a:fld>
            <a:endParaRPr lang="en-US"/>
          </a:p>
        </p:txBody>
      </p:sp>
    </p:spTree>
    <p:extLst>
      <p:ext uri="{BB962C8B-B14F-4D97-AF65-F5344CB8AC3E}">
        <p14:creationId xmlns:p14="http://schemas.microsoft.com/office/powerpoint/2010/main" val="3868525083"/>
      </p:ext>
    </p:extLst>
  </p:cSld>
  <p:clrMapOvr>
    <a:masterClrMapping/>
  </p:clrMapOvr>
</p:sld>
</file>

<file path=ppt/slides/slide3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9/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Total Fromage | Kiri | Intermarche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11041532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338</a:t>
            </a:fld>
            <a:endParaRPr lang="en-US"/>
          </a:p>
        </p:txBody>
      </p:sp>
    </p:spTree>
    <p:extLst>
      <p:ext uri="{BB962C8B-B14F-4D97-AF65-F5344CB8AC3E}">
        <p14:creationId xmlns:p14="http://schemas.microsoft.com/office/powerpoint/2010/main" val="4128172582"/>
      </p:ext>
    </p:extLst>
  </p:cSld>
  <p:clrMapOvr>
    <a:masterClrMapping/>
  </p:clrMapOvr>
</p:sld>
</file>

<file path=ppt/slides/slide3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9/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Total Fromage | La Vache Qui Rit | Intermarche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11041532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339</a:t>
            </a:fld>
            <a:endParaRPr lang="en-US"/>
          </a:p>
        </p:txBody>
      </p:sp>
    </p:spTree>
    <p:extLst>
      <p:ext uri="{BB962C8B-B14F-4D97-AF65-F5344CB8AC3E}">
        <p14:creationId xmlns:p14="http://schemas.microsoft.com/office/powerpoint/2010/main" val="1398240766"/>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9/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Enfant | Intermarche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34</a:t>
            </a:fld>
            <a:endParaRPr lang="en-US"/>
          </a:p>
        </p:txBody>
      </p:sp>
    </p:spTree>
    <p:extLst>
      <p:ext uri="{BB962C8B-B14F-4D97-AF65-F5344CB8AC3E}">
        <p14:creationId xmlns:p14="http://schemas.microsoft.com/office/powerpoint/2010/main" val="3365487058"/>
      </p:ext>
    </p:extLst>
  </p:cSld>
  <p:clrMapOvr>
    <a:masterClrMapping/>
  </p:clrMapOvr>
</p:sld>
</file>

<file path=ppt/slides/slide3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9/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Total Fromage | Boursin | Intermarche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11041532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340</a:t>
            </a:fld>
            <a:endParaRPr lang="en-US"/>
          </a:p>
        </p:txBody>
      </p:sp>
    </p:spTree>
    <p:extLst>
      <p:ext uri="{BB962C8B-B14F-4D97-AF65-F5344CB8AC3E}">
        <p14:creationId xmlns:p14="http://schemas.microsoft.com/office/powerpoint/2010/main" val="3483981636"/>
      </p:ext>
    </p:extLst>
  </p:cSld>
  <p:clrMapOvr>
    <a:masterClrMapping/>
  </p:clrMapOvr>
</p:sld>
</file>

<file path=ppt/slides/slide3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9/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Total Fromage | Kiri | Carrefour Hyper + Drive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11041532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341</a:t>
            </a:fld>
            <a:endParaRPr lang="en-US"/>
          </a:p>
        </p:txBody>
      </p:sp>
    </p:spTree>
    <p:extLst>
      <p:ext uri="{BB962C8B-B14F-4D97-AF65-F5344CB8AC3E}">
        <p14:creationId xmlns:p14="http://schemas.microsoft.com/office/powerpoint/2010/main" val="2079882718"/>
      </p:ext>
    </p:extLst>
  </p:cSld>
  <p:clrMapOvr>
    <a:masterClrMapping/>
  </p:clrMapOvr>
</p:sld>
</file>

<file path=ppt/slides/slide3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9/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Total Fromage | La Vache Qui Rit | Carrefour Hyper + Drive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11041532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342</a:t>
            </a:fld>
            <a:endParaRPr lang="en-US"/>
          </a:p>
        </p:txBody>
      </p:sp>
    </p:spTree>
    <p:extLst>
      <p:ext uri="{BB962C8B-B14F-4D97-AF65-F5344CB8AC3E}">
        <p14:creationId xmlns:p14="http://schemas.microsoft.com/office/powerpoint/2010/main" val="2004747046"/>
      </p:ext>
    </p:extLst>
  </p:cSld>
  <p:clrMapOvr>
    <a:masterClrMapping/>
  </p:clrMapOvr>
</p:sld>
</file>

<file path=ppt/slides/slide3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9/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Total Fromage | Boursin | Carrefour Hyper + Drive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11041532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343</a:t>
            </a:fld>
            <a:endParaRPr lang="en-US"/>
          </a:p>
        </p:txBody>
      </p:sp>
    </p:spTree>
    <p:extLst>
      <p:ext uri="{BB962C8B-B14F-4D97-AF65-F5344CB8AC3E}">
        <p14:creationId xmlns:p14="http://schemas.microsoft.com/office/powerpoint/2010/main" val="3853729378"/>
      </p:ext>
    </p:extLst>
  </p:cSld>
  <p:clrMapOvr>
    <a:masterClrMapping/>
  </p:clrMapOvr>
</p:sld>
</file>

<file path=ppt/slides/slide3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9/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Total Fromage | Kiri | Carrefour Supermarket + Drive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11041532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344</a:t>
            </a:fld>
            <a:endParaRPr lang="en-US"/>
          </a:p>
        </p:txBody>
      </p:sp>
    </p:spTree>
    <p:extLst>
      <p:ext uri="{BB962C8B-B14F-4D97-AF65-F5344CB8AC3E}">
        <p14:creationId xmlns:p14="http://schemas.microsoft.com/office/powerpoint/2010/main" val="1481613010"/>
      </p:ext>
    </p:extLst>
  </p:cSld>
  <p:clrMapOvr>
    <a:masterClrMapping/>
  </p:clrMapOvr>
</p:sld>
</file>

<file path=ppt/slides/slide3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9/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Total Fromage | La Vache Qui Rit | Carrefour Supermarket + Drive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11041532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345</a:t>
            </a:fld>
            <a:endParaRPr lang="en-US"/>
          </a:p>
        </p:txBody>
      </p:sp>
    </p:spTree>
    <p:extLst>
      <p:ext uri="{BB962C8B-B14F-4D97-AF65-F5344CB8AC3E}">
        <p14:creationId xmlns:p14="http://schemas.microsoft.com/office/powerpoint/2010/main" val="2314816357"/>
      </p:ext>
    </p:extLst>
  </p:cSld>
  <p:clrMapOvr>
    <a:masterClrMapping/>
  </p:clrMapOvr>
</p:sld>
</file>

<file path=ppt/slides/slide3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9/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Total Fromage | Boursin | Carrefour Supermarket + Drive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11041532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346</a:t>
            </a:fld>
            <a:endParaRPr lang="en-US"/>
          </a:p>
        </p:txBody>
      </p:sp>
    </p:spTree>
    <p:extLst>
      <p:ext uri="{BB962C8B-B14F-4D97-AF65-F5344CB8AC3E}">
        <p14:creationId xmlns:p14="http://schemas.microsoft.com/office/powerpoint/2010/main" val="758267423"/>
      </p:ext>
    </p:extLst>
  </p:cSld>
  <p:clrMapOvr>
    <a:masterClrMapping/>
  </p:clrMapOvr>
</p:sld>
</file>

<file path=ppt/slides/slide3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9/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Total Fromage | Kiri | Carrefour Proximite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11041532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347</a:t>
            </a:fld>
            <a:endParaRPr lang="en-US"/>
          </a:p>
        </p:txBody>
      </p:sp>
    </p:spTree>
    <p:extLst>
      <p:ext uri="{BB962C8B-B14F-4D97-AF65-F5344CB8AC3E}">
        <p14:creationId xmlns:p14="http://schemas.microsoft.com/office/powerpoint/2010/main" val="3921044938"/>
      </p:ext>
    </p:extLst>
  </p:cSld>
  <p:clrMapOvr>
    <a:masterClrMapping/>
  </p:clrMapOvr>
</p:sld>
</file>

<file path=ppt/slides/slide3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9/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Total Fromage | La Vache Qui Rit | Carrefour Proximite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11041532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348</a:t>
            </a:fld>
            <a:endParaRPr lang="en-US"/>
          </a:p>
        </p:txBody>
      </p:sp>
    </p:spTree>
    <p:extLst>
      <p:ext uri="{BB962C8B-B14F-4D97-AF65-F5344CB8AC3E}">
        <p14:creationId xmlns:p14="http://schemas.microsoft.com/office/powerpoint/2010/main" val="583591916"/>
      </p:ext>
    </p:extLst>
  </p:cSld>
  <p:clrMapOvr>
    <a:masterClrMapping/>
  </p:clrMapOvr>
</p:sld>
</file>

<file path=ppt/slides/slide3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9/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Total Fromage | Boursin | Carrefour Proximite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11041532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349</a:t>
            </a:fld>
            <a:endParaRPr lang="en-US"/>
          </a:p>
        </p:txBody>
      </p:sp>
    </p:spTree>
    <p:extLst>
      <p:ext uri="{BB962C8B-B14F-4D97-AF65-F5344CB8AC3E}">
        <p14:creationId xmlns:p14="http://schemas.microsoft.com/office/powerpoint/2010/main" val="280048280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9/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Enfant | Carrefour Hyper + Drive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35</a:t>
            </a:fld>
            <a:endParaRPr lang="en-US"/>
          </a:p>
        </p:txBody>
      </p:sp>
    </p:spTree>
    <p:extLst>
      <p:ext uri="{BB962C8B-B14F-4D97-AF65-F5344CB8AC3E}">
        <p14:creationId xmlns:p14="http://schemas.microsoft.com/office/powerpoint/2010/main" val="4044349665"/>
      </p:ext>
    </p:extLst>
  </p:cSld>
  <p:clrMapOvr>
    <a:masterClrMapping/>
  </p:clrMapOvr>
</p:sld>
</file>

<file path=ppt/slides/slide3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9/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Total Fromage | Kiri | Intermarche Super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11041532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350</a:t>
            </a:fld>
            <a:endParaRPr lang="en-US"/>
          </a:p>
        </p:txBody>
      </p:sp>
    </p:spTree>
    <p:extLst>
      <p:ext uri="{BB962C8B-B14F-4D97-AF65-F5344CB8AC3E}">
        <p14:creationId xmlns:p14="http://schemas.microsoft.com/office/powerpoint/2010/main" val="242352696"/>
      </p:ext>
    </p:extLst>
  </p:cSld>
  <p:clrMapOvr>
    <a:masterClrMapping/>
  </p:clrMapOvr>
</p:sld>
</file>

<file path=ppt/slides/slide3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9/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Total Fromage | La Vache Qui Rit | Intermarche Super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11041532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351</a:t>
            </a:fld>
            <a:endParaRPr lang="en-US"/>
          </a:p>
        </p:txBody>
      </p:sp>
    </p:spTree>
    <p:extLst>
      <p:ext uri="{BB962C8B-B14F-4D97-AF65-F5344CB8AC3E}">
        <p14:creationId xmlns:p14="http://schemas.microsoft.com/office/powerpoint/2010/main" val="663900970"/>
      </p:ext>
    </p:extLst>
  </p:cSld>
  <p:clrMapOvr>
    <a:masterClrMapping/>
  </p:clrMapOvr>
</p:sld>
</file>

<file path=ppt/slides/slide3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9/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Total Fromage | Boursin | Intermarche Super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11041532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352</a:t>
            </a:fld>
            <a:endParaRPr lang="en-US"/>
          </a:p>
        </p:txBody>
      </p:sp>
    </p:spTree>
    <p:extLst>
      <p:ext uri="{BB962C8B-B14F-4D97-AF65-F5344CB8AC3E}">
        <p14:creationId xmlns:p14="http://schemas.microsoft.com/office/powerpoint/2010/main" val="2305463028"/>
      </p:ext>
    </p:extLst>
  </p:cSld>
  <p:clrMapOvr>
    <a:masterClrMapping/>
  </p:clrMapOvr>
</p:sld>
</file>

<file path=ppt/slides/slide3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9/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Total Fromage | Kiri | Intermarche Hyper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11041532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353</a:t>
            </a:fld>
            <a:endParaRPr lang="en-US"/>
          </a:p>
        </p:txBody>
      </p:sp>
    </p:spTree>
    <p:extLst>
      <p:ext uri="{BB962C8B-B14F-4D97-AF65-F5344CB8AC3E}">
        <p14:creationId xmlns:p14="http://schemas.microsoft.com/office/powerpoint/2010/main" val="553828861"/>
      </p:ext>
    </p:extLst>
  </p:cSld>
  <p:clrMapOvr>
    <a:masterClrMapping/>
  </p:clrMapOvr>
</p:sld>
</file>

<file path=ppt/slides/slide3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9/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Total Fromage | La Vache Qui Rit | Intermarche Hyper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11041532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354</a:t>
            </a:fld>
            <a:endParaRPr lang="en-US"/>
          </a:p>
        </p:txBody>
      </p:sp>
    </p:spTree>
    <p:extLst>
      <p:ext uri="{BB962C8B-B14F-4D97-AF65-F5344CB8AC3E}">
        <p14:creationId xmlns:p14="http://schemas.microsoft.com/office/powerpoint/2010/main" val="1899139628"/>
      </p:ext>
    </p:extLst>
  </p:cSld>
  <p:clrMapOvr>
    <a:masterClrMapping/>
  </p:clrMapOvr>
</p:sld>
</file>

<file path=ppt/slides/slide3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9/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Total Fromage | Boursin | Intermarche Hyper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11041532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355</a:t>
            </a:fld>
            <a:endParaRPr lang="en-US"/>
          </a:p>
        </p:txBody>
      </p:sp>
    </p:spTree>
    <p:extLst>
      <p:ext uri="{BB962C8B-B14F-4D97-AF65-F5344CB8AC3E}">
        <p14:creationId xmlns:p14="http://schemas.microsoft.com/office/powerpoint/2010/main" val="1611841037"/>
      </p:ext>
    </p:extLst>
  </p:cSld>
  <p:clrMapOvr>
    <a:masterClrMapping/>
  </p:clrMapOvr>
</p:sld>
</file>

<file path=ppt/slides/slide3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9/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Total Fromage | Kiri | Intermarche Proxi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11041532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356</a:t>
            </a:fld>
            <a:endParaRPr lang="en-US"/>
          </a:p>
        </p:txBody>
      </p:sp>
    </p:spTree>
    <p:extLst>
      <p:ext uri="{BB962C8B-B14F-4D97-AF65-F5344CB8AC3E}">
        <p14:creationId xmlns:p14="http://schemas.microsoft.com/office/powerpoint/2010/main" val="3361457692"/>
      </p:ext>
    </p:extLst>
  </p:cSld>
  <p:clrMapOvr>
    <a:masterClrMapping/>
  </p:clrMapOvr>
</p:sld>
</file>

<file path=ppt/slides/slide3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9/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Total Fromage | La Vache Qui Rit | Intermarche Proxi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11041532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357</a:t>
            </a:fld>
            <a:endParaRPr lang="en-US"/>
          </a:p>
        </p:txBody>
      </p:sp>
    </p:spTree>
    <p:extLst>
      <p:ext uri="{BB962C8B-B14F-4D97-AF65-F5344CB8AC3E}">
        <p14:creationId xmlns:p14="http://schemas.microsoft.com/office/powerpoint/2010/main" val="4067008360"/>
      </p:ext>
    </p:extLst>
  </p:cSld>
  <p:clrMapOvr>
    <a:masterClrMapping/>
  </p:clrMapOvr>
</p:sld>
</file>

<file path=ppt/slides/slide3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9/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Total Fromage | Boursin | Intermarche Proxi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11041532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358</a:t>
            </a:fld>
            <a:endParaRPr lang="en-US"/>
          </a:p>
        </p:txBody>
      </p:sp>
    </p:spTree>
    <p:extLst>
      <p:ext uri="{BB962C8B-B14F-4D97-AF65-F5344CB8AC3E}">
        <p14:creationId xmlns:p14="http://schemas.microsoft.com/office/powerpoint/2010/main" val="4031098464"/>
      </p:ext>
    </p:extLst>
  </p:cSld>
  <p:clrMapOvr>
    <a:masterClrMapping/>
  </p:clrMapOvr>
</p:sld>
</file>

<file path=ppt/slides/slide3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9/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Soft Cheese | Kiri | Carrefour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11041532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359</a:t>
            </a:fld>
            <a:endParaRPr lang="en-US"/>
          </a:p>
        </p:txBody>
      </p:sp>
    </p:spTree>
    <p:extLst>
      <p:ext uri="{BB962C8B-B14F-4D97-AF65-F5344CB8AC3E}">
        <p14:creationId xmlns:p14="http://schemas.microsoft.com/office/powerpoint/2010/main" val="3766876416"/>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9/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Enfant | Carrefour Supermarket + Drive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36</a:t>
            </a:fld>
            <a:endParaRPr lang="en-US"/>
          </a:p>
        </p:txBody>
      </p:sp>
    </p:spTree>
    <p:extLst>
      <p:ext uri="{BB962C8B-B14F-4D97-AF65-F5344CB8AC3E}">
        <p14:creationId xmlns:p14="http://schemas.microsoft.com/office/powerpoint/2010/main" val="1572906057"/>
      </p:ext>
    </p:extLst>
  </p:cSld>
  <p:clrMapOvr>
    <a:masterClrMapping/>
  </p:clrMapOvr>
</p:sld>
</file>

<file path=ppt/slides/slide3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9/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Soft Cheese | La Vache Qui Rit | Carrefour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11041532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360</a:t>
            </a:fld>
            <a:endParaRPr lang="en-US"/>
          </a:p>
        </p:txBody>
      </p:sp>
    </p:spTree>
    <p:extLst>
      <p:ext uri="{BB962C8B-B14F-4D97-AF65-F5344CB8AC3E}">
        <p14:creationId xmlns:p14="http://schemas.microsoft.com/office/powerpoint/2010/main" val="892885929"/>
      </p:ext>
    </p:extLst>
  </p:cSld>
  <p:clrMapOvr>
    <a:masterClrMapping/>
  </p:clrMapOvr>
</p:sld>
</file>

<file path=ppt/slides/slide3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9/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Soft Cheese | Boursin | Carrefour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11041532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361</a:t>
            </a:fld>
            <a:endParaRPr lang="en-US"/>
          </a:p>
        </p:txBody>
      </p:sp>
    </p:spTree>
    <p:extLst>
      <p:ext uri="{BB962C8B-B14F-4D97-AF65-F5344CB8AC3E}">
        <p14:creationId xmlns:p14="http://schemas.microsoft.com/office/powerpoint/2010/main" val="3233382019"/>
      </p:ext>
    </p:extLst>
  </p:cSld>
  <p:clrMapOvr>
    <a:masterClrMapping/>
  </p:clrMapOvr>
</p:sld>
</file>

<file path=ppt/slides/slide3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9/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Soft Cheese | Kiri | Intermarche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11041532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362</a:t>
            </a:fld>
            <a:endParaRPr lang="en-US"/>
          </a:p>
        </p:txBody>
      </p:sp>
    </p:spTree>
    <p:extLst>
      <p:ext uri="{BB962C8B-B14F-4D97-AF65-F5344CB8AC3E}">
        <p14:creationId xmlns:p14="http://schemas.microsoft.com/office/powerpoint/2010/main" val="513269984"/>
      </p:ext>
    </p:extLst>
  </p:cSld>
  <p:clrMapOvr>
    <a:masterClrMapping/>
  </p:clrMapOvr>
</p:sld>
</file>

<file path=ppt/slides/slide3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9/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Soft Cheese | La Vache Qui Rit | Intermarche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11041532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363</a:t>
            </a:fld>
            <a:endParaRPr lang="en-US"/>
          </a:p>
        </p:txBody>
      </p:sp>
    </p:spTree>
    <p:extLst>
      <p:ext uri="{BB962C8B-B14F-4D97-AF65-F5344CB8AC3E}">
        <p14:creationId xmlns:p14="http://schemas.microsoft.com/office/powerpoint/2010/main" val="711017090"/>
      </p:ext>
    </p:extLst>
  </p:cSld>
  <p:clrMapOvr>
    <a:masterClrMapping/>
  </p:clrMapOvr>
</p:sld>
</file>

<file path=ppt/slides/slide3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9/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Soft Cheese | Boursin | Intermarche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11041532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364</a:t>
            </a:fld>
            <a:endParaRPr lang="en-US"/>
          </a:p>
        </p:txBody>
      </p:sp>
    </p:spTree>
    <p:extLst>
      <p:ext uri="{BB962C8B-B14F-4D97-AF65-F5344CB8AC3E}">
        <p14:creationId xmlns:p14="http://schemas.microsoft.com/office/powerpoint/2010/main" val="470238010"/>
      </p:ext>
    </p:extLst>
  </p:cSld>
  <p:clrMapOvr>
    <a:masterClrMapping/>
  </p:clrMapOvr>
</p:sld>
</file>

<file path=ppt/slides/slide3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9/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Soft Cheese | Kiri | Carrefour Hyper + Drive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11041532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365</a:t>
            </a:fld>
            <a:endParaRPr lang="en-US"/>
          </a:p>
        </p:txBody>
      </p:sp>
    </p:spTree>
    <p:extLst>
      <p:ext uri="{BB962C8B-B14F-4D97-AF65-F5344CB8AC3E}">
        <p14:creationId xmlns:p14="http://schemas.microsoft.com/office/powerpoint/2010/main" val="2678320781"/>
      </p:ext>
    </p:extLst>
  </p:cSld>
  <p:clrMapOvr>
    <a:masterClrMapping/>
  </p:clrMapOvr>
</p:sld>
</file>

<file path=ppt/slides/slide3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9/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Soft Cheese | La Vache Qui Rit | Carrefour Hyper + Drive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11041532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366</a:t>
            </a:fld>
            <a:endParaRPr lang="en-US"/>
          </a:p>
        </p:txBody>
      </p:sp>
    </p:spTree>
    <p:extLst>
      <p:ext uri="{BB962C8B-B14F-4D97-AF65-F5344CB8AC3E}">
        <p14:creationId xmlns:p14="http://schemas.microsoft.com/office/powerpoint/2010/main" val="3978675707"/>
      </p:ext>
    </p:extLst>
  </p:cSld>
  <p:clrMapOvr>
    <a:masterClrMapping/>
  </p:clrMapOvr>
</p:sld>
</file>

<file path=ppt/slides/slide3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9/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Soft Cheese | Boursin | Carrefour Hyper + Drive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11041532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367</a:t>
            </a:fld>
            <a:endParaRPr lang="en-US"/>
          </a:p>
        </p:txBody>
      </p:sp>
    </p:spTree>
    <p:extLst>
      <p:ext uri="{BB962C8B-B14F-4D97-AF65-F5344CB8AC3E}">
        <p14:creationId xmlns:p14="http://schemas.microsoft.com/office/powerpoint/2010/main" val="2185010928"/>
      </p:ext>
    </p:extLst>
  </p:cSld>
  <p:clrMapOvr>
    <a:masterClrMapping/>
  </p:clrMapOvr>
</p:sld>
</file>

<file path=ppt/slides/slide3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9/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Soft Cheese | Kiri | Carrefour Supermarket + Drive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11041532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368</a:t>
            </a:fld>
            <a:endParaRPr lang="en-US"/>
          </a:p>
        </p:txBody>
      </p:sp>
    </p:spTree>
    <p:extLst>
      <p:ext uri="{BB962C8B-B14F-4D97-AF65-F5344CB8AC3E}">
        <p14:creationId xmlns:p14="http://schemas.microsoft.com/office/powerpoint/2010/main" val="4119982433"/>
      </p:ext>
    </p:extLst>
  </p:cSld>
  <p:clrMapOvr>
    <a:masterClrMapping/>
  </p:clrMapOvr>
</p:sld>
</file>

<file path=ppt/slides/slide3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9/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Soft Cheese | La Vache Qui Rit | Carrefour Supermarket + Drive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11041532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369</a:t>
            </a:fld>
            <a:endParaRPr lang="en-US"/>
          </a:p>
        </p:txBody>
      </p:sp>
    </p:spTree>
    <p:extLst>
      <p:ext uri="{BB962C8B-B14F-4D97-AF65-F5344CB8AC3E}">
        <p14:creationId xmlns:p14="http://schemas.microsoft.com/office/powerpoint/2010/main" val="3679480887"/>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9/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Enfant | Carrefour Proximite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37</a:t>
            </a:fld>
            <a:endParaRPr lang="en-US"/>
          </a:p>
        </p:txBody>
      </p:sp>
    </p:spTree>
    <p:extLst>
      <p:ext uri="{BB962C8B-B14F-4D97-AF65-F5344CB8AC3E}">
        <p14:creationId xmlns:p14="http://schemas.microsoft.com/office/powerpoint/2010/main" val="1987799178"/>
      </p:ext>
    </p:extLst>
  </p:cSld>
  <p:clrMapOvr>
    <a:masterClrMapping/>
  </p:clrMapOvr>
</p:sld>
</file>

<file path=ppt/slides/slide3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9/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Soft Cheese | Boursin | Carrefour Supermarket + Drive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11041532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370</a:t>
            </a:fld>
            <a:endParaRPr lang="en-US"/>
          </a:p>
        </p:txBody>
      </p:sp>
    </p:spTree>
    <p:extLst>
      <p:ext uri="{BB962C8B-B14F-4D97-AF65-F5344CB8AC3E}">
        <p14:creationId xmlns:p14="http://schemas.microsoft.com/office/powerpoint/2010/main" val="1072366488"/>
      </p:ext>
    </p:extLst>
  </p:cSld>
  <p:clrMapOvr>
    <a:masterClrMapping/>
  </p:clrMapOvr>
</p:sld>
</file>

<file path=ppt/slides/slide3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9/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Soft Cheese | Kiri | Carrefour Proximite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11041532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371</a:t>
            </a:fld>
            <a:endParaRPr lang="en-US"/>
          </a:p>
        </p:txBody>
      </p:sp>
    </p:spTree>
    <p:extLst>
      <p:ext uri="{BB962C8B-B14F-4D97-AF65-F5344CB8AC3E}">
        <p14:creationId xmlns:p14="http://schemas.microsoft.com/office/powerpoint/2010/main" val="3483108140"/>
      </p:ext>
    </p:extLst>
  </p:cSld>
  <p:clrMapOvr>
    <a:masterClrMapping/>
  </p:clrMapOvr>
</p:sld>
</file>

<file path=ppt/slides/slide3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9/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Soft Cheese | La Vache Qui Rit | Carrefour Proximite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11041532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372</a:t>
            </a:fld>
            <a:endParaRPr lang="en-US"/>
          </a:p>
        </p:txBody>
      </p:sp>
    </p:spTree>
    <p:extLst>
      <p:ext uri="{BB962C8B-B14F-4D97-AF65-F5344CB8AC3E}">
        <p14:creationId xmlns:p14="http://schemas.microsoft.com/office/powerpoint/2010/main" val="2280346128"/>
      </p:ext>
    </p:extLst>
  </p:cSld>
  <p:clrMapOvr>
    <a:masterClrMapping/>
  </p:clrMapOvr>
</p:sld>
</file>

<file path=ppt/slides/slide3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9/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Soft Cheese | Boursin | Carrefour Proximite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11041532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373</a:t>
            </a:fld>
            <a:endParaRPr lang="en-US"/>
          </a:p>
        </p:txBody>
      </p:sp>
    </p:spTree>
    <p:extLst>
      <p:ext uri="{BB962C8B-B14F-4D97-AF65-F5344CB8AC3E}">
        <p14:creationId xmlns:p14="http://schemas.microsoft.com/office/powerpoint/2010/main" val="2044254000"/>
      </p:ext>
    </p:extLst>
  </p:cSld>
  <p:clrMapOvr>
    <a:masterClrMapping/>
  </p:clrMapOvr>
</p:sld>
</file>

<file path=ppt/slides/slide3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9/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Soft Cheese | Kiri | Intermarche Super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11041532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374</a:t>
            </a:fld>
            <a:endParaRPr lang="en-US"/>
          </a:p>
        </p:txBody>
      </p:sp>
    </p:spTree>
    <p:extLst>
      <p:ext uri="{BB962C8B-B14F-4D97-AF65-F5344CB8AC3E}">
        <p14:creationId xmlns:p14="http://schemas.microsoft.com/office/powerpoint/2010/main" val="3509269669"/>
      </p:ext>
    </p:extLst>
  </p:cSld>
  <p:clrMapOvr>
    <a:masterClrMapping/>
  </p:clrMapOvr>
</p:sld>
</file>

<file path=ppt/slides/slide3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9/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Soft Cheese | La Vache Qui Rit | Intermarche Super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11041532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375</a:t>
            </a:fld>
            <a:endParaRPr lang="en-US"/>
          </a:p>
        </p:txBody>
      </p:sp>
    </p:spTree>
    <p:extLst>
      <p:ext uri="{BB962C8B-B14F-4D97-AF65-F5344CB8AC3E}">
        <p14:creationId xmlns:p14="http://schemas.microsoft.com/office/powerpoint/2010/main" val="1903594524"/>
      </p:ext>
    </p:extLst>
  </p:cSld>
  <p:clrMapOvr>
    <a:masterClrMapping/>
  </p:clrMapOvr>
</p:sld>
</file>

<file path=ppt/slides/slide3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9/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Soft Cheese | Boursin | Intermarche Super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11041532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376</a:t>
            </a:fld>
            <a:endParaRPr lang="en-US"/>
          </a:p>
        </p:txBody>
      </p:sp>
    </p:spTree>
    <p:extLst>
      <p:ext uri="{BB962C8B-B14F-4D97-AF65-F5344CB8AC3E}">
        <p14:creationId xmlns:p14="http://schemas.microsoft.com/office/powerpoint/2010/main" val="843781267"/>
      </p:ext>
    </p:extLst>
  </p:cSld>
  <p:clrMapOvr>
    <a:masterClrMapping/>
  </p:clrMapOvr>
</p:sld>
</file>

<file path=ppt/slides/slide3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9/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Soft Cheese | Kiri | Intermarche Hyper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11041532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377</a:t>
            </a:fld>
            <a:endParaRPr lang="en-US"/>
          </a:p>
        </p:txBody>
      </p:sp>
    </p:spTree>
    <p:extLst>
      <p:ext uri="{BB962C8B-B14F-4D97-AF65-F5344CB8AC3E}">
        <p14:creationId xmlns:p14="http://schemas.microsoft.com/office/powerpoint/2010/main" val="3298883649"/>
      </p:ext>
    </p:extLst>
  </p:cSld>
  <p:clrMapOvr>
    <a:masterClrMapping/>
  </p:clrMapOvr>
</p:sld>
</file>

<file path=ppt/slides/slide3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9/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Soft Cheese | La Vache Qui Rit | Intermarche Hyper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11041532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378</a:t>
            </a:fld>
            <a:endParaRPr lang="en-US"/>
          </a:p>
        </p:txBody>
      </p:sp>
    </p:spTree>
    <p:extLst>
      <p:ext uri="{BB962C8B-B14F-4D97-AF65-F5344CB8AC3E}">
        <p14:creationId xmlns:p14="http://schemas.microsoft.com/office/powerpoint/2010/main" val="2211252749"/>
      </p:ext>
    </p:extLst>
  </p:cSld>
  <p:clrMapOvr>
    <a:masterClrMapping/>
  </p:clrMapOvr>
</p:sld>
</file>

<file path=ppt/slides/slide3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9/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Soft Cheese | Boursin | Intermarche Hyper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11041532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379</a:t>
            </a:fld>
            <a:endParaRPr lang="en-US"/>
          </a:p>
        </p:txBody>
      </p:sp>
    </p:spTree>
    <p:extLst>
      <p:ext uri="{BB962C8B-B14F-4D97-AF65-F5344CB8AC3E}">
        <p14:creationId xmlns:p14="http://schemas.microsoft.com/office/powerpoint/2010/main" val="3670920453"/>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9/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Enfant | Intermarche Super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38</a:t>
            </a:fld>
            <a:endParaRPr lang="en-US"/>
          </a:p>
        </p:txBody>
      </p:sp>
    </p:spTree>
    <p:extLst>
      <p:ext uri="{BB962C8B-B14F-4D97-AF65-F5344CB8AC3E}">
        <p14:creationId xmlns:p14="http://schemas.microsoft.com/office/powerpoint/2010/main" val="181800465"/>
      </p:ext>
    </p:extLst>
  </p:cSld>
  <p:clrMapOvr>
    <a:masterClrMapping/>
  </p:clrMapOvr>
</p:sld>
</file>

<file path=ppt/slides/slide3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9/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Soft Cheese | Kiri | Intermarche Proxi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11041532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380</a:t>
            </a:fld>
            <a:endParaRPr lang="en-US"/>
          </a:p>
        </p:txBody>
      </p:sp>
    </p:spTree>
    <p:extLst>
      <p:ext uri="{BB962C8B-B14F-4D97-AF65-F5344CB8AC3E}">
        <p14:creationId xmlns:p14="http://schemas.microsoft.com/office/powerpoint/2010/main" val="3425073381"/>
      </p:ext>
    </p:extLst>
  </p:cSld>
  <p:clrMapOvr>
    <a:masterClrMapping/>
  </p:clrMapOvr>
</p:sld>
</file>

<file path=ppt/slides/slide3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9/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Soft Cheese | La Vache Qui Rit | Intermarche Proxi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11041532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381</a:t>
            </a:fld>
            <a:endParaRPr lang="en-US"/>
          </a:p>
        </p:txBody>
      </p:sp>
    </p:spTree>
    <p:extLst>
      <p:ext uri="{BB962C8B-B14F-4D97-AF65-F5344CB8AC3E}">
        <p14:creationId xmlns:p14="http://schemas.microsoft.com/office/powerpoint/2010/main" val="4289092671"/>
      </p:ext>
    </p:extLst>
  </p:cSld>
  <p:clrMapOvr>
    <a:masterClrMapping/>
  </p:clrMapOvr>
</p:sld>
</file>

<file path=ppt/slides/slide3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9/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Soft Cheese | Boursin | Intermarche Proxi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11041532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382</a:t>
            </a:fld>
            <a:endParaRPr lang="en-US"/>
          </a:p>
        </p:txBody>
      </p:sp>
    </p:spTree>
    <p:extLst>
      <p:ext uri="{BB962C8B-B14F-4D97-AF65-F5344CB8AC3E}">
        <p14:creationId xmlns:p14="http://schemas.microsoft.com/office/powerpoint/2010/main" val="2987329381"/>
      </p:ext>
    </p:extLst>
  </p:cSld>
  <p:clrMapOvr>
    <a:masterClrMapping/>
  </p:clrMapOvr>
</p:sld>
</file>

<file path=ppt/slides/slide3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9/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Aperitif | Boursin | Carrefour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11041532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383</a:t>
            </a:fld>
            <a:endParaRPr lang="en-US"/>
          </a:p>
        </p:txBody>
      </p:sp>
    </p:spTree>
    <p:extLst>
      <p:ext uri="{BB962C8B-B14F-4D97-AF65-F5344CB8AC3E}">
        <p14:creationId xmlns:p14="http://schemas.microsoft.com/office/powerpoint/2010/main" val="3565534928"/>
      </p:ext>
    </p:extLst>
  </p:cSld>
  <p:clrMapOvr>
    <a:masterClrMapping/>
  </p:clrMapOvr>
</p:sld>
</file>

<file path=ppt/slides/slide3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9/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Aperitif | Boursin | Intermarche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11041532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384</a:t>
            </a:fld>
            <a:endParaRPr lang="en-US"/>
          </a:p>
        </p:txBody>
      </p:sp>
    </p:spTree>
    <p:extLst>
      <p:ext uri="{BB962C8B-B14F-4D97-AF65-F5344CB8AC3E}">
        <p14:creationId xmlns:p14="http://schemas.microsoft.com/office/powerpoint/2010/main" val="755563868"/>
      </p:ext>
    </p:extLst>
  </p:cSld>
  <p:clrMapOvr>
    <a:masterClrMapping/>
  </p:clrMapOvr>
</p:sld>
</file>

<file path=ppt/slides/slide3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9/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Aperitif | Boursin | Carrefour Hyper + Drive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11041532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385</a:t>
            </a:fld>
            <a:endParaRPr lang="en-US"/>
          </a:p>
        </p:txBody>
      </p:sp>
    </p:spTree>
    <p:extLst>
      <p:ext uri="{BB962C8B-B14F-4D97-AF65-F5344CB8AC3E}">
        <p14:creationId xmlns:p14="http://schemas.microsoft.com/office/powerpoint/2010/main" val="981429092"/>
      </p:ext>
    </p:extLst>
  </p:cSld>
  <p:clrMapOvr>
    <a:masterClrMapping/>
  </p:clrMapOvr>
</p:sld>
</file>

<file path=ppt/slides/slide3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9/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Aperitif | Boursin | Carrefour Supermarket + Drive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11041532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386</a:t>
            </a:fld>
            <a:endParaRPr lang="en-US"/>
          </a:p>
        </p:txBody>
      </p:sp>
    </p:spTree>
    <p:extLst>
      <p:ext uri="{BB962C8B-B14F-4D97-AF65-F5344CB8AC3E}">
        <p14:creationId xmlns:p14="http://schemas.microsoft.com/office/powerpoint/2010/main" val="3885201537"/>
      </p:ext>
    </p:extLst>
  </p:cSld>
  <p:clrMapOvr>
    <a:masterClrMapping/>
  </p:clrMapOvr>
</p:sld>
</file>

<file path=ppt/slides/slide3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9/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Aperitif | Boursin | Carrefour Proximite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11041532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387</a:t>
            </a:fld>
            <a:endParaRPr lang="en-US"/>
          </a:p>
        </p:txBody>
      </p:sp>
    </p:spTree>
    <p:extLst>
      <p:ext uri="{BB962C8B-B14F-4D97-AF65-F5344CB8AC3E}">
        <p14:creationId xmlns:p14="http://schemas.microsoft.com/office/powerpoint/2010/main" val="3129104982"/>
      </p:ext>
    </p:extLst>
  </p:cSld>
  <p:clrMapOvr>
    <a:masterClrMapping/>
  </p:clrMapOvr>
</p:sld>
</file>

<file path=ppt/slides/slide3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9/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Aperitif | Boursin | Intermarche Super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11041532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388</a:t>
            </a:fld>
            <a:endParaRPr lang="en-US"/>
          </a:p>
        </p:txBody>
      </p:sp>
    </p:spTree>
    <p:extLst>
      <p:ext uri="{BB962C8B-B14F-4D97-AF65-F5344CB8AC3E}">
        <p14:creationId xmlns:p14="http://schemas.microsoft.com/office/powerpoint/2010/main" val="2080104899"/>
      </p:ext>
    </p:extLst>
  </p:cSld>
  <p:clrMapOvr>
    <a:masterClrMapping/>
  </p:clrMapOvr>
</p:sld>
</file>

<file path=ppt/slides/slide3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9/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Aperitif | Boursin | Intermarche Hyper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11041532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389</a:t>
            </a:fld>
            <a:endParaRPr lang="en-US"/>
          </a:p>
        </p:txBody>
      </p:sp>
    </p:spTree>
    <p:extLst>
      <p:ext uri="{BB962C8B-B14F-4D97-AF65-F5344CB8AC3E}">
        <p14:creationId xmlns:p14="http://schemas.microsoft.com/office/powerpoint/2010/main" val="3762727106"/>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9/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Enfant | Intermarche Hyper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39</a:t>
            </a:fld>
            <a:endParaRPr lang="en-US"/>
          </a:p>
        </p:txBody>
      </p:sp>
    </p:spTree>
    <p:extLst>
      <p:ext uri="{BB962C8B-B14F-4D97-AF65-F5344CB8AC3E}">
        <p14:creationId xmlns:p14="http://schemas.microsoft.com/office/powerpoint/2010/main" val="3677932955"/>
      </p:ext>
    </p:extLst>
  </p:cSld>
  <p:clrMapOvr>
    <a:masterClrMapping/>
  </p:clrMapOvr>
</p:sld>
</file>

<file path=ppt/slides/slide3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9/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Aperitif | Boursin | Intermarche Proxi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11041532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390</a:t>
            </a:fld>
            <a:endParaRPr lang="en-US"/>
          </a:p>
        </p:txBody>
      </p:sp>
    </p:spTree>
    <p:extLst>
      <p:ext uri="{BB962C8B-B14F-4D97-AF65-F5344CB8AC3E}">
        <p14:creationId xmlns:p14="http://schemas.microsoft.com/office/powerpoint/2010/main" val="163940122"/>
      </p:ext>
    </p:extLst>
  </p:cSld>
  <p:clrMapOvr>
    <a:masterClrMapping/>
  </p:clrMapOvr>
</p:sld>
</file>

<file path=ppt/slides/slide3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9/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Ingredient A Chaud | La Vache Qui Rit | Carrefour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11041532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391</a:t>
            </a:fld>
            <a:endParaRPr lang="en-US"/>
          </a:p>
        </p:txBody>
      </p:sp>
    </p:spTree>
    <p:extLst>
      <p:ext uri="{BB962C8B-B14F-4D97-AF65-F5344CB8AC3E}">
        <p14:creationId xmlns:p14="http://schemas.microsoft.com/office/powerpoint/2010/main" val="319075516"/>
      </p:ext>
    </p:extLst>
  </p:cSld>
  <p:clrMapOvr>
    <a:masterClrMapping/>
  </p:clrMapOvr>
</p:sld>
</file>

<file path=ppt/slides/slide3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9/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Ingredient A Chaud | Boursin | Carrefour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11041532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392</a:t>
            </a:fld>
            <a:endParaRPr lang="en-US"/>
          </a:p>
        </p:txBody>
      </p:sp>
    </p:spTree>
    <p:extLst>
      <p:ext uri="{BB962C8B-B14F-4D97-AF65-F5344CB8AC3E}">
        <p14:creationId xmlns:p14="http://schemas.microsoft.com/office/powerpoint/2010/main" val="3042539906"/>
      </p:ext>
    </p:extLst>
  </p:cSld>
  <p:clrMapOvr>
    <a:masterClrMapping/>
  </p:clrMapOvr>
</p:sld>
</file>

<file path=ppt/slides/slide3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9/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Ingredient A Chaud | Boursin | Intermarche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11041532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393</a:t>
            </a:fld>
            <a:endParaRPr lang="en-US"/>
          </a:p>
        </p:txBody>
      </p:sp>
    </p:spTree>
    <p:extLst>
      <p:ext uri="{BB962C8B-B14F-4D97-AF65-F5344CB8AC3E}">
        <p14:creationId xmlns:p14="http://schemas.microsoft.com/office/powerpoint/2010/main" val="3328002538"/>
      </p:ext>
    </p:extLst>
  </p:cSld>
  <p:clrMapOvr>
    <a:masterClrMapping/>
  </p:clrMapOvr>
</p:sld>
</file>

<file path=ppt/slides/slide3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9/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Ingredient A Chaud | La Vache Qui Rit | Carrefour Hyper + Drive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11041532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394</a:t>
            </a:fld>
            <a:endParaRPr lang="en-US"/>
          </a:p>
        </p:txBody>
      </p:sp>
    </p:spTree>
    <p:extLst>
      <p:ext uri="{BB962C8B-B14F-4D97-AF65-F5344CB8AC3E}">
        <p14:creationId xmlns:p14="http://schemas.microsoft.com/office/powerpoint/2010/main" val="2679441692"/>
      </p:ext>
    </p:extLst>
  </p:cSld>
  <p:clrMapOvr>
    <a:masterClrMapping/>
  </p:clrMapOvr>
</p:sld>
</file>

<file path=ppt/slides/slide3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9/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Ingredient A Chaud | Boursin | Carrefour Hyper + Drive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11041532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395</a:t>
            </a:fld>
            <a:endParaRPr lang="en-US"/>
          </a:p>
        </p:txBody>
      </p:sp>
    </p:spTree>
    <p:extLst>
      <p:ext uri="{BB962C8B-B14F-4D97-AF65-F5344CB8AC3E}">
        <p14:creationId xmlns:p14="http://schemas.microsoft.com/office/powerpoint/2010/main" val="948373155"/>
      </p:ext>
    </p:extLst>
  </p:cSld>
  <p:clrMapOvr>
    <a:masterClrMapping/>
  </p:clrMapOvr>
</p:sld>
</file>

<file path=ppt/slides/slide3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9/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Ingredient A Chaud | La Vache Qui Rit | Carrefour Supermarket + Drive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11041532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396</a:t>
            </a:fld>
            <a:endParaRPr lang="en-US"/>
          </a:p>
        </p:txBody>
      </p:sp>
    </p:spTree>
    <p:extLst>
      <p:ext uri="{BB962C8B-B14F-4D97-AF65-F5344CB8AC3E}">
        <p14:creationId xmlns:p14="http://schemas.microsoft.com/office/powerpoint/2010/main" val="1244787030"/>
      </p:ext>
    </p:extLst>
  </p:cSld>
  <p:clrMapOvr>
    <a:masterClrMapping/>
  </p:clrMapOvr>
</p:sld>
</file>

<file path=ppt/slides/slide3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9/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Ingredient A Chaud | Boursin | Carrefour Supermarket + Drive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11041532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397</a:t>
            </a:fld>
            <a:endParaRPr lang="en-US"/>
          </a:p>
        </p:txBody>
      </p:sp>
    </p:spTree>
    <p:extLst>
      <p:ext uri="{BB962C8B-B14F-4D97-AF65-F5344CB8AC3E}">
        <p14:creationId xmlns:p14="http://schemas.microsoft.com/office/powerpoint/2010/main" val="111694075"/>
      </p:ext>
    </p:extLst>
  </p:cSld>
  <p:clrMapOvr>
    <a:masterClrMapping/>
  </p:clrMapOvr>
</p:sld>
</file>

<file path=ppt/slides/slide3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9/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Ingredient A Chaud | La Vache Qui Rit | Carrefour Proximite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11041532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398</a:t>
            </a:fld>
            <a:endParaRPr lang="en-US"/>
          </a:p>
        </p:txBody>
      </p:sp>
    </p:spTree>
    <p:extLst>
      <p:ext uri="{BB962C8B-B14F-4D97-AF65-F5344CB8AC3E}">
        <p14:creationId xmlns:p14="http://schemas.microsoft.com/office/powerpoint/2010/main" val="1782941305"/>
      </p:ext>
    </p:extLst>
  </p:cSld>
  <p:clrMapOvr>
    <a:masterClrMapping/>
  </p:clrMapOvr>
</p:sld>
</file>

<file path=ppt/slides/slide3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9/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Ingredient A Chaud | Boursin | Carrefour Proximite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11041532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399</a:t>
            </a:fld>
            <a:endParaRPr lang="en-US"/>
          </a:p>
        </p:txBody>
      </p:sp>
    </p:spTree>
    <p:extLst>
      <p:ext uri="{BB962C8B-B14F-4D97-AF65-F5344CB8AC3E}">
        <p14:creationId xmlns:p14="http://schemas.microsoft.com/office/powerpoint/2010/main" val="227316330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9/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Total Fromage | Carrefour Supermarket + Drive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4</a:t>
            </a:fld>
            <a:endParaRPr lang="en-US"/>
          </a:p>
        </p:txBody>
      </p:sp>
    </p:spTree>
    <p:extLst>
      <p:ext uri="{BB962C8B-B14F-4D97-AF65-F5344CB8AC3E}">
        <p14:creationId xmlns:p14="http://schemas.microsoft.com/office/powerpoint/2010/main" val="31663134"/>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9/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Enfant | Intermarche Proxi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40</a:t>
            </a:fld>
            <a:endParaRPr lang="en-US"/>
          </a:p>
        </p:txBody>
      </p:sp>
    </p:spTree>
    <p:extLst>
      <p:ext uri="{BB962C8B-B14F-4D97-AF65-F5344CB8AC3E}">
        <p14:creationId xmlns:p14="http://schemas.microsoft.com/office/powerpoint/2010/main" val="2457874484"/>
      </p:ext>
    </p:extLst>
  </p:cSld>
  <p:clrMapOvr>
    <a:masterClrMapping/>
  </p:clrMapOvr>
</p:sld>
</file>

<file path=ppt/slides/slide4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9/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Ingredient A Chaud | Boursin | Intermarche Super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11041532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400</a:t>
            </a:fld>
            <a:endParaRPr lang="en-US"/>
          </a:p>
        </p:txBody>
      </p:sp>
    </p:spTree>
    <p:extLst>
      <p:ext uri="{BB962C8B-B14F-4D97-AF65-F5344CB8AC3E}">
        <p14:creationId xmlns:p14="http://schemas.microsoft.com/office/powerpoint/2010/main" val="1351853500"/>
      </p:ext>
    </p:extLst>
  </p:cSld>
  <p:clrMapOvr>
    <a:masterClrMapping/>
  </p:clrMapOvr>
</p:sld>
</file>

<file path=ppt/slides/slide4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9/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Ingredient A Chaud | Boursin | Intermarche Hyper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11041532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401</a:t>
            </a:fld>
            <a:endParaRPr lang="en-US"/>
          </a:p>
        </p:txBody>
      </p:sp>
    </p:spTree>
    <p:extLst>
      <p:ext uri="{BB962C8B-B14F-4D97-AF65-F5344CB8AC3E}">
        <p14:creationId xmlns:p14="http://schemas.microsoft.com/office/powerpoint/2010/main" val="1661590155"/>
      </p:ext>
    </p:extLst>
  </p:cSld>
  <p:clrMapOvr>
    <a:masterClrMapping/>
  </p:clrMapOvr>
</p:sld>
</file>

<file path=ppt/slides/slide4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9/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Ingredient A Chaud | Boursin | Intermarche Proxi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11041532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402</a:t>
            </a:fld>
            <a:endParaRPr lang="en-US"/>
          </a:p>
        </p:txBody>
      </p:sp>
    </p:spTree>
    <p:extLst>
      <p:ext uri="{BB962C8B-B14F-4D97-AF65-F5344CB8AC3E}">
        <p14:creationId xmlns:p14="http://schemas.microsoft.com/office/powerpoint/2010/main" val="1501535987"/>
      </p:ext>
    </p:extLst>
  </p:cSld>
  <p:clrMapOvr>
    <a:masterClrMapping/>
  </p:clrMapOvr>
</p:sld>
</file>

<file path=ppt/slides/slide4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9/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Enfant | Kiri | Carrefour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11041532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403</a:t>
            </a:fld>
            <a:endParaRPr lang="en-US"/>
          </a:p>
        </p:txBody>
      </p:sp>
    </p:spTree>
    <p:extLst>
      <p:ext uri="{BB962C8B-B14F-4D97-AF65-F5344CB8AC3E}">
        <p14:creationId xmlns:p14="http://schemas.microsoft.com/office/powerpoint/2010/main" val="3974969767"/>
      </p:ext>
    </p:extLst>
  </p:cSld>
  <p:clrMapOvr>
    <a:masterClrMapping/>
  </p:clrMapOvr>
</p:sld>
</file>

<file path=ppt/slides/slide4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9/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Enfant | La Vache Qui Rit | Carrefour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11041532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404</a:t>
            </a:fld>
            <a:endParaRPr lang="en-US"/>
          </a:p>
        </p:txBody>
      </p:sp>
    </p:spTree>
    <p:extLst>
      <p:ext uri="{BB962C8B-B14F-4D97-AF65-F5344CB8AC3E}">
        <p14:creationId xmlns:p14="http://schemas.microsoft.com/office/powerpoint/2010/main" val="3190524598"/>
      </p:ext>
    </p:extLst>
  </p:cSld>
  <p:clrMapOvr>
    <a:masterClrMapping/>
  </p:clrMapOvr>
</p:sld>
</file>

<file path=ppt/slides/slide4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9/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Enfant | Kiri | Intermarche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11041532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405</a:t>
            </a:fld>
            <a:endParaRPr lang="en-US"/>
          </a:p>
        </p:txBody>
      </p:sp>
    </p:spTree>
    <p:extLst>
      <p:ext uri="{BB962C8B-B14F-4D97-AF65-F5344CB8AC3E}">
        <p14:creationId xmlns:p14="http://schemas.microsoft.com/office/powerpoint/2010/main" val="703193568"/>
      </p:ext>
    </p:extLst>
  </p:cSld>
  <p:clrMapOvr>
    <a:masterClrMapping/>
  </p:clrMapOvr>
</p:sld>
</file>

<file path=ppt/slides/slide4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9/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Enfant | La Vache Qui Rit | Intermarche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11041532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406</a:t>
            </a:fld>
            <a:endParaRPr lang="en-US"/>
          </a:p>
        </p:txBody>
      </p:sp>
    </p:spTree>
    <p:extLst>
      <p:ext uri="{BB962C8B-B14F-4D97-AF65-F5344CB8AC3E}">
        <p14:creationId xmlns:p14="http://schemas.microsoft.com/office/powerpoint/2010/main" val="3512261312"/>
      </p:ext>
    </p:extLst>
  </p:cSld>
  <p:clrMapOvr>
    <a:masterClrMapping/>
  </p:clrMapOvr>
</p:sld>
</file>

<file path=ppt/slides/slide4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9/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Enfant | Kiri | Carrefour Hyper + Drive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11041532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407</a:t>
            </a:fld>
            <a:endParaRPr lang="en-US"/>
          </a:p>
        </p:txBody>
      </p:sp>
    </p:spTree>
    <p:extLst>
      <p:ext uri="{BB962C8B-B14F-4D97-AF65-F5344CB8AC3E}">
        <p14:creationId xmlns:p14="http://schemas.microsoft.com/office/powerpoint/2010/main" val="3779550496"/>
      </p:ext>
    </p:extLst>
  </p:cSld>
  <p:clrMapOvr>
    <a:masterClrMapping/>
  </p:clrMapOvr>
</p:sld>
</file>

<file path=ppt/slides/slide4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9/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Enfant | La Vache Qui Rit | Carrefour Hyper + Drive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11041532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408</a:t>
            </a:fld>
            <a:endParaRPr lang="en-US"/>
          </a:p>
        </p:txBody>
      </p:sp>
    </p:spTree>
    <p:extLst>
      <p:ext uri="{BB962C8B-B14F-4D97-AF65-F5344CB8AC3E}">
        <p14:creationId xmlns:p14="http://schemas.microsoft.com/office/powerpoint/2010/main" val="3072542511"/>
      </p:ext>
    </p:extLst>
  </p:cSld>
  <p:clrMapOvr>
    <a:masterClrMapping/>
  </p:clrMapOvr>
</p:sld>
</file>

<file path=ppt/slides/slide4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9/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Enfant | Kiri | Carrefour Supermarket + Drive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11041532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409</a:t>
            </a:fld>
            <a:endParaRPr lang="en-US"/>
          </a:p>
        </p:txBody>
      </p:sp>
    </p:spTree>
    <p:extLst>
      <p:ext uri="{BB962C8B-B14F-4D97-AF65-F5344CB8AC3E}">
        <p14:creationId xmlns:p14="http://schemas.microsoft.com/office/powerpoint/2010/main" val="3825023117"/>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9/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Frais A Tartiner | Carrefour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41</a:t>
            </a:fld>
            <a:endParaRPr lang="en-US"/>
          </a:p>
        </p:txBody>
      </p:sp>
    </p:spTree>
    <p:extLst>
      <p:ext uri="{BB962C8B-B14F-4D97-AF65-F5344CB8AC3E}">
        <p14:creationId xmlns:p14="http://schemas.microsoft.com/office/powerpoint/2010/main" val="748651639"/>
      </p:ext>
    </p:extLst>
  </p:cSld>
  <p:clrMapOvr>
    <a:masterClrMapping/>
  </p:clrMapOvr>
</p:sld>
</file>

<file path=ppt/slides/slide4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9/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Enfant | La Vache Qui Rit | Carrefour Supermarket + Drive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11041532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410</a:t>
            </a:fld>
            <a:endParaRPr lang="en-US"/>
          </a:p>
        </p:txBody>
      </p:sp>
    </p:spTree>
    <p:extLst>
      <p:ext uri="{BB962C8B-B14F-4D97-AF65-F5344CB8AC3E}">
        <p14:creationId xmlns:p14="http://schemas.microsoft.com/office/powerpoint/2010/main" val="2429502682"/>
      </p:ext>
    </p:extLst>
  </p:cSld>
  <p:clrMapOvr>
    <a:masterClrMapping/>
  </p:clrMapOvr>
</p:sld>
</file>

<file path=ppt/slides/slide4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9/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Enfant | Kiri | Carrefour Proximite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11041532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411</a:t>
            </a:fld>
            <a:endParaRPr lang="en-US"/>
          </a:p>
        </p:txBody>
      </p:sp>
    </p:spTree>
    <p:extLst>
      <p:ext uri="{BB962C8B-B14F-4D97-AF65-F5344CB8AC3E}">
        <p14:creationId xmlns:p14="http://schemas.microsoft.com/office/powerpoint/2010/main" val="4150620307"/>
      </p:ext>
    </p:extLst>
  </p:cSld>
  <p:clrMapOvr>
    <a:masterClrMapping/>
  </p:clrMapOvr>
</p:sld>
</file>

<file path=ppt/slides/slide4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9/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Enfant | La Vache Qui Rit | Carrefour Proximite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11041532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412</a:t>
            </a:fld>
            <a:endParaRPr lang="en-US"/>
          </a:p>
        </p:txBody>
      </p:sp>
    </p:spTree>
    <p:extLst>
      <p:ext uri="{BB962C8B-B14F-4D97-AF65-F5344CB8AC3E}">
        <p14:creationId xmlns:p14="http://schemas.microsoft.com/office/powerpoint/2010/main" val="1174824905"/>
      </p:ext>
    </p:extLst>
  </p:cSld>
  <p:clrMapOvr>
    <a:masterClrMapping/>
  </p:clrMapOvr>
</p:sld>
</file>

<file path=ppt/slides/slide4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9/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Enfant | Kiri | Intermarche Super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11041532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413</a:t>
            </a:fld>
            <a:endParaRPr lang="en-US"/>
          </a:p>
        </p:txBody>
      </p:sp>
    </p:spTree>
    <p:extLst>
      <p:ext uri="{BB962C8B-B14F-4D97-AF65-F5344CB8AC3E}">
        <p14:creationId xmlns:p14="http://schemas.microsoft.com/office/powerpoint/2010/main" val="2715114955"/>
      </p:ext>
    </p:extLst>
  </p:cSld>
  <p:clrMapOvr>
    <a:masterClrMapping/>
  </p:clrMapOvr>
</p:sld>
</file>

<file path=ppt/slides/slide4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9/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Enfant | La Vache Qui Rit | Intermarche Super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11041532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414</a:t>
            </a:fld>
            <a:endParaRPr lang="en-US"/>
          </a:p>
        </p:txBody>
      </p:sp>
    </p:spTree>
    <p:extLst>
      <p:ext uri="{BB962C8B-B14F-4D97-AF65-F5344CB8AC3E}">
        <p14:creationId xmlns:p14="http://schemas.microsoft.com/office/powerpoint/2010/main" val="35029880"/>
      </p:ext>
    </p:extLst>
  </p:cSld>
  <p:clrMapOvr>
    <a:masterClrMapping/>
  </p:clrMapOvr>
</p:sld>
</file>

<file path=ppt/slides/slide4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9/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Enfant | Kiri | Intermarche Hyper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11041532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415</a:t>
            </a:fld>
            <a:endParaRPr lang="en-US"/>
          </a:p>
        </p:txBody>
      </p:sp>
    </p:spTree>
    <p:extLst>
      <p:ext uri="{BB962C8B-B14F-4D97-AF65-F5344CB8AC3E}">
        <p14:creationId xmlns:p14="http://schemas.microsoft.com/office/powerpoint/2010/main" val="1515341190"/>
      </p:ext>
    </p:extLst>
  </p:cSld>
  <p:clrMapOvr>
    <a:masterClrMapping/>
  </p:clrMapOvr>
</p:sld>
</file>

<file path=ppt/slides/slide4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9/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Enfant | La Vache Qui Rit | Intermarche Hyper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11041532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416</a:t>
            </a:fld>
            <a:endParaRPr lang="en-US"/>
          </a:p>
        </p:txBody>
      </p:sp>
    </p:spTree>
    <p:extLst>
      <p:ext uri="{BB962C8B-B14F-4D97-AF65-F5344CB8AC3E}">
        <p14:creationId xmlns:p14="http://schemas.microsoft.com/office/powerpoint/2010/main" val="2754329948"/>
      </p:ext>
    </p:extLst>
  </p:cSld>
  <p:clrMapOvr>
    <a:masterClrMapping/>
  </p:clrMapOvr>
</p:sld>
</file>

<file path=ppt/slides/slide4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9/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Enfant | Kiri | Intermarche Proxi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11041532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417</a:t>
            </a:fld>
            <a:endParaRPr lang="en-US"/>
          </a:p>
        </p:txBody>
      </p:sp>
    </p:spTree>
    <p:extLst>
      <p:ext uri="{BB962C8B-B14F-4D97-AF65-F5344CB8AC3E}">
        <p14:creationId xmlns:p14="http://schemas.microsoft.com/office/powerpoint/2010/main" val="1679711950"/>
      </p:ext>
    </p:extLst>
  </p:cSld>
  <p:clrMapOvr>
    <a:masterClrMapping/>
  </p:clrMapOvr>
</p:sld>
</file>

<file path=ppt/slides/slide4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9/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Enfant | La Vache Qui Rit | Intermarche Proxi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11041532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418</a:t>
            </a:fld>
            <a:endParaRPr lang="en-US"/>
          </a:p>
        </p:txBody>
      </p:sp>
    </p:spTree>
    <p:extLst>
      <p:ext uri="{BB962C8B-B14F-4D97-AF65-F5344CB8AC3E}">
        <p14:creationId xmlns:p14="http://schemas.microsoft.com/office/powerpoint/2010/main" val="1346072345"/>
      </p:ext>
    </p:extLst>
  </p:cSld>
  <p:clrMapOvr>
    <a:masterClrMapping/>
  </p:clrMapOvr>
</p:sld>
</file>

<file path=ppt/slides/slide4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9/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Frais A Tartiner | Kiri | Carrefour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11041532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419</a:t>
            </a:fld>
            <a:endParaRPr lang="en-US"/>
          </a:p>
        </p:txBody>
      </p:sp>
    </p:spTree>
    <p:extLst>
      <p:ext uri="{BB962C8B-B14F-4D97-AF65-F5344CB8AC3E}">
        <p14:creationId xmlns:p14="http://schemas.microsoft.com/office/powerpoint/2010/main" val="3887514632"/>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9/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Frais A Tartiner | Intermarche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42</a:t>
            </a:fld>
            <a:endParaRPr lang="en-US"/>
          </a:p>
        </p:txBody>
      </p:sp>
    </p:spTree>
    <p:extLst>
      <p:ext uri="{BB962C8B-B14F-4D97-AF65-F5344CB8AC3E}">
        <p14:creationId xmlns:p14="http://schemas.microsoft.com/office/powerpoint/2010/main" val="1854204403"/>
      </p:ext>
    </p:extLst>
  </p:cSld>
  <p:clrMapOvr>
    <a:masterClrMapping/>
  </p:clrMapOvr>
</p:sld>
</file>

<file path=ppt/slides/slide4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9/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Frais A Tartiner | Boursin | Carrefour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11041532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420</a:t>
            </a:fld>
            <a:endParaRPr lang="en-US"/>
          </a:p>
        </p:txBody>
      </p:sp>
    </p:spTree>
    <p:extLst>
      <p:ext uri="{BB962C8B-B14F-4D97-AF65-F5344CB8AC3E}">
        <p14:creationId xmlns:p14="http://schemas.microsoft.com/office/powerpoint/2010/main" val="3626069173"/>
      </p:ext>
    </p:extLst>
  </p:cSld>
  <p:clrMapOvr>
    <a:masterClrMapping/>
  </p:clrMapOvr>
</p:sld>
</file>

<file path=ppt/slides/slide4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9/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Frais A Tartiner | Kiri | Intermarche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11041532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421</a:t>
            </a:fld>
            <a:endParaRPr lang="en-US"/>
          </a:p>
        </p:txBody>
      </p:sp>
    </p:spTree>
    <p:extLst>
      <p:ext uri="{BB962C8B-B14F-4D97-AF65-F5344CB8AC3E}">
        <p14:creationId xmlns:p14="http://schemas.microsoft.com/office/powerpoint/2010/main" val="520942815"/>
      </p:ext>
    </p:extLst>
  </p:cSld>
  <p:clrMapOvr>
    <a:masterClrMapping/>
  </p:clrMapOvr>
</p:sld>
</file>

<file path=ppt/slides/slide4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9/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Frais A Tartiner | Boursin | Intermarche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11041532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422</a:t>
            </a:fld>
            <a:endParaRPr lang="en-US"/>
          </a:p>
        </p:txBody>
      </p:sp>
    </p:spTree>
    <p:extLst>
      <p:ext uri="{BB962C8B-B14F-4D97-AF65-F5344CB8AC3E}">
        <p14:creationId xmlns:p14="http://schemas.microsoft.com/office/powerpoint/2010/main" val="1709386231"/>
      </p:ext>
    </p:extLst>
  </p:cSld>
  <p:clrMapOvr>
    <a:masterClrMapping/>
  </p:clrMapOvr>
</p:sld>
</file>

<file path=ppt/slides/slide4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9/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Frais A Tartiner | Kiri | Carrefour Hyper + Drive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11041532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423</a:t>
            </a:fld>
            <a:endParaRPr lang="en-US"/>
          </a:p>
        </p:txBody>
      </p:sp>
    </p:spTree>
    <p:extLst>
      <p:ext uri="{BB962C8B-B14F-4D97-AF65-F5344CB8AC3E}">
        <p14:creationId xmlns:p14="http://schemas.microsoft.com/office/powerpoint/2010/main" val="859195993"/>
      </p:ext>
    </p:extLst>
  </p:cSld>
  <p:clrMapOvr>
    <a:masterClrMapping/>
  </p:clrMapOvr>
</p:sld>
</file>

<file path=ppt/slides/slide4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9/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Frais A Tartiner | Boursin | Carrefour Hyper + Drive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11041532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424</a:t>
            </a:fld>
            <a:endParaRPr lang="en-US"/>
          </a:p>
        </p:txBody>
      </p:sp>
    </p:spTree>
    <p:extLst>
      <p:ext uri="{BB962C8B-B14F-4D97-AF65-F5344CB8AC3E}">
        <p14:creationId xmlns:p14="http://schemas.microsoft.com/office/powerpoint/2010/main" val="1458019084"/>
      </p:ext>
    </p:extLst>
  </p:cSld>
  <p:clrMapOvr>
    <a:masterClrMapping/>
  </p:clrMapOvr>
</p:sld>
</file>

<file path=ppt/slides/slide4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9/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Frais A Tartiner | Kiri | Carrefour Supermarket + Drive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11041532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425</a:t>
            </a:fld>
            <a:endParaRPr lang="en-US"/>
          </a:p>
        </p:txBody>
      </p:sp>
    </p:spTree>
    <p:extLst>
      <p:ext uri="{BB962C8B-B14F-4D97-AF65-F5344CB8AC3E}">
        <p14:creationId xmlns:p14="http://schemas.microsoft.com/office/powerpoint/2010/main" val="3172164425"/>
      </p:ext>
    </p:extLst>
  </p:cSld>
  <p:clrMapOvr>
    <a:masterClrMapping/>
  </p:clrMapOvr>
</p:sld>
</file>

<file path=ppt/slides/slide4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9/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Frais A Tartiner | Boursin | Carrefour Supermarket + Drive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11041532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426</a:t>
            </a:fld>
            <a:endParaRPr lang="en-US"/>
          </a:p>
        </p:txBody>
      </p:sp>
    </p:spTree>
    <p:extLst>
      <p:ext uri="{BB962C8B-B14F-4D97-AF65-F5344CB8AC3E}">
        <p14:creationId xmlns:p14="http://schemas.microsoft.com/office/powerpoint/2010/main" val="1377742554"/>
      </p:ext>
    </p:extLst>
  </p:cSld>
  <p:clrMapOvr>
    <a:masterClrMapping/>
  </p:clrMapOvr>
</p:sld>
</file>

<file path=ppt/slides/slide4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9/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Frais A Tartiner | Kiri | Carrefour Proximite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11041532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427</a:t>
            </a:fld>
            <a:endParaRPr lang="en-US"/>
          </a:p>
        </p:txBody>
      </p:sp>
    </p:spTree>
    <p:extLst>
      <p:ext uri="{BB962C8B-B14F-4D97-AF65-F5344CB8AC3E}">
        <p14:creationId xmlns:p14="http://schemas.microsoft.com/office/powerpoint/2010/main" val="2065320168"/>
      </p:ext>
    </p:extLst>
  </p:cSld>
  <p:clrMapOvr>
    <a:masterClrMapping/>
  </p:clrMapOvr>
</p:sld>
</file>

<file path=ppt/slides/slide4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9/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Frais A Tartiner | Boursin | Carrefour Proximite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11041532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428</a:t>
            </a:fld>
            <a:endParaRPr lang="en-US"/>
          </a:p>
        </p:txBody>
      </p:sp>
    </p:spTree>
    <p:extLst>
      <p:ext uri="{BB962C8B-B14F-4D97-AF65-F5344CB8AC3E}">
        <p14:creationId xmlns:p14="http://schemas.microsoft.com/office/powerpoint/2010/main" val="539796668"/>
      </p:ext>
    </p:extLst>
  </p:cSld>
  <p:clrMapOvr>
    <a:masterClrMapping/>
  </p:clrMapOvr>
</p:sld>
</file>

<file path=ppt/slides/slide4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9/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Frais A Tartiner | Kiri | Intermarche Super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11041532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429</a:t>
            </a:fld>
            <a:endParaRPr lang="en-US"/>
          </a:p>
        </p:txBody>
      </p:sp>
    </p:spTree>
    <p:extLst>
      <p:ext uri="{BB962C8B-B14F-4D97-AF65-F5344CB8AC3E}">
        <p14:creationId xmlns:p14="http://schemas.microsoft.com/office/powerpoint/2010/main" val="1614825009"/>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9/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Frais A Tartiner | Carrefour Hyper + Drive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43</a:t>
            </a:fld>
            <a:endParaRPr lang="en-US"/>
          </a:p>
        </p:txBody>
      </p:sp>
    </p:spTree>
    <p:extLst>
      <p:ext uri="{BB962C8B-B14F-4D97-AF65-F5344CB8AC3E}">
        <p14:creationId xmlns:p14="http://schemas.microsoft.com/office/powerpoint/2010/main" val="1328218920"/>
      </p:ext>
    </p:extLst>
  </p:cSld>
  <p:clrMapOvr>
    <a:masterClrMapping/>
  </p:clrMapOvr>
</p:sld>
</file>

<file path=ppt/slides/slide4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9/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Frais A Tartiner | Boursin | Intermarche Super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11041532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430</a:t>
            </a:fld>
            <a:endParaRPr lang="en-US"/>
          </a:p>
        </p:txBody>
      </p:sp>
    </p:spTree>
    <p:extLst>
      <p:ext uri="{BB962C8B-B14F-4D97-AF65-F5344CB8AC3E}">
        <p14:creationId xmlns:p14="http://schemas.microsoft.com/office/powerpoint/2010/main" val="800748019"/>
      </p:ext>
    </p:extLst>
  </p:cSld>
  <p:clrMapOvr>
    <a:masterClrMapping/>
  </p:clrMapOvr>
</p:sld>
</file>

<file path=ppt/slides/slide4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9/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Frais A Tartiner | Kiri | Intermarche Hyper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11041532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431</a:t>
            </a:fld>
            <a:endParaRPr lang="en-US"/>
          </a:p>
        </p:txBody>
      </p:sp>
    </p:spTree>
    <p:extLst>
      <p:ext uri="{BB962C8B-B14F-4D97-AF65-F5344CB8AC3E}">
        <p14:creationId xmlns:p14="http://schemas.microsoft.com/office/powerpoint/2010/main" val="1582524659"/>
      </p:ext>
    </p:extLst>
  </p:cSld>
  <p:clrMapOvr>
    <a:masterClrMapping/>
  </p:clrMapOvr>
</p:sld>
</file>

<file path=ppt/slides/slide4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9/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Frais A Tartiner | Boursin | Intermarche Hyper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11041532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432</a:t>
            </a:fld>
            <a:endParaRPr lang="en-US"/>
          </a:p>
        </p:txBody>
      </p:sp>
    </p:spTree>
    <p:extLst>
      <p:ext uri="{BB962C8B-B14F-4D97-AF65-F5344CB8AC3E}">
        <p14:creationId xmlns:p14="http://schemas.microsoft.com/office/powerpoint/2010/main" val="4128571391"/>
      </p:ext>
    </p:extLst>
  </p:cSld>
  <p:clrMapOvr>
    <a:masterClrMapping/>
  </p:clrMapOvr>
</p:sld>
</file>

<file path=ppt/slides/slide4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9/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Frais A Tartiner | Kiri | Intermarche Proxi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11041532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433</a:t>
            </a:fld>
            <a:endParaRPr lang="en-US"/>
          </a:p>
        </p:txBody>
      </p:sp>
    </p:spTree>
    <p:extLst>
      <p:ext uri="{BB962C8B-B14F-4D97-AF65-F5344CB8AC3E}">
        <p14:creationId xmlns:p14="http://schemas.microsoft.com/office/powerpoint/2010/main" val="1415144707"/>
      </p:ext>
    </p:extLst>
  </p:cSld>
  <p:clrMapOvr>
    <a:masterClrMapping/>
  </p:clrMapOvr>
</p:sld>
</file>

<file path=ppt/slides/slide4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9/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Frais A Tartiner | Boursin | Intermarche Proxi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11041532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434</a:t>
            </a:fld>
            <a:endParaRPr lang="en-US"/>
          </a:p>
        </p:txBody>
      </p:sp>
    </p:spTree>
    <p:extLst>
      <p:ext uri="{BB962C8B-B14F-4D97-AF65-F5344CB8AC3E}">
        <p14:creationId xmlns:p14="http://schemas.microsoft.com/office/powerpoint/2010/main" val="3379638047"/>
      </p:ext>
    </p:extLst>
  </p:cSld>
  <p:clrMapOvr>
    <a:masterClrMapping/>
  </p:clrMapOvr>
</p:sld>
</file>

<file path=ppt/slides/slide4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9/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Salade | Boursin | Carrefour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11041532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435</a:t>
            </a:fld>
            <a:endParaRPr lang="en-US"/>
          </a:p>
        </p:txBody>
      </p:sp>
    </p:spTree>
    <p:extLst>
      <p:ext uri="{BB962C8B-B14F-4D97-AF65-F5344CB8AC3E}">
        <p14:creationId xmlns:p14="http://schemas.microsoft.com/office/powerpoint/2010/main" val="412198045"/>
      </p:ext>
    </p:extLst>
  </p:cSld>
  <p:clrMapOvr>
    <a:masterClrMapping/>
  </p:clrMapOvr>
</p:sld>
</file>

<file path=ppt/slides/slide4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9/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Salade | Boursin | Intermarche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11041532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436</a:t>
            </a:fld>
            <a:endParaRPr lang="en-US"/>
          </a:p>
        </p:txBody>
      </p:sp>
    </p:spTree>
    <p:extLst>
      <p:ext uri="{BB962C8B-B14F-4D97-AF65-F5344CB8AC3E}">
        <p14:creationId xmlns:p14="http://schemas.microsoft.com/office/powerpoint/2010/main" val="2773710994"/>
      </p:ext>
    </p:extLst>
  </p:cSld>
  <p:clrMapOvr>
    <a:masterClrMapping/>
  </p:clrMapOvr>
</p:sld>
</file>

<file path=ppt/slides/slide4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9/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Salade | Boursin | Carrefour Hyper + Drive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11041532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437</a:t>
            </a:fld>
            <a:endParaRPr lang="en-US"/>
          </a:p>
        </p:txBody>
      </p:sp>
    </p:spTree>
    <p:extLst>
      <p:ext uri="{BB962C8B-B14F-4D97-AF65-F5344CB8AC3E}">
        <p14:creationId xmlns:p14="http://schemas.microsoft.com/office/powerpoint/2010/main" val="467012493"/>
      </p:ext>
    </p:extLst>
  </p:cSld>
  <p:clrMapOvr>
    <a:masterClrMapping/>
  </p:clrMapOvr>
</p:sld>
</file>

<file path=ppt/slides/slide4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9/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Salade | Boursin | Carrefour Supermarket + Drive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11041532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438</a:t>
            </a:fld>
            <a:endParaRPr lang="en-US"/>
          </a:p>
        </p:txBody>
      </p:sp>
    </p:spTree>
    <p:extLst>
      <p:ext uri="{BB962C8B-B14F-4D97-AF65-F5344CB8AC3E}">
        <p14:creationId xmlns:p14="http://schemas.microsoft.com/office/powerpoint/2010/main" val="1940733520"/>
      </p:ext>
    </p:extLst>
  </p:cSld>
  <p:clrMapOvr>
    <a:masterClrMapping/>
  </p:clrMapOvr>
</p:sld>
</file>

<file path=ppt/slides/slide4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9/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Salade | Boursin | Carrefour Proximite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11041532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439</a:t>
            </a:fld>
            <a:endParaRPr lang="en-US"/>
          </a:p>
        </p:txBody>
      </p:sp>
    </p:spTree>
    <p:extLst>
      <p:ext uri="{BB962C8B-B14F-4D97-AF65-F5344CB8AC3E}">
        <p14:creationId xmlns:p14="http://schemas.microsoft.com/office/powerpoint/2010/main" val="1828516578"/>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9/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Frais A Tartiner | Carrefour Supermarket + Drive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44</a:t>
            </a:fld>
            <a:endParaRPr lang="en-US"/>
          </a:p>
        </p:txBody>
      </p:sp>
    </p:spTree>
    <p:extLst>
      <p:ext uri="{BB962C8B-B14F-4D97-AF65-F5344CB8AC3E}">
        <p14:creationId xmlns:p14="http://schemas.microsoft.com/office/powerpoint/2010/main" val="3572729046"/>
      </p:ext>
    </p:extLst>
  </p:cSld>
  <p:clrMapOvr>
    <a:masterClrMapping/>
  </p:clrMapOvr>
</p:sld>
</file>

<file path=ppt/slides/slide4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9/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Salade | Boursin | Intermarche Super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11041532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440</a:t>
            </a:fld>
            <a:endParaRPr lang="en-US"/>
          </a:p>
        </p:txBody>
      </p:sp>
    </p:spTree>
    <p:extLst>
      <p:ext uri="{BB962C8B-B14F-4D97-AF65-F5344CB8AC3E}">
        <p14:creationId xmlns:p14="http://schemas.microsoft.com/office/powerpoint/2010/main" val="2589555120"/>
      </p:ext>
    </p:extLst>
  </p:cSld>
  <p:clrMapOvr>
    <a:masterClrMapping/>
  </p:clrMapOvr>
</p:sld>
</file>

<file path=ppt/slides/slide4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9/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Salade | Boursin | Intermarche Hyper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11041532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441</a:t>
            </a:fld>
            <a:endParaRPr lang="en-US"/>
          </a:p>
        </p:txBody>
      </p:sp>
    </p:spTree>
    <p:extLst>
      <p:ext uri="{BB962C8B-B14F-4D97-AF65-F5344CB8AC3E}">
        <p14:creationId xmlns:p14="http://schemas.microsoft.com/office/powerpoint/2010/main" val="593091816"/>
      </p:ext>
    </p:extLst>
  </p:cSld>
  <p:clrMapOvr>
    <a:masterClrMapping/>
  </p:clrMapOvr>
</p:sld>
</file>

<file path=ppt/slides/slide4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9/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Salade | Boursin | Intermarche Proxi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11041532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442</a:t>
            </a:fld>
            <a:endParaRPr lang="en-US"/>
          </a:p>
        </p:txBody>
      </p:sp>
    </p:spTree>
    <p:extLst>
      <p:ext uri="{BB962C8B-B14F-4D97-AF65-F5344CB8AC3E}">
        <p14:creationId xmlns:p14="http://schemas.microsoft.com/office/powerpoint/2010/main" val="1015946055"/>
      </p:ext>
    </p:extLst>
  </p:cSld>
  <p:clrMapOvr>
    <a:masterClrMapping/>
  </p:clrMapOvr>
</p:sld>
</file>

<file path=ppt/slides/slide4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9/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Total Fromage | Kiri | Carrefour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45946006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443</a:t>
            </a:fld>
            <a:endParaRPr lang="en-US"/>
          </a:p>
        </p:txBody>
      </p:sp>
    </p:spTree>
    <p:extLst>
      <p:ext uri="{BB962C8B-B14F-4D97-AF65-F5344CB8AC3E}">
        <p14:creationId xmlns:p14="http://schemas.microsoft.com/office/powerpoint/2010/main" val="4082623557"/>
      </p:ext>
    </p:extLst>
  </p:cSld>
  <p:clrMapOvr>
    <a:masterClrMapping/>
  </p:clrMapOvr>
</p:sld>
</file>

<file path=ppt/slides/slide4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9/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Total Fromage | La Vache Qui Rit | Carrefour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45946006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444</a:t>
            </a:fld>
            <a:endParaRPr lang="en-US"/>
          </a:p>
        </p:txBody>
      </p:sp>
    </p:spTree>
    <p:extLst>
      <p:ext uri="{BB962C8B-B14F-4D97-AF65-F5344CB8AC3E}">
        <p14:creationId xmlns:p14="http://schemas.microsoft.com/office/powerpoint/2010/main" val="4012055669"/>
      </p:ext>
    </p:extLst>
  </p:cSld>
  <p:clrMapOvr>
    <a:masterClrMapping/>
  </p:clrMapOvr>
</p:sld>
</file>

<file path=ppt/slides/slide4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9/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Total Fromage | Boursin | Carrefour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45946006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445</a:t>
            </a:fld>
            <a:endParaRPr lang="en-US"/>
          </a:p>
        </p:txBody>
      </p:sp>
    </p:spTree>
    <p:extLst>
      <p:ext uri="{BB962C8B-B14F-4D97-AF65-F5344CB8AC3E}">
        <p14:creationId xmlns:p14="http://schemas.microsoft.com/office/powerpoint/2010/main" val="4169116111"/>
      </p:ext>
    </p:extLst>
  </p:cSld>
  <p:clrMapOvr>
    <a:masterClrMapping/>
  </p:clrMapOvr>
</p:sld>
</file>

<file path=ppt/slides/slide4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9/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Total Fromage | Kiri | Intermarche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45946006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446</a:t>
            </a:fld>
            <a:endParaRPr lang="en-US"/>
          </a:p>
        </p:txBody>
      </p:sp>
    </p:spTree>
    <p:extLst>
      <p:ext uri="{BB962C8B-B14F-4D97-AF65-F5344CB8AC3E}">
        <p14:creationId xmlns:p14="http://schemas.microsoft.com/office/powerpoint/2010/main" val="2067506101"/>
      </p:ext>
    </p:extLst>
  </p:cSld>
  <p:clrMapOvr>
    <a:masterClrMapping/>
  </p:clrMapOvr>
</p:sld>
</file>

<file path=ppt/slides/slide4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9/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Total Fromage | La Vache Qui Rit | Intermarche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45946006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447</a:t>
            </a:fld>
            <a:endParaRPr lang="en-US"/>
          </a:p>
        </p:txBody>
      </p:sp>
    </p:spTree>
    <p:extLst>
      <p:ext uri="{BB962C8B-B14F-4D97-AF65-F5344CB8AC3E}">
        <p14:creationId xmlns:p14="http://schemas.microsoft.com/office/powerpoint/2010/main" val="1772417500"/>
      </p:ext>
    </p:extLst>
  </p:cSld>
  <p:clrMapOvr>
    <a:masterClrMapping/>
  </p:clrMapOvr>
</p:sld>
</file>

<file path=ppt/slides/slide4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9/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Total Fromage | Boursin | Intermarche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45946006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448</a:t>
            </a:fld>
            <a:endParaRPr lang="en-US"/>
          </a:p>
        </p:txBody>
      </p:sp>
    </p:spTree>
    <p:extLst>
      <p:ext uri="{BB962C8B-B14F-4D97-AF65-F5344CB8AC3E}">
        <p14:creationId xmlns:p14="http://schemas.microsoft.com/office/powerpoint/2010/main" val="1834726019"/>
      </p:ext>
    </p:extLst>
  </p:cSld>
  <p:clrMapOvr>
    <a:masterClrMapping/>
  </p:clrMapOvr>
</p:sld>
</file>

<file path=ppt/slides/slide4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9/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Total Fromage | Kiri | Carrefour Hyper + Drive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45946006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449</a:t>
            </a:fld>
            <a:endParaRPr lang="en-US"/>
          </a:p>
        </p:txBody>
      </p:sp>
    </p:spTree>
    <p:extLst>
      <p:ext uri="{BB962C8B-B14F-4D97-AF65-F5344CB8AC3E}">
        <p14:creationId xmlns:p14="http://schemas.microsoft.com/office/powerpoint/2010/main" val="4168216016"/>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9/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Frais A Tartiner | Carrefour Proximite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45</a:t>
            </a:fld>
            <a:endParaRPr lang="en-US"/>
          </a:p>
        </p:txBody>
      </p:sp>
    </p:spTree>
    <p:extLst>
      <p:ext uri="{BB962C8B-B14F-4D97-AF65-F5344CB8AC3E}">
        <p14:creationId xmlns:p14="http://schemas.microsoft.com/office/powerpoint/2010/main" val="958474054"/>
      </p:ext>
    </p:extLst>
  </p:cSld>
  <p:clrMapOvr>
    <a:masterClrMapping/>
  </p:clrMapOvr>
</p:sld>
</file>

<file path=ppt/slides/slide4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9/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Total Fromage | La Vache Qui Rit | Carrefour Hyper + Drive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45946006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450</a:t>
            </a:fld>
            <a:endParaRPr lang="en-US"/>
          </a:p>
        </p:txBody>
      </p:sp>
    </p:spTree>
    <p:extLst>
      <p:ext uri="{BB962C8B-B14F-4D97-AF65-F5344CB8AC3E}">
        <p14:creationId xmlns:p14="http://schemas.microsoft.com/office/powerpoint/2010/main" val="3750325159"/>
      </p:ext>
    </p:extLst>
  </p:cSld>
  <p:clrMapOvr>
    <a:masterClrMapping/>
  </p:clrMapOvr>
</p:sld>
</file>

<file path=ppt/slides/slide4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9/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Total Fromage | Boursin | Carrefour Hyper + Drive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45946006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451</a:t>
            </a:fld>
            <a:endParaRPr lang="en-US"/>
          </a:p>
        </p:txBody>
      </p:sp>
    </p:spTree>
    <p:extLst>
      <p:ext uri="{BB962C8B-B14F-4D97-AF65-F5344CB8AC3E}">
        <p14:creationId xmlns:p14="http://schemas.microsoft.com/office/powerpoint/2010/main" val="556161285"/>
      </p:ext>
    </p:extLst>
  </p:cSld>
  <p:clrMapOvr>
    <a:masterClrMapping/>
  </p:clrMapOvr>
</p:sld>
</file>

<file path=ppt/slides/slide4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9/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Total Fromage | Kiri | Carrefour Supermarket + Drive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45946006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452</a:t>
            </a:fld>
            <a:endParaRPr lang="en-US"/>
          </a:p>
        </p:txBody>
      </p:sp>
    </p:spTree>
    <p:extLst>
      <p:ext uri="{BB962C8B-B14F-4D97-AF65-F5344CB8AC3E}">
        <p14:creationId xmlns:p14="http://schemas.microsoft.com/office/powerpoint/2010/main" val="977828563"/>
      </p:ext>
    </p:extLst>
  </p:cSld>
  <p:clrMapOvr>
    <a:masterClrMapping/>
  </p:clrMapOvr>
</p:sld>
</file>

<file path=ppt/slides/slide4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9/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Total Fromage | La Vache Qui Rit | Carrefour Supermarket + Drive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45946006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453</a:t>
            </a:fld>
            <a:endParaRPr lang="en-US"/>
          </a:p>
        </p:txBody>
      </p:sp>
    </p:spTree>
    <p:extLst>
      <p:ext uri="{BB962C8B-B14F-4D97-AF65-F5344CB8AC3E}">
        <p14:creationId xmlns:p14="http://schemas.microsoft.com/office/powerpoint/2010/main" val="2480145929"/>
      </p:ext>
    </p:extLst>
  </p:cSld>
  <p:clrMapOvr>
    <a:masterClrMapping/>
  </p:clrMapOvr>
</p:sld>
</file>

<file path=ppt/slides/slide4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9/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Total Fromage | Boursin | Carrefour Supermarket + Drive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45946006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454</a:t>
            </a:fld>
            <a:endParaRPr lang="en-US"/>
          </a:p>
        </p:txBody>
      </p:sp>
    </p:spTree>
    <p:extLst>
      <p:ext uri="{BB962C8B-B14F-4D97-AF65-F5344CB8AC3E}">
        <p14:creationId xmlns:p14="http://schemas.microsoft.com/office/powerpoint/2010/main" val="1904962637"/>
      </p:ext>
    </p:extLst>
  </p:cSld>
  <p:clrMapOvr>
    <a:masterClrMapping/>
  </p:clrMapOvr>
</p:sld>
</file>

<file path=ppt/slides/slide4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9/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Total Fromage | Kiri | Carrefour Proximite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45946006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455</a:t>
            </a:fld>
            <a:endParaRPr lang="en-US"/>
          </a:p>
        </p:txBody>
      </p:sp>
    </p:spTree>
    <p:extLst>
      <p:ext uri="{BB962C8B-B14F-4D97-AF65-F5344CB8AC3E}">
        <p14:creationId xmlns:p14="http://schemas.microsoft.com/office/powerpoint/2010/main" val="1242123144"/>
      </p:ext>
    </p:extLst>
  </p:cSld>
  <p:clrMapOvr>
    <a:masterClrMapping/>
  </p:clrMapOvr>
</p:sld>
</file>

<file path=ppt/slides/slide4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9/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Total Fromage | La Vache Qui Rit | Carrefour Proximite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45946006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456</a:t>
            </a:fld>
            <a:endParaRPr lang="en-US"/>
          </a:p>
        </p:txBody>
      </p:sp>
    </p:spTree>
    <p:extLst>
      <p:ext uri="{BB962C8B-B14F-4D97-AF65-F5344CB8AC3E}">
        <p14:creationId xmlns:p14="http://schemas.microsoft.com/office/powerpoint/2010/main" val="3650543673"/>
      </p:ext>
    </p:extLst>
  </p:cSld>
  <p:clrMapOvr>
    <a:masterClrMapping/>
  </p:clrMapOvr>
</p:sld>
</file>

<file path=ppt/slides/slide4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9/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Total Fromage | Boursin | Carrefour Proximite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45946006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457</a:t>
            </a:fld>
            <a:endParaRPr lang="en-US"/>
          </a:p>
        </p:txBody>
      </p:sp>
    </p:spTree>
    <p:extLst>
      <p:ext uri="{BB962C8B-B14F-4D97-AF65-F5344CB8AC3E}">
        <p14:creationId xmlns:p14="http://schemas.microsoft.com/office/powerpoint/2010/main" val="205175487"/>
      </p:ext>
    </p:extLst>
  </p:cSld>
  <p:clrMapOvr>
    <a:masterClrMapping/>
  </p:clrMapOvr>
</p:sld>
</file>

<file path=ppt/slides/slide4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9/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Total Fromage | Kiri | Intermarche Super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45946006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458</a:t>
            </a:fld>
            <a:endParaRPr lang="en-US"/>
          </a:p>
        </p:txBody>
      </p:sp>
    </p:spTree>
    <p:extLst>
      <p:ext uri="{BB962C8B-B14F-4D97-AF65-F5344CB8AC3E}">
        <p14:creationId xmlns:p14="http://schemas.microsoft.com/office/powerpoint/2010/main" val="3465987999"/>
      </p:ext>
    </p:extLst>
  </p:cSld>
  <p:clrMapOvr>
    <a:masterClrMapping/>
  </p:clrMapOvr>
</p:sld>
</file>

<file path=ppt/slides/slide4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9/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Total Fromage | La Vache Qui Rit | Intermarche Super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45946006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459</a:t>
            </a:fld>
            <a:endParaRPr lang="en-US"/>
          </a:p>
        </p:txBody>
      </p:sp>
    </p:spTree>
    <p:extLst>
      <p:ext uri="{BB962C8B-B14F-4D97-AF65-F5344CB8AC3E}">
        <p14:creationId xmlns:p14="http://schemas.microsoft.com/office/powerpoint/2010/main" val="4022957324"/>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9/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Frais A Tartiner | Intermarche Super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46</a:t>
            </a:fld>
            <a:endParaRPr lang="en-US"/>
          </a:p>
        </p:txBody>
      </p:sp>
    </p:spTree>
    <p:extLst>
      <p:ext uri="{BB962C8B-B14F-4D97-AF65-F5344CB8AC3E}">
        <p14:creationId xmlns:p14="http://schemas.microsoft.com/office/powerpoint/2010/main" val="2932133319"/>
      </p:ext>
    </p:extLst>
  </p:cSld>
  <p:clrMapOvr>
    <a:masterClrMapping/>
  </p:clrMapOvr>
</p:sld>
</file>

<file path=ppt/slides/slide4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9/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Total Fromage | Boursin | Intermarche Super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45946006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460</a:t>
            </a:fld>
            <a:endParaRPr lang="en-US"/>
          </a:p>
        </p:txBody>
      </p:sp>
    </p:spTree>
    <p:extLst>
      <p:ext uri="{BB962C8B-B14F-4D97-AF65-F5344CB8AC3E}">
        <p14:creationId xmlns:p14="http://schemas.microsoft.com/office/powerpoint/2010/main" val="1064664617"/>
      </p:ext>
    </p:extLst>
  </p:cSld>
  <p:clrMapOvr>
    <a:masterClrMapping/>
  </p:clrMapOvr>
</p:sld>
</file>

<file path=ppt/slides/slide4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9/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Total Fromage | Kiri | Intermarche Hyper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45946006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461</a:t>
            </a:fld>
            <a:endParaRPr lang="en-US"/>
          </a:p>
        </p:txBody>
      </p:sp>
    </p:spTree>
    <p:extLst>
      <p:ext uri="{BB962C8B-B14F-4D97-AF65-F5344CB8AC3E}">
        <p14:creationId xmlns:p14="http://schemas.microsoft.com/office/powerpoint/2010/main" val="2184059555"/>
      </p:ext>
    </p:extLst>
  </p:cSld>
  <p:clrMapOvr>
    <a:masterClrMapping/>
  </p:clrMapOvr>
</p:sld>
</file>

<file path=ppt/slides/slide4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9/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Total Fromage | La Vache Qui Rit | Intermarche Hyper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45946006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462</a:t>
            </a:fld>
            <a:endParaRPr lang="en-US"/>
          </a:p>
        </p:txBody>
      </p:sp>
    </p:spTree>
    <p:extLst>
      <p:ext uri="{BB962C8B-B14F-4D97-AF65-F5344CB8AC3E}">
        <p14:creationId xmlns:p14="http://schemas.microsoft.com/office/powerpoint/2010/main" val="2344154069"/>
      </p:ext>
    </p:extLst>
  </p:cSld>
  <p:clrMapOvr>
    <a:masterClrMapping/>
  </p:clrMapOvr>
</p:sld>
</file>

<file path=ppt/slides/slide4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9/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Total Fromage | Boursin | Intermarche Hyper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45946006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463</a:t>
            </a:fld>
            <a:endParaRPr lang="en-US"/>
          </a:p>
        </p:txBody>
      </p:sp>
    </p:spTree>
    <p:extLst>
      <p:ext uri="{BB962C8B-B14F-4D97-AF65-F5344CB8AC3E}">
        <p14:creationId xmlns:p14="http://schemas.microsoft.com/office/powerpoint/2010/main" val="1930269764"/>
      </p:ext>
    </p:extLst>
  </p:cSld>
  <p:clrMapOvr>
    <a:masterClrMapping/>
  </p:clrMapOvr>
</p:sld>
</file>

<file path=ppt/slides/slide4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9/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Total Fromage | Kiri | Intermarche Proxi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45946006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464</a:t>
            </a:fld>
            <a:endParaRPr lang="en-US"/>
          </a:p>
        </p:txBody>
      </p:sp>
    </p:spTree>
    <p:extLst>
      <p:ext uri="{BB962C8B-B14F-4D97-AF65-F5344CB8AC3E}">
        <p14:creationId xmlns:p14="http://schemas.microsoft.com/office/powerpoint/2010/main" val="4180065754"/>
      </p:ext>
    </p:extLst>
  </p:cSld>
  <p:clrMapOvr>
    <a:masterClrMapping/>
  </p:clrMapOvr>
</p:sld>
</file>

<file path=ppt/slides/slide4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9/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Total Fromage | La Vache Qui Rit | Intermarche Proxi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45946006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465</a:t>
            </a:fld>
            <a:endParaRPr lang="en-US"/>
          </a:p>
        </p:txBody>
      </p:sp>
    </p:spTree>
    <p:extLst>
      <p:ext uri="{BB962C8B-B14F-4D97-AF65-F5344CB8AC3E}">
        <p14:creationId xmlns:p14="http://schemas.microsoft.com/office/powerpoint/2010/main" val="2620183161"/>
      </p:ext>
    </p:extLst>
  </p:cSld>
  <p:clrMapOvr>
    <a:masterClrMapping/>
  </p:clrMapOvr>
</p:sld>
</file>

<file path=ppt/slides/slide4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9/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Total Fromage | Boursin | Intermarche Proxi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45946006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466</a:t>
            </a:fld>
            <a:endParaRPr lang="en-US"/>
          </a:p>
        </p:txBody>
      </p:sp>
    </p:spTree>
    <p:extLst>
      <p:ext uri="{BB962C8B-B14F-4D97-AF65-F5344CB8AC3E}">
        <p14:creationId xmlns:p14="http://schemas.microsoft.com/office/powerpoint/2010/main" val="1440162718"/>
      </p:ext>
    </p:extLst>
  </p:cSld>
  <p:clrMapOvr>
    <a:masterClrMapping/>
  </p:clrMapOvr>
</p:sld>
</file>

<file path=ppt/slides/slide4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9/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Soft Cheese | Kiri | Carrefour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45946006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467</a:t>
            </a:fld>
            <a:endParaRPr lang="en-US"/>
          </a:p>
        </p:txBody>
      </p:sp>
    </p:spTree>
    <p:extLst>
      <p:ext uri="{BB962C8B-B14F-4D97-AF65-F5344CB8AC3E}">
        <p14:creationId xmlns:p14="http://schemas.microsoft.com/office/powerpoint/2010/main" val="3480139702"/>
      </p:ext>
    </p:extLst>
  </p:cSld>
  <p:clrMapOvr>
    <a:masterClrMapping/>
  </p:clrMapOvr>
</p:sld>
</file>

<file path=ppt/slides/slide4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9/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Soft Cheese | La Vache Qui Rit | Carrefour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45946006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468</a:t>
            </a:fld>
            <a:endParaRPr lang="en-US"/>
          </a:p>
        </p:txBody>
      </p:sp>
    </p:spTree>
    <p:extLst>
      <p:ext uri="{BB962C8B-B14F-4D97-AF65-F5344CB8AC3E}">
        <p14:creationId xmlns:p14="http://schemas.microsoft.com/office/powerpoint/2010/main" val="1173096493"/>
      </p:ext>
    </p:extLst>
  </p:cSld>
  <p:clrMapOvr>
    <a:masterClrMapping/>
  </p:clrMapOvr>
</p:sld>
</file>

<file path=ppt/slides/slide4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9/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Soft Cheese | Boursin | Carrefour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45946006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469</a:t>
            </a:fld>
            <a:endParaRPr lang="en-US"/>
          </a:p>
        </p:txBody>
      </p:sp>
    </p:spTree>
    <p:extLst>
      <p:ext uri="{BB962C8B-B14F-4D97-AF65-F5344CB8AC3E}">
        <p14:creationId xmlns:p14="http://schemas.microsoft.com/office/powerpoint/2010/main" val="3594866739"/>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9/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Frais A Tartiner | Intermarche Hyper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47</a:t>
            </a:fld>
            <a:endParaRPr lang="en-US"/>
          </a:p>
        </p:txBody>
      </p:sp>
    </p:spTree>
    <p:extLst>
      <p:ext uri="{BB962C8B-B14F-4D97-AF65-F5344CB8AC3E}">
        <p14:creationId xmlns:p14="http://schemas.microsoft.com/office/powerpoint/2010/main" val="4262111548"/>
      </p:ext>
    </p:extLst>
  </p:cSld>
  <p:clrMapOvr>
    <a:masterClrMapping/>
  </p:clrMapOvr>
</p:sld>
</file>

<file path=ppt/slides/slide4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9/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Soft Cheese | Kiri | Intermarche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45946006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470</a:t>
            </a:fld>
            <a:endParaRPr lang="en-US"/>
          </a:p>
        </p:txBody>
      </p:sp>
    </p:spTree>
    <p:extLst>
      <p:ext uri="{BB962C8B-B14F-4D97-AF65-F5344CB8AC3E}">
        <p14:creationId xmlns:p14="http://schemas.microsoft.com/office/powerpoint/2010/main" val="3298749802"/>
      </p:ext>
    </p:extLst>
  </p:cSld>
  <p:clrMapOvr>
    <a:masterClrMapping/>
  </p:clrMapOvr>
</p:sld>
</file>

<file path=ppt/slides/slide4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9/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Soft Cheese | La Vache Qui Rit | Intermarche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45946006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471</a:t>
            </a:fld>
            <a:endParaRPr lang="en-US"/>
          </a:p>
        </p:txBody>
      </p:sp>
    </p:spTree>
    <p:extLst>
      <p:ext uri="{BB962C8B-B14F-4D97-AF65-F5344CB8AC3E}">
        <p14:creationId xmlns:p14="http://schemas.microsoft.com/office/powerpoint/2010/main" val="2669484029"/>
      </p:ext>
    </p:extLst>
  </p:cSld>
  <p:clrMapOvr>
    <a:masterClrMapping/>
  </p:clrMapOvr>
</p:sld>
</file>

<file path=ppt/slides/slide4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9/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Soft Cheese | Boursin | Intermarche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45946006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472</a:t>
            </a:fld>
            <a:endParaRPr lang="en-US"/>
          </a:p>
        </p:txBody>
      </p:sp>
    </p:spTree>
    <p:extLst>
      <p:ext uri="{BB962C8B-B14F-4D97-AF65-F5344CB8AC3E}">
        <p14:creationId xmlns:p14="http://schemas.microsoft.com/office/powerpoint/2010/main" val="1906695208"/>
      </p:ext>
    </p:extLst>
  </p:cSld>
  <p:clrMapOvr>
    <a:masterClrMapping/>
  </p:clrMapOvr>
</p:sld>
</file>

<file path=ppt/slides/slide4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9/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Soft Cheese | Kiri | Carrefour Hyper + Drive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45946006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473</a:t>
            </a:fld>
            <a:endParaRPr lang="en-US"/>
          </a:p>
        </p:txBody>
      </p:sp>
    </p:spTree>
    <p:extLst>
      <p:ext uri="{BB962C8B-B14F-4D97-AF65-F5344CB8AC3E}">
        <p14:creationId xmlns:p14="http://schemas.microsoft.com/office/powerpoint/2010/main" val="1663262439"/>
      </p:ext>
    </p:extLst>
  </p:cSld>
  <p:clrMapOvr>
    <a:masterClrMapping/>
  </p:clrMapOvr>
</p:sld>
</file>

<file path=ppt/slides/slide4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9/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Soft Cheese | La Vache Qui Rit | Carrefour Hyper + Drive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45946006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474</a:t>
            </a:fld>
            <a:endParaRPr lang="en-US"/>
          </a:p>
        </p:txBody>
      </p:sp>
    </p:spTree>
    <p:extLst>
      <p:ext uri="{BB962C8B-B14F-4D97-AF65-F5344CB8AC3E}">
        <p14:creationId xmlns:p14="http://schemas.microsoft.com/office/powerpoint/2010/main" val="3657353484"/>
      </p:ext>
    </p:extLst>
  </p:cSld>
  <p:clrMapOvr>
    <a:masterClrMapping/>
  </p:clrMapOvr>
</p:sld>
</file>

<file path=ppt/slides/slide4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9/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Soft Cheese | Boursin | Carrefour Hyper + Drive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45946006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475</a:t>
            </a:fld>
            <a:endParaRPr lang="en-US"/>
          </a:p>
        </p:txBody>
      </p:sp>
    </p:spTree>
    <p:extLst>
      <p:ext uri="{BB962C8B-B14F-4D97-AF65-F5344CB8AC3E}">
        <p14:creationId xmlns:p14="http://schemas.microsoft.com/office/powerpoint/2010/main" val="1249137186"/>
      </p:ext>
    </p:extLst>
  </p:cSld>
  <p:clrMapOvr>
    <a:masterClrMapping/>
  </p:clrMapOvr>
</p:sld>
</file>

<file path=ppt/slides/slide4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9/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Soft Cheese | Kiri | Carrefour Supermarket + Drive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45946006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476</a:t>
            </a:fld>
            <a:endParaRPr lang="en-US"/>
          </a:p>
        </p:txBody>
      </p:sp>
    </p:spTree>
    <p:extLst>
      <p:ext uri="{BB962C8B-B14F-4D97-AF65-F5344CB8AC3E}">
        <p14:creationId xmlns:p14="http://schemas.microsoft.com/office/powerpoint/2010/main" val="3216641457"/>
      </p:ext>
    </p:extLst>
  </p:cSld>
  <p:clrMapOvr>
    <a:masterClrMapping/>
  </p:clrMapOvr>
</p:sld>
</file>

<file path=ppt/slides/slide4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9/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Soft Cheese | La Vache Qui Rit | Carrefour Supermarket + Drive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45946006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477</a:t>
            </a:fld>
            <a:endParaRPr lang="en-US"/>
          </a:p>
        </p:txBody>
      </p:sp>
    </p:spTree>
    <p:extLst>
      <p:ext uri="{BB962C8B-B14F-4D97-AF65-F5344CB8AC3E}">
        <p14:creationId xmlns:p14="http://schemas.microsoft.com/office/powerpoint/2010/main" val="1384305813"/>
      </p:ext>
    </p:extLst>
  </p:cSld>
  <p:clrMapOvr>
    <a:masterClrMapping/>
  </p:clrMapOvr>
</p:sld>
</file>

<file path=ppt/slides/slide4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9/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Soft Cheese | Boursin | Carrefour Supermarket + Drive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45946006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478</a:t>
            </a:fld>
            <a:endParaRPr lang="en-US"/>
          </a:p>
        </p:txBody>
      </p:sp>
    </p:spTree>
    <p:extLst>
      <p:ext uri="{BB962C8B-B14F-4D97-AF65-F5344CB8AC3E}">
        <p14:creationId xmlns:p14="http://schemas.microsoft.com/office/powerpoint/2010/main" val="98396040"/>
      </p:ext>
    </p:extLst>
  </p:cSld>
  <p:clrMapOvr>
    <a:masterClrMapping/>
  </p:clrMapOvr>
</p:sld>
</file>

<file path=ppt/slides/slide4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9/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Soft Cheese | Kiri | Carrefour Proximite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45946006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479</a:t>
            </a:fld>
            <a:endParaRPr lang="en-US"/>
          </a:p>
        </p:txBody>
      </p:sp>
    </p:spTree>
    <p:extLst>
      <p:ext uri="{BB962C8B-B14F-4D97-AF65-F5344CB8AC3E}">
        <p14:creationId xmlns:p14="http://schemas.microsoft.com/office/powerpoint/2010/main" val="1266651946"/>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9/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Frais A Tartiner | Intermarche Proxi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48</a:t>
            </a:fld>
            <a:endParaRPr lang="en-US"/>
          </a:p>
        </p:txBody>
      </p:sp>
    </p:spTree>
    <p:extLst>
      <p:ext uri="{BB962C8B-B14F-4D97-AF65-F5344CB8AC3E}">
        <p14:creationId xmlns:p14="http://schemas.microsoft.com/office/powerpoint/2010/main" val="3986431544"/>
      </p:ext>
    </p:extLst>
  </p:cSld>
  <p:clrMapOvr>
    <a:masterClrMapping/>
  </p:clrMapOvr>
</p:sld>
</file>

<file path=ppt/slides/slide4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9/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Soft Cheese | La Vache Qui Rit | Carrefour Proximite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45946006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480</a:t>
            </a:fld>
            <a:endParaRPr lang="en-US"/>
          </a:p>
        </p:txBody>
      </p:sp>
    </p:spTree>
    <p:extLst>
      <p:ext uri="{BB962C8B-B14F-4D97-AF65-F5344CB8AC3E}">
        <p14:creationId xmlns:p14="http://schemas.microsoft.com/office/powerpoint/2010/main" val="3327036903"/>
      </p:ext>
    </p:extLst>
  </p:cSld>
  <p:clrMapOvr>
    <a:masterClrMapping/>
  </p:clrMapOvr>
</p:sld>
</file>

<file path=ppt/slides/slide4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9/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Soft Cheese | Boursin | Carrefour Proximite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45946006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481</a:t>
            </a:fld>
            <a:endParaRPr lang="en-US"/>
          </a:p>
        </p:txBody>
      </p:sp>
    </p:spTree>
    <p:extLst>
      <p:ext uri="{BB962C8B-B14F-4D97-AF65-F5344CB8AC3E}">
        <p14:creationId xmlns:p14="http://schemas.microsoft.com/office/powerpoint/2010/main" val="92273834"/>
      </p:ext>
    </p:extLst>
  </p:cSld>
  <p:clrMapOvr>
    <a:masterClrMapping/>
  </p:clrMapOvr>
</p:sld>
</file>

<file path=ppt/slides/slide4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9/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Soft Cheese | Kiri | Intermarche Super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45946006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482</a:t>
            </a:fld>
            <a:endParaRPr lang="en-US"/>
          </a:p>
        </p:txBody>
      </p:sp>
    </p:spTree>
    <p:extLst>
      <p:ext uri="{BB962C8B-B14F-4D97-AF65-F5344CB8AC3E}">
        <p14:creationId xmlns:p14="http://schemas.microsoft.com/office/powerpoint/2010/main" val="216244681"/>
      </p:ext>
    </p:extLst>
  </p:cSld>
  <p:clrMapOvr>
    <a:masterClrMapping/>
  </p:clrMapOvr>
</p:sld>
</file>

<file path=ppt/slides/slide4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9/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Soft Cheese | La Vache Qui Rit | Intermarche Super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45946006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483</a:t>
            </a:fld>
            <a:endParaRPr lang="en-US"/>
          </a:p>
        </p:txBody>
      </p:sp>
    </p:spTree>
    <p:extLst>
      <p:ext uri="{BB962C8B-B14F-4D97-AF65-F5344CB8AC3E}">
        <p14:creationId xmlns:p14="http://schemas.microsoft.com/office/powerpoint/2010/main" val="340309961"/>
      </p:ext>
    </p:extLst>
  </p:cSld>
  <p:clrMapOvr>
    <a:masterClrMapping/>
  </p:clrMapOvr>
</p:sld>
</file>

<file path=ppt/slides/slide4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9/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Soft Cheese | Boursin | Intermarche Super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45946006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484</a:t>
            </a:fld>
            <a:endParaRPr lang="en-US"/>
          </a:p>
        </p:txBody>
      </p:sp>
    </p:spTree>
    <p:extLst>
      <p:ext uri="{BB962C8B-B14F-4D97-AF65-F5344CB8AC3E}">
        <p14:creationId xmlns:p14="http://schemas.microsoft.com/office/powerpoint/2010/main" val="891453459"/>
      </p:ext>
    </p:extLst>
  </p:cSld>
  <p:clrMapOvr>
    <a:masterClrMapping/>
  </p:clrMapOvr>
</p:sld>
</file>

<file path=ppt/slides/slide4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9/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Soft Cheese | Kiri | Intermarche Hyper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45946006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485</a:t>
            </a:fld>
            <a:endParaRPr lang="en-US"/>
          </a:p>
        </p:txBody>
      </p:sp>
    </p:spTree>
    <p:extLst>
      <p:ext uri="{BB962C8B-B14F-4D97-AF65-F5344CB8AC3E}">
        <p14:creationId xmlns:p14="http://schemas.microsoft.com/office/powerpoint/2010/main" val="2069448627"/>
      </p:ext>
    </p:extLst>
  </p:cSld>
  <p:clrMapOvr>
    <a:masterClrMapping/>
  </p:clrMapOvr>
</p:sld>
</file>

<file path=ppt/slides/slide4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9/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Soft Cheese | La Vache Qui Rit | Intermarche Hyper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45946006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486</a:t>
            </a:fld>
            <a:endParaRPr lang="en-US"/>
          </a:p>
        </p:txBody>
      </p:sp>
    </p:spTree>
    <p:extLst>
      <p:ext uri="{BB962C8B-B14F-4D97-AF65-F5344CB8AC3E}">
        <p14:creationId xmlns:p14="http://schemas.microsoft.com/office/powerpoint/2010/main" val="4187551969"/>
      </p:ext>
    </p:extLst>
  </p:cSld>
  <p:clrMapOvr>
    <a:masterClrMapping/>
  </p:clrMapOvr>
</p:sld>
</file>

<file path=ppt/slides/slide4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9/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Soft Cheese | Boursin | Intermarche Hyper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45946006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487</a:t>
            </a:fld>
            <a:endParaRPr lang="en-US"/>
          </a:p>
        </p:txBody>
      </p:sp>
    </p:spTree>
    <p:extLst>
      <p:ext uri="{BB962C8B-B14F-4D97-AF65-F5344CB8AC3E}">
        <p14:creationId xmlns:p14="http://schemas.microsoft.com/office/powerpoint/2010/main" val="395152034"/>
      </p:ext>
    </p:extLst>
  </p:cSld>
  <p:clrMapOvr>
    <a:masterClrMapping/>
  </p:clrMapOvr>
</p:sld>
</file>

<file path=ppt/slides/slide4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9/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Soft Cheese | Kiri | Intermarche Proxi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45946006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488</a:t>
            </a:fld>
            <a:endParaRPr lang="en-US"/>
          </a:p>
        </p:txBody>
      </p:sp>
    </p:spTree>
    <p:extLst>
      <p:ext uri="{BB962C8B-B14F-4D97-AF65-F5344CB8AC3E}">
        <p14:creationId xmlns:p14="http://schemas.microsoft.com/office/powerpoint/2010/main" val="1621120992"/>
      </p:ext>
    </p:extLst>
  </p:cSld>
  <p:clrMapOvr>
    <a:masterClrMapping/>
  </p:clrMapOvr>
</p:sld>
</file>

<file path=ppt/slides/slide4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9/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Soft Cheese | La Vache Qui Rit | Intermarche Proxi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45946006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489</a:t>
            </a:fld>
            <a:endParaRPr lang="en-US"/>
          </a:p>
        </p:txBody>
      </p:sp>
    </p:spTree>
    <p:extLst>
      <p:ext uri="{BB962C8B-B14F-4D97-AF65-F5344CB8AC3E}">
        <p14:creationId xmlns:p14="http://schemas.microsoft.com/office/powerpoint/2010/main" val="923715108"/>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9/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Salade | Carrefour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49</a:t>
            </a:fld>
            <a:endParaRPr lang="en-US"/>
          </a:p>
        </p:txBody>
      </p:sp>
    </p:spTree>
    <p:extLst>
      <p:ext uri="{BB962C8B-B14F-4D97-AF65-F5344CB8AC3E}">
        <p14:creationId xmlns:p14="http://schemas.microsoft.com/office/powerpoint/2010/main" val="2267234243"/>
      </p:ext>
    </p:extLst>
  </p:cSld>
  <p:clrMapOvr>
    <a:masterClrMapping/>
  </p:clrMapOvr>
</p:sld>
</file>

<file path=ppt/slides/slide4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9/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Soft Cheese | Boursin | Intermarche Proxi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45946006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490</a:t>
            </a:fld>
            <a:endParaRPr lang="en-US"/>
          </a:p>
        </p:txBody>
      </p:sp>
    </p:spTree>
    <p:extLst>
      <p:ext uri="{BB962C8B-B14F-4D97-AF65-F5344CB8AC3E}">
        <p14:creationId xmlns:p14="http://schemas.microsoft.com/office/powerpoint/2010/main" val="3139479930"/>
      </p:ext>
    </p:extLst>
  </p:cSld>
  <p:clrMapOvr>
    <a:masterClrMapping/>
  </p:clrMapOvr>
</p:sld>
</file>

<file path=ppt/slides/slide4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9/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Aperitif | Boursin | Carrefour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45946006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491</a:t>
            </a:fld>
            <a:endParaRPr lang="en-US"/>
          </a:p>
        </p:txBody>
      </p:sp>
    </p:spTree>
    <p:extLst>
      <p:ext uri="{BB962C8B-B14F-4D97-AF65-F5344CB8AC3E}">
        <p14:creationId xmlns:p14="http://schemas.microsoft.com/office/powerpoint/2010/main" val="3063789590"/>
      </p:ext>
    </p:extLst>
  </p:cSld>
  <p:clrMapOvr>
    <a:masterClrMapping/>
  </p:clrMapOvr>
</p:sld>
</file>

<file path=ppt/slides/slide4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9/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Aperitif | Boursin | Intermarche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45946006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492</a:t>
            </a:fld>
            <a:endParaRPr lang="en-US"/>
          </a:p>
        </p:txBody>
      </p:sp>
    </p:spTree>
    <p:extLst>
      <p:ext uri="{BB962C8B-B14F-4D97-AF65-F5344CB8AC3E}">
        <p14:creationId xmlns:p14="http://schemas.microsoft.com/office/powerpoint/2010/main" val="311731592"/>
      </p:ext>
    </p:extLst>
  </p:cSld>
  <p:clrMapOvr>
    <a:masterClrMapping/>
  </p:clrMapOvr>
</p:sld>
</file>

<file path=ppt/slides/slide4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9/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Aperitif | Boursin | Carrefour Hyper + Drive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45946006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493</a:t>
            </a:fld>
            <a:endParaRPr lang="en-US"/>
          </a:p>
        </p:txBody>
      </p:sp>
    </p:spTree>
    <p:extLst>
      <p:ext uri="{BB962C8B-B14F-4D97-AF65-F5344CB8AC3E}">
        <p14:creationId xmlns:p14="http://schemas.microsoft.com/office/powerpoint/2010/main" val="1477633442"/>
      </p:ext>
    </p:extLst>
  </p:cSld>
  <p:clrMapOvr>
    <a:masterClrMapping/>
  </p:clrMapOvr>
</p:sld>
</file>

<file path=ppt/slides/slide4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9/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Aperitif | Boursin | Carrefour Supermarket + Drive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45946006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494</a:t>
            </a:fld>
            <a:endParaRPr lang="en-US"/>
          </a:p>
        </p:txBody>
      </p:sp>
    </p:spTree>
    <p:extLst>
      <p:ext uri="{BB962C8B-B14F-4D97-AF65-F5344CB8AC3E}">
        <p14:creationId xmlns:p14="http://schemas.microsoft.com/office/powerpoint/2010/main" val="415901961"/>
      </p:ext>
    </p:extLst>
  </p:cSld>
  <p:clrMapOvr>
    <a:masterClrMapping/>
  </p:clrMapOvr>
</p:sld>
</file>

<file path=ppt/slides/slide4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9/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Aperitif | Boursin | Carrefour Proximite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45946006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495</a:t>
            </a:fld>
            <a:endParaRPr lang="en-US"/>
          </a:p>
        </p:txBody>
      </p:sp>
    </p:spTree>
    <p:extLst>
      <p:ext uri="{BB962C8B-B14F-4D97-AF65-F5344CB8AC3E}">
        <p14:creationId xmlns:p14="http://schemas.microsoft.com/office/powerpoint/2010/main" val="614015922"/>
      </p:ext>
    </p:extLst>
  </p:cSld>
  <p:clrMapOvr>
    <a:masterClrMapping/>
  </p:clrMapOvr>
</p:sld>
</file>

<file path=ppt/slides/slide4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9/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Aperitif | Boursin | Intermarche Super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45946006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496</a:t>
            </a:fld>
            <a:endParaRPr lang="en-US"/>
          </a:p>
        </p:txBody>
      </p:sp>
    </p:spTree>
    <p:extLst>
      <p:ext uri="{BB962C8B-B14F-4D97-AF65-F5344CB8AC3E}">
        <p14:creationId xmlns:p14="http://schemas.microsoft.com/office/powerpoint/2010/main" val="166736941"/>
      </p:ext>
    </p:extLst>
  </p:cSld>
  <p:clrMapOvr>
    <a:masterClrMapping/>
  </p:clrMapOvr>
</p:sld>
</file>

<file path=ppt/slides/slide4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9/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Aperitif | Boursin | Intermarche Hyper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45946006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497</a:t>
            </a:fld>
            <a:endParaRPr lang="en-US"/>
          </a:p>
        </p:txBody>
      </p:sp>
    </p:spTree>
    <p:extLst>
      <p:ext uri="{BB962C8B-B14F-4D97-AF65-F5344CB8AC3E}">
        <p14:creationId xmlns:p14="http://schemas.microsoft.com/office/powerpoint/2010/main" val="2255149953"/>
      </p:ext>
    </p:extLst>
  </p:cSld>
  <p:clrMapOvr>
    <a:masterClrMapping/>
  </p:clrMapOvr>
</p:sld>
</file>

<file path=ppt/slides/slide4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9/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Aperitif | Boursin | Intermarche Proxi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45946006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498</a:t>
            </a:fld>
            <a:endParaRPr lang="en-US"/>
          </a:p>
        </p:txBody>
      </p:sp>
    </p:spTree>
    <p:extLst>
      <p:ext uri="{BB962C8B-B14F-4D97-AF65-F5344CB8AC3E}">
        <p14:creationId xmlns:p14="http://schemas.microsoft.com/office/powerpoint/2010/main" val="284278220"/>
      </p:ext>
    </p:extLst>
  </p:cSld>
  <p:clrMapOvr>
    <a:masterClrMapping/>
  </p:clrMapOvr>
</p:sld>
</file>

<file path=ppt/slides/slide4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9/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Ingredient A Chaud | La Vache Qui Rit | Carrefour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45946006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499</a:t>
            </a:fld>
            <a:endParaRPr lang="en-US"/>
          </a:p>
        </p:txBody>
      </p:sp>
    </p:spTree>
    <p:extLst>
      <p:ext uri="{BB962C8B-B14F-4D97-AF65-F5344CB8AC3E}">
        <p14:creationId xmlns:p14="http://schemas.microsoft.com/office/powerpoint/2010/main" val="209432294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9/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Total Fromage | Carrefour Proximite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5</a:t>
            </a:fld>
            <a:endParaRPr lang="en-US"/>
          </a:p>
        </p:txBody>
      </p:sp>
    </p:spTree>
    <p:extLst>
      <p:ext uri="{BB962C8B-B14F-4D97-AF65-F5344CB8AC3E}">
        <p14:creationId xmlns:p14="http://schemas.microsoft.com/office/powerpoint/2010/main" val="2435343894"/>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9/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Salade | Intermarche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50</a:t>
            </a:fld>
            <a:endParaRPr lang="en-US"/>
          </a:p>
        </p:txBody>
      </p:sp>
    </p:spTree>
    <p:extLst>
      <p:ext uri="{BB962C8B-B14F-4D97-AF65-F5344CB8AC3E}">
        <p14:creationId xmlns:p14="http://schemas.microsoft.com/office/powerpoint/2010/main" val="2089854929"/>
      </p:ext>
    </p:extLst>
  </p:cSld>
  <p:clrMapOvr>
    <a:masterClrMapping/>
  </p:clrMapOvr>
</p:sld>
</file>

<file path=ppt/slides/slide5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9/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Ingredient A Chaud | Boursin | Carrefour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45946006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500</a:t>
            </a:fld>
            <a:endParaRPr lang="en-US"/>
          </a:p>
        </p:txBody>
      </p:sp>
    </p:spTree>
    <p:extLst>
      <p:ext uri="{BB962C8B-B14F-4D97-AF65-F5344CB8AC3E}">
        <p14:creationId xmlns:p14="http://schemas.microsoft.com/office/powerpoint/2010/main" val="2899464888"/>
      </p:ext>
    </p:extLst>
  </p:cSld>
  <p:clrMapOvr>
    <a:masterClrMapping/>
  </p:clrMapOvr>
</p:sld>
</file>

<file path=ppt/slides/slide5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9/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Ingredient A Chaud | Boursin | Intermarche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45946006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501</a:t>
            </a:fld>
            <a:endParaRPr lang="en-US"/>
          </a:p>
        </p:txBody>
      </p:sp>
    </p:spTree>
    <p:extLst>
      <p:ext uri="{BB962C8B-B14F-4D97-AF65-F5344CB8AC3E}">
        <p14:creationId xmlns:p14="http://schemas.microsoft.com/office/powerpoint/2010/main" val="3957424054"/>
      </p:ext>
    </p:extLst>
  </p:cSld>
  <p:clrMapOvr>
    <a:masterClrMapping/>
  </p:clrMapOvr>
</p:sld>
</file>

<file path=ppt/slides/slide5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9/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Ingredient A Chaud | La Vache Qui Rit | Carrefour Hyper + Drive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45946006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502</a:t>
            </a:fld>
            <a:endParaRPr lang="en-US"/>
          </a:p>
        </p:txBody>
      </p:sp>
    </p:spTree>
    <p:extLst>
      <p:ext uri="{BB962C8B-B14F-4D97-AF65-F5344CB8AC3E}">
        <p14:creationId xmlns:p14="http://schemas.microsoft.com/office/powerpoint/2010/main" val="2131514807"/>
      </p:ext>
    </p:extLst>
  </p:cSld>
  <p:clrMapOvr>
    <a:masterClrMapping/>
  </p:clrMapOvr>
</p:sld>
</file>

<file path=ppt/slides/slide5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9/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Ingredient A Chaud | Boursin | Carrefour Hyper + Drive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45946006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503</a:t>
            </a:fld>
            <a:endParaRPr lang="en-US"/>
          </a:p>
        </p:txBody>
      </p:sp>
    </p:spTree>
    <p:extLst>
      <p:ext uri="{BB962C8B-B14F-4D97-AF65-F5344CB8AC3E}">
        <p14:creationId xmlns:p14="http://schemas.microsoft.com/office/powerpoint/2010/main" val="3233339349"/>
      </p:ext>
    </p:extLst>
  </p:cSld>
  <p:clrMapOvr>
    <a:masterClrMapping/>
  </p:clrMapOvr>
</p:sld>
</file>

<file path=ppt/slides/slide5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9/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Ingredient A Chaud | La Vache Qui Rit | Carrefour Supermarket + Drive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45946006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504</a:t>
            </a:fld>
            <a:endParaRPr lang="en-US"/>
          </a:p>
        </p:txBody>
      </p:sp>
    </p:spTree>
    <p:extLst>
      <p:ext uri="{BB962C8B-B14F-4D97-AF65-F5344CB8AC3E}">
        <p14:creationId xmlns:p14="http://schemas.microsoft.com/office/powerpoint/2010/main" val="1420904794"/>
      </p:ext>
    </p:extLst>
  </p:cSld>
  <p:clrMapOvr>
    <a:masterClrMapping/>
  </p:clrMapOvr>
</p:sld>
</file>

<file path=ppt/slides/slide5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9/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Ingredient A Chaud | Boursin | Carrefour Supermarket + Drive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45946006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505</a:t>
            </a:fld>
            <a:endParaRPr lang="en-US"/>
          </a:p>
        </p:txBody>
      </p:sp>
    </p:spTree>
    <p:extLst>
      <p:ext uri="{BB962C8B-B14F-4D97-AF65-F5344CB8AC3E}">
        <p14:creationId xmlns:p14="http://schemas.microsoft.com/office/powerpoint/2010/main" val="3004532036"/>
      </p:ext>
    </p:extLst>
  </p:cSld>
  <p:clrMapOvr>
    <a:masterClrMapping/>
  </p:clrMapOvr>
</p:sld>
</file>

<file path=ppt/slides/slide5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9/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Ingredient A Chaud | La Vache Qui Rit | Carrefour Proximite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45946006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506</a:t>
            </a:fld>
            <a:endParaRPr lang="en-US"/>
          </a:p>
        </p:txBody>
      </p:sp>
    </p:spTree>
    <p:extLst>
      <p:ext uri="{BB962C8B-B14F-4D97-AF65-F5344CB8AC3E}">
        <p14:creationId xmlns:p14="http://schemas.microsoft.com/office/powerpoint/2010/main" val="552791235"/>
      </p:ext>
    </p:extLst>
  </p:cSld>
  <p:clrMapOvr>
    <a:masterClrMapping/>
  </p:clrMapOvr>
</p:sld>
</file>

<file path=ppt/slides/slide5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9/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Ingredient A Chaud | Boursin | Carrefour Proximite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45946006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507</a:t>
            </a:fld>
            <a:endParaRPr lang="en-US"/>
          </a:p>
        </p:txBody>
      </p:sp>
    </p:spTree>
    <p:extLst>
      <p:ext uri="{BB962C8B-B14F-4D97-AF65-F5344CB8AC3E}">
        <p14:creationId xmlns:p14="http://schemas.microsoft.com/office/powerpoint/2010/main" val="3527729522"/>
      </p:ext>
    </p:extLst>
  </p:cSld>
  <p:clrMapOvr>
    <a:masterClrMapping/>
  </p:clrMapOvr>
</p:sld>
</file>

<file path=ppt/slides/slide5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9/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Ingredient A Chaud | Boursin | Intermarche Super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45946006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508</a:t>
            </a:fld>
            <a:endParaRPr lang="en-US"/>
          </a:p>
        </p:txBody>
      </p:sp>
    </p:spTree>
    <p:extLst>
      <p:ext uri="{BB962C8B-B14F-4D97-AF65-F5344CB8AC3E}">
        <p14:creationId xmlns:p14="http://schemas.microsoft.com/office/powerpoint/2010/main" val="738622488"/>
      </p:ext>
    </p:extLst>
  </p:cSld>
  <p:clrMapOvr>
    <a:masterClrMapping/>
  </p:clrMapOvr>
</p:sld>
</file>

<file path=ppt/slides/slide5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9/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Ingredient A Chaud | Boursin | Intermarche Hyper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45946006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509</a:t>
            </a:fld>
            <a:endParaRPr lang="en-US"/>
          </a:p>
        </p:txBody>
      </p:sp>
    </p:spTree>
    <p:extLst>
      <p:ext uri="{BB962C8B-B14F-4D97-AF65-F5344CB8AC3E}">
        <p14:creationId xmlns:p14="http://schemas.microsoft.com/office/powerpoint/2010/main" val="1538312493"/>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9/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Salade | Carrefour Hyper + Drive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51</a:t>
            </a:fld>
            <a:endParaRPr lang="en-US"/>
          </a:p>
        </p:txBody>
      </p:sp>
    </p:spTree>
    <p:extLst>
      <p:ext uri="{BB962C8B-B14F-4D97-AF65-F5344CB8AC3E}">
        <p14:creationId xmlns:p14="http://schemas.microsoft.com/office/powerpoint/2010/main" val="2219280099"/>
      </p:ext>
    </p:extLst>
  </p:cSld>
  <p:clrMapOvr>
    <a:masterClrMapping/>
  </p:clrMapOvr>
</p:sld>
</file>

<file path=ppt/slides/slide5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9/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Ingredient A Chaud | Boursin | Intermarche Proxi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45946006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510</a:t>
            </a:fld>
            <a:endParaRPr lang="en-US"/>
          </a:p>
        </p:txBody>
      </p:sp>
    </p:spTree>
    <p:extLst>
      <p:ext uri="{BB962C8B-B14F-4D97-AF65-F5344CB8AC3E}">
        <p14:creationId xmlns:p14="http://schemas.microsoft.com/office/powerpoint/2010/main" val="3182443880"/>
      </p:ext>
    </p:extLst>
  </p:cSld>
  <p:clrMapOvr>
    <a:masterClrMapping/>
  </p:clrMapOvr>
</p:sld>
</file>

<file path=ppt/slides/slide5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9/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Enfant | Kiri | Carrefour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45946006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511</a:t>
            </a:fld>
            <a:endParaRPr lang="en-US"/>
          </a:p>
        </p:txBody>
      </p:sp>
    </p:spTree>
    <p:extLst>
      <p:ext uri="{BB962C8B-B14F-4D97-AF65-F5344CB8AC3E}">
        <p14:creationId xmlns:p14="http://schemas.microsoft.com/office/powerpoint/2010/main" val="2436544784"/>
      </p:ext>
    </p:extLst>
  </p:cSld>
  <p:clrMapOvr>
    <a:masterClrMapping/>
  </p:clrMapOvr>
</p:sld>
</file>

<file path=ppt/slides/slide5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9/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Enfant | La Vache Qui Rit | Carrefour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45946006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512</a:t>
            </a:fld>
            <a:endParaRPr lang="en-US"/>
          </a:p>
        </p:txBody>
      </p:sp>
    </p:spTree>
    <p:extLst>
      <p:ext uri="{BB962C8B-B14F-4D97-AF65-F5344CB8AC3E}">
        <p14:creationId xmlns:p14="http://schemas.microsoft.com/office/powerpoint/2010/main" val="2083207175"/>
      </p:ext>
    </p:extLst>
  </p:cSld>
  <p:clrMapOvr>
    <a:masterClrMapping/>
  </p:clrMapOvr>
</p:sld>
</file>

<file path=ppt/slides/slide5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9/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Enfant | Kiri | Intermarche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45946006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513</a:t>
            </a:fld>
            <a:endParaRPr lang="en-US"/>
          </a:p>
        </p:txBody>
      </p:sp>
    </p:spTree>
    <p:extLst>
      <p:ext uri="{BB962C8B-B14F-4D97-AF65-F5344CB8AC3E}">
        <p14:creationId xmlns:p14="http://schemas.microsoft.com/office/powerpoint/2010/main" val="3448703379"/>
      </p:ext>
    </p:extLst>
  </p:cSld>
  <p:clrMapOvr>
    <a:masterClrMapping/>
  </p:clrMapOvr>
</p:sld>
</file>

<file path=ppt/slides/slide5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9/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Enfant | La Vache Qui Rit | Intermarche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45946006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514</a:t>
            </a:fld>
            <a:endParaRPr lang="en-US"/>
          </a:p>
        </p:txBody>
      </p:sp>
    </p:spTree>
    <p:extLst>
      <p:ext uri="{BB962C8B-B14F-4D97-AF65-F5344CB8AC3E}">
        <p14:creationId xmlns:p14="http://schemas.microsoft.com/office/powerpoint/2010/main" val="3199171872"/>
      </p:ext>
    </p:extLst>
  </p:cSld>
  <p:clrMapOvr>
    <a:masterClrMapping/>
  </p:clrMapOvr>
</p:sld>
</file>

<file path=ppt/slides/slide5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9/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Enfant | Kiri | Carrefour Hyper + Drive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45946006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515</a:t>
            </a:fld>
            <a:endParaRPr lang="en-US"/>
          </a:p>
        </p:txBody>
      </p:sp>
    </p:spTree>
    <p:extLst>
      <p:ext uri="{BB962C8B-B14F-4D97-AF65-F5344CB8AC3E}">
        <p14:creationId xmlns:p14="http://schemas.microsoft.com/office/powerpoint/2010/main" val="3261109231"/>
      </p:ext>
    </p:extLst>
  </p:cSld>
  <p:clrMapOvr>
    <a:masterClrMapping/>
  </p:clrMapOvr>
</p:sld>
</file>

<file path=ppt/slides/slide5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9/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Enfant | La Vache Qui Rit | Carrefour Hyper + Drive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45946006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516</a:t>
            </a:fld>
            <a:endParaRPr lang="en-US"/>
          </a:p>
        </p:txBody>
      </p:sp>
    </p:spTree>
    <p:extLst>
      <p:ext uri="{BB962C8B-B14F-4D97-AF65-F5344CB8AC3E}">
        <p14:creationId xmlns:p14="http://schemas.microsoft.com/office/powerpoint/2010/main" val="2310857880"/>
      </p:ext>
    </p:extLst>
  </p:cSld>
  <p:clrMapOvr>
    <a:masterClrMapping/>
  </p:clrMapOvr>
</p:sld>
</file>

<file path=ppt/slides/slide5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9/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Enfant | Kiri | Carrefour Supermarket + Drive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45946006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517</a:t>
            </a:fld>
            <a:endParaRPr lang="en-US"/>
          </a:p>
        </p:txBody>
      </p:sp>
    </p:spTree>
    <p:extLst>
      <p:ext uri="{BB962C8B-B14F-4D97-AF65-F5344CB8AC3E}">
        <p14:creationId xmlns:p14="http://schemas.microsoft.com/office/powerpoint/2010/main" val="482983160"/>
      </p:ext>
    </p:extLst>
  </p:cSld>
  <p:clrMapOvr>
    <a:masterClrMapping/>
  </p:clrMapOvr>
</p:sld>
</file>

<file path=ppt/slides/slide5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9/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Enfant | La Vache Qui Rit | Carrefour Supermarket + Drive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45946006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518</a:t>
            </a:fld>
            <a:endParaRPr lang="en-US"/>
          </a:p>
        </p:txBody>
      </p:sp>
    </p:spTree>
    <p:extLst>
      <p:ext uri="{BB962C8B-B14F-4D97-AF65-F5344CB8AC3E}">
        <p14:creationId xmlns:p14="http://schemas.microsoft.com/office/powerpoint/2010/main" val="2982446873"/>
      </p:ext>
    </p:extLst>
  </p:cSld>
  <p:clrMapOvr>
    <a:masterClrMapping/>
  </p:clrMapOvr>
</p:sld>
</file>

<file path=ppt/slides/slide5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9/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Enfant | Kiri | Carrefour Proximite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45946006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519</a:t>
            </a:fld>
            <a:endParaRPr lang="en-US"/>
          </a:p>
        </p:txBody>
      </p:sp>
    </p:spTree>
    <p:extLst>
      <p:ext uri="{BB962C8B-B14F-4D97-AF65-F5344CB8AC3E}">
        <p14:creationId xmlns:p14="http://schemas.microsoft.com/office/powerpoint/2010/main" val="1989287192"/>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9/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Salade | Carrefour Supermarket + Drive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52</a:t>
            </a:fld>
            <a:endParaRPr lang="en-US"/>
          </a:p>
        </p:txBody>
      </p:sp>
    </p:spTree>
    <p:extLst>
      <p:ext uri="{BB962C8B-B14F-4D97-AF65-F5344CB8AC3E}">
        <p14:creationId xmlns:p14="http://schemas.microsoft.com/office/powerpoint/2010/main" val="807027870"/>
      </p:ext>
    </p:extLst>
  </p:cSld>
  <p:clrMapOvr>
    <a:masterClrMapping/>
  </p:clrMapOvr>
</p:sld>
</file>

<file path=ppt/slides/slide5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9/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Enfant | La Vache Qui Rit | Carrefour Proximite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45946006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520</a:t>
            </a:fld>
            <a:endParaRPr lang="en-US"/>
          </a:p>
        </p:txBody>
      </p:sp>
    </p:spTree>
    <p:extLst>
      <p:ext uri="{BB962C8B-B14F-4D97-AF65-F5344CB8AC3E}">
        <p14:creationId xmlns:p14="http://schemas.microsoft.com/office/powerpoint/2010/main" val="2645252491"/>
      </p:ext>
    </p:extLst>
  </p:cSld>
  <p:clrMapOvr>
    <a:masterClrMapping/>
  </p:clrMapOvr>
</p:sld>
</file>

<file path=ppt/slides/slide5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9/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Enfant | Kiri | Intermarche Super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45946006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521</a:t>
            </a:fld>
            <a:endParaRPr lang="en-US"/>
          </a:p>
        </p:txBody>
      </p:sp>
    </p:spTree>
    <p:extLst>
      <p:ext uri="{BB962C8B-B14F-4D97-AF65-F5344CB8AC3E}">
        <p14:creationId xmlns:p14="http://schemas.microsoft.com/office/powerpoint/2010/main" val="3239769743"/>
      </p:ext>
    </p:extLst>
  </p:cSld>
  <p:clrMapOvr>
    <a:masterClrMapping/>
  </p:clrMapOvr>
</p:sld>
</file>

<file path=ppt/slides/slide5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9/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Enfant | La Vache Qui Rit | Intermarche Super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45946006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522</a:t>
            </a:fld>
            <a:endParaRPr lang="en-US"/>
          </a:p>
        </p:txBody>
      </p:sp>
    </p:spTree>
    <p:extLst>
      <p:ext uri="{BB962C8B-B14F-4D97-AF65-F5344CB8AC3E}">
        <p14:creationId xmlns:p14="http://schemas.microsoft.com/office/powerpoint/2010/main" val="2065414956"/>
      </p:ext>
    </p:extLst>
  </p:cSld>
  <p:clrMapOvr>
    <a:masterClrMapping/>
  </p:clrMapOvr>
</p:sld>
</file>

<file path=ppt/slides/slide5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9/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Enfant | Kiri | Intermarche Hyper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45946006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523</a:t>
            </a:fld>
            <a:endParaRPr lang="en-US"/>
          </a:p>
        </p:txBody>
      </p:sp>
    </p:spTree>
    <p:extLst>
      <p:ext uri="{BB962C8B-B14F-4D97-AF65-F5344CB8AC3E}">
        <p14:creationId xmlns:p14="http://schemas.microsoft.com/office/powerpoint/2010/main" val="3466246939"/>
      </p:ext>
    </p:extLst>
  </p:cSld>
  <p:clrMapOvr>
    <a:masterClrMapping/>
  </p:clrMapOvr>
</p:sld>
</file>

<file path=ppt/slides/slide5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9/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Enfant | La Vache Qui Rit | Intermarche Hyper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45946006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524</a:t>
            </a:fld>
            <a:endParaRPr lang="en-US"/>
          </a:p>
        </p:txBody>
      </p:sp>
    </p:spTree>
    <p:extLst>
      <p:ext uri="{BB962C8B-B14F-4D97-AF65-F5344CB8AC3E}">
        <p14:creationId xmlns:p14="http://schemas.microsoft.com/office/powerpoint/2010/main" val="2767138480"/>
      </p:ext>
    </p:extLst>
  </p:cSld>
  <p:clrMapOvr>
    <a:masterClrMapping/>
  </p:clrMapOvr>
</p:sld>
</file>

<file path=ppt/slides/slide5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9/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Enfant | Kiri | Intermarche Proxi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45946006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525</a:t>
            </a:fld>
            <a:endParaRPr lang="en-US"/>
          </a:p>
        </p:txBody>
      </p:sp>
    </p:spTree>
    <p:extLst>
      <p:ext uri="{BB962C8B-B14F-4D97-AF65-F5344CB8AC3E}">
        <p14:creationId xmlns:p14="http://schemas.microsoft.com/office/powerpoint/2010/main" val="1453632076"/>
      </p:ext>
    </p:extLst>
  </p:cSld>
  <p:clrMapOvr>
    <a:masterClrMapping/>
  </p:clrMapOvr>
</p:sld>
</file>

<file path=ppt/slides/slide5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9/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Enfant | La Vache Qui Rit | Intermarche Proxi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45946006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526</a:t>
            </a:fld>
            <a:endParaRPr lang="en-US"/>
          </a:p>
        </p:txBody>
      </p:sp>
    </p:spTree>
    <p:extLst>
      <p:ext uri="{BB962C8B-B14F-4D97-AF65-F5344CB8AC3E}">
        <p14:creationId xmlns:p14="http://schemas.microsoft.com/office/powerpoint/2010/main" val="2002396812"/>
      </p:ext>
    </p:extLst>
  </p:cSld>
  <p:clrMapOvr>
    <a:masterClrMapping/>
  </p:clrMapOvr>
</p:sld>
</file>

<file path=ppt/slides/slide5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9/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Frais A Tartiner | Kiri | Carrefour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45946006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527</a:t>
            </a:fld>
            <a:endParaRPr lang="en-US"/>
          </a:p>
        </p:txBody>
      </p:sp>
    </p:spTree>
    <p:extLst>
      <p:ext uri="{BB962C8B-B14F-4D97-AF65-F5344CB8AC3E}">
        <p14:creationId xmlns:p14="http://schemas.microsoft.com/office/powerpoint/2010/main" val="242232614"/>
      </p:ext>
    </p:extLst>
  </p:cSld>
  <p:clrMapOvr>
    <a:masterClrMapping/>
  </p:clrMapOvr>
</p:sld>
</file>

<file path=ppt/slides/slide5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9/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Frais A Tartiner | Boursin | Carrefour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45946006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528</a:t>
            </a:fld>
            <a:endParaRPr lang="en-US"/>
          </a:p>
        </p:txBody>
      </p:sp>
    </p:spTree>
    <p:extLst>
      <p:ext uri="{BB962C8B-B14F-4D97-AF65-F5344CB8AC3E}">
        <p14:creationId xmlns:p14="http://schemas.microsoft.com/office/powerpoint/2010/main" val="1706579284"/>
      </p:ext>
    </p:extLst>
  </p:cSld>
  <p:clrMapOvr>
    <a:masterClrMapping/>
  </p:clrMapOvr>
</p:sld>
</file>

<file path=ppt/slides/slide5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9/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Frais A Tartiner | Kiri | Intermarche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45946006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529</a:t>
            </a:fld>
            <a:endParaRPr lang="en-US"/>
          </a:p>
        </p:txBody>
      </p:sp>
    </p:spTree>
    <p:extLst>
      <p:ext uri="{BB962C8B-B14F-4D97-AF65-F5344CB8AC3E}">
        <p14:creationId xmlns:p14="http://schemas.microsoft.com/office/powerpoint/2010/main" val="140689152"/>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9/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Salade | Carrefour Proximite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53</a:t>
            </a:fld>
            <a:endParaRPr lang="en-US"/>
          </a:p>
        </p:txBody>
      </p:sp>
    </p:spTree>
    <p:extLst>
      <p:ext uri="{BB962C8B-B14F-4D97-AF65-F5344CB8AC3E}">
        <p14:creationId xmlns:p14="http://schemas.microsoft.com/office/powerpoint/2010/main" val="2092312511"/>
      </p:ext>
    </p:extLst>
  </p:cSld>
  <p:clrMapOvr>
    <a:masterClrMapping/>
  </p:clrMapOvr>
</p:sld>
</file>

<file path=ppt/slides/slide5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9/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Frais A Tartiner | Boursin | Intermarche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45946006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530</a:t>
            </a:fld>
            <a:endParaRPr lang="en-US"/>
          </a:p>
        </p:txBody>
      </p:sp>
    </p:spTree>
    <p:extLst>
      <p:ext uri="{BB962C8B-B14F-4D97-AF65-F5344CB8AC3E}">
        <p14:creationId xmlns:p14="http://schemas.microsoft.com/office/powerpoint/2010/main" val="1329771453"/>
      </p:ext>
    </p:extLst>
  </p:cSld>
  <p:clrMapOvr>
    <a:masterClrMapping/>
  </p:clrMapOvr>
</p:sld>
</file>

<file path=ppt/slides/slide5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9/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Frais A Tartiner | Kiri | Carrefour Hyper + Drive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45946006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531</a:t>
            </a:fld>
            <a:endParaRPr lang="en-US"/>
          </a:p>
        </p:txBody>
      </p:sp>
    </p:spTree>
    <p:extLst>
      <p:ext uri="{BB962C8B-B14F-4D97-AF65-F5344CB8AC3E}">
        <p14:creationId xmlns:p14="http://schemas.microsoft.com/office/powerpoint/2010/main" val="147001579"/>
      </p:ext>
    </p:extLst>
  </p:cSld>
  <p:clrMapOvr>
    <a:masterClrMapping/>
  </p:clrMapOvr>
</p:sld>
</file>

<file path=ppt/slides/slide5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9/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Frais A Tartiner | Boursin | Carrefour Hyper + Drive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45946006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532</a:t>
            </a:fld>
            <a:endParaRPr lang="en-US"/>
          </a:p>
        </p:txBody>
      </p:sp>
    </p:spTree>
    <p:extLst>
      <p:ext uri="{BB962C8B-B14F-4D97-AF65-F5344CB8AC3E}">
        <p14:creationId xmlns:p14="http://schemas.microsoft.com/office/powerpoint/2010/main" val="4192921518"/>
      </p:ext>
    </p:extLst>
  </p:cSld>
  <p:clrMapOvr>
    <a:masterClrMapping/>
  </p:clrMapOvr>
</p:sld>
</file>

<file path=ppt/slides/slide5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9/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Frais A Tartiner | Kiri | Carrefour Supermarket + Drive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45946006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533</a:t>
            </a:fld>
            <a:endParaRPr lang="en-US"/>
          </a:p>
        </p:txBody>
      </p:sp>
    </p:spTree>
    <p:extLst>
      <p:ext uri="{BB962C8B-B14F-4D97-AF65-F5344CB8AC3E}">
        <p14:creationId xmlns:p14="http://schemas.microsoft.com/office/powerpoint/2010/main" val="1184549494"/>
      </p:ext>
    </p:extLst>
  </p:cSld>
  <p:clrMapOvr>
    <a:masterClrMapping/>
  </p:clrMapOvr>
</p:sld>
</file>

<file path=ppt/slides/slide5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9/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Frais A Tartiner | Boursin | Carrefour Supermarket + Drive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45946006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534</a:t>
            </a:fld>
            <a:endParaRPr lang="en-US"/>
          </a:p>
        </p:txBody>
      </p:sp>
    </p:spTree>
    <p:extLst>
      <p:ext uri="{BB962C8B-B14F-4D97-AF65-F5344CB8AC3E}">
        <p14:creationId xmlns:p14="http://schemas.microsoft.com/office/powerpoint/2010/main" val="2008224400"/>
      </p:ext>
    </p:extLst>
  </p:cSld>
  <p:clrMapOvr>
    <a:masterClrMapping/>
  </p:clrMapOvr>
</p:sld>
</file>

<file path=ppt/slides/slide5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9/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Frais A Tartiner | Kiri | Carrefour Proximite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45946006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535</a:t>
            </a:fld>
            <a:endParaRPr lang="en-US"/>
          </a:p>
        </p:txBody>
      </p:sp>
    </p:spTree>
    <p:extLst>
      <p:ext uri="{BB962C8B-B14F-4D97-AF65-F5344CB8AC3E}">
        <p14:creationId xmlns:p14="http://schemas.microsoft.com/office/powerpoint/2010/main" val="430195539"/>
      </p:ext>
    </p:extLst>
  </p:cSld>
  <p:clrMapOvr>
    <a:masterClrMapping/>
  </p:clrMapOvr>
</p:sld>
</file>

<file path=ppt/slides/slide5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9/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Frais A Tartiner | Boursin | Carrefour Proximite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45946006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536</a:t>
            </a:fld>
            <a:endParaRPr lang="en-US"/>
          </a:p>
        </p:txBody>
      </p:sp>
    </p:spTree>
    <p:extLst>
      <p:ext uri="{BB962C8B-B14F-4D97-AF65-F5344CB8AC3E}">
        <p14:creationId xmlns:p14="http://schemas.microsoft.com/office/powerpoint/2010/main" val="878435209"/>
      </p:ext>
    </p:extLst>
  </p:cSld>
  <p:clrMapOvr>
    <a:masterClrMapping/>
  </p:clrMapOvr>
</p:sld>
</file>

<file path=ppt/slides/slide5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9/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Frais A Tartiner | Kiri | Intermarche Super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45946006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537</a:t>
            </a:fld>
            <a:endParaRPr lang="en-US"/>
          </a:p>
        </p:txBody>
      </p:sp>
    </p:spTree>
    <p:extLst>
      <p:ext uri="{BB962C8B-B14F-4D97-AF65-F5344CB8AC3E}">
        <p14:creationId xmlns:p14="http://schemas.microsoft.com/office/powerpoint/2010/main" val="3583488809"/>
      </p:ext>
    </p:extLst>
  </p:cSld>
  <p:clrMapOvr>
    <a:masterClrMapping/>
  </p:clrMapOvr>
</p:sld>
</file>

<file path=ppt/slides/slide5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9/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Frais A Tartiner | Boursin | Intermarche Super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45946006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538</a:t>
            </a:fld>
            <a:endParaRPr lang="en-US"/>
          </a:p>
        </p:txBody>
      </p:sp>
    </p:spTree>
    <p:extLst>
      <p:ext uri="{BB962C8B-B14F-4D97-AF65-F5344CB8AC3E}">
        <p14:creationId xmlns:p14="http://schemas.microsoft.com/office/powerpoint/2010/main" val="3725043888"/>
      </p:ext>
    </p:extLst>
  </p:cSld>
  <p:clrMapOvr>
    <a:masterClrMapping/>
  </p:clrMapOvr>
</p:sld>
</file>

<file path=ppt/slides/slide5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9/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Frais A Tartiner | Kiri | Intermarche Hyper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45946006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539</a:t>
            </a:fld>
            <a:endParaRPr lang="en-US"/>
          </a:p>
        </p:txBody>
      </p:sp>
    </p:spTree>
    <p:extLst>
      <p:ext uri="{BB962C8B-B14F-4D97-AF65-F5344CB8AC3E}">
        <p14:creationId xmlns:p14="http://schemas.microsoft.com/office/powerpoint/2010/main" val="1408254005"/>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9/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Salade | Intermarche Super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54</a:t>
            </a:fld>
            <a:endParaRPr lang="en-US"/>
          </a:p>
        </p:txBody>
      </p:sp>
    </p:spTree>
    <p:extLst>
      <p:ext uri="{BB962C8B-B14F-4D97-AF65-F5344CB8AC3E}">
        <p14:creationId xmlns:p14="http://schemas.microsoft.com/office/powerpoint/2010/main" val="447807571"/>
      </p:ext>
    </p:extLst>
  </p:cSld>
  <p:clrMapOvr>
    <a:masterClrMapping/>
  </p:clrMapOvr>
</p:sld>
</file>

<file path=ppt/slides/slide5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9/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Frais A Tartiner | Boursin | Intermarche Hyper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45946006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540</a:t>
            </a:fld>
            <a:endParaRPr lang="en-US"/>
          </a:p>
        </p:txBody>
      </p:sp>
    </p:spTree>
    <p:extLst>
      <p:ext uri="{BB962C8B-B14F-4D97-AF65-F5344CB8AC3E}">
        <p14:creationId xmlns:p14="http://schemas.microsoft.com/office/powerpoint/2010/main" val="3373215149"/>
      </p:ext>
    </p:extLst>
  </p:cSld>
  <p:clrMapOvr>
    <a:masterClrMapping/>
  </p:clrMapOvr>
</p:sld>
</file>

<file path=ppt/slides/slide5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9/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Frais A Tartiner | Kiri | Intermarche Proxi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45946006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541</a:t>
            </a:fld>
            <a:endParaRPr lang="en-US"/>
          </a:p>
        </p:txBody>
      </p:sp>
    </p:spTree>
    <p:extLst>
      <p:ext uri="{BB962C8B-B14F-4D97-AF65-F5344CB8AC3E}">
        <p14:creationId xmlns:p14="http://schemas.microsoft.com/office/powerpoint/2010/main" val="3276945624"/>
      </p:ext>
    </p:extLst>
  </p:cSld>
  <p:clrMapOvr>
    <a:masterClrMapping/>
  </p:clrMapOvr>
</p:sld>
</file>

<file path=ppt/slides/slide5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9/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Frais A Tartiner | Boursin | Intermarche Proxi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45946006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542</a:t>
            </a:fld>
            <a:endParaRPr lang="en-US"/>
          </a:p>
        </p:txBody>
      </p:sp>
    </p:spTree>
    <p:extLst>
      <p:ext uri="{BB962C8B-B14F-4D97-AF65-F5344CB8AC3E}">
        <p14:creationId xmlns:p14="http://schemas.microsoft.com/office/powerpoint/2010/main" val="3992362172"/>
      </p:ext>
    </p:extLst>
  </p:cSld>
  <p:clrMapOvr>
    <a:masterClrMapping/>
  </p:clrMapOvr>
</p:sld>
</file>

<file path=ppt/slides/slide5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9/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Salade | Boursin | Carrefour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45946006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543</a:t>
            </a:fld>
            <a:endParaRPr lang="en-US"/>
          </a:p>
        </p:txBody>
      </p:sp>
    </p:spTree>
    <p:extLst>
      <p:ext uri="{BB962C8B-B14F-4D97-AF65-F5344CB8AC3E}">
        <p14:creationId xmlns:p14="http://schemas.microsoft.com/office/powerpoint/2010/main" val="116621634"/>
      </p:ext>
    </p:extLst>
  </p:cSld>
  <p:clrMapOvr>
    <a:masterClrMapping/>
  </p:clrMapOvr>
</p:sld>
</file>

<file path=ppt/slides/slide5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9/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Salade | Boursin | Intermarche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45946006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544</a:t>
            </a:fld>
            <a:endParaRPr lang="en-US"/>
          </a:p>
        </p:txBody>
      </p:sp>
    </p:spTree>
    <p:extLst>
      <p:ext uri="{BB962C8B-B14F-4D97-AF65-F5344CB8AC3E}">
        <p14:creationId xmlns:p14="http://schemas.microsoft.com/office/powerpoint/2010/main" val="1290270232"/>
      </p:ext>
    </p:extLst>
  </p:cSld>
  <p:clrMapOvr>
    <a:masterClrMapping/>
  </p:clrMapOvr>
</p:sld>
</file>

<file path=ppt/slides/slide5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9/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Salade | Boursin | Carrefour Hyper + Drive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45946006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545</a:t>
            </a:fld>
            <a:endParaRPr lang="en-US"/>
          </a:p>
        </p:txBody>
      </p:sp>
    </p:spTree>
    <p:extLst>
      <p:ext uri="{BB962C8B-B14F-4D97-AF65-F5344CB8AC3E}">
        <p14:creationId xmlns:p14="http://schemas.microsoft.com/office/powerpoint/2010/main" val="967763763"/>
      </p:ext>
    </p:extLst>
  </p:cSld>
  <p:clrMapOvr>
    <a:masterClrMapping/>
  </p:clrMapOvr>
</p:sld>
</file>

<file path=ppt/slides/slide5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9/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Salade | Boursin | Carrefour Supermarket + Drive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45946006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546</a:t>
            </a:fld>
            <a:endParaRPr lang="en-US"/>
          </a:p>
        </p:txBody>
      </p:sp>
    </p:spTree>
    <p:extLst>
      <p:ext uri="{BB962C8B-B14F-4D97-AF65-F5344CB8AC3E}">
        <p14:creationId xmlns:p14="http://schemas.microsoft.com/office/powerpoint/2010/main" val="1119071662"/>
      </p:ext>
    </p:extLst>
  </p:cSld>
  <p:clrMapOvr>
    <a:masterClrMapping/>
  </p:clrMapOvr>
</p:sld>
</file>

<file path=ppt/slides/slide5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9/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Salade | Boursin | Carrefour Proximite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45946006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547</a:t>
            </a:fld>
            <a:endParaRPr lang="en-US"/>
          </a:p>
        </p:txBody>
      </p:sp>
    </p:spTree>
    <p:extLst>
      <p:ext uri="{BB962C8B-B14F-4D97-AF65-F5344CB8AC3E}">
        <p14:creationId xmlns:p14="http://schemas.microsoft.com/office/powerpoint/2010/main" val="2961383562"/>
      </p:ext>
    </p:extLst>
  </p:cSld>
  <p:clrMapOvr>
    <a:masterClrMapping/>
  </p:clrMapOvr>
</p:sld>
</file>

<file path=ppt/slides/slide5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9/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Salade | Boursin | Intermarche Super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45946006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548</a:t>
            </a:fld>
            <a:endParaRPr lang="en-US"/>
          </a:p>
        </p:txBody>
      </p:sp>
    </p:spTree>
    <p:extLst>
      <p:ext uri="{BB962C8B-B14F-4D97-AF65-F5344CB8AC3E}">
        <p14:creationId xmlns:p14="http://schemas.microsoft.com/office/powerpoint/2010/main" val="2680254425"/>
      </p:ext>
    </p:extLst>
  </p:cSld>
  <p:clrMapOvr>
    <a:masterClrMapping/>
  </p:clrMapOvr>
</p:sld>
</file>

<file path=ppt/slides/slide5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9/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Salade | Boursin | Intermarche Hyper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45946006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549</a:t>
            </a:fld>
            <a:endParaRPr lang="en-US"/>
          </a:p>
        </p:txBody>
      </p:sp>
    </p:spTree>
    <p:extLst>
      <p:ext uri="{BB962C8B-B14F-4D97-AF65-F5344CB8AC3E}">
        <p14:creationId xmlns:p14="http://schemas.microsoft.com/office/powerpoint/2010/main" val="1302374807"/>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9/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Salade | Intermarche Hyper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55</a:t>
            </a:fld>
            <a:endParaRPr lang="en-US"/>
          </a:p>
        </p:txBody>
      </p:sp>
    </p:spTree>
    <p:extLst>
      <p:ext uri="{BB962C8B-B14F-4D97-AF65-F5344CB8AC3E}">
        <p14:creationId xmlns:p14="http://schemas.microsoft.com/office/powerpoint/2010/main" val="308932520"/>
      </p:ext>
    </p:extLst>
  </p:cSld>
  <p:clrMapOvr>
    <a:masterClrMapping/>
  </p:clrMapOvr>
</p:sld>
</file>

<file path=ppt/slides/slide5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9/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Salade | Boursin | Intermarche Proxi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45946006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550</a:t>
            </a:fld>
            <a:endParaRPr lang="en-US"/>
          </a:p>
        </p:txBody>
      </p:sp>
    </p:spTree>
    <p:extLst>
      <p:ext uri="{BB962C8B-B14F-4D97-AF65-F5344CB8AC3E}">
        <p14:creationId xmlns:p14="http://schemas.microsoft.com/office/powerpoint/2010/main" val="1929014145"/>
      </p:ext>
    </p:extLst>
  </p:cSld>
  <p:clrMapOvr>
    <a:masterClrMapping/>
  </p:clrMapOvr>
</p:sld>
</file>

<file path=ppt/slides/slide5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9/9/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pPr>
              <a:defRPr sz="1200">
                <a:latin typeface="Nexa Bold (Headings)"/>
              </a:defRPr>
            </a:pPr>
            <a:r>
              <a:t>Sector fair share | Total Fromage | Bel | Intermarche Hyper | P12M</a:t>
            </a:r>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pPr>
              <a:defRPr sz="1600">
                <a:latin typeface="Nexa Bold (Headings)"/>
              </a:defRPr>
            </a:pPr>
            <a:r>
              <a:rPr lang="en-GB" dirty="0">
                <a:highlight>
                  <a:srgbClr val="FFFF00"/>
                </a:highlight>
              </a:rPr>
              <a:t>Sector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el </a:t>
                      </a:r>
                    </a:p>
                    <a:p>
                      <a:pPr algn="ctr">
                        <a:defRPr sz="900" b="1">
                          <a:latin typeface="Nexa (Headings)"/>
                        </a:defRPr>
                      </a:pPr>
                      <a: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el </a:t>
                      </a:r>
                    </a:p>
                    <a:p>
                      <a:pPr algn="ctr">
                        <a:defRPr sz="900" b="1">
                          <a:latin typeface="Nexa (Headings)"/>
                        </a:defRPr>
                      </a:pPr>
                      <a: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el </a:t>
                      </a:r>
                    </a:p>
                    <a:p>
                      <a:pPr algn="ctr">
                        <a:defRPr sz="900" b="1">
                          <a:latin typeface="Nexa (Headings)"/>
                        </a:defRPr>
                      </a:pPr>
                      <a: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el </a:t>
                      </a:r>
                    </a:p>
                    <a:p>
                      <a:pPr algn="ctr">
                        <a:defRPr sz="900" b="1">
                          <a:latin typeface="Nexa (Headings)"/>
                        </a:defRPr>
                      </a:pPr>
                      <a: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el</a:t>
                      </a:r>
                    </a:p>
                    <a:p>
                      <a:pPr algn="ctr">
                        <a:defRPr sz="900" b="1">
                          <a:latin typeface="Nexa (Headings)"/>
                        </a:defRPr>
                      </a:pPr>
                      <a: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831402">
                <a:tc>
                  <a:txBody>
                    <a:bodyPr/>
                    <a:lstStyle/>
                    <a:p>
                      <a:pPr algn="ctr">
                        <a:defRPr sz="800" b="1">
                          <a:latin typeface="Nexa (Headings)"/>
                        </a:defRPr>
                      </a:pPr>
                      <a:r>
                        <a:t>Grand Total</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748</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78</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27%</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32%</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81</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3</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831402">
                <a:tc>
                  <a:txBody>
                    <a:bodyPr/>
                    <a:lstStyle/>
                    <a:p>
                      <a:pPr algn="ctr">
                        <a:defRPr sz="800" b="1">
                          <a:latin typeface="Nexa (Headings)"/>
                        </a:defRPr>
                      </a:pPr>
                      <a:r>
                        <a:t>Ingredient A Chaud</a:t>
                      </a:r>
                    </a:p>
                  </a:txBody>
                  <a:tcPr marL="3810" marR="3810" marT="3810" marB="0" anchor="ctr">
                    <a:noFill/>
                  </a:tcPr>
                </a:tc>
                <a:tc>
                  <a:txBody>
                    <a:bodyPr/>
                    <a:lstStyle/>
                    <a:p>
                      <a:pPr algn="ctr">
                        <a:defRPr sz="800">
                          <a:latin typeface="Nexa Book"/>
                        </a:defRPr>
                      </a:pPr>
                      <a:r>
                        <a:t>20</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5%</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3161381"/>
                  </a:ext>
                </a:extLst>
              </a:tr>
              <a:tr h="831402">
                <a:tc>
                  <a:txBody>
                    <a:bodyPr/>
                    <a:lstStyle/>
                    <a:p>
                      <a:pPr algn="ctr">
                        <a:defRPr sz="800" b="1">
                          <a:latin typeface="Nexa (Headings)"/>
                        </a:defRPr>
                      </a:pPr>
                      <a:r>
                        <a:t>Aperitif</a:t>
                      </a:r>
                    </a:p>
                  </a:txBody>
                  <a:tcPr marL="3810" marR="3810" marT="3810" marB="0" anchor="ctr">
                    <a:noFill/>
                  </a:tcPr>
                </a:tc>
                <a:tc>
                  <a:txBody>
                    <a:bodyPr/>
                    <a:lstStyle/>
                    <a:p>
                      <a:pPr algn="ctr">
                        <a:defRPr sz="800">
                          <a:latin typeface="Nexa Book"/>
                        </a:defRPr>
                      </a:pPr>
                      <a:r>
                        <a:t>36</a:t>
                      </a:r>
                    </a:p>
                  </a:txBody>
                  <a:tcPr marL="3810" marR="3810" marT="3810" marB="0" anchor="ctr">
                    <a:noFill/>
                  </a:tcPr>
                </a:tc>
                <a:tc>
                  <a:txBody>
                    <a:bodyPr/>
                    <a:lstStyle/>
                    <a:p>
                      <a:pPr algn="ctr">
                        <a:defRPr sz="800">
                          <a:latin typeface="Nexa Book"/>
                        </a:defRPr>
                      </a:pPr>
                      <a:r>
                        <a:t>20</a:t>
                      </a:r>
                    </a:p>
                  </a:txBody>
                  <a:tcPr marL="3810" marR="3810" marT="3810" marB="0" anchor="ctr">
                    <a:noFill/>
                  </a:tcPr>
                </a:tc>
                <a:tc>
                  <a:txBody>
                    <a:bodyPr/>
                    <a:lstStyle/>
                    <a:p>
                      <a:pPr algn="ctr">
                        <a:defRPr sz="800">
                          <a:latin typeface="Nexa Book"/>
                        </a:defRPr>
                      </a:pPr>
                      <a:r>
                        <a:t>55%</a:t>
                      </a:r>
                    </a:p>
                  </a:txBody>
                  <a:tcPr marL="3810" marR="3810" marT="3810" marB="0" anchor="ctr">
                    <a:noFill/>
                  </a:tcPr>
                </a:tc>
                <a:tc>
                  <a:txBody>
                    <a:bodyPr/>
                    <a:lstStyle/>
                    <a:p>
                      <a:pPr algn="ctr">
                        <a:defRPr sz="800">
                          <a:latin typeface="Nexa Book"/>
                        </a:defRPr>
                      </a:pPr>
                      <a:r>
                        <a:t>74%</a:t>
                      </a:r>
                    </a:p>
                  </a:txBody>
                  <a:tcPr marL="3810" marR="3810" marT="3810" marB="0" anchor="ctr">
                    <a:noFill/>
                  </a:tcPr>
                </a:tc>
                <a:tc>
                  <a:txBody>
                    <a:bodyPr/>
                    <a:lstStyle/>
                    <a:p>
                      <a:pPr algn="ctr">
                        <a:defRPr sz="800">
                          <a:latin typeface="Nexa Book"/>
                        </a:defRPr>
                      </a:pPr>
                      <a:r>
                        <a:t>27</a:t>
                      </a:r>
                    </a:p>
                  </a:txBody>
                  <a:tcPr marL="3810" marR="3810" marT="3810" marB="0" anchor="ctr">
                    <a:noFill/>
                  </a:tcPr>
                </a:tc>
                <a:tc>
                  <a:txBody>
                    <a:bodyPr/>
                    <a:lstStyle/>
                    <a:p>
                      <a:pPr algn="ctr">
                        <a:defRPr sz="800">
                          <a:latin typeface="Nexa Book"/>
                        </a:defRPr>
                      </a:pPr>
                      <a:r>
                        <a:t>7</a:t>
                      </a:r>
                    </a:p>
                  </a:txBody>
                  <a:tcPr marL="3810" marR="3810" marT="3810" marB="0" anchor="ctr">
                    <a:noFill/>
                  </a:tcPr>
                </a:tc>
                <a:extLst>
                  <a:ext uri="{0D108BD9-81ED-4DB2-BD59-A6C34878D82A}">
                    <a16:rowId xmlns:a16="http://schemas.microsoft.com/office/drawing/2014/main" val="1752397169"/>
                  </a:ext>
                </a:extLst>
              </a:tr>
              <a:tr h="831402">
                <a:tc>
                  <a:txBody>
                    <a:bodyPr/>
                    <a:lstStyle/>
                    <a:p>
                      <a:pPr algn="ctr">
                        <a:defRPr sz="800" b="1">
                          <a:latin typeface="Nexa (Headings)"/>
                        </a:defRPr>
                      </a:pPr>
                      <a:r>
                        <a:t>Soft Cheese</a:t>
                      </a:r>
                    </a:p>
                  </a:txBody>
                  <a:tcPr marL="3810" marR="3810" marT="3810" marB="0" anchor="ctr">
                    <a:noFill/>
                  </a:tcPr>
                </a:tc>
                <a:tc>
                  <a:txBody>
                    <a:bodyPr/>
                    <a:lstStyle/>
                    <a:p>
                      <a:pPr algn="ctr">
                        <a:defRPr sz="800">
                          <a:latin typeface="Nexa Book"/>
                        </a:defRPr>
                      </a:pPr>
                      <a:r>
                        <a:t>318</a:t>
                      </a:r>
                    </a:p>
                  </a:txBody>
                  <a:tcPr marL="3810" marR="3810" marT="3810" marB="0" anchor="ctr">
                    <a:noFill/>
                  </a:tcPr>
                </a:tc>
                <a:tc>
                  <a:txBody>
                    <a:bodyPr/>
                    <a:lstStyle/>
                    <a:p>
                      <a:pPr algn="ctr">
                        <a:defRPr sz="800">
                          <a:latin typeface="Nexa Book"/>
                        </a:defRPr>
                      </a:pPr>
                      <a:r>
                        <a:t>49</a:t>
                      </a:r>
                    </a:p>
                  </a:txBody>
                  <a:tcPr marL="3810" marR="3810" marT="3810" marB="0" anchor="ctr">
                    <a:noFill/>
                  </a:tcPr>
                </a:tc>
                <a:tc>
                  <a:txBody>
                    <a:bodyPr/>
                    <a:lstStyle/>
                    <a:p>
                      <a:pPr algn="ctr">
                        <a:defRPr sz="800">
                          <a:latin typeface="Nexa Book"/>
                        </a:defRPr>
                      </a:pPr>
                      <a:r>
                        <a:t>16%</a:t>
                      </a:r>
                    </a:p>
                  </a:txBody>
                  <a:tcPr marL="3810" marR="3810" marT="3810" marB="0" anchor="ctr">
                    <a:noFill/>
                  </a:tcPr>
                </a:tc>
                <a:tc>
                  <a:txBody>
                    <a:bodyPr/>
                    <a:lstStyle/>
                    <a:p>
                      <a:pPr algn="ctr">
                        <a:defRPr sz="800">
                          <a:latin typeface="Nexa Book"/>
                        </a:defRPr>
                      </a:pPr>
                      <a:r>
                        <a:t>14%</a:t>
                      </a:r>
                    </a:p>
                  </a:txBody>
                  <a:tcPr marL="3810" marR="3810" marT="3810" marB="0" anchor="ctr">
                    <a:noFill/>
                  </a:tcPr>
                </a:tc>
                <a:tc>
                  <a:txBody>
                    <a:bodyPr/>
                    <a:lstStyle/>
                    <a:p>
                      <a:pPr algn="ctr">
                        <a:defRPr sz="800">
                          <a:latin typeface="Nexa Book"/>
                        </a:defRPr>
                      </a:pPr>
                      <a:r>
                        <a:t>44</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3712364869"/>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551</a:t>
            </a:fld>
            <a:endParaRPr lang="en-US"/>
          </a:p>
        </p:txBody>
      </p:sp>
    </p:spTree>
    <p:extLst>
      <p:ext uri="{BB962C8B-B14F-4D97-AF65-F5344CB8AC3E}">
        <p14:creationId xmlns:p14="http://schemas.microsoft.com/office/powerpoint/2010/main" val="2351944127"/>
      </p:ext>
    </p:extLst>
  </p:cSld>
  <p:clrMapOvr>
    <a:masterClrMapping/>
  </p:clrMapOvr>
</p:sld>
</file>

<file path=ppt/slides/slide5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9/9/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pPr>
              <a:defRPr sz="1200">
                <a:latin typeface="Nexa Bold (Headings)"/>
              </a:defRPr>
            </a:pPr>
            <a:r>
              <a:t>Sector fair share | Total Fromage | Bel | Intermarche Proxi | P12M</a:t>
            </a:r>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pPr>
              <a:defRPr sz="1600">
                <a:latin typeface="Nexa Bold (Headings)"/>
              </a:defRPr>
            </a:pPr>
            <a:r>
              <a:rPr lang="en-GB" dirty="0">
                <a:highlight>
                  <a:srgbClr val="FFFF00"/>
                </a:highlight>
              </a:rPr>
              <a:t>Sector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el </a:t>
                      </a:r>
                    </a:p>
                    <a:p>
                      <a:pPr algn="ctr">
                        <a:defRPr sz="900" b="1">
                          <a:latin typeface="Nexa (Headings)"/>
                        </a:defRPr>
                      </a:pPr>
                      <a: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el </a:t>
                      </a:r>
                    </a:p>
                    <a:p>
                      <a:pPr algn="ctr">
                        <a:defRPr sz="900" b="1">
                          <a:latin typeface="Nexa (Headings)"/>
                        </a:defRPr>
                      </a:pPr>
                      <a: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el </a:t>
                      </a:r>
                    </a:p>
                    <a:p>
                      <a:pPr algn="ctr">
                        <a:defRPr sz="900" b="1">
                          <a:latin typeface="Nexa (Headings)"/>
                        </a:defRPr>
                      </a:pPr>
                      <a: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el </a:t>
                      </a:r>
                    </a:p>
                    <a:p>
                      <a:pPr algn="ctr">
                        <a:defRPr sz="900" b="1">
                          <a:latin typeface="Nexa (Headings)"/>
                        </a:defRPr>
                      </a:pPr>
                      <a: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el</a:t>
                      </a:r>
                    </a:p>
                    <a:p>
                      <a:pPr algn="ctr">
                        <a:defRPr sz="900" b="1">
                          <a:latin typeface="Nexa (Headings)"/>
                        </a:defRPr>
                      </a:pPr>
                      <a: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831402">
                <a:tc>
                  <a:txBody>
                    <a:bodyPr/>
                    <a:lstStyle/>
                    <a:p>
                      <a:pPr algn="ctr">
                        <a:defRPr sz="800" b="1">
                          <a:latin typeface="Nexa (Headings)"/>
                        </a:defRPr>
                      </a:pPr>
                      <a:r>
                        <a:t>Grand Total</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406</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42</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20%</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21%</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42</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831402">
                <a:tc>
                  <a:txBody>
                    <a:bodyPr/>
                    <a:lstStyle/>
                    <a:p>
                      <a:pPr algn="ctr">
                        <a:defRPr sz="800" b="1">
                          <a:latin typeface="Nexa (Headings)"/>
                        </a:defRPr>
                      </a:pPr>
                      <a:r>
                        <a:t>Ingredient A Chaud</a:t>
                      </a:r>
                    </a:p>
                  </a:txBody>
                  <a:tcPr marL="3810" marR="3810" marT="3810" marB="0" anchor="ctr">
                    <a:noFill/>
                  </a:tcPr>
                </a:tc>
                <a:tc>
                  <a:txBody>
                    <a:bodyPr/>
                    <a:lstStyle/>
                    <a:p>
                      <a:pPr algn="ctr">
                        <a:defRPr sz="800">
                          <a:latin typeface="Nexa Book"/>
                        </a:defRPr>
                      </a:pPr>
                      <a:r>
                        <a:t>12</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6%</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3161381"/>
                  </a:ext>
                </a:extLst>
              </a:tr>
              <a:tr h="831402">
                <a:tc>
                  <a:txBody>
                    <a:bodyPr/>
                    <a:lstStyle/>
                    <a:p>
                      <a:pPr algn="ctr">
                        <a:defRPr sz="800" b="1">
                          <a:latin typeface="Nexa (Headings)"/>
                        </a:defRPr>
                      </a:pPr>
                      <a:r>
                        <a:t>Aperitif</a:t>
                      </a:r>
                    </a:p>
                  </a:txBody>
                  <a:tcPr marL="3810" marR="3810" marT="3810" marB="0" anchor="ctr">
                    <a:noFill/>
                  </a:tcPr>
                </a:tc>
                <a:tc>
                  <a:txBody>
                    <a:bodyPr/>
                    <a:lstStyle/>
                    <a:p>
                      <a:pPr algn="ctr">
                        <a:defRPr sz="800">
                          <a:latin typeface="Nexa Book"/>
                        </a:defRPr>
                      </a:pPr>
                      <a:r>
                        <a:t>19</a:t>
                      </a:r>
                    </a:p>
                  </a:txBody>
                  <a:tcPr marL="3810" marR="3810" marT="3810" marB="0" anchor="ctr">
                    <a:noFill/>
                  </a:tcPr>
                </a:tc>
                <a:tc>
                  <a:txBody>
                    <a:bodyPr/>
                    <a:lstStyle/>
                    <a:p>
                      <a:pPr algn="ctr">
                        <a:defRPr sz="800">
                          <a:latin typeface="Nexa Book"/>
                        </a:defRPr>
                      </a:pPr>
                      <a:r>
                        <a:t>10</a:t>
                      </a:r>
                    </a:p>
                  </a:txBody>
                  <a:tcPr marL="3810" marR="3810" marT="3810" marB="0" anchor="ctr">
                    <a:noFill/>
                  </a:tcPr>
                </a:tc>
                <a:tc>
                  <a:txBody>
                    <a:bodyPr/>
                    <a:lstStyle/>
                    <a:p>
                      <a:pPr algn="ctr">
                        <a:defRPr sz="800">
                          <a:latin typeface="Nexa Book"/>
                        </a:defRPr>
                      </a:pPr>
                      <a:r>
                        <a:t>54%</a:t>
                      </a:r>
                    </a:p>
                  </a:txBody>
                  <a:tcPr marL="3810" marR="3810" marT="3810" marB="0" anchor="ctr">
                    <a:noFill/>
                  </a:tcPr>
                </a:tc>
                <a:tc>
                  <a:txBody>
                    <a:bodyPr/>
                    <a:lstStyle/>
                    <a:p>
                      <a:pPr algn="ctr">
                        <a:defRPr sz="800">
                          <a:latin typeface="Nexa Book"/>
                        </a:defRPr>
                      </a:pPr>
                      <a:r>
                        <a:t>69%</a:t>
                      </a:r>
                    </a:p>
                  </a:txBody>
                  <a:tcPr marL="3810" marR="3810" marT="3810" marB="0" anchor="ctr">
                    <a:noFill/>
                  </a:tcPr>
                </a:tc>
                <a:tc>
                  <a:txBody>
                    <a:bodyPr/>
                    <a:lstStyle/>
                    <a:p>
                      <a:pPr algn="ctr">
                        <a:defRPr sz="800">
                          <a:latin typeface="Nexa Book"/>
                        </a:defRPr>
                      </a:pPr>
                      <a:r>
                        <a:t>13</a:t>
                      </a:r>
                    </a:p>
                  </a:txBody>
                  <a:tcPr marL="3810" marR="3810" marT="3810" marB="0" anchor="ctr">
                    <a:noFill/>
                  </a:tcPr>
                </a:tc>
                <a:tc>
                  <a:txBody>
                    <a:bodyPr/>
                    <a:lstStyle/>
                    <a:p>
                      <a:pPr algn="ctr">
                        <a:defRPr sz="800">
                          <a:latin typeface="Nexa Book"/>
                        </a:defRPr>
                      </a:pPr>
                      <a:r>
                        <a:t>3</a:t>
                      </a:r>
                    </a:p>
                  </a:txBody>
                  <a:tcPr marL="3810" marR="3810" marT="3810" marB="0" anchor="ctr">
                    <a:noFill/>
                  </a:tcPr>
                </a:tc>
                <a:extLst>
                  <a:ext uri="{0D108BD9-81ED-4DB2-BD59-A6C34878D82A}">
                    <a16:rowId xmlns:a16="http://schemas.microsoft.com/office/drawing/2014/main" val="1752397169"/>
                  </a:ext>
                </a:extLst>
              </a:tr>
              <a:tr h="831402">
                <a:tc>
                  <a:txBody>
                    <a:bodyPr/>
                    <a:lstStyle/>
                    <a:p>
                      <a:pPr algn="ctr">
                        <a:defRPr sz="800" b="1">
                          <a:latin typeface="Nexa (Headings)"/>
                        </a:defRPr>
                      </a:pPr>
                      <a:r>
                        <a:t>Soft Cheese</a:t>
                      </a:r>
                    </a:p>
                  </a:txBody>
                  <a:tcPr marL="3810" marR="3810" marT="3810" marB="0" anchor="ctr">
                    <a:noFill/>
                  </a:tcPr>
                </a:tc>
                <a:tc>
                  <a:txBody>
                    <a:bodyPr/>
                    <a:lstStyle/>
                    <a:p>
                      <a:pPr algn="ctr">
                        <a:defRPr sz="800">
                          <a:latin typeface="Nexa Book"/>
                        </a:defRPr>
                      </a:pPr>
                      <a:r>
                        <a:t>178</a:t>
                      </a:r>
                    </a:p>
                  </a:txBody>
                  <a:tcPr marL="3810" marR="3810" marT="3810" marB="0" anchor="ctr">
                    <a:noFill/>
                  </a:tcPr>
                </a:tc>
                <a:tc>
                  <a:txBody>
                    <a:bodyPr/>
                    <a:lstStyle/>
                    <a:p>
                      <a:pPr algn="ctr">
                        <a:defRPr sz="800">
                          <a:latin typeface="Nexa Book"/>
                        </a:defRPr>
                      </a:pPr>
                      <a:r>
                        <a:t>28</a:t>
                      </a:r>
                    </a:p>
                  </a:txBody>
                  <a:tcPr marL="3810" marR="3810" marT="3810" marB="0" anchor="ctr">
                    <a:noFill/>
                  </a:tcPr>
                </a:tc>
                <a:tc>
                  <a:txBody>
                    <a:bodyPr/>
                    <a:lstStyle/>
                    <a:p>
                      <a:pPr algn="ctr">
                        <a:defRPr sz="800">
                          <a:latin typeface="Nexa Book"/>
                        </a:defRPr>
                      </a:pPr>
                      <a:r>
                        <a:t>15%</a:t>
                      </a:r>
                    </a:p>
                  </a:txBody>
                  <a:tcPr marL="3810" marR="3810" marT="3810" marB="0" anchor="ctr">
                    <a:noFill/>
                  </a:tcPr>
                </a:tc>
                <a:tc>
                  <a:txBody>
                    <a:bodyPr/>
                    <a:lstStyle/>
                    <a:p>
                      <a:pPr algn="ctr">
                        <a:defRPr sz="800">
                          <a:latin typeface="Nexa Book"/>
                        </a:defRPr>
                      </a:pPr>
                      <a:r>
                        <a:t>12%</a:t>
                      </a:r>
                    </a:p>
                  </a:txBody>
                  <a:tcPr marL="3810" marR="3810" marT="3810" marB="0" anchor="ctr">
                    <a:noFill/>
                  </a:tcPr>
                </a:tc>
                <a:tc>
                  <a:txBody>
                    <a:bodyPr/>
                    <a:lstStyle/>
                    <a:p>
                      <a:pPr algn="ctr">
                        <a:defRPr sz="800">
                          <a:latin typeface="Nexa Book"/>
                        </a:defRPr>
                      </a:pPr>
                      <a:r>
                        <a:t>21</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3712364869"/>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552</a:t>
            </a:fld>
            <a:endParaRPr lang="en-US"/>
          </a:p>
        </p:txBody>
      </p:sp>
    </p:spTree>
    <p:extLst>
      <p:ext uri="{BB962C8B-B14F-4D97-AF65-F5344CB8AC3E}">
        <p14:creationId xmlns:p14="http://schemas.microsoft.com/office/powerpoint/2010/main" val="2766559204"/>
      </p:ext>
    </p:extLst>
  </p:cSld>
  <p:clrMapOvr>
    <a:masterClrMapping/>
  </p:clrMapOvr>
</p:sld>
</file>

<file path=ppt/slides/slide5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9/9/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pPr>
              <a:defRPr sz="1200">
                <a:latin typeface="Nexa Bold (Headings)"/>
              </a:defRPr>
            </a:pPr>
            <a:r>
              <a:t>Sector fair share | Total Fromage | Bel | Intermarche Super | P12M</a:t>
            </a:r>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pPr>
              <a:defRPr sz="1600">
                <a:latin typeface="Nexa Bold (Headings)"/>
              </a:defRPr>
            </a:pPr>
            <a:r>
              <a:rPr lang="en-GB" dirty="0">
                <a:highlight>
                  <a:srgbClr val="FFFF00"/>
                </a:highlight>
              </a:rPr>
              <a:t>Sector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el </a:t>
                      </a:r>
                    </a:p>
                    <a:p>
                      <a:pPr algn="ctr">
                        <a:defRPr sz="900" b="1">
                          <a:latin typeface="Nexa (Headings)"/>
                        </a:defRPr>
                      </a:pPr>
                      <a: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el </a:t>
                      </a:r>
                    </a:p>
                    <a:p>
                      <a:pPr algn="ctr">
                        <a:defRPr sz="900" b="1">
                          <a:latin typeface="Nexa (Headings)"/>
                        </a:defRPr>
                      </a:pPr>
                      <a: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el </a:t>
                      </a:r>
                    </a:p>
                    <a:p>
                      <a:pPr algn="ctr">
                        <a:defRPr sz="900" b="1">
                          <a:latin typeface="Nexa (Headings)"/>
                        </a:defRPr>
                      </a:pPr>
                      <a: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el </a:t>
                      </a:r>
                    </a:p>
                    <a:p>
                      <a:pPr algn="ctr">
                        <a:defRPr sz="900" b="1">
                          <a:latin typeface="Nexa (Headings)"/>
                        </a:defRPr>
                      </a:pPr>
                      <a: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el</a:t>
                      </a:r>
                    </a:p>
                    <a:p>
                      <a:pPr algn="ctr">
                        <a:defRPr sz="900" b="1">
                          <a:latin typeface="Nexa (Headings)"/>
                        </a:defRPr>
                      </a:pPr>
                      <a: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831402">
                <a:tc>
                  <a:txBody>
                    <a:bodyPr/>
                    <a:lstStyle/>
                    <a:p>
                      <a:pPr algn="ctr">
                        <a:defRPr sz="800" b="1">
                          <a:latin typeface="Nexa (Headings)"/>
                        </a:defRPr>
                      </a:pPr>
                      <a:r>
                        <a:t>Grand Total</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61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67</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24%</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1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64</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831402">
                <a:tc>
                  <a:txBody>
                    <a:bodyPr/>
                    <a:lstStyle/>
                    <a:p>
                      <a:pPr algn="ctr">
                        <a:defRPr sz="800" b="1">
                          <a:latin typeface="Nexa (Headings)"/>
                        </a:defRPr>
                      </a:pPr>
                      <a:r>
                        <a:t>Ingredient A Chaud</a:t>
                      </a:r>
                    </a:p>
                  </a:txBody>
                  <a:tcPr marL="3810" marR="3810" marT="3810" marB="0" anchor="ctr">
                    <a:noFill/>
                  </a:tcPr>
                </a:tc>
                <a:tc>
                  <a:txBody>
                    <a:bodyPr/>
                    <a:lstStyle/>
                    <a:p>
                      <a:pPr algn="ctr">
                        <a:defRPr sz="800">
                          <a:latin typeface="Nexa Book"/>
                        </a:defRPr>
                      </a:pPr>
                      <a:r>
                        <a:t>16</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5%</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3161381"/>
                  </a:ext>
                </a:extLst>
              </a:tr>
              <a:tr h="831402">
                <a:tc>
                  <a:txBody>
                    <a:bodyPr/>
                    <a:lstStyle/>
                    <a:p>
                      <a:pPr algn="ctr">
                        <a:defRPr sz="800" b="1">
                          <a:latin typeface="Nexa (Headings)"/>
                        </a:defRPr>
                      </a:pPr>
                      <a:r>
                        <a:t>Aperitif</a:t>
                      </a:r>
                    </a:p>
                  </a:txBody>
                  <a:tcPr marL="3810" marR="3810" marT="3810" marB="0" anchor="ctr">
                    <a:noFill/>
                  </a:tcPr>
                </a:tc>
                <a:tc>
                  <a:txBody>
                    <a:bodyPr/>
                    <a:lstStyle/>
                    <a:p>
                      <a:pPr algn="ctr">
                        <a:defRPr sz="800">
                          <a:latin typeface="Nexa Book"/>
                        </a:defRPr>
                      </a:pPr>
                      <a:r>
                        <a:t>32</a:t>
                      </a:r>
                    </a:p>
                  </a:txBody>
                  <a:tcPr marL="3810" marR="3810" marT="3810" marB="0" anchor="ctr">
                    <a:noFill/>
                  </a:tcPr>
                </a:tc>
                <a:tc>
                  <a:txBody>
                    <a:bodyPr/>
                    <a:lstStyle/>
                    <a:p>
                      <a:pPr algn="ctr">
                        <a:defRPr sz="800">
                          <a:latin typeface="Nexa Book"/>
                        </a:defRPr>
                      </a:pPr>
                      <a:r>
                        <a:t>17</a:t>
                      </a:r>
                    </a:p>
                  </a:txBody>
                  <a:tcPr marL="3810" marR="3810" marT="3810" marB="0" anchor="ctr">
                    <a:noFill/>
                  </a:tcPr>
                </a:tc>
                <a:tc>
                  <a:txBody>
                    <a:bodyPr/>
                    <a:lstStyle/>
                    <a:p>
                      <a:pPr algn="ctr">
                        <a:defRPr sz="800">
                          <a:latin typeface="Nexa Book"/>
                        </a:defRPr>
                      </a:pPr>
                      <a:r>
                        <a:t>54%</a:t>
                      </a:r>
                    </a:p>
                  </a:txBody>
                  <a:tcPr marL="3810" marR="3810" marT="3810" marB="0" anchor="ctr">
                    <a:noFill/>
                  </a:tcPr>
                </a:tc>
                <a:tc>
                  <a:txBody>
                    <a:bodyPr/>
                    <a:lstStyle/>
                    <a:p>
                      <a:pPr algn="ctr">
                        <a:defRPr sz="800">
                          <a:latin typeface="Nexa Book"/>
                        </a:defRPr>
                      </a:pPr>
                      <a:r>
                        <a:t>72%</a:t>
                      </a:r>
                    </a:p>
                  </a:txBody>
                  <a:tcPr marL="3810" marR="3810" marT="3810" marB="0" anchor="ctr">
                    <a:noFill/>
                  </a:tcPr>
                </a:tc>
                <a:tc>
                  <a:txBody>
                    <a:bodyPr/>
                    <a:lstStyle/>
                    <a:p>
                      <a:pPr algn="ctr">
                        <a:defRPr sz="800">
                          <a:latin typeface="Nexa Book"/>
                        </a:defRPr>
                      </a:pPr>
                      <a:r>
                        <a:t>23</a:t>
                      </a:r>
                    </a:p>
                  </a:txBody>
                  <a:tcPr marL="3810" marR="3810" marT="3810" marB="0" anchor="ctr">
                    <a:noFill/>
                  </a:tcPr>
                </a:tc>
                <a:tc>
                  <a:txBody>
                    <a:bodyPr/>
                    <a:lstStyle/>
                    <a:p>
                      <a:pPr algn="ctr">
                        <a:defRPr sz="800">
                          <a:latin typeface="Nexa Book"/>
                        </a:defRPr>
                      </a:pPr>
                      <a:r>
                        <a:t>6</a:t>
                      </a:r>
                    </a:p>
                  </a:txBody>
                  <a:tcPr marL="3810" marR="3810" marT="3810" marB="0" anchor="ctr">
                    <a:noFill/>
                  </a:tcPr>
                </a:tc>
                <a:extLst>
                  <a:ext uri="{0D108BD9-81ED-4DB2-BD59-A6C34878D82A}">
                    <a16:rowId xmlns:a16="http://schemas.microsoft.com/office/drawing/2014/main" val="1752397169"/>
                  </a:ext>
                </a:extLst>
              </a:tr>
              <a:tr h="831402">
                <a:tc>
                  <a:txBody>
                    <a:bodyPr/>
                    <a:lstStyle/>
                    <a:p>
                      <a:pPr algn="ctr">
                        <a:defRPr sz="800" b="1">
                          <a:latin typeface="Nexa (Headings)"/>
                        </a:defRPr>
                      </a:pPr>
                      <a:r>
                        <a:t>Soft Cheese</a:t>
                      </a:r>
                    </a:p>
                  </a:txBody>
                  <a:tcPr marL="3810" marR="3810" marT="3810" marB="0" anchor="ctr">
                    <a:noFill/>
                  </a:tcPr>
                </a:tc>
                <a:tc>
                  <a:txBody>
                    <a:bodyPr/>
                    <a:lstStyle/>
                    <a:p>
                      <a:pPr algn="ctr">
                        <a:defRPr sz="800">
                          <a:latin typeface="Nexa Book"/>
                        </a:defRPr>
                      </a:pPr>
                      <a:r>
                        <a:t>267</a:t>
                      </a:r>
                    </a:p>
                  </a:txBody>
                  <a:tcPr marL="3810" marR="3810" marT="3810" marB="0" anchor="ctr">
                    <a:noFill/>
                  </a:tcPr>
                </a:tc>
                <a:tc>
                  <a:txBody>
                    <a:bodyPr/>
                    <a:lstStyle/>
                    <a:p>
                      <a:pPr algn="ctr">
                        <a:defRPr sz="800">
                          <a:latin typeface="Nexa Book"/>
                        </a:defRPr>
                      </a:pPr>
                      <a:r>
                        <a:t>44</a:t>
                      </a:r>
                    </a:p>
                  </a:txBody>
                  <a:tcPr marL="3810" marR="3810" marT="3810" marB="0" anchor="ctr">
                    <a:noFill/>
                  </a:tcPr>
                </a:tc>
                <a:tc>
                  <a:txBody>
                    <a:bodyPr/>
                    <a:lstStyle/>
                    <a:p>
                      <a:pPr algn="ctr">
                        <a:defRPr sz="800">
                          <a:latin typeface="Nexa Book"/>
                        </a:defRPr>
                      </a:pPr>
                      <a:r>
                        <a:t>16%</a:t>
                      </a:r>
                    </a:p>
                  </a:txBody>
                  <a:tcPr marL="3810" marR="3810" marT="3810" marB="0" anchor="ctr">
                    <a:noFill/>
                  </a:tcPr>
                </a:tc>
                <a:tc>
                  <a:txBody>
                    <a:bodyPr/>
                    <a:lstStyle/>
                    <a:p>
                      <a:pPr algn="ctr">
                        <a:defRPr sz="800">
                          <a:latin typeface="Nexa Book"/>
                        </a:defRPr>
                      </a:pPr>
                      <a:r>
                        <a:t>13%</a:t>
                      </a:r>
                    </a:p>
                  </a:txBody>
                  <a:tcPr marL="3810" marR="3810" marT="3810" marB="0" anchor="ctr">
                    <a:noFill/>
                  </a:tcPr>
                </a:tc>
                <a:tc>
                  <a:txBody>
                    <a:bodyPr/>
                    <a:lstStyle/>
                    <a:p>
                      <a:pPr algn="ctr">
                        <a:defRPr sz="800">
                          <a:latin typeface="Nexa Book"/>
                        </a:defRPr>
                      </a:pPr>
                      <a:r>
                        <a:t>35</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3712364869"/>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553</a:t>
            </a:fld>
            <a:endParaRPr lang="en-US"/>
          </a:p>
        </p:txBody>
      </p:sp>
    </p:spTree>
    <p:extLst>
      <p:ext uri="{BB962C8B-B14F-4D97-AF65-F5344CB8AC3E}">
        <p14:creationId xmlns:p14="http://schemas.microsoft.com/office/powerpoint/2010/main" val="237145766"/>
      </p:ext>
    </p:extLst>
  </p:cSld>
  <p:clrMapOvr>
    <a:masterClrMapping/>
  </p:clrMapOvr>
</p:sld>
</file>

<file path=ppt/slides/slide5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9/9/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pPr>
              <a:defRPr sz="1200">
                <a:latin typeface="Nexa Bold (Headings)"/>
              </a:defRPr>
            </a:pPr>
            <a:r>
              <a:t>Sector fair share | Total Fromage | Bel | Carrefour Proximite | P12M</a:t>
            </a:r>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pPr>
              <a:defRPr sz="1600">
                <a:latin typeface="Nexa Bold (Headings)"/>
              </a:defRPr>
            </a:pPr>
            <a:r>
              <a:rPr lang="en-GB" dirty="0">
                <a:highlight>
                  <a:srgbClr val="FFFF00"/>
                </a:highlight>
              </a:rPr>
              <a:t>Sector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el </a:t>
                      </a:r>
                    </a:p>
                    <a:p>
                      <a:pPr algn="ctr">
                        <a:defRPr sz="900" b="1">
                          <a:latin typeface="Nexa (Headings)"/>
                        </a:defRPr>
                      </a:pPr>
                      <a: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el </a:t>
                      </a:r>
                    </a:p>
                    <a:p>
                      <a:pPr algn="ctr">
                        <a:defRPr sz="900" b="1">
                          <a:latin typeface="Nexa (Headings)"/>
                        </a:defRPr>
                      </a:pPr>
                      <a: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el </a:t>
                      </a:r>
                    </a:p>
                    <a:p>
                      <a:pPr algn="ctr">
                        <a:defRPr sz="900" b="1">
                          <a:latin typeface="Nexa (Headings)"/>
                        </a:defRPr>
                      </a:pPr>
                      <a: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el </a:t>
                      </a:r>
                    </a:p>
                    <a:p>
                      <a:pPr algn="ctr">
                        <a:defRPr sz="900" b="1">
                          <a:latin typeface="Nexa (Headings)"/>
                        </a:defRPr>
                      </a:pPr>
                      <a: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el</a:t>
                      </a:r>
                    </a:p>
                    <a:p>
                      <a:pPr algn="ctr">
                        <a:defRPr sz="900" b="1">
                          <a:latin typeface="Nexa (Headings)"/>
                        </a:defRPr>
                      </a:pPr>
                      <a: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831402">
                <a:tc>
                  <a:txBody>
                    <a:bodyPr/>
                    <a:lstStyle/>
                    <a:p>
                      <a:pPr algn="ctr">
                        <a:defRPr sz="800" b="1">
                          <a:latin typeface="Nexa (Headings)"/>
                        </a:defRPr>
                      </a:pPr>
                      <a:r>
                        <a:t>Grand Total</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6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5</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04%</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88%</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3</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831402">
                <a:tc>
                  <a:txBody>
                    <a:bodyPr/>
                    <a:lstStyle/>
                    <a:p>
                      <a:pPr algn="ctr">
                        <a:defRPr sz="800" b="1">
                          <a:latin typeface="Nexa (Headings)"/>
                        </a:defRPr>
                      </a:pPr>
                      <a:r>
                        <a:t>Ingredient A Chaud</a:t>
                      </a:r>
                    </a:p>
                  </a:txBody>
                  <a:tcPr marL="3810" marR="3810" marT="3810" marB="0" anchor="ctr">
                    <a:noFill/>
                  </a:tcPr>
                </a:tc>
                <a:tc>
                  <a:txBody>
                    <a:bodyPr/>
                    <a:lstStyle/>
                    <a:p>
                      <a:pPr algn="ctr">
                        <a:defRPr sz="800">
                          <a:latin typeface="Nexa Book"/>
                        </a:defRPr>
                      </a:pPr>
                      <a:r>
                        <a:t>6</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9%</a:t>
                      </a:r>
                    </a:p>
                  </a:txBody>
                  <a:tcPr marL="3810" marR="3810" marT="3810" marB="0" anchor="ctr">
                    <a:noFill/>
                  </a:tcPr>
                </a:tc>
                <a:tc>
                  <a:txBody>
                    <a:bodyPr/>
                    <a:lstStyle/>
                    <a:p>
                      <a:pPr algn="ctr">
                        <a:defRPr sz="800">
                          <a:latin typeface="Nexa Book"/>
                        </a:defRPr>
                      </a:pPr>
                      <a:r>
                        <a:t>4%</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3161381"/>
                  </a:ext>
                </a:extLst>
              </a:tr>
              <a:tr h="831402">
                <a:tc>
                  <a:txBody>
                    <a:bodyPr/>
                    <a:lstStyle/>
                    <a:p>
                      <a:pPr algn="ctr">
                        <a:defRPr sz="800" b="1">
                          <a:latin typeface="Nexa (Headings)"/>
                        </a:defRPr>
                      </a:pPr>
                      <a:r>
                        <a:t>Aperitif</a:t>
                      </a:r>
                    </a:p>
                  </a:txBody>
                  <a:tcPr marL="3810" marR="3810" marT="3810" marB="0" anchor="ctr">
                    <a:noFill/>
                  </a:tcPr>
                </a:tc>
                <a:tc>
                  <a:txBody>
                    <a:bodyPr/>
                    <a:lstStyle/>
                    <a:p>
                      <a:pPr algn="ctr">
                        <a:defRPr sz="800">
                          <a:latin typeface="Nexa Book"/>
                        </a:defRPr>
                      </a:pPr>
                      <a:r>
                        <a:t>6</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59%</a:t>
                      </a:r>
                    </a:p>
                  </a:txBody>
                  <a:tcPr marL="3810" marR="3810" marT="3810" marB="0" anchor="ctr">
                    <a:noFill/>
                  </a:tcPr>
                </a:tc>
                <a:tc>
                  <a:txBody>
                    <a:bodyPr/>
                    <a:lstStyle/>
                    <a:p>
                      <a:pPr algn="ctr">
                        <a:defRPr sz="800">
                          <a:latin typeface="Nexa Book"/>
                        </a:defRPr>
                      </a:pPr>
                      <a:r>
                        <a:t>60%</a:t>
                      </a:r>
                    </a:p>
                  </a:txBody>
                  <a:tcPr marL="3810" marR="3810" marT="3810" marB="0" anchor="ctr">
                    <a:noFill/>
                  </a:tcPr>
                </a:tc>
                <a:tc>
                  <a:txBody>
                    <a:bodyPr/>
                    <a:lstStyle/>
                    <a:p>
                      <a:pPr algn="ctr">
                        <a:defRPr sz="800">
                          <a:latin typeface="Nexa Book"/>
                        </a:defRPr>
                      </a:pPr>
                      <a:r>
                        <a:t>4</a:t>
                      </a:r>
                    </a:p>
                  </a:txBody>
                  <a:tcPr marL="3810" marR="3810" marT="3810" marB="0" anchor="ctr">
                    <a:noFill/>
                  </a:tcPr>
                </a:tc>
                <a:tc>
                  <a:txBody>
                    <a:bodyPr/>
                    <a:lstStyle/>
                    <a:p>
                      <a:pPr algn="ctr">
                        <a:defRPr sz="800">
                          <a:latin typeface="Nexa Book"/>
                        </a:defRPr>
                      </a:pPr>
                      <a:r>
                        <a:t>1</a:t>
                      </a:r>
                    </a:p>
                  </a:txBody>
                  <a:tcPr marL="3810" marR="3810" marT="3810" marB="0" anchor="ctr">
                    <a:noFill/>
                  </a:tcPr>
                </a:tc>
                <a:extLst>
                  <a:ext uri="{0D108BD9-81ED-4DB2-BD59-A6C34878D82A}">
                    <a16:rowId xmlns:a16="http://schemas.microsoft.com/office/drawing/2014/main" val="1752397169"/>
                  </a:ext>
                </a:extLst>
              </a:tr>
              <a:tr h="831402">
                <a:tc>
                  <a:txBody>
                    <a:bodyPr/>
                    <a:lstStyle/>
                    <a:p>
                      <a:pPr algn="ctr">
                        <a:defRPr sz="800" b="1">
                          <a:latin typeface="Nexa (Headings)"/>
                        </a:defRPr>
                      </a:pPr>
                      <a:r>
                        <a:t>Soft Cheese</a:t>
                      </a:r>
                    </a:p>
                  </a:txBody>
                  <a:tcPr marL="3810" marR="3810" marT="3810" marB="0" anchor="ctr">
                    <a:noFill/>
                  </a:tcPr>
                </a:tc>
                <a:tc>
                  <a:txBody>
                    <a:bodyPr/>
                    <a:lstStyle/>
                    <a:p>
                      <a:pPr algn="ctr">
                        <a:defRPr sz="800">
                          <a:latin typeface="Nexa Book"/>
                        </a:defRPr>
                      </a:pPr>
                      <a:r>
                        <a:t>79</a:t>
                      </a:r>
                    </a:p>
                  </a:txBody>
                  <a:tcPr marL="3810" marR="3810" marT="3810" marB="0" anchor="ctr">
                    <a:noFill/>
                  </a:tcPr>
                </a:tc>
                <a:tc>
                  <a:txBody>
                    <a:bodyPr/>
                    <a:lstStyle/>
                    <a:p>
                      <a:pPr algn="ctr">
                        <a:defRPr sz="800">
                          <a:latin typeface="Nexa Book"/>
                        </a:defRPr>
                      </a:pPr>
                      <a:r>
                        <a:t>9</a:t>
                      </a:r>
                    </a:p>
                  </a:txBody>
                  <a:tcPr marL="3810" marR="3810" marT="3810" marB="0" anchor="ctr">
                    <a:noFill/>
                  </a:tcPr>
                </a:tc>
                <a:tc>
                  <a:txBody>
                    <a:bodyPr/>
                    <a:lstStyle/>
                    <a:p>
                      <a:pPr algn="ctr">
                        <a:defRPr sz="800">
                          <a:latin typeface="Nexa Book"/>
                        </a:defRPr>
                      </a:pPr>
                      <a:r>
                        <a:t>11%</a:t>
                      </a:r>
                    </a:p>
                  </a:txBody>
                  <a:tcPr marL="3810" marR="3810" marT="3810" marB="0" anchor="ctr">
                    <a:noFill/>
                  </a:tcPr>
                </a:tc>
                <a:tc>
                  <a:txBody>
                    <a:bodyPr/>
                    <a:lstStyle/>
                    <a:p>
                      <a:pPr algn="ctr">
                        <a:defRPr sz="800">
                          <a:latin typeface="Nexa Book"/>
                        </a:defRPr>
                      </a:pPr>
                      <a:r>
                        <a:t>10%</a:t>
                      </a:r>
                    </a:p>
                  </a:txBody>
                  <a:tcPr marL="3810" marR="3810" marT="3810" marB="0" anchor="ctr">
                    <a:noFill/>
                  </a:tcPr>
                </a:tc>
                <a:tc>
                  <a:txBody>
                    <a:bodyPr/>
                    <a:lstStyle/>
                    <a:p>
                      <a:pPr algn="ctr">
                        <a:defRPr sz="800">
                          <a:latin typeface="Nexa Book"/>
                        </a:defRPr>
                      </a:pPr>
                      <a:r>
                        <a:t>8</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3712364869"/>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554</a:t>
            </a:fld>
            <a:endParaRPr lang="en-US"/>
          </a:p>
        </p:txBody>
      </p:sp>
    </p:spTree>
    <p:extLst>
      <p:ext uri="{BB962C8B-B14F-4D97-AF65-F5344CB8AC3E}">
        <p14:creationId xmlns:p14="http://schemas.microsoft.com/office/powerpoint/2010/main" val="3783004928"/>
      </p:ext>
    </p:extLst>
  </p:cSld>
  <p:clrMapOvr>
    <a:masterClrMapping/>
  </p:clrMapOvr>
</p:sld>
</file>

<file path=ppt/slides/slide5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9/9/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pPr>
              <a:defRPr sz="1200">
                <a:latin typeface="Nexa Bold (Headings)"/>
              </a:defRPr>
            </a:pPr>
            <a:r>
              <a:t>Sector fair share | Total Fromage | Bel | Carrefour Supermarket + Drive | P12M</a:t>
            </a:r>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pPr>
              <a:defRPr sz="1600">
                <a:latin typeface="Nexa Bold (Headings)"/>
              </a:defRPr>
            </a:pPr>
            <a:r>
              <a:rPr lang="en-GB" dirty="0">
                <a:highlight>
                  <a:srgbClr val="FFFF00"/>
                </a:highlight>
              </a:rPr>
              <a:t>Sector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el </a:t>
                      </a:r>
                    </a:p>
                    <a:p>
                      <a:pPr algn="ctr">
                        <a:defRPr sz="900" b="1">
                          <a:latin typeface="Nexa (Headings)"/>
                        </a:defRPr>
                      </a:pPr>
                      <a: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el </a:t>
                      </a:r>
                    </a:p>
                    <a:p>
                      <a:pPr algn="ctr">
                        <a:defRPr sz="900" b="1">
                          <a:latin typeface="Nexa (Headings)"/>
                        </a:defRPr>
                      </a:pPr>
                      <a: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el </a:t>
                      </a:r>
                    </a:p>
                    <a:p>
                      <a:pPr algn="ctr">
                        <a:defRPr sz="900" b="1">
                          <a:latin typeface="Nexa (Headings)"/>
                        </a:defRPr>
                      </a:pPr>
                      <a: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el </a:t>
                      </a:r>
                    </a:p>
                    <a:p>
                      <a:pPr algn="ctr">
                        <a:defRPr sz="900" b="1">
                          <a:latin typeface="Nexa (Headings)"/>
                        </a:defRPr>
                      </a:pPr>
                      <a: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el</a:t>
                      </a:r>
                    </a:p>
                    <a:p>
                      <a:pPr algn="ctr">
                        <a:defRPr sz="900" b="1">
                          <a:latin typeface="Nexa (Headings)"/>
                        </a:defRPr>
                      </a:pPr>
                      <a: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831402">
                <a:tc>
                  <a:txBody>
                    <a:bodyPr/>
                    <a:lstStyle/>
                    <a:p>
                      <a:pPr algn="ctr">
                        <a:defRPr sz="800" b="1">
                          <a:latin typeface="Nexa (Headings)"/>
                        </a:defRPr>
                      </a:pPr>
                      <a:r>
                        <a:t>Grand Total</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677</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60</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2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30%</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61</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831402">
                <a:tc>
                  <a:txBody>
                    <a:bodyPr/>
                    <a:lstStyle/>
                    <a:p>
                      <a:pPr algn="ctr">
                        <a:defRPr sz="800" b="1">
                          <a:latin typeface="Nexa (Headings)"/>
                        </a:defRPr>
                      </a:pPr>
                      <a:r>
                        <a:t>Ingredient A Chaud</a:t>
                      </a:r>
                    </a:p>
                  </a:txBody>
                  <a:tcPr marL="3810" marR="3810" marT="3810" marB="0" anchor="ctr">
                    <a:noFill/>
                  </a:tcPr>
                </a:tc>
                <a:tc>
                  <a:txBody>
                    <a:bodyPr/>
                    <a:lstStyle/>
                    <a:p>
                      <a:pPr algn="ctr">
                        <a:defRPr sz="800">
                          <a:latin typeface="Nexa Book"/>
                        </a:defRPr>
                      </a:pPr>
                      <a:r>
                        <a:t>14</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18%</a:t>
                      </a:r>
                    </a:p>
                  </a:txBody>
                  <a:tcPr marL="3810" marR="3810" marT="3810" marB="0" anchor="ctr">
                    <a:noFill/>
                  </a:tcPr>
                </a:tc>
                <a:tc>
                  <a:txBody>
                    <a:bodyPr/>
                    <a:lstStyle/>
                    <a:p>
                      <a:pPr algn="ctr">
                        <a:defRPr sz="800">
                          <a:latin typeface="Nexa Book"/>
                        </a:defRPr>
                      </a:pPr>
                      <a:r>
                        <a:t>13%</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3161381"/>
                  </a:ext>
                </a:extLst>
              </a:tr>
              <a:tr h="831402">
                <a:tc>
                  <a:txBody>
                    <a:bodyPr/>
                    <a:lstStyle/>
                    <a:p>
                      <a:pPr algn="ctr">
                        <a:defRPr sz="800" b="1">
                          <a:latin typeface="Nexa (Headings)"/>
                        </a:defRPr>
                      </a:pPr>
                      <a:r>
                        <a:t>Aperitif</a:t>
                      </a:r>
                    </a:p>
                  </a:txBody>
                  <a:tcPr marL="3810" marR="3810" marT="3810" marB="0" anchor="ctr">
                    <a:noFill/>
                  </a:tcPr>
                </a:tc>
                <a:tc>
                  <a:txBody>
                    <a:bodyPr/>
                    <a:lstStyle/>
                    <a:p>
                      <a:pPr algn="ctr">
                        <a:defRPr sz="800">
                          <a:latin typeface="Nexa Book"/>
                        </a:defRPr>
                      </a:pPr>
                      <a:r>
                        <a:t>29</a:t>
                      </a:r>
                    </a:p>
                  </a:txBody>
                  <a:tcPr marL="3810" marR="3810" marT="3810" marB="0" anchor="ctr">
                    <a:noFill/>
                  </a:tcPr>
                </a:tc>
                <a:tc>
                  <a:txBody>
                    <a:bodyPr/>
                    <a:lstStyle/>
                    <a:p>
                      <a:pPr algn="ctr">
                        <a:defRPr sz="800">
                          <a:latin typeface="Nexa Book"/>
                        </a:defRPr>
                      </a:pPr>
                      <a:r>
                        <a:t>15</a:t>
                      </a:r>
                    </a:p>
                  </a:txBody>
                  <a:tcPr marL="3810" marR="3810" marT="3810" marB="0" anchor="ctr">
                    <a:noFill/>
                  </a:tcPr>
                </a:tc>
                <a:tc>
                  <a:txBody>
                    <a:bodyPr/>
                    <a:lstStyle/>
                    <a:p>
                      <a:pPr algn="ctr">
                        <a:defRPr sz="800">
                          <a:latin typeface="Nexa Book"/>
                        </a:defRPr>
                      </a:pPr>
                      <a:r>
                        <a:t>51%</a:t>
                      </a:r>
                    </a:p>
                  </a:txBody>
                  <a:tcPr marL="3810" marR="3810" marT="3810" marB="0" anchor="ctr">
                    <a:noFill/>
                  </a:tcPr>
                </a:tc>
                <a:tc>
                  <a:txBody>
                    <a:bodyPr/>
                    <a:lstStyle/>
                    <a:p>
                      <a:pPr algn="ctr">
                        <a:defRPr sz="800">
                          <a:latin typeface="Nexa Book"/>
                        </a:defRPr>
                      </a:pPr>
                      <a:r>
                        <a:t>72%</a:t>
                      </a:r>
                    </a:p>
                  </a:txBody>
                  <a:tcPr marL="3810" marR="3810" marT="3810" marB="0" anchor="ctr">
                    <a:noFill/>
                  </a:tcPr>
                </a:tc>
                <a:tc>
                  <a:txBody>
                    <a:bodyPr/>
                    <a:lstStyle/>
                    <a:p>
                      <a:pPr algn="ctr">
                        <a:defRPr sz="800">
                          <a:latin typeface="Nexa Book"/>
                        </a:defRPr>
                      </a:pPr>
                      <a:r>
                        <a:t>21</a:t>
                      </a:r>
                    </a:p>
                  </a:txBody>
                  <a:tcPr marL="3810" marR="3810" marT="3810" marB="0" anchor="ctr">
                    <a:noFill/>
                  </a:tcPr>
                </a:tc>
                <a:tc>
                  <a:txBody>
                    <a:bodyPr/>
                    <a:lstStyle/>
                    <a:p>
                      <a:pPr algn="ctr">
                        <a:defRPr sz="800">
                          <a:latin typeface="Nexa Book"/>
                        </a:defRPr>
                      </a:pPr>
                      <a:r>
                        <a:t>6</a:t>
                      </a:r>
                    </a:p>
                  </a:txBody>
                  <a:tcPr marL="3810" marR="3810" marT="3810" marB="0" anchor="ctr">
                    <a:noFill/>
                  </a:tcPr>
                </a:tc>
                <a:extLst>
                  <a:ext uri="{0D108BD9-81ED-4DB2-BD59-A6C34878D82A}">
                    <a16:rowId xmlns:a16="http://schemas.microsoft.com/office/drawing/2014/main" val="1752397169"/>
                  </a:ext>
                </a:extLst>
              </a:tr>
              <a:tr h="831402">
                <a:tc>
                  <a:txBody>
                    <a:bodyPr/>
                    <a:lstStyle/>
                    <a:p>
                      <a:pPr algn="ctr">
                        <a:defRPr sz="800" b="1">
                          <a:latin typeface="Nexa (Headings)"/>
                        </a:defRPr>
                      </a:pPr>
                      <a:r>
                        <a:t>Soft Cheese</a:t>
                      </a:r>
                    </a:p>
                  </a:txBody>
                  <a:tcPr marL="3810" marR="3810" marT="3810" marB="0" anchor="ctr">
                    <a:noFill/>
                  </a:tcPr>
                </a:tc>
                <a:tc>
                  <a:txBody>
                    <a:bodyPr/>
                    <a:lstStyle/>
                    <a:p>
                      <a:pPr algn="ctr">
                        <a:defRPr sz="800">
                          <a:latin typeface="Nexa Book"/>
                        </a:defRPr>
                      </a:pPr>
                      <a:r>
                        <a:t>326</a:t>
                      </a:r>
                    </a:p>
                  </a:txBody>
                  <a:tcPr marL="3810" marR="3810" marT="3810" marB="0" anchor="ctr">
                    <a:noFill/>
                  </a:tcPr>
                </a:tc>
                <a:tc>
                  <a:txBody>
                    <a:bodyPr/>
                    <a:lstStyle/>
                    <a:p>
                      <a:pPr algn="ctr">
                        <a:defRPr sz="800">
                          <a:latin typeface="Nexa Book"/>
                        </a:defRPr>
                      </a:pPr>
                      <a:r>
                        <a:t>36</a:t>
                      </a:r>
                    </a:p>
                  </a:txBody>
                  <a:tcPr marL="3810" marR="3810" marT="3810" marB="0" anchor="ctr">
                    <a:noFill/>
                  </a:tcPr>
                </a:tc>
                <a:tc>
                  <a:txBody>
                    <a:bodyPr/>
                    <a:lstStyle/>
                    <a:p>
                      <a:pPr algn="ctr">
                        <a:defRPr sz="800">
                          <a:latin typeface="Nexa Book"/>
                        </a:defRPr>
                      </a:pPr>
                      <a:r>
                        <a:t>11%</a:t>
                      </a:r>
                    </a:p>
                  </a:txBody>
                  <a:tcPr marL="3810" marR="3810" marT="3810" marB="0" anchor="ctr">
                    <a:noFill/>
                  </a:tcPr>
                </a:tc>
                <a:tc>
                  <a:txBody>
                    <a:bodyPr/>
                    <a:lstStyle/>
                    <a:p>
                      <a:pPr algn="ctr">
                        <a:defRPr sz="800">
                          <a:latin typeface="Nexa Book"/>
                        </a:defRPr>
                      </a:pPr>
                      <a:r>
                        <a:t>11%</a:t>
                      </a:r>
                    </a:p>
                  </a:txBody>
                  <a:tcPr marL="3810" marR="3810" marT="3810" marB="0" anchor="ctr">
                    <a:noFill/>
                  </a:tcPr>
                </a:tc>
                <a:tc>
                  <a:txBody>
                    <a:bodyPr/>
                    <a:lstStyle/>
                    <a:p>
                      <a:pPr algn="ctr">
                        <a:defRPr sz="800">
                          <a:latin typeface="Nexa Book"/>
                        </a:defRPr>
                      </a:pPr>
                      <a:r>
                        <a:t>36</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3712364869"/>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555</a:t>
            </a:fld>
            <a:endParaRPr lang="en-US"/>
          </a:p>
        </p:txBody>
      </p:sp>
    </p:spTree>
    <p:extLst>
      <p:ext uri="{BB962C8B-B14F-4D97-AF65-F5344CB8AC3E}">
        <p14:creationId xmlns:p14="http://schemas.microsoft.com/office/powerpoint/2010/main" val="4090419001"/>
      </p:ext>
    </p:extLst>
  </p:cSld>
  <p:clrMapOvr>
    <a:masterClrMapping/>
  </p:clrMapOvr>
</p:sld>
</file>

<file path=ppt/slides/slide5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9/9/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pPr>
              <a:defRPr sz="1200">
                <a:latin typeface="Nexa Bold (Headings)"/>
              </a:defRPr>
            </a:pPr>
            <a:r>
              <a:t>Sector fair share | Total Fromage | Bel | Carrefour Hyper + Drive | P12M</a:t>
            </a:r>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pPr>
              <a:defRPr sz="1600">
                <a:latin typeface="Nexa Bold (Headings)"/>
              </a:defRPr>
            </a:pPr>
            <a:r>
              <a:rPr lang="en-GB" dirty="0">
                <a:highlight>
                  <a:srgbClr val="FFFF00"/>
                </a:highlight>
              </a:rPr>
              <a:t>Sector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el </a:t>
                      </a:r>
                    </a:p>
                    <a:p>
                      <a:pPr algn="ctr">
                        <a:defRPr sz="900" b="1">
                          <a:latin typeface="Nexa (Headings)"/>
                        </a:defRPr>
                      </a:pPr>
                      <a: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el </a:t>
                      </a:r>
                    </a:p>
                    <a:p>
                      <a:pPr algn="ctr">
                        <a:defRPr sz="900" b="1">
                          <a:latin typeface="Nexa (Headings)"/>
                        </a:defRPr>
                      </a:pPr>
                      <a: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el </a:t>
                      </a:r>
                    </a:p>
                    <a:p>
                      <a:pPr algn="ctr">
                        <a:defRPr sz="900" b="1">
                          <a:latin typeface="Nexa (Headings)"/>
                        </a:defRPr>
                      </a:pPr>
                      <a: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el </a:t>
                      </a:r>
                    </a:p>
                    <a:p>
                      <a:pPr algn="ctr">
                        <a:defRPr sz="900" b="1">
                          <a:latin typeface="Nexa (Headings)"/>
                        </a:defRPr>
                      </a:pPr>
                      <a: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el</a:t>
                      </a:r>
                    </a:p>
                    <a:p>
                      <a:pPr algn="ctr">
                        <a:defRPr sz="900" b="1">
                          <a:latin typeface="Nexa (Headings)"/>
                        </a:defRPr>
                      </a:pPr>
                      <a: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831402">
                <a:tc>
                  <a:txBody>
                    <a:bodyPr/>
                    <a:lstStyle/>
                    <a:p>
                      <a:pPr algn="ctr">
                        <a:defRPr sz="800" b="1">
                          <a:latin typeface="Nexa (Headings)"/>
                        </a:defRPr>
                      </a:pPr>
                      <a:r>
                        <a:t>Grand Total</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175</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95</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17%</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3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13</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8</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831402">
                <a:tc>
                  <a:txBody>
                    <a:bodyPr/>
                    <a:lstStyle/>
                    <a:p>
                      <a:pPr algn="ctr">
                        <a:defRPr sz="800" b="1">
                          <a:latin typeface="Nexa (Headings)"/>
                        </a:defRPr>
                      </a:pPr>
                      <a:r>
                        <a:t>Ingredient A Chaud</a:t>
                      </a:r>
                    </a:p>
                  </a:txBody>
                  <a:tcPr marL="3810" marR="3810" marT="3810" marB="0" anchor="ctr">
                    <a:noFill/>
                  </a:tcPr>
                </a:tc>
                <a:tc>
                  <a:txBody>
                    <a:bodyPr/>
                    <a:lstStyle/>
                    <a:p>
                      <a:pPr algn="ctr">
                        <a:defRPr sz="800">
                          <a:latin typeface="Nexa Book"/>
                        </a:defRPr>
                      </a:pPr>
                      <a:r>
                        <a:t>28</a:t>
                      </a:r>
                    </a:p>
                  </a:txBody>
                  <a:tcPr marL="3810" marR="3810" marT="3810" marB="0" anchor="ctr">
                    <a:noFill/>
                  </a:tcPr>
                </a:tc>
                <a:tc>
                  <a:txBody>
                    <a:bodyPr/>
                    <a:lstStyle/>
                    <a:p>
                      <a:pPr algn="ctr">
                        <a:defRPr sz="800">
                          <a:latin typeface="Nexa Book"/>
                        </a:defRPr>
                      </a:pPr>
                      <a:r>
                        <a:t>4</a:t>
                      </a:r>
                    </a:p>
                  </a:txBody>
                  <a:tcPr marL="3810" marR="3810" marT="3810" marB="0" anchor="ctr">
                    <a:noFill/>
                  </a:tcPr>
                </a:tc>
                <a:tc>
                  <a:txBody>
                    <a:bodyPr/>
                    <a:lstStyle/>
                    <a:p>
                      <a:pPr algn="ctr">
                        <a:defRPr sz="800">
                          <a:latin typeface="Nexa Book"/>
                        </a:defRPr>
                      </a:pPr>
                      <a:r>
                        <a:t>14%</a:t>
                      </a:r>
                    </a:p>
                  </a:txBody>
                  <a:tcPr marL="3810" marR="3810" marT="3810" marB="0" anchor="ctr">
                    <a:noFill/>
                  </a:tcPr>
                </a:tc>
                <a:tc>
                  <a:txBody>
                    <a:bodyPr/>
                    <a:lstStyle/>
                    <a:p>
                      <a:pPr algn="ctr">
                        <a:defRPr sz="800">
                          <a:latin typeface="Nexa Book"/>
                        </a:defRPr>
                      </a:pPr>
                      <a:r>
                        <a:t>15%</a:t>
                      </a:r>
                    </a:p>
                  </a:txBody>
                  <a:tcPr marL="3810" marR="3810" marT="3810" marB="0" anchor="ctr">
                    <a:noFill/>
                  </a:tcPr>
                </a:tc>
                <a:tc>
                  <a:txBody>
                    <a:bodyPr/>
                    <a:lstStyle/>
                    <a:p>
                      <a:pPr algn="ctr">
                        <a:defRPr sz="800">
                          <a:latin typeface="Nexa Book"/>
                        </a:defRPr>
                      </a:pPr>
                      <a:r>
                        <a:t>4</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3161381"/>
                  </a:ext>
                </a:extLst>
              </a:tr>
              <a:tr h="831402">
                <a:tc>
                  <a:txBody>
                    <a:bodyPr/>
                    <a:lstStyle/>
                    <a:p>
                      <a:pPr algn="ctr">
                        <a:defRPr sz="800" b="1">
                          <a:latin typeface="Nexa (Headings)"/>
                        </a:defRPr>
                      </a:pPr>
                      <a:r>
                        <a:t>Aperitif</a:t>
                      </a:r>
                    </a:p>
                  </a:txBody>
                  <a:tcPr marL="3810" marR="3810" marT="3810" marB="0" anchor="ctr">
                    <a:noFill/>
                  </a:tcPr>
                </a:tc>
                <a:tc>
                  <a:txBody>
                    <a:bodyPr/>
                    <a:lstStyle/>
                    <a:p>
                      <a:pPr algn="ctr">
                        <a:defRPr sz="800">
                          <a:latin typeface="Nexa Book"/>
                        </a:defRPr>
                      </a:pPr>
                      <a:r>
                        <a:t>45</a:t>
                      </a:r>
                    </a:p>
                  </a:txBody>
                  <a:tcPr marL="3810" marR="3810" marT="3810" marB="0" anchor="ctr">
                    <a:noFill/>
                  </a:tcPr>
                </a:tc>
                <a:tc>
                  <a:txBody>
                    <a:bodyPr/>
                    <a:lstStyle/>
                    <a:p>
                      <a:pPr algn="ctr">
                        <a:defRPr sz="800">
                          <a:latin typeface="Nexa Book"/>
                        </a:defRPr>
                      </a:pPr>
                      <a:r>
                        <a:t>22</a:t>
                      </a:r>
                    </a:p>
                  </a:txBody>
                  <a:tcPr marL="3810" marR="3810" marT="3810" marB="0" anchor="ctr">
                    <a:noFill/>
                  </a:tcPr>
                </a:tc>
                <a:tc>
                  <a:txBody>
                    <a:bodyPr/>
                    <a:lstStyle/>
                    <a:p>
                      <a:pPr algn="ctr">
                        <a:defRPr sz="800">
                          <a:latin typeface="Nexa Book"/>
                        </a:defRPr>
                      </a:pPr>
                      <a:r>
                        <a:t>48%</a:t>
                      </a:r>
                    </a:p>
                  </a:txBody>
                  <a:tcPr marL="3810" marR="3810" marT="3810" marB="0" anchor="ctr">
                    <a:noFill/>
                  </a:tcPr>
                </a:tc>
                <a:tc>
                  <a:txBody>
                    <a:bodyPr/>
                    <a:lstStyle/>
                    <a:p>
                      <a:pPr algn="ctr">
                        <a:defRPr sz="800">
                          <a:latin typeface="Nexa Book"/>
                        </a:defRPr>
                      </a:pPr>
                      <a:r>
                        <a:t>73%</a:t>
                      </a:r>
                    </a:p>
                  </a:txBody>
                  <a:tcPr marL="3810" marR="3810" marT="3810" marB="0" anchor="ctr">
                    <a:noFill/>
                  </a:tcPr>
                </a:tc>
                <a:tc>
                  <a:txBody>
                    <a:bodyPr/>
                    <a:lstStyle/>
                    <a:p>
                      <a:pPr algn="ctr">
                        <a:defRPr sz="800">
                          <a:latin typeface="Nexa Book"/>
                        </a:defRPr>
                      </a:pPr>
                      <a:r>
                        <a:t>33</a:t>
                      </a:r>
                    </a:p>
                  </a:txBody>
                  <a:tcPr marL="3810" marR="3810" marT="3810" marB="0" anchor="ctr">
                    <a:noFill/>
                  </a:tcPr>
                </a:tc>
                <a:tc>
                  <a:txBody>
                    <a:bodyPr/>
                    <a:lstStyle/>
                    <a:p>
                      <a:pPr algn="ctr">
                        <a:defRPr sz="800">
                          <a:latin typeface="Nexa Book"/>
                        </a:defRPr>
                      </a:pPr>
                      <a:r>
                        <a:t>11</a:t>
                      </a:r>
                    </a:p>
                  </a:txBody>
                  <a:tcPr marL="3810" marR="3810" marT="3810" marB="0" anchor="ctr">
                    <a:noFill/>
                  </a:tcPr>
                </a:tc>
                <a:extLst>
                  <a:ext uri="{0D108BD9-81ED-4DB2-BD59-A6C34878D82A}">
                    <a16:rowId xmlns:a16="http://schemas.microsoft.com/office/drawing/2014/main" val="1752397169"/>
                  </a:ext>
                </a:extLst>
              </a:tr>
              <a:tr h="831402">
                <a:tc>
                  <a:txBody>
                    <a:bodyPr/>
                    <a:lstStyle/>
                    <a:p>
                      <a:pPr algn="ctr">
                        <a:defRPr sz="800" b="1">
                          <a:latin typeface="Nexa (Headings)"/>
                        </a:defRPr>
                      </a:pPr>
                      <a:r>
                        <a:t>Soft Cheese</a:t>
                      </a:r>
                    </a:p>
                  </a:txBody>
                  <a:tcPr marL="3810" marR="3810" marT="3810" marB="0" anchor="ctr">
                    <a:noFill/>
                  </a:tcPr>
                </a:tc>
                <a:tc>
                  <a:txBody>
                    <a:bodyPr/>
                    <a:lstStyle/>
                    <a:p>
                      <a:pPr algn="ctr">
                        <a:defRPr sz="800">
                          <a:latin typeface="Nexa Book"/>
                        </a:defRPr>
                      </a:pPr>
                      <a:r>
                        <a:t>555</a:t>
                      </a:r>
                    </a:p>
                  </a:txBody>
                  <a:tcPr marL="3810" marR="3810" marT="3810" marB="0" anchor="ctr">
                    <a:noFill/>
                  </a:tcPr>
                </a:tc>
                <a:tc>
                  <a:txBody>
                    <a:bodyPr/>
                    <a:lstStyle/>
                    <a:p>
                      <a:pPr algn="ctr">
                        <a:defRPr sz="800">
                          <a:latin typeface="Nexa Book"/>
                        </a:defRPr>
                      </a:pPr>
                      <a:r>
                        <a:t>55</a:t>
                      </a:r>
                    </a:p>
                  </a:txBody>
                  <a:tcPr marL="3810" marR="3810" marT="3810" marB="0" anchor="ctr">
                    <a:noFill/>
                  </a:tcPr>
                </a:tc>
                <a:tc>
                  <a:txBody>
                    <a:bodyPr/>
                    <a:lstStyle/>
                    <a:p>
                      <a:pPr algn="ctr">
                        <a:defRPr sz="800">
                          <a:latin typeface="Nexa Book"/>
                        </a:defRPr>
                      </a:pPr>
                      <a:r>
                        <a:t>10%</a:t>
                      </a:r>
                    </a:p>
                  </a:txBody>
                  <a:tcPr marL="3810" marR="3810" marT="3810" marB="0" anchor="ctr">
                    <a:noFill/>
                  </a:tcPr>
                </a:tc>
                <a:tc>
                  <a:txBody>
                    <a:bodyPr/>
                    <a:lstStyle/>
                    <a:p>
                      <a:pPr algn="ctr">
                        <a:defRPr sz="800">
                          <a:latin typeface="Nexa Book"/>
                        </a:defRPr>
                      </a:pPr>
                      <a:r>
                        <a:t>14%</a:t>
                      </a:r>
                    </a:p>
                  </a:txBody>
                  <a:tcPr marL="3810" marR="3810" marT="3810" marB="0" anchor="ctr">
                    <a:noFill/>
                  </a:tcPr>
                </a:tc>
                <a:tc>
                  <a:txBody>
                    <a:bodyPr/>
                    <a:lstStyle/>
                    <a:p>
                      <a:pPr algn="ctr">
                        <a:defRPr sz="800">
                          <a:latin typeface="Nexa Book"/>
                        </a:defRPr>
                      </a:pPr>
                      <a:r>
                        <a:t>78</a:t>
                      </a:r>
                    </a:p>
                  </a:txBody>
                  <a:tcPr marL="3810" marR="3810" marT="3810" marB="0" anchor="ctr">
                    <a:noFill/>
                  </a:tcPr>
                </a:tc>
                <a:tc>
                  <a:txBody>
                    <a:bodyPr/>
                    <a:lstStyle/>
                    <a:p>
                      <a:pPr algn="ctr">
                        <a:defRPr sz="800">
                          <a:latin typeface="Nexa Book"/>
                        </a:defRPr>
                      </a:pPr>
                      <a:r>
                        <a:t>23</a:t>
                      </a:r>
                    </a:p>
                  </a:txBody>
                  <a:tcPr marL="3810" marR="3810" marT="3810" marB="0" anchor="ctr">
                    <a:noFill/>
                  </a:tcPr>
                </a:tc>
                <a:extLst>
                  <a:ext uri="{0D108BD9-81ED-4DB2-BD59-A6C34878D82A}">
                    <a16:rowId xmlns:a16="http://schemas.microsoft.com/office/drawing/2014/main" val="3712364869"/>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556</a:t>
            </a:fld>
            <a:endParaRPr lang="en-US"/>
          </a:p>
        </p:txBody>
      </p:sp>
    </p:spTree>
    <p:extLst>
      <p:ext uri="{BB962C8B-B14F-4D97-AF65-F5344CB8AC3E}">
        <p14:creationId xmlns:p14="http://schemas.microsoft.com/office/powerpoint/2010/main" val="2069559024"/>
      </p:ext>
    </p:extLst>
  </p:cSld>
  <p:clrMapOvr>
    <a:masterClrMapping/>
  </p:clrMapOvr>
</p:sld>
</file>

<file path=ppt/slides/slide5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9/9/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pPr>
              <a:defRPr sz="1200">
                <a:latin typeface="Nexa Bold (Headings)"/>
              </a:defRPr>
            </a:pPr>
            <a:r>
              <a:t>Sector fair share | Total Fromage | Bel | Intermarche | P12M</a:t>
            </a:r>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pPr>
              <a:defRPr sz="1600">
                <a:latin typeface="Nexa Bold (Headings)"/>
              </a:defRPr>
            </a:pPr>
            <a:r>
              <a:rPr lang="en-GB" dirty="0">
                <a:highlight>
                  <a:srgbClr val="FFFF00"/>
                </a:highlight>
              </a:rPr>
              <a:t>Sector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el </a:t>
                      </a:r>
                    </a:p>
                    <a:p>
                      <a:pPr algn="ctr">
                        <a:defRPr sz="900" b="1">
                          <a:latin typeface="Nexa (Headings)"/>
                        </a:defRPr>
                      </a:pPr>
                      <a: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el </a:t>
                      </a:r>
                    </a:p>
                    <a:p>
                      <a:pPr algn="ctr">
                        <a:defRPr sz="900" b="1">
                          <a:latin typeface="Nexa (Headings)"/>
                        </a:defRPr>
                      </a:pPr>
                      <a: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el </a:t>
                      </a:r>
                    </a:p>
                    <a:p>
                      <a:pPr algn="ctr">
                        <a:defRPr sz="900" b="1">
                          <a:latin typeface="Nexa (Headings)"/>
                        </a:defRPr>
                      </a:pPr>
                      <a: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el </a:t>
                      </a:r>
                    </a:p>
                    <a:p>
                      <a:pPr algn="ctr">
                        <a:defRPr sz="900" b="1">
                          <a:latin typeface="Nexa (Headings)"/>
                        </a:defRPr>
                      </a:pPr>
                      <a: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el</a:t>
                      </a:r>
                    </a:p>
                    <a:p>
                      <a:pPr algn="ctr">
                        <a:defRPr sz="900" b="1">
                          <a:latin typeface="Nexa (Headings)"/>
                        </a:defRPr>
                      </a:pPr>
                      <a: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831402">
                <a:tc>
                  <a:txBody>
                    <a:bodyPr/>
                    <a:lstStyle/>
                    <a:p>
                      <a:pPr algn="ctr">
                        <a:defRPr sz="800" b="1">
                          <a:latin typeface="Nexa (Headings)"/>
                        </a:defRPr>
                      </a:pPr>
                      <a:r>
                        <a:t>Grand Total</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612</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65</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25%</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22%</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64</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831402">
                <a:tc>
                  <a:txBody>
                    <a:bodyPr/>
                    <a:lstStyle/>
                    <a:p>
                      <a:pPr algn="ctr">
                        <a:defRPr sz="800" b="1">
                          <a:latin typeface="Nexa (Headings)"/>
                        </a:defRPr>
                      </a:pPr>
                      <a:r>
                        <a:t>Ingredient A Chaud</a:t>
                      </a:r>
                    </a:p>
                  </a:txBody>
                  <a:tcPr marL="3810" marR="3810" marT="3810" marB="0" anchor="ctr">
                    <a:noFill/>
                  </a:tcPr>
                </a:tc>
                <a:tc>
                  <a:txBody>
                    <a:bodyPr/>
                    <a:lstStyle/>
                    <a:p>
                      <a:pPr algn="ctr">
                        <a:defRPr sz="800">
                          <a:latin typeface="Nexa Book"/>
                        </a:defRPr>
                      </a:pPr>
                      <a:r>
                        <a:t>16</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5%</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3161381"/>
                  </a:ext>
                </a:extLst>
              </a:tr>
              <a:tr h="831402">
                <a:tc>
                  <a:txBody>
                    <a:bodyPr/>
                    <a:lstStyle/>
                    <a:p>
                      <a:pPr algn="ctr">
                        <a:defRPr sz="800" b="1">
                          <a:latin typeface="Nexa (Headings)"/>
                        </a:defRPr>
                      </a:pPr>
                      <a:r>
                        <a:t>Aperitif</a:t>
                      </a:r>
                    </a:p>
                  </a:txBody>
                  <a:tcPr marL="3810" marR="3810" marT="3810" marB="0" anchor="ctr">
                    <a:noFill/>
                  </a:tcPr>
                </a:tc>
                <a:tc>
                  <a:txBody>
                    <a:bodyPr/>
                    <a:lstStyle/>
                    <a:p>
                      <a:pPr algn="ctr">
                        <a:defRPr sz="800">
                          <a:latin typeface="Nexa Book"/>
                        </a:defRPr>
                      </a:pPr>
                      <a:r>
                        <a:t>31</a:t>
                      </a:r>
                    </a:p>
                  </a:txBody>
                  <a:tcPr marL="3810" marR="3810" marT="3810" marB="0" anchor="ctr">
                    <a:noFill/>
                  </a:tcPr>
                </a:tc>
                <a:tc>
                  <a:txBody>
                    <a:bodyPr/>
                    <a:lstStyle/>
                    <a:p>
                      <a:pPr algn="ctr">
                        <a:defRPr sz="800">
                          <a:latin typeface="Nexa Book"/>
                        </a:defRPr>
                      </a:pPr>
                      <a:r>
                        <a:t>17</a:t>
                      </a:r>
                    </a:p>
                  </a:txBody>
                  <a:tcPr marL="3810" marR="3810" marT="3810" marB="0" anchor="ctr">
                    <a:noFill/>
                  </a:tcPr>
                </a:tc>
                <a:tc>
                  <a:txBody>
                    <a:bodyPr/>
                    <a:lstStyle/>
                    <a:p>
                      <a:pPr algn="ctr">
                        <a:defRPr sz="800">
                          <a:latin typeface="Nexa Book"/>
                        </a:defRPr>
                      </a:pPr>
                      <a:r>
                        <a:t>54%</a:t>
                      </a:r>
                    </a:p>
                  </a:txBody>
                  <a:tcPr marL="3810" marR="3810" marT="3810" marB="0" anchor="ctr">
                    <a:noFill/>
                  </a:tcPr>
                </a:tc>
                <a:tc>
                  <a:txBody>
                    <a:bodyPr/>
                    <a:lstStyle/>
                    <a:p>
                      <a:pPr algn="ctr">
                        <a:defRPr sz="800">
                          <a:latin typeface="Nexa Book"/>
                        </a:defRPr>
                      </a:pPr>
                      <a:r>
                        <a:t>72%</a:t>
                      </a:r>
                    </a:p>
                  </a:txBody>
                  <a:tcPr marL="3810" marR="3810" marT="3810" marB="0" anchor="ctr">
                    <a:noFill/>
                  </a:tcPr>
                </a:tc>
                <a:tc>
                  <a:txBody>
                    <a:bodyPr/>
                    <a:lstStyle/>
                    <a:p>
                      <a:pPr algn="ctr">
                        <a:defRPr sz="800">
                          <a:latin typeface="Nexa Book"/>
                        </a:defRPr>
                      </a:pPr>
                      <a:r>
                        <a:t>22</a:t>
                      </a:r>
                    </a:p>
                  </a:txBody>
                  <a:tcPr marL="3810" marR="3810" marT="3810" marB="0" anchor="ctr">
                    <a:noFill/>
                  </a:tcPr>
                </a:tc>
                <a:tc>
                  <a:txBody>
                    <a:bodyPr/>
                    <a:lstStyle/>
                    <a:p>
                      <a:pPr algn="ctr">
                        <a:defRPr sz="800">
                          <a:latin typeface="Nexa Book"/>
                        </a:defRPr>
                      </a:pPr>
                      <a:r>
                        <a:t>5</a:t>
                      </a:r>
                    </a:p>
                  </a:txBody>
                  <a:tcPr marL="3810" marR="3810" marT="3810" marB="0" anchor="ctr">
                    <a:noFill/>
                  </a:tcPr>
                </a:tc>
                <a:extLst>
                  <a:ext uri="{0D108BD9-81ED-4DB2-BD59-A6C34878D82A}">
                    <a16:rowId xmlns:a16="http://schemas.microsoft.com/office/drawing/2014/main" val="1752397169"/>
                  </a:ext>
                </a:extLst>
              </a:tr>
              <a:tr h="831402">
                <a:tc>
                  <a:txBody>
                    <a:bodyPr/>
                    <a:lstStyle/>
                    <a:p>
                      <a:pPr algn="ctr">
                        <a:defRPr sz="800" b="1">
                          <a:latin typeface="Nexa (Headings)"/>
                        </a:defRPr>
                      </a:pPr>
                      <a:r>
                        <a:t>Soft Cheese</a:t>
                      </a:r>
                    </a:p>
                  </a:txBody>
                  <a:tcPr marL="3810" marR="3810" marT="3810" marB="0" anchor="ctr">
                    <a:noFill/>
                  </a:tcPr>
                </a:tc>
                <a:tc>
                  <a:txBody>
                    <a:bodyPr/>
                    <a:lstStyle/>
                    <a:p>
                      <a:pPr algn="ctr">
                        <a:defRPr sz="800">
                          <a:latin typeface="Nexa Book"/>
                        </a:defRPr>
                      </a:pPr>
                      <a:r>
                        <a:t>264</a:t>
                      </a:r>
                    </a:p>
                  </a:txBody>
                  <a:tcPr marL="3810" marR="3810" marT="3810" marB="0" anchor="ctr">
                    <a:noFill/>
                  </a:tcPr>
                </a:tc>
                <a:tc>
                  <a:txBody>
                    <a:bodyPr/>
                    <a:lstStyle/>
                    <a:p>
                      <a:pPr algn="ctr">
                        <a:defRPr sz="800">
                          <a:latin typeface="Nexa Book"/>
                        </a:defRPr>
                      </a:pPr>
                      <a:r>
                        <a:t>42</a:t>
                      </a:r>
                    </a:p>
                  </a:txBody>
                  <a:tcPr marL="3810" marR="3810" marT="3810" marB="0" anchor="ctr">
                    <a:noFill/>
                  </a:tcPr>
                </a:tc>
                <a:tc>
                  <a:txBody>
                    <a:bodyPr/>
                    <a:lstStyle/>
                    <a:p>
                      <a:pPr algn="ctr">
                        <a:defRPr sz="800">
                          <a:latin typeface="Nexa Book"/>
                        </a:defRPr>
                      </a:pPr>
                      <a:r>
                        <a:t>16%</a:t>
                      </a:r>
                    </a:p>
                  </a:txBody>
                  <a:tcPr marL="3810" marR="3810" marT="3810" marB="0" anchor="ctr">
                    <a:noFill/>
                  </a:tcPr>
                </a:tc>
                <a:tc>
                  <a:txBody>
                    <a:bodyPr/>
                    <a:lstStyle/>
                    <a:p>
                      <a:pPr algn="ctr">
                        <a:defRPr sz="800">
                          <a:latin typeface="Nexa Book"/>
                        </a:defRPr>
                      </a:pPr>
                      <a:r>
                        <a:t>13%</a:t>
                      </a:r>
                    </a:p>
                  </a:txBody>
                  <a:tcPr marL="3810" marR="3810" marT="3810" marB="0" anchor="ctr">
                    <a:noFill/>
                  </a:tcPr>
                </a:tc>
                <a:tc>
                  <a:txBody>
                    <a:bodyPr/>
                    <a:lstStyle/>
                    <a:p>
                      <a:pPr algn="ctr">
                        <a:defRPr sz="800">
                          <a:latin typeface="Nexa Book"/>
                        </a:defRPr>
                      </a:pPr>
                      <a:r>
                        <a:t>34</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3712364869"/>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557</a:t>
            </a:fld>
            <a:endParaRPr lang="en-US"/>
          </a:p>
        </p:txBody>
      </p:sp>
    </p:spTree>
    <p:extLst>
      <p:ext uri="{BB962C8B-B14F-4D97-AF65-F5344CB8AC3E}">
        <p14:creationId xmlns:p14="http://schemas.microsoft.com/office/powerpoint/2010/main" val="167516141"/>
      </p:ext>
    </p:extLst>
  </p:cSld>
  <p:clrMapOvr>
    <a:masterClrMapping/>
  </p:clrMapOvr>
</p:sld>
</file>

<file path=ppt/slides/slide5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9/9/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pPr>
              <a:defRPr sz="1200">
                <a:latin typeface="Nexa Bold (Headings)"/>
              </a:defRPr>
            </a:pPr>
            <a:r>
              <a:t>Sector fair share | Total Fromage | Bel | Carrefour | P12M</a:t>
            </a:r>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pPr>
              <a:defRPr sz="1600">
                <a:latin typeface="Nexa Bold (Headings)"/>
              </a:defRPr>
            </a:pPr>
            <a:r>
              <a:rPr lang="en-GB" dirty="0">
                <a:highlight>
                  <a:srgbClr val="FFFF00"/>
                </a:highlight>
              </a:rPr>
              <a:t>Sector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el </a:t>
                      </a:r>
                    </a:p>
                    <a:p>
                      <a:pPr algn="ctr">
                        <a:defRPr sz="900" b="1">
                          <a:latin typeface="Nexa (Headings)"/>
                        </a:defRPr>
                      </a:pPr>
                      <a: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el </a:t>
                      </a:r>
                    </a:p>
                    <a:p>
                      <a:pPr algn="ctr">
                        <a:defRPr sz="900" b="1">
                          <a:latin typeface="Nexa (Headings)"/>
                        </a:defRPr>
                      </a:pPr>
                      <a: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el </a:t>
                      </a:r>
                    </a:p>
                    <a:p>
                      <a:pPr algn="ctr">
                        <a:defRPr sz="900" b="1">
                          <a:latin typeface="Nexa (Headings)"/>
                        </a:defRPr>
                      </a:pPr>
                      <a: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el </a:t>
                      </a:r>
                    </a:p>
                    <a:p>
                      <a:pPr algn="ctr">
                        <a:defRPr sz="900" b="1">
                          <a:latin typeface="Nexa (Headings)"/>
                        </a:defRPr>
                      </a:pPr>
                      <a: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el</a:t>
                      </a:r>
                    </a:p>
                    <a:p>
                      <a:pPr algn="ctr">
                        <a:defRPr sz="900" b="1">
                          <a:latin typeface="Nexa (Headings)"/>
                        </a:defRPr>
                      </a:pPr>
                      <a: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831402">
                <a:tc>
                  <a:txBody>
                    <a:bodyPr/>
                    <a:lstStyle/>
                    <a:p>
                      <a:pPr algn="ctr">
                        <a:defRPr sz="800" b="1">
                          <a:latin typeface="Nexa (Headings)"/>
                        </a:defRPr>
                      </a:pPr>
                      <a:r>
                        <a:t>Grand Total</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821</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6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20%</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27%</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72</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3</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831402">
                <a:tc>
                  <a:txBody>
                    <a:bodyPr/>
                    <a:lstStyle/>
                    <a:p>
                      <a:pPr algn="ctr">
                        <a:defRPr sz="800" b="1">
                          <a:latin typeface="Nexa (Headings)"/>
                        </a:defRPr>
                      </a:pPr>
                      <a:r>
                        <a:t>Ingredient A Chaud</a:t>
                      </a:r>
                    </a:p>
                  </a:txBody>
                  <a:tcPr marL="3810" marR="3810" marT="3810" marB="0" anchor="ctr">
                    <a:noFill/>
                  </a:tcPr>
                </a:tc>
                <a:tc>
                  <a:txBody>
                    <a:bodyPr/>
                    <a:lstStyle/>
                    <a:p>
                      <a:pPr algn="ctr">
                        <a:defRPr sz="800">
                          <a:latin typeface="Nexa Book"/>
                        </a:defRPr>
                      </a:pPr>
                      <a:r>
                        <a:t>19</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15%</a:t>
                      </a:r>
                    </a:p>
                  </a:txBody>
                  <a:tcPr marL="3810" marR="3810" marT="3810" marB="0" anchor="ctr">
                    <a:noFill/>
                  </a:tcPr>
                </a:tc>
                <a:tc>
                  <a:txBody>
                    <a:bodyPr/>
                    <a:lstStyle/>
                    <a:p>
                      <a:pPr algn="ctr">
                        <a:defRPr sz="800">
                          <a:latin typeface="Nexa Book"/>
                        </a:defRPr>
                      </a:pPr>
                      <a:r>
                        <a:t>12%</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3161381"/>
                  </a:ext>
                </a:extLst>
              </a:tr>
              <a:tr h="831402">
                <a:tc>
                  <a:txBody>
                    <a:bodyPr/>
                    <a:lstStyle/>
                    <a:p>
                      <a:pPr algn="ctr">
                        <a:defRPr sz="800" b="1">
                          <a:latin typeface="Nexa (Headings)"/>
                        </a:defRPr>
                      </a:pPr>
                      <a:r>
                        <a:t>Aperitif</a:t>
                      </a:r>
                    </a:p>
                  </a:txBody>
                  <a:tcPr marL="3810" marR="3810" marT="3810" marB="0" anchor="ctr">
                    <a:noFill/>
                  </a:tcPr>
                </a:tc>
                <a:tc>
                  <a:txBody>
                    <a:bodyPr/>
                    <a:lstStyle/>
                    <a:p>
                      <a:pPr algn="ctr">
                        <a:defRPr sz="800">
                          <a:latin typeface="Nexa Book"/>
                        </a:defRPr>
                      </a:pPr>
                      <a:r>
                        <a:t>33</a:t>
                      </a:r>
                    </a:p>
                  </a:txBody>
                  <a:tcPr marL="3810" marR="3810" marT="3810" marB="0" anchor="ctr">
                    <a:noFill/>
                  </a:tcPr>
                </a:tc>
                <a:tc>
                  <a:txBody>
                    <a:bodyPr/>
                    <a:lstStyle/>
                    <a:p>
                      <a:pPr algn="ctr">
                        <a:defRPr sz="800">
                          <a:latin typeface="Nexa Book"/>
                        </a:defRPr>
                      </a:pPr>
                      <a:r>
                        <a:t>16</a:t>
                      </a:r>
                    </a:p>
                  </a:txBody>
                  <a:tcPr marL="3810" marR="3810" marT="3810" marB="0" anchor="ctr">
                    <a:noFill/>
                  </a:tcPr>
                </a:tc>
                <a:tc>
                  <a:txBody>
                    <a:bodyPr/>
                    <a:lstStyle/>
                    <a:p>
                      <a:pPr algn="ctr">
                        <a:defRPr sz="800">
                          <a:latin typeface="Nexa Book"/>
                        </a:defRPr>
                      </a:pPr>
                      <a:r>
                        <a:t>50%</a:t>
                      </a:r>
                    </a:p>
                  </a:txBody>
                  <a:tcPr marL="3810" marR="3810" marT="3810" marB="0" anchor="ctr">
                    <a:noFill/>
                  </a:tcPr>
                </a:tc>
                <a:tc>
                  <a:txBody>
                    <a:bodyPr/>
                    <a:lstStyle/>
                    <a:p>
                      <a:pPr algn="ctr">
                        <a:defRPr sz="800">
                          <a:latin typeface="Nexa Book"/>
                        </a:defRPr>
                      </a:pPr>
                      <a:r>
                        <a:t>71%</a:t>
                      </a:r>
                    </a:p>
                  </a:txBody>
                  <a:tcPr marL="3810" marR="3810" marT="3810" marB="0" anchor="ctr">
                    <a:noFill/>
                  </a:tcPr>
                </a:tc>
                <a:tc>
                  <a:txBody>
                    <a:bodyPr/>
                    <a:lstStyle/>
                    <a:p>
                      <a:pPr algn="ctr">
                        <a:defRPr sz="800">
                          <a:latin typeface="Nexa Book"/>
                        </a:defRPr>
                      </a:pPr>
                      <a:r>
                        <a:t>23</a:t>
                      </a:r>
                    </a:p>
                  </a:txBody>
                  <a:tcPr marL="3810" marR="3810" marT="3810" marB="0" anchor="ctr">
                    <a:noFill/>
                  </a:tcPr>
                </a:tc>
                <a:tc>
                  <a:txBody>
                    <a:bodyPr/>
                    <a:lstStyle/>
                    <a:p>
                      <a:pPr algn="ctr">
                        <a:defRPr sz="800">
                          <a:latin typeface="Nexa Book"/>
                        </a:defRPr>
                      </a:pPr>
                      <a:r>
                        <a:t>7</a:t>
                      </a:r>
                    </a:p>
                  </a:txBody>
                  <a:tcPr marL="3810" marR="3810" marT="3810" marB="0" anchor="ctr">
                    <a:noFill/>
                  </a:tcPr>
                </a:tc>
                <a:extLst>
                  <a:ext uri="{0D108BD9-81ED-4DB2-BD59-A6C34878D82A}">
                    <a16:rowId xmlns:a16="http://schemas.microsoft.com/office/drawing/2014/main" val="1752397169"/>
                  </a:ext>
                </a:extLst>
              </a:tr>
              <a:tr h="831402">
                <a:tc>
                  <a:txBody>
                    <a:bodyPr/>
                    <a:lstStyle/>
                    <a:p>
                      <a:pPr algn="ctr">
                        <a:defRPr sz="800" b="1">
                          <a:latin typeface="Nexa (Headings)"/>
                        </a:defRPr>
                      </a:pPr>
                      <a:r>
                        <a:t>Soft Cheese</a:t>
                      </a:r>
                    </a:p>
                  </a:txBody>
                  <a:tcPr marL="3810" marR="3810" marT="3810" marB="0" anchor="ctr">
                    <a:noFill/>
                  </a:tcPr>
                </a:tc>
                <a:tc>
                  <a:txBody>
                    <a:bodyPr/>
                    <a:lstStyle/>
                    <a:p>
                      <a:pPr algn="ctr">
                        <a:defRPr sz="800">
                          <a:latin typeface="Nexa Book"/>
                        </a:defRPr>
                      </a:pPr>
                      <a:r>
                        <a:t>390</a:t>
                      </a:r>
                    </a:p>
                  </a:txBody>
                  <a:tcPr marL="3810" marR="3810" marT="3810" marB="0" anchor="ctr">
                    <a:noFill/>
                  </a:tcPr>
                </a:tc>
                <a:tc>
                  <a:txBody>
                    <a:bodyPr/>
                    <a:lstStyle/>
                    <a:p>
                      <a:pPr algn="ctr">
                        <a:defRPr sz="800">
                          <a:latin typeface="Nexa Book"/>
                        </a:defRPr>
                      </a:pPr>
                      <a:r>
                        <a:t>40</a:t>
                      </a:r>
                    </a:p>
                  </a:txBody>
                  <a:tcPr marL="3810" marR="3810" marT="3810" marB="0" anchor="ctr">
                    <a:noFill/>
                  </a:tcPr>
                </a:tc>
                <a:tc>
                  <a:txBody>
                    <a:bodyPr/>
                    <a:lstStyle/>
                    <a:p>
                      <a:pPr algn="ctr">
                        <a:defRPr sz="800">
                          <a:latin typeface="Nexa Book"/>
                        </a:defRPr>
                      </a:pPr>
                      <a:r>
                        <a:t>10%</a:t>
                      </a:r>
                    </a:p>
                  </a:txBody>
                  <a:tcPr marL="3810" marR="3810" marT="3810" marB="0" anchor="ctr">
                    <a:noFill/>
                  </a:tcPr>
                </a:tc>
                <a:tc>
                  <a:txBody>
                    <a:bodyPr/>
                    <a:lstStyle/>
                    <a:p>
                      <a:pPr algn="ctr">
                        <a:defRPr sz="800">
                          <a:latin typeface="Nexa Book"/>
                        </a:defRPr>
                      </a:pPr>
                      <a:r>
                        <a:t>12%</a:t>
                      </a:r>
                    </a:p>
                  </a:txBody>
                  <a:tcPr marL="3810" marR="3810" marT="3810" marB="0" anchor="ctr">
                    <a:noFill/>
                  </a:tcPr>
                </a:tc>
                <a:tc>
                  <a:txBody>
                    <a:bodyPr/>
                    <a:lstStyle/>
                    <a:p>
                      <a:pPr algn="ctr">
                        <a:defRPr sz="800">
                          <a:latin typeface="Nexa Book"/>
                        </a:defRPr>
                      </a:pPr>
                      <a:r>
                        <a:t>47</a:t>
                      </a:r>
                    </a:p>
                  </a:txBody>
                  <a:tcPr marL="3810" marR="3810" marT="3810" marB="0" anchor="ctr">
                    <a:noFill/>
                  </a:tcPr>
                </a:tc>
                <a:tc>
                  <a:txBody>
                    <a:bodyPr/>
                    <a:lstStyle/>
                    <a:p>
                      <a:pPr algn="ctr">
                        <a:defRPr sz="800">
                          <a:latin typeface="Nexa Book"/>
                        </a:defRPr>
                      </a:pPr>
                      <a:r>
                        <a:t>7</a:t>
                      </a:r>
                    </a:p>
                  </a:txBody>
                  <a:tcPr marL="3810" marR="3810" marT="3810" marB="0" anchor="ctr">
                    <a:noFill/>
                  </a:tcPr>
                </a:tc>
                <a:extLst>
                  <a:ext uri="{0D108BD9-81ED-4DB2-BD59-A6C34878D82A}">
                    <a16:rowId xmlns:a16="http://schemas.microsoft.com/office/drawing/2014/main" val="3712364869"/>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558</a:t>
            </a:fld>
            <a:endParaRPr lang="en-US"/>
          </a:p>
        </p:txBody>
      </p:sp>
    </p:spTree>
    <p:extLst>
      <p:ext uri="{BB962C8B-B14F-4D97-AF65-F5344CB8AC3E}">
        <p14:creationId xmlns:p14="http://schemas.microsoft.com/office/powerpoint/2010/main" val="69550492"/>
      </p:ext>
    </p:extLst>
  </p:cSld>
  <p:clrMapOvr>
    <a:masterClrMapping/>
  </p:clrMapOvr>
</p:sld>
</file>

<file path=ppt/slides/slide5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9/9/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pPr>
              <a:defRPr sz="1200">
                <a:latin typeface="Nexa Bold (Headings)"/>
              </a:defRPr>
            </a:pPr>
            <a:r>
              <a:t>Sector fair share | Total Fromage | La Vache Qui Rit | Carrefour Hyper + Drive | P12M</a:t>
            </a:r>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pPr>
              <a:defRPr sz="1600">
                <a:latin typeface="Nexa Bold (Headings)"/>
              </a:defRPr>
            </a:pPr>
            <a:r>
              <a:rPr lang="en-GB" dirty="0">
                <a:highlight>
                  <a:srgbClr val="FFFF00"/>
                </a:highlight>
              </a:rPr>
              <a:t>Sector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La Vache Qui Rit </a:t>
                      </a:r>
                    </a:p>
                    <a:p>
                      <a:pPr algn="ctr">
                        <a:defRPr sz="900" b="1">
                          <a:latin typeface="Nexa (Headings)"/>
                        </a:defRPr>
                      </a:pPr>
                      <a: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La Vache Qui Rit </a:t>
                      </a:r>
                    </a:p>
                    <a:p>
                      <a:pPr algn="ctr">
                        <a:defRPr sz="900" b="1">
                          <a:latin typeface="Nexa (Headings)"/>
                        </a:defRPr>
                      </a:pPr>
                      <a: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La Vache Qui Rit </a:t>
                      </a:r>
                    </a:p>
                    <a:p>
                      <a:pPr algn="ctr">
                        <a:defRPr sz="900" b="1">
                          <a:latin typeface="Nexa (Headings)"/>
                        </a:defRPr>
                      </a:pPr>
                      <a: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La Vache Qui Rit </a:t>
                      </a:r>
                    </a:p>
                    <a:p>
                      <a:pPr algn="ctr">
                        <a:defRPr sz="900" b="1">
                          <a:latin typeface="Nexa (Headings)"/>
                        </a:defRPr>
                      </a:pPr>
                      <a: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La Vache Qui Rit</a:t>
                      </a:r>
                    </a:p>
                    <a:p>
                      <a:pPr algn="ctr">
                        <a:defRPr sz="900" b="1">
                          <a:latin typeface="Nexa (Headings)"/>
                        </a:defRPr>
                      </a:pPr>
                      <a: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831402">
                <a:tc>
                  <a:txBody>
                    <a:bodyPr/>
                    <a:lstStyle/>
                    <a:p>
                      <a:pPr algn="ctr">
                        <a:defRPr sz="800" b="1">
                          <a:latin typeface="Nexa (Headings)"/>
                        </a:defRPr>
                      </a:pPr>
                      <a:r>
                        <a:t>Grand Total</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175</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3</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2%</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7%</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6</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831402">
                <a:tc>
                  <a:txBody>
                    <a:bodyPr/>
                    <a:lstStyle/>
                    <a:p>
                      <a:pPr algn="ctr">
                        <a:defRPr sz="800" b="1">
                          <a:latin typeface="Nexa (Headings)"/>
                        </a:defRPr>
                      </a:pPr>
                      <a:r>
                        <a:t>Ingredient A Chaud</a:t>
                      </a:r>
                    </a:p>
                  </a:txBody>
                  <a:tcPr marL="3810" marR="3810" marT="3810" marB="0" anchor="ctr">
                    <a:noFill/>
                  </a:tcPr>
                </a:tc>
                <a:tc>
                  <a:txBody>
                    <a:bodyPr/>
                    <a:lstStyle/>
                    <a:p>
                      <a:pPr algn="ctr">
                        <a:defRPr sz="800">
                          <a:latin typeface="Nexa Book"/>
                        </a:defRPr>
                      </a:pPr>
                      <a:r>
                        <a:t>28</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10%</a:t>
                      </a:r>
                    </a:p>
                  </a:txBody>
                  <a:tcPr marL="3810" marR="3810" marT="3810" marB="0" anchor="ctr">
                    <a:noFill/>
                  </a:tcPr>
                </a:tc>
                <a:tc>
                  <a:txBody>
                    <a:bodyPr/>
                    <a:lstStyle/>
                    <a:p>
                      <a:pPr algn="ctr">
                        <a:defRPr sz="800">
                          <a:latin typeface="Nexa Book"/>
                        </a:defRPr>
                      </a:pPr>
                      <a:r>
                        <a:t>12%</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3161381"/>
                  </a:ext>
                </a:extLst>
              </a:tr>
              <a:tr h="831402">
                <a:tc>
                  <a:txBody>
                    <a:bodyPr/>
                    <a:lstStyle/>
                    <a:p>
                      <a:pPr algn="ctr">
                        <a:defRPr sz="800" b="1">
                          <a:latin typeface="Nexa (Headings)"/>
                        </a:defRPr>
                      </a:pPr>
                      <a:r>
                        <a:t>Aperitif</a:t>
                      </a:r>
                    </a:p>
                  </a:txBody>
                  <a:tcPr marL="3810" marR="3810" marT="3810" marB="0" anchor="ctr">
                    <a:noFill/>
                  </a:tcPr>
                </a:tc>
                <a:tc>
                  <a:txBody>
                    <a:bodyPr/>
                    <a:lstStyle/>
                    <a:p>
                      <a:pPr algn="ctr">
                        <a:defRPr sz="800">
                          <a:latin typeface="Nexa Book"/>
                        </a:defRPr>
                      </a:pPr>
                      <a:r>
                        <a:t>45</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1752397169"/>
                  </a:ext>
                </a:extLst>
              </a:tr>
              <a:tr h="831402">
                <a:tc>
                  <a:txBody>
                    <a:bodyPr/>
                    <a:lstStyle/>
                    <a:p>
                      <a:pPr algn="ctr">
                        <a:defRPr sz="800" b="1">
                          <a:latin typeface="Nexa (Headings)"/>
                        </a:defRPr>
                      </a:pPr>
                      <a:r>
                        <a:t>Soft Cheese</a:t>
                      </a:r>
                    </a:p>
                  </a:txBody>
                  <a:tcPr marL="3810" marR="3810" marT="3810" marB="0" anchor="ctr">
                    <a:noFill/>
                  </a:tcPr>
                </a:tc>
                <a:tc>
                  <a:txBody>
                    <a:bodyPr/>
                    <a:lstStyle/>
                    <a:p>
                      <a:pPr algn="ctr">
                        <a:defRPr sz="800">
                          <a:latin typeface="Nexa Book"/>
                        </a:defRPr>
                      </a:pPr>
                      <a:r>
                        <a:t>555</a:t>
                      </a:r>
                    </a:p>
                  </a:txBody>
                  <a:tcPr marL="3810" marR="3810" marT="3810" marB="0" anchor="ctr">
                    <a:noFill/>
                  </a:tcPr>
                </a:tc>
                <a:tc>
                  <a:txBody>
                    <a:bodyPr/>
                    <a:lstStyle/>
                    <a:p>
                      <a:pPr algn="ctr">
                        <a:defRPr sz="800">
                          <a:latin typeface="Nexa Book"/>
                        </a:defRPr>
                      </a:pPr>
                      <a:r>
                        <a:t>11</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5%</a:t>
                      </a:r>
                    </a:p>
                  </a:txBody>
                  <a:tcPr marL="3810" marR="3810" marT="3810" marB="0" anchor="ctr">
                    <a:noFill/>
                  </a:tcPr>
                </a:tc>
                <a:tc>
                  <a:txBody>
                    <a:bodyPr/>
                    <a:lstStyle/>
                    <a:p>
                      <a:pPr algn="ctr">
                        <a:defRPr sz="800">
                          <a:latin typeface="Nexa Book"/>
                        </a:defRPr>
                      </a:pPr>
                      <a:r>
                        <a:t>27</a:t>
                      </a:r>
                    </a:p>
                  </a:txBody>
                  <a:tcPr marL="3810" marR="3810" marT="3810" marB="0" anchor="ctr">
                    <a:noFill/>
                  </a:tcPr>
                </a:tc>
                <a:tc>
                  <a:txBody>
                    <a:bodyPr/>
                    <a:lstStyle/>
                    <a:p>
                      <a:pPr algn="ctr">
                        <a:defRPr sz="800">
                          <a:latin typeface="Nexa Book"/>
                        </a:defRPr>
                      </a:pPr>
                      <a:r>
                        <a:t>16</a:t>
                      </a:r>
                    </a:p>
                  </a:txBody>
                  <a:tcPr marL="3810" marR="3810" marT="3810" marB="0" anchor="ctr">
                    <a:noFill/>
                  </a:tcPr>
                </a:tc>
                <a:extLst>
                  <a:ext uri="{0D108BD9-81ED-4DB2-BD59-A6C34878D82A}">
                    <a16:rowId xmlns:a16="http://schemas.microsoft.com/office/drawing/2014/main" val="3712364869"/>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559</a:t>
            </a:fld>
            <a:endParaRPr lang="en-US"/>
          </a:p>
        </p:txBody>
      </p:sp>
    </p:spTree>
    <p:extLst>
      <p:ext uri="{BB962C8B-B14F-4D97-AF65-F5344CB8AC3E}">
        <p14:creationId xmlns:p14="http://schemas.microsoft.com/office/powerpoint/2010/main" val="3871272664"/>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9/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Salade | Intermarche Proxi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56</a:t>
            </a:fld>
            <a:endParaRPr lang="en-US"/>
          </a:p>
        </p:txBody>
      </p:sp>
    </p:spTree>
    <p:extLst>
      <p:ext uri="{BB962C8B-B14F-4D97-AF65-F5344CB8AC3E}">
        <p14:creationId xmlns:p14="http://schemas.microsoft.com/office/powerpoint/2010/main" val="1419633684"/>
      </p:ext>
    </p:extLst>
  </p:cSld>
  <p:clrMapOvr>
    <a:masterClrMapping/>
  </p:clrMapOvr>
</p:sld>
</file>

<file path=ppt/slides/slide5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9/9/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pPr>
              <a:defRPr sz="1200">
                <a:latin typeface="Nexa Bold (Headings)"/>
              </a:defRPr>
            </a:pPr>
            <a:r>
              <a:t>Sector fair share | Total Fromage | Kiri | Carrefour Hyper + Drive | P12M</a:t>
            </a:r>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pPr>
              <a:defRPr sz="1600">
                <a:latin typeface="Nexa Bold (Headings)"/>
              </a:defRPr>
            </a:pPr>
            <a:r>
              <a:rPr lang="en-GB" dirty="0">
                <a:highlight>
                  <a:srgbClr val="FFFF00"/>
                </a:highlight>
              </a:rPr>
              <a:t>Sector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Kiri </a:t>
                      </a:r>
                    </a:p>
                    <a:p>
                      <a:pPr algn="ctr">
                        <a:defRPr sz="900" b="1">
                          <a:latin typeface="Nexa (Headings)"/>
                        </a:defRPr>
                      </a:pPr>
                      <a: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Kiri </a:t>
                      </a:r>
                    </a:p>
                    <a:p>
                      <a:pPr algn="ctr">
                        <a:defRPr sz="900" b="1">
                          <a:latin typeface="Nexa (Headings)"/>
                        </a:defRPr>
                      </a:pPr>
                      <a: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Kiri </a:t>
                      </a:r>
                    </a:p>
                    <a:p>
                      <a:pPr algn="ctr">
                        <a:defRPr sz="900" b="1">
                          <a:latin typeface="Nexa (Headings)"/>
                        </a:defRPr>
                      </a:pPr>
                      <a: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Kiri </a:t>
                      </a:r>
                    </a:p>
                    <a:p>
                      <a:pPr algn="ctr">
                        <a:defRPr sz="900" b="1">
                          <a:latin typeface="Nexa (Headings)"/>
                        </a:defRPr>
                      </a:pPr>
                      <a: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Kiri</a:t>
                      </a:r>
                    </a:p>
                    <a:p>
                      <a:pPr algn="ctr">
                        <a:defRPr sz="900" b="1">
                          <a:latin typeface="Nexa (Headings)"/>
                        </a:defRPr>
                      </a:pPr>
                      <a: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831402">
                <a:tc>
                  <a:txBody>
                    <a:bodyPr/>
                    <a:lstStyle/>
                    <a:p>
                      <a:pPr algn="ctr">
                        <a:defRPr sz="800" b="1">
                          <a:latin typeface="Nexa (Headings)"/>
                        </a:defRPr>
                      </a:pPr>
                      <a:r>
                        <a:t>Grand Total</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175</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2</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2%</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4%</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20</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8</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831402">
                <a:tc>
                  <a:txBody>
                    <a:bodyPr/>
                    <a:lstStyle/>
                    <a:p>
                      <a:pPr algn="ctr">
                        <a:defRPr sz="800" b="1">
                          <a:latin typeface="Nexa (Headings)"/>
                        </a:defRPr>
                      </a:pPr>
                      <a:r>
                        <a:t>Ingredient A Chaud</a:t>
                      </a:r>
                    </a:p>
                  </a:txBody>
                  <a:tcPr marL="3810" marR="3810" marT="3810" marB="0" anchor="ctr">
                    <a:noFill/>
                  </a:tcPr>
                </a:tc>
                <a:tc>
                  <a:txBody>
                    <a:bodyPr/>
                    <a:lstStyle/>
                    <a:p>
                      <a:pPr algn="ctr">
                        <a:defRPr sz="800">
                          <a:latin typeface="Nexa Book"/>
                        </a:defRPr>
                      </a:pPr>
                      <a:r>
                        <a:t>28</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3161381"/>
                  </a:ext>
                </a:extLst>
              </a:tr>
              <a:tr h="831402">
                <a:tc>
                  <a:txBody>
                    <a:bodyPr/>
                    <a:lstStyle/>
                    <a:p>
                      <a:pPr algn="ctr">
                        <a:defRPr sz="800" b="1">
                          <a:latin typeface="Nexa (Headings)"/>
                        </a:defRPr>
                      </a:pPr>
                      <a:r>
                        <a:t>Aperitif</a:t>
                      </a:r>
                    </a:p>
                  </a:txBody>
                  <a:tcPr marL="3810" marR="3810" marT="3810" marB="0" anchor="ctr">
                    <a:noFill/>
                  </a:tcPr>
                </a:tc>
                <a:tc>
                  <a:txBody>
                    <a:bodyPr/>
                    <a:lstStyle/>
                    <a:p>
                      <a:pPr algn="ctr">
                        <a:defRPr sz="800">
                          <a:latin typeface="Nexa Book"/>
                        </a:defRPr>
                      </a:pPr>
                      <a:r>
                        <a:t>45</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1752397169"/>
                  </a:ext>
                </a:extLst>
              </a:tr>
              <a:tr h="831402">
                <a:tc>
                  <a:txBody>
                    <a:bodyPr/>
                    <a:lstStyle/>
                    <a:p>
                      <a:pPr algn="ctr">
                        <a:defRPr sz="800" b="1">
                          <a:latin typeface="Nexa (Headings)"/>
                        </a:defRPr>
                      </a:pPr>
                      <a:r>
                        <a:t>Soft Cheese</a:t>
                      </a:r>
                    </a:p>
                  </a:txBody>
                  <a:tcPr marL="3810" marR="3810" marT="3810" marB="0" anchor="ctr">
                    <a:noFill/>
                  </a:tcPr>
                </a:tc>
                <a:tc>
                  <a:txBody>
                    <a:bodyPr/>
                    <a:lstStyle/>
                    <a:p>
                      <a:pPr algn="ctr">
                        <a:defRPr sz="800">
                          <a:latin typeface="Nexa Book"/>
                        </a:defRPr>
                      </a:pPr>
                      <a:r>
                        <a:t>555</a:t>
                      </a:r>
                    </a:p>
                  </a:txBody>
                  <a:tcPr marL="3810" marR="3810" marT="3810" marB="0" anchor="ctr">
                    <a:noFill/>
                  </a:tcPr>
                </a:tc>
                <a:tc>
                  <a:txBody>
                    <a:bodyPr/>
                    <a:lstStyle/>
                    <a:p>
                      <a:pPr algn="ctr">
                        <a:defRPr sz="800">
                          <a:latin typeface="Nexa Book"/>
                        </a:defRPr>
                      </a:pPr>
                      <a:r>
                        <a:t>12</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4%</a:t>
                      </a:r>
                    </a:p>
                  </a:txBody>
                  <a:tcPr marL="3810" marR="3810" marT="3810" marB="0" anchor="ctr">
                    <a:noFill/>
                  </a:tcPr>
                </a:tc>
                <a:tc>
                  <a:txBody>
                    <a:bodyPr/>
                    <a:lstStyle/>
                    <a:p>
                      <a:pPr algn="ctr">
                        <a:defRPr sz="800">
                          <a:latin typeface="Nexa Book"/>
                        </a:defRPr>
                      </a:pPr>
                      <a:r>
                        <a:t>20</a:t>
                      </a:r>
                    </a:p>
                  </a:txBody>
                  <a:tcPr marL="3810" marR="3810" marT="3810" marB="0" anchor="ctr">
                    <a:noFill/>
                  </a:tcPr>
                </a:tc>
                <a:tc>
                  <a:txBody>
                    <a:bodyPr/>
                    <a:lstStyle/>
                    <a:p>
                      <a:pPr algn="ctr">
                        <a:defRPr sz="800">
                          <a:latin typeface="Nexa Book"/>
                        </a:defRPr>
                      </a:pPr>
                      <a:r>
                        <a:t>8</a:t>
                      </a:r>
                    </a:p>
                  </a:txBody>
                  <a:tcPr marL="3810" marR="3810" marT="3810" marB="0" anchor="ctr">
                    <a:noFill/>
                  </a:tcPr>
                </a:tc>
                <a:extLst>
                  <a:ext uri="{0D108BD9-81ED-4DB2-BD59-A6C34878D82A}">
                    <a16:rowId xmlns:a16="http://schemas.microsoft.com/office/drawing/2014/main" val="3712364869"/>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560</a:t>
            </a:fld>
            <a:endParaRPr lang="en-US"/>
          </a:p>
        </p:txBody>
      </p:sp>
    </p:spTree>
    <p:extLst>
      <p:ext uri="{BB962C8B-B14F-4D97-AF65-F5344CB8AC3E}">
        <p14:creationId xmlns:p14="http://schemas.microsoft.com/office/powerpoint/2010/main" val="4160443004"/>
      </p:ext>
    </p:extLst>
  </p:cSld>
  <p:clrMapOvr>
    <a:masterClrMapping/>
  </p:clrMapOvr>
</p:sld>
</file>

<file path=ppt/slides/slide5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9/9/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pPr>
              <a:defRPr sz="1200">
                <a:latin typeface="Nexa Bold (Headings)"/>
              </a:defRPr>
            </a:pPr>
            <a:r>
              <a:t>Sector fair share | Total Fromage | Kiri | Intermarche | P12M</a:t>
            </a:r>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pPr>
              <a:defRPr sz="1600">
                <a:latin typeface="Nexa Bold (Headings)"/>
              </a:defRPr>
            </a:pPr>
            <a:r>
              <a:rPr lang="en-GB" dirty="0">
                <a:highlight>
                  <a:srgbClr val="FFFF00"/>
                </a:highlight>
              </a:rPr>
              <a:t>Sector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Kiri </a:t>
                      </a:r>
                    </a:p>
                    <a:p>
                      <a:pPr algn="ctr">
                        <a:defRPr sz="900" b="1">
                          <a:latin typeface="Nexa (Headings)"/>
                        </a:defRPr>
                      </a:pPr>
                      <a: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Kiri </a:t>
                      </a:r>
                    </a:p>
                    <a:p>
                      <a:pPr algn="ctr">
                        <a:defRPr sz="900" b="1">
                          <a:latin typeface="Nexa (Headings)"/>
                        </a:defRPr>
                      </a:pPr>
                      <a: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Kiri </a:t>
                      </a:r>
                    </a:p>
                    <a:p>
                      <a:pPr algn="ctr">
                        <a:defRPr sz="900" b="1">
                          <a:latin typeface="Nexa (Headings)"/>
                        </a:defRPr>
                      </a:pPr>
                      <a: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Kiri </a:t>
                      </a:r>
                    </a:p>
                    <a:p>
                      <a:pPr algn="ctr">
                        <a:defRPr sz="900" b="1">
                          <a:latin typeface="Nexa (Headings)"/>
                        </a:defRPr>
                      </a:pPr>
                      <a: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Kiri</a:t>
                      </a:r>
                    </a:p>
                    <a:p>
                      <a:pPr algn="ctr">
                        <a:defRPr sz="900" b="1">
                          <a:latin typeface="Nexa (Headings)"/>
                        </a:defRPr>
                      </a:pPr>
                      <a: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831402">
                <a:tc>
                  <a:txBody>
                    <a:bodyPr/>
                    <a:lstStyle/>
                    <a:p>
                      <a:pPr algn="ctr">
                        <a:defRPr sz="800" b="1">
                          <a:latin typeface="Nexa (Headings)"/>
                        </a:defRPr>
                      </a:pPr>
                      <a:r>
                        <a:t>Grand Total</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612</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1</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4%</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3%</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8</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831402">
                <a:tc>
                  <a:txBody>
                    <a:bodyPr/>
                    <a:lstStyle/>
                    <a:p>
                      <a:pPr algn="ctr">
                        <a:defRPr sz="800" b="1">
                          <a:latin typeface="Nexa (Headings)"/>
                        </a:defRPr>
                      </a:pPr>
                      <a:r>
                        <a:t>Ingredient A Chaud</a:t>
                      </a:r>
                    </a:p>
                  </a:txBody>
                  <a:tcPr marL="3810" marR="3810" marT="3810" marB="0" anchor="ctr">
                    <a:noFill/>
                  </a:tcPr>
                </a:tc>
                <a:tc>
                  <a:txBody>
                    <a:bodyPr/>
                    <a:lstStyle/>
                    <a:p>
                      <a:pPr algn="ctr">
                        <a:defRPr sz="800">
                          <a:latin typeface="Nexa Book"/>
                        </a:defRPr>
                      </a:pPr>
                      <a:r>
                        <a:t>16</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3161381"/>
                  </a:ext>
                </a:extLst>
              </a:tr>
              <a:tr h="831402">
                <a:tc>
                  <a:txBody>
                    <a:bodyPr/>
                    <a:lstStyle/>
                    <a:p>
                      <a:pPr algn="ctr">
                        <a:defRPr sz="800" b="1">
                          <a:latin typeface="Nexa (Headings)"/>
                        </a:defRPr>
                      </a:pPr>
                      <a:r>
                        <a:t>Aperitif</a:t>
                      </a:r>
                    </a:p>
                  </a:txBody>
                  <a:tcPr marL="3810" marR="3810" marT="3810" marB="0" anchor="ctr">
                    <a:noFill/>
                  </a:tcPr>
                </a:tc>
                <a:tc>
                  <a:txBody>
                    <a:bodyPr/>
                    <a:lstStyle/>
                    <a:p>
                      <a:pPr algn="ctr">
                        <a:defRPr sz="800">
                          <a:latin typeface="Nexa Book"/>
                        </a:defRPr>
                      </a:pPr>
                      <a:r>
                        <a:t>31</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1752397169"/>
                  </a:ext>
                </a:extLst>
              </a:tr>
              <a:tr h="831402">
                <a:tc>
                  <a:txBody>
                    <a:bodyPr/>
                    <a:lstStyle/>
                    <a:p>
                      <a:pPr algn="ctr">
                        <a:defRPr sz="800" b="1">
                          <a:latin typeface="Nexa (Headings)"/>
                        </a:defRPr>
                      </a:pPr>
                      <a:r>
                        <a:t>Soft Cheese</a:t>
                      </a:r>
                    </a:p>
                  </a:txBody>
                  <a:tcPr marL="3810" marR="3810" marT="3810" marB="0" anchor="ctr">
                    <a:noFill/>
                  </a:tcPr>
                </a:tc>
                <a:tc>
                  <a:txBody>
                    <a:bodyPr/>
                    <a:lstStyle/>
                    <a:p>
                      <a:pPr algn="ctr">
                        <a:defRPr sz="800">
                          <a:latin typeface="Nexa Book"/>
                        </a:defRPr>
                      </a:pPr>
                      <a:r>
                        <a:t>264</a:t>
                      </a:r>
                    </a:p>
                  </a:txBody>
                  <a:tcPr marL="3810" marR="3810" marT="3810" marB="0" anchor="ctr">
                    <a:noFill/>
                  </a:tcPr>
                </a:tc>
                <a:tc>
                  <a:txBody>
                    <a:bodyPr/>
                    <a:lstStyle/>
                    <a:p>
                      <a:pPr algn="ctr">
                        <a:defRPr sz="800">
                          <a:latin typeface="Nexa Book"/>
                        </a:defRPr>
                      </a:pPr>
                      <a:r>
                        <a:t>11</a:t>
                      </a:r>
                    </a:p>
                  </a:txBody>
                  <a:tcPr marL="3810" marR="3810" marT="3810" marB="0" anchor="ctr">
                    <a:noFill/>
                  </a:tcPr>
                </a:tc>
                <a:tc>
                  <a:txBody>
                    <a:bodyPr/>
                    <a:lstStyle/>
                    <a:p>
                      <a:pPr algn="ctr">
                        <a:defRPr sz="800">
                          <a:latin typeface="Nexa Book"/>
                        </a:defRPr>
                      </a:pPr>
                      <a:r>
                        <a:t>4%</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8</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3712364869"/>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561</a:t>
            </a:fld>
            <a:endParaRPr lang="en-US"/>
          </a:p>
        </p:txBody>
      </p:sp>
    </p:spTree>
    <p:extLst>
      <p:ext uri="{BB962C8B-B14F-4D97-AF65-F5344CB8AC3E}">
        <p14:creationId xmlns:p14="http://schemas.microsoft.com/office/powerpoint/2010/main" val="1568292983"/>
      </p:ext>
    </p:extLst>
  </p:cSld>
  <p:clrMapOvr>
    <a:masterClrMapping/>
  </p:clrMapOvr>
</p:sld>
</file>

<file path=ppt/slides/slide5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9/9/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pPr>
              <a:defRPr sz="1200">
                <a:latin typeface="Nexa Bold (Headings)"/>
              </a:defRPr>
            </a:pPr>
            <a:r>
              <a:t>Sector fair share | Total Fromage | La Vache Qui Rit | Intermarche | P12M</a:t>
            </a:r>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pPr>
              <a:defRPr sz="1600">
                <a:latin typeface="Nexa Bold (Headings)"/>
              </a:defRPr>
            </a:pPr>
            <a:r>
              <a:rPr lang="en-GB" dirty="0">
                <a:highlight>
                  <a:srgbClr val="FFFF00"/>
                </a:highlight>
              </a:rPr>
              <a:t>Sector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La Vache Qui Rit </a:t>
                      </a:r>
                    </a:p>
                    <a:p>
                      <a:pPr algn="ctr">
                        <a:defRPr sz="900" b="1">
                          <a:latin typeface="Nexa (Headings)"/>
                        </a:defRPr>
                      </a:pPr>
                      <a: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La Vache Qui Rit </a:t>
                      </a:r>
                    </a:p>
                    <a:p>
                      <a:pPr algn="ctr">
                        <a:defRPr sz="900" b="1">
                          <a:latin typeface="Nexa (Headings)"/>
                        </a:defRPr>
                      </a:pPr>
                      <a: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La Vache Qui Rit </a:t>
                      </a:r>
                    </a:p>
                    <a:p>
                      <a:pPr algn="ctr">
                        <a:defRPr sz="900" b="1">
                          <a:latin typeface="Nexa (Headings)"/>
                        </a:defRPr>
                      </a:pPr>
                      <a: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La Vache Qui Rit </a:t>
                      </a:r>
                    </a:p>
                    <a:p>
                      <a:pPr algn="ctr">
                        <a:defRPr sz="900" b="1">
                          <a:latin typeface="Nexa (Headings)"/>
                        </a:defRPr>
                      </a:pPr>
                      <a: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La Vache Qui Rit</a:t>
                      </a:r>
                    </a:p>
                    <a:p>
                      <a:pPr algn="ctr">
                        <a:defRPr sz="900" b="1">
                          <a:latin typeface="Nexa (Headings)"/>
                        </a:defRPr>
                      </a:pPr>
                      <a: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831402">
                <a:tc>
                  <a:txBody>
                    <a:bodyPr/>
                    <a:lstStyle/>
                    <a:p>
                      <a:pPr algn="ctr">
                        <a:defRPr sz="800" b="1">
                          <a:latin typeface="Nexa (Headings)"/>
                        </a:defRPr>
                      </a:pPr>
                      <a:r>
                        <a:t>Grand Total</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612</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8</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3%</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4%</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0</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2</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831402">
                <a:tc>
                  <a:txBody>
                    <a:bodyPr/>
                    <a:lstStyle/>
                    <a:p>
                      <a:pPr algn="ctr">
                        <a:defRPr sz="800" b="1">
                          <a:latin typeface="Nexa (Headings)"/>
                        </a:defRPr>
                      </a:pPr>
                      <a:r>
                        <a:t>Ingredient A Chaud</a:t>
                      </a:r>
                    </a:p>
                  </a:txBody>
                  <a:tcPr marL="3810" marR="3810" marT="3810" marB="0" anchor="ctr">
                    <a:noFill/>
                  </a:tcPr>
                </a:tc>
                <a:tc>
                  <a:txBody>
                    <a:bodyPr/>
                    <a:lstStyle/>
                    <a:p>
                      <a:pPr algn="ctr">
                        <a:defRPr sz="800">
                          <a:latin typeface="Nexa Book"/>
                        </a:defRPr>
                      </a:pPr>
                      <a:r>
                        <a:t>16</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3161381"/>
                  </a:ext>
                </a:extLst>
              </a:tr>
              <a:tr h="831402">
                <a:tc>
                  <a:txBody>
                    <a:bodyPr/>
                    <a:lstStyle/>
                    <a:p>
                      <a:pPr algn="ctr">
                        <a:defRPr sz="800" b="1">
                          <a:latin typeface="Nexa (Headings)"/>
                        </a:defRPr>
                      </a:pPr>
                      <a:r>
                        <a:t>Aperitif</a:t>
                      </a:r>
                    </a:p>
                  </a:txBody>
                  <a:tcPr marL="3810" marR="3810" marT="3810" marB="0" anchor="ctr">
                    <a:noFill/>
                  </a:tcPr>
                </a:tc>
                <a:tc>
                  <a:txBody>
                    <a:bodyPr/>
                    <a:lstStyle/>
                    <a:p>
                      <a:pPr algn="ctr">
                        <a:defRPr sz="800">
                          <a:latin typeface="Nexa Book"/>
                        </a:defRPr>
                      </a:pPr>
                      <a:r>
                        <a:t>31</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1752397169"/>
                  </a:ext>
                </a:extLst>
              </a:tr>
              <a:tr h="831402">
                <a:tc>
                  <a:txBody>
                    <a:bodyPr/>
                    <a:lstStyle/>
                    <a:p>
                      <a:pPr algn="ctr">
                        <a:defRPr sz="800" b="1">
                          <a:latin typeface="Nexa (Headings)"/>
                        </a:defRPr>
                      </a:pPr>
                      <a:r>
                        <a:t>Soft Cheese</a:t>
                      </a:r>
                    </a:p>
                  </a:txBody>
                  <a:tcPr marL="3810" marR="3810" marT="3810" marB="0" anchor="ctr">
                    <a:noFill/>
                  </a:tcPr>
                </a:tc>
                <a:tc>
                  <a:txBody>
                    <a:bodyPr/>
                    <a:lstStyle/>
                    <a:p>
                      <a:pPr algn="ctr">
                        <a:defRPr sz="800">
                          <a:latin typeface="Nexa Book"/>
                        </a:defRPr>
                      </a:pPr>
                      <a:r>
                        <a:t>264</a:t>
                      </a:r>
                    </a:p>
                  </a:txBody>
                  <a:tcPr marL="3810" marR="3810" marT="3810" marB="0" anchor="ctr">
                    <a:noFill/>
                  </a:tcPr>
                </a:tc>
                <a:tc>
                  <a:txBody>
                    <a:bodyPr/>
                    <a:lstStyle/>
                    <a:p>
                      <a:pPr algn="ctr">
                        <a:defRPr sz="800">
                          <a:latin typeface="Nexa Book"/>
                        </a:defRPr>
                      </a:pPr>
                      <a:r>
                        <a:t>8</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4%</a:t>
                      </a:r>
                    </a:p>
                  </a:txBody>
                  <a:tcPr marL="3810" marR="3810" marT="3810" marB="0" anchor="ctr">
                    <a:noFill/>
                  </a:tcPr>
                </a:tc>
                <a:tc>
                  <a:txBody>
                    <a:bodyPr/>
                    <a:lstStyle/>
                    <a:p>
                      <a:pPr algn="ctr">
                        <a:defRPr sz="800">
                          <a:latin typeface="Nexa Book"/>
                        </a:defRPr>
                      </a:pPr>
                      <a:r>
                        <a:t>10</a:t>
                      </a:r>
                    </a:p>
                  </a:txBody>
                  <a:tcPr marL="3810" marR="3810" marT="3810" marB="0" anchor="ctr">
                    <a:noFill/>
                  </a:tcPr>
                </a:tc>
                <a:tc>
                  <a:txBody>
                    <a:bodyPr/>
                    <a:lstStyle/>
                    <a:p>
                      <a:pPr algn="ctr">
                        <a:defRPr sz="800">
                          <a:latin typeface="Nexa Book"/>
                        </a:defRPr>
                      </a:pPr>
                      <a:r>
                        <a:t>2</a:t>
                      </a:r>
                    </a:p>
                  </a:txBody>
                  <a:tcPr marL="3810" marR="3810" marT="3810" marB="0" anchor="ctr">
                    <a:noFill/>
                  </a:tcPr>
                </a:tc>
                <a:extLst>
                  <a:ext uri="{0D108BD9-81ED-4DB2-BD59-A6C34878D82A}">
                    <a16:rowId xmlns:a16="http://schemas.microsoft.com/office/drawing/2014/main" val="3712364869"/>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562</a:t>
            </a:fld>
            <a:endParaRPr lang="en-US"/>
          </a:p>
        </p:txBody>
      </p:sp>
    </p:spTree>
    <p:extLst>
      <p:ext uri="{BB962C8B-B14F-4D97-AF65-F5344CB8AC3E}">
        <p14:creationId xmlns:p14="http://schemas.microsoft.com/office/powerpoint/2010/main" val="2166103931"/>
      </p:ext>
    </p:extLst>
  </p:cSld>
  <p:clrMapOvr>
    <a:masterClrMapping/>
  </p:clrMapOvr>
</p:sld>
</file>

<file path=ppt/slides/slide5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9/9/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pPr>
              <a:defRPr sz="1200">
                <a:latin typeface="Nexa Bold (Headings)"/>
              </a:defRPr>
            </a:pPr>
            <a:r>
              <a:t>Sector fair share | Total Fromage | Boursin | Intermarche | P12M</a:t>
            </a:r>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pPr>
              <a:defRPr sz="1600">
                <a:latin typeface="Nexa Bold (Headings)"/>
              </a:defRPr>
            </a:pPr>
            <a:r>
              <a:rPr lang="en-GB" dirty="0">
                <a:highlight>
                  <a:srgbClr val="FFFF00"/>
                </a:highlight>
              </a:rPr>
              <a:t>Sector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oursin </a:t>
                      </a:r>
                    </a:p>
                    <a:p>
                      <a:pPr algn="ctr">
                        <a:defRPr sz="900" b="1">
                          <a:latin typeface="Nexa (Headings)"/>
                        </a:defRPr>
                      </a:pPr>
                      <a: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oursin </a:t>
                      </a:r>
                    </a:p>
                    <a:p>
                      <a:pPr algn="ctr">
                        <a:defRPr sz="900" b="1">
                          <a:latin typeface="Nexa (Headings)"/>
                        </a:defRPr>
                      </a:pPr>
                      <a: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oursin </a:t>
                      </a:r>
                    </a:p>
                    <a:p>
                      <a:pPr algn="ctr">
                        <a:defRPr sz="900" b="1">
                          <a:latin typeface="Nexa (Headings)"/>
                        </a:defRPr>
                      </a:pPr>
                      <a: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oursin </a:t>
                      </a:r>
                    </a:p>
                    <a:p>
                      <a:pPr algn="ctr">
                        <a:defRPr sz="900" b="1">
                          <a:latin typeface="Nexa (Headings)"/>
                        </a:defRPr>
                      </a:pPr>
                      <a: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oursin</a:t>
                      </a:r>
                    </a:p>
                    <a:p>
                      <a:pPr algn="ctr">
                        <a:defRPr sz="900" b="1">
                          <a:latin typeface="Nexa (Headings)"/>
                        </a:defRPr>
                      </a:pPr>
                      <a: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831402">
                <a:tc>
                  <a:txBody>
                    <a:bodyPr/>
                    <a:lstStyle/>
                    <a:p>
                      <a:pPr algn="ctr">
                        <a:defRPr sz="800" b="1">
                          <a:latin typeface="Nexa (Headings)"/>
                        </a:defRPr>
                      </a:pPr>
                      <a:r>
                        <a:t>Grand Total</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612</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20</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25%</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6%</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3</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831402">
                <a:tc>
                  <a:txBody>
                    <a:bodyPr/>
                    <a:lstStyle/>
                    <a:p>
                      <a:pPr algn="ctr">
                        <a:defRPr sz="800" b="1">
                          <a:latin typeface="Nexa (Headings)"/>
                        </a:defRPr>
                      </a:pPr>
                      <a:r>
                        <a:t>Ingredient A Chaud</a:t>
                      </a:r>
                    </a:p>
                  </a:txBody>
                  <a:tcPr marL="3810" marR="3810" marT="3810" marB="0" anchor="ctr">
                    <a:noFill/>
                  </a:tcPr>
                </a:tc>
                <a:tc>
                  <a:txBody>
                    <a:bodyPr/>
                    <a:lstStyle/>
                    <a:p>
                      <a:pPr algn="ctr">
                        <a:defRPr sz="800">
                          <a:latin typeface="Nexa Book"/>
                        </a:defRPr>
                      </a:pPr>
                      <a:r>
                        <a:t>16</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5%</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3161381"/>
                  </a:ext>
                </a:extLst>
              </a:tr>
              <a:tr h="831402">
                <a:tc>
                  <a:txBody>
                    <a:bodyPr/>
                    <a:lstStyle/>
                    <a:p>
                      <a:pPr algn="ctr">
                        <a:defRPr sz="800" b="1">
                          <a:latin typeface="Nexa (Headings)"/>
                        </a:defRPr>
                      </a:pPr>
                      <a:r>
                        <a:t>Aperitif</a:t>
                      </a:r>
                    </a:p>
                  </a:txBody>
                  <a:tcPr marL="3810" marR="3810" marT="3810" marB="0" anchor="ctr">
                    <a:noFill/>
                  </a:tcPr>
                </a:tc>
                <a:tc>
                  <a:txBody>
                    <a:bodyPr/>
                    <a:lstStyle/>
                    <a:p>
                      <a:pPr algn="ctr">
                        <a:defRPr sz="800">
                          <a:latin typeface="Nexa Book"/>
                        </a:defRPr>
                      </a:pPr>
                      <a:r>
                        <a:t>31</a:t>
                      </a:r>
                    </a:p>
                  </a:txBody>
                  <a:tcPr marL="3810" marR="3810" marT="3810" marB="0" anchor="ctr">
                    <a:noFill/>
                  </a:tcPr>
                </a:tc>
                <a:tc>
                  <a:txBody>
                    <a:bodyPr/>
                    <a:lstStyle/>
                    <a:p>
                      <a:pPr algn="ctr">
                        <a:defRPr sz="800">
                          <a:latin typeface="Nexa Book"/>
                        </a:defRPr>
                      </a:pPr>
                      <a:r>
                        <a:t>4</a:t>
                      </a:r>
                    </a:p>
                  </a:txBody>
                  <a:tcPr marL="3810" marR="3810" marT="3810" marB="0" anchor="ctr">
                    <a:noFill/>
                  </a:tcPr>
                </a:tc>
                <a:tc>
                  <a:txBody>
                    <a:bodyPr/>
                    <a:lstStyle/>
                    <a:p>
                      <a:pPr algn="ctr">
                        <a:defRPr sz="800">
                          <a:latin typeface="Nexa Book"/>
                        </a:defRPr>
                      </a:pPr>
                      <a:r>
                        <a:t>13%</a:t>
                      </a:r>
                    </a:p>
                  </a:txBody>
                  <a:tcPr marL="3810" marR="3810" marT="3810" marB="0" anchor="ctr">
                    <a:noFill/>
                  </a:tcPr>
                </a:tc>
                <a:tc>
                  <a:txBody>
                    <a:bodyPr/>
                    <a:lstStyle/>
                    <a:p>
                      <a:pPr algn="ctr">
                        <a:defRPr sz="800">
                          <a:latin typeface="Nexa Book"/>
                        </a:defRPr>
                      </a:pPr>
                      <a:r>
                        <a:t>11%</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1752397169"/>
                  </a:ext>
                </a:extLst>
              </a:tr>
              <a:tr h="831402">
                <a:tc>
                  <a:txBody>
                    <a:bodyPr/>
                    <a:lstStyle/>
                    <a:p>
                      <a:pPr algn="ctr">
                        <a:defRPr sz="800" b="1">
                          <a:latin typeface="Nexa (Headings)"/>
                        </a:defRPr>
                      </a:pPr>
                      <a:r>
                        <a:t>Soft Cheese</a:t>
                      </a:r>
                    </a:p>
                  </a:txBody>
                  <a:tcPr marL="3810" marR="3810" marT="3810" marB="0" anchor="ctr">
                    <a:noFill/>
                  </a:tcPr>
                </a:tc>
                <a:tc>
                  <a:txBody>
                    <a:bodyPr/>
                    <a:lstStyle/>
                    <a:p>
                      <a:pPr algn="ctr">
                        <a:defRPr sz="800">
                          <a:latin typeface="Nexa Book"/>
                        </a:defRPr>
                      </a:pPr>
                      <a:r>
                        <a:t>264</a:t>
                      </a:r>
                    </a:p>
                  </a:txBody>
                  <a:tcPr marL="3810" marR="3810" marT="3810" marB="0" anchor="ctr">
                    <a:noFill/>
                  </a:tcPr>
                </a:tc>
                <a:tc>
                  <a:txBody>
                    <a:bodyPr/>
                    <a:lstStyle/>
                    <a:p>
                      <a:pPr algn="ctr">
                        <a:defRPr sz="800">
                          <a:latin typeface="Nexa Book"/>
                        </a:defRPr>
                      </a:pPr>
                      <a:r>
                        <a:t>15</a:t>
                      </a:r>
                    </a:p>
                  </a:txBody>
                  <a:tcPr marL="3810" marR="3810" marT="3810" marB="0" anchor="ctr">
                    <a:noFill/>
                  </a:tcPr>
                </a:tc>
                <a:tc>
                  <a:txBody>
                    <a:bodyPr/>
                    <a:lstStyle/>
                    <a:p>
                      <a:pPr algn="ctr">
                        <a:defRPr sz="800">
                          <a:latin typeface="Nexa Book"/>
                        </a:defRPr>
                      </a:pPr>
                      <a:r>
                        <a:t>6%</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7</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3712364869"/>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563</a:t>
            </a:fld>
            <a:endParaRPr lang="en-US"/>
          </a:p>
        </p:txBody>
      </p:sp>
    </p:spTree>
    <p:extLst>
      <p:ext uri="{BB962C8B-B14F-4D97-AF65-F5344CB8AC3E}">
        <p14:creationId xmlns:p14="http://schemas.microsoft.com/office/powerpoint/2010/main" val="2447937702"/>
      </p:ext>
    </p:extLst>
  </p:cSld>
  <p:clrMapOvr>
    <a:masterClrMapping/>
  </p:clrMapOvr>
</p:sld>
</file>

<file path=ppt/slides/slide5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9/9/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pPr>
              <a:defRPr sz="1200">
                <a:latin typeface="Nexa Bold (Headings)"/>
              </a:defRPr>
            </a:pPr>
            <a:r>
              <a:t>Sector fair share | Total Fromage | Boursin | Carrefour | P12M</a:t>
            </a:r>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pPr>
              <a:defRPr sz="1600">
                <a:latin typeface="Nexa Bold (Headings)"/>
              </a:defRPr>
            </a:pPr>
            <a:r>
              <a:rPr lang="en-GB" dirty="0">
                <a:highlight>
                  <a:srgbClr val="FFFF00"/>
                </a:highlight>
              </a:rPr>
              <a:t>Sector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oursin </a:t>
                      </a:r>
                    </a:p>
                    <a:p>
                      <a:pPr algn="ctr">
                        <a:defRPr sz="900" b="1">
                          <a:latin typeface="Nexa (Headings)"/>
                        </a:defRPr>
                      </a:pPr>
                      <a: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oursin </a:t>
                      </a:r>
                    </a:p>
                    <a:p>
                      <a:pPr algn="ctr">
                        <a:defRPr sz="900" b="1">
                          <a:latin typeface="Nexa (Headings)"/>
                        </a:defRPr>
                      </a:pPr>
                      <a: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oursin </a:t>
                      </a:r>
                    </a:p>
                    <a:p>
                      <a:pPr algn="ctr">
                        <a:defRPr sz="900" b="1">
                          <a:latin typeface="Nexa (Headings)"/>
                        </a:defRPr>
                      </a:pPr>
                      <a: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oursin </a:t>
                      </a:r>
                    </a:p>
                    <a:p>
                      <a:pPr algn="ctr">
                        <a:defRPr sz="900" b="1">
                          <a:latin typeface="Nexa (Headings)"/>
                        </a:defRPr>
                      </a:pPr>
                      <a: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oursin</a:t>
                      </a:r>
                    </a:p>
                    <a:p>
                      <a:pPr algn="ctr">
                        <a:defRPr sz="900" b="1">
                          <a:latin typeface="Nexa (Headings)"/>
                        </a:defRPr>
                      </a:pPr>
                      <a: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831402">
                <a:tc>
                  <a:txBody>
                    <a:bodyPr/>
                    <a:lstStyle/>
                    <a:p>
                      <a:pPr algn="ctr">
                        <a:defRPr sz="800" b="1">
                          <a:latin typeface="Nexa (Headings)"/>
                        </a:defRPr>
                      </a:pPr>
                      <a:r>
                        <a:t>Grand Total</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821</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8</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21%</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7%</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4</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831402">
                <a:tc>
                  <a:txBody>
                    <a:bodyPr/>
                    <a:lstStyle/>
                    <a:p>
                      <a:pPr algn="ctr">
                        <a:defRPr sz="800" b="1">
                          <a:latin typeface="Nexa (Headings)"/>
                        </a:defRPr>
                      </a:pPr>
                      <a:r>
                        <a:t>Ingredient A Chaud</a:t>
                      </a:r>
                    </a:p>
                  </a:txBody>
                  <a:tcPr marL="3810" marR="3810" marT="3810" marB="0" anchor="ctr">
                    <a:noFill/>
                  </a:tcPr>
                </a:tc>
                <a:tc>
                  <a:txBody>
                    <a:bodyPr/>
                    <a:lstStyle/>
                    <a:p>
                      <a:pPr algn="ctr">
                        <a:defRPr sz="800">
                          <a:latin typeface="Nexa Book"/>
                        </a:defRPr>
                      </a:pPr>
                      <a:r>
                        <a:t>19</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4%</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3161381"/>
                  </a:ext>
                </a:extLst>
              </a:tr>
              <a:tr h="831402">
                <a:tc>
                  <a:txBody>
                    <a:bodyPr/>
                    <a:lstStyle/>
                    <a:p>
                      <a:pPr algn="ctr">
                        <a:defRPr sz="800" b="1">
                          <a:latin typeface="Nexa (Headings)"/>
                        </a:defRPr>
                      </a:pPr>
                      <a:r>
                        <a:t>Aperitif</a:t>
                      </a:r>
                    </a:p>
                  </a:txBody>
                  <a:tcPr marL="3810" marR="3810" marT="3810" marB="0" anchor="ctr">
                    <a:noFill/>
                  </a:tcPr>
                </a:tc>
                <a:tc>
                  <a:txBody>
                    <a:bodyPr/>
                    <a:lstStyle/>
                    <a:p>
                      <a:pPr algn="ctr">
                        <a:defRPr sz="800">
                          <a:latin typeface="Nexa Book"/>
                        </a:defRPr>
                      </a:pPr>
                      <a:r>
                        <a:t>33</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8%</a:t>
                      </a:r>
                    </a:p>
                  </a:txBody>
                  <a:tcPr marL="3810" marR="3810" marT="3810" marB="0" anchor="ctr">
                    <a:noFill/>
                  </a:tcPr>
                </a:tc>
                <a:tc>
                  <a:txBody>
                    <a:bodyPr/>
                    <a:lstStyle/>
                    <a:p>
                      <a:pPr algn="ctr">
                        <a:defRPr sz="800">
                          <a:latin typeface="Nexa Book"/>
                        </a:defRPr>
                      </a:pPr>
                      <a:r>
                        <a:t>10%</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1</a:t>
                      </a:r>
                    </a:p>
                  </a:txBody>
                  <a:tcPr marL="3810" marR="3810" marT="3810" marB="0" anchor="ctr">
                    <a:noFill/>
                  </a:tcPr>
                </a:tc>
                <a:extLst>
                  <a:ext uri="{0D108BD9-81ED-4DB2-BD59-A6C34878D82A}">
                    <a16:rowId xmlns:a16="http://schemas.microsoft.com/office/drawing/2014/main" val="1752397169"/>
                  </a:ext>
                </a:extLst>
              </a:tr>
              <a:tr h="831402">
                <a:tc>
                  <a:txBody>
                    <a:bodyPr/>
                    <a:lstStyle/>
                    <a:p>
                      <a:pPr algn="ctr">
                        <a:defRPr sz="800" b="1">
                          <a:latin typeface="Nexa (Headings)"/>
                        </a:defRPr>
                      </a:pPr>
                      <a:r>
                        <a:t>Soft Cheese</a:t>
                      </a:r>
                    </a:p>
                  </a:txBody>
                  <a:tcPr marL="3810" marR="3810" marT="3810" marB="0" anchor="ctr">
                    <a:noFill/>
                  </a:tcPr>
                </a:tc>
                <a:tc>
                  <a:txBody>
                    <a:bodyPr/>
                    <a:lstStyle/>
                    <a:p>
                      <a:pPr algn="ctr">
                        <a:defRPr sz="800">
                          <a:latin typeface="Nexa Book"/>
                        </a:defRPr>
                      </a:pPr>
                      <a:r>
                        <a:t>390</a:t>
                      </a:r>
                    </a:p>
                  </a:txBody>
                  <a:tcPr marL="3810" marR="3810" marT="3810" marB="0" anchor="ctr">
                    <a:noFill/>
                  </a:tcPr>
                </a:tc>
                <a:tc>
                  <a:txBody>
                    <a:bodyPr/>
                    <a:lstStyle/>
                    <a:p>
                      <a:pPr algn="ctr">
                        <a:defRPr sz="800">
                          <a:latin typeface="Nexa Book"/>
                        </a:defRPr>
                      </a:pPr>
                      <a:r>
                        <a:t>14</a:t>
                      </a:r>
                    </a:p>
                  </a:txBody>
                  <a:tcPr marL="3810" marR="3810" marT="3810" marB="0" anchor="ctr">
                    <a:noFill/>
                  </a:tcPr>
                </a:tc>
                <a:tc>
                  <a:txBody>
                    <a:bodyPr/>
                    <a:lstStyle/>
                    <a:p>
                      <a:pPr algn="ctr">
                        <a:defRPr sz="800">
                          <a:latin typeface="Nexa Book"/>
                        </a:defRPr>
                      </a:pPr>
                      <a:r>
                        <a:t>4%</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8</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3712364869"/>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564</a:t>
            </a:fld>
            <a:endParaRPr lang="en-US"/>
          </a:p>
        </p:txBody>
      </p:sp>
    </p:spTree>
    <p:extLst>
      <p:ext uri="{BB962C8B-B14F-4D97-AF65-F5344CB8AC3E}">
        <p14:creationId xmlns:p14="http://schemas.microsoft.com/office/powerpoint/2010/main" val="1039080165"/>
      </p:ext>
    </p:extLst>
  </p:cSld>
  <p:clrMapOvr>
    <a:masterClrMapping/>
  </p:clrMapOvr>
</p:sld>
</file>

<file path=ppt/slides/slide5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9/9/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pPr>
              <a:defRPr sz="1200">
                <a:latin typeface="Nexa Bold (Headings)"/>
              </a:defRPr>
            </a:pPr>
            <a:r>
              <a:t>Sector fair share | Total Fromage | Kiri | Carrefour | P12M</a:t>
            </a:r>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pPr>
              <a:defRPr sz="1600">
                <a:latin typeface="Nexa Bold (Headings)"/>
              </a:defRPr>
            </a:pPr>
            <a:r>
              <a:rPr lang="en-GB" dirty="0">
                <a:highlight>
                  <a:srgbClr val="FFFF00"/>
                </a:highlight>
              </a:rPr>
              <a:t>Sector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Kiri </a:t>
                      </a:r>
                    </a:p>
                    <a:p>
                      <a:pPr algn="ctr">
                        <a:defRPr sz="900" b="1">
                          <a:latin typeface="Nexa (Headings)"/>
                        </a:defRPr>
                      </a:pPr>
                      <a: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Kiri </a:t>
                      </a:r>
                    </a:p>
                    <a:p>
                      <a:pPr algn="ctr">
                        <a:defRPr sz="900" b="1">
                          <a:latin typeface="Nexa (Headings)"/>
                        </a:defRPr>
                      </a:pPr>
                      <a: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Kiri </a:t>
                      </a:r>
                    </a:p>
                    <a:p>
                      <a:pPr algn="ctr">
                        <a:defRPr sz="900" b="1">
                          <a:latin typeface="Nexa (Headings)"/>
                        </a:defRPr>
                      </a:pPr>
                      <a: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Kiri </a:t>
                      </a:r>
                    </a:p>
                    <a:p>
                      <a:pPr algn="ctr">
                        <a:defRPr sz="900" b="1">
                          <a:latin typeface="Nexa (Headings)"/>
                        </a:defRPr>
                      </a:pPr>
                      <a: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Kiri</a:t>
                      </a:r>
                    </a:p>
                    <a:p>
                      <a:pPr algn="ctr">
                        <a:defRPr sz="900" b="1">
                          <a:latin typeface="Nexa (Headings)"/>
                        </a:defRPr>
                      </a:pPr>
                      <a: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831402">
                <a:tc>
                  <a:txBody>
                    <a:bodyPr/>
                    <a:lstStyle/>
                    <a:p>
                      <a:pPr algn="ctr">
                        <a:defRPr sz="800" b="1">
                          <a:latin typeface="Nexa (Headings)"/>
                        </a:defRPr>
                      </a:pPr>
                      <a:r>
                        <a:t>Grand Total</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821</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2%</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3%</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2</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3</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831402">
                <a:tc>
                  <a:txBody>
                    <a:bodyPr/>
                    <a:lstStyle/>
                    <a:p>
                      <a:pPr algn="ctr">
                        <a:defRPr sz="800" b="1">
                          <a:latin typeface="Nexa (Headings)"/>
                        </a:defRPr>
                      </a:pPr>
                      <a:r>
                        <a:t>Ingredient A Chaud</a:t>
                      </a:r>
                    </a:p>
                  </a:txBody>
                  <a:tcPr marL="3810" marR="3810" marT="3810" marB="0" anchor="ctr">
                    <a:noFill/>
                  </a:tcPr>
                </a:tc>
                <a:tc>
                  <a:txBody>
                    <a:bodyPr/>
                    <a:lstStyle/>
                    <a:p>
                      <a:pPr algn="ctr">
                        <a:defRPr sz="800">
                          <a:latin typeface="Nexa Book"/>
                        </a:defRPr>
                      </a:pPr>
                      <a:r>
                        <a:t>19</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3161381"/>
                  </a:ext>
                </a:extLst>
              </a:tr>
              <a:tr h="831402">
                <a:tc>
                  <a:txBody>
                    <a:bodyPr/>
                    <a:lstStyle/>
                    <a:p>
                      <a:pPr algn="ctr">
                        <a:defRPr sz="800" b="1">
                          <a:latin typeface="Nexa (Headings)"/>
                        </a:defRPr>
                      </a:pPr>
                      <a:r>
                        <a:t>Aperitif</a:t>
                      </a:r>
                    </a:p>
                  </a:txBody>
                  <a:tcPr marL="3810" marR="3810" marT="3810" marB="0" anchor="ctr">
                    <a:noFill/>
                  </a:tcPr>
                </a:tc>
                <a:tc>
                  <a:txBody>
                    <a:bodyPr/>
                    <a:lstStyle/>
                    <a:p>
                      <a:pPr algn="ctr">
                        <a:defRPr sz="800">
                          <a:latin typeface="Nexa Book"/>
                        </a:defRPr>
                      </a:pPr>
                      <a:r>
                        <a:t>33</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1752397169"/>
                  </a:ext>
                </a:extLst>
              </a:tr>
              <a:tr h="831402">
                <a:tc>
                  <a:txBody>
                    <a:bodyPr/>
                    <a:lstStyle/>
                    <a:p>
                      <a:pPr algn="ctr">
                        <a:defRPr sz="800" b="1">
                          <a:latin typeface="Nexa (Headings)"/>
                        </a:defRPr>
                      </a:pPr>
                      <a:r>
                        <a:t>Soft Cheese</a:t>
                      </a:r>
                    </a:p>
                  </a:txBody>
                  <a:tcPr marL="3810" marR="3810" marT="3810" marB="0" anchor="ctr">
                    <a:noFill/>
                  </a:tcPr>
                </a:tc>
                <a:tc>
                  <a:txBody>
                    <a:bodyPr/>
                    <a:lstStyle/>
                    <a:p>
                      <a:pPr algn="ctr">
                        <a:defRPr sz="800">
                          <a:latin typeface="Nexa Book"/>
                        </a:defRPr>
                      </a:pPr>
                      <a:r>
                        <a:t>390</a:t>
                      </a:r>
                    </a:p>
                  </a:txBody>
                  <a:tcPr marL="3810" marR="3810" marT="3810" marB="0" anchor="ctr">
                    <a:noFill/>
                  </a:tcPr>
                </a:tc>
                <a:tc>
                  <a:txBody>
                    <a:bodyPr/>
                    <a:lstStyle/>
                    <a:p>
                      <a:pPr algn="ctr">
                        <a:defRPr sz="800">
                          <a:latin typeface="Nexa Book"/>
                        </a:defRPr>
                      </a:pPr>
                      <a:r>
                        <a:t>9</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12</a:t>
                      </a:r>
                    </a:p>
                  </a:txBody>
                  <a:tcPr marL="3810" marR="3810" marT="3810" marB="0" anchor="ctr">
                    <a:noFill/>
                  </a:tcPr>
                </a:tc>
                <a:tc>
                  <a:txBody>
                    <a:bodyPr/>
                    <a:lstStyle/>
                    <a:p>
                      <a:pPr algn="ctr">
                        <a:defRPr sz="800">
                          <a:latin typeface="Nexa Book"/>
                        </a:defRPr>
                      </a:pPr>
                      <a:r>
                        <a:t>3</a:t>
                      </a:r>
                    </a:p>
                  </a:txBody>
                  <a:tcPr marL="3810" marR="3810" marT="3810" marB="0" anchor="ctr">
                    <a:noFill/>
                  </a:tcPr>
                </a:tc>
                <a:extLst>
                  <a:ext uri="{0D108BD9-81ED-4DB2-BD59-A6C34878D82A}">
                    <a16:rowId xmlns:a16="http://schemas.microsoft.com/office/drawing/2014/main" val="3712364869"/>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565</a:t>
            </a:fld>
            <a:endParaRPr lang="en-US"/>
          </a:p>
        </p:txBody>
      </p:sp>
    </p:spTree>
    <p:extLst>
      <p:ext uri="{BB962C8B-B14F-4D97-AF65-F5344CB8AC3E}">
        <p14:creationId xmlns:p14="http://schemas.microsoft.com/office/powerpoint/2010/main" val="2838692191"/>
      </p:ext>
    </p:extLst>
  </p:cSld>
  <p:clrMapOvr>
    <a:masterClrMapping/>
  </p:clrMapOvr>
</p:sld>
</file>

<file path=ppt/slides/slide5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9/9/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pPr>
              <a:defRPr sz="1200">
                <a:latin typeface="Nexa Bold (Headings)"/>
              </a:defRPr>
            </a:pPr>
            <a:r>
              <a:t>Sector fair share | Total Fromage | La Vache Qui Rit | Carrefour | P12M</a:t>
            </a:r>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pPr>
              <a:defRPr sz="1600">
                <a:latin typeface="Nexa Bold (Headings)"/>
              </a:defRPr>
            </a:pPr>
            <a:r>
              <a:rPr lang="en-GB" dirty="0">
                <a:highlight>
                  <a:srgbClr val="FFFF00"/>
                </a:highlight>
              </a:rPr>
              <a:t>Sector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La Vache Qui Rit </a:t>
                      </a:r>
                    </a:p>
                    <a:p>
                      <a:pPr algn="ctr">
                        <a:defRPr sz="900" b="1">
                          <a:latin typeface="Nexa (Headings)"/>
                        </a:defRPr>
                      </a:pPr>
                      <a: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La Vache Qui Rit </a:t>
                      </a:r>
                    </a:p>
                    <a:p>
                      <a:pPr algn="ctr">
                        <a:defRPr sz="900" b="1">
                          <a:latin typeface="Nexa (Headings)"/>
                        </a:defRPr>
                      </a:pPr>
                      <a: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La Vache Qui Rit </a:t>
                      </a:r>
                    </a:p>
                    <a:p>
                      <a:pPr algn="ctr">
                        <a:defRPr sz="900" b="1">
                          <a:latin typeface="Nexa (Headings)"/>
                        </a:defRPr>
                      </a:pPr>
                      <a: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La Vache Qui Rit </a:t>
                      </a:r>
                    </a:p>
                    <a:p>
                      <a:pPr algn="ctr">
                        <a:defRPr sz="900" b="1">
                          <a:latin typeface="Nexa (Headings)"/>
                        </a:defRPr>
                      </a:pPr>
                      <a: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La Vache Qui Rit</a:t>
                      </a:r>
                    </a:p>
                    <a:p>
                      <a:pPr algn="ctr">
                        <a:defRPr sz="900" b="1">
                          <a:latin typeface="Nexa (Headings)"/>
                        </a:defRPr>
                      </a:pPr>
                      <a: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831402">
                <a:tc>
                  <a:txBody>
                    <a:bodyPr/>
                    <a:lstStyle/>
                    <a:p>
                      <a:pPr algn="ctr">
                        <a:defRPr sz="800" b="1">
                          <a:latin typeface="Nexa (Headings)"/>
                        </a:defRPr>
                      </a:pPr>
                      <a:r>
                        <a:t>Grand Total</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821</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0</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3%</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4%</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1</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831402">
                <a:tc>
                  <a:txBody>
                    <a:bodyPr/>
                    <a:lstStyle/>
                    <a:p>
                      <a:pPr algn="ctr">
                        <a:defRPr sz="800" b="1">
                          <a:latin typeface="Nexa (Headings)"/>
                        </a:defRPr>
                      </a:pPr>
                      <a:r>
                        <a:t>Ingredient A Chaud</a:t>
                      </a:r>
                    </a:p>
                  </a:txBody>
                  <a:tcPr marL="3810" marR="3810" marT="3810" marB="0" anchor="ctr">
                    <a:noFill/>
                  </a:tcPr>
                </a:tc>
                <a:tc>
                  <a:txBody>
                    <a:bodyPr/>
                    <a:lstStyle/>
                    <a:p>
                      <a:pPr algn="ctr">
                        <a:defRPr sz="800">
                          <a:latin typeface="Nexa Book"/>
                        </a:defRPr>
                      </a:pPr>
                      <a:r>
                        <a:t>19</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11%</a:t>
                      </a:r>
                    </a:p>
                  </a:txBody>
                  <a:tcPr marL="3810" marR="3810" marT="3810" marB="0" anchor="ctr">
                    <a:noFill/>
                  </a:tcPr>
                </a:tc>
                <a:tc>
                  <a:txBody>
                    <a:bodyPr/>
                    <a:lstStyle/>
                    <a:p>
                      <a:pPr algn="ctr">
                        <a:defRPr sz="800">
                          <a:latin typeface="Nexa Book"/>
                        </a:defRPr>
                      </a:pPr>
                      <a:r>
                        <a:t>10%</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3161381"/>
                  </a:ext>
                </a:extLst>
              </a:tr>
              <a:tr h="831402">
                <a:tc>
                  <a:txBody>
                    <a:bodyPr/>
                    <a:lstStyle/>
                    <a:p>
                      <a:pPr algn="ctr">
                        <a:defRPr sz="800" b="1">
                          <a:latin typeface="Nexa (Headings)"/>
                        </a:defRPr>
                      </a:pPr>
                      <a:r>
                        <a:t>Aperitif</a:t>
                      </a:r>
                    </a:p>
                  </a:txBody>
                  <a:tcPr marL="3810" marR="3810" marT="3810" marB="0" anchor="ctr">
                    <a:noFill/>
                  </a:tcPr>
                </a:tc>
                <a:tc>
                  <a:txBody>
                    <a:bodyPr/>
                    <a:lstStyle/>
                    <a:p>
                      <a:pPr algn="ctr">
                        <a:defRPr sz="800">
                          <a:latin typeface="Nexa Book"/>
                        </a:defRPr>
                      </a:pPr>
                      <a:r>
                        <a:t>33</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1752397169"/>
                  </a:ext>
                </a:extLst>
              </a:tr>
              <a:tr h="831402">
                <a:tc>
                  <a:txBody>
                    <a:bodyPr/>
                    <a:lstStyle/>
                    <a:p>
                      <a:pPr algn="ctr">
                        <a:defRPr sz="800" b="1">
                          <a:latin typeface="Nexa (Headings)"/>
                        </a:defRPr>
                      </a:pPr>
                      <a:r>
                        <a:t>Soft Cheese</a:t>
                      </a:r>
                    </a:p>
                  </a:txBody>
                  <a:tcPr marL="3810" marR="3810" marT="3810" marB="0" anchor="ctr">
                    <a:noFill/>
                  </a:tcPr>
                </a:tc>
                <a:tc>
                  <a:txBody>
                    <a:bodyPr/>
                    <a:lstStyle/>
                    <a:p>
                      <a:pPr algn="ctr">
                        <a:defRPr sz="800">
                          <a:latin typeface="Nexa Book"/>
                        </a:defRPr>
                      </a:pPr>
                      <a:r>
                        <a:t>390</a:t>
                      </a:r>
                    </a:p>
                  </a:txBody>
                  <a:tcPr marL="3810" marR="3810" marT="3810" marB="0" anchor="ctr">
                    <a:noFill/>
                  </a:tcPr>
                </a:tc>
                <a:tc>
                  <a:txBody>
                    <a:bodyPr/>
                    <a:lstStyle/>
                    <a:p>
                      <a:pPr algn="ctr">
                        <a:defRPr sz="800">
                          <a:latin typeface="Nexa Book"/>
                        </a:defRPr>
                      </a:pPr>
                      <a:r>
                        <a:t>8</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4%</a:t>
                      </a:r>
                    </a:p>
                  </a:txBody>
                  <a:tcPr marL="3810" marR="3810" marT="3810" marB="0" anchor="ctr">
                    <a:noFill/>
                  </a:tcPr>
                </a:tc>
                <a:tc>
                  <a:txBody>
                    <a:bodyPr/>
                    <a:lstStyle/>
                    <a:p>
                      <a:pPr algn="ctr">
                        <a:defRPr sz="800">
                          <a:latin typeface="Nexa Book"/>
                        </a:defRPr>
                      </a:pPr>
                      <a:r>
                        <a:t>16</a:t>
                      </a:r>
                    </a:p>
                  </a:txBody>
                  <a:tcPr marL="3810" marR="3810" marT="3810" marB="0" anchor="ctr">
                    <a:noFill/>
                  </a:tcPr>
                </a:tc>
                <a:tc>
                  <a:txBody>
                    <a:bodyPr/>
                    <a:lstStyle/>
                    <a:p>
                      <a:pPr algn="ctr">
                        <a:defRPr sz="800">
                          <a:latin typeface="Nexa Book"/>
                        </a:defRPr>
                      </a:pPr>
                      <a:r>
                        <a:t>8</a:t>
                      </a:r>
                    </a:p>
                  </a:txBody>
                  <a:tcPr marL="3810" marR="3810" marT="3810" marB="0" anchor="ctr">
                    <a:noFill/>
                  </a:tcPr>
                </a:tc>
                <a:extLst>
                  <a:ext uri="{0D108BD9-81ED-4DB2-BD59-A6C34878D82A}">
                    <a16:rowId xmlns:a16="http://schemas.microsoft.com/office/drawing/2014/main" val="3712364869"/>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566</a:t>
            </a:fld>
            <a:endParaRPr lang="en-US"/>
          </a:p>
        </p:txBody>
      </p:sp>
    </p:spTree>
    <p:extLst>
      <p:ext uri="{BB962C8B-B14F-4D97-AF65-F5344CB8AC3E}">
        <p14:creationId xmlns:p14="http://schemas.microsoft.com/office/powerpoint/2010/main" val="292904312"/>
      </p:ext>
    </p:extLst>
  </p:cSld>
  <p:clrMapOvr>
    <a:masterClrMapping/>
  </p:clrMapOvr>
</p:sld>
</file>

<file path=ppt/slides/slide5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9/9/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pPr>
              <a:defRPr sz="1200">
                <a:latin typeface="Nexa Bold (Headings)"/>
              </a:defRPr>
            </a:pPr>
            <a:r>
              <a:t>Sector fair share | Total Fromage | Kiri | Carrefour Supermarket + Drive | P12M</a:t>
            </a:r>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pPr>
              <a:defRPr sz="1600">
                <a:latin typeface="Nexa Bold (Headings)"/>
              </a:defRPr>
            </a:pPr>
            <a:r>
              <a:rPr lang="en-GB" dirty="0">
                <a:highlight>
                  <a:srgbClr val="FFFF00"/>
                </a:highlight>
              </a:rPr>
              <a:t>Sector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Kiri </a:t>
                      </a:r>
                    </a:p>
                    <a:p>
                      <a:pPr algn="ctr">
                        <a:defRPr sz="900" b="1">
                          <a:latin typeface="Nexa (Headings)"/>
                        </a:defRPr>
                      </a:pPr>
                      <a: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Kiri </a:t>
                      </a:r>
                    </a:p>
                    <a:p>
                      <a:pPr algn="ctr">
                        <a:defRPr sz="900" b="1">
                          <a:latin typeface="Nexa (Headings)"/>
                        </a:defRPr>
                      </a:pPr>
                      <a: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Kiri </a:t>
                      </a:r>
                    </a:p>
                    <a:p>
                      <a:pPr algn="ctr">
                        <a:defRPr sz="900" b="1">
                          <a:latin typeface="Nexa (Headings)"/>
                        </a:defRPr>
                      </a:pPr>
                      <a: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Kiri </a:t>
                      </a:r>
                    </a:p>
                    <a:p>
                      <a:pPr algn="ctr">
                        <a:defRPr sz="900" b="1">
                          <a:latin typeface="Nexa (Headings)"/>
                        </a:defRPr>
                      </a:pPr>
                      <a: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Kiri</a:t>
                      </a:r>
                    </a:p>
                    <a:p>
                      <a:pPr algn="ctr">
                        <a:defRPr sz="900" b="1">
                          <a:latin typeface="Nexa (Headings)"/>
                        </a:defRPr>
                      </a:pPr>
                      <a: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831402">
                <a:tc>
                  <a:txBody>
                    <a:bodyPr/>
                    <a:lstStyle/>
                    <a:p>
                      <a:pPr algn="ctr">
                        <a:defRPr sz="800" b="1">
                          <a:latin typeface="Nexa (Headings)"/>
                        </a:defRPr>
                      </a:pPr>
                      <a:r>
                        <a:t>Grand Total</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677</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8</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3%</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3%</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8</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831402">
                <a:tc>
                  <a:txBody>
                    <a:bodyPr/>
                    <a:lstStyle/>
                    <a:p>
                      <a:pPr algn="ctr">
                        <a:defRPr sz="800" b="1">
                          <a:latin typeface="Nexa (Headings)"/>
                        </a:defRPr>
                      </a:pPr>
                      <a:r>
                        <a:t>Ingredient A Chaud</a:t>
                      </a:r>
                    </a:p>
                  </a:txBody>
                  <a:tcPr marL="3810" marR="3810" marT="3810" marB="0" anchor="ctr">
                    <a:noFill/>
                  </a:tcPr>
                </a:tc>
                <a:tc>
                  <a:txBody>
                    <a:bodyPr/>
                    <a:lstStyle/>
                    <a:p>
                      <a:pPr algn="ctr">
                        <a:defRPr sz="800">
                          <a:latin typeface="Nexa Book"/>
                        </a:defRPr>
                      </a:pPr>
                      <a:r>
                        <a:t>14</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3161381"/>
                  </a:ext>
                </a:extLst>
              </a:tr>
              <a:tr h="831402">
                <a:tc>
                  <a:txBody>
                    <a:bodyPr/>
                    <a:lstStyle/>
                    <a:p>
                      <a:pPr algn="ctr">
                        <a:defRPr sz="800" b="1">
                          <a:latin typeface="Nexa (Headings)"/>
                        </a:defRPr>
                      </a:pPr>
                      <a:r>
                        <a:t>Aperitif</a:t>
                      </a:r>
                    </a:p>
                  </a:txBody>
                  <a:tcPr marL="3810" marR="3810" marT="3810" marB="0" anchor="ctr">
                    <a:noFill/>
                  </a:tcPr>
                </a:tc>
                <a:tc>
                  <a:txBody>
                    <a:bodyPr/>
                    <a:lstStyle/>
                    <a:p>
                      <a:pPr algn="ctr">
                        <a:defRPr sz="800">
                          <a:latin typeface="Nexa Book"/>
                        </a:defRPr>
                      </a:pPr>
                      <a:r>
                        <a:t>29</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1752397169"/>
                  </a:ext>
                </a:extLst>
              </a:tr>
              <a:tr h="831402">
                <a:tc>
                  <a:txBody>
                    <a:bodyPr/>
                    <a:lstStyle/>
                    <a:p>
                      <a:pPr algn="ctr">
                        <a:defRPr sz="800" b="1">
                          <a:latin typeface="Nexa (Headings)"/>
                        </a:defRPr>
                      </a:pPr>
                      <a:r>
                        <a:t>Soft Cheese</a:t>
                      </a:r>
                    </a:p>
                  </a:txBody>
                  <a:tcPr marL="3810" marR="3810" marT="3810" marB="0" anchor="ctr">
                    <a:noFill/>
                  </a:tcPr>
                </a:tc>
                <a:tc>
                  <a:txBody>
                    <a:bodyPr/>
                    <a:lstStyle/>
                    <a:p>
                      <a:pPr algn="ctr">
                        <a:defRPr sz="800">
                          <a:latin typeface="Nexa Book"/>
                        </a:defRPr>
                      </a:pPr>
                      <a:r>
                        <a:t>326</a:t>
                      </a:r>
                    </a:p>
                  </a:txBody>
                  <a:tcPr marL="3810" marR="3810" marT="3810" marB="0" anchor="ctr">
                    <a:noFill/>
                  </a:tcPr>
                </a:tc>
                <a:tc>
                  <a:txBody>
                    <a:bodyPr/>
                    <a:lstStyle/>
                    <a:p>
                      <a:pPr algn="ctr">
                        <a:defRPr sz="800">
                          <a:latin typeface="Nexa Book"/>
                        </a:defRPr>
                      </a:pPr>
                      <a:r>
                        <a:t>8</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8</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3712364869"/>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567</a:t>
            </a:fld>
            <a:endParaRPr lang="en-US"/>
          </a:p>
        </p:txBody>
      </p:sp>
    </p:spTree>
    <p:extLst>
      <p:ext uri="{BB962C8B-B14F-4D97-AF65-F5344CB8AC3E}">
        <p14:creationId xmlns:p14="http://schemas.microsoft.com/office/powerpoint/2010/main" val="3708977730"/>
      </p:ext>
    </p:extLst>
  </p:cSld>
  <p:clrMapOvr>
    <a:masterClrMapping/>
  </p:clrMapOvr>
</p:sld>
</file>

<file path=ppt/slides/slide5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9/9/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pPr>
              <a:defRPr sz="1200">
                <a:latin typeface="Nexa Bold (Headings)"/>
              </a:defRPr>
            </a:pPr>
            <a:r>
              <a:t>Sector fair share | Total Fromage | Boursin | Carrefour Hyper + Drive | P12M</a:t>
            </a:r>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pPr>
              <a:defRPr sz="1600">
                <a:latin typeface="Nexa Bold (Headings)"/>
              </a:defRPr>
            </a:pPr>
            <a:r>
              <a:rPr lang="en-GB" dirty="0">
                <a:highlight>
                  <a:srgbClr val="FFFF00"/>
                </a:highlight>
              </a:rPr>
              <a:t>Sector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oursin </a:t>
                      </a:r>
                    </a:p>
                    <a:p>
                      <a:pPr algn="ctr">
                        <a:defRPr sz="900" b="1">
                          <a:latin typeface="Nexa (Headings)"/>
                        </a:defRPr>
                      </a:pPr>
                      <a: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oursin </a:t>
                      </a:r>
                    </a:p>
                    <a:p>
                      <a:pPr algn="ctr">
                        <a:defRPr sz="900" b="1">
                          <a:latin typeface="Nexa (Headings)"/>
                        </a:defRPr>
                      </a:pPr>
                      <a: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oursin </a:t>
                      </a:r>
                    </a:p>
                    <a:p>
                      <a:pPr algn="ctr">
                        <a:defRPr sz="900" b="1">
                          <a:latin typeface="Nexa (Headings)"/>
                        </a:defRPr>
                      </a:pPr>
                      <a: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oursin </a:t>
                      </a:r>
                    </a:p>
                    <a:p>
                      <a:pPr algn="ctr">
                        <a:defRPr sz="900" b="1">
                          <a:latin typeface="Nexa (Headings)"/>
                        </a:defRPr>
                      </a:pPr>
                      <a: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oursin</a:t>
                      </a:r>
                    </a:p>
                    <a:p>
                      <a:pPr algn="ctr">
                        <a:defRPr sz="900" b="1">
                          <a:latin typeface="Nexa (Headings)"/>
                        </a:defRPr>
                      </a:pPr>
                      <a: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831402">
                <a:tc>
                  <a:txBody>
                    <a:bodyPr/>
                    <a:lstStyle/>
                    <a:p>
                      <a:pPr algn="ctr">
                        <a:defRPr sz="800" b="1">
                          <a:latin typeface="Nexa (Headings)"/>
                        </a:defRPr>
                      </a:pPr>
                      <a:r>
                        <a:t>Grand Total</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175</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25</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20%</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5%</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831402">
                <a:tc>
                  <a:txBody>
                    <a:bodyPr/>
                    <a:lstStyle/>
                    <a:p>
                      <a:pPr algn="ctr">
                        <a:defRPr sz="800" b="1">
                          <a:latin typeface="Nexa (Headings)"/>
                        </a:defRPr>
                      </a:pPr>
                      <a:r>
                        <a:t>Ingredient A Chaud</a:t>
                      </a:r>
                    </a:p>
                  </a:txBody>
                  <a:tcPr marL="3810" marR="3810" marT="3810" marB="0" anchor="ctr">
                    <a:noFill/>
                  </a:tcPr>
                </a:tc>
                <a:tc>
                  <a:txBody>
                    <a:bodyPr/>
                    <a:lstStyle/>
                    <a:p>
                      <a:pPr algn="ctr">
                        <a:defRPr sz="800">
                          <a:latin typeface="Nexa Book"/>
                        </a:defRPr>
                      </a:pPr>
                      <a:r>
                        <a:t>28</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3161381"/>
                  </a:ext>
                </a:extLst>
              </a:tr>
              <a:tr h="831402">
                <a:tc>
                  <a:txBody>
                    <a:bodyPr/>
                    <a:lstStyle/>
                    <a:p>
                      <a:pPr algn="ctr">
                        <a:defRPr sz="800" b="1">
                          <a:latin typeface="Nexa (Headings)"/>
                        </a:defRPr>
                      </a:pPr>
                      <a:r>
                        <a:t>Aperitif</a:t>
                      </a:r>
                    </a:p>
                  </a:txBody>
                  <a:tcPr marL="3810" marR="3810" marT="3810" marB="0" anchor="ctr">
                    <a:noFill/>
                  </a:tcPr>
                </a:tc>
                <a:tc>
                  <a:txBody>
                    <a:bodyPr/>
                    <a:lstStyle/>
                    <a:p>
                      <a:pPr algn="ctr">
                        <a:defRPr sz="800">
                          <a:latin typeface="Nexa Book"/>
                        </a:defRPr>
                      </a:pPr>
                      <a:r>
                        <a:t>45</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7%</a:t>
                      </a:r>
                    </a:p>
                  </a:txBody>
                  <a:tcPr marL="3810" marR="3810" marT="3810" marB="0" anchor="ctr">
                    <a:noFill/>
                  </a:tcPr>
                </a:tc>
                <a:tc>
                  <a:txBody>
                    <a:bodyPr/>
                    <a:lstStyle/>
                    <a:p>
                      <a:pPr algn="ctr">
                        <a:defRPr sz="800">
                          <a:latin typeface="Nexa Book"/>
                        </a:defRPr>
                      </a:pPr>
                      <a:r>
                        <a:t>7%</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1752397169"/>
                  </a:ext>
                </a:extLst>
              </a:tr>
              <a:tr h="831402">
                <a:tc>
                  <a:txBody>
                    <a:bodyPr/>
                    <a:lstStyle/>
                    <a:p>
                      <a:pPr algn="ctr">
                        <a:defRPr sz="800" b="1">
                          <a:latin typeface="Nexa (Headings)"/>
                        </a:defRPr>
                      </a:pPr>
                      <a:r>
                        <a:t>Soft Cheese</a:t>
                      </a:r>
                    </a:p>
                  </a:txBody>
                  <a:tcPr marL="3810" marR="3810" marT="3810" marB="0" anchor="ctr">
                    <a:noFill/>
                  </a:tcPr>
                </a:tc>
                <a:tc>
                  <a:txBody>
                    <a:bodyPr/>
                    <a:lstStyle/>
                    <a:p>
                      <a:pPr algn="ctr">
                        <a:defRPr sz="800">
                          <a:latin typeface="Nexa Book"/>
                        </a:defRPr>
                      </a:pPr>
                      <a:r>
                        <a:t>555</a:t>
                      </a:r>
                    </a:p>
                  </a:txBody>
                  <a:tcPr marL="3810" marR="3810" marT="3810" marB="0" anchor="ctr">
                    <a:noFill/>
                  </a:tcPr>
                </a:tc>
                <a:tc>
                  <a:txBody>
                    <a:bodyPr/>
                    <a:lstStyle/>
                    <a:p>
                      <a:pPr algn="ctr">
                        <a:defRPr sz="800">
                          <a:latin typeface="Nexa Book"/>
                        </a:defRPr>
                      </a:pPr>
                      <a:r>
                        <a:t>19</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12</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3712364869"/>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568</a:t>
            </a:fld>
            <a:endParaRPr lang="en-US"/>
          </a:p>
        </p:txBody>
      </p:sp>
    </p:spTree>
    <p:extLst>
      <p:ext uri="{BB962C8B-B14F-4D97-AF65-F5344CB8AC3E}">
        <p14:creationId xmlns:p14="http://schemas.microsoft.com/office/powerpoint/2010/main" val="1409021597"/>
      </p:ext>
    </p:extLst>
  </p:cSld>
  <p:clrMapOvr>
    <a:masterClrMapping/>
  </p:clrMapOvr>
</p:sld>
</file>

<file path=ppt/slides/slide5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9/9/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pPr>
              <a:defRPr sz="1200">
                <a:latin typeface="Nexa Bold (Headings)"/>
              </a:defRPr>
            </a:pPr>
            <a:r>
              <a:t>Sector fair share | Total Fromage | La Vache Qui Rit | Carrefour Supermarket + Drive | P12M</a:t>
            </a:r>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pPr>
              <a:defRPr sz="1600">
                <a:latin typeface="Nexa Bold (Headings)"/>
              </a:defRPr>
            </a:pPr>
            <a:r>
              <a:rPr lang="en-GB" dirty="0">
                <a:highlight>
                  <a:srgbClr val="FFFF00"/>
                </a:highlight>
              </a:rPr>
              <a:t>Sector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La Vache Qui Rit </a:t>
                      </a:r>
                    </a:p>
                    <a:p>
                      <a:pPr algn="ctr">
                        <a:defRPr sz="900" b="1">
                          <a:latin typeface="Nexa (Headings)"/>
                        </a:defRPr>
                      </a:pPr>
                      <a: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La Vache Qui Rit </a:t>
                      </a:r>
                    </a:p>
                    <a:p>
                      <a:pPr algn="ctr">
                        <a:defRPr sz="900" b="1">
                          <a:latin typeface="Nexa (Headings)"/>
                        </a:defRPr>
                      </a:pPr>
                      <a: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La Vache Qui Rit </a:t>
                      </a:r>
                    </a:p>
                    <a:p>
                      <a:pPr algn="ctr">
                        <a:defRPr sz="900" b="1">
                          <a:latin typeface="Nexa (Headings)"/>
                        </a:defRPr>
                      </a:pPr>
                      <a: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La Vache Qui Rit </a:t>
                      </a:r>
                    </a:p>
                    <a:p>
                      <a:pPr algn="ctr">
                        <a:defRPr sz="900" b="1">
                          <a:latin typeface="Nexa (Headings)"/>
                        </a:defRPr>
                      </a:pPr>
                      <a: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La Vache Qui Rit</a:t>
                      </a:r>
                    </a:p>
                    <a:p>
                      <a:pPr algn="ctr">
                        <a:defRPr sz="900" b="1">
                          <a:latin typeface="Nexa (Headings)"/>
                        </a:defRPr>
                      </a:pPr>
                      <a: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831402">
                <a:tc>
                  <a:txBody>
                    <a:bodyPr/>
                    <a:lstStyle/>
                    <a:p>
                      <a:pPr algn="ctr">
                        <a:defRPr sz="800" b="1">
                          <a:latin typeface="Nexa (Headings)"/>
                        </a:defRPr>
                      </a:pPr>
                      <a:r>
                        <a:t>Grand Total</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677</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5%</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5%</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831402">
                <a:tc>
                  <a:txBody>
                    <a:bodyPr/>
                    <a:lstStyle/>
                    <a:p>
                      <a:pPr algn="ctr">
                        <a:defRPr sz="800" b="1">
                          <a:latin typeface="Nexa (Headings)"/>
                        </a:defRPr>
                      </a:pPr>
                      <a:r>
                        <a:t>Ingredient A Chaud</a:t>
                      </a:r>
                    </a:p>
                  </a:txBody>
                  <a:tcPr marL="3810" marR="3810" marT="3810" marB="0" anchor="ctr">
                    <a:noFill/>
                  </a:tcPr>
                </a:tc>
                <a:tc>
                  <a:txBody>
                    <a:bodyPr/>
                    <a:lstStyle/>
                    <a:p>
                      <a:pPr algn="ctr">
                        <a:defRPr sz="800">
                          <a:latin typeface="Nexa Book"/>
                        </a:defRPr>
                      </a:pPr>
                      <a:r>
                        <a:t>14</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13%</a:t>
                      </a:r>
                    </a:p>
                  </a:txBody>
                  <a:tcPr marL="3810" marR="3810" marT="3810" marB="0" anchor="ctr">
                    <a:noFill/>
                  </a:tcPr>
                </a:tc>
                <a:tc>
                  <a:txBody>
                    <a:bodyPr/>
                    <a:lstStyle/>
                    <a:p>
                      <a:pPr algn="ctr">
                        <a:defRPr sz="800">
                          <a:latin typeface="Nexa Book"/>
                        </a:defRPr>
                      </a:pPr>
                      <a:r>
                        <a:t>11%</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3161381"/>
                  </a:ext>
                </a:extLst>
              </a:tr>
              <a:tr h="831402">
                <a:tc>
                  <a:txBody>
                    <a:bodyPr/>
                    <a:lstStyle/>
                    <a:p>
                      <a:pPr algn="ctr">
                        <a:defRPr sz="800" b="1">
                          <a:latin typeface="Nexa (Headings)"/>
                        </a:defRPr>
                      </a:pPr>
                      <a:r>
                        <a:t>Aperitif</a:t>
                      </a:r>
                    </a:p>
                  </a:txBody>
                  <a:tcPr marL="3810" marR="3810" marT="3810" marB="0" anchor="ctr">
                    <a:noFill/>
                  </a:tcPr>
                </a:tc>
                <a:tc>
                  <a:txBody>
                    <a:bodyPr/>
                    <a:lstStyle/>
                    <a:p>
                      <a:pPr algn="ctr">
                        <a:defRPr sz="800">
                          <a:latin typeface="Nexa Book"/>
                        </a:defRPr>
                      </a:pPr>
                      <a:r>
                        <a:t>29</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1752397169"/>
                  </a:ext>
                </a:extLst>
              </a:tr>
              <a:tr h="831402">
                <a:tc>
                  <a:txBody>
                    <a:bodyPr/>
                    <a:lstStyle/>
                    <a:p>
                      <a:pPr algn="ctr">
                        <a:defRPr sz="800" b="1">
                          <a:latin typeface="Nexa (Headings)"/>
                        </a:defRPr>
                      </a:pPr>
                      <a:r>
                        <a:t>Soft Cheese</a:t>
                      </a:r>
                    </a:p>
                  </a:txBody>
                  <a:tcPr marL="3810" marR="3810" marT="3810" marB="0" anchor="ctr">
                    <a:noFill/>
                  </a:tcPr>
                </a:tc>
                <a:tc>
                  <a:txBody>
                    <a:bodyPr/>
                    <a:lstStyle/>
                    <a:p>
                      <a:pPr algn="ctr">
                        <a:defRPr sz="800">
                          <a:latin typeface="Nexa Book"/>
                        </a:defRPr>
                      </a:pPr>
                      <a:r>
                        <a:t>326</a:t>
                      </a:r>
                    </a:p>
                  </a:txBody>
                  <a:tcPr marL="3810" marR="3810" marT="3810" marB="0" anchor="ctr">
                    <a:noFill/>
                  </a:tcPr>
                </a:tc>
                <a:tc>
                  <a:txBody>
                    <a:bodyPr/>
                    <a:lstStyle/>
                    <a:p>
                      <a:pPr algn="ctr">
                        <a:defRPr sz="800">
                          <a:latin typeface="Nexa Book"/>
                        </a:defRPr>
                      </a:pPr>
                      <a:r>
                        <a:t>8</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11</a:t>
                      </a:r>
                    </a:p>
                  </a:txBody>
                  <a:tcPr marL="3810" marR="3810" marT="3810" marB="0" anchor="ctr">
                    <a:noFill/>
                  </a:tcPr>
                </a:tc>
                <a:tc>
                  <a:txBody>
                    <a:bodyPr/>
                    <a:lstStyle/>
                    <a:p>
                      <a:pPr algn="ctr">
                        <a:defRPr sz="800">
                          <a:latin typeface="Nexa Book"/>
                        </a:defRPr>
                      </a:pPr>
                      <a:r>
                        <a:t>3</a:t>
                      </a:r>
                    </a:p>
                  </a:txBody>
                  <a:tcPr marL="3810" marR="3810" marT="3810" marB="0" anchor="ctr">
                    <a:noFill/>
                  </a:tcPr>
                </a:tc>
                <a:extLst>
                  <a:ext uri="{0D108BD9-81ED-4DB2-BD59-A6C34878D82A}">
                    <a16:rowId xmlns:a16="http://schemas.microsoft.com/office/drawing/2014/main" val="3712364869"/>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569</a:t>
            </a:fld>
            <a:endParaRPr lang="en-US"/>
          </a:p>
        </p:txBody>
      </p:sp>
    </p:spTree>
    <p:extLst>
      <p:ext uri="{BB962C8B-B14F-4D97-AF65-F5344CB8AC3E}">
        <p14:creationId xmlns:p14="http://schemas.microsoft.com/office/powerpoint/2010/main" val="3034440044"/>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9/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July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Total Fromage | Carrefour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318</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88</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7</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57</a:t>
            </a:fld>
            <a:endParaRPr lang="en-US"/>
          </a:p>
        </p:txBody>
      </p:sp>
    </p:spTree>
    <p:extLst>
      <p:ext uri="{BB962C8B-B14F-4D97-AF65-F5344CB8AC3E}">
        <p14:creationId xmlns:p14="http://schemas.microsoft.com/office/powerpoint/2010/main" val="929979942"/>
      </p:ext>
    </p:extLst>
  </p:cSld>
  <p:clrMapOvr>
    <a:masterClrMapping/>
  </p:clrMapOvr>
</p:sld>
</file>

<file path=ppt/slides/slide5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9/9/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pPr>
              <a:defRPr sz="1200">
                <a:latin typeface="Nexa Bold (Headings)"/>
              </a:defRPr>
            </a:pPr>
            <a:r>
              <a:t>Sector fair share | Total Fromage | Boursin | Carrefour Supermarket + Drive | P12M</a:t>
            </a:r>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pPr>
              <a:defRPr sz="1600">
                <a:latin typeface="Nexa Bold (Headings)"/>
              </a:defRPr>
            </a:pPr>
            <a:r>
              <a:rPr lang="en-GB" dirty="0">
                <a:highlight>
                  <a:srgbClr val="FFFF00"/>
                </a:highlight>
              </a:rPr>
              <a:t>Sector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oursin </a:t>
                      </a:r>
                    </a:p>
                    <a:p>
                      <a:pPr algn="ctr">
                        <a:defRPr sz="900" b="1">
                          <a:latin typeface="Nexa (Headings)"/>
                        </a:defRPr>
                      </a:pPr>
                      <a: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oursin </a:t>
                      </a:r>
                    </a:p>
                    <a:p>
                      <a:pPr algn="ctr">
                        <a:defRPr sz="900" b="1">
                          <a:latin typeface="Nexa (Headings)"/>
                        </a:defRPr>
                      </a:pPr>
                      <a: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oursin </a:t>
                      </a:r>
                    </a:p>
                    <a:p>
                      <a:pPr algn="ctr">
                        <a:defRPr sz="900" b="1">
                          <a:latin typeface="Nexa (Headings)"/>
                        </a:defRPr>
                      </a:pPr>
                      <a: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oursin </a:t>
                      </a:r>
                    </a:p>
                    <a:p>
                      <a:pPr algn="ctr">
                        <a:defRPr sz="900" b="1">
                          <a:latin typeface="Nexa (Headings)"/>
                        </a:defRPr>
                      </a:pPr>
                      <a: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oursin</a:t>
                      </a:r>
                    </a:p>
                    <a:p>
                      <a:pPr algn="ctr">
                        <a:defRPr sz="900" b="1">
                          <a:latin typeface="Nexa (Headings)"/>
                        </a:defRPr>
                      </a:pPr>
                      <a: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831402">
                <a:tc>
                  <a:txBody>
                    <a:bodyPr/>
                    <a:lstStyle/>
                    <a:p>
                      <a:pPr algn="ctr">
                        <a:defRPr sz="800" b="1">
                          <a:latin typeface="Nexa (Headings)"/>
                        </a:defRPr>
                      </a:pPr>
                      <a:r>
                        <a:t>Grand Total</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677</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7</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24%</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7%</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2</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831402">
                <a:tc>
                  <a:txBody>
                    <a:bodyPr/>
                    <a:lstStyle/>
                    <a:p>
                      <a:pPr algn="ctr">
                        <a:defRPr sz="800" b="1">
                          <a:latin typeface="Nexa (Headings)"/>
                        </a:defRPr>
                      </a:pPr>
                      <a:r>
                        <a:t>Ingredient A Chaud</a:t>
                      </a:r>
                    </a:p>
                  </a:txBody>
                  <a:tcPr marL="3810" marR="3810" marT="3810" marB="0" anchor="ctr">
                    <a:noFill/>
                  </a:tcPr>
                </a:tc>
                <a:tc>
                  <a:txBody>
                    <a:bodyPr/>
                    <a:lstStyle/>
                    <a:p>
                      <a:pPr algn="ctr">
                        <a:defRPr sz="800">
                          <a:latin typeface="Nexa Book"/>
                        </a:defRPr>
                      </a:pPr>
                      <a:r>
                        <a:t>14</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5%</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3161381"/>
                  </a:ext>
                </a:extLst>
              </a:tr>
              <a:tr h="831402">
                <a:tc>
                  <a:txBody>
                    <a:bodyPr/>
                    <a:lstStyle/>
                    <a:p>
                      <a:pPr algn="ctr">
                        <a:defRPr sz="800" b="1">
                          <a:latin typeface="Nexa (Headings)"/>
                        </a:defRPr>
                      </a:pPr>
                      <a:r>
                        <a:t>Aperitif</a:t>
                      </a:r>
                    </a:p>
                  </a:txBody>
                  <a:tcPr marL="3810" marR="3810" marT="3810" marB="0" anchor="ctr">
                    <a:noFill/>
                  </a:tcPr>
                </a:tc>
                <a:tc>
                  <a:txBody>
                    <a:bodyPr/>
                    <a:lstStyle/>
                    <a:p>
                      <a:pPr algn="ctr">
                        <a:defRPr sz="800">
                          <a:latin typeface="Nexa Book"/>
                        </a:defRPr>
                      </a:pPr>
                      <a:r>
                        <a:t>29</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9%</a:t>
                      </a:r>
                    </a:p>
                  </a:txBody>
                  <a:tcPr marL="3810" marR="3810" marT="3810" marB="0" anchor="ctr">
                    <a:noFill/>
                  </a:tcPr>
                </a:tc>
                <a:tc>
                  <a:txBody>
                    <a:bodyPr/>
                    <a:lstStyle/>
                    <a:p>
                      <a:pPr algn="ctr">
                        <a:defRPr sz="800">
                          <a:latin typeface="Nexa Book"/>
                        </a:defRPr>
                      </a:pPr>
                      <a:r>
                        <a:t>9%</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1752397169"/>
                  </a:ext>
                </a:extLst>
              </a:tr>
              <a:tr h="831402">
                <a:tc>
                  <a:txBody>
                    <a:bodyPr/>
                    <a:lstStyle/>
                    <a:p>
                      <a:pPr algn="ctr">
                        <a:defRPr sz="800" b="1">
                          <a:latin typeface="Nexa (Headings)"/>
                        </a:defRPr>
                      </a:pPr>
                      <a:r>
                        <a:t>Soft Cheese</a:t>
                      </a:r>
                    </a:p>
                  </a:txBody>
                  <a:tcPr marL="3810" marR="3810" marT="3810" marB="0" anchor="ctr">
                    <a:noFill/>
                  </a:tcPr>
                </a:tc>
                <a:tc>
                  <a:txBody>
                    <a:bodyPr/>
                    <a:lstStyle/>
                    <a:p>
                      <a:pPr algn="ctr">
                        <a:defRPr sz="800">
                          <a:latin typeface="Nexa Book"/>
                        </a:defRPr>
                      </a:pPr>
                      <a:r>
                        <a:t>326</a:t>
                      </a:r>
                    </a:p>
                  </a:txBody>
                  <a:tcPr marL="3810" marR="3810" marT="3810" marB="0" anchor="ctr">
                    <a:noFill/>
                  </a:tcPr>
                </a:tc>
                <a:tc>
                  <a:txBody>
                    <a:bodyPr/>
                    <a:lstStyle/>
                    <a:p>
                      <a:pPr algn="ctr">
                        <a:defRPr sz="800">
                          <a:latin typeface="Nexa Book"/>
                        </a:defRPr>
                      </a:pPr>
                      <a:r>
                        <a:t>13</a:t>
                      </a:r>
                    </a:p>
                  </a:txBody>
                  <a:tcPr marL="3810" marR="3810" marT="3810" marB="0" anchor="ctr">
                    <a:noFill/>
                  </a:tcPr>
                </a:tc>
                <a:tc>
                  <a:txBody>
                    <a:bodyPr/>
                    <a:lstStyle/>
                    <a:p>
                      <a:pPr algn="ctr">
                        <a:defRPr sz="800">
                          <a:latin typeface="Nexa Book"/>
                        </a:defRPr>
                      </a:pPr>
                      <a:r>
                        <a:t>4%</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7</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3712364869"/>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570</a:t>
            </a:fld>
            <a:endParaRPr lang="en-US"/>
          </a:p>
        </p:txBody>
      </p:sp>
    </p:spTree>
    <p:extLst>
      <p:ext uri="{BB962C8B-B14F-4D97-AF65-F5344CB8AC3E}">
        <p14:creationId xmlns:p14="http://schemas.microsoft.com/office/powerpoint/2010/main" val="1831351798"/>
      </p:ext>
    </p:extLst>
  </p:cSld>
  <p:clrMapOvr>
    <a:masterClrMapping/>
  </p:clrMapOvr>
</p:sld>
</file>

<file path=ppt/slides/slide5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9/9/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pPr>
              <a:defRPr sz="1200">
                <a:latin typeface="Nexa Bold (Headings)"/>
              </a:defRPr>
            </a:pPr>
            <a:r>
              <a:t>Sector fair share | Total Fromage | La Vache Qui Rit | Carrefour Proximite | P12M</a:t>
            </a:r>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pPr>
              <a:defRPr sz="1600">
                <a:latin typeface="Nexa Bold (Headings)"/>
              </a:defRPr>
            </a:pPr>
            <a:r>
              <a:rPr lang="en-GB" dirty="0">
                <a:highlight>
                  <a:srgbClr val="FFFF00"/>
                </a:highlight>
              </a:rPr>
              <a:t>Sector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La Vache Qui Rit </a:t>
                      </a:r>
                    </a:p>
                    <a:p>
                      <a:pPr algn="ctr">
                        <a:defRPr sz="900" b="1">
                          <a:latin typeface="Nexa (Headings)"/>
                        </a:defRPr>
                      </a:pPr>
                      <a: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La Vache Qui Rit </a:t>
                      </a:r>
                    </a:p>
                    <a:p>
                      <a:pPr algn="ctr">
                        <a:defRPr sz="900" b="1">
                          <a:latin typeface="Nexa (Headings)"/>
                        </a:defRPr>
                      </a:pPr>
                      <a: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La Vache Qui Rit </a:t>
                      </a:r>
                    </a:p>
                    <a:p>
                      <a:pPr algn="ctr">
                        <a:defRPr sz="900" b="1">
                          <a:latin typeface="Nexa (Headings)"/>
                        </a:defRPr>
                      </a:pPr>
                      <a: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La Vache Qui Rit </a:t>
                      </a:r>
                    </a:p>
                    <a:p>
                      <a:pPr algn="ctr">
                        <a:defRPr sz="900" b="1">
                          <a:latin typeface="Nexa (Headings)"/>
                        </a:defRPr>
                      </a:pPr>
                      <a: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La Vache Qui Rit</a:t>
                      </a:r>
                    </a:p>
                    <a:p>
                      <a:pPr algn="ctr">
                        <a:defRPr sz="900" b="1">
                          <a:latin typeface="Nexa (Headings)"/>
                        </a:defRPr>
                      </a:pPr>
                      <a: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831402">
                <a:tc>
                  <a:txBody>
                    <a:bodyPr/>
                    <a:lstStyle/>
                    <a:p>
                      <a:pPr algn="ctr">
                        <a:defRPr sz="800" b="1">
                          <a:latin typeface="Nexa (Headings)"/>
                        </a:defRPr>
                      </a:pPr>
                      <a:r>
                        <a:t>Grand Total</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6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2</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6%</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5%</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2</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831402">
                <a:tc>
                  <a:txBody>
                    <a:bodyPr/>
                    <a:lstStyle/>
                    <a:p>
                      <a:pPr algn="ctr">
                        <a:defRPr sz="800" b="1">
                          <a:latin typeface="Nexa (Headings)"/>
                        </a:defRPr>
                      </a:pPr>
                      <a:r>
                        <a:t>Ingredient A Chaud</a:t>
                      </a:r>
                    </a:p>
                  </a:txBody>
                  <a:tcPr marL="3810" marR="3810" marT="3810" marB="0" anchor="ctr">
                    <a:noFill/>
                  </a:tcPr>
                </a:tc>
                <a:tc>
                  <a:txBody>
                    <a:bodyPr/>
                    <a:lstStyle/>
                    <a:p>
                      <a:pPr algn="ctr">
                        <a:defRPr sz="800">
                          <a:latin typeface="Nexa Book"/>
                        </a:defRPr>
                      </a:pPr>
                      <a:r>
                        <a:t>6</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4%</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3161381"/>
                  </a:ext>
                </a:extLst>
              </a:tr>
              <a:tr h="831402">
                <a:tc>
                  <a:txBody>
                    <a:bodyPr/>
                    <a:lstStyle/>
                    <a:p>
                      <a:pPr algn="ctr">
                        <a:defRPr sz="800" b="1">
                          <a:latin typeface="Nexa (Headings)"/>
                        </a:defRPr>
                      </a:pPr>
                      <a:r>
                        <a:t>Aperitif</a:t>
                      </a:r>
                    </a:p>
                  </a:txBody>
                  <a:tcPr marL="3810" marR="3810" marT="3810" marB="0" anchor="ctr">
                    <a:noFill/>
                  </a:tcPr>
                </a:tc>
                <a:tc>
                  <a:txBody>
                    <a:bodyPr/>
                    <a:lstStyle/>
                    <a:p>
                      <a:pPr algn="ctr">
                        <a:defRPr sz="800">
                          <a:latin typeface="Nexa Book"/>
                        </a:defRPr>
                      </a:pPr>
                      <a:r>
                        <a:t>6</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1752397169"/>
                  </a:ext>
                </a:extLst>
              </a:tr>
              <a:tr h="831402">
                <a:tc>
                  <a:txBody>
                    <a:bodyPr/>
                    <a:lstStyle/>
                    <a:p>
                      <a:pPr algn="ctr">
                        <a:defRPr sz="800" b="1">
                          <a:latin typeface="Nexa (Headings)"/>
                        </a:defRPr>
                      </a:pPr>
                      <a:r>
                        <a:t>Soft Cheese</a:t>
                      </a:r>
                    </a:p>
                  </a:txBody>
                  <a:tcPr marL="3810" marR="3810" marT="3810" marB="0" anchor="ctr">
                    <a:noFill/>
                  </a:tcPr>
                </a:tc>
                <a:tc>
                  <a:txBody>
                    <a:bodyPr/>
                    <a:lstStyle/>
                    <a:p>
                      <a:pPr algn="ctr">
                        <a:defRPr sz="800">
                          <a:latin typeface="Nexa Book"/>
                        </a:defRPr>
                      </a:pPr>
                      <a:r>
                        <a:t>79</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1</a:t>
                      </a:r>
                    </a:p>
                  </a:txBody>
                  <a:tcPr marL="3810" marR="3810" marT="3810" marB="0" anchor="ctr">
                    <a:noFill/>
                  </a:tcPr>
                </a:tc>
                <a:extLst>
                  <a:ext uri="{0D108BD9-81ED-4DB2-BD59-A6C34878D82A}">
                    <a16:rowId xmlns:a16="http://schemas.microsoft.com/office/drawing/2014/main" val="3712364869"/>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571</a:t>
            </a:fld>
            <a:endParaRPr lang="en-US"/>
          </a:p>
        </p:txBody>
      </p:sp>
    </p:spTree>
    <p:extLst>
      <p:ext uri="{BB962C8B-B14F-4D97-AF65-F5344CB8AC3E}">
        <p14:creationId xmlns:p14="http://schemas.microsoft.com/office/powerpoint/2010/main" val="2048323443"/>
      </p:ext>
    </p:extLst>
  </p:cSld>
  <p:clrMapOvr>
    <a:masterClrMapping/>
  </p:clrMapOvr>
</p:sld>
</file>

<file path=ppt/slides/slide5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9/9/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pPr>
              <a:defRPr sz="1200">
                <a:latin typeface="Nexa Bold (Headings)"/>
              </a:defRPr>
            </a:pPr>
            <a:r>
              <a:t>Sector fair share | Total Fromage | Kiri | Intermarche Super | P12M</a:t>
            </a:r>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pPr>
              <a:defRPr sz="1600">
                <a:latin typeface="Nexa Bold (Headings)"/>
              </a:defRPr>
            </a:pPr>
            <a:r>
              <a:rPr lang="en-GB" dirty="0">
                <a:highlight>
                  <a:srgbClr val="FFFF00"/>
                </a:highlight>
              </a:rPr>
              <a:t>Sector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Kiri </a:t>
                      </a:r>
                    </a:p>
                    <a:p>
                      <a:pPr algn="ctr">
                        <a:defRPr sz="900" b="1">
                          <a:latin typeface="Nexa (Headings)"/>
                        </a:defRPr>
                      </a:pPr>
                      <a: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Kiri </a:t>
                      </a:r>
                    </a:p>
                    <a:p>
                      <a:pPr algn="ctr">
                        <a:defRPr sz="900" b="1">
                          <a:latin typeface="Nexa (Headings)"/>
                        </a:defRPr>
                      </a:pPr>
                      <a: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Kiri </a:t>
                      </a:r>
                    </a:p>
                    <a:p>
                      <a:pPr algn="ctr">
                        <a:defRPr sz="900" b="1">
                          <a:latin typeface="Nexa (Headings)"/>
                        </a:defRPr>
                      </a:pPr>
                      <a: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Kiri </a:t>
                      </a:r>
                    </a:p>
                    <a:p>
                      <a:pPr algn="ctr">
                        <a:defRPr sz="900" b="1">
                          <a:latin typeface="Nexa (Headings)"/>
                        </a:defRPr>
                      </a:pPr>
                      <a: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Kiri</a:t>
                      </a:r>
                    </a:p>
                    <a:p>
                      <a:pPr algn="ctr">
                        <a:defRPr sz="900" b="1">
                          <a:latin typeface="Nexa (Headings)"/>
                        </a:defRPr>
                      </a:pPr>
                      <a: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831402">
                <a:tc>
                  <a:txBody>
                    <a:bodyPr/>
                    <a:lstStyle/>
                    <a:p>
                      <a:pPr algn="ctr">
                        <a:defRPr sz="800" b="1">
                          <a:latin typeface="Nexa (Headings)"/>
                        </a:defRPr>
                      </a:pPr>
                      <a:r>
                        <a:t>Grand Total</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61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1</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4%</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3%</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8</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831402">
                <a:tc>
                  <a:txBody>
                    <a:bodyPr/>
                    <a:lstStyle/>
                    <a:p>
                      <a:pPr algn="ctr">
                        <a:defRPr sz="800" b="1">
                          <a:latin typeface="Nexa (Headings)"/>
                        </a:defRPr>
                      </a:pPr>
                      <a:r>
                        <a:t>Ingredient A Chaud</a:t>
                      </a:r>
                    </a:p>
                  </a:txBody>
                  <a:tcPr marL="3810" marR="3810" marT="3810" marB="0" anchor="ctr">
                    <a:noFill/>
                  </a:tcPr>
                </a:tc>
                <a:tc>
                  <a:txBody>
                    <a:bodyPr/>
                    <a:lstStyle/>
                    <a:p>
                      <a:pPr algn="ctr">
                        <a:defRPr sz="800">
                          <a:latin typeface="Nexa Book"/>
                        </a:defRPr>
                      </a:pPr>
                      <a:r>
                        <a:t>16</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3161381"/>
                  </a:ext>
                </a:extLst>
              </a:tr>
              <a:tr h="831402">
                <a:tc>
                  <a:txBody>
                    <a:bodyPr/>
                    <a:lstStyle/>
                    <a:p>
                      <a:pPr algn="ctr">
                        <a:defRPr sz="800" b="1">
                          <a:latin typeface="Nexa (Headings)"/>
                        </a:defRPr>
                      </a:pPr>
                      <a:r>
                        <a:t>Aperitif</a:t>
                      </a:r>
                    </a:p>
                  </a:txBody>
                  <a:tcPr marL="3810" marR="3810" marT="3810" marB="0" anchor="ctr">
                    <a:noFill/>
                  </a:tcPr>
                </a:tc>
                <a:tc>
                  <a:txBody>
                    <a:bodyPr/>
                    <a:lstStyle/>
                    <a:p>
                      <a:pPr algn="ctr">
                        <a:defRPr sz="800">
                          <a:latin typeface="Nexa Book"/>
                        </a:defRPr>
                      </a:pPr>
                      <a:r>
                        <a:t>32</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1752397169"/>
                  </a:ext>
                </a:extLst>
              </a:tr>
              <a:tr h="831402">
                <a:tc>
                  <a:txBody>
                    <a:bodyPr/>
                    <a:lstStyle/>
                    <a:p>
                      <a:pPr algn="ctr">
                        <a:defRPr sz="800" b="1">
                          <a:latin typeface="Nexa (Headings)"/>
                        </a:defRPr>
                      </a:pPr>
                      <a:r>
                        <a:t>Soft Cheese</a:t>
                      </a:r>
                    </a:p>
                  </a:txBody>
                  <a:tcPr marL="3810" marR="3810" marT="3810" marB="0" anchor="ctr">
                    <a:noFill/>
                  </a:tcPr>
                </a:tc>
                <a:tc>
                  <a:txBody>
                    <a:bodyPr/>
                    <a:lstStyle/>
                    <a:p>
                      <a:pPr algn="ctr">
                        <a:defRPr sz="800">
                          <a:latin typeface="Nexa Book"/>
                        </a:defRPr>
                      </a:pPr>
                      <a:r>
                        <a:t>267</a:t>
                      </a:r>
                    </a:p>
                  </a:txBody>
                  <a:tcPr marL="3810" marR="3810" marT="3810" marB="0" anchor="ctr">
                    <a:noFill/>
                  </a:tcPr>
                </a:tc>
                <a:tc>
                  <a:txBody>
                    <a:bodyPr/>
                    <a:lstStyle/>
                    <a:p>
                      <a:pPr algn="ctr">
                        <a:defRPr sz="800">
                          <a:latin typeface="Nexa Book"/>
                        </a:defRPr>
                      </a:pPr>
                      <a:r>
                        <a:t>11</a:t>
                      </a:r>
                    </a:p>
                  </a:txBody>
                  <a:tcPr marL="3810" marR="3810" marT="3810" marB="0" anchor="ctr">
                    <a:noFill/>
                  </a:tcPr>
                </a:tc>
                <a:tc>
                  <a:txBody>
                    <a:bodyPr/>
                    <a:lstStyle/>
                    <a:p>
                      <a:pPr algn="ctr">
                        <a:defRPr sz="800">
                          <a:latin typeface="Nexa Book"/>
                        </a:defRPr>
                      </a:pPr>
                      <a:r>
                        <a:t>4%</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8</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3712364869"/>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572</a:t>
            </a:fld>
            <a:endParaRPr lang="en-US"/>
          </a:p>
        </p:txBody>
      </p:sp>
    </p:spTree>
    <p:extLst>
      <p:ext uri="{BB962C8B-B14F-4D97-AF65-F5344CB8AC3E}">
        <p14:creationId xmlns:p14="http://schemas.microsoft.com/office/powerpoint/2010/main" val="1334829489"/>
      </p:ext>
    </p:extLst>
  </p:cSld>
  <p:clrMapOvr>
    <a:masterClrMapping/>
  </p:clrMapOvr>
</p:sld>
</file>

<file path=ppt/slides/slide5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9/9/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pPr>
              <a:defRPr sz="1200">
                <a:latin typeface="Nexa Bold (Headings)"/>
              </a:defRPr>
            </a:pPr>
            <a:r>
              <a:t>Sector fair share | Total Fromage | Kiri | Carrefour Proximite | P12M</a:t>
            </a:r>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pPr>
              <a:defRPr sz="1600">
                <a:latin typeface="Nexa Bold (Headings)"/>
              </a:defRPr>
            </a:pPr>
            <a:r>
              <a:rPr lang="en-GB" dirty="0">
                <a:highlight>
                  <a:srgbClr val="FFFF00"/>
                </a:highlight>
              </a:rPr>
              <a:t>Sector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Kiri </a:t>
                      </a:r>
                    </a:p>
                    <a:p>
                      <a:pPr algn="ctr">
                        <a:defRPr sz="900" b="1">
                          <a:latin typeface="Nexa (Headings)"/>
                        </a:defRPr>
                      </a:pPr>
                      <a: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Kiri </a:t>
                      </a:r>
                    </a:p>
                    <a:p>
                      <a:pPr algn="ctr">
                        <a:defRPr sz="900" b="1">
                          <a:latin typeface="Nexa (Headings)"/>
                        </a:defRPr>
                      </a:pPr>
                      <a: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Kiri </a:t>
                      </a:r>
                    </a:p>
                    <a:p>
                      <a:pPr algn="ctr">
                        <a:defRPr sz="900" b="1">
                          <a:latin typeface="Nexa (Headings)"/>
                        </a:defRPr>
                      </a:pPr>
                      <a: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Kiri </a:t>
                      </a:r>
                    </a:p>
                    <a:p>
                      <a:pPr algn="ctr">
                        <a:defRPr sz="900" b="1">
                          <a:latin typeface="Nexa (Headings)"/>
                        </a:defRPr>
                      </a:pPr>
                      <a: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Kiri</a:t>
                      </a:r>
                    </a:p>
                    <a:p>
                      <a:pPr algn="ctr">
                        <a:defRPr sz="900" b="1">
                          <a:latin typeface="Nexa (Headings)"/>
                        </a:defRPr>
                      </a:pPr>
                      <a: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831402">
                <a:tc>
                  <a:txBody>
                    <a:bodyPr/>
                    <a:lstStyle/>
                    <a:p>
                      <a:pPr algn="ctr">
                        <a:defRPr sz="800" b="1">
                          <a:latin typeface="Nexa (Headings)"/>
                        </a:defRPr>
                      </a:pPr>
                      <a:r>
                        <a:t>Grand Total</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6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3</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3%</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3%</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2</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831402">
                <a:tc>
                  <a:txBody>
                    <a:bodyPr/>
                    <a:lstStyle/>
                    <a:p>
                      <a:pPr algn="ctr">
                        <a:defRPr sz="800" b="1">
                          <a:latin typeface="Nexa (Headings)"/>
                        </a:defRPr>
                      </a:pPr>
                      <a:r>
                        <a:t>Ingredient A Chaud</a:t>
                      </a:r>
                    </a:p>
                  </a:txBody>
                  <a:tcPr marL="3810" marR="3810" marT="3810" marB="0" anchor="ctr">
                    <a:noFill/>
                  </a:tcPr>
                </a:tc>
                <a:tc>
                  <a:txBody>
                    <a:bodyPr/>
                    <a:lstStyle/>
                    <a:p>
                      <a:pPr algn="ctr">
                        <a:defRPr sz="800">
                          <a:latin typeface="Nexa Book"/>
                        </a:defRPr>
                      </a:pPr>
                      <a:r>
                        <a:t>6</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3161381"/>
                  </a:ext>
                </a:extLst>
              </a:tr>
              <a:tr h="831402">
                <a:tc>
                  <a:txBody>
                    <a:bodyPr/>
                    <a:lstStyle/>
                    <a:p>
                      <a:pPr algn="ctr">
                        <a:defRPr sz="800" b="1">
                          <a:latin typeface="Nexa (Headings)"/>
                        </a:defRPr>
                      </a:pPr>
                      <a:r>
                        <a:t>Aperitif</a:t>
                      </a:r>
                    </a:p>
                  </a:txBody>
                  <a:tcPr marL="3810" marR="3810" marT="3810" marB="0" anchor="ctr">
                    <a:noFill/>
                  </a:tcPr>
                </a:tc>
                <a:tc>
                  <a:txBody>
                    <a:bodyPr/>
                    <a:lstStyle/>
                    <a:p>
                      <a:pPr algn="ctr">
                        <a:defRPr sz="800">
                          <a:latin typeface="Nexa Book"/>
                        </a:defRPr>
                      </a:pPr>
                      <a:r>
                        <a:t>6</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1752397169"/>
                  </a:ext>
                </a:extLst>
              </a:tr>
              <a:tr h="831402">
                <a:tc>
                  <a:txBody>
                    <a:bodyPr/>
                    <a:lstStyle/>
                    <a:p>
                      <a:pPr algn="ctr">
                        <a:defRPr sz="800" b="1">
                          <a:latin typeface="Nexa (Headings)"/>
                        </a:defRPr>
                      </a:pPr>
                      <a:r>
                        <a:t>Soft Cheese</a:t>
                      </a:r>
                    </a:p>
                  </a:txBody>
                  <a:tcPr marL="3810" marR="3810" marT="3810" marB="0" anchor="ctr">
                    <a:noFill/>
                  </a:tcPr>
                </a:tc>
                <a:tc>
                  <a:txBody>
                    <a:bodyPr/>
                    <a:lstStyle/>
                    <a:p>
                      <a:pPr algn="ctr">
                        <a:defRPr sz="800">
                          <a:latin typeface="Nexa Book"/>
                        </a:defRPr>
                      </a:pPr>
                      <a:r>
                        <a:t>79</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3712364869"/>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573</a:t>
            </a:fld>
            <a:endParaRPr lang="en-US"/>
          </a:p>
        </p:txBody>
      </p:sp>
    </p:spTree>
    <p:extLst>
      <p:ext uri="{BB962C8B-B14F-4D97-AF65-F5344CB8AC3E}">
        <p14:creationId xmlns:p14="http://schemas.microsoft.com/office/powerpoint/2010/main" val="75513370"/>
      </p:ext>
    </p:extLst>
  </p:cSld>
  <p:clrMapOvr>
    <a:masterClrMapping/>
  </p:clrMapOvr>
</p:sld>
</file>

<file path=ppt/slides/slide5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9/9/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pPr>
              <a:defRPr sz="1200">
                <a:latin typeface="Nexa Bold (Headings)"/>
              </a:defRPr>
            </a:pPr>
            <a:r>
              <a:t>Sector fair share | Total Fromage | Boursin | Carrefour Proximite | P12M</a:t>
            </a:r>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pPr>
              <a:defRPr sz="1600">
                <a:latin typeface="Nexa Bold (Headings)"/>
              </a:defRPr>
            </a:pPr>
            <a:r>
              <a:rPr lang="en-GB" dirty="0">
                <a:highlight>
                  <a:srgbClr val="FFFF00"/>
                </a:highlight>
              </a:rPr>
              <a:t>Sector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oursin </a:t>
                      </a:r>
                    </a:p>
                    <a:p>
                      <a:pPr algn="ctr">
                        <a:defRPr sz="900" b="1">
                          <a:latin typeface="Nexa (Headings)"/>
                        </a:defRPr>
                      </a:pPr>
                      <a: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oursin </a:t>
                      </a:r>
                    </a:p>
                    <a:p>
                      <a:pPr algn="ctr">
                        <a:defRPr sz="900" b="1">
                          <a:latin typeface="Nexa (Headings)"/>
                        </a:defRPr>
                      </a:pPr>
                      <a: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oursin </a:t>
                      </a:r>
                    </a:p>
                    <a:p>
                      <a:pPr algn="ctr">
                        <a:defRPr sz="900" b="1">
                          <a:latin typeface="Nexa (Headings)"/>
                        </a:defRPr>
                      </a:pPr>
                      <a: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oursin </a:t>
                      </a:r>
                    </a:p>
                    <a:p>
                      <a:pPr algn="ctr">
                        <a:defRPr sz="900" b="1">
                          <a:latin typeface="Nexa (Headings)"/>
                        </a:defRPr>
                      </a:pPr>
                      <a: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oursin</a:t>
                      </a:r>
                    </a:p>
                    <a:p>
                      <a:pPr algn="ctr">
                        <a:defRPr sz="900" b="1">
                          <a:latin typeface="Nexa (Headings)"/>
                        </a:defRPr>
                      </a:pPr>
                      <a: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831402">
                <a:tc>
                  <a:txBody>
                    <a:bodyPr/>
                    <a:lstStyle/>
                    <a:p>
                      <a:pPr algn="ctr">
                        <a:defRPr sz="800" b="1">
                          <a:latin typeface="Nexa (Headings)"/>
                        </a:defRPr>
                      </a:pPr>
                      <a:r>
                        <a:t>Grand Total</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6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4</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21%</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22%</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4</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831402">
                <a:tc>
                  <a:txBody>
                    <a:bodyPr/>
                    <a:lstStyle/>
                    <a:p>
                      <a:pPr algn="ctr">
                        <a:defRPr sz="800" b="1">
                          <a:latin typeface="Nexa (Headings)"/>
                        </a:defRPr>
                      </a:pPr>
                      <a:r>
                        <a:t>Ingredient A Chaud</a:t>
                      </a:r>
                    </a:p>
                  </a:txBody>
                  <a:tcPr marL="3810" marR="3810" marT="3810" marB="0" anchor="ctr">
                    <a:noFill/>
                  </a:tcPr>
                </a:tc>
                <a:tc>
                  <a:txBody>
                    <a:bodyPr/>
                    <a:lstStyle/>
                    <a:p>
                      <a:pPr algn="ctr">
                        <a:defRPr sz="800">
                          <a:latin typeface="Nexa Book"/>
                        </a:defRPr>
                      </a:pPr>
                      <a:r>
                        <a:t>6</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5%</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3161381"/>
                  </a:ext>
                </a:extLst>
              </a:tr>
              <a:tr h="831402">
                <a:tc>
                  <a:txBody>
                    <a:bodyPr/>
                    <a:lstStyle/>
                    <a:p>
                      <a:pPr algn="ctr">
                        <a:defRPr sz="800" b="1">
                          <a:latin typeface="Nexa (Headings)"/>
                        </a:defRPr>
                      </a:pPr>
                      <a:r>
                        <a:t>Aperitif</a:t>
                      </a:r>
                    </a:p>
                  </a:txBody>
                  <a:tcPr marL="3810" marR="3810" marT="3810" marB="0" anchor="ctr">
                    <a:noFill/>
                  </a:tcPr>
                </a:tc>
                <a:tc>
                  <a:txBody>
                    <a:bodyPr/>
                    <a:lstStyle/>
                    <a:p>
                      <a:pPr algn="ctr">
                        <a:defRPr sz="800">
                          <a:latin typeface="Nexa Book"/>
                        </a:defRPr>
                      </a:pPr>
                      <a:r>
                        <a:t>6</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12%</a:t>
                      </a:r>
                    </a:p>
                  </a:txBody>
                  <a:tcPr marL="3810" marR="3810" marT="3810" marB="0" anchor="ctr">
                    <a:noFill/>
                  </a:tcPr>
                </a:tc>
                <a:tc>
                  <a:txBody>
                    <a:bodyPr/>
                    <a:lstStyle/>
                    <a:p>
                      <a:pPr algn="ctr">
                        <a:defRPr sz="800">
                          <a:latin typeface="Nexa Book"/>
                        </a:defRPr>
                      </a:pPr>
                      <a:r>
                        <a:t>18%</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1752397169"/>
                  </a:ext>
                </a:extLst>
              </a:tr>
              <a:tr h="831402">
                <a:tc>
                  <a:txBody>
                    <a:bodyPr/>
                    <a:lstStyle/>
                    <a:p>
                      <a:pPr algn="ctr">
                        <a:defRPr sz="800" b="1">
                          <a:latin typeface="Nexa (Headings)"/>
                        </a:defRPr>
                      </a:pPr>
                      <a:r>
                        <a:t>Soft Cheese</a:t>
                      </a:r>
                    </a:p>
                  </a:txBody>
                  <a:tcPr marL="3810" marR="3810" marT="3810" marB="0" anchor="ctr">
                    <a:noFill/>
                  </a:tcPr>
                </a:tc>
                <a:tc>
                  <a:txBody>
                    <a:bodyPr/>
                    <a:lstStyle/>
                    <a:p>
                      <a:pPr algn="ctr">
                        <a:defRPr sz="800">
                          <a:latin typeface="Nexa Book"/>
                        </a:defRPr>
                      </a:pPr>
                      <a:r>
                        <a:t>79</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3712364869"/>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574</a:t>
            </a:fld>
            <a:endParaRPr lang="en-US"/>
          </a:p>
        </p:txBody>
      </p:sp>
    </p:spTree>
    <p:extLst>
      <p:ext uri="{BB962C8B-B14F-4D97-AF65-F5344CB8AC3E}">
        <p14:creationId xmlns:p14="http://schemas.microsoft.com/office/powerpoint/2010/main" val="1088771287"/>
      </p:ext>
    </p:extLst>
  </p:cSld>
  <p:clrMapOvr>
    <a:masterClrMapping/>
  </p:clrMapOvr>
</p:sld>
</file>

<file path=ppt/slides/slide5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9/9/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pPr>
              <a:defRPr sz="1200">
                <a:latin typeface="Nexa Bold (Headings)"/>
              </a:defRPr>
            </a:pPr>
            <a:r>
              <a:t>Sector fair share | Total Fromage | La Vache Qui Rit | Intermarche Super | P12M</a:t>
            </a:r>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pPr>
              <a:defRPr sz="1600">
                <a:latin typeface="Nexa Bold (Headings)"/>
              </a:defRPr>
            </a:pPr>
            <a:r>
              <a:rPr lang="en-GB" dirty="0">
                <a:highlight>
                  <a:srgbClr val="FFFF00"/>
                </a:highlight>
              </a:rPr>
              <a:t>Sector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La Vache Qui Rit </a:t>
                      </a:r>
                    </a:p>
                    <a:p>
                      <a:pPr algn="ctr">
                        <a:defRPr sz="900" b="1">
                          <a:latin typeface="Nexa (Headings)"/>
                        </a:defRPr>
                      </a:pPr>
                      <a: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La Vache Qui Rit </a:t>
                      </a:r>
                    </a:p>
                    <a:p>
                      <a:pPr algn="ctr">
                        <a:defRPr sz="900" b="1">
                          <a:latin typeface="Nexa (Headings)"/>
                        </a:defRPr>
                      </a:pPr>
                      <a: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La Vache Qui Rit </a:t>
                      </a:r>
                    </a:p>
                    <a:p>
                      <a:pPr algn="ctr">
                        <a:defRPr sz="900" b="1">
                          <a:latin typeface="Nexa (Headings)"/>
                        </a:defRPr>
                      </a:pPr>
                      <a: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La Vache Qui Rit </a:t>
                      </a:r>
                    </a:p>
                    <a:p>
                      <a:pPr algn="ctr">
                        <a:defRPr sz="900" b="1">
                          <a:latin typeface="Nexa (Headings)"/>
                        </a:defRPr>
                      </a:pPr>
                      <a: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La Vache Qui Rit</a:t>
                      </a:r>
                    </a:p>
                    <a:p>
                      <a:pPr algn="ctr">
                        <a:defRPr sz="900" b="1">
                          <a:latin typeface="Nexa (Headings)"/>
                        </a:defRPr>
                      </a:pPr>
                      <a: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831402">
                <a:tc>
                  <a:txBody>
                    <a:bodyPr/>
                    <a:lstStyle/>
                    <a:p>
                      <a:pPr algn="ctr">
                        <a:defRPr sz="800" b="1">
                          <a:latin typeface="Nexa (Headings)"/>
                        </a:defRPr>
                      </a:pPr>
                      <a:r>
                        <a:t>Grand Total</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61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3%</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4%</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1</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2</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831402">
                <a:tc>
                  <a:txBody>
                    <a:bodyPr/>
                    <a:lstStyle/>
                    <a:p>
                      <a:pPr algn="ctr">
                        <a:defRPr sz="800" b="1">
                          <a:latin typeface="Nexa (Headings)"/>
                        </a:defRPr>
                      </a:pPr>
                      <a:r>
                        <a:t>Ingredient A Chaud</a:t>
                      </a:r>
                    </a:p>
                  </a:txBody>
                  <a:tcPr marL="3810" marR="3810" marT="3810" marB="0" anchor="ctr">
                    <a:noFill/>
                  </a:tcPr>
                </a:tc>
                <a:tc>
                  <a:txBody>
                    <a:bodyPr/>
                    <a:lstStyle/>
                    <a:p>
                      <a:pPr algn="ctr">
                        <a:defRPr sz="800">
                          <a:latin typeface="Nexa Book"/>
                        </a:defRPr>
                      </a:pPr>
                      <a:r>
                        <a:t>16</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3161381"/>
                  </a:ext>
                </a:extLst>
              </a:tr>
              <a:tr h="831402">
                <a:tc>
                  <a:txBody>
                    <a:bodyPr/>
                    <a:lstStyle/>
                    <a:p>
                      <a:pPr algn="ctr">
                        <a:defRPr sz="800" b="1">
                          <a:latin typeface="Nexa (Headings)"/>
                        </a:defRPr>
                      </a:pPr>
                      <a:r>
                        <a:t>Aperitif</a:t>
                      </a:r>
                    </a:p>
                  </a:txBody>
                  <a:tcPr marL="3810" marR="3810" marT="3810" marB="0" anchor="ctr">
                    <a:noFill/>
                  </a:tcPr>
                </a:tc>
                <a:tc>
                  <a:txBody>
                    <a:bodyPr/>
                    <a:lstStyle/>
                    <a:p>
                      <a:pPr algn="ctr">
                        <a:defRPr sz="800">
                          <a:latin typeface="Nexa Book"/>
                        </a:defRPr>
                      </a:pPr>
                      <a:r>
                        <a:t>32</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1752397169"/>
                  </a:ext>
                </a:extLst>
              </a:tr>
              <a:tr h="831402">
                <a:tc>
                  <a:txBody>
                    <a:bodyPr/>
                    <a:lstStyle/>
                    <a:p>
                      <a:pPr algn="ctr">
                        <a:defRPr sz="800" b="1">
                          <a:latin typeface="Nexa (Headings)"/>
                        </a:defRPr>
                      </a:pPr>
                      <a:r>
                        <a:t>Soft Cheese</a:t>
                      </a:r>
                    </a:p>
                  </a:txBody>
                  <a:tcPr marL="3810" marR="3810" marT="3810" marB="0" anchor="ctr">
                    <a:noFill/>
                  </a:tcPr>
                </a:tc>
                <a:tc>
                  <a:txBody>
                    <a:bodyPr/>
                    <a:lstStyle/>
                    <a:p>
                      <a:pPr algn="ctr">
                        <a:defRPr sz="800">
                          <a:latin typeface="Nexa Book"/>
                        </a:defRPr>
                      </a:pPr>
                      <a:r>
                        <a:t>267</a:t>
                      </a:r>
                    </a:p>
                  </a:txBody>
                  <a:tcPr marL="3810" marR="3810" marT="3810" marB="0" anchor="ctr">
                    <a:noFill/>
                  </a:tcPr>
                </a:tc>
                <a:tc>
                  <a:txBody>
                    <a:bodyPr/>
                    <a:lstStyle/>
                    <a:p>
                      <a:pPr algn="ctr">
                        <a:defRPr sz="800">
                          <a:latin typeface="Nexa Book"/>
                        </a:defRPr>
                      </a:pPr>
                      <a:r>
                        <a:t>9</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4%</a:t>
                      </a:r>
                    </a:p>
                  </a:txBody>
                  <a:tcPr marL="3810" marR="3810" marT="3810" marB="0" anchor="ctr">
                    <a:noFill/>
                  </a:tcPr>
                </a:tc>
                <a:tc>
                  <a:txBody>
                    <a:bodyPr/>
                    <a:lstStyle/>
                    <a:p>
                      <a:pPr algn="ctr">
                        <a:defRPr sz="800">
                          <a:latin typeface="Nexa Book"/>
                        </a:defRPr>
                      </a:pPr>
                      <a:r>
                        <a:t>11</a:t>
                      </a:r>
                    </a:p>
                  </a:txBody>
                  <a:tcPr marL="3810" marR="3810" marT="3810" marB="0" anchor="ctr">
                    <a:noFill/>
                  </a:tcPr>
                </a:tc>
                <a:tc>
                  <a:txBody>
                    <a:bodyPr/>
                    <a:lstStyle/>
                    <a:p>
                      <a:pPr algn="ctr">
                        <a:defRPr sz="800">
                          <a:latin typeface="Nexa Book"/>
                        </a:defRPr>
                      </a:pPr>
                      <a:r>
                        <a:t>2</a:t>
                      </a:r>
                    </a:p>
                  </a:txBody>
                  <a:tcPr marL="3810" marR="3810" marT="3810" marB="0" anchor="ctr">
                    <a:noFill/>
                  </a:tcPr>
                </a:tc>
                <a:extLst>
                  <a:ext uri="{0D108BD9-81ED-4DB2-BD59-A6C34878D82A}">
                    <a16:rowId xmlns:a16="http://schemas.microsoft.com/office/drawing/2014/main" val="3712364869"/>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575</a:t>
            </a:fld>
            <a:endParaRPr lang="en-US"/>
          </a:p>
        </p:txBody>
      </p:sp>
    </p:spTree>
    <p:extLst>
      <p:ext uri="{BB962C8B-B14F-4D97-AF65-F5344CB8AC3E}">
        <p14:creationId xmlns:p14="http://schemas.microsoft.com/office/powerpoint/2010/main" val="2509450565"/>
      </p:ext>
    </p:extLst>
  </p:cSld>
  <p:clrMapOvr>
    <a:masterClrMapping/>
  </p:clrMapOvr>
</p:sld>
</file>

<file path=ppt/slides/slide5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9/9/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pPr>
              <a:defRPr sz="1200">
                <a:latin typeface="Nexa Bold (Headings)"/>
              </a:defRPr>
            </a:pPr>
            <a:r>
              <a:t>Sector fair share | Total Fromage | Boursin | Intermarche Super | P12M</a:t>
            </a:r>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pPr>
              <a:defRPr sz="1600">
                <a:latin typeface="Nexa Bold (Headings)"/>
              </a:defRPr>
            </a:pPr>
            <a:r>
              <a:rPr lang="en-GB" dirty="0">
                <a:highlight>
                  <a:srgbClr val="FFFF00"/>
                </a:highlight>
              </a:rPr>
              <a:t>Sector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oursin </a:t>
                      </a:r>
                    </a:p>
                    <a:p>
                      <a:pPr algn="ctr">
                        <a:defRPr sz="900" b="1">
                          <a:latin typeface="Nexa (Headings)"/>
                        </a:defRPr>
                      </a:pPr>
                      <a: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oursin </a:t>
                      </a:r>
                    </a:p>
                    <a:p>
                      <a:pPr algn="ctr">
                        <a:defRPr sz="900" b="1">
                          <a:latin typeface="Nexa (Headings)"/>
                        </a:defRPr>
                      </a:pPr>
                      <a: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oursin </a:t>
                      </a:r>
                    </a:p>
                    <a:p>
                      <a:pPr algn="ctr">
                        <a:defRPr sz="900" b="1">
                          <a:latin typeface="Nexa (Headings)"/>
                        </a:defRPr>
                      </a:pPr>
                      <a: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oursin </a:t>
                      </a:r>
                    </a:p>
                    <a:p>
                      <a:pPr algn="ctr">
                        <a:defRPr sz="900" b="1">
                          <a:latin typeface="Nexa (Headings)"/>
                        </a:defRPr>
                      </a:pPr>
                      <a: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oursin</a:t>
                      </a:r>
                    </a:p>
                    <a:p>
                      <a:pPr algn="ctr">
                        <a:defRPr sz="900" b="1">
                          <a:latin typeface="Nexa (Headings)"/>
                        </a:defRPr>
                      </a:pPr>
                      <a: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831402">
                <a:tc>
                  <a:txBody>
                    <a:bodyPr/>
                    <a:lstStyle/>
                    <a:p>
                      <a:pPr algn="ctr">
                        <a:defRPr sz="800" b="1">
                          <a:latin typeface="Nexa (Headings)"/>
                        </a:defRPr>
                      </a:pPr>
                      <a:r>
                        <a:t>Grand Total</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61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20</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25%</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6%</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3</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831402">
                <a:tc>
                  <a:txBody>
                    <a:bodyPr/>
                    <a:lstStyle/>
                    <a:p>
                      <a:pPr algn="ctr">
                        <a:defRPr sz="800" b="1">
                          <a:latin typeface="Nexa (Headings)"/>
                        </a:defRPr>
                      </a:pPr>
                      <a:r>
                        <a:t>Ingredient A Chaud</a:t>
                      </a:r>
                    </a:p>
                  </a:txBody>
                  <a:tcPr marL="3810" marR="3810" marT="3810" marB="0" anchor="ctr">
                    <a:noFill/>
                  </a:tcPr>
                </a:tc>
                <a:tc>
                  <a:txBody>
                    <a:bodyPr/>
                    <a:lstStyle/>
                    <a:p>
                      <a:pPr algn="ctr">
                        <a:defRPr sz="800">
                          <a:latin typeface="Nexa Book"/>
                        </a:defRPr>
                      </a:pPr>
                      <a:r>
                        <a:t>16</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5%</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3161381"/>
                  </a:ext>
                </a:extLst>
              </a:tr>
              <a:tr h="831402">
                <a:tc>
                  <a:txBody>
                    <a:bodyPr/>
                    <a:lstStyle/>
                    <a:p>
                      <a:pPr algn="ctr">
                        <a:defRPr sz="800" b="1">
                          <a:latin typeface="Nexa (Headings)"/>
                        </a:defRPr>
                      </a:pPr>
                      <a:r>
                        <a:t>Aperitif</a:t>
                      </a:r>
                    </a:p>
                  </a:txBody>
                  <a:tcPr marL="3810" marR="3810" marT="3810" marB="0" anchor="ctr">
                    <a:noFill/>
                  </a:tcPr>
                </a:tc>
                <a:tc>
                  <a:txBody>
                    <a:bodyPr/>
                    <a:lstStyle/>
                    <a:p>
                      <a:pPr algn="ctr">
                        <a:defRPr sz="800">
                          <a:latin typeface="Nexa Book"/>
                        </a:defRPr>
                      </a:pPr>
                      <a:r>
                        <a:t>32</a:t>
                      </a:r>
                    </a:p>
                  </a:txBody>
                  <a:tcPr marL="3810" marR="3810" marT="3810" marB="0" anchor="ctr">
                    <a:noFill/>
                  </a:tcPr>
                </a:tc>
                <a:tc>
                  <a:txBody>
                    <a:bodyPr/>
                    <a:lstStyle/>
                    <a:p>
                      <a:pPr algn="ctr">
                        <a:defRPr sz="800">
                          <a:latin typeface="Nexa Book"/>
                        </a:defRPr>
                      </a:pPr>
                      <a:r>
                        <a:t>4</a:t>
                      </a:r>
                    </a:p>
                  </a:txBody>
                  <a:tcPr marL="3810" marR="3810" marT="3810" marB="0" anchor="ctr">
                    <a:noFill/>
                  </a:tcPr>
                </a:tc>
                <a:tc>
                  <a:txBody>
                    <a:bodyPr/>
                    <a:lstStyle/>
                    <a:p>
                      <a:pPr algn="ctr">
                        <a:defRPr sz="800">
                          <a:latin typeface="Nexa Book"/>
                        </a:defRPr>
                      </a:pPr>
                      <a:r>
                        <a:t>14%</a:t>
                      </a:r>
                    </a:p>
                  </a:txBody>
                  <a:tcPr marL="3810" marR="3810" marT="3810" marB="0" anchor="ctr">
                    <a:noFill/>
                  </a:tcPr>
                </a:tc>
                <a:tc>
                  <a:txBody>
                    <a:bodyPr/>
                    <a:lstStyle/>
                    <a:p>
                      <a:pPr algn="ctr">
                        <a:defRPr sz="800">
                          <a:latin typeface="Nexa Book"/>
                        </a:defRPr>
                      </a:pPr>
                      <a:r>
                        <a:t>11%</a:t>
                      </a:r>
                    </a:p>
                  </a:txBody>
                  <a:tcPr marL="3810" marR="3810" marT="3810" marB="0" anchor="ctr">
                    <a:noFill/>
                  </a:tcPr>
                </a:tc>
                <a:tc>
                  <a:txBody>
                    <a:bodyPr/>
                    <a:lstStyle/>
                    <a:p>
                      <a:pPr algn="ctr">
                        <a:defRPr sz="800">
                          <a:latin typeface="Nexa Book"/>
                        </a:defRPr>
                      </a:pPr>
                      <a:r>
                        <a:t>4</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1752397169"/>
                  </a:ext>
                </a:extLst>
              </a:tr>
              <a:tr h="831402">
                <a:tc>
                  <a:txBody>
                    <a:bodyPr/>
                    <a:lstStyle/>
                    <a:p>
                      <a:pPr algn="ctr">
                        <a:defRPr sz="800" b="1">
                          <a:latin typeface="Nexa (Headings)"/>
                        </a:defRPr>
                      </a:pPr>
                      <a:r>
                        <a:t>Soft Cheese</a:t>
                      </a:r>
                    </a:p>
                  </a:txBody>
                  <a:tcPr marL="3810" marR="3810" marT="3810" marB="0" anchor="ctr">
                    <a:noFill/>
                  </a:tcPr>
                </a:tc>
                <a:tc>
                  <a:txBody>
                    <a:bodyPr/>
                    <a:lstStyle/>
                    <a:p>
                      <a:pPr algn="ctr">
                        <a:defRPr sz="800">
                          <a:latin typeface="Nexa Book"/>
                        </a:defRPr>
                      </a:pPr>
                      <a:r>
                        <a:t>267</a:t>
                      </a:r>
                    </a:p>
                  </a:txBody>
                  <a:tcPr marL="3810" marR="3810" marT="3810" marB="0" anchor="ctr">
                    <a:noFill/>
                  </a:tcPr>
                </a:tc>
                <a:tc>
                  <a:txBody>
                    <a:bodyPr/>
                    <a:lstStyle/>
                    <a:p>
                      <a:pPr algn="ctr">
                        <a:defRPr sz="800">
                          <a:latin typeface="Nexa Book"/>
                        </a:defRPr>
                      </a:pPr>
                      <a:r>
                        <a:t>15</a:t>
                      </a:r>
                    </a:p>
                  </a:txBody>
                  <a:tcPr marL="3810" marR="3810" marT="3810" marB="0" anchor="ctr">
                    <a:noFill/>
                  </a:tcPr>
                </a:tc>
                <a:tc>
                  <a:txBody>
                    <a:bodyPr/>
                    <a:lstStyle/>
                    <a:p>
                      <a:pPr algn="ctr">
                        <a:defRPr sz="800">
                          <a:latin typeface="Nexa Book"/>
                        </a:defRPr>
                      </a:pPr>
                      <a:r>
                        <a:t>6%</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7</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3712364869"/>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576</a:t>
            </a:fld>
            <a:endParaRPr lang="en-US"/>
          </a:p>
        </p:txBody>
      </p:sp>
    </p:spTree>
    <p:extLst>
      <p:ext uri="{BB962C8B-B14F-4D97-AF65-F5344CB8AC3E}">
        <p14:creationId xmlns:p14="http://schemas.microsoft.com/office/powerpoint/2010/main" val="233718667"/>
      </p:ext>
    </p:extLst>
  </p:cSld>
  <p:clrMapOvr>
    <a:masterClrMapping/>
  </p:clrMapOvr>
</p:sld>
</file>

<file path=ppt/slides/slide5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9/9/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pPr>
              <a:defRPr sz="1200">
                <a:latin typeface="Nexa Bold (Headings)"/>
              </a:defRPr>
            </a:pPr>
            <a:r>
              <a:t>Sector fair share | Total Fromage | Kiri | Intermarche Hyper | P12M</a:t>
            </a:r>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pPr>
              <a:defRPr sz="1600">
                <a:latin typeface="Nexa Bold (Headings)"/>
              </a:defRPr>
            </a:pPr>
            <a:r>
              <a:rPr lang="en-GB" dirty="0">
                <a:highlight>
                  <a:srgbClr val="FFFF00"/>
                </a:highlight>
              </a:rPr>
              <a:t>Sector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Kiri </a:t>
                      </a:r>
                    </a:p>
                    <a:p>
                      <a:pPr algn="ctr">
                        <a:defRPr sz="900" b="1">
                          <a:latin typeface="Nexa (Headings)"/>
                        </a:defRPr>
                      </a:pPr>
                      <a: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Kiri </a:t>
                      </a:r>
                    </a:p>
                    <a:p>
                      <a:pPr algn="ctr">
                        <a:defRPr sz="900" b="1">
                          <a:latin typeface="Nexa (Headings)"/>
                        </a:defRPr>
                      </a:pPr>
                      <a: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Kiri </a:t>
                      </a:r>
                    </a:p>
                    <a:p>
                      <a:pPr algn="ctr">
                        <a:defRPr sz="900" b="1">
                          <a:latin typeface="Nexa (Headings)"/>
                        </a:defRPr>
                      </a:pPr>
                      <a: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Kiri </a:t>
                      </a:r>
                    </a:p>
                    <a:p>
                      <a:pPr algn="ctr">
                        <a:defRPr sz="900" b="1">
                          <a:latin typeface="Nexa (Headings)"/>
                        </a:defRPr>
                      </a:pPr>
                      <a: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Kiri</a:t>
                      </a:r>
                    </a:p>
                    <a:p>
                      <a:pPr algn="ctr">
                        <a:defRPr sz="900" b="1">
                          <a:latin typeface="Nexa (Headings)"/>
                        </a:defRPr>
                      </a:pPr>
                      <a: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831402">
                <a:tc>
                  <a:txBody>
                    <a:bodyPr/>
                    <a:lstStyle/>
                    <a:p>
                      <a:pPr algn="ctr">
                        <a:defRPr sz="800" b="1">
                          <a:latin typeface="Nexa (Headings)"/>
                        </a:defRPr>
                      </a:pPr>
                      <a:r>
                        <a:t>Grand Total</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748</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3</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4%</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3%</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0</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831402">
                <a:tc>
                  <a:txBody>
                    <a:bodyPr/>
                    <a:lstStyle/>
                    <a:p>
                      <a:pPr algn="ctr">
                        <a:defRPr sz="800" b="1">
                          <a:latin typeface="Nexa (Headings)"/>
                        </a:defRPr>
                      </a:pPr>
                      <a:r>
                        <a:t>Ingredient A Chaud</a:t>
                      </a:r>
                    </a:p>
                  </a:txBody>
                  <a:tcPr marL="3810" marR="3810" marT="3810" marB="0" anchor="ctr">
                    <a:noFill/>
                  </a:tcPr>
                </a:tc>
                <a:tc>
                  <a:txBody>
                    <a:bodyPr/>
                    <a:lstStyle/>
                    <a:p>
                      <a:pPr algn="ctr">
                        <a:defRPr sz="800">
                          <a:latin typeface="Nexa Book"/>
                        </a:defRPr>
                      </a:pPr>
                      <a:r>
                        <a:t>2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3161381"/>
                  </a:ext>
                </a:extLst>
              </a:tr>
              <a:tr h="831402">
                <a:tc>
                  <a:txBody>
                    <a:bodyPr/>
                    <a:lstStyle/>
                    <a:p>
                      <a:pPr algn="ctr">
                        <a:defRPr sz="800" b="1">
                          <a:latin typeface="Nexa (Headings)"/>
                        </a:defRPr>
                      </a:pPr>
                      <a:r>
                        <a:t>Aperitif</a:t>
                      </a:r>
                    </a:p>
                  </a:txBody>
                  <a:tcPr marL="3810" marR="3810" marT="3810" marB="0" anchor="ctr">
                    <a:noFill/>
                  </a:tcPr>
                </a:tc>
                <a:tc>
                  <a:txBody>
                    <a:bodyPr/>
                    <a:lstStyle/>
                    <a:p>
                      <a:pPr algn="ctr">
                        <a:defRPr sz="800">
                          <a:latin typeface="Nexa Book"/>
                        </a:defRPr>
                      </a:pPr>
                      <a:r>
                        <a:t>36</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1752397169"/>
                  </a:ext>
                </a:extLst>
              </a:tr>
              <a:tr h="831402">
                <a:tc>
                  <a:txBody>
                    <a:bodyPr/>
                    <a:lstStyle/>
                    <a:p>
                      <a:pPr algn="ctr">
                        <a:defRPr sz="800" b="1">
                          <a:latin typeface="Nexa (Headings)"/>
                        </a:defRPr>
                      </a:pPr>
                      <a:r>
                        <a:t>Soft Cheese</a:t>
                      </a:r>
                    </a:p>
                  </a:txBody>
                  <a:tcPr marL="3810" marR="3810" marT="3810" marB="0" anchor="ctr">
                    <a:noFill/>
                  </a:tcPr>
                </a:tc>
                <a:tc>
                  <a:txBody>
                    <a:bodyPr/>
                    <a:lstStyle/>
                    <a:p>
                      <a:pPr algn="ctr">
                        <a:defRPr sz="800">
                          <a:latin typeface="Nexa Book"/>
                        </a:defRPr>
                      </a:pPr>
                      <a:r>
                        <a:t>318</a:t>
                      </a:r>
                    </a:p>
                  </a:txBody>
                  <a:tcPr marL="3810" marR="3810" marT="3810" marB="0" anchor="ctr">
                    <a:noFill/>
                  </a:tcPr>
                </a:tc>
                <a:tc>
                  <a:txBody>
                    <a:bodyPr/>
                    <a:lstStyle/>
                    <a:p>
                      <a:pPr algn="ctr">
                        <a:defRPr sz="800">
                          <a:latin typeface="Nexa Book"/>
                        </a:defRPr>
                      </a:pPr>
                      <a:r>
                        <a:t>13</a:t>
                      </a:r>
                    </a:p>
                  </a:txBody>
                  <a:tcPr marL="3810" marR="3810" marT="3810" marB="0" anchor="ctr">
                    <a:noFill/>
                  </a:tcPr>
                </a:tc>
                <a:tc>
                  <a:txBody>
                    <a:bodyPr/>
                    <a:lstStyle/>
                    <a:p>
                      <a:pPr algn="ctr">
                        <a:defRPr sz="800">
                          <a:latin typeface="Nexa Book"/>
                        </a:defRPr>
                      </a:pPr>
                      <a:r>
                        <a:t>4%</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1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3712364869"/>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577</a:t>
            </a:fld>
            <a:endParaRPr lang="en-US"/>
          </a:p>
        </p:txBody>
      </p:sp>
    </p:spTree>
    <p:extLst>
      <p:ext uri="{BB962C8B-B14F-4D97-AF65-F5344CB8AC3E}">
        <p14:creationId xmlns:p14="http://schemas.microsoft.com/office/powerpoint/2010/main" val="1449115313"/>
      </p:ext>
    </p:extLst>
  </p:cSld>
  <p:clrMapOvr>
    <a:masterClrMapping/>
  </p:clrMapOvr>
</p:sld>
</file>

<file path=ppt/slides/slide5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9/9/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pPr>
              <a:defRPr sz="1200">
                <a:latin typeface="Nexa Bold (Headings)"/>
              </a:defRPr>
            </a:pPr>
            <a:r>
              <a:t>Sector fair share | Total Fromage | Boursin | Intermarche Hyper | P12M</a:t>
            </a:r>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pPr>
              <a:defRPr sz="1600">
                <a:latin typeface="Nexa Bold (Headings)"/>
              </a:defRPr>
            </a:pPr>
            <a:r>
              <a:rPr lang="en-GB" dirty="0">
                <a:highlight>
                  <a:srgbClr val="FFFF00"/>
                </a:highlight>
              </a:rPr>
              <a:t>Sector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oursin </a:t>
                      </a:r>
                    </a:p>
                    <a:p>
                      <a:pPr algn="ctr">
                        <a:defRPr sz="900" b="1">
                          <a:latin typeface="Nexa (Headings)"/>
                        </a:defRPr>
                      </a:pPr>
                      <a: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oursin </a:t>
                      </a:r>
                    </a:p>
                    <a:p>
                      <a:pPr algn="ctr">
                        <a:defRPr sz="900" b="1">
                          <a:latin typeface="Nexa (Headings)"/>
                        </a:defRPr>
                      </a:pPr>
                      <a: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oursin </a:t>
                      </a:r>
                    </a:p>
                    <a:p>
                      <a:pPr algn="ctr">
                        <a:defRPr sz="900" b="1">
                          <a:latin typeface="Nexa (Headings)"/>
                        </a:defRPr>
                      </a:pPr>
                      <a: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oursin </a:t>
                      </a:r>
                    </a:p>
                    <a:p>
                      <a:pPr algn="ctr">
                        <a:defRPr sz="900" b="1">
                          <a:latin typeface="Nexa (Headings)"/>
                        </a:defRPr>
                      </a:pPr>
                      <a: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oursin</a:t>
                      </a:r>
                    </a:p>
                    <a:p>
                      <a:pPr algn="ctr">
                        <a:defRPr sz="900" b="1">
                          <a:latin typeface="Nexa (Headings)"/>
                        </a:defRPr>
                      </a:pPr>
                      <a: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831402">
                <a:tc>
                  <a:txBody>
                    <a:bodyPr/>
                    <a:lstStyle/>
                    <a:p>
                      <a:pPr algn="ctr">
                        <a:defRPr sz="800" b="1">
                          <a:latin typeface="Nexa (Headings)"/>
                        </a:defRPr>
                      </a:pPr>
                      <a:r>
                        <a:t>Grand Total</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748</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23</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23%</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5%</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5</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831402">
                <a:tc>
                  <a:txBody>
                    <a:bodyPr/>
                    <a:lstStyle/>
                    <a:p>
                      <a:pPr algn="ctr">
                        <a:defRPr sz="800" b="1">
                          <a:latin typeface="Nexa (Headings)"/>
                        </a:defRPr>
                      </a:pPr>
                      <a:r>
                        <a:t>Ingredient A Chaud</a:t>
                      </a:r>
                    </a:p>
                  </a:txBody>
                  <a:tcPr marL="3810" marR="3810" marT="3810" marB="0" anchor="ctr">
                    <a:noFill/>
                  </a:tcPr>
                </a:tc>
                <a:tc>
                  <a:txBody>
                    <a:bodyPr/>
                    <a:lstStyle/>
                    <a:p>
                      <a:pPr algn="ctr">
                        <a:defRPr sz="800">
                          <a:latin typeface="Nexa Book"/>
                        </a:defRPr>
                      </a:pPr>
                      <a:r>
                        <a:t>20</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5%</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3161381"/>
                  </a:ext>
                </a:extLst>
              </a:tr>
              <a:tr h="831402">
                <a:tc>
                  <a:txBody>
                    <a:bodyPr/>
                    <a:lstStyle/>
                    <a:p>
                      <a:pPr algn="ctr">
                        <a:defRPr sz="800" b="1">
                          <a:latin typeface="Nexa (Headings)"/>
                        </a:defRPr>
                      </a:pPr>
                      <a:r>
                        <a:t>Aperitif</a:t>
                      </a:r>
                    </a:p>
                  </a:txBody>
                  <a:tcPr marL="3810" marR="3810" marT="3810" marB="0" anchor="ctr">
                    <a:noFill/>
                  </a:tcPr>
                </a:tc>
                <a:tc>
                  <a:txBody>
                    <a:bodyPr/>
                    <a:lstStyle/>
                    <a:p>
                      <a:pPr algn="ctr">
                        <a:defRPr sz="800">
                          <a:latin typeface="Nexa Book"/>
                        </a:defRPr>
                      </a:pPr>
                      <a:r>
                        <a:t>36</a:t>
                      </a:r>
                    </a:p>
                  </a:txBody>
                  <a:tcPr marL="3810" marR="3810" marT="3810" marB="0" anchor="ctr">
                    <a:noFill/>
                  </a:tcPr>
                </a:tc>
                <a:tc>
                  <a:txBody>
                    <a:bodyPr/>
                    <a:lstStyle/>
                    <a:p>
                      <a:pPr algn="ctr">
                        <a:defRPr sz="800">
                          <a:latin typeface="Nexa Book"/>
                        </a:defRPr>
                      </a:pPr>
                      <a:r>
                        <a:t>5</a:t>
                      </a:r>
                    </a:p>
                  </a:txBody>
                  <a:tcPr marL="3810" marR="3810" marT="3810" marB="0" anchor="ctr">
                    <a:noFill/>
                  </a:tcPr>
                </a:tc>
                <a:tc>
                  <a:txBody>
                    <a:bodyPr/>
                    <a:lstStyle/>
                    <a:p>
                      <a:pPr algn="ctr">
                        <a:defRPr sz="800">
                          <a:latin typeface="Nexa Book"/>
                        </a:defRPr>
                      </a:pPr>
                      <a:r>
                        <a:t>13%</a:t>
                      </a:r>
                    </a:p>
                  </a:txBody>
                  <a:tcPr marL="3810" marR="3810" marT="3810" marB="0" anchor="ctr">
                    <a:noFill/>
                  </a:tcPr>
                </a:tc>
                <a:tc>
                  <a:txBody>
                    <a:bodyPr/>
                    <a:lstStyle/>
                    <a:p>
                      <a:pPr algn="ctr">
                        <a:defRPr sz="800">
                          <a:latin typeface="Nexa Book"/>
                        </a:defRPr>
                      </a:pPr>
                      <a:r>
                        <a:t>11%</a:t>
                      </a:r>
                    </a:p>
                  </a:txBody>
                  <a:tcPr marL="3810" marR="3810" marT="3810" marB="0" anchor="ctr">
                    <a:noFill/>
                  </a:tcPr>
                </a:tc>
                <a:tc>
                  <a:txBody>
                    <a:bodyPr/>
                    <a:lstStyle/>
                    <a:p>
                      <a:pPr algn="ctr">
                        <a:defRPr sz="800">
                          <a:latin typeface="Nexa Book"/>
                        </a:defRPr>
                      </a:pPr>
                      <a:r>
                        <a:t>4</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1752397169"/>
                  </a:ext>
                </a:extLst>
              </a:tr>
              <a:tr h="831402">
                <a:tc>
                  <a:txBody>
                    <a:bodyPr/>
                    <a:lstStyle/>
                    <a:p>
                      <a:pPr algn="ctr">
                        <a:defRPr sz="800" b="1">
                          <a:latin typeface="Nexa (Headings)"/>
                        </a:defRPr>
                      </a:pPr>
                      <a:r>
                        <a:t>Soft Cheese</a:t>
                      </a:r>
                    </a:p>
                  </a:txBody>
                  <a:tcPr marL="3810" marR="3810" marT="3810" marB="0" anchor="ctr">
                    <a:noFill/>
                  </a:tcPr>
                </a:tc>
                <a:tc>
                  <a:txBody>
                    <a:bodyPr/>
                    <a:lstStyle/>
                    <a:p>
                      <a:pPr algn="ctr">
                        <a:defRPr sz="800">
                          <a:latin typeface="Nexa Book"/>
                        </a:defRPr>
                      </a:pPr>
                      <a:r>
                        <a:t>318</a:t>
                      </a:r>
                    </a:p>
                  </a:txBody>
                  <a:tcPr marL="3810" marR="3810" marT="3810" marB="0" anchor="ctr">
                    <a:noFill/>
                  </a:tcPr>
                </a:tc>
                <a:tc>
                  <a:txBody>
                    <a:bodyPr/>
                    <a:lstStyle/>
                    <a:p>
                      <a:pPr algn="ctr">
                        <a:defRPr sz="800">
                          <a:latin typeface="Nexa Book"/>
                        </a:defRPr>
                      </a:pPr>
                      <a:r>
                        <a:t>17</a:t>
                      </a:r>
                    </a:p>
                  </a:txBody>
                  <a:tcPr marL="3810" marR="3810" marT="3810" marB="0" anchor="ctr">
                    <a:noFill/>
                  </a:tcPr>
                </a:tc>
                <a:tc>
                  <a:txBody>
                    <a:bodyPr/>
                    <a:lstStyle/>
                    <a:p>
                      <a:pPr algn="ctr">
                        <a:defRPr sz="800">
                          <a:latin typeface="Nexa Book"/>
                        </a:defRPr>
                      </a:pPr>
                      <a:r>
                        <a:t>5%</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9</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3712364869"/>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578</a:t>
            </a:fld>
            <a:endParaRPr lang="en-US"/>
          </a:p>
        </p:txBody>
      </p:sp>
    </p:spTree>
    <p:extLst>
      <p:ext uri="{BB962C8B-B14F-4D97-AF65-F5344CB8AC3E}">
        <p14:creationId xmlns:p14="http://schemas.microsoft.com/office/powerpoint/2010/main" val="1007618383"/>
      </p:ext>
    </p:extLst>
  </p:cSld>
  <p:clrMapOvr>
    <a:masterClrMapping/>
  </p:clrMapOvr>
</p:sld>
</file>

<file path=ppt/slides/slide5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9/9/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pPr>
              <a:defRPr sz="1200">
                <a:latin typeface="Nexa Bold (Headings)"/>
              </a:defRPr>
            </a:pPr>
            <a:r>
              <a:t>Sector fair share | Total Fromage | La Vache Qui Rit | Intermarche Hyper | P12M</a:t>
            </a:r>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pPr>
              <a:defRPr sz="1600">
                <a:latin typeface="Nexa Bold (Headings)"/>
              </a:defRPr>
            </a:pPr>
            <a:r>
              <a:rPr lang="en-GB" dirty="0">
                <a:highlight>
                  <a:srgbClr val="FFFF00"/>
                </a:highlight>
              </a:rPr>
              <a:t>Sector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La Vache Qui Rit </a:t>
                      </a:r>
                    </a:p>
                    <a:p>
                      <a:pPr algn="ctr">
                        <a:defRPr sz="900" b="1">
                          <a:latin typeface="Nexa (Headings)"/>
                        </a:defRPr>
                      </a:pPr>
                      <a: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La Vache Qui Rit </a:t>
                      </a:r>
                    </a:p>
                    <a:p>
                      <a:pPr algn="ctr">
                        <a:defRPr sz="900" b="1">
                          <a:latin typeface="Nexa (Headings)"/>
                        </a:defRPr>
                      </a:pPr>
                      <a: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La Vache Qui Rit </a:t>
                      </a:r>
                    </a:p>
                    <a:p>
                      <a:pPr algn="ctr">
                        <a:defRPr sz="900" b="1">
                          <a:latin typeface="Nexa (Headings)"/>
                        </a:defRPr>
                      </a:pPr>
                      <a: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La Vache Qui Rit </a:t>
                      </a:r>
                    </a:p>
                    <a:p>
                      <a:pPr algn="ctr">
                        <a:defRPr sz="900" b="1">
                          <a:latin typeface="Nexa (Headings)"/>
                        </a:defRPr>
                      </a:pPr>
                      <a: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La Vache Qui Rit</a:t>
                      </a:r>
                    </a:p>
                    <a:p>
                      <a:pPr algn="ctr">
                        <a:defRPr sz="900" b="1">
                          <a:latin typeface="Nexa (Headings)"/>
                        </a:defRPr>
                      </a:pPr>
                      <a: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831402">
                <a:tc>
                  <a:txBody>
                    <a:bodyPr/>
                    <a:lstStyle/>
                    <a:p>
                      <a:pPr algn="ctr">
                        <a:defRPr sz="800" b="1">
                          <a:latin typeface="Nexa (Headings)"/>
                        </a:defRPr>
                      </a:pPr>
                      <a:r>
                        <a:t>Grand Total</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748</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3%</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4%</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4</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5</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831402">
                <a:tc>
                  <a:txBody>
                    <a:bodyPr/>
                    <a:lstStyle/>
                    <a:p>
                      <a:pPr algn="ctr">
                        <a:defRPr sz="800" b="1">
                          <a:latin typeface="Nexa (Headings)"/>
                        </a:defRPr>
                      </a:pPr>
                      <a:r>
                        <a:t>Ingredient A Chaud</a:t>
                      </a:r>
                    </a:p>
                  </a:txBody>
                  <a:tcPr marL="3810" marR="3810" marT="3810" marB="0" anchor="ctr">
                    <a:noFill/>
                  </a:tcPr>
                </a:tc>
                <a:tc>
                  <a:txBody>
                    <a:bodyPr/>
                    <a:lstStyle/>
                    <a:p>
                      <a:pPr algn="ctr">
                        <a:defRPr sz="800">
                          <a:latin typeface="Nexa Book"/>
                        </a:defRPr>
                      </a:pPr>
                      <a:r>
                        <a:t>2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3161381"/>
                  </a:ext>
                </a:extLst>
              </a:tr>
              <a:tr h="831402">
                <a:tc>
                  <a:txBody>
                    <a:bodyPr/>
                    <a:lstStyle/>
                    <a:p>
                      <a:pPr algn="ctr">
                        <a:defRPr sz="800" b="1">
                          <a:latin typeface="Nexa (Headings)"/>
                        </a:defRPr>
                      </a:pPr>
                      <a:r>
                        <a:t>Aperitif</a:t>
                      </a:r>
                    </a:p>
                  </a:txBody>
                  <a:tcPr marL="3810" marR="3810" marT="3810" marB="0" anchor="ctr">
                    <a:noFill/>
                  </a:tcPr>
                </a:tc>
                <a:tc>
                  <a:txBody>
                    <a:bodyPr/>
                    <a:lstStyle/>
                    <a:p>
                      <a:pPr algn="ctr">
                        <a:defRPr sz="800">
                          <a:latin typeface="Nexa Book"/>
                        </a:defRPr>
                      </a:pPr>
                      <a:r>
                        <a:t>36</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1752397169"/>
                  </a:ext>
                </a:extLst>
              </a:tr>
              <a:tr h="831402">
                <a:tc>
                  <a:txBody>
                    <a:bodyPr/>
                    <a:lstStyle/>
                    <a:p>
                      <a:pPr algn="ctr">
                        <a:defRPr sz="800" b="1">
                          <a:latin typeface="Nexa (Headings)"/>
                        </a:defRPr>
                      </a:pPr>
                      <a:r>
                        <a:t>Soft Cheese</a:t>
                      </a:r>
                    </a:p>
                  </a:txBody>
                  <a:tcPr marL="3810" marR="3810" marT="3810" marB="0" anchor="ctr">
                    <a:noFill/>
                  </a:tcPr>
                </a:tc>
                <a:tc>
                  <a:txBody>
                    <a:bodyPr/>
                    <a:lstStyle/>
                    <a:p>
                      <a:pPr algn="ctr">
                        <a:defRPr sz="800">
                          <a:latin typeface="Nexa Book"/>
                        </a:defRPr>
                      </a:pPr>
                      <a:r>
                        <a:t>318</a:t>
                      </a:r>
                    </a:p>
                  </a:txBody>
                  <a:tcPr marL="3810" marR="3810" marT="3810" marB="0" anchor="ctr">
                    <a:noFill/>
                  </a:tcPr>
                </a:tc>
                <a:tc>
                  <a:txBody>
                    <a:bodyPr/>
                    <a:lstStyle/>
                    <a:p>
                      <a:pPr algn="ctr">
                        <a:defRPr sz="800">
                          <a:latin typeface="Nexa Book"/>
                        </a:defRPr>
                      </a:pPr>
                      <a:r>
                        <a:t>9</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4%</a:t>
                      </a:r>
                    </a:p>
                  </a:txBody>
                  <a:tcPr marL="3810" marR="3810" marT="3810" marB="0" anchor="ctr">
                    <a:noFill/>
                  </a:tcPr>
                </a:tc>
                <a:tc>
                  <a:txBody>
                    <a:bodyPr/>
                    <a:lstStyle/>
                    <a:p>
                      <a:pPr algn="ctr">
                        <a:defRPr sz="800">
                          <a:latin typeface="Nexa Book"/>
                        </a:defRPr>
                      </a:pPr>
                      <a:r>
                        <a:t>14</a:t>
                      </a:r>
                    </a:p>
                  </a:txBody>
                  <a:tcPr marL="3810" marR="3810" marT="3810" marB="0" anchor="ctr">
                    <a:noFill/>
                  </a:tcPr>
                </a:tc>
                <a:tc>
                  <a:txBody>
                    <a:bodyPr/>
                    <a:lstStyle/>
                    <a:p>
                      <a:pPr algn="ctr">
                        <a:defRPr sz="800">
                          <a:latin typeface="Nexa Book"/>
                        </a:defRPr>
                      </a:pPr>
                      <a:r>
                        <a:t>5</a:t>
                      </a:r>
                    </a:p>
                  </a:txBody>
                  <a:tcPr marL="3810" marR="3810" marT="3810" marB="0" anchor="ctr">
                    <a:noFill/>
                  </a:tcPr>
                </a:tc>
                <a:extLst>
                  <a:ext uri="{0D108BD9-81ED-4DB2-BD59-A6C34878D82A}">
                    <a16:rowId xmlns:a16="http://schemas.microsoft.com/office/drawing/2014/main" val="3712364869"/>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579</a:t>
            </a:fld>
            <a:endParaRPr lang="en-US"/>
          </a:p>
        </p:txBody>
      </p:sp>
    </p:spTree>
    <p:extLst>
      <p:ext uri="{BB962C8B-B14F-4D97-AF65-F5344CB8AC3E}">
        <p14:creationId xmlns:p14="http://schemas.microsoft.com/office/powerpoint/2010/main" val="2373659695"/>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9/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July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Total Fromage | Intermarche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262</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89</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9</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58</a:t>
            </a:fld>
            <a:endParaRPr lang="en-US"/>
          </a:p>
        </p:txBody>
      </p:sp>
    </p:spTree>
    <p:extLst>
      <p:ext uri="{BB962C8B-B14F-4D97-AF65-F5344CB8AC3E}">
        <p14:creationId xmlns:p14="http://schemas.microsoft.com/office/powerpoint/2010/main" val="756938751"/>
      </p:ext>
    </p:extLst>
  </p:cSld>
  <p:clrMapOvr>
    <a:masterClrMapping/>
  </p:clrMapOvr>
</p:sld>
</file>

<file path=ppt/slides/slide5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9/9/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pPr>
              <a:defRPr sz="1200">
                <a:latin typeface="Nexa Bold (Headings)"/>
              </a:defRPr>
            </a:pPr>
            <a:r>
              <a:t>Sector fair share | Total Fromage | La Vache Qui Rit | Intermarche Proxi | P12M</a:t>
            </a:r>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pPr>
              <a:defRPr sz="1600">
                <a:latin typeface="Nexa Bold (Headings)"/>
              </a:defRPr>
            </a:pPr>
            <a:r>
              <a:rPr lang="en-GB" dirty="0">
                <a:highlight>
                  <a:srgbClr val="FFFF00"/>
                </a:highlight>
              </a:rPr>
              <a:t>Sector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La Vache Qui Rit </a:t>
                      </a:r>
                    </a:p>
                    <a:p>
                      <a:pPr algn="ctr">
                        <a:defRPr sz="900" b="1">
                          <a:latin typeface="Nexa (Headings)"/>
                        </a:defRPr>
                      </a:pPr>
                      <a: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La Vache Qui Rit </a:t>
                      </a:r>
                    </a:p>
                    <a:p>
                      <a:pPr algn="ctr">
                        <a:defRPr sz="900" b="1">
                          <a:latin typeface="Nexa (Headings)"/>
                        </a:defRPr>
                      </a:pPr>
                      <a: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La Vache Qui Rit </a:t>
                      </a:r>
                    </a:p>
                    <a:p>
                      <a:pPr algn="ctr">
                        <a:defRPr sz="900" b="1">
                          <a:latin typeface="Nexa (Headings)"/>
                        </a:defRPr>
                      </a:pPr>
                      <a: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La Vache Qui Rit </a:t>
                      </a:r>
                    </a:p>
                    <a:p>
                      <a:pPr algn="ctr">
                        <a:defRPr sz="900" b="1">
                          <a:latin typeface="Nexa (Headings)"/>
                        </a:defRPr>
                      </a:pPr>
                      <a: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La Vache Qui Rit</a:t>
                      </a:r>
                    </a:p>
                    <a:p>
                      <a:pPr algn="ctr">
                        <a:defRPr sz="900" b="1">
                          <a:latin typeface="Nexa (Headings)"/>
                        </a:defRPr>
                      </a:pPr>
                      <a: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831402">
                <a:tc>
                  <a:txBody>
                    <a:bodyPr/>
                    <a:lstStyle/>
                    <a:p>
                      <a:pPr algn="ctr">
                        <a:defRPr sz="800" b="1">
                          <a:latin typeface="Nexa (Headings)"/>
                        </a:defRPr>
                      </a:pPr>
                      <a:r>
                        <a:t>Grand Total</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406</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5</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3%</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3%</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5</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831402">
                <a:tc>
                  <a:txBody>
                    <a:bodyPr/>
                    <a:lstStyle/>
                    <a:p>
                      <a:pPr algn="ctr">
                        <a:defRPr sz="800" b="1">
                          <a:latin typeface="Nexa (Headings)"/>
                        </a:defRPr>
                      </a:pPr>
                      <a:r>
                        <a:t>Ingredient A Chaud</a:t>
                      </a:r>
                    </a:p>
                  </a:txBody>
                  <a:tcPr marL="3810" marR="3810" marT="3810" marB="0" anchor="ctr">
                    <a:noFill/>
                  </a:tcPr>
                </a:tc>
                <a:tc>
                  <a:txBody>
                    <a:bodyPr/>
                    <a:lstStyle/>
                    <a:p>
                      <a:pPr algn="ctr">
                        <a:defRPr sz="800">
                          <a:latin typeface="Nexa Book"/>
                        </a:defRPr>
                      </a:pPr>
                      <a:r>
                        <a:t>12</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3161381"/>
                  </a:ext>
                </a:extLst>
              </a:tr>
              <a:tr h="831402">
                <a:tc>
                  <a:txBody>
                    <a:bodyPr/>
                    <a:lstStyle/>
                    <a:p>
                      <a:pPr algn="ctr">
                        <a:defRPr sz="800" b="1">
                          <a:latin typeface="Nexa (Headings)"/>
                        </a:defRPr>
                      </a:pPr>
                      <a:r>
                        <a:t>Aperitif</a:t>
                      </a:r>
                    </a:p>
                  </a:txBody>
                  <a:tcPr marL="3810" marR="3810" marT="3810" marB="0" anchor="ctr">
                    <a:noFill/>
                  </a:tcPr>
                </a:tc>
                <a:tc>
                  <a:txBody>
                    <a:bodyPr/>
                    <a:lstStyle/>
                    <a:p>
                      <a:pPr algn="ctr">
                        <a:defRPr sz="800">
                          <a:latin typeface="Nexa Book"/>
                        </a:defRPr>
                      </a:pPr>
                      <a:r>
                        <a:t>19</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1752397169"/>
                  </a:ext>
                </a:extLst>
              </a:tr>
              <a:tr h="831402">
                <a:tc>
                  <a:txBody>
                    <a:bodyPr/>
                    <a:lstStyle/>
                    <a:p>
                      <a:pPr algn="ctr">
                        <a:defRPr sz="800" b="1">
                          <a:latin typeface="Nexa (Headings)"/>
                        </a:defRPr>
                      </a:pPr>
                      <a:r>
                        <a:t>Soft Cheese</a:t>
                      </a:r>
                    </a:p>
                  </a:txBody>
                  <a:tcPr marL="3810" marR="3810" marT="3810" marB="0" anchor="ctr">
                    <a:noFill/>
                  </a:tcPr>
                </a:tc>
                <a:tc>
                  <a:txBody>
                    <a:bodyPr/>
                    <a:lstStyle/>
                    <a:p>
                      <a:pPr algn="ctr">
                        <a:defRPr sz="800">
                          <a:latin typeface="Nexa Book"/>
                        </a:defRPr>
                      </a:pPr>
                      <a:r>
                        <a:t>178</a:t>
                      </a:r>
                    </a:p>
                  </a:txBody>
                  <a:tcPr marL="3810" marR="3810" marT="3810" marB="0" anchor="ctr">
                    <a:noFill/>
                  </a:tcPr>
                </a:tc>
                <a:tc>
                  <a:txBody>
                    <a:bodyPr/>
                    <a:lstStyle/>
                    <a:p>
                      <a:pPr algn="ctr">
                        <a:defRPr sz="800">
                          <a:latin typeface="Nexa Book"/>
                        </a:defRPr>
                      </a:pPr>
                      <a:r>
                        <a:t>5</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6</a:t>
                      </a:r>
                    </a:p>
                  </a:txBody>
                  <a:tcPr marL="3810" marR="3810" marT="3810" marB="0" anchor="ctr">
                    <a:noFill/>
                  </a:tcPr>
                </a:tc>
                <a:tc>
                  <a:txBody>
                    <a:bodyPr/>
                    <a:lstStyle/>
                    <a:p>
                      <a:pPr algn="ctr">
                        <a:defRPr sz="800">
                          <a:latin typeface="Nexa Book"/>
                        </a:defRPr>
                      </a:pPr>
                      <a:r>
                        <a:t>1</a:t>
                      </a:r>
                    </a:p>
                  </a:txBody>
                  <a:tcPr marL="3810" marR="3810" marT="3810" marB="0" anchor="ctr">
                    <a:noFill/>
                  </a:tcPr>
                </a:tc>
                <a:extLst>
                  <a:ext uri="{0D108BD9-81ED-4DB2-BD59-A6C34878D82A}">
                    <a16:rowId xmlns:a16="http://schemas.microsoft.com/office/drawing/2014/main" val="3712364869"/>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580</a:t>
            </a:fld>
            <a:endParaRPr lang="en-US"/>
          </a:p>
        </p:txBody>
      </p:sp>
    </p:spTree>
    <p:extLst>
      <p:ext uri="{BB962C8B-B14F-4D97-AF65-F5344CB8AC3E}">
        <p14:creationId xmlns:p14="http://schemas.microsoft.com/office/powerpoint/2010/main" val="2818224518"/>
      </p:ext>
    </p:extLst>
  </p:cSld>
  <p:clrMapOvr>
    <a:masterClrMapping/>
  </p:clrMapOvr>
</p:sld>
</file>

<file path=ppt/slides/slide5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9/9/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pPr>
              <a:defRPr sz="1200">
                <a:latin typeface="Nexa Bold (Headings)"/>
              </a:defRPr>
            </a:pPr>
            <a:r>
              <a:t>Sector fair share | Total Fromage | Kiri | Intermarche Proxi | P12M</a:t>
            </a:r>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pPr>
              <a:defRPr sz="1600">
                <a:latin typeface="Nexa Bold (Headings)"/>
              </a:defRPr>
            </a:pPr>
            <a:r>
              <a:rPr lang="en-GB" dirty="0">
                <a:highlight>
                  <a:srgbClr val="FFFF00"/>
                </a:highlight>
              </a:rPr>
              <a:t>Sector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Kiri </a:t>
                      </a:r>
                    </a:p>
                    <a:p>
                      <a:pPr algn="ctr">
                        <a:defRPr sz="900" b="1">
                          <a:latin typeface="Nexa (Headings)"/>
                        </a:defRPr>
                      </a:pPr>
                      <a: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Kiri </a:t>
                      </a:r>
                    </a:p>
                    <a:p>
                      <a:pPr algn="ctr">
                        <a:defRPr sz="900" b="1">
                          <a:latin typeface="Nexa (Headings)"/>
                        </a:defRPr>
                      </a:pPr>
                      <a: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Kiri </a:t>
                      </a:r>
                    </a:p>
                    <a:p>
                      <a:pPr algn="ctr">
                        <a:defRPr sz="900" b="1">
                          <a:latin typeface="Nexa (Headings)"/>
                        </a:defRPr>
                      </a:pPr>
                      <a: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Kiri </a:t>
                      </a:r>
                    </a:p>
                    <a:p>
                      <a:pPr algn="ctr">
                        <a:defRPr sz="900" b="1">
                          <a:latin typeface="Nexa (Headings)"/>
                        </a:defRPr>
                      </a:pPr>
                      <a: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Kiri</a:t>
                      </a:r>
                    </a:p>
                    <a:p>
                      <a:pPr algn="ctr">
                        <a:defRPr sz="900" b="1">
                          <a:latin typeface="Nexa (Headings)"/>
                        </a:defRPr>
                      </a:pPr>
                      <a: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831402">
                <a:tc>
                  <a:txBody>
                    <a:bodyPr/>
                    <a:lstStyle/>
                    <a:p>
                      <a:pPr algn="ctr">
                        <a:defRPr sz="800" b="1">
                          <a:latin typeface="Nexa (Headings)"/>
                        </a:defRPr>
                      </a:pPr>
                      <a:r>
                        <a:t>Grand Total</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406</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7</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4%</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3%</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5</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831402">
                <a:tc>
                  <a:txBody>
                    <a:bodyPr/>
                    <a:lstStyle/>
                    <a:p>
                      <a:pPr algn="ctr">
                        <a:defRPr sz="800" b="1">
                          <a:latin typeface="Nexa (Headings)"/>
                        </a:defRPr>
                      </a:pPr>
                      <a:r>
                        <a:t>Ingredient A Chaud</a:t>
                      </a:r>
                    </a:p>
                  </a:txBody>
                  <a:tcPr marL="3810" marR="3810" marT="3810" marB="0" anchor="ctr">
                    <a:noFill/>
                  </a:tcPr>
                </a:tc>
                <a:tc>
                  <a:txBody>
                    <a:bodyPr/>
                    <a:lstStyle/>
                    <a:p>
                      <a:pPr algn="ctr">
                        <a:defRPr sz="800">
                          <a:latin typeface="Nexa Book"/>
                        </a:defRPr>
                      </a:pPr>
                      <a:r>
                        <a:t>12</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3161381"/>
                  </a:ext>
                </a:extLst>
              </a:tr>
              <a:tr h="831402">
                <a:tc>
                  <a:txBody>
                    <a:bodyPr/>
                    <a:lstStyle/>
                    <a:p>
                      <a:pPr algn="ctr">
                        <a:defRPr sz="800" b="1">
                          <a:latin typeface="Nexa (Headings)"/>
                        </a:defRPr>
                      </a:pPr>
                      <a:r>
                        <a:t>Aperitif</a:t>
                      </a:r>
                    </a:p>
                  </a:txBody>
                  <a:tcPr marL="3810" marR="3810" marT="3810" marB="0" anchor="ctr">
                    <a:noFill/>
                  </a:tcPr>
                </a:tc>
                <a:tc>
                  <a:txBody>
                    <a:bodyPr/>
                    <a:lstStyle/>
                    <a:p>
                      <a:pPr algn="ctr">
                        <a:defRPr sz="800">
                          <a:latin typeface="Nexa Book"/>
                        </a:defRPr>
                      </a:pPr>
                      <a:r>
                        <a:t>19</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1752397169"/>
                  </a:ext>
                </a:extLst>
              </a:tr>
              <a:tr h="831402">
                <a:tc>
                  <a:txBody>
                    <a:bodyPr/>
                    <a:lstStyle/>
                    <a:p>
                      <a:pPr algn="ctr">
                        <a:defRPr sz="800" b="1">
                          <a:latin typeface="Nexa (Headings)"/>
                        </a:defRPr>
                      </a:pPr>
                      <a:r>
                        <a:t>Soft Cheese</a:t>
                      </a:r>
                    </a:p>
                  </a:txBody>
                  <a:tcPr marL="3810" marR="3810" marT="3810" marB="0" anchor="ctr">
                    <a:noFill/>
                  </a:tcPr>
                </a:tc>
                <a:tc>
                  <a:txBody>
                    <a:bodyPr/>
                    <a:lstStyle/>
                    <a:p>
                      <a:pPr algn="ctr">
                        <a:defRPr sz="800">
                          <a:latin typeface="Nexa Book"/>
                        </a:defRPr>
                      </a:pPr>
                      <a:r>
                        <a:t>178</a:t>
                      </a:r>
                    </a:p>
                  </a:txBody>
                  <a:tcPr marL="3810" marR="3810" marT="3810" marB="0" anchor="ctr">
                    <a:noFill/>
                  </a:tcPr>
                </a:tc>
                <a:tc>
                  <a:txBody>
                    <a:bodyPr/>
                    <a:lstStyle/>
                    <a:p>
                      <a:pPr algn="ctr">
                        <a:defRPr sz="800">
                          <a:latin typeface="Nexa Book"/>
                        </a:defRPr>
                      </a:pPr>
                      <a:r>
                        <a:t>7</a:t>
                      </a:r>
                    </a:p>
                  </a:txBody>
                  <a:tcPr marL="3810" marR="3810" marT="3810" marB="0" anchor="ctr">
                    <a:noFill/>
                  </a:tcPr>
                </a:tc>
                <a:tc>
                  <a:txBody>
                    <a:bodyPr/>
                    <a:lstStyle/>
                    <a:p>
                      <a:pPr algn="ctr">
                        <a:defRPr sz="800">
                          <a:latin typeface="Nexa Book"/>
                        </a:defRPr>
                      </a:pPr>
                      <a:r>
                        <a:t>4%</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5</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3712364869"/>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581</a:t>
            </a:fld>
            <a:endParaRPr lang="en-US"/>
          </a:p>
        </p:txBody>
      </p:sp>
    </p:spTree>
    <p:extLst>
      <p:ext uri="{BB962C8B-B14F-4D97-AF65-F5344CB8AC3E}">
        <p14:creationId xmlns:p14="http://schemas.microsoft.com/office/powerpoint/2010/main" val="1978208712"/>
      </p:ext>
    </p:extLst>
  </p:cSld>
  <p:clrMapOvr>
    <a:masterClrMapping/>
  </p:clrMapOvr>
</p:sld>
</file>

<file path=ppt/slides/slide5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9/9/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pPr>
              <a:defRPr sz="1200">
                <a:latin typeface="Nexa Bold (Headings)"/>
              </a:defRPr>
            </a:pPr>
            <a:r>
              <a:t>Sector fair share | Total Fromage | Boursin | Intermarche Proxi | P12M</a:t>
            </a:r>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pPr>
              <a:defRPr sz="1600">
                <a:latin typeface="Nexa Bold (Headings)"/>
              </a:defRPr>
            </a:pPr>
            <a:r>
              <a:rPr lang="en-GB" dirty="0">
                <a:highlight>
                  <a:srgbClr val="FFFF00"/>
                </a:highlight>
              </a:rPr>
              <a:t>Sector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oursin </a:t>
                      </a:r>
                    </a:p>
                    <a:p>
                      <a:pPr algn="ctr">
                        <a:defRPr sz="900" b="1">
                          <a:latin typeface="Nexa (Headings)"/>
                        </a:defRPr>
                      </a:pPr>
                      <a: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oursin </a:t>
                      </a:r>
                    </a:p>
                    <a:p>
                      <a:pPr algn="ctr">
                        <a:defRPr sz="900" b="1">
                          <a:latin typeface="Nexa (Headings)"/>
                        </a:defRPr>
                      </a:pPr>
                      <a: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oursin </a:t>
                      </a:r>
                    </a:p>
                    <a:p>
                      <a:pPr algn="ctr">
                        <a:defRPr sz="900" b="1">
                          <a:latin typeface="Nexa (Headings)"/>
                        </a:defRPr>
                      </a:pPr>
                      <a: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oursin </a:t>
                      </a:r>
                    </a:p>
                    <a:p>
                      <a:pPr algn="ctr">
                        <a:defRPr sz="900" b="1">
                          <a:latin typeface="Nexa (Headings)"/>
                        </a:defRPr>
                      </a:pPr>
                      <a: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oursin</a:t>
                      </a:r>
                    </a:p>
                    <a:p>
                      <a:pPr algn="ctr">
                        <a:defRPr sz="900" b="1">
                          <a:latin typeface="Nexa (Headings)"/>
                        </a:defRPr>
                      </a:pPr>
                      <a: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831402">
                <a:tc>
                  <a:txBody>
                    <a:bodyPr/>
                    <a:lstStyle/>
                    <a:p>
                      <a:pPr algn="ctr">
                        <a:defRPr sz="800" b="1">
                          <a:latin typeface="Nexa (Headings)"/>
                        </a:defRPr>
                      </a:pPr>
                      <a:r>
                        <a:t>Grand Total</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406</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4</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25%</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8%</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0</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831402">
                <a:tc>
                  <a:txBody>
                    <a:bodyPr/>
                    <a:lstStyle/>
                    <a:p>
                      <a:pPr algn="ctr">
                        <a:defRPr sz="800" b="1">
                          <a:latin typeface="Nexa (Headings)"/>
                        </a:defRPr>
                      </a:pPr>
                      <a:r>
                        <a:t>Ingredient A Chaud</a:t>
                      </a:r>
                    </a:p>
                  </a:txBody>
                  <a:tcPr marL="3810" marR="3810" marT="3810" marB="0" anchor="ctr">
                    <a:noFill/>
                  </a:tcPr>
                </a:tc>
                <a:tc>
                  <a:txBody>
                    <a:bodyPr/>
                    <a:lstStyle/>
                    <a:p>
                      <a:pPr algn="ctr">
                        <a:defRPr sz="800">
                          <a:latin typeface="Nexa Book"/>
                        </a:defRPr>
                      </a:pPr>
                      <a:r>
                        <a:t>12</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6%</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3161381"/>
                  </a:ext>
                </a:extLst>
              </a:tr>
              <a:tr h="831402">
                <a:tc>
                  <a:txBody>
                    <a:bodyPr/>
                    <a:lstStyle/>
                    <a:p>
                      <a:pPr algn="ctr">
                        <a:defRPr sz="800" b="1">
                          <a:latin typeface="Nexa (Headings)"/>
                        </a:defRPr>
                      </a:pPr>
                      <a:r>
                        <a:t>Aperitif</a:t>
                      </a:r>
                    </a:p>
                  </a:txBody>
                  <a:tcPr marL="3810" marR="3810" marT="3810" marB="0" anchor="ctr">
                    <a:noFill/>
                  </a:tcPr>
                </a:tc>
                <a:tc>
                  <a:txBody>
                    <a:bodyPr/>
                    <a:lstStyle/>
                    <a:p>
                      <a:pPr algn="ctr">
                        <a:defRPr sz="800">
                          <a:latin typeface="Nexa Book"/>
                        </a:defRPr>
                      </a:pPr>
                      <a:r>
                        <a:t>19</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13%</a:t>
                      </a:r>
                    </a:p>
                  </a:txBody>
                  <a:tcPr marL="3810" marR="3810" marT="3810" marB="0" anchor="ctr">
                    <a:noFill/>
                  </a:tcPr>
                </a:tc>
                <a:tc>
                  <a:txBody>
                    <a:bodyPr/>
                    <a:lstStyle/>
                    <a:p>
                      <a:pPr algn="ctr">
                        <a:defRPr sz="800">
                          <a:latin typeface="Nexa Book"/>
                        </a:defRPr>
                      </a:pPr>
                      <a:r>
                        <a:t>13%</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1752397169"/>
                  </a:ext>
                </a:extLst>
              </a:tr>
              <a:tr h="831402">
                <a:tc>
                  <a:txBody>
                    <a:bodyPr/>
                    <a:lstStyle/>
                    <a:p>
                      <a:pPr algn="ctr">
                        <a:defRPr sz="800" b="1">
                          <a:latin typeface="Nexa (Headings)"/>
                        </a:defRPr>
                      </a:pPr>
                      <a:r>
                        <a:t>Soft Cheese</a:t>
                      </a:r>
                    </a:p>
                  </a:txBody>
                  <a:tcPr marL="3810" marR="3810" marT="3810" marB="0" anchor="ctr">
                    <a:noFill/>
                  </a:tcPr>
                </a:tc>
                <a:tc>
                  <a:txBody>
                    <a:bodyPr/>
                    <a:lstStyle/>
                    <a:p>
                      <a:pPr algn="ctr">
                        <a:defRPr sz="800">
                          <a:latin typeface="Nexa Book"/>
                        </a:defRPr>
                      </a:pPr>
                      <a:r>
                        <a:t>178</a:t>
                      </a:r>
                    </a:p>
                  </a:txBody>
                  <a:tcPr marL="3810" marR="3810" marT="3810" marB="0" anchor="ctr">
                    <a:noFill/>
                  </a:tcPr>
                </a:tc>
                <a:tc>
                  <a:txBody>
                    <a:bodyPr/>
                    <a:lstStyle/>
                    <a:p>
                      <a:pPr algn="ctr">
                        <a:defRPr sz="800">
                          <a:latin typeface="Nexa Book"/>
                        </a:defRPr>
                      </a:pPr>
                      <a:r>
                        <a:t>11</a:t>
                      </a:r>
                    </a:p>
                  </a:txBody>
                  <a:tcPr marL="3810" marR="3810" marT="3810" marB="0" anchor="ctr">
                    <a:noFill/>
                  </a:tcPr>
                </a:tc>
                <a:tc>
                  <a:txBody>
                    <a:bodyPr/>
                    <a:lstStyle/>
                    <a:p>
                      <a:pPr algn="ctr">
                        <a:defRPr sz="800">
                          <a:latin typeface="Nexa Book"/>
                        </a:defRPr>
                      </a:pPr>
                      <a:r>
                        <a:t>6%</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5</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3712364869"/>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582</a:t>
            </a:fld>
            <a:endParaRPr lang="en-US"/>
          </a:p>
        </p:txBody>
      </p:sp>
    </p:spTree>
    <p:extLst>
      <p:ext uri="{BB962C8B-B14F-4D97-AF65-F5344CB8AC3E}">
        <p14:creationId xmlns:p14="http://schemas.microsoft.com/office/powerpoint/2010/main" val="1223076438"/>
      </p:ext>
    </p:extLst>
  </p:cSld>
  <p:clrMapOvr>
    <a:masterClrMapping/>
  </p:clrMapOvr>
</p:sld>
</file>

<file path=ppt/slides/slide5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9/9/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pPr>
              <a:defRPr sz="1200">
                <a:latin typeface="Nexa Bold (Headings)"/>
              </a:defRPr>
            </a:pPr>
            <a:r>
              <a:t>Segment fair share | Total Fromage | Bel | Carrefour Proximite | P12M</a:t>
            </a:r>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pPr>
              <a:defRPr sz="1600">
                <a:latin typeface="Nexa Bold (Headings)"/>
              </a:defRPr>
            </a:pPr>
            <a:r>
              <a:rPr lang="en-GB" dirty="0">
                <a:highlight>
                  <a:srgbClr val="FFFF00"/>
                </a:highlight>
              </a:rPr>
              <a:t>Segment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el </a:t>
                      </a:r>
                    </a:p>
                    <a:p>
                      <a:pPr algn="ctr">
                        <a:defRPr sz="900" b="1">
                          <a:latin typeface="Nexa (Headings)"/>
                        </a:defRPr>
                      </a:pPr>
                      <a: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el </a:t>
                      </a:r>
                    </a:p>
                    <a:p>
                      <a:pPr algn="ctr">
                        <a:defRPr sz="900" b="1">
                          <a:latin typeface="Nexa (Headings)"/>
                        </a:defRPr>
                      </a:pPr>
                      <a: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el </a:t>
                      </a:r>
                    </a:p>
                    <a:p>
                      <a:pPr algn="ctr">
                        <a:defRPr sz="900" b="1">
                          <a:latin typeface="Nexa (Headings)"/>
                        </a:defRPr>
                      </a:pPr>
                      <a: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el </a:t>
                      </a:r>
                    </a:p>
                    <a:p>
                      <a:pPr algn="ctr">
                        <a:defRPr sz="900" b="1">
                          <a:latin typeface="Nexa (Headings)"/>
                        </a:defRPr>
                      </a:pPr>
                      <a: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el</a:t>
                      </a:r>
                    </a:p>
                    <a:p>
                      <a:pPr algn="ctr">
                        <a:defRPr sz="900" b="1">
                          <a:latin typeface="Nexa (Headings)"/>
                        </a:defRPr>
                      </a:pPr>
                      <a: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831402">
                <a:tc>
                  <a:txBody>
                    <a:bodyPr/>
                    <a:lstStyle/>
                    <a:p>
                      <a:pPr algn="ctr">
                        <a:defRPr sz="800" b="1">
                          <a:latin typeface="Nexa (Headings)"/>
                        </a:defRPr>
                      </a:pPr>
                      <a:r>
                        <a:t>Grand Total</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6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5</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84%</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73%</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4</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831402">
                <a:tc>
                  <a:txBody>
                    <a:bodyPr/>
                    <a:lstStyle/>
                    <a:p>
                      <a:pPr algn="ctr">
                        <a:defRPr sz="800" b="1">
                          <a:latin typeface="Nexa (Headings)"/>
                        </a:defRPr>
                      </a:pPr>
                      <a:r>
                        <a:t>Frais A Tartiner</a:t>
                      </a:r>
                    </a:p>
                  </a:txBody>
                  <a:tcPr marL="3810" marR="3810" marT="3810" marB="0" anchor="ctr">
                    <a:noFill/>
                  </a:tcPr>
                </a:tc>
                <a:tc>
                  <a:txBody>
                    <a:bodyPr/>
                    <a:lstStyle/>
                    <a:p>
                      <a:pPr algn="ctr">
                        <a:defRPr sz="800">
                          <a:latin typeface="Nexa Book"/>
                        </a:defRPr>
                      </a:pPr>
                      <a:r>
                        <a:t>14</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18%</a:t>
                      </a:r>
                    </a:p>
                  </a:txBody>
                  <a:tcPr marL="3810" marR="3810" marT="3810" marB="0" anchor="ctr">
                    <a:noFill/>
                  </a:tcPr>
                </a:tc>
                <a:tc>
                  <a:txBody>
                    <a:bodyPr/>
                    <a:lstStyle/>
                    <a:p>
                      <a:pPr algn="ctr">
                        <a:defRPr sz="800">
                          <a:latin typeface="Nexa Book"/>
                        </a:defRPr>
                      </a:pPr>
                      <a:r>
                        <a:t>12%</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3161381"/>
                  </a:ext>
                </a:extLst>
              </a:tr>
              <a:tr h="831402">
                <a:tc>
                  <a:txBody>
                    <a:bodyPr/>
                    <a:lstStyle/>
                    <a:p>
                      <a:pPr algn="ctr">
                        <a:defRPr sz="800" b="1">
                          <a:latin typeface="Nexa (Headings)"/>
                        </a:defRPr>
                      </a:pPr>
                      <a:r>
                        <a:t>Enfant</a:t>
                      </a:r>
                    </a:p>
                  </a:txBody>
                  <a:tcPr marL="3810" marR="3810" marT="3810" marB="0" anchor="ctr">
                    <a:noFill/>
                  </a:tcPr>
                </a:tc>
                <a:tc>
                  <a:txBody>
                    <a:bodyPr/>
                    <a:lstStyle/>
                    <a:p>
                      <a:pPr algn="ctr">
                        <a:defRPr sz="800">
                          <a:latin typeface="Nexa Book"/>
                        </a:defRPr>
                      </a:pPr>
                      <a:r>
                        <a:t>8</a:t>
                      </a:r>
                    </a:p>
                  </a:txBody>
                  <a:tcPr marL="3810" marR="3810" marT="3810" marB="0" anchor="ctr">
                    <a:noFill/>
                  </a:tcPr>
                </a:tc>
                <a:tc>
                  <a:txBody>
                    <a:bodyPr/>
                    <a:lstStyle/>
                    <a:p>
                      <a:pPr algn="ctr">
                        <a:defRPr sz="800">
                          <a:latin typeface="Nexa Book"/>
                        </a:defRPr>
                      </a:pPr>
                      <a:r>
                        <a:t>5</a:t>
                      </a:r>
                    </a:p>
                  </a:txBody>
                  <a:tcPr marL="3810" marR="3810" marT="3810" marB="0" anchor="ctr">
                    <a:noFill/>
                  </a:tcPr>
                </a:tc>
                <a:tc>
                  <a:txBody>
                    <a:bodyPr/>
                    <a:lstStyle/>
                    <a:p>
                      <a:pPr algn="ctr">
                        <a:defRPr sz="800">
                          <a:latin typeface="Nexa Book"/>
                        </a:defRPr>
                      </a:pPr>
                      <a:r>
                        <a:t>68%</a:t>
                      </a:r>
                    </a:p>
                  </a:txBody>
                  <a:tcPr marL="3810" marR="3810" marT="3810" marB="0" anchor="ctr">
                    <a:noFill/>
                  </a:tcPr>
                </a:tc>
                <a:tc>
                  <a:txBody>
                    <a:bodyPr/>
                    <a:lstStyle/>
                    <a:p>
                      <a:pPr algn="ctr">
                        <a:defRPr sz="800">
                          <a:latin typeface="Nexa Book"/>
                        </a:defRPr>
                      </a:pPr>
                      <a:r>
                        <a:t>81%</a:t>
                      </a:r>
                    </a:p>
                  </a:txBody>
                  <a:tcPr marL="3810" marR="3810" marT="3810" marB="0" anchor="ctr">
                    <a:noFill/>
                  </a:tcPr>
                </a:tc>
                <a:tc>
                  <a:txBody>
                    <a:bodyPr/>
                    <a:lstStyle/>
                    <a:p>
                      <a:pPr algn="ctr">
                        <a:defRPr sz="800">
                          <a:latin typeface="Nexa Book"/>
                        </a:defRPr>
                      </a:pPr>
                      <a:r>
                        <a:t>7</a:t>
                      </a:r>
                    </a:p>
                  </a:txBody>
                  <a:tcPr marL="3810" marR="3810" marT="3810" marB="0" anchor="ctr">
                    <a:noFill/>
                  </a:tcPr>
                </a:tc>
                <a:tc>
                  <a:txBody>
                    <a:bodyPr/>
                    <a:lstStyle/>
                    <a:p>
                      <a:pPr algn="ctr">
                        <a:defRPr sz="800">
                          <a:latin typeface="Nexa Book"/>
                        </a:defRPr>
                      </a:pPr>
                      <a:r>
                        <a:t>2</a:t>
                      </a:r>
                    </a:p>
                  </a:txBody>
                  <a:tcPr marL="3810" marR="3810" marT="3810" marB="0" anchor="ctr">
                    <a:noFill/>
                  </a:tcPr>
                </a:tc>
                <a:extLst>
                  <a:ext uri="{0D108BD9-81ED-4DB2-BD59-A6C34878D82A}">
                    <a16:rowId xmlns:a16="http://schemas.microsoft.com/office/drawing/2014/main" val="1752397169"/>
                  </a:ext>
                </a:extLst>
              </a:tr>
              <a:tr h="831402">
                <a:tc>
                  <a:txBody>
                    <a:bodyPr/>
                    <a:lstStyle/>
                    <a:p>
                      <a:pPr algn="ctr">
                        <a:defRPr sz="800" b="1">
                          <a:latin typeface="Nexa (Headings)"/>
                        </a:defRPr>
                      </a:pPr>
                      <a:r>
                        <a:t>Salade</a:t>
                      </a:r>
                    </a:p>
                  </a:txBody>
                  <a:tcPr marL="3810" marR="3810" marT="3810" marB="0" anchor="ctr">
                    <a:noFill/>
                  </a:tcPr>
                </a:tc>
                <a:tc>
                  <a:txBody>
                    <a:bodyPr/>
                    <a:lstStyle/>
                    <a:p>
                      <a:pPr algn="ctr">
                        <a:defRPr sz="800">
                          <a:latin typeface="Nexa Book"/>
                        </a:defRPr>
                      </a:pPr>
                      <a:r>
                        <a:t>17</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5%</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3712364869"/>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583</a:t>
            </a:fld>
            <a:endParaRPr lang="en-US"/>
          </a:p>
        </p:txBody>
      </p:sp>
    </p:spTree>
    <p:extLst>
      <p:ext uri="{BB962C8B-B14F-4D97-AF65-F5344CB8AC3E}">
        <p14:creationId xmlns:p14="http://schemas.microsoft.com/office/powerpoint/2010/main" val="2149049765"/>
      </p:ext>
    </p:extLst>
  </p:cSld>
  <p:clrMapOvr>
    <a:masterClrMapping/>
  </p:clrMapOvr>
</p:sld>
</file>

<file path=ppt/slides/slide5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9/9/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pPr>
              <a:defRPr sz="1200">
                <a:latin typeface="Nexa Bold (Headings)"/>
              </a:defRPr>
            </a:pPr>
            <a:r>
              <a:t>Segment fair share | Total Fromage | Bel | Intermarche Super | P12M</a:t>
            </a:r>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pPr>
              <a:defRPr sz="1600">
                <a:latin typeface="Nexa Bold (Headings)"/>
              </a:defRPr>
            </a:pPr>
            <a:r>
              <a:rPr lang="en-GB" dirty="0">
                <a:highlight>
                  <a:srgbClr val="FFFF00"/>
                </a:highlight>
              </a:rPr>
              <a:t>Segment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el </a:t>
                      </a:r>
                    </a:p>
                    <a:p>
                      <a:pPr algn="ctr">
                        <a:defRPr sz="900" b="1">
                          <a:latin typeface="Nexa (Headings)"/>
                        </a:defRPr>
                      </a:pPr>
                      <a: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el </a:t>
                      </a:r>
                    </a:p>
                    <a:p>
                      <a:pPr algn="ctr">
                        <a:defRPr sz="900" b="1">
                          <a:latin typeface="Nexa (Headings)"/>
                        </a:defRPr>
                      </a:pPr>
                      <a: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el </a:t>
                      </a:r>
                    </a:p>
                    <a:p>
                      <a:pPr algn="ctr">
                        <a:defRPr sz="900" b="1">
                          <a:latin typeface="Nexa (Headings)"/>
                        </a:defRPr>
                      </a:pPr>
                      <a: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el </a:t>
                      </a:r>
                    </a:p>
                    <a:p>
                      <a:pPr algn="ctr">
                        <a:defRPr sz="900" b="1">
                          <a:latin typeface="Nexa (Headings)"/>
                        </a:defRPr>
                      </a:pPr>
                      <a: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el</a:t>
                      </a:r>
                    </a:p>
                    <a:p>
                      <a:pPr algn="ctr">
                        <a:defRPr sz="900" b="1">
                          <a:latin typeface="Nexa (Headings)"/>
                        </a:defRPr>
                      </a:pPr>
                      <a: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831402">
                <a:tc>
                  <a:txBody>
                    <a:bodyPr/>
                    <a:lstStyle/>
                    <a:p>
                      <a:pPr algn="ctr">
                        <a:defRPr sz="800" b="1">
                          <a:latin typeface="Nexa (Headings)"/>
                        </a:defRPr>
                      </a:pPr>
                      <a:r>
                        <a:t>Grand Total</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61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67</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216%</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200%</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62</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831402">
                <a:tc>
                  <a:txBody>
                    <a:bodyPr/>
                    <a:lstStyle/>
                    <a:p>
                      <a:pPr algn="ctr">
                        <a:defRPr sz="800" b="1">
                          <a:latin typeface="Nexa (Headings)"/>
                        </a:defRPr>
                      </a:pPr>
                      <a:r>
                        <a:t>Frais A Tartiner</a:t>
                      </a:r>
                    </a:p>
                  </a:txBody>
                  <a:tcPr marL="3810" marR="3810" marT="3810" marB="0" anchor="ctr">
                    <a:noFill/>
                  </a:tcPr>
                </a:tc>
                <a:tc>
                  <a:txBody>
                    <a:bodyPr/>
                    <a:lstStyle/>
                    <a:p>
                      <a:pPr algn="ctr">
                        <a:defRPr sz="800">
                          <a:latin typeface="Nexa Book"/>
                        </a:defRPr>
                      </a:pPr>
                      <a:r>
                        <a:t>53</a:t>
                      </a:r>
                    </a:p>
                  </a:txBody>
                  <a:tcPr marL="3810" marR="3810" marT="3810" marB="0" anchor="ctr">
                    <a:noFill/>
                  </a:tcPr>
                </a:tc>
                <a:tc>
                  <a:txBody>
                    <a:bodyPr/>
                    <a:lstStyle/>
                    <a:p>
                      <a:pPr algn="ctr">
                        <a:defRPr sz="800">
                          <a:latin typeface="Nexa Book"/>
                        </a:defRPr>
                      </a:pPr>
                      <a:r>
                        <a:t>13</a:t>
                      </a:r>
                    </a:p>
                  </a:txBody>
                  <a:tcPr marL="3810" marR="3810" marT="3810" marB="0" anchor="ctr">
                    <a:noFill/>
                  </a:tcPr>
                </a:tc>
                <a:tc>
                  <a:txBody>
                    <a:bodyPr/>
                    <a:lstStyle/>
                    <a:p>
                      <a:pPr algn="ctr">
                        <a:defRPr sz="800">
                          <a:latin typeface="Nexa Book"/>
                        </a:defRPr>
                      </a:pPr>
                      <a:r>
                        <a:t>24%</a:t>
                      </a:r>
                    </a:p>
                  </a:txBody>
                  <a:tcPr marL="3810" marR="3810" marT="3810" marB="0" anchor="ctr">
                    <a:noFill/>
                  </a:tcPr>
                </a:tc>
                <a:tc>
                  <a:txBody>
                    <a:bodyPr/>
                    <a:lstStyle/>
                    <a:p>
                      <a:pPr algn="ctr">
                        <a:defRPr sz="800">
                          <a:latin typeface="Nexa Book"/>
                        </a:defRPr>
                      </a:pPr>
                      <a:r>
                        <a:t>16%</a:t>
                      </a:r>
                    </a:p>
                  </a:txBody>
                  <a:tcPr marL="3810" marR="3810" marT="3810" marB="0" anchor="ctr">
                    <a:noFill/>
                  </a:tcPr>
                </a:tc>
                <a:tc>
                  <a:txBody>
                    <a:bodyPr/>
                    <a:lstStyle/>
                    <a:p>
                      <a:pPr algn="ctr">
                        <a:defRPr sz="800">
                          <a:latin typeface="Nexa Book"/>
                        </a:defRPr>
                      </a:pPr>
                      <a:r>
                        <a:t>8</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3161381"/>
                  </a:ext>
                </a:extLst>
              </a:tr>
              <a:tr h="831402">
                <a:tc>
                  <a:txBody>
                    <a:bodyPr/>
                    <a:lstStyle/>
                    <a:p>
                      <a:pPr algn="ctr">
                        <a:defRPr sz="800" b="1">
                          <a:latin typeface="Nexa (Headings)"/>
                        </a:defRPr>
                      </a:pPr>
                      <a:r>
                        <a:t>Enfant</a:t>
                      </a:r>
                    </a:p>
                  </a:txBody>
                  <a:tcPr marL="3810" marR="3810" marT="3810" marB="0" anchor="ctr">
                    <a:noFill/>
                  </a:tcPr>
                </a:tc>
                <a:tc>
                  <a:txBody>
                    <a:bodyPr/>
                    <a:lstStyle/>
                    <a:p>
                      <a:pPr algn="ctr">
                        <a:defRPr sz="800">
                          <a:latin typeface="Nexa Book"/>
                        </a:defRPr>
                      </a:pPr>
                      <a:r>
                        <a:t>34</a:t>
                      </a:r>
                    </a:p>
                  </a:txBody>
                  <a:tcPr marL="3810" marR="3810" marT="3810" marB="0" anchor="ctr">
                    <a:noFill/>
                  </a:tcPr>
                </a:tc>
                <a:tc>
                  <a:txBody>
                    <a:bodyPr/>
                    <a:lstStyle/>
                    <a:p>
                      <a:pPr algn="ctr">
                        <a:defRPr sz="800">
                          <a:latin typeface="Nexa Book"/>
                        </a:defRPr>
                      </a:pPr>
                      <a:r>
                        <a:t>26</a:t>
                      </a:r>
                    </a:p>
                  </a:txBody>
                  <a:tcPr marL="3810" marR="3810" marT="3810" marB="0" anchor="ctr">
                    <a:noFill/>
                  </a:tcPr>
                </a:tc>
                <a:tc>
                  <a:txBody>
                    <a:bodyPr/>
                    <a:lstStyle/>
                    <a:p>
                      <a:pPr algn="ctr">
                        <a:defRPr sz="800">
                          <a:latin typeface="Nexa Book"/>
                        </a:defRPr>
                      </a:pPr>
                      <a:r>
                        <a:t>77%</a:t>
                      </a:r>
                    </a:p>
                  </a:txBody>
                  <a:tcPr marL="3810" marR="3810" marT="3810" marB="0" anchor="ctr">
                    <a:noFill/>
                  </a:tcPr>
                </a:tc>
                <a:tc>
                  <a:txBody>
                    <a:bodyPr/>
                    <a:lstStyle/>
                    <a:p>
                      <a:pPr algn="ctr">
                        <a:defRPr sz="800">
                          <a:latin typeface="Nexa Book"/>
                        </a:defRPr>
                      </a:pPr>
                      <a:r>
                        <a:t>77%</a:t>
                      </a:r>
                    </a:p>
                  </a:txBody>
                  <a:tcPr marL="3810" marR="3810" marT="3810" marB="0" anchor="ctr">
                    <a:noFill/>
                  </a:tcPr>
                </a:tc>
                <a:tc>
                  <a:txBody>
                    <a:bodyPr/>
                    <a:lstStyle/>
                    <a:p>
                      <a:pPr algn="ctr">
                        <a:defRPr sz="800">
                          <a:latin typeface="Nexa Book"/>
                        </a:defRPr>
                      </a:pPr>
                      <a:r>
                        <a:t>26</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1752397169"/>
                  </a:ext>
                </a:extLst>
              </a:tr>
              <a:tr h="831402">
                <a:tc>
                  <a:txBody>
                    <a:bodyPr/>
                    <a:lstStyle/>
                    <a:p>
                      <a:pPr algn="ctr">
                        <a:defRPr sz="800" b="1">
                          <a:latin typeface="Nexa (Headings)"/>
                        </a:defRPr>
                      </a:pPr>
                      <a:r>
                        <a:t>Salade</a:t>
                      </a:r>
                    </a:p>
                  </a:txBody>
                  <a:tcPr marL="3810" marR="3810" marT="3810" marB="0" anchor="ctr">
                    <a:noFill/>
                  </a:tcPr>
                </a:tc>
                <a:tc>
                  <a:txBody>
                    <a:bodyPr/>
                    <a:lstStyle/>
                    <a:p>
                      <a:pPr algn="ctr">
                        <a:defRPr sz="800">
                          <a:latin typeface="Nexa Book"/>
                        </a:defRPr>
                      </a:pPr>
                      <a:r>
                        <a:t>59</a:t>
                      </a:r>
                    </a:p>
                  </a:txBody>
                  <a:tcPr marL="3810" marR="3810" marT="3810" marB="0" anchor="ctr">
                    <a:noFill/>
                  </a:tcPr>
                </a:tc>
                <a:tc>
                  <a:txBody>
                    <a:bodyPr/>
                    <a:lstStyle/>
                    <a:p>
                      <a:pPr algn="ctr">
                        <a:defRPr sz="800">
                          <a:latin typeface="Nexa Book"/>
                        </a:defRPr>
                      </a:pPr>
                      <a:r>
                        <a:t>5</a:t>
                      </a:r>
                    </a:p>
                  </a:txBody>
                  <a:tcPr marL="3810" marR="3810" marT="3810" marB="0" anchor="ctr">
                    <a:noFill/>
                  </a:tcPr>
                </a:tc>
                <a:tc>
                  <a:txBody>
                    <a:bodyPr/>
                    <a:lstStyle/>
                    <a:p>
                      <a:pPr algn="ctr">
                        <a:defRPr sz="800">
                          <a:latin typeface="Nexa Book"/>
                        </a:defRPr>
                      </a:pPr>
                      <a:r>
                        <a:t>8%</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3712364869"/>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584</a:t>
            </a:fld>
            <a:endParaRPr lang="en-US"/>
          </a:p>
        </p:txBody>
      </p:sp>
    </p:spTree>
    <p:extLst>
      <p:ext uri="{BB962C8B-B14F-4D97-AF65-F5344CB8AC3E}">
        <p14:creationId xmlns:p14="http://schemas.microsoft.com/office/powerpoint/2010/main" val="3826168467"/>
      </p:ext>
    </p:extLst>
  </p:cSld>
  <p:clrMapOvr>
    <a:masterClrMapping/>
  </p:clrMapOvr>
</p:sld>
</file>

<file path=ppt/slides/slide5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9/9/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pPr>
              <a:defRPr sz="1200">
                <a:latin typeface="Nexa Bold (Headings)"/>
              </a:defRPr>
            </a:pPr>
            <a:r>
              <a:t>Segment fair share | Total Fromage | Bel | Intermarche Hyper | P12M</a:t>
            </a:r>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pPr>
              <a:defRPr sz="1600">
                <a:latin typeface="Nexa Bold (Headings)"/>
              </a:defRPr>
            </a:pPr>
            <a:r>
              <a:rPr lang="en-GB" dirty="0">
                <a:highlight>
                  <a:srgbClr val="FFFF00"/>
                </a:highlight>
              </a:rPr>
              <a:t>Segment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el </a:t>
                      </a:r>
                    </a:p>
                    <a:p>
                      <a:pPr algn="ctr">
                        <a:defRPr sz="900" b="1">
                          <a:latin typeface="Nexa (Headings)"/>
                        </a:defRPr>
                      </a:pPr>
                      <a: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el </a:t>
                      </a:r>
                    </a:p>
                    <a:p>
                      <a:pPr algn="ctr">
                        <a:defRPr sz="900" b="1">
                          <a:latin typeface="Nexa (Headings)"/>
                        </a:defRPr>
                      </a:pPr>
                      <a: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el </a:t>
                      </a:r>
                    </a:p>
                    <a:p>
                      <a:pPr algn="ctr">
                        <a:defRPr sz="900" b="1">
                          <a:latin typeface="Nexa (Headings)"/>
                        </a:defRPr>
                      </a:pPr>
                      <a: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el </a:t>
                      </a:r>
                    </a:p>
                    <a:p>
                      <a:pPr algn="ctr">
                        <a:defRPr sz="900" b="1">
                          <a:latin typeface="Nexa (Headings)"/>
                        </a:defRPr>
                      </a:pPr>
                      <a: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el</a:t>
                      </a:r>
                    </a:p>
                    <a:p>
                      <a:pPr algn="ctr">
                        <a:defRPr sz="900" b="1">
                          <a:latin typeface="Nexa (Headings)"/>
                        </a:defRPr>
                      </a:pPr>
                      <a: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831402">
                <a:tc>
                  <a:txBody>
                    <a:bodyPr/>
                    <a:lstStyle/>
                    <a:p>
                      <a:pPr algn="ctr">
                        <a:defRPr sz="800" b="1">
                          <a:latin typeface="Nexa (Headings)"/>
                        </a:defRPr>
                      </a:pPr>
                      <a:r>
                        <a:t>Grand Total</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748</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78</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21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213%</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76</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831402">
                <a:tc>
                  <a:txBody>
                    <a:bodyPr/>
                    <a:lstStyle/>
                    <a:p>
                      <a:pPr algn="ctr">
                        <a:defRPr sz="800" b="1">
                          <a:latin typeface="Nexa (Headings)"/>
                        </a:defRPr>
                      </a:pPr>
                      <a:r>
                        <a:t>Frais A Tartiner</a:t>
                      </a:r>
                    </a:p>
                  </a:txBody>
                  <a:tcPr marL="3810" marR="3810" marT="3810" marB="0" anchor="ctr">
                    <a:noFill/>
                  </a:tcPr>
                </a:tc>
                <a:tc>
                  <a:txBody>
                    <a:bodyPr/>
                    <a:lstStyle/>
                    <a:p>
                      <a:pPr algn="ctr">
                        <a:defRPr sz="800">
                          <a:latin typeface="Nexa Book"/>
                        </a:defRPr>
                      </a:pPr>
                      <a:r>
                        <a:t>62</a:t>
                      </a:r>
                    </a:p>
                  </a:txBody>
                  <a:tcPr marL="3810" marR="3810" marT="3810" marB="0" anchor="ctr">
                    <a:noFill/>
                  </a:tcPr>
                </a:tc>
                <a:tc>
                  <a:txBody>
                    <a:bodyPr/>
                    <a:lstStyle/>
                    <a:p>
                      <a:pPr algn="ctr">
                        <a:defRPr sz="800">
                          <a:latin typeface="Nexa Book"/>
                        </a:defRPr>
                      </a:pPr>
                      <a:r>
                        <a:t>14</a:t>
                      </a:r>
                    </a:p>
                  </a:txBody>
                  <a:tcPr marL="3810" marR="3810" marT="3810" marB="0" anchor="ctr">
                    <a:noFill/>
                  </a:tcPr>
                </a:tc>
                <a:tc>
                  <a:txBody>
                    <a:bodyPr/>
                    <a:lstStyle/>
                    <a:p>
                      <a:pPr algn="ctr">
                        <a:defRPr sz="800">
                          <a:latin typeface="Nexa Book"/>
                        </a:defRPr>
                      </a:pPr>
                      <a:r>
                        <a:t>23%</a:t>
                      </a:r>
                    </a:p>
                  </a:txBody>
                  <a:tcPr marL="3810" marR="3810" marT="3810" marB="0" anchor="ctr">
                    <a:noFill/>
                  </a:tcPr>
                </a:tc>
                <a:tc>
                  <a:txBody>
                    <a:bodyPr/>
                    <a:lstStyle/>
                    <a:p>
                      <a:pPr algn="ctr">
                        <a:defRPr sz="800">
                          <a:latin typeface="Nexa Book"/>
                        </a:defRPr>
                      </a:pPr>
                      <a:r>
                        <a:t>16%</a:t>
                      </a:r>
                    </a:p>
                  </a:txBody>
                  <a:tcPr marL="3810" marR="3810" marT="3810" marB="0" anchor="ctr">
                    <a:noFill/>
                  </a:tcPr>
                </a:tc>
                <a:tc>
                  <a:txBody>
                    <a:bodyPr/>
                    <a:lstStyle/>
                    <a:p>
                      <a:pPr algn="ctr">
                        <a:defRPr sz="800">
                          <a:latin typeface="Nexa Book"/>
                        </a:defRPr>
                      </a:pPr>
                      <a:r>
                        <a:t>1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3161381"/>
                  </a:ext>
                </a:extLst>
              </a:tr>
              <a:tr h="831402">
                <a:tc>
                  <a:txBody>
                    <a:bodyPr/>
                    <a:lstStyle/>
                    <a:p>
                      <a:pPr algn="ctr">
                        <a:defRPr sz="800" b="1">
                          <a:latin typeface="Nexa (Headings)"/>
                        </a:defRPr>
                      </a:pPr>
                      <a:r>
                        <a:t>Enfant</a:t>
                      </a:r>
                    </a:p>
                  </a:txBody>
                  <a:tcPr marL="3810" marR="3810" marT="3810" marB="0" anchor="ctr">
                    <a:noFill/>
                  </a:tcPr>
                </a:tc>
                <a:tc>
                  <a:txBody>
                    <a:bodyPr/>
                    <a:lstStyle/>
                    <a:p>
                      <a:pPr algn="ctr">
                        <a:defRPr sz="800">
                          <a:latin typeface="Nexa Book"/>
                        </a:defRPr>
                      </a:pPr>
                      <a:r>
                        <a:t>39</a:t>
                      </a:r>
                    </a:p>
                  </a:txBody>
                  <a:tcPr marL="3810" marR="3810" marT="3810" marB="0" anchor="ctr">
                    <a:noFill/>
                  </a:tcPr>
                </a:tc>
                <a:tc>
                  <a:txBody>
                    <a:bodyPr/>
                    <a:lstStyle/>
                    <a:p>
                      <a:pPr algn="ctr">
                        <a:defRPr sz="800">
                          <a:latin typeface="Nexa Book"/>
                        </a:defRPr>
                      </a:pPr>
                      <a:r>
                        <a:t>30</a:t>
                      </a:r>
                    </a:p>
                  </a:txBody>
                  <a:tcPr marL="3810" marR="3810" marT="3810" marB="0" anchor="ctr">
                    <a:noFill/>
                  </a:tcPr>
                </a:tc>
                <a:tc>
                  <a:txBody>
                    <a:bodyPr/>
                    <a:lstStyle/>
                    <a:p>
                      <a:pPr algn="ctr">
                        <a:defRPr sz="800">
                          <a:latin typeface="Nexa Book"/>
                        </a:defRPr>
                      </a:pPr>
                      <a:r>
                        <a:t>77%</a:t>
                      </a:r>
                    </a:p>
                  </a:txBody>
                  <a:tcPr marL="3810" marR="3810" marT="3810" marB="0" anchor="ctr">
                    <a:noFill/>
                  </a:tcPr>
                </a:tc>
                <a:tc>
                  <a:txBody>
                    <a:bodyPr/>
                    <a:lstStyle/>
                    <a:p>
                      <a:pPr algn="ctr">
                        <a:defRPr sz="800">
                          <a:latin typeface="Nexa Book"/>
                        </a:defRPr>
                      </a:pPr>
                      <a:r>
                        <a:t>78%</a:t>
                      </a:r>
                    </a:p>
                  </a:txBody>
                  <a:tcPr marL="3810" marR="3810" marT="3810" marB="0" anchor="ctr">
                    <a:noFill/>
                  </a:tcPr>
                </a:tc>
                <a:tc>
                  <a:txBody>
                    <a:bodyPr/>
                    <a:lstStyle/>
                    <a:p>
                      <a:pPr algn="ctr">
                        <a:defRPr sz="800">
                          <a:latin typeface="Nexa Book"/>
                        </a:defRPr>
                      </a:pPr>
                      <a:r>
                        <a:t>3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1752397169"/>
                  </a:ext>
                </a:extLst>
              </a:tr>
              <a:tr h="831402">
                <a:tc>
                  <a:txBody>
                    <a:bodyPr/>
                    <a:lstStyle/>
                    <a:p>
                      <a:pPr algn="ctr">
                        <a:defRPr sz="800" b="1">
                          <a:latin typeface="Nexa (Headings)"/>
                        </a:defRPr>
                      </a:pPr>
                      <a:r>
                        <a:t>Salade</a:t>
                      </a:r>
                    </a:p>
                  </a:txBody>
                  <a:tcPr marL="3810" marR="3810" marT="3810" marB="0" anchor="ctr">
                    <a:noFill/>
                  </a:tcPr>
                </a:tc>
                <a:tc>
                  <a:txBody>
                    <a:bodyPr/>
                    <a:lstStyle/>
                    <a:p>
                      <a:pPr algn="ctr">
                        <a:defRPr sz="800">
                          <a:latin typeface="Nexa Book"/>
                        </a:defRPr>
                      </a:pPr>
                      <a:r>
                        <a:t>74</a:t>
                      </a:r>
                    </a:p>
                  </a:txBody>
                  <a:tcPr marL="3810" marR="3810" marT="3810" marB="0" anchor="ctr">
                    <a:noFill/>
                  </a:tcPr>
                </a:tc>
                <a:tc>
                  <a:txBody>
                    <a:bodyPr/>
                    <a:lstStyle/>
                    <a:p>
                      <a:pPr algn="ctr">
                        <a:defRPr sz="800">
                          <a:latin typeface="Nexa Book"/>
                        </a:defRPr>
                      </a:pPr>
                      <a:r>
                        <a:t>6</a:t>
                      </a:r>
                    </a:p>
                  </a:txBody>
                  <a:tcPr marL="3810" marR="3810" marT="3810" marB="0" anchor="ctr">
                    <a:noFill/>
                  </a:tcPr>
                </a:tc>
                <a:tc>
                  <a:txBody>
                    <a:bodyPr/>
                    <a:lstStyle/>
                    <a:p>
                      <a:pPr algn="ctr">
                        <a:defRPr sz="800">
                          <a:latin typeface="Nexa Book"/>
                        </a:defRPr>
                      </a:pPr>
                      <a:r>
                        <a:t>8%</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3712364869"/>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585</a:t>
            </a:fld>
            <a:endParaRPr lang="en-US"/>
          </a:p>
        </p:txBody>
      </p:sp>
    </p:spTree>
    <p:extLst>
      <p:ext uri="{BB962C8B-B14F-4D97-AF65-F5344CB8AC3E}">
        <p14:creationId xmlns:p14="http://schemas.microsoft.com/office/powerpoint/2010/main" val="3338043896"/>
      </p:ext>
    </p:extLst>
  </p:cSld>
  <p:clrMapOvr>
    <a:masterClrMapping/>
  </p:clrMapOvr>
</p:sld>
</file>

<file path=ppt/slides/slide5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9/9/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pPr>
              <a:defRPr sz="1200">
                <a:latin typeface="Nexa Bold (Headings)"/>
              </a:defRPr>
            </a:pPr>
            <a:r>
              <a:t>Segment fair share | Total Fromage | Bel | Carrefour Supermarket + Drive | P12M</a:t>
            </a:r>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pPr>
              <a:defRPr sz="1600">
                <a:latin typeface="Nexa Bold (Headings)"/>
              </a:defRPr>
            </a:pPr>
            <a:r>
              <a:rPr lang="en-GB" dirty="0">
                <a:highlight>
                  <a:srgbClr val="FFFF00"/>
                </a:highlight>
              </a:rPr>
              <a:t>Segment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el </a:t>
                      </a:r>
                    </a:p>
                    <a:p>
                      <a:pPr algn="ctr">
                        <a:defRPr sz="900" b="1">
                          <a:latin typeface="Nexa (Headings)"/>
                        </a:defRPr>
                      </a:pPr>
                      <a: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el </a:t>
                      </a:r>
                    </a:p>
                    <a:p>
                      <a:pPr algn="ctr">
                        <a:defRPr sz="900" b="1">
                          <a:latin typeface="Nexa (Headings)"/>
                        </a:defRPr>
                      </a:pPr>
                      <a: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el </a:t>
                      </a:r>
                    </a:p>
                    <a:p>
                      <a:pPr algn="ctr">
                        <a:defRPr sz="900" b="1">
                          <a:latin typeface="Nexa (Headings)"/>
                        </a:defRPr>
                      </a:pPr>
                      <a: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el </a:t>
                      </a:r>
                    </a:p>
                    <a:p>
                      <a:pPr algn="ctr">
                        <a:defRPr sz="900" b="1">
                          <a:latin typeface="Nexa (Headings)"/>
                        </a:defRPr>
                      </a:pPr>
                      <a: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el</a:t>
                      </a:r>
                    </a:p>
                    <a:p>
                      <a:pPr algn="ctr">
                        <a:defRPr sz="900" b="1">
                          <a:latin typeface="Nexa (Headings)"/>
                        </a:defRPr>
                      </a:pPr>
                      <a: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831402">
                <a:tc>
                  <a:txBody>
                    <a:bodyPr/>
                    <a:lstStyle/>
                    <a:p>
                      <a:pPr algn="ctr">
                        <a:defRPr sz="800" b="1">
                          <a:latin typeface="Nexa (Headings)"/>
                        </a:defRPr>
                      </a:pPr>
                      <a:r>
                        <a:t>Grand Total</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677</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60</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207%</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20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61</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831402">
                <a:tc>
                  <a:txBody>
                    <a:bodyPr/>
                    <a:lstStyle/>
                    <a:p>
                      <a:pPr algn="ctr">
                        <a:defRPr sz="800" b="1">
                          <a:latin typeface="Nexa (Headings)"/>
                        </a:defRPr>
                      </a:pPr>
                      <a:r>
                        <a:t>Frais A Tartiner</a:t>
                      </a:r>
                    </a:p>
                  </a:txBody>
                  <a:tcPr marL="3810" marR="3810" marT="3810" marB="0" anchor="ctr">
                    <a:noFill/>
                  </a:tcPr>
                </a:tc>
                <a:tc>
                  <a:txBody>
                    <a:bodyPr/>
                    <a:lstStyle/>
                    <a:p>
                      <a:pPr algn="ctr">
                        <a:defRPr sz="800">
                          <a:latin typeface="Nexa Book"/>
                        </a:defRPr>
                      </a:pPr>
                      <a:r>
                        <a:t>55</a:t>
                      </a:r>
                    </a:p>
                  </a:txBody>
                  <a:tcPr marL="3810" marR="3810" marT="3810" marB="0" anchor="ctr">
                    <a:noFill/>
                  </a:tcPr>
                </a:tc>
                <a:tc>
                  <a:txBody>
                    <a:bodyPr/>
                    <a:lstStyle/>
                    <a:p>
                      <a:pPr algn="ctr">
                        <a:defRPr sz="800">
                          <a:latin typeface="Nexa Book"/>
                        </a:defRPr>
                      </a:pPr>
                      <a:r>
                        <a:t>10</a:t>
                      </a:r>
                    </a:p>
                  </a:txBody>
                  <a:tcPr marL="3810" marR="3810" marT="3810" marB="0" anchor="ctr">
                    <a:noFill/>
                  </a:tcPr>
                </a:tc>
                <a:tc>
                  <a:txBody>
                    <a:bodyPr/>
                    <a:lstStyle/>
                    <a:p>
                      <a:pPr algn="ctr">
                        <a:defRPr sz="800">
                          <a:latin typeface="Nexa Book"/>
                        </a:defRPr>
                      </a:pPr>
                      <a:r>
                        <a:t>18%</a:t>
                      </a:r>
                    </a:p>
                  </a:txBody>
                  <a:tcPr marL="3810" marR="3810" marT="3810" marB="0" anchor="ctr">
                    <a:noFill/>
                  </a:tcPr>
                </a:tc>
                <a:tc>
                  <a:txBody>
                    <a:bodyPr/>
                    <a:lstStyle/>
                    <a:p>
                      <a:pPr algn="ctr">
                        <a:defRPr sz="800">
                          <a:latin typeface="Nexa Book"/>
                        </a:defRPr>
                      </a:pPr>
                      <a:r>
                        <a:t>12%</a:t>
                      </a:r>
                    </a:p>
                  </a:txBody>
                  <a:tcPr marL="3810" marR="3810" marT="3810" marB="0" anchor="ctr">
                    <a:noFill/>
                  </a:tcPr>
                </a:tc>
                <a:tc>
                  <a:txBody>
                    <a:bodyPr/>
                    <a:lstStyle/>
                    <a:p>
                      <a:pPr algn="ctr">
                        <a:defRPr sz="800">
                          <a:latin typeface="Nexa Book"/>
                        </a:defRPr>
                      </a:pPr>
                      <a:r>
                        <a:t>7</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3161381"/>
                  </a:ext>
                </a:extLst>
              </a:tr>
              <a:tr h="831402">
                <a:tc>
                  <a:txBody>
                    <a:bodyPr/>
                    <a:lstStyle/>
                    <a:p>
                      <a:pPr algn="ctr">
                        <a:defRPr sz="800" b="1">
                          <a:latin typeface="Nexa (Headings)"/>
                        </a:defRPr>
                      </a:pPr>
                      <a:r>
                        <a:t>Enfant</a:t>
                      </a:r>
                    </a:p>
                  </a:txBody>
                  <a:tcPr marL="3810" marR="3810" marT="3810" marB="0" anchor="ctr">
                    <a:noFill/>
                  </a:tcPr>
                </a:tc>
                <a:tc>
                  <a:txBody>
                    <a:bodyPr/>
                    <a:lstStyle/>
                    <a:p>
                      <a:pPr algn="ctr">
                        <a:defRPr sz="800">
                          <a:latin typeface="Nexa Book"/>
                        </a:defRPr>
                      </a:pPr>
                      <a:r>
                        <a:t>32</a:t>
                      </a:r>
                    </a:p>
                  </a:txBody>
                  <a:tcPr marL="3810" marR="3810" marT="3810" marB="0" anchor="ctr">
                    <a:noFill/>
                  </a:tcPr>
                </a:tc>
                <a:tc>
                  <a:txBody>
                    <a:bodyPr/>
                    <a:lstStyle/>
                    <a:p>
                      <a:pPr algn="ctr">
                        <a:defRPr sz="800">
                          <a:latin typeface="Nexa Book"/>
                        </a:defRPr>
                      </a:pPr>
                      <a:r>
                        <a:t>21</a:t>
                      </a:r>
                    </a:p>
                  </a:txBody>
                  <a:tcPr marL="3810" marR="3810" marT="3810" marB="0" anchor="ctr">
                    <a:noFill/>
                  </a:tcPr>
                </a:tc>
                <a:tc>
                  <a:txBody>
                    <a:bodyPr/>
                    <a:lstStyle/>
                    <a:p>
                      <a:pPr algn="ctr">
                        <a:defRPr sz="800">
                          <a:latin typeface="Nexa Book"/>
                        </a:defRPr>
                      </a:pPr>
                      <a:r>
                        <a:t>65%</a:t>
                      </a:r>
                    </a:p>
                  </a:txBody>
                  <a:tcPr marL="3810" marR="3810" marT="3810" marB="0" anchor="ctr">
                    <a:noFill/>
                  </a:tcPr>
                </a:tc>
                <a:tc>
                  <a:txBody>
                    <a:bodyPr/>
                    <a:lstStyle/>
                    <a:p>
                      <a:pPr algn="ctr">
                        <a:defRPr sz="800">
                          <a:latin typeface="Nexa Book"/>
                        </a:defRPr>
                      </a:pPr>
                      <a:r>
                        <a:t>75%</a:t>
                      </a:r>
                    </a:p>
                  </a:txBody>
                  <a:tcPr marL="3810" marR="3810" marT="3810" marB="0" anchor="ctr">
                    <a:noFill/>
                  </a:tcPr>
                </a:tc>
                <a:tc>
                  <a:txBody>
                    <a:bodyPr/>
                    <a:lstStyle/>
                    <a:p>
                      <a:pPr algn="ctr">
                        <a:defRPr sz="800">
                          <a:latin typeface="Nexa Book"/>
                        </a:defRPr>
                      </a:pPr>
                      <a:r>
                        <a:t>24</a:t>
                      </a:r>
                    </a:p>
                  </a:txBody>
                  <a:tcPr marL="3810" marR="3810" marT="3810" marB="0" anchor="ctr">
                    <a:noFill/>
                  </a:tcPr>
                </a:tc>
                <a:tc>
                  <a:txBody>
                    <a:bodyPr/>
                    <a:lstStyle/>
                    <a:p>
                      <a:pPr algn="ctr">
                        <a:defRPr sz="800">
                          <a:latin typeface="Nexa Book"/>
                        </a:defRPr>
                      </a:pPr>
                      <a:r>
                        <a:t>3</a:t>
                      </a:r>
                    </a:p>
                  </a:txBody>
                  <a:tcPr marL="3810" marR="3810" marT="3810" marB="0" anchor="ctr">
                    <a:noFill/>
                  </a:tcPr>
                </a:tc>
                <a:extLst>
                  <a:ext uri="{0D108BD9-81ED-4DB2-BD59-A6C34878D82A}">
                    <a16:rowId xmlns:a16="http://schemas.microsoft.com/office/drawing/2014/main" val="1752397169"/>
                  </a:ext>
                </a:extLst>
              </a:tr>
              <a:tr h="831402">
                <a:tc>
                  <a:txBody>
                    <a:bodyPr/>
                    <a:lstStyle/>
                    <a:p>
                      <a:pPr algn="ctr">
                        <a:defRPr sz="800" b="1">
                          <a:latin typeface="Nexa (Headings)"/>
                        </a:defRPr>
                      </a:pPr>
                      <a:r>
                        <a:t>Salade</a:t>
                      </a:r>
                    </a:p>
                  </a:txBody>
                  <a:tcPr marL="3810" marR="3810" marT="3810" marB="0" anchor="ctr">
                    <a:noFill/>
                  </a:tcPr>
                </a:tc>
                <a:tc>
                  <a:txBody>
                    <a:bodyPr/>
                    <a:lstStyle/>
                    <a:p>
                      <a:pPr algn="ctr">
                        <a:defRPr sz="800">
                          <a:latin typeface="Nexa Book"/>
                        </a:defRPr>
                      </a:pPr>
                      <a:r>
                        <a:t>90</a:t>
                      </a:r>
                    </a:p>
                  </a:txBody>
                  <a:tcPr marL="3810" marR="3810" marT="3810" marB="0" anchor="ctr">
                    <a:noFill/>
                  </a:tcPr>
                </a:tc>
                <a:tc>
                  <a:txBody>
                    <a:bodyPr/>
                    <a:lstStyle/>
                    <a:p>
                      <a:pPr algn="ctr">
                        <a:defRPr sz="800">
                          <a:latin typeface="Nexa Book"/>
                        </a:defRPr>
                      </a:pPr>
                      <a:r>
                        <a:t>5</a:t>
                      </a:r>
                    </a:p>
                  </a:txBody>
                  <a:tcPr marL="3810" marR="3810" marT="3810" marB="0" anchor="ctr">
                    <a:noFill/>
                  </a:tcPr>
                </a:tc>
                <a:tc>
                  <a:txBody>
                    <a:bodyPr/>
                    <a:lstStyle/>
                    <a:p>
                      <a:pPr algn="ctr">
                        <a:defRPr sz="800">
                          <a:latin typeface="Nexa Book"/>
                        </a:defRPr>
                      </a:pPr>
                      <a:r>
                        <a:t>6%</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3712364869"/>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586</a:t>
            </a:fld>
            <a:endParaRPr lang="en-US"/>
          </a:p>
        </p:txBody>
      </p:sp>
    </p:spTree>
    <p:extLst>
      <p:ext uri="{BB962C8B-B14F-4D97-AF65-F5344CB8AC3E}">
        <p14:creationId xmlns:p14="http://schemas.microsoft.com/office/powerpoint/2010/main" val="3450368435"/>
      </p:ext>
    </p:extLst>
  </p:cSld>
  <p:clrMapOvr>
    <a:masterClrMapping/>
  </p:clrMapOvr>
</p:sld>
</file>

<file path=ppt/slides/slide5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9/9/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pPr>
              <a:defRPr sz="1200">
                <a:latin typeface="Nexa Bold (Headings)"/>
              </a:defRPr>
            </a:pPr>
            <a:r>
              <a:t>Segment fair share | Total Fromage | Bel | Carrefour Hyper + Drive | P12M</a:t>
            </a:r>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pPr>
              <a:defRPr sz="1600">
                <a:latin typeface="Nexa Bold (Headings)"/>
              </a:defRPr>
            </a:pPr>
            <a:r>
              <a:rPr lang="en-GB" dirty="0">
                <a:highlight>
                  <a:srgbClr val="FFFF00"/>
                </a:highlight>
              </a:rPr>
              <a:t>Segment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el </a:t>
                      </a:r>
                    </a:p>
                    <a:p>
                      <a:pPr algn="ctr">
                        <a:defRPr sz="900" b="1">
                          <a:latin typeface="Nexa (Headings)"/>
                        </a:defRPr>
                      </a:pPr>
                      <a: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el </a:t>
                      </a:r>
                    </a:p>
                    <a:p>
                      <a:pPr algn="ctr">
                        <a:defRPr sz="900" b="1">
                          <a:latin typeface="Nexa (Headings)"/>
                        </a:defRPr>
                      </a:pPr>
                      <a: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el </a:t>
                      </a:r>
                    </a:p>
                    <a:p>
                      <a:pPr algn="ctr">
                        <a:defRPr sz="900" b="1">
                          <a:latin typeface="Nexa (Headings)"/>
                        </a:defRPr>
                      </a:pPr>
                      <a: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el </a:t>
                      </a:r>
                    </a:p>
                    <a:p>
                      <a:pPr algn="ctr">
                        <a:defRPr sz="900" b="1">
                          <a:latin typeface="Nexa (Headings)"/>
                        </a:defRPr>
                      </a:pPr>
                      <a: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el</a:t>
                      </a:r>
                    </a:p>
                    <a:p>
                      <a:pPr algn="ctr">
                        <a:defRPr sz="900" b="1">
                          <a:latin typeface="Nexa (Headings)"/>
                        </a:defRPr>
                      </a:pPr>
                      <a: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831402">
                <a:tc>
                  <a:txBody>
                    <a:bodyPr/>
                    <a:lstStyle/>
                    <a:p>
                      <a:pPr algn="ctr">
                        <a:defRPr sz="800" b="1">
                          <a:latin typeface="Nexa (Headings)"/>
                        </a:defRPr>
                      </a:pPr>
                      <a:r>
                        <a:t>Grand Total</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175</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95</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96%</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218%</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06</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1</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831402">
                <a:tc>
                  <a:txBody>
                    <a:bodyPr/>
                    <a:lstStyle/>
                    <a:p>
                      <a:pPr algn="ctr">
                        <a:defRPr sz="800" b="1">
                          <a:latin typeface="Nexa (Headings)"/>
                        </a:defRPr>
                      </a:pPr>
                      <a:r>
                        <a:t>Frais A Tartiner</a:t>
                      </a:r>
                    </a:p>
                  </a:txBody>
                  <a:tcPr marL="3810" marR="3810" marT="3810" marB="0" anchor="ctr">
                    <a:noFill/>
                  </a:tcPr>
                </a:tc>
                <a:tc>
                  <a:txBody>
                    <a:bodyPr/>
                    <a:lstStyle/>
                    <a:p>
                      <a:pPr algn="ctr">
                        <a:defRPr sz="800">
                          <a:latin typeface="Nexa Book"/>
                        </a:defRPr>
                      </a:pPr>
                      <a:r>
                        <a:t>90</a:t>
                      </a:r>
                    </a:p>
                  </a:txBody>
                  <a:tcPr marL="3810" marR="3810" marT="3810" marB="0" anchor="ctr">
                    <a:noFill/>
                  </a:tcPr>
                </a:tc>
                <a:tc>
                  <a:txBody>
                    <a:bodyPr/>
                    <a:lstStyle/>
                    <a:p>
                      <a:pPr algn="ctr">
                        <a:defRPr sz="800">
                          <a:latin typeface="Nexa Book"/>
                        </a:defRPr>
                      </a:pPr>
                      <a:r>
                        <a:t>16</a:t>
                      </a:r>
                    </a:p>
                  </a:txBody>
                  <a:tcPr marL="3810" marR="3810" marT="3810" marB="0" anchor="ctr">
                    <a:noFill/>
                  </a:tcPr>
                </a:tc>
                <a:tc>
                  <a:txBody>
                    <a:bodyPr/>
                    <a:lstStyle/>
                    <a:p>
                      <a:pPr algn="ctr">
                        <a:defRPr sz="800">
                          <a:latin typeface="Nexa Book"/>
                        </a:defRPr>
                      </a:pPr>
                      <a:r>
                        <a:t>18%</a:t>
                      </a:r>
                    </a:p>
                  </a:txBody>
                  <a:tcPr marL="3810" marR="3810" marT="3810" marB="0" anchor="ctr">
                    <a:noFill/>
                  </a:tcPr>
                </a:tc>
                <a:tc>
                  <a:txBody>
                    <a:bodyPr/>
                    <a:lstStyle/>
                    <a:p>
                      <a:pPr algn="ctr">
                        <a:defRPr sz="800">
                          <a:latin typeface="Nexa Book"/>
                        </a:defRPr>
                      </a:pPr>
                      <a:r>
                        <a:t>12%</a:t>
                      </a:r>
                    </a:p>
                  </a:txBody>
                  <a:tcPr marL="3810" marR="3810" marT="3810" marB="0" anchor="ctr">
                    <a:noFill/>
                  </a:tcPr>
                </a:tc>
                <a:tc>
                  <a:txBody>
                    <a:bodyPr/>
                    <a:lstStyle/>
                    <a:p>
                      <a:pPr algn="ctr">
                        <a:defRPr sz="800">
                          <a:latin typeface="Nexa Book"/>
                        </a:defRPr>
                      </a:pPr>
                      <a:r>
                        <a:t>11</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3161381"/>
                  </a:ext>
                </a:extLst>
              </a:tr>
              <a:tr h="831402">
                <a:tc>
                  <a:txBody>
                    <a:bodyPr/>
                    <a:lstStyle/>
                    <a:p>
                      <a:pPr algn="ctr">
                        <a:defRPr sz="800" b="1">
                          <a:latin typeface="Nexa (Headings)"/>
                        </a:defRPr>
                      </a:pPr>
                      <a:r>
                        <a:t>Enfant</a:t>
                      </a:r>
                    </a:p>
                  </a:txBody>
                  <a:tcPr marL="3810" marR="3810" marT="3810" marB="0" anchor="ctr">
                    <a:noFill/>
                  </a:tcPr>
                </a:tc>
                <a:tc>
                  <a:txBody>
                    <a:bodyPr/>
                    <a:lstStyle/>
                    <a:p>
                      <a:pPr algn="ctr">
                        <a:defRPr sz="800">
                          <a:latin typeface="Nexa Book"/>
                        </a:defRPr>
                      </a:pPr>
                      <a:r>
                        <a:t>49</a:t>
                      </a:r>
                    </a:p>
                  </a:txBody>
                  <a:tcPr marL="3810" marR="3810" marT="3810" marB="0" anchor="ctr">
                    <a:noFill/>
                  </a:tcPr>
                </a:tc>
                <a:tc>
                  <a:txBody>
                    <a:bodyPr/>
                    <a:lstStyle/>
                    <a:p>
                      <a:pPr algn="ctr">
                        <a:defRPr sz="800">
                          <a:latin typeface="Nexa Book"/>
                        </a:defRPr>
                      </a:pPr>
                      <a:r>
                        <a:t>32</a:t>
                      </a:r>
                    </a:p>
                  </a:txBody>
                  <a:tcPr marL="3810" marR="3810" marT="3810" marB="0" anchor="ctr">
                    <a:noFill/>
                  </a:tcPr>
                </a:tc>
                <a:tc>
                  <a:txBody>
                    <a:bodyPr/>
                    <a:lstStyle/>
                    <a:p>
                      <a:pPr algn="ctr">
                        <a:defRPr sz="800">
                          <a:latin typeface="Nexa Book"/>
                        </a:defRPr>
                      </a:pPr>
                      <a:r>
                        <a:t>66%</a:t>
                      </a:r>
                    </a:p>
                  </a:txBody>
                  <a:tcPr marL="3810" marR="3810" marT="3810" marB="0" anchor="ctr">
                    <a:noFill/>
                  </a:tcPr>
                </a:tc>
                <a:tc>
                  <a:txBody>
                    <a:bodyPr/>
                    <a:lstStyle/>
                    <a:p>
                      <a:pPr algn="ctr">
                        <a:defRPr sz="800">
                          <a:latin typeface="Nexa Book"/>
                        </a:defRPr>
                      </a:pPr>
                      <a:r>
                        <a:t>79%</a:t>
                      </a:r>
                    </a:p>
                  </a:txBody>
                  <a:tcPr marL="3810" marR="3810" marT="3810" marB="0" anchor="ctr">
                    <a:noFill/>
                  </a:tcPr>
                </a:tc>
                <a:tc>
                  <a:txBody>
                    <a:bodyPr/>
                    <a:lstStyle/>
                    <a:p>
                      <a:pPr algn="ctr">
                        <a:defRPr sz="800">
                          <a:latin typeface="Nexa Book"/>
                        </a:defRPr>
                      </a:pPr>
                      <a:r>
                        <a:t>38</a:t>
                      </a:r>
                    </a:p>
                  </a:txBody>
                  <a:tcPr marL="3810" marR="3810" marT="3810" marB="0" anchor="ctr">
                    <a:noFill/>
                  </a:tcPr>
                </a:tc>
                <a:tc>
                  <a:txBody>
                    <a:bodyPr/>
                    <a:lstStyle/>
                    <a:p>
                      <a:pPr algn="ctr">
                        <a:defRPr sz="800">
                          <a:latin typeface="Nexa Book"/>
                        </a:defRPr>
                      </a:pPr>
                      <a:r>
                        <a:t>6</a:t>
                      </a:r>
                    </a:p>
                  </a:txBody>
                  <a:tcPr marL="3810" marR="3810" marT="3810" marB="0" anchor="ctr">
                    <a:noFill/>
                  </a:tcPr>
                </a:tc>
                <a:extLst>
                  <a:ext uri="{0D108BD9-81ED-4DB2-BD59-A6C34878D82A}">
                    <a16:rowId xmlns:a16="http://schemas.microsoft.com/office/drawing/2014/main" val="1752397169"/>
                  </a:ext>
                </a:extLst>
              </a:tr>
              <a:tr h="831402">
                <a:tc>
                  <a:txBody>
                    <a:bodyPr/>
                    <a:lstStyle/>
                    <a:p>
                      <a:pPr algn="ctr">
                        <a:defRPr sz="800" b="1">
                          <a:latin typeface="Nexa (Headings)"/>
                        </a:defRPr>
                      </a:pPr>
                      <a:r>
                        <a:t>Salade</a:t>
                      </a:r>
                    </a:p>
                  </a:txBody>
                  <a:tcPr marL="3810" marR="3810" marT="3810" marB="0" anchor="ctr">
                    <a:noFill/>
                  </a:tcPr>
                </a:tc>
                <a:tc>
                  <a:txBody>
                    <a:bodyPr/>
                    <a:lstStyle/>
                    <a:p>
                      <a:pPr algn="ctr">
                        <a:defRPr sz="800">
                          <a:latin typeface="Nexa Book"/>
                        </a:defRPr>
                      </a:pPr>
                      <a:r>
                        <a:t>157</a:t>
                      </a:r>
                    </a:p>
                  </a:txBody>
                  <a:tcPr marL="3810" marR="3810" marT="3810" marB="0" anchor="ctr">
                    <a:noFill/>
                  </a:tcPr>
                </a:tc>
                <a:tc>
                  <a:txBody>
                    <a:bodyPr/>
                    <a:lstStyle/>
                    <a:p>
                      <a:pPr algn="ctr">
                        <a:defRPr sz="800">
                          <a:latin typeface="Nexa Book"/>
                        </a:defRPr>
                      </a:pPr>
                      <a:r>
                        <a:t>6</a:t>
                      </a:r>
                    </a:p>
                  </a:txBody>
                  <a:tcPr marL="3810" marR="3810" marT="3810" marB="0" anchor="ctr">
                    <a:noFill/>
                  </a:tcPr>
                </a:tc>
                <a:tc>
                  <a:txBody>
                    <a:bodyPr/>
                    <a:lstStyle/>
                    <a:p>
                      <a:pPr algn="ctr">
                        <a:defRPr sz="800">
                          <a:latin typeface="Nexa Book"/>
                        </a:defRPr>
                      </a:pPr>
                      <a:r>
                        <a:t>4%</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3712364869"/>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587</a:t>
            </a:fld>
            <a:endParaRPr lang="en-US"/>
          </a:p>
        </p:txBody>
      </p:sp>
    </p:spTree>
    <p:extLst>
      <p:ext uri="{BB962C8B-B14F-4D97-AF65-F5344CB8AC3E}">
        <p14:creationId xmlns:p14="http://schemas.microsoft.com/office/powerpoint/2010/main" val="484123296"/>
      </p:ext>
    </p:extLst>
  </p:cSld>
  <p:clrMapOvr>
    <a:masterClrMapping/>
  </p:clrMapOvr>
</p:sld>
</file>

<file path=ppt/slides/slide5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9/9/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pPr>
              <a:defRPr sz="1200">
                <a:latin typeface="Nexa Bold (Headings)"/>
              </a:defRPr>
            </a:pPr>
            <a:r>
              <a:t>Segment fair share | Total Fromage | Bel | Intermarche Proxi | P12M</a:t>
            </a:r>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pPr>
              <a:defRPr sz="1600">
                <a:latin typeface="Nexa Bold (Headings)"/>
              </a:defRPr>
            </a:pPr>
            <a:r>
              <a:rPr lang="en-GB" dirty="0">
                <a:highlight>
                  <a:srgbClr val="FFFF00"/>
                </a:highlight>
              </a:rPr>
              <a:t>Segment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el </a:t>
                      </a:r>
                    </a:p>
                    <a:p>
                      <a:pPr algn="ctr">
                        <a:defRPr sz="900" b="1">
                          <a:latin typeface="Nexa (Headings)"/>
                        </a:defRPr>
                      </a:pPr>
                      <a: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el </a:t>
                      </a:r>
                    </a:p>
                    <a:p>
                      <a:pPr algn="ctr">
                        <a:defRPr sz="900" b="1">
                          <a:latin typeface="Nexa (Headings)"/>
                        </a:defRPr>
                      </a:pPr>
                      <a: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el </a:t>
                      </a:r>
                    </a:p>
                    <a:p>
                      <a:pPr algn="ctr">
                        <a:defRPr sz="900" b="1">
                          <a:latin typeface="Nexa (Headings)"/>
                        </a:defRPr>
                      </a:pPr>
                      <a: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el </a:t>
                      </a:r>
                    </a:p>
                    <a:p>
                      <a:pPr algn="ctr">
                        <a:defRPr sz="900" b="1">
                          <a:latin typeface="Nexa (Headings)"/>
                        </a:defRPr>
                      </a:pPr>
                      <a: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el</a:t>
                      </a:r>
                    </a:p>
                    <a:p>
                      <a:pPr algn="ctr">
                        <a:defRPr sz="900" b="1">
                          <a:latin typeface="Nexa (Headings)"/>
                        </a:defRPr>
                      </a:pPr>
                      <a: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831402">
                <a:tc>
                  <a:txBody>
                    <a:bodyPr/>
                    <a:lstStyle/>
                    <a:p>
                      <a:pPr algn="ctr">
                        <a:defRPr sz="800" b="1">
                          <a:latin typeface="Nexa (Headings)"/>
                        </a:defRPr>
                      </a:pPr>
                      <a:r>
                        <a:t>Grand Total</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406</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42</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207%</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98%</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40</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831402">
                <a:tc>
                  <a:txBody>
                    <a:bodyPr/>
                    <a:lstStyle/>
                    <a:p>
                      <a:pPr algn="ctr">
                        <a:defRPr sz="800" b="1">
                          <a:latin typeface="Nexa (Headings)"/>
                        </a:defRPr>
                      </a:pPr>
                      <a:r>
                        <a:t>Frais A Tartiner</a:t>
                      </a:r>
                    </a:p>
                  </a:txBody>
                  <a:tcPr marL="3810" marR="3810" marT="3810" marB="0" anchor="ctr">
                    <a:noFill/>
                  </a:tcPr>
                </a:tc>
                <a:tc>
                  <a:txBody>
                    <a:bodyPr/>
                    <a:lstStyle/>
                    <a:p>
                      <a:pPr algn="ctr">
                        <a:defRPr sz="800">
                          <a:latin typeface="Nexa Book"/>
                        </a:defRPr>
                      </a:pPr>
                      <a:r>
                        <a:t>37</a:t>
                      </a:r>
                    </a:p>
                  </a:txBody>
                  <a:tcPr marL="3810" marR="3810" marT="3810" marB="0" anchor="ctr">
                    <a:noFill/>
                  </a:tcPr>
                </a:tc>
                <a:tc>
                  <a:txBody>
                    <a:bodyPr/>
                    <a:lstStyle/>
                    <a:p>
                      <a:pPr algn="ctr">
                        <a:defRPr sz="800">
                          <a:latin typeface="Nexa Book"/>
                        </a:defRPr>
                      </a:pPr>
                      <a:r>
                        <a:t>9</a:t>
                      </a:r>
                    </a:p>
                  </a:txBody>
                  <a:tcPr marL="3810" marR="3810" marT="3810" marB="0" anchor="ctr">
                    <a:noFill/>
                  </a:tcPr>
                </a:tc>
                <a:tc>
                  <a:txBody>
                    <a:bodyPr/>
                    <a:lstStyle/>
                    <a:p>
                      <a:pPr algn="ctr">
                        <a:defRPr sz="800">
                          <a:latin typeface="Nexa Book"/>
                        </a:defRPr>
                      </a:pPr>
                      <a:r>
                        <a:t>25%</a:t>
                      </a:r>
                    </a:p>
                  </a:txBody>
                  <a:tcPr marL="3810" marR="3810" marT="3810" marB="0" anchor="ctr">
                    <a:noFill/>
                  </a:tcPr>
                </a:tc>
                <a:tc>
                  <a:txBody>
                    <a:bodyPr/>
                    <a:lstStyle/>
                    <a:p>
                      <a:pPr algn="ctr">
                        <a:defRPr sz="800">
                          <a:latin typeface="Nexa Book"/>
                        </a:defRPr>
                      </a:pPr>
                      <a:r>
                        <a:t>15%</a:t>
                      </a:r>
                    </a:p>
                  </a:txBody>
                  <a:tcPr marL="3810" marR="3810" marT="3810" marB="0" anchor="ctr">
                    <a:noFill/>
                  </a:tcPr>
                </a:tc>
                <a:tc>
                  <a:txBody>
                    <a:bodyPr/>
                    <a:lstStyle/>
                    <a:p>
                      <a:pPr algn="ctr">
                        <a:defRPr sz="800">
                          <a:latin typeface="Nexa Book"/>
                        </a:defRPr>
                      </a:pPr>
                      <a:r>
                        <a:t>6</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3161381"/>
                  </a:ext>
                </a:extLst>
              </a:tr>
              <a:tr h="831402">
                <a:tc>
                  <a:txBody>
                    <a:bodyPr/>
                    <a:lstStyle/>
                    <a:p>
                      <a:pPr algn="ctr">
                        <a:defRPr sz="800" b="1">
                          <a:latin typeface="Nexa (Headings)"/>
                        </a:defRPr>
                      </a:pPr>
                      <a:r>
                        <a:t>Enfant</a:t>
                      </a:r>
                    </a:p>
                  </a:txBody>
                  <a:tcPr marL="3810" marR="3810" marT="3810" marB="0" anchor="ctr">
                    <a:noFill/>
                  </a:tcPr>
                </a:tc>
                <a:tc>
                  <a:txBody>
                    <a:bodyPr/>
                    <a:lstStyle/>
                    <a:p>
                      <a:pPr algn="ctr">
                        <a:defRPr sz="800">
                          <a:latin typeface="Nexa Book"/>
                        </a:defRPr>
                      </a:pPr>
                      <a:r>
                        <a:t>22</a:t>
                      </a:r>
                    </a:p>
                  </a:txBody>
                  <a:tcPr marL="3810" marR="3810" marT="3810" marB="0" anchor="ctr">
                    <a:noFill/>
                  </a:tcPr>
                </a:tc>
                <a:tc>
                  <a:txBody>
                    <a:bodyPr/>
                    <a:lstStyle/>
                    <a:p>
                      <a:pPr algn="ctr">
                        <a:defRPr sz="800">
                          <a:latin typeface="Nexa Book"/>
                        </a:defRPr>
                      </a:pPr>
                      <a:r>
                        <a:t>16</a:t>
                      </a:r>
                    </a:p>
                  </a:txBody>
                  <a:tcPr marL="3810" marR="3810" marT="3810" marB="0" anchor="ctr">
                    <a:noFill/>
                  </a:tcPr>
                </a:tc>
                <a:tc>
                  <a:txBody>
                    <a:bodyPr/>
                    <a:lstStyle/>
                    <a:p>
                      <a:pPr algn="ctr">
                        <a:defRPr sz="800">
                          <a:latin typeface="Nexa Book"/>
                        </a:defRPr>
                      </a:pPr>
                      <a:r>
                        <a:t>71%</a:t>
                      </a:r>
                    </a:p>
                  </a:txBody>
                  <a:tcPr marL="3810" marR="3810" marT="3810" marB="0" anchor="ctr">
                    <a:noFill/>
                  </a:tcPr>
                </a:tc>
                <a:tc>
                  <a:txBody>
                    <a:bodyPr/>
                    <a:lstStyle/>
                    <a:p>
                      <a:pPr algn="ctr">
                        <a:defRPr sz="800">
                          <a:latin typeface="Nexa Book"/>
                        </a:defRPr>
                      </a:pPr>
                      <a:r>
                        <a:t>72%</a:t>
                      </a:r>
                    </a:p>
                  </a:txBody>
                  <a:tcPr marL="3810" marR="3810" marT="3810" marB="0" anchor="ctr">
                    <a:noFill/>
                  </a:tcPr>
                </a:tc>
                <a:tc>
                  <a:txBody>
                    <a:bodyPr/>
                    <a:lstStyle/>
                    <a:p>
                      <a:pPr algn="ctr">
                        <a:defRPr sz="800">
                          <a:latin typeface="Nexa Book"/>
                        </a:defRPr>
                      </a:pPr>
                      <a:r>
                        <a:t>16</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1752397169"/>
                  </a:ext>
                </a:extLst>
              </a:tr>
              <a:tr h="831402">
                <a:tc>
                  <a:txBody>
                    <a:bodyPr/>
                    <a:lstStyle/>
                    <a:p>
                      <a:pPr algn="ctr">
                        <a:defRPr sz="800" b="1">
                          <a:latin typeface="Nexa (Headings)"/>
                        </a:defRPr>
                      </a:pPr>
                      <a:r>
                        <a:t>Salade</a:t>
                      </a:r>
                    </a:p>
                  </a:txBody>
                  <a:tcPr marL="3810" marR="3810" marT="3810" marB="0" anchor="ctr">
                    <a:noFill/>
                  </a:tcPr>
                </a:tc>
                <a:tc>
                  <a:txBody>
                    <a:bodyPr/>
                    <a:lstStyle/>
                    <a:p>
                      <a:pPr algn="ctr">
                        <a:defRPr sz="800">
                          <a:latin typeface="Nexa Book"/>
                        </a:defRPr>
                      </a:pPr>
                      <a:r>
                        <a:t>40</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6%</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3712364869"/>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588</a:t>
            </a:fld>
            <a:endParaRPr lang="en-US"/>
          </a:p>
        </p:txBody>
      </p:sp>
    </p:spTree>
    <p:extLst>
      <p:ext uri="{BB962C8B-B14F-4D97-AF65-F5344CB8AC3E}">
        <p14:creationId xmlns:p14="http://schemas.microsoft.com/office/powerpoint/2010/main" val="184282936"/>
      </p:ext>
    </p:extLst>
  </p:cSld>
  <p:clrMapOvr>
    <a:masterClrMapping/>
  </p:clrMapOvr>
</p:sld>
</file>

<file path=ppt/slides/slide5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9/9/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pPr>
              <a:defRPr sz="1200">
                <a:latin typeface="Nexa Bold (Headings)"/>
              </a:defRPr>
            </a:pPr>
            <a:r>
              <a:t>Segment fair share | Total Fromage | Bel | Intermarche | P12M</a:t>
            </a:r>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pPr>
              <a:defRPr sz="1600">
                <a:latin typeface="Nexa Bold (Headings)"/>
              </a:defRPr>
            </a:pPr>
            <a:r>
              <a:rPr lang="en-GB" dirty="0">
                <a:highlight>
                  <a:srgbClr val="FFFF00"/>
                </a:highlight>
              </a:rPr>
              <a:t>Segment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el </a:t>
                      </a:r>
                    </a:p>
                    <a:p>
                      <a:pPr algn="ctr">
                        <a:defRPr sz="900" b="1">
                          <a:latin typeface="Nexa (Headings)"/>
                        </a:defRPr>
                      </a:pPr>
                      <a: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el </a:t>
                      </a:r>
                    </a:p>
                    <a:p>
                      <a:pPr algn="ctr">
                        <a:defRPr sz="900" b="1">
                          <a:latin typeface="Nexa (Headings)"/>
                        </a:defRPr>
                      </a:pPr>
                      <a: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el </a:t>
                      </a:r>
                    </a:p>
                    <a:p>
                      <a:pPr algn="ctr">
                        <a:defRPr sz="900" b="1">
                          <a:latin typeface="Nexa (Headings)"/>
                        </a:defRPr>
                      </a:pPr>
                      <a: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el </a:t>
                      </a:r>
                    </a:p>
                    <a:p>
                      <a:pPr algn="ctr">
                        <a:defRPr sz="900" b="1">
                          <a:latin typeface="Nexa (Headings)"/>
                        </a:defRPr>
                      </a:pPr>
                      <a: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el</a:t>
                      </a:r>
                    </a:p>
                    <a:p>
                      <a:pPr algn="ctr">
                        <a:defRPr sz="900" b="1">
                          <a:latin typeface="Nexa (Headings)"/>
                        </a:defRPr>
                      </a:pPr>
                      <a: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831402">
                <a:tc>
                  <a:txBody>
                    <a:bodyPr/>
                    <a:lstStyle/>
                    <a:p>
                      <a:pPr algn="ctr">
                        <a:defRPr sz="800" b="1">
                          <a:latin typeface="Nexa (Headings)"/>
                        </a:defRPr>
                      </a:pPr>
                      <a:r>
                        <a:t>Grand Total</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612</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65</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217%</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202%</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61</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831402">
                <a:tc>
                  <a:txBody>
                    <a:bodyPr/>
                    <a:lstStyle/>
                    <a:p>
                      <a:pPr algn="ctr">
                        <a:defRPr sz="800" b="1">
                          <a:latin typeface="Nexa (Headings)"/>
                        </a:defRPr>
                      </a:pPr>
                      <a:r>
                        <a:t>Frais A Tartiner</a:t>
                      </a:r>
                    </a:p>
                  </a:txBody>
                  <a:tcPr marL="3810" marR="3810" marT="3810" marB="0" anchor="ctr">
                    <a:noFill/>
                  </a:tcPr>
                </a:tc>
                <a:tc>
                  <a:txBody>
                    <a:bodyPr/>
                    <a:lstStyle/>
                    <a:p>
                      <a:pPr algn="ctr">
                        <a:defRPr sz="800">
                          <a:latin typeface="Nexa Book"/>
                        </a:defRPr>
                      </a:pPr>
                      <a:r>
                        <a:t>52</a:t>
                      </a:r>
                    </a:p>
                  </a:txBody>
                  <a:tcPr marL="3810" marR="3810" marT="3810" marB="0" anchor="ctr">
                    <a:noFill/>
                  </a:tcPr>
                </a:tc>
                <a:tc>
                  <a:txBody>
                    <a:bodyPr/>
                    <a:lstStyle/>
                    <a:p>
                      <a:pPr algn="ctr">
                        <a:defRPr sz="800">
                          <a:latin typeface="Nexa Book"/>
                        </a:defRPr>
                      </a:pPr>
                      <a:r>
                        <a:t>13</a:t>
                      </a:r>
                    </a:p>
                  </a:txBody>
                  <a:tcPr marL="3810" marR="3810" marT="3810" marB="0" anchor="ctr">
                    <a:noFill/>
                  </a:tcPr>
                </a:tc>
                <a:tc>
                  <a:txBody>
                    <a:bodyPr/>
                    <a:lstStyle/>
                    <a:p>
                      <a:pPr algn="ctr">
                        <a:defRPr sz="800">
                          <a:latin typeface="Nexa Book"/>
                        </a:defRPr>
                      </a:pPr>
                      <a:r>
                        <a:t>24%</a:t>
                      </a:r>
                    </a:p>
                  </a:txBody>
                  <a:tcPr marL="3810" marR="3810" marT="3810" marB="0" anchor="ctr">
                    <a:noFill/>
                  </a:tcPr>
                </a:tc>
                <a:tc>
                  <a:txBody>
                    <a:bodyPr/>
                    <a:lstStyle/>
                    <a:p>
                      <a:pPr algn="ctr">
                        <a:defRPr sz="800">
                          <a:latin typeface="Nexa Book"/>
                        </a:defRPr>
                      </a:pPr>
                      <a:r>
                        <a:t>16%</a:t>
                      </a:r>
                    </a:p>
                  </a:txBody>
                  <a:tcPr marL="3810" marR="3810" marT="3810" marB="0" anchor="ctr">
                    <a:noFill/>
                  </a:tcPr>
                </a:tc>
                <a:tc>
                  <a:txBody>
                    <a:bodyPr/>
                    <a:lstStyle/>
                    <a:p>
                      <a:pPr algn="ctr">
                        <a:defRPr sz="800">
                          <a:latin typeface="Nexa Book"/>
                        </a:defRPr>
                      </a:pPr>
                      <a:r>
                        <a:t>8</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3161381"/>
                  </a:ext>
                </a:extLst>
              </a:tr>
              <a:tr h="831402">
                <a:tc>
                  <a:txBody>
                    <a:bodyPr/>
                    <a:lstStyle/>
                    <a:p>
                      <a:pPr algn="ctr">
                        <a:defRPr sz="800" b="1">
                          <a:latin typeface="Nexa (Headings)"/>
                        </a:defRPr>
                      </a:pPr>
                      <a:r>
                        <a:t>Enfant</a:t>
                      </a:r>
                    </a:p>
                  </a:txBody>
                  <a:tcPr marL="3810" marR="3810" marT="3810" marB="0" anchor="ctr">
                    <a:noFill/>
                  </a:tcPr>
                </a:tc>
                <a:tc>
                  <a:txBody>
                    <a:bodyPr/>
                    <a:lstStyle/>
                    <a:p>
                      <a:pPr algn="ctr">
                        <a:defRPr sz="800">
                          <a:latin typeface="Nexa Book"/>
                        </a:defRPr>
                      </a:pPr>
                      <a:r>
                        <a:t>33</a:t>
                      </a:r>
                    </a:p>
                  </a:txBody>
                  <a:tcPr marL="3810" marR="3810" marT="3810" marB="0" anchor="ctr">
                    <a:noFill/>
                  </a:tcPr>
                </a:tc>
                <a:tc>
                  <a:txBody>
                    <a:bodyPr/>
                    <a:lstStyle/>
                    <a:p>
                      <a:pPr algn="ctr">
                        <a:defRPr sz="800">
                          <a:latin typeface="Nexa Book"/>
                        </a:defRPr>
                      </a:pPr>
                      <a:r>
                        <a:t>25</a:t>
                      </a:r>
                    </a:p>
                  </a:txBody>
                  <a:tcPr marL="3810" marR="3810" marT="3810" marB="0" anchor="ctr">
                    <a:noFill/>
                  </a:tcPr>
                </a:tc>
                <a:tc>
                  <a:txBody>
                    <a:bodyPr/>
                    <a:lstStyle/>
                    <a:p>
                      <a:pPr algn="ctr">
                        <a:defRPr sz="800">
                          <a:latin typeface="Nexa Book"/>
                        </a:defRPr>
                      </a:pPr>
                      <a:r>
                        <a:t>76%</a:t>
                      </a:r>
                    </a:p>
                  </a:txBody>
                  <a:tcPr marL="3810" marR="3810" marT="3810" marB="0" anchor="ctr">
                    <a:noFill/>
                  </a:tcPr>
                </a:tc>
                <a:tc>
                  <a:txBody>
                    <a:bodyPr/>
                    <a:lstStyle/>
                    <a:p>
                      <a:pPr algn="ctr">
                        <a:defRPr sz="800">
                          <a:latin typeface="Nexa Book"/>
                        </a:defRPr>
                      </a:pPr>
                      <a:r>
                        <a:t>76%</a:t>
                      </a:r>
                    </a:p>
                  </a:txBody>
                  <a:tcPr marL="3810" marR="3810" marT="3810" marB="0" anchor="ctr">
                    <a:noFill/>
                  </a:tcPr>
                </a:tc>
                <a:tc>
                  <a:txBody>
                    <a:bodyPr/>
                    <a:lstStyle/>
                    <a:p>
                      <a:pPr algn="ctr">
                        <a:defRPr sz="800">
                          <a:latin typeface="Nexa Book"/>
                        </a:defRPr>
                      </a:pPr>
                      <a:r>
                        <a:t>26</a:t>
                      </a:r>
                    </a:p>
                  </a:txBody>
                  <a:tcPr marL="3810" marR="3810" marT="3810" marB="0" anchor="ctr">
                    <a:noFill/>
                  </a:tcPr>
                </a:tc>
                <a:tc>
                  <a:txBody>
                    <a:bodyPr/>
                    <a:lstStyle/>
                    <a:p>
                      <a:pPr algn="ctr">
                        <a:defRPr sz="800">
                          <a:latin typeface="Nexa Book"/>
                        </a:defRPr>
                      </a:pPr>
                      <a:r>
                        <a:t>1</a:t>
                      </a:r>
                    </a:p>
                  </a:txBody>
                  <a:tcPr marL="3810" marR="3810" marT="3810" marB="0" anchor="ctr">
                    <a:noFill/>
                  </a:tcPr>
                </a:tc>
                <a:extLst>
                  <a:ext uri="{0D108BD9-81ED-4DB2-BD59-A6C34878D82A}">
                    <a16:rowId xmlns:a16="http://schemas.microsoft.com/office/drawing/2014/main" val="1752397169"/>
                  </a:ext>
                </a:extLst>
              </a:tr>
              <a:tr h="831402">
                <a:tc>
                  <a:txBody>
                    <a:bodyPr/>
                    <a:lstStyle/>
                    <a:p>
                      <a:pPr algn="ctr">
                        <a:defRPr sz="800" b="1">
                          <a:latin typeface="Nexa (Headings)"/>
                        </a:defRPr>
                      </a:pPr>
                      <a:r>
                        <a:t>Salade</a:t>
                      </a:r>
                    </a:p>
                  </a:txBody>
                  <a:tcPr marL="3810" marR="3810" marT="3810" marB="0" anchor="ctr">
                    <a:noFill/>
                  </a:tcPr>
                </a:tc>
                <a:tc>
                  <a:txBody>
                    <a:bodyPr/>
                    <a:lstStyle/>
                    <a:p>
                      <a:pPr algn="ctr">
                        <a:defRPr sz="800">
                          <a:latin typeface="Nexa Book"/>
                        </a:defRPr>
                      </a:pPr>
                      <a:r>
                        <a:t>59</a:t>
                      </a:r>
                    </a:p>
                  </a:txBody>
                  <a:tcPr marL="3810" marR="3810" marT="3810" marB="0" anchor="ctr">
                    <a:noFill/>
                  </a:tcPr>
                </a:tc>
                <a:tc>
                  <a:txBody>
                    <a:bodyPr/>
                    <a:lstStyle/>
                    <a:p>
                      <a:pPr algn="ctr">
                        <a:defRPr sz="800">
                          <a:latin typeface="Nexa Book"/>
                        </a:defRPr>
                      </a:pPr>
                      <a:r>
                        <a:t>5</a:t>
                      </a:r>
                    </a:p>
                  </a:txBody>
                  <a:tcPr marL="3810" marR="3810" marT="3810" marB="0" anchor="ctr">
                    <a:noFill/>
                  </a:tcPr>
                </a:tc>
                <a:tc>
                  <a:txBody>
                    <a:bodyPr/>
                    <a:lstStyle/>
                    <a:p>
                      <a:pPr algn="ctr">
                        <a:defRPr sz="800">
                          <a:latin typeface="Nexa Book"/>
                        </a:defRPr>
                      </a:pPr>
                      <a:r>
                        <a:t>8%</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3712364869"/>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589</a:t>
            </a:fld>
            <a:endParaRPr lang="en-US"/>
          </a:p>
        </p:txBody>
      </p:sp>
    </p:spTree>
    <p:extLst>
      <p:ext uri="{BB962C8B-B14F-4D97-AF65-F5344CB8AC3E}">
        <p14:creationId xmlns:p14="http://schemas.microsoft.com/office/powerpoint/2010/main" val="4092574525"/>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9/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July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Total Fromage | Carrefour Hyper + Drive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367</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105</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8</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59</a:t>
            </a:fld>
            <a:endParaRPr lang="en-US"/>
          </a:p>
        </p:txBody>
      </p:sp>
    </p:spTree>
    <p:extLst>
      <p:ext uri="{BB962C8B-B14F-4D97-AF65-F5344CB8AC3E}">
        <p14:creationId xmlns:p14="http://schemas.microsoft.com/office/powerpoint/2010/main" val="2336447924"/>
      </p:ext>
    </p:extLst>
  </p:cSld>
  <p:clrMapOvr>
    <a:masterClrMapping/>
  </p:clrMapOvr>
</p:sld>
</file>

<file path=ppt/slides/slide5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9/9/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pPr>
              <a:defRPr sz="1200">
                <a:latin typeface="Nexa Bold (Headings)"/>
              </a:defRPr>
            </a:pPr>
            <a:r>
              <a:t>Segment fair share | Total Fromage | Bel | Carrefour | P12M</a:t>
            </a:r>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pPr>
              <a:defRPr sz="1600">
                <a:latin typeface="Nexa Bold (Headings)"/>
              </a:defRPr>
            </a:pPr>
            <a:r>
              <a:rPr lang="en-GB" dirty="0">
                <a:highlight>
                  <a:srgbClr val="FFFF00"/>
                </a:highlight>
              </a:rPr>
              <a:t>Segment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el </a:t>
                      </a:r>
                    </a:p>
                    <a:p>
                      <a:pPr algn="ctr">
                        <a:defRPr sz="900" b="1">
                          <a:latin typeface="Nexa (Headings)"/>
                        </a:defRPr>
                      </a:pPr>
                      <a: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el </a:t>
                      </a:r>
                    </a:p>
                    <a:p>
                      <a:pPr algn="ctr">
                        <a:defRPr sz="900" b="1">
                          <a:latin typeface="Nexa (Headings)"/>
                        </a:defRPr>
                      </a:pPr>
                      <a: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el </a:t>
                      </a:r>
                    </a:p>
                    <a:p>
                      <a:pPr algn="ctr">
                        <a:defRPr sz="900" b="1">
                          <a:latin typeface="Nexa (Headings)"/>
                        </a:defRPr>
                      </a:pPr>
                      <a: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el </a:t>
                      </a:r>
                    </a:p>
                    <a:p>
                      <a:pPr algn="ctr">
                        <a:defRPr sz="900" b="1">
                          <a:latin typeface="Nexa (Headings)"/>
                        </a:defRPr>
                      </a:pPr>
                      <a: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el</a:t>
                      </a:r>
                    </a:p>
                    <a:p>
                      <a:pPr algn="ctr">
                        <a:defRPr sz="900" b="1">
                          <a:latin typeface="Nexa (Headings)"/>
                        </a:defRPr>
                      </a:pPr>
                      <a: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831402">
                <a:tc>
                  <a:txBody>
                    <a:bodyPr/>
                    <a:lstStyle/>
                    <a:p>
                      <a:pPr algn="ctr">
                        <a:defRPr sz="800" b="1">
                          <a:latin typeface="Nexa (Headings)"/>
                        </a:defRPr>
                      </a:pPr>
                      <a:r>
                        <a:t>Grand Total</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821</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6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9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206%</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71</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2</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831402">
                <a:tc>
                  <a:txBody>
                    <a:bodyPr/>
                    <a:lstStyle/>
                    <a:p>
                      <a:pPr algn="ctr">
                        <a:defRPr sz="800" b="1">
                          <a:latin typeface="Nexa (Headings)"/>
                        </a:defRPr>
                      </a:pPr>
                      <a:r>
                        <a:t>Frais A Tartiner</a:t>
                      </a:r>
                    </a:p>
                  </a:txBody>
                  <a:tcPr marL="3810" marR="3810" marT="3810" marB="0" anchor="ctr">
                    <a:noFill/>
                  </a:tcPr>
                </a:tc>
                <a:tc>
                  <a:txBody>
                    <a:bodyPr/>
                    <a:lstStyle/>
                    <a:p>
                      <a:pPr algn="ctr">
                        <a:defRPr sz="800">
                          <a:latin typeface="Nexa Book"/>
                        </a:defRPr>
                      </a:pPr>
                      <a:r>
                        <a:t>64</a:t>
                      </a:r>
                    </a:p>
                  </a:txBody>
                  <a:tcPr marL="3810" marR="3810" marT="3810" marB="0" anchor="ctr">
                    <a:noFill/>
                  </a:tcPr>
                </a:tc>
                <a:tc>
                  <a:txBody>
                    <a:bodyPr/>
                    <a:lstStyle/>
                    <a:p>
                      <a:pPr algn="ctr">
                        <a:defRPr sz="800">
                          <a:latin typeface="Nexa Book"/>
                        </a:defRPr>
                      </a:pPr>
                      <a:r>
                        <a:t>12</a:t>
                      </a:r>
                    </a:p>
                  </a:txBody>
                  <a:tcPr marL="3810" marR="3810" marT="3810" marB="0" anchor="ctr">
                    <a:noFill/>
                  </a:tcPr>
                </a:tc>
                <a:tc>
                  <a:txBody>
                    <a:bodyPr/>
                    <a:lstStyle/>
                    <a:p>
                      <a:pPr algn="ctr">
                        <a:defRPr sz="800">
                          <a:latin typeface="Nexa Book"/>
                        </a:defRPr>
                      </a:pPr>
                      <a:r>
                        <a:t>18%</a:t>
                      </a:r>
                    </a:p>
                  </a:txBody>
                  <a:tcPr marL="3810" marR="3810" marT="3810" marB="0" anchor="ctr">
                    <a:noFill/>
                  </a:tcPr>
                </a:tc>
                <a:tc>
                  <a:txBody>
                    <a:bodyPr/>
                    <a:lstStyle/>
                    <a:p>
                      <a:pPr algn="ctr">
                        <a:defRPr sz="800">
                          <a:latin typeface="Nexa Book"/>
                        </a:defRPr>
                      </a:pPr>
                      <a:r>
                        <a:t>12%</a:t>
                      </a:r>
                    </a:p>
                  </a:txBody>
                  <a:tcPr marL="3810" marR="3810" marT="3810" marB="0" anchor="ctr">
                    <a:noFill/>
                  </a:tcPr>
                </a:tc>
                <a:tc>
                  <a:txBody>
                    <a:bodyPr/>
                    <a:lstStyle/>
                    <a:p>
                      <a:pPr algn="ctr">
                        <a:defRPr sz="800">
                          <a:latin typeface="Nexa Book"/>
                        </a:defRPr>
                      </a:pPr>
                      <a:r>
                        <a:t>8</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3161381"/>
                  </a:ext>
                </a:extLst>
              </a:tr>
              <a:tr h="831402">
                <a:tc>
                  <a:txBody>
                    <a:bodyPr/>
                    <a:lstStyle/>
                    <a:p>
                      <a:pPr algn="ctr">
                        <a:defRPr sz="800" b="1">
                          <a:latin typeface="Nexa (Headings)"/>
                        </a:defRPr>
                      </a:pPr>
                      <a:r>
                        <a:t>Enfant</a:t>
                      </a:r>
                    </a:p>
                  </a:txBody>
                  <a:tcPr marL="3810" marR="3810" marT="3810" marB="0" anchor="ctr">
                    <a:noFill/>
                  </a:tcPr>
                </a:tc>
                <a:tc>
                  <a:txBody>
                    <a:bodyPr/>
                    <a:lstStyle/>
                    <a:p>
                      <a:pPr algn="ctr">
                        <a:defRPr sz="800">
                          <a:latin typeface="Nexa Book"/>
                        </a:defRPr>
                      </a:pPr>
                      <a:r>
                        <a:t>36</a:t>
                      </a:r>
                    </a:p>
                  </a:txBody>
                  <a:tcPr marL="3810" marR="3810" marT="3810" marB="0" anchor="ctr">
                    <a:noFill/>
                  </a:tcPr>
                </a:tc>
                <a:tc>
                  <a:txBody>
                    <a:bodyPr/>
                    <a:lstStyle/>
                    <a:p>
                      <a:pPr algn="ctr">
                        <a:defRPr sz="800">
                          <a:latin typeface="Nexa Book"/>
                        </a:defRPr>
                      </a:pPr>
                      <a:r>
                        <a:t>24</a:t>
                      </a:r>
                    </a:p>
                  </a:txBody>
                  <a:tcPr marL="3810" marR="3810" marT="3810" marB="0" anchor="ctr">
                    <a:noFill/>
                  </a:tcPr>
                </a:tc>
                <a:tc>
                  <a:txBody>
                    <a:bodyPr/>
                    <a:lstStyle/>
                    <a:p>
                      <a:pPr algn="ctr">
                        <a:defRPr sz="800">
                          <a:latin typeface="Nexa Book"/>
                        </a:defRPr>
                      </a:pPr>
                      <a:r>
                        <a:t>66%</a:t>
                      </a:r>
                    </a:p>
                  </a:txBody>
                  <a:tcPr marL="3810" marR="3810" marT="3810" marB="0" anchor="ctr">
                    <a:noFill/>
                  </a:tcPr>
                </a:tc>
                <a:tc>
                  <a:txBody>
                    <a:bodyPr/>
                    <a:lstStyle/>
                    <a:p>
                      <a:pPr algn="ctr">
                        <a:defRPr sz="800">
                          <a:latin typeface="Nexa Book"/>
                        </a:defRPr>
                      </a:pPr>
                      <a:r>
                        <a:t>78%</a:t>
                      </a:r>
                    </a:p>
                  </a:txBody>
                  <a:tcPr marL="3810" marR="3810" marT="3810" marB="0" anchor="ctr">
                    <a:noFill/>
                  </a:tcPr>
                </a:tc>
                <a:tc>
                  <a:txBody>
                    <a:bodyPr/>
                    <a:lstStyle/>
                    <a:p>
                      <a:pPr algn="ctr">
                        <a:defRPr sz="800">
                          <a:latin typeface="Nexa Book"/>
                        </a:defRPr>
                      </a:pPr>
                      <a:r>
                        <a:t>28</a:t>
                      </a:r>
                    </a:p>
                  </a:txBody>
                  <a:tcPr marL="3810" marR="3810" marT="3810" marB="0" anchor="ctr">
                    <a:noFill/>
                  </a:tcPr>
                </a:tc>
                <a:tc>
                  <a:txBody>
                    <a:bodyPr/>
                    <a:lstStyle/>
                    <a:p>
                      <a:pPr algn="ctr">
                        <a:defRPr sz="800">
                          <a:latin typeface="Nexa Book"/>
                        </a:defRPr>
                      </a:pPr>
                      <a:r>
                        <a:t>4</a:t>
                      </a:r>
                    </a:p>
                  </a:txBody>
                  <a:tcPr marL="3810" marR="3810" marT="3810" marB="0" anchor="ctr">
                    <a:noFill/>
                  </a:tcPr>
                </a:tc>
                <a:extLst>
                  <a:ext uri="{0D108BD9-81ED-4DB2-BD59-A6C34878D82A}">
                    <a16:rowId xmlns:a16="http://schemas.microsoft.com/office/drawing/2014/main" val="1752397169"/>
                  </a:ext>
                </a:extLst>
              </a:tr>
              <a:tr h="831402">
                <a:tc>
                  <a:txBody>
                    <a:bodyPr/>
                    <a:lstStyle/>
                    <a:p>
                      <a:pPr algn="ctr">
                        <a:defRPr sz="800" b="1">
                          <a:latin typeface="Nexa (Headings)"/>
                        </a:defRPr>
                      </a:pPr>
                      <a:r>
                        <a:t>Salade</a:t>
                      </a:r>
                    </a:p>
                  </a:txBody>
                  <a:tcPr marL="3810" marR="3810" marT="3810" marB="0" anchor="ctr">
                    <a:noFill/>
                  </a:tcPr>
                </a:tc>
                <a:tc>
                  <a:txBody>
                    <a:bodyPr/>
                    <a:lstStyle/>
                    <a:p>
                      <a:pPr algn="ctr">
                        <a:defRPr sz="800">
                          <a:latin typeface="Nexa Book"/>
                        </a:defRPr>
                      </a:pPr>
                      <a:r>
                        <a:t>109</a:t>
                      </a:r>
                    </a:p>
                  </a:txBody>
                  <a:tcPr marL="3810" marR="3810" marT="3810" marB="0" anchor="ctr">
                    <a:noFill/>
                  </a:tcPr>
                </a:tc>
                <a:tc>
                  <a:txBody>
                    <a:bodyPr/>
                    <a:lstStyle/>
                    <a:p>
                      <a:pPr algn="ctr">
                        <a:defRPr sz="800">
                          <a:latin typeface="Nexa Book"/>
                        </a:defRPr>
                      </a:pPr>
                      <a:r>
                        <a:t>5</a:t>
                      </a:r>
                    </a:p>
                  </a:txBody>
                  <a:tcPr marL="3810" marR="3810" marT="3810" marB="0" anchor="ctr">
                    <a:noFill/>
                  </a:tcPr>
                </a:tc>
                <a:tc>
                  <a:txBody>
                    <a:bodyPr/>
                    <a:lstStyle/>
                    <a:p>
                      <a:pPr algn="ctr">
                        <a:defRPr sz="800">
                          <a:latin typeface="Nexa Book"/>
                        </a:defRPr>
                      </a:pPr>
                      <a:r>
                        <a:t>4%</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3712364869"/>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590</a:t>
            </a:fld>
            <a:endParaRPr lang="en-US"/>
          </a:p>
        </p:txBody>
      </p:sp>
    </p:spTree>
    <p:extLst>
      <p:ext uri="{BB962C8B-B14F-4D97-AF65-F5344CB8AC3E}">
        <p14:creationId xmlns:p14="http://schemas.microsoft.com/office/powerpoint/2010/main" val="1543292009"/>
      </p:ext>
    </p:extLst>
  </p:cSld>
  <p:clrMapOvr>
    <a:masterClrMapping/>
  </p:clrMapOvr>
</p:sld>
</file>

<file path=ppt/slides/slide5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9/9/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pPr>
              <a:defRPr sz="1200">
                <a:latin typeface="Nexa Bold (Headings)"/>
              </a:defRPr>
            </a:pPr>
            <a:r>
              <a:t>Segment fair share | Total Fromage | Kiri | Carrefour Hyper + Drive | P12M</a:t>
            </a:r>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pPr>
              <a:defRPr sz="1600">
                <a:latin typeface="Nexa Bold (Headings)"/>
              </a:defRPr>
            </a:pPr>
            <a:r>
              <a:rPr lang="en-GB" dirty="0">
                <a:highlight>
                  <a:srgbClr val="FFFF00"/>
                </a:highlight>
              </a:rPr>
              <a:t>Segment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Kiri </a:t>
                      </a:r>
                    </a:p>
                    <a:p>
                      <a:pPr algn="ctr">
                        <a:defRPr sz="900" b="1">
                          <a:latin typeface="Nexa (Headings)"/>
                        </a:defRPr>
                      </a:pPr>
                      <a: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Kiri </a:t>
                      </a:r>
                    </a:p>
                    <a:p>
                      <a:pPr algn="ctr">
                        <a:defRPr sz="900" b="1">
                          <a:latin typeface="Nexa (Headings)"/>
                        </a:defRPr>
                      </a:pPr>
                      <a: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Kiri </a:t>
                      </a:r>
                    </a:p>
                    <a:p>
                      <a:pPr algn="ctr">
                        <a:defRPr sz="900" b="1">
                          <a:latin typeface="Nexa (Headings)"/>
                        </a:defRPr>
                      </a:pPr>
                      <a: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Kiri </a:t>
                      </a:r>
                    </a:p>
                    <a:p>
                      <a:pPr algn="ctr">
                        <a:defRPr sz="900" b="1">
                          <a:latin typeface="Nexa (Headings)"/>
                        </a:defRPr>
                      </a:pPr>
                      <a: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Kiri</a:t>
                      </a:r>
                    </a:p>
                    <a:p>
                      <a:pPr algn="ctr">
                        <a:defRPr sz="900" b="1">
                          <a:latin typeface="Nexa (Headings)"/>
                        </a:defRPr>
                      </a:pPr>
                      <a: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831402">
                <a:tc>
                  <a:txBody>
                    <a:bodyPr/>
                    <a:lstStyle/>
                    <a:p>
                      <a:pPr algn="ctr">
                        <a:defRPr sz="800" b="1">
                          <a:latin typeface="Nexa (Headings)"/>
                        </a:defRPr>
                      </a:pPr>
                      <a:r>
                        <a:t>Grand Total</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175</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2</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21%</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24%</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3</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831402">
                <a:tc>
                  <a:txBody>
                    <a:bodyPr/>
                    <a:lstStyle/>
                    <a:p>
                      <a:pPr algn="ctr">
                        <a:defRPr sz="800" b="1">
                          <a:latin typeface="Nexa (Headings)"/>
                        </a:defRPr>
                      </a:pPr>
                      <a:r>
                        <a:t>Frais A Tartiner</a:t>
                      </a:r>
                    </a:p>
                  </a:txBody>
                  <a:tcPr marL="3810" marR="3810" marT="3810" marB="0" anchor="ctr">
                    <a:noFill/>
                  </a:tcPr>
                </a:tc>
                <a:tc>
                  <a:txBody>
                    <a:bodyPr/>
                    <a:lstStyle/>
                    <a:p>
                      <a:pPr algn="ctr">
                        <a:defRPr sz="800">
                          <a:latin typeface="Nexa Book"/>
                        </a:defRPr>
                      </a:pPr>
                      <a:r>
                        <a:t>90</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3161381"/>
                  </a:ext>
                </a:extLst>
              </a:tr>
              <a:tr h="831402">
                <a:tc>
                  <a:txBody>
                    <a:bodyPr/>
                    <a:lstStyle/>
                    <a:p>
                      <a:pPr algn="ctr">
                        <a:defRPr sz="800" b="1">
                          <a:latin typeface="Nexa (Headings)"/>
                        </a:defRPr>
                      </a:pPr>
                      <a:r>
                        <a:t>Enfant</a:t>
                      </a:r>
                    </a:p>
                  </a:txBody>
                  <a:tcPr marL="3810" marR="3810" marT="3810" marB="0" anchor="ctr">
                    <a:noFill/>
                  </a:tcPr>
                </a:tc>
                <a:tc>
                  <a:txBody>
                    <a:bodyPr/>
                    <a:lstStyle/>
                    <a:p>
                      <a:pPr algn="ctr">
                        <a:defRPr sz="800">
                          <a:latin typeface="Nexa Book"/>
                        </a:defRPr>
                      </a:pPr>
                      <a:r>
                        <a:t>49</a:t>
                      </a:r>
                    </a:p>
                  </a:txBody>
                  <a:tcPr marL="3810" marR="3810" marT="3810" marB="0" anchor="ctr">
                    <a:noFill/>
                  </a:tcPr>
                </a:tc>
                <a:tc>
                  <a:txBody>
                    <a:bodyPr/>
                    <a:lstStyle/>
                    <a:p>
                      <a:pPr algn="ctr">
                        <a:defRPr sz="800">
                          <a:latin typeface="Nexa Book"/>
                        </a:defRPr>
                      </a:pPr>
                      <a:r>
                        <a:t>9</a:t>
                      </a:r>
                    </a:p>
                  </a:txBody>
                  <a:tcPr marL="3810" marR="3810" marT="3810" marB="0" anchor="ctr">
                    <a:noFill/>
                  </a:tcPr>
                </a:tc>
                <a:tc>
                  <a:txBody>
                    <a:bodyPr/>
                    <a:lstStyle/>
                    <a:p>
                      <a:pPr algn="ctr">
                        <a:defRPr sz="800">
                          <a:latin typeface="Nexa Book"/>
                        </a:defRPr>
                      </a:pPr>
                      <a:r>
                        <a:t>18%</a:t>
                      </a:r>
                    </a:p>
                  </a:txBody>
                  <a:tcPr marL="3810" marR="3810" marT="3810" marB="0" anchor="ctr">
                    <a:noFill/>
                  </a:tcPr>
                </a:tc>
                <a:tc>
                  <a:txBody>
                    <a:bodyPr/>
                    <a:lstStyle/>
                    <a:p>
                      <a:pPr algn="ctr">
                        <a:defRPr sz="800">
                          <a:latin typeface="Nexa Book"/>
                        </a:defRPr>
                      </a:pPr>
                      <a:r>
                        <a:t>23%</a:t>
                      </a:r>
                    </a:p>
                  </a:txBody>
                  <a:tcPr marL="3810" marR="3810" marT="3810" marB="0" anchor="ctr">
                    <a:noFill/>
                  </a:tcPr>
                </a:tc>
                <a:tc>
                  <a:txBody>
                    <a:bodyPr/>
                    <a:lstStyle/>
                    <a:p>
                      <a:pPr algn="ctr">
                        <a:defRPr sz="800">
                          <a:latin typeface="Nexa Book"/>
                        </a:defRPr>
                      </a:pPr>
                      <a:r>
                        <a:t>11</a:t>
                      </a:r>
                    </a:p>
                  </a:txBody>
                  <a:tcPr marL="3810" marR="3810" marT="3810" marB="0" anchor="ctr">
                    <a:noFill/>
                  </a:tcPr>
                </a:tc>
                <a:tc>
                  <a:txBody>
                    <a:bodyPr/>
                    <a:lstStyle/>
                    <a:p>
                      <a:pPr algn="ctr">
                        <a:defRPr sz="800">
                          <a:latin typeface="Nexa Book"/>
                        </a:defRPr>
                      </a:pPr>
                      <a:r>
                        <a:t>2</a:t>
                      </a:r>
                    </a:p>
                  </a:txBody>
                  <a:tcPr marL="3810" marR="3810" marT="3810" marB="0" anchor="ctr">
                    <a:noFill/>
                  </a:tcPr>
                </a:tc>
                <a:extLst>
                  <a:ext uri="{0D108BD9-81ED-4DB2-BD59-A6C34878D82A}">
                    <a16:rowId xmlns:a16="http://schemas.microsoft.com/office/drawing/2014/main" val="1752397169"/>
                  </a:ext>
                </a:extLst>
              </a:tr>
              <a:tr h="831402">
                <a:tc>
                  <a:txBody>
                    <a:bodyPr/>
                    <a:lstStyle/>
                    <a:p>
                      <a:pPr algn="ctr">
                        <a:defRPr sz="800" b="1">
                          <a:latin typeface="Nexa (Headings)"/>
                        </a:defRPr>
                      </a:pPr>
                      <a:r>
                        <a:t>Salade</a:t>
                      </a:r>
                    </a:p>
                  </a:txBody>
                  <a:tcPr marL="3810" marR="3810" marT="3810" marB="0" anchor="ctr">
                    <a:noFill/>
                  </a:tcPr>
                </a:tc>
                <a:tc>
                  <a:txBody>
                    <a:bodyPr/>
                    <a:lstStyle/>
                    <a:p>
                      <a:pPr algn="ctr">
                        <a:defRPr sz="800">
                          <a:latin typeface="Nexa Book"/>
                        </a:defRPr>
                      </a:pPr>
                      <a:r>
                        <a:t>157</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3712364869"/>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591</a:t>
            </a:fld>
            <a:endParaRPr lang="en-US"/>
          </a:p>
        </p:txBody>
      </p:sp>
    </p:spTree>
    <p:extLst>
      <p:ext uri="{BB962C8B-B14F-4D97-AF65-F5344CB8AC3E}">
        <p14:creationId xmlns:p14="http://schemas.microsoft.com/office/powerpoint/2010/main" val="2260457792"/>
      </p:ext>
    </p:extLst>
  </p:cSld>
  <p:clrMapOvr>
    <a:masterClrMapping/>
  </p:clrMapOvr>
</p:sld>
</file>

<file path=ppt/slides/slide5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9/9/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pPr>
              <a:defRPr sz="1200">
                <a:latin typeface="Nexa Bold (Headings)"/>
              </a:defRPr>
            </a:pPr>
            <a:r>
              <a:t>Segment fair share | Total Fromage | La Vache Qui Rit | Carrefour Hyper + Drive | P12M</a:t>
            </a:r>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pPr>
              <a:defRPr sz="1600">
                <a:latin typeface="Nexa Bold (Headings)"/>
              </a:defRPr>
            </a:pPr>
            <a:r>
              <a:rPr lang="en-GB" dirty="0">
                <a:highlight>
                  <a:srgbClr val="FFFF00"/>
                </a:highlight>
              </a:rPr>
              <a:t>Segment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La Vache Qui Rit </a:t>
                      </a:r>
                    </a:p>
                    <a:p>
                      <a:pPr algn="ctr">
                        <a:defRPr sz="900" b="1">
                          <a:latin typeface="Nexa (Headings)"/>
                        </a:defRPr>
                      </a:pPr>
                      <a: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La Vache Qui Rit </a:t>
                      </a:r>
                    </a:p>
                    <a:p>
                      <a:pPr algn="ctr">
                        <a:defRPr sz="900" b="1">
                          <a:latin typeface="Nexa (Headings)"/>
                        </a:defRPr>
                      </a:pPr>
                      <a: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La Vache Qui Rit </a:t>
                      </a:r>
                    </a:p>
                    <a:p>
                      <a:pPr algn="ctr">
                        <a:defRPr sz="900" b="1">
                          <a:latin typeface="Nexa (Headings)"/>
                        </a:defRPr>
                      </a:pPr>
                      <a: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La Vache Qui Rit </a:t>
                      </a:r>
                    </a:p>
                    <a:p>
                      <a:pPr algn="ctr">
                        <a:defRPr sz="900" b="1">
                          <a:latin typeface="Nexa (Headings)"/>
                        </a:defRPr>
                      </a:pPr>
                      <a: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La Vache Qui Rit</a:t>
                      </a:r>
                    </a:p>
                    <a:p>
                      <a:pPr algn="ctr">
                        <a:defRPr sz="900" b="1">
                          <a:latin typeface="Nexa (Headings)"/>
                        </a:defRPr>
                      </a:pPr>
                      <a: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831402">
                <a:tc>
                  <a:txBody>
                    <a:bodyPr/>
                    <a:lstStyle/>
                    <a:p>
                      <a:pPr algn="ctr">
                        <a:defRPr sz="800" b="1">
                          <a:latin typeface="Nexa (Headings)"/>
                        </a:defRPr>
                      </a:pPr>
                      <a:r>
                        <a:t>Grand Total</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175</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3</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32%</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45%</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6</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831402">
                <a:tc>
                  <a:txBody>
                    <a:bodyPr/>
                    <a:lstStyle/>
                    <a:p>
                      <a:pPr algn="ctr">
                        <a:defRPr sz="800" b="1">
                          <a:latin typeface="Nexa (Headings)"/>
                        </a:defRPr>
                      </a:pPr>
                      <a:r>
                        <a:t>Frais A Tartiner</a:t>
                      </a:r>
                    </a:p>
                  </a:txBody>
                  <a:tcPr marL="3810" marR="3810" marT="3810" marB="0" anchor="ctr">
                    <a:noFill/>
                  </a:tcPr>
                </a:tc>
                <a:tc>
                  <a:txBody>
                    <a:bodyPr/>
                    <a:lstStyle/>
                    <a:p>
                      <a:pPr algn="ctr">
                        <a:defRPr sz="800">
                          <a:latin typeface="Nexa Book"/>
                        </a:defRPr>
                      </a:pPr>
                      <a:r>
                        <a:t>9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3161381"/>
                  </a:ext>
                </a:extLst>
              </a:tr>
              <a:tr h="831402">
                <a:tc>
                  <a:txBody>
                    <a:bodyPr/>
                    <a:lstStyle/>
                    <a:p>
                      <a:pPr algn="ctr">
                        <a:defRPr sz="800" b="1">
                          <a:latin typeface="Nexa (Headings)"/>
                        </a:defRPr>
                      </a:pPr>
                      <a:r>
                        <a:t>Enfant</a:t>
                      </a:r>
                    </a:p>
                  </a:txBody>
                  <a:tcPr marL="3810" marR="3810" marT="3810" marB="0" anchor="ctr">
                    <a:noFill/>
                  </a:tcPr>
                </a:tc>
                <a:tc>
                  <a:txBody>
                    <a:bodyPr/>
                    <a:lstStyle/>
                    <a:p>
                      <a:pPr algn="ctr">
                        <a:defRPr sz="800">
                          <a:latin typeface="Nexa Book"/>
                        </a:defRPr>
                      </a:pPr>
                      <a:r>
                        <a:t>49</a:t>
                      </a:r>
                    </a:p>
                  </a:txBody>
                  <a:tcPr marL="3810" marR="3810" marT="3810" marB="0" anchor="ctr">
                    <a:noFill/>
                  </a:tcPr>
                </a:tc>
                <a:tc>
                  <a:txBody>
                    <a:bodyPr/>
                    <a:lstStyle/>
                    <a:p>
                      <a:pPr algn="ctr">
                        <a:defRPr sz="800">
                          <a:latin typeface="Nexa Book"/>
                        </a:defRPr>
                      </a:pPr>
                      <a:r>
                        <a:t>11</a:t>
                      </a:r>
                    </a:p>
                  </a:txBody>
                  <a:tcPr marL="3810" marR="3810" marT="3810" marB="0" anchor="ctr">
                    <a:noFill/>
                  </a:tcPr>
                </a:tc>
                <a:tc>
                  <a:txBody>
                    <a:bodyPr/>
                    <a:lstStyle/>
                    <a:p>
                      <a:pPr algn="ctr">
                        <a:defRPr sz="800">
                          <a:latin typeface="Nexa Book"/>
                        </a:defRPr>
                      </a:pPr>
                      <a:r>
                        <a:t>22%</a:t>
                      </a:r>
                    </a:p>
                  </a:txBody>
                  <a:tcPr marL="3810" marR="3810" marT="3810" marB="0" anchor="ctr">
                    <a:noFill/>
                  </a:tcPr>
                </a:tc>
                <a:tc>
                  <a:txBody>
                    <a:bodyPr/>
                    <a:lstStyle/>
                    <a:p>
                      <a:pPr algn="ctr">
                        <a:defRPr sz="800">
                          <a:latin typeface="Nexa Book"/>
                        </a:defRPr>
                      </a:pPr>
                      <a:r>
                        <a:t>33%</a:t>
                      </a:r>
                    </a:p>
                  </a:txBody>
                  <a:tcPr marL="3810" marR="3810" marT="3810" marB="0" anchor="ctr">
                    <a:noFill/>
                  </a:tcPr>
                </a:tc>
                <a:tc>
                  <a:txBody>
                    <a:bodyPr/>
                    <a:lstStyle/>
                    <a:p>
                      <a:pPr algn="ctr">
                        <a:defRPr sz="800">
                          <a:latin typeface="Nexa Book"/>
                        </a:defRPr>
                      </a:pPr>
                      <a:r>
                        <a:t>16</a:t>
                      </a:r>
                    </a:p>
                  </a:txBody>
                  <a:tcPr marL="3810" marR="3810" marT="3810" marB="0" anchor="ctr">
                    <a:noFill/>
                  </a:tcPr>
                </a:tc>
                <a:tc>
                  <a:txBody>
                    <a:bodyPr/>
                    <a:lstStyle/>
                    <a:p>
                      <a:pPr algn="ctr">
                        <a:defRPr sz="800">
                          <a:latin typeface="Nexa Book"/>
                        </a:defRPr>
                      </a:pPr>
                      <a:r>
                        <a:t>5</a:t>
                      </a:r>
                    </a:p>
                  </a:txBody>
                  <a:tcPr marL="3810" marR="3810" marT="3810" marB="0" anchor="ctr">
                    <a:noFill/>
                  </a:tcPr>
                </a:tc>
                <a:extLst>
                  <a:ext uri="{0D108BD9-81ED-4DB2-BD59-A6C34878D82A}">
                    <a16:rowId xmlns:a16="http://schemas.microsoft.com/office/drawing/2014/main" val="1752397169"/>
                  </a:ext>
                </a:extLst>
              </a:tr>
              <a:tr h="831402">
                <a:tc>
                  <a:txBody>
                    <a:bodyPr/>
                    <a:lstStyle/>
                    <a:p>
                      <a:pPr algn="ctr">
                        <a:defRPr sz="800" b="1">
                          <a:latin typeface="Nexa (Headings)"/>
                        </a:defRPr>
                      </a:pPr>
                      <a:r>
                        <a:t>Salade</a:t>
                      </a:r>
                    </a:p>
                  </a:txBody>
                  <a:tcPr marL="3810" marR="3810" marT="3810" marB="0" anchor="ctr">
                    <a:noFill/>
                  </a:tcPr>
                </a:tc>
                <a:tc>
                  <a:txBody>
                    <a:bodyPr/>
                    <a:lstStyle/>
                    <a:p>
                      <a:pPr algn="ctr">
                        <a:defRPr sz="800">
                          <a:latin typeface="Nexa Book"/>
                        </a:defRPr>
                      </a:pPr>
                      <a:r>
                        <a:t>157</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3712364869"/>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592</a:t>
            </a:fld>
            <a:endParaRPr lang="en-US"/>
          </a:p>
        </p:txBody>
      </p:sp>
    </p:spTree>
    <p:extLst>
      <p:ext uri="{BB962C8B-B14F-4D97-AF65-F5344CB8AC3E}">
        <p14:creationId xmlns:p14="http://schemas.microsoft.com/office/powerpoint/2010/main" val="931305829"/>
      </p:ext>
    </p:extLst>
  </p:cSld>
  <p:clrMapOvr>
    <a:masterClrMapping/>
  </p:clrMapOvr>
</p:sld>
</file>

<file path=ppt/slides/slide5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9/9/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pPr>
              <a:defRPr sz="1200">
                <a:latin typeface="Nexa Bold (Headings)"/>
              </a:defRPr>
            </a:pPr>
            <a:r>
              <a:t>Segment fair share | Total Fromage | Kiri | Intermarche | P12M</a:t>
            </a:r>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pPr>
              <a:defRPr sz="1600">
                <a:latin typeface="Nexa Bold (Headings)"/>
              </a:defRPr>
            </a:pPr>
            <a:r>
              <a:rPr lang="en-GB" dirty="0">
                <a:highlight>
                  <a:srgbClr val="FFFF00"/>
                </a:highlight>
              </a:rPr>
              <a:t>Segment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Kiri </a:t>
                      </a:r>
                    </a:p>
                    <a:p>
                      <a:pPr algn="ctr">
                        <a:defRPr sz="900" b="1">
                          <a:latin typeface="Nexa (Headings)"/>
                        </a:defRPr>
                      </a:pPr>
                      <a: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Kiri </a:t>
                      </a:r>
                    </a:p>
                    <a:p>
                      <a:pPr algn="ctr">
                        <a:defRPr sz="900" b="1">
                          <a:latin typeface="Nexa (Headings)"/>
                        </a:defRPr>
                      </a:pPr>
                      <a: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Kiri </a:t>
                      </a:r>
                    </a:p>
                    <a:p>
                      <a:pPr algn="ctr">
                        <a:defRPr sz="900" b="1">
                          <a:latin typeface="Nexa (Headings)"/>
                        </a:defRPr>
                      </a:pPr>
                      <a: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Kiri </a:t>
                      </a:r>
                    </a:p>
                    <a:p>
                      <a:pPr algn="ctr">
                        <a:defRPr sz="900" b="1">
                          <a:latin typeface="Nexa (Headings)"/>
                        </a:defRPr>
                      </a:pPr>
                      <a: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Kiri</a:t>
                      </a:r>
                    </a:p>
                    <a:p>
                      <a:pPr algn="ctr">
                        <a:defRPr sz="900" b="1">
                          <a:latin typeface="Nexa (Headings)"/>
                        </a:defRPr>
                      </a:pPr>
                      <a: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831402">
                <a:tc>
                  <a:txBody>
                    <a:bodyPr/>
                    <a:lstStyle/>
                    <a:p>
                      <a:pPr algn="ctr">
                        <a:defRPr sz="800" b="1">
                          <a:latin typeface="Nexa (Headings)"/>
                        </a:defRPr>
                      </a:pPr>
                      <a:r>
                        <a:t>Grand Total</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612</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1</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31%</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22%</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8</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831402">
                <a:tc>
                  <a:txBody>
                    <a:bodyPr/>
                    <a:lstStyle/>
                    <a:p>
                      <a:pPr algn="ctr">
                        <a:defRPr sz="800" b="1">
                          <a:latin typeface="Nexa (Headings)"/>
                        </a:defRPr>
                      </a:pPr>
                      <a:r>
                        <a:t>Frais A Tartiner</a:t>
                      </a:r>
                    </a:p>
                  </a:txBody>
                  <a:tcPr marL="3810" marR="3810" marT="3810" marB="0" anchor="ctr">
                    <a:noFill/>
                  </a:tcPr>
                </a:tc>
                <a:tc>
                  <a:txBody>
                    <a:bodyPr/>
                    <a:lstStyle/>
                    <a:p>
                      <a:pPr algn="ctr">
                        <a:defRPr sz="800">
                          <a:latin typeface="Nexa Book"/>
                        </a:defRPr>
                      </a:pPr>
                      <a:r>
                        <a:t>52</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4%</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3161381"/>
                  </a:ext>
                </a:extLst>
              </a:tr>
              <a:tr h="831402">
                <a:tc>
                  <a:txBody>
                    <a:bodyPr/>
                    <a:lstStyle/>
                    <a:p>
                      <a:pPr algn="ctr">
                        <a:defRPr sz="800" b="1">
                          <a:latin typeface="Nexa (Headings)"/>
                        </a:defRPr>
                      </a:pPr>
                      <a:r>
                        <a:t>Enfant</a:t>
                      </a:r>
                    </a:p>
                  </a:txBody>
                  <a:tcPr marL="3810" marR="3810" marT="3810" marB="0" anchor="ctr">
                    <a:noFill/>
                  </a:tcPr>
                </a:tc>
                <a:tc>
                  <a:txBody>
                    <a:bodyPr/>
                    <a:lstStyle/>
                    <a:p>
                      <a:pPr algn="ctr">
                        <a:defRPr sz="800">
                          <a:latin typeface="Nexa Book"/>
                        </a:defRPr>
                      </a:pPr>
                      <a:r>
                        <a:t>33</a:t>
                      </a:r>
                    </a:p>
                  </a:txBody>
                  <a:tcPr marL="3810" marR="3810" marT="3810" marB="0" anchor="ctr">
                    <a:noFill/>
                  </a:tcPr>
                </a:tc>
                <a:tc>
                  <a:txBody>
                    <a:bodyPr/>
                    <a:lstStyle/>
                    <a:p>
                      <a:pPr algn="ctr">
                        <a:defRPr sz="800">
                          <a:latin typeface="Nexa Book"/>
                        </a:defRPr>
                      </a:pPr>
                      <a:r>
                        <a:t>9</a:t>
                      </a:r>
                    </a:p>
                  </a:txBody>
                  <a:tcPr marL="3810" marR="3810" marT="3810" marB="0" anchor="ctr">
                    <a:noFill/>
                  </a:tcPr>
                </a:tc>
                <a:tc>
                  <a:txBody>
                    <a:bodyPr/>
                    <a:lstStyle/>
                    <a:p>
                      <a:pPr algn="ctr">
                        <a:defRPr sz="800">
                          <a:latin typeface="Nexa Book"/>
                        </a:defRPr>
                      </a:pPr>
                      <a:r>
                        <a:t>26%</a:t>
                      </a:r>
                    </a:p>
                  </a:txBody>
                  <a:tcPr marL="3810" marR="3810" marT="3810" marB="0" anchor="ctr">
                    <a:noFill/>
                  </a:tcPr>
                </a:tc>
                <a:tc>
                  <a:txBody>
                    <a:bodyPr/>
                    <a:lstStyle/>
                    <a:p>
                      <a:pPr algn="ctr">
                        <a:defRPr sz="800">
                          <a:latin typeface="Nexa Book"/>
                        </a:defRPr>
                      </a:pPr>
                      <a:r>
                        <a:t>22%</a:t>
                      </a:r>
                    </a:p>
                  </a:txBody>
                  <a:tcPr marL="3810" marR="3810" marT="3810" marB="0" anchor="ctr">
                    <a:noFill/>
                  </a:tcPr>
                </a:tc>
                <a:tc>
                  <a:txBody>
                    <a:bodyPr/>
                    <a:lstStyle/>
                    <a:p>
                      <a:pPr algn="ctr">
                        <a:defRPr sz="800">
                          <a:latin typeface="Nexa Book"/>
                        </a:defRPr>
                      </a:pPr>
                      <a:r>
                        <a:t>7</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1752397169"/>
                  </a:ext>
                </a:extLst>
              </a:tr>
              <a:tr h="831402">
                <a:tc>
                  <a:txBody>
                    <a:bodyPr/>
                    <a:lstStyle/>
                    <a:p>
                      <a:pPr algn="ctr">
                        <a:defRPr sz="800" b="1">
                          <a:latin typeface="Nexa (Headings)"/>
                        </a:defRPr>
                      </a:pPr>
                      <a:r>
                        <a:t>Salade</a:t>
                      </a:r>
                    </a:p>
                  </a:txBody>
                  <a:tcPr marL="3810" marR="3810" marT="3810" marB="0" anchor="ctr">
                    <a:noFill/>
                  </a:tcPr>
                </a:tc>
                <a:tc>
                  <a:txBody>
                    <a:bodyPr/>
                    <a:lstStyle/>
                    <a:p>
                      <a:pPr algn="ctr">
                        <a:defRPr sz="800">
                          <a:latin typeface="Nexa Book"/>
                        </a:defRPr>
                      </a:pPr>
                      <a:r>
                        <a:t>59</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3712364869"/>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593</a:t>
            </a:fld>
            <a:endParaRPr lang="en-US"/>
          </a:p>
        </p:txBody>
      </p:sp>
    </p:spTree>
    <p:extLst>
      <p:ext uri="{BB962C8B-B14F-4D97-AF65-F5344CB8AC3E}">
        <p14:creationId xmlns:p14="http://schemas.microsoft.com/office/powerpoint/2010/main" val="737559686"/>
      </p:ext>
    </p:extLst>
  </p:cSld>
  <p:clrMapOvr>
    <a:masterClrMapping/>
  </p:clrMapOvr>
</p:sld>
</file>

<file path=ppt/slides/slide5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9/9/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pPr>
              <a:defRPr sz="1200">
                <a:latin typeface="Nexa Bold (Headings)"/>
              </a:defRPr>
            </a:pPr>
            <a:r>
              <a:t>Segment fair share | Total Fromage | Boursin | Intermarche | P12M</a:t>
            </a:r>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pPr>
              <a:defRPr sz="1600">
                <a:latin typeface="Nexa Bold (Headings)"/>
              </a:defRPr>
            </a:pPr>
            <a:r>
              <a:rPr lang="en-GB" dirty="0">
                <a:highlight>
                  <a:srgbClr val="FFFF00"/>
                </a:highlight>
              </a:rPr>
              <a:t>Segment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oursin </a:t>
                      </a:r>
                    </a:p>
                    <a:p>
                      <a:pPr algn="ctr">
                        <a:defRPr sz="900" b="1">
                          <a:latin typeface="Nexa (Headings)"/>
                        </a:defRPr>
                      </a:pPr>
                      <a: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oursin </a:t>
                      </a:r>
                    </a:p>
                    <a:p>
                      <a:pPr algn="ctr">
                        <a:defRPr sz="900" b="1">
                          <a:latin typeface="Nexa (Headings)"/>
                        </a:defRPr>
                      </a:pPr>
                      <a: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oursin </a:t>
                      </a:r>
                    </a:p>
                    <a:p>
                      <a:pPr algn="ctr">
                        <a:defRPr sz="900" b="1">
                          <a:latin typeface="Nexa (Headings)"/>
                        </a:defRPr>
                      </a:pPr>
                      <a: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oursin </a:t>
                      </a:r>
                    </a:p>
                    <a:p>
                      <a:pPr algn="ctr">
                        <a:defRPr sz="900" b="1">
                          <a:latin typeface="Nexa (Headings)"/>
                        </a:defRPr>
                      </a:pPr>
                      <a: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oursin</a:t>
                      </a:r>
                    </a:p>
                    <a:p>
                      <a:pPr algn="ctr">
                        <a:defRPr sz="900" b="1">
                          <a:latin typeface="Nexa (Headings)"/>
                        </a:defRPr>
                      </a:pPr>
                      <a: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831402">
                <a:tc>
                  <a:txBody>
                    <a:bodyPr/>
                    <a:lstStyle/>
                    <a:p>
                      <a:pPr algn="ctr">
                        <a:defRPr sz="800" b="1">
                          <a:latin typeface="Nexa (Headings)"/>
                        </a:defRPr>
                      </a:pPr>
                      <a:r>
                        <a:t>Grand Total</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612</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20</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47%</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2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3</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831402">
                <a:tc>
                  <a:txBody>
                    <a:bodyPr/>
                    <a:lstStyle/>
                    <a:p>
                      <a:pPr algn="ctr">
                        <a:defRPr sz="800" b="1">
                          <a:latin typeface="Nexa (Headings)"/>
                        </a:defRPr>
                      </a:pPr>
                      <a:r>
                        <a:t>Frais A Tartiner</a:t>
                      </a:r>
                    </a:p>
                  </a:txBody>
                  <a:tcPr marL="3810" marR="3810" marT="3810" marB="0" anchor="ctr">
                    <a:noFill/>
                  </a:tcPr>
                </a:tc>
                <a:tc>
                  <a:txBody>
                    <a:bodyPr/>
                    <a:lstStyle/>
                    <a:p>
                      <a:pPr algn="ctr">
                        <a:defRPr sz="800">
                          <a:latin typeface="Nexa Book"/>
                        </a:defRPr>
                      </a:pPr>
                      <a:r>
                        <a:t>52</a:t>
                      </a:r>
                    </a:p>
                  </a:txBody>
                  <a:tcPr marL="3810" marR="3810" marT="3810" marB="0" anchor="ctr">
                    <a:noFill/>
                  </a:tcPr>
                </a:tc>
                <a:tc>
                  <a:txBody>
                    <a:bodyPr/>
                    <a:lstStyle/>
                    <a:p>
                      <a:pPr algn="ctr">
                        <a:defRPr sz="800">
                          <a:latin typeface="Nexa Book"/>
                        </a:defRPr>
                      </a:pPr>
                      <a:r>
                        <a:t>10</a:t>
                      </a:r>
                    </a:p>
                  </a:txBody>
                  <a:tcPr marL="3810" marR="3810" marT="3810" marB="0" anchor="ctr">
                    <a:noFill/>
                  </a:tcPr>
                </a:tc>
                <a:tc>
                  <a:txBody>
                    <a:bodyPr/>
                    <a:lstStyle/>
                    <a:p>
                      <a:pPr algn="ctr">
                        <a:defRPr sz="800">
                          <a:latin typeface="Nexa Book"/>
                        </a:defRPr>
                      </a:pPr>
                      <a:r>
                        <a:t>20%</a:t>
                      </a:r>
                    </a:p>
                  </a:txBody>
                  <a:tcPr marL="3810" marR="3810" marT="3810" marB="0" anchor="ctr">
                    <a:noFill/>
                  </a:tcPr>
                </a:tc>
                <a:tc>
                  <a:txBody>
                    <a:bodyPr/>
                    <a:lstStyle/>
                    <a:p>
                      <a:pPr algn="ctr">
                        <a:defRPr sz="800">
                          <a:latin typeface="Nexa Book"/>
                        </a:defRPr>
                      </a:pPr>
                      <a:r>
                        <a:t>15%</a:t>
                      </a:r>
                    </a:p>
                  </a:txBody>
                  <a:tcPr marL="3810" marR="3810" marT="3810" marB="0" anchor="ctr">
                    <a:noFill/>
                  </a:tcPr>
                </a:tc>
                <a:tc>
                  <a:txBody>
                    <a:bodyPr/>
                    <a:lstStyle/>
                    <a:p>
                      <a:pPr algn="ctr">
                        <a:defRPr sz="800">
                          <a:latin typeface="Nexa Book"/>
                        </a:defRPr>
                      </a:pPr>
                      <a:r>
                        <a:t>8</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3161381"/>
                  </a:ext>
                </a:extLst>
              </a:tr>
              <a:tr h="831402">
                <a:tc>
                  <a:txBody>
                    <a:bodyPr/>
                    <a:lstStyle/>
                    <a:p>
                      <a:pPr algn="ctr">
                        <a:defRPr sz="800" b="1">
                          <a:latin typeface="Nexa (Headings)"/>
                        </a:defRPr>
                      </a:pPr>
                      <a:r>
                        <a:t>Enfant</a:t>
                      </a:r>
                    </a:p>
                  </a:txBody>
                  <a:tcPr marL="3810" marR="3810" marT="3810" marB="0" anchor="ctr">
                    <a:noFill/>
                  </a:tcPr>
                </a:tc>
                <a:tc>
                  <a:txBody>
                    <a:bodyPr/>
                    <a:lstStyle/>
                    <a:p>
                      <a:pPr algn="ctr">
                        <a:defRPr sz="800">
                          <a:latin typeface="Nexa Book"/>
                        </a:defRPr>
                      </a:pPr>
                      <a:r>
                        <a:t>33</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1752397169"/>
                  </a:ext>
                </a:extLst>
              </a:tr>
              <a:tr h="831402">
                <a:tc>
                  <a:txBody>
                    <a:bodyPr/>
                    <a:lstStyle/>
                    <a:p>
                      <a:pPr algn="ctr">
                        <a:defRPr sz="800" b="1">
                          <a:latin typeface="Nexa (Headings)"/>
                        </a:defRPr>
                      </a:pPr>
                      <a:r>
                        <a:t>Salade</a:t>
                      </a:r>
                    </a:p>
                  </a:txBody>
                  <a:tcPr marL="3810" marR="3810" marT="3810" marB="0" anchor="ctr">
                    <a:noFill/>
                  </a:tcPr>
                </a:tc>
                <a:tc>
                  <a:txBody>
                    <a:bodyPr/>
                    <a:lstStyle/>
                    <a:p>
                      <a:pPr algn="ctr">
                        <a:defRPr sz="800">
                          <a:latin typeface="Nexa Book"/>
                        </a:defRPr>
                      </a:pPr>
                      <a:r>
                        <a:t>59</a:t>
                      </a:r>
                    </a:p>
                  </a:txBody>
                  <a:tcPr marL="3810" marR="3810" marT="3810" marB="0" anchor="ctr">
                    <a:noFill/>
                  </a:tcPr>
                </a:tc>
                <a:tc>
                  <a:txBody>
                    <a:bodyPr/>
                    <a:lstStyle/>
                    <a:p>
                      <a:pPr algn="ctr">
                        <a:defRPr sz="800">
                          <a:latin typeface="Nexa Book"/>
                        </a:defRPr>
                      </a:pPr>
                      <a:r>
                        <a:t>5</a:t>
                      </a:r>
                    </a:p>
                  </a:txBody>
                  <a:tcPr marL="3810" marR="3810" marT="3810" marB="0" anchor="ctr">
                    <a:noFill/>
                  </a:tcPr>
                </a:tc>
                <a:tc>
                  <a:txBody>
                    <a:bodyPr/>
                    <a:lstStyle/>
                    <a:p>
                      <a:pPr algn="ctr">
                        <a:defRPr sz="800">
                          <a:latin typeface="Nexa Book"/>
                        </a:defRPr>
                      </a:pPr>
                      <a:r>
                        <a:t>8%</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3712364869"/>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594</a:t>
            </a:fld>
            <a:endParaRPr lang="en-US"/>
          </a:p>
        </p:txBody>
      </p:sp>
    </p:spTree>
    <p:extLst>
      <p:ext uri="{BB962C8B-B14F-4D97-AF65-F5344CB8AC3E}">
        <p14:creationId xmlns:p14="http://schemas.microsoft.com/office/powerpoint/2010/main" val="1497565124"/>
      </p:ext>
    </p:extLst>
  </p:cSld>
  <p:clrMapOvr>
    <a:masterClrMapping/>
  </p:clrMapOvr>
</p:sld>
</file>

<file path=ppt/slides/slide5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9/9/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pPr>
              <a:defRPr sz="1200">
                <a:latin typeface="Nexa Bold (Headings)"/>
              </a:defRPr>
            </a:pPr>
            <a:r>
              <a:t>Segment fair share | Total Fromage | La Vache Qui Rit | Intermarche | P12M</a:t>
            </a:r>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pPr>
              <a:defRPr sz="1600">
                <a:latin typeface="Nexa Bold (Headings)"/>
              </a:defRPr>
            </a:pPr>
            <a:r>
              <a:rPr lang="en-GB" dirty="0">
                <a:highlight>
                  <a:srgbClr val="FFFF00"/>
                </a:highlight>
              </a:rPr>
              <a:t>Segment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La Vache Qui Rit </a:t>
                      </a:r>
                    </a:p>
                    <a:p>
                      <a:pPr algn="ctr">
                        <a:defRPr sz="900" b="1">
                          <a:latin typeface="Nexa (Headings)"/>
                        </a:defRPr>
                      </a:pPr>
                      <a: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La Vache Qui Rit </a:t>
                      </a:r>
                    </a:p>
                    <a:p>
                      <a:pPr algn="ctr">
                        <a:defRPr sz="900" b="1">
                          <a:latin typeface="Nexa (Headings)"/>
                        </a:defRPr>
                      </a:pPr>
                      <a: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La Vache Qui Rit </a:t>
                      </a:r>
                    </a:p>
                    <a:p>
                      <a:pPr algn="ctr">
                        <a:defRPr sz="900" b="1">
                          <a:latin typeface="Nexa (Headings)"/>
                        </a:defRPr>
                      </a:pPr>
                      <a: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La Vache Qui Rit </a:t>
                      </a:r>
                    </a:p>
                    <a:p>
                      <a:pPr algn="ctr">
                        <a:defRPr sz="900" b="1">
                          <a:latin typeface="Nexa (Headings)"/>
                        </a:defRPr>
                      </a:pPr>
                      <a: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La Vache Qui Rit</a:t>
                      </a:r>
                    </a:p>
                    <a:p>
                      <a:pPr algn="ctr">
                        <a:defRPr sz="900" b="1">
                          <a:latin typeface="Nexa (Headings)"/>
                        </a:defRPr>
                      </a:pPr>
                      <a: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831402">
                <a:tc>
                  <a:txBody>
                    <a:bodyPr/>
                    <a:lstStyle/>
                    <a:p>
                      <a:pPr algn="ctr">
                        <a:defRPr sz="800" b="1">
                          <a:latin typeface="Nexa (Headings)"/>
                        </a:defRPr>
                      </a:pPr>
                      <a:r>
                        <a:t>Grand Total</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612</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8</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25%</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30%</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0</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2</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831402">
                <a:tc>
                  <a:txBody>
                    <a:bodyPr/>
                    <a:lstStyle/>
                    <a:p>
                      <a:pPr algn="ctr">
                        <a:defRPr sz="800" b="1">
                          <a:latin typeface="Nexa (Headings)"/>
                        </a:defRPr>
                      </a:pPr>
                      <a:r>
                        <a:t>Frais A Tartiner</a:t>
                      </a:r>
                    </a:p>
                  </a:txBody>
                  <a:tcPr marL="3810" marR="3810" marT="3810" marB="0" anchor="ctr">
                    <a:noFill/>
                  </a:tcPr>
                </a:tc>
                <a:tc>
                  <a:txBody>
                    <a:bodyPr/>
                    <a:lstStyle/>
                    <a:p>
                      <a:pPr algn="ctr">
                        <a:defRPr sz="800">
                          <a:latin typeface="Nexa Book"/>
                        </a:defRPr>
                      </a:pPr>
                      <a:r>
                        <a:t>52</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3161381"/>
                  </a:ext>
                </a:extLst>
              </a:tr>
              <a:tr h="831402">
                <a:tc>
                  <a:txBody>
                    <a:bodyPr/>
                    <a:lstStyle/>
                    <a:p>
                      <a:pPr algn="ctr">
                        <a:defRPr sz="800" b="1">
                          <a:latin typeface="Nexa (Headings)"/>
                        </a:defRPr>
                      </a:pPr>
                      <a:r>
                        <a:t>Enfant</a:t>
                      </a:r>
                    </a:p>
                  </a:txBody>
                  <a:tcPr marL="3810" marR="3810" marT="3810" marB="0" anchor="ctr">
                    <a:noFill/>
                  </a:tcPr>
                </a:tc>
                <a:tc>
                  <a:txBody>
                    <a:bodyPr/>
                    <a:lstStyle/>
                    <a:p>
                      <a:pPr algn="ctr">
                        <a:defRPr sz="800">
                          <a:latin typeface="Nexa Book"/>
                        </a:defRPr>
                      </a:pPr>
                      <a:r>
                        <a:t>33</a:t>
                      </a:r>
                    </a:p>
                  </a:txBody>
                  <a:tcPr marL="3810" marR="3810" marT="3810" marB="0" anchor="ctr">
                    <a:noFill/>
                  </a:tcPr>
                </a:tc>
                <a:tc>
                  <a:txBody>
                    <a:bodyPr/>
                    <a:lstStyle/>
                    <a:p>
                      <a:pPr algn="ctr">
                        <a:defRPr sz="800">
                          <a:latin typeface="Nexa Book"/>
                        </a:defRPr>
                      </a:pPr>
                      <a:r>
                        <a:t>8</a:t>
                      </a:r>
                    </a:p>
                  </a:txBody>
                  <a:tcPr marL="3810" marR="3810" marT="3810" marB="0" anchor="ctr">
                    <a:noFill/>
                  </a:tcPr>
                </a:tc>
                <a:tc>
                  <a:txBody>
                    <a:bodyPr/>
                    <a:lstStyle/>
                    <a:p>
                      <a:pPr algn="ctr">
                        <a:defRPr sz="800">
                          <a:latin typeface="Nexa Book"/>
                        </a:defRPr>
                      </a:pPr>
                      <a:r>
                        <a:t>25%</a:t>
                      </a:r>
                    </a:p>
                  </a:txBody>
                  <a:tcPr marL="3810" marR="3810" marT="3810" marB="0" anchor="ctr">
                    <a:noFill/>
                  </a:tcPr>
                </a:tc>
                <a:tc>
                  <a:txBody>
                    <a:bodyPr/>
                    <a:lstStyle/>
                    <a:p>
                      <a:pPr algn="ctr">
                        <a:defRPr sz="800">
                          <a:latin typeface="Nexa Book"/>
                        </a:defRPr>
                      </a:pPr>
                      <a:r>
                        <a:t>30%</a:t>
                      </a:r>
                    </a:p>
                  </a:txBody>
                  <a:tcPr marL="3810" marR="3810" marT="3810" marB="0" anchor="ctr">
                    <a:noFill/>
                  </a:tcPr>
                </a:tc>
                <a:tc>
                  <a:txBody>
                    <a:bodyPr/>
                    <a:lstStyle/>
                    <a:p>
                      <a:pPr algn="ctr">
                        <a:defRPr sz="800">
                          <a:latin typeface="Nexa Book"/>
                        </a:defRPr>
                      </a:pPr>
                      <a:r>
                        <a:t>10</a:t>
                      </a:r>
                    </a:p>
                  </a:txBody>
                  <a:tcPr marL="3810" marR="3810" marT="3810" marB="0" anchor="ctr">
                    <a:noFill/>
                  </a:tcPr>
                </a:tc>
                <a:tc>
                  <a:txBody>
                    <a:bodyPr/>
                    <a:lstStyle/>
                    <a:p>
                      <a:pPr algn="ctr">
                        <a:defRPr sz="800">
                          <a:latin typeface="Nexa Book"/>
                        </a:defRPr>
                      </a:pPr>
                      <a:r>
                        <a:t>2</a:t>
                      </a:r>
                    </a:p>
                  </a:txBody>
                  <a:tcPr marL="3810" marR="3810" marT="3810" marB="0" anchor="ctr">
                    <a:noFill/>
                  </a:tcPr>
                </a:tc>
                <a:extLst>
                  <a:ext uri="{0D108BD9-81ED-4DB2-BD59-A6C34878D82A}">
                    <a16:rowId xmlns:a16="http://schemas.microsoft.com/office/drawing/2014/main" val="1752397169"/>
                  </a:ext>
                </a:extLst>
              </a:tr>
              <a:tr h="831402">
                <a:tc>
                  <a:txBody>
                    <a:bodyPr/>
                    <a:lstStyle/>
                    <a:p>
                      <a:pPr algn="ctr">
                        <a:defRPr sz="800" b="1">
                          <a:latin typeface="Nexa (Headings)"/>
                        </a:defRPr>
                      </a:pPr>
                      <a:r>
                        <a:t>Salade</a:t>
                      </a:r>
                    </a:p>
                  </a:txBody>
                  <a:tcPr marL="3810" marR="3810" marT="3810" marB="0" anchor="ctr">
                    <a:noFill/>
                  </a:tcPr>
                </a:tc>
                <a:tc>
                  <a:txBody>
                    <a:bodyPr/>
                    <a:lstStyle/>
                    <a:p>
                      <a:pPr algn="ctr">
                        <a:defRPr sz="800">
                          <a:latin typeface="Nexa Book"/>
                        </a:defRPr>
                      </a:pPr>
                      <a:r>
                        <a:t>59</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3712364869"/>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595</a:t>
            </a:fld>
            <a:endParaRPr lang="en-US"/>
          </a:p>
        </p:txBody>
      </p:sp>
    </p:spTree>
    <p:extLst>
      <p:ext uri="{BB962C8B-B14F-4D97-AF65-F5344CB8AC3E}">
        <p14:creationId xmlns:p14="http://schemas.microsoft.com/office/powerpoint/2010/main" val="2562934130"/>
      </p:ext>
    </p:extLst>
  </p:cSld>
  <p:clrMapOvr>
    <a:masterClrMapping/>
  </p:clrMapOvr>
</p:sld>
</file>

<file path=ppt/slides/slide5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9/9/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pPr>
              <a:defRPr sz="1200">
                <a:latin typeface="Nexa Bold (Headings)"/>
              </a:defRPr>
            </a:pPr>
            <a:r>
              <a:t>Segment fair share | Total Fromage | Kiri | Carrefour | P12M</a:t>
            </a:r>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pPr>
              <a:defRPr sz="1600">
                <a:latin typeface="Nexa Bold (Headings)"/>
              </a:defRPr>
            </a:pPr>
            <a:r>
              <a:rPr lang="en-GB" dirty="0">
                <a:highlight>
                  <a:srgbClr val="FFFF00"/>
                </a:highlight>
              </a:rPr>
              <a:t>Segment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Kiri </a:t>
                      </a:r>
                    </a:p>
                    <a:p>
                      <a:pPr algn="ctr">
                        <a:defRPr sz="900" b="1">
                          <a:latin typeface="Nexa (Headings)"/>
                        </a:defRPr>
                      </a:pPr>
                      <a: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Kiri </a:t>
                      </a:r>
                    </a:p>
                    <a:p>
                      <a:pPr algn="ctr">
                        <a:defRPr sz="900" b="1">
                          <a:latin typeface="Nexa (Headings)"/>
                        </a:defRPr>
                      </a:pPr>
                      <a: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Kiri </a:t>
                      </a:r>
                    </a:p>
                    <a:p>
                      <a:pPr algn="ctr">
                        <a:defRPr sz="900" b="1">
                          <a:latin typeface="Nexa (Headings)"/>
                        </a:defRPr>
                      </a:pPr>
                      <a: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Kiri </a:t>
                      </a:r>
                    </a:p>
                    <a:p>
                      <a:pPr algn="ctr">
                        <a:defRPr sz="900" b="1">
                          <a:latin typeface="Nexa (Headings)"/>
                        </a:defRPr>
                      </a:pPr>
                      <a: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Kiri</a:t>
                      </a:r>
                    </a:p>
                    <a:p>
                      <a:pPr algn="ctr">
                        <a:defRPr sz="900" b="1">
                          <a:latin typeface="Nexa (Headings)"/>
                        </a:defRPr>
                      </a:pPr>
                      <a: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831402">
                <a:tc>
                  <a:txBody>
                    <a:bodyPr/>
                    <a:lstStyle/>
                    <a:p>
                      <a:pPr algn="ctr">
                        <a:defRPr sz="800" b="1">
                          <a:latin typeface="Nexa (Headings)"/>
                        </a:defRPr>
                      </a:pPr>
                      <a:r>
                        <a:t>Grand Total</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821</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22%</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24%</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831402">
                <a:tc>
                  <a:txBody>
                    <a:bodyPr/>
                    <a:lstStyle/>
                    <a:p>
                      <a:pPr algn="ctr">
                        <a:defRPr sz="800" b="1">
                          <a:latin typeface="Nexa (Headings)"/>
                        </a:defRPr>
                      </a:pPr>
                      <a:r>
                        <a:t>Frais A Tartiner</a:t>
                      </a:r>
                    </a:p>
                  </a:txBody>
                  <a:tcPr marL="3810" marR="3810" marT="3810" marB="0" anchor="ctr">
                    <a:noFill/>
                  </a:tcPr>
                </a:tc>
                <a:tc>
                  <a:txBody>
                    <a:bodyPr/>
                    <a:lstStyle/>
                    <a:p>
                      <a:pPr algn="ctr">
                        <a:defRPr sz="800">
                          <a:latin typeface="Nexa Book"/>
                        </a:defRPr>
                      </a:pPr>
                      <a:r>
                        <a:t>64</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3161381"/>
                  </a:ext>
                </a:extLst>
              </a:tr>
              <a:tr h="831402">
                <a:tc>
                  <a:txBody>
                    <a:bodyPr/>
                    <a:lstStyle/>
                    <a:p>
                      <a:pPr algn="ctr">
                        <a:defRPr sz="800" b="1">
                          <a:latin typeface="Nexa (Headings)"/>
                        </a:defRPr>
                      </a:pPr>
                      <a:r>
                        <a:t>Enfant</a:t>
                      </a:r>
                    </a:p>
                  </a:txBody>
                  <a:tcPr marL="3810" marR="3810" marT="3810" marB="0" anchor="ctr">
                    <a:noFill/>
                  </a:tcPr>
                </a:tc>
                <a:tc>
                  <a:txBody>
                    <a:bodyPr/>
                    <a:lstStyle/>
                    <a:p>
                      <a:pPr algn="ctr">
                        <a:defRPr sz="800">
                          <a:latin typeface="Nexa Book"/>
                        </a:defRPr>
                      </a:pPr>
                      <a:r>
                        <a:t>36</a:t>
                      </a:r>
                    </a:p>
                  </a:txBody>
                  <a:tcPr marL="3810" marR="3810" marT="3810" marB="0" anchor="ctr">
                    <a:noFill/>
                  </a:tcPr>
                </a:tc>
                <a:tc>
                  <a:txBody>
                    <a:bodyPr/>
                    <a:lstStyle/>
                    <a:p>
                      <a:pPr algn="ctr">
                        <a:defRPr sz="800">
                          <a:latin typeface="Nexa Book"/>
                        </a:defRPr>
                      </a:pPr>
                      <a:r>
                        <a:t>7</a:t>
                      </a:r>
                    </a:p>
                  </a:txBody>
                  <a:tcPr marL="3810" marR="3810" marT="3810" marB="0" anchor="ctr">
                    <a:noFill/>
                  </a:tcPr>
                </a:tc>
                <a:tc>
                  <a:txBody>
                    <a:bodyPr/>
                    <a:lstStyle/>
                    <a:p>
                      <a:pPr algn="ctr">
                        <a:defRPr sz="800">
                          <a:latin typeface="Nexa Book"/>
                        </a:defRPr>
                      </a:pPr>
                      <a:r>
                        <a:t>19%</a:t>
                      </a:r>
                    </a:p>
                  </a:txBody>
                  <a:tcPr marL="3810" marR="3810" marT="3810" marB="0" anchor="ctr">
                    <a:noFill/>
                  </a:tcPr>
                </a:tc>
                <a:tc>
                  <a:txBody>
                    <a:bodyPr/>
                    <a:lstStyle/>
                    <a:p>
                      <a:pPr algn="ctr">
                        <a:defRPr sz="800">
                          <a:latin typeface="Nexa Book"/>
                        </a:defRPr>
                      </a:pPr>
                      <a:r>
                        <a:t>22%</a:t>
                      </a:r>
                    </a:p>
                  </a:txBody>
                  <a:tcPr marL="3810" marR="3810" marT="3810" marB="0" anchor="ctr">
                    <a:noFill/>
                  </a:tcPr>
                </a:tc>
                <a:tc>
                  <a:txBody>
                    <a:bodyPr/>
                    <a:lstStyle/>
                    <a:p>
                      <a:pPr algn="ctr">
                        <a:defRPr sz="800">
                          <a:latin typeface="Nexa Book"/>
                        </a:defRPr>
                      </a:pPr>
                      <a:r>
                        <a:t>8</a:t>
                      </a:r>
                    </a:p>
                  </a:txBody>
                  <a:tcPr marL="3810" marR="3810" marT="3810" marB="0" anchor="ctr">
                    <a:noFill/>
                  </a:tcPr>
                </a:tc>
                <a:tc>
                  <a:txBody>
                    <a:bodyPr/>
                    <a:lstStyle/>
                    <a:p>
                      <a:pPr algn="ctr">
                        <a:defRPr sz="800">
                          <a:latin typeface="Nexa Book"/>
                        </a:defRPr>
                      </a:pPr>
                      <a:r>
                        <a:t>1</a:t>
                      </a:r>
                    </a:p>
                  </a:txBody>
                  <a:tcPr marL="3810" marR="3810" marT="3810" marB="0" anchor="ctr">
                    <a:noFill/>
                  </a:tcPr>
                </a:tc>
                <a:extLst>
                  <a:ext uri="{0D108BD9-81ED-4DB2-BD59-A6C34878D82A}">
                    <a16:rowId xmlns:a16="http://schemas.microsoft.com/office/drawing/2014/main" val="1752397169"/>
                  </a:ext>
                </a:extLst>
              </a:tr>
              <a:tr h="831402">
                <a:tc>
                  <a:txBody>
                    <a:bodyPr/>
                    <a:lstStyle/>
                    <a:p>
                      <a:pPr algn="ctr">
                        <a:defRPr sz="800" b="1">
                          <a:latin typeface="Nexa (Headings)"/>
                        </a:defRPr>
                      </a:pPr>
                      <a:r>
                        <a:t>Salade</a:t>
                      </a:r>
                    </a:p>
                  </a:txBody>
                  <a:tcPr marL="3810" marR="3810" marT="3810" marB="0" anchor="ctr">
                    <a:noFill/>
                  </a:tcPr>
                </a:tc>
                <a:tc>
                  <a:txBody>
                    <a:bodyPr/>
                    <a:lstStyle/>
                    <a:p>
                      <a:pPr algn="ctr">
                        <a:defRPr sz="800">
                          <a:latin typeface="Nexa Book"/>
                        </a:defRPr>
                      </a:pPr>
                      <a:r>
                        <a:t>109</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3712364869"/>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596</a:t>
            </a:fld>
            <a:endParaRPr lang="en-US"/>
          </a:p>
        </p:txBody>
      </p:sp>
    </p:spTree>
    <p:extLst>
      <p:ext uri="{BB962C8B-B14F-4D97-AF65-F5344CB8AC3E}">
        <p14:creationId xmlns:p14="http://schemas.microsoft.com/office/powerpoint/2010/main" val="2814689025"/>
      </p:ext>
    </p:extLst>
  </p:cSld>
  <p:clrMapOvr>
    <a:masterClrMapping/>
  </p:clrMapOvr>
</p:sld>
</file>

<file path=ppt/slides/slide5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9/9/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pPr>
              <a:defRPr sz="1200">
                <a:latin typeface="Nexa Bold (Headings)"/>
              </a:defRPr>
            </a:pPr>
            <a:r>
              <a:t>Segment fair share | Total Fromage | La Vache Qui Rit | Carrefour | P12M</a:t>
            </a:r>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pPr>
              <a:defRPr sz="1600">
                <a:latin typeface="Nexa Bold (Headings)"/>
              </a:defRPr>
            </a:pPr>
            <a:r>
              <a:rPr lang="en-GB" dirty="0">
                <a:highlight>
                  <a:srgbClr val="FFFF00"/>
                </a:highlight>
              </a:rPr>
              <a:t>Segment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La Vache Qui Rit </a:t>
                      </a:r>
                    </a:p>
                    <a:p>
                      <a:pPr algn="ctr">
                        <a:defRPr sz="900" b="1">
                          <a:latin typeface="Nexa (Headings)"/>
                        </a:defRPr>
                      </a:pPr>
                      <a: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La Vache Qui Rit </a:t>
                      </a:r>
                    </a:p>
                    <a:p>
                      <a:pPr algn="ctr">
                        <a:defRPr sz="900" b="1">
                          <a:latin typeface="Nexa (Headings)"/>
                        </a:defRPr>
                      </a:pPr>
                      <a: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La Vache Qui Rit </a:t>
                      </a:r>
                    </a:p>
                    <a:p>
                      <a:pPr algn="ctr">
                        <a:defRPr sz="900" b="1">
                          <a:latin typeface="Nexa (Headings)"/>
                        </a:defRPr>
                      </a:pPr>
                      <a: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La Vache Qui Rit </a:t>
                      </a:r>
                    </a:p>
                    <a:p>
                      <a:pPr algn="ctr">
                        <a:defRPr sz="900" b="1">
                          <a:latin typeface="Nexa (Headings)"/>
                        </a:defRPr>
                      </a:pPr>
                      <a: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La Vache Qui Rit</a:t>
                      </a:r>
                    </a:p>
                    <a:p>
                      <a:pPr algn="ctr">
                        <a:defRPr sz="900" b="1">
                          <a:latin typeface="Nexa (Headings)"/>
                        </a:defRPr>
                      </a:pPr>
                      <a: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831402">
                <a:tc>
                  <a:txBody>
                    <a:bodyPr/>
                    <a:lstStyle/>
                    <a:p>
                      <a:pPr algn="ctr">
                        <a:defRPr sz="800" b="1">
                          <a:latin typeface="Nexa (Headings)"/>
                        </a:defRPr>
                      </a:pPr>
                      <a:r>
                        <a:t>Grand Total</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821</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0</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33%</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42%</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3</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3</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831402">
                <a:tc>
                  <a:txBody>
                    <a:bodyPr/>
                    <a:lstStyle/>
                    <a:p>
                      <a:pPr algn="ctr">
                        <a:defRPr sz="800" b="1">
                          <a:latin typeface="Nexa (Headings)"/>
                        </a:defRPr>
                      </a:pPr>
                      <a:r>
                        <a:t>Frais A Tartiner</a:t>
                      </a:r>
                    </a:p>
                  </a:txBody>
                  <a:tcPr marL="3810" marR="3810" marT="3810" marB="0" anchor="ctr">
                    <a:noFill/>
                  </a:tcPr>
                </a:tc>
                <a:tc>
                  <a:txBody>
                    <a:bodyPr/>
                    <a:lstStyle/>
                    <a:p>
                      <a:pPr algn="ctr">
                        <a:defRPr sz="800">
                          <a:latin typeface="Nexa Book"/>
                        </a:defRPr>
                      </a:pPr>
                      <a:r>
                        <a:t>64</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3161381"/>
                  </a:ext>
                </a:extLst>
              </a:tr>
              <a:tr h="831402">
                <a:tc>
                  <a:txBody>
                    <a:bodyPr/>
                    <a:lstStyle/>
                    <a:p>
                      <a:pPr algn="ctr">
                        <a:defRPr sz="800" b="1">
                          <a:latin typeface="Nexa (Headings)"/>
                        </a:defRPr>
                      </a:pPr>
                      <a:r>
                        <a:t>Enfant</a:t>
                      </a:r>
                    </a:p>
                  </a:txBody>
                  <a:tcPr marL="3810" marR="3810" marT="3810" marB="0" anchor="ctr">
                    <a:noFill/>
                  </a:tcPr>
                </a:tc>
                <a:tc>
                  <a:txBody>
                    <a:bodyPr/>
                    <a:lstStyle/>
                    <a:p>
                      <a:pPr algn="ctr">
                        <a:defRPr sz="800">
                          <a:latin typeface="Nexa Book"/>
                        </a:defRPr>
                      </a:pPr>
                      <a:r>
                        <a:t>36</a:t>
                      </a:r>
                    </a:p>
                  </a:txBody>
                  <a:tcPr marL="3810" marR="3810" marT="3810" marB="0" anchor="ctr">
                    <a:noFill/>
                  </a:tcPr>
                </a:tc>
                <a:tc>
                  <a:txBody>
                    <a:bodyPr/>
                    <a:lstStyle/>
                    <a:p>
                      <a:pPr algn="ctr">
                        <a:defRPr sz="800">
                          <a:latin typeface="Nexa Book"/>
                        </a:defRPr>
                      </a:pPr>
                      <a:r>
                        <a:t>8</a:t>
                      </a:r>
                    </a:p>
                  </a:txBody>
                  <a:tcPr marL="3810" marR="3810" marT="3810" marB="0" anchor="ctr">
                    <a:noFill/>
                  </a:tcPr>
                </a:tc>
                <a:tc>
                  <a:txBody>
                    <a:bodyPr/>
                    <a:lstStyle/>
                    <a:p>
                      <a:pPr algn="ctr">
                        <a:defRPr sz="800">
                          <a:latin typeface="Nexa Book"/>
                        </a:defRPr>
                      </a:pPr>
                      <a:r>
                        <a:t>22%</a:t>
                      </a:r>
                    </a:p>
                  </a:txBody>
                  <a:tcPr marL="3810" marR="3810" marT="3810" marB="0" anchor="ctr">
                    <a:noFill/>
                  </a:tcPr>
                </a:tc>
                <a:tc>
                  <a:txBody>
                    <a:bodyPr/>
                    <a:lstStyle/>
                    <a:p>
                      <a:pPr algn="ctr">
                        <a:defRPr sz="800">
                          <a:latin typeface="Nexa Book"/>
                        </a:defRPr>
                      </a:pPr>
                      <a:r>
                        <a:t>32%</a:t>
                      </a:r>
                    </a:p>
                  </a:txBody>
                  <a:tcPr marL="3810" marR="3810" marT="3810" marB="0" anchor="ctr">
                    <a:noFill/>
                  </a:tcPr>
                </a:tc>
                <a:tc>
                  <a:txBody>
                    <a:bodyPr/>
                    <a:lstStyle/>
                    <a:p>
                      <a:pPr algn="ctr">
                        <a:defRPr sz="800">
                          <a:latin typeface="Nexa Book"/>
                        </a:defRPr>
                      </a:pPr>
                      <a:r>
                        <a:t>11</a:t>
                      </a:r>
                    </a:p>
                  </a:txBody>
                  <a:tcPr marL="3810" marR="3810" marT="3810" marB="0" anchor="ctr">
                    <a:noFill/>
                  </a:tcPr>
                </a:tc>
                <a:tc>
                  <a:txBody>
                    <a:bodyPr/>
                    <a:lstStyle/>
                    <a:p>
                      <a:pPr algn="ctr">
                        <a:defRPr sz="800">
                          <a:latin typeface="Nexa Book"/>
                        </a:defRPr>
                      </a:pPr>
                      <a:r>
                        <a:t>3</a:t>
                      </a:r>
                    </a:p>
                  </a:txBody>
                  <a:tcPr marL="3810" marR="3810" marT="3810" marB="0" anchor="ctr">
                    <a:noFill/>
                  </a:tcPr>
                </a:tc>
                <a:extLst>
                  <a:ext uri="{0D108BD9-81ED-4DB2-BD59-A6C34878D82A}">
                    <a16:rowId xmlns:a16="http://schemas.microsoft.com/office/drawing/2014/main" val="1752397169"/>
                  </a:ext>
                </a:extLst>
              </a:tr>
              <a:tr h="831402">
                <a:tc>
                  <a:txBody>
                    <a:bodyPr/>
                    <a:lstStyle/>
                    <a:p>
                      <a:pPr algn="ctr">
                        <a:defRPr sz="800" b="1">
                          <a:latin typeface="Nexa (Headings)"/>
                        </a:defRPr>
                      </a:pPr>
                      <a:r>
                        <a:t>Salade</a:t>
                      </a:r>
                    </a:p>
                  </a:txBody>
                  <a:tcPr marL="3810" marR="3810" marT="3810" marB="0" anchor="ctr">
                    <a:noFill/>
                  </a:tcPr>
                </a:tc>
                <a:tc>
                  <a:txBody>
                    <a:bodyPr/>
                    <a:lstStyle/>
                    <a:p>
                      <a:pPr algn="ctr">
                        <a:defRPr sz="800">
                          <a:latin typeface="Nexa Book"/>
                        </a:defRPr>
                      </a:pPr>
                      <a:r>
                        <a:t>109</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3712364869"/>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597</a:t>
            </a:fld>
            <a:endParaRPr lang="en-US"/>
          </a:p>
        </p:txBody>
      </p:sp>
    </p:spTree>
    <p:extLst>
      <p:ext uri="{BB962C8B-B14F-4D97-AF65-F5344CB8AC3E}">
        <p14:creationId xmlns:p14="http://schemas.microsoft.com/office/powerpoint/2010/main" val="2284199141"/>
      </p:ext>
    </p:extLst>
  </p:cSld>
  <p:clrMapOvr>
    <a:masterClrMapping/>
  </p:clrMapOvr>
</p:sld>
</file>

<file path=ppt/slides/slide5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9/9/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pPr>
              <a:defRPr sz="1200">
                <a:latin typeface="Nexa Bold (Headings)"/>
              </a:defRPr>
            </a:pPr>
            <a:r>
              <a:t>Segment fair share | Total Fromage | Boursin | Carrefour | P12M</a:t>
            </a:r>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pPr>
              <a:defRPr sz="1600">
                <a:latin typeface="Nexa Bold (Headings)"/>
              </a:defRPr>
            </a:pPr>
            <a:r>
              <a:rPr lang="en-GB" dirty="0">
                <a:highlight>
                  <a:srgbClr val="FFFF00"/>
                </a:highlight>
              </a:rPr>
              <a:t>Segment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oursin </a:t>
                      </a:r>
                    </a:p>
                    <a:p>
                      <a:pPr algn="ctr">
                        <a:defRPr sz="900" b="1">
                          <a:latin typeface="Nexa (Headings)"/>
                        </a:defRPr>
                      </a:pPr>
                      <a: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oursin </a:t>
                      </a:r>
                    </a:p>
                    <a:p>
                      <a:pPr algn="ctr">
                        <a:defRPr sz="900" b="1">
                          <a:latin typeface="Nexa (Headings)"/>
                        </a:defRPr>
                      </a:pPr>
                      <a: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oursin </a:t>
                      </a:r>
                    </a:p>
                    <a:p>
                      <a:pPr algn="ctr">
                        <a:defRPr sz="900" b="1">
                          <a:latin typeface="Nexa (Headings)"/>
                        </a:defRPr>
                      </a:pPr>
                      <a: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oursin </a:t>
                      </a:r>
                    </a:p>
                    <a:p>
                      <a:pPr algn="ctr">
                        <a:defRPr sz="900" b="1">
                          <a:latin typeface="Nexa (Headings)"/>
                        </a:defRPr>
                      </a:pPr>
                      <a: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oursin</a:t>
                      </a:r>
                    </a:p>
                    <a:p>
                      <a:pPr algn="ctr">
                        <a:defRPr sz="900" b="1">
                          <a:latin typeface="Nexa (Headings)"/>
                        </a:defRPr>
                      </a:pPr>
                      <a: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831402">
                <a:tc>
                  <a:txBody>
                    <a:bodyPr/>
                    <a:lstStyle/>
                    <a:p>
                      <a:pPr algn="ctr">
                        <a:defRPr sz="800" b="1">
                          <a:latin typeface="Nexa (Headings)"/>
                        </a:defRPr>
                      </a:pPr>
                      <a:r>
                        <a:t>Grand Total</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821</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8</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37%</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27%</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4</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831402">
                <a:tc>
                  <a:txBody>
                    <a:bodyPr/>
                    <a:lstStyle/>
                    <a:p>
                      <a:pPr algn="ctr">
                        <a:defRPr sz="800" b="1">
                          <a:latin typeface="Nexa (Headings)"/>
                        </a:defRPr>
                      </a:pPr>
                      <a:r>
                        <a:t>Frais A Tartiner</a:t>
                      </a:r>
                    </a:p>
                  </a:txBody>
                  <a:tcPr marL="3810" marR="3810" marT="3810" marB="0" anchor="ctr">
                    <a:noFill/>
                  </a:tcPr>
                </a:tc>
                <a:tc>
                  <a:txBody>
                    <a:bodyPr/>
                    <a:lstStyle/>
                    <a:p>
                      <a:pPr algn="ctr">
                        <a:defRPr sz="800">
                          <a:latin typeface="Nexa Book"/>
                        </a:defRPr>
                      </a:pPr>
                      <a:r>
                        <a:t>64</a:t>
                      </a:r>
                    </a:p>
                  </a:txBody>
                  <a:tcPr marL="3810" marR="3810" marT="3810" marB="0" anchor="ctr">
                    <a:noFill/>
                  </a:tcPr>
                </a:tc>
                <a:tc>
                  <a:txBody>
                    <a:bodyPr/>
                    <a:lstStyle/>
                    <a:p>
                      <a:pPr algn="ctr">
                        <a:defRPr sz="800">
                          <a:latin typeface="Nexa Book"/>
                        </a:defRPr>
                      </a:pPr>
                      <a:r>
                        <a:t>10</a:t>
                      </a:r>
                    </a:p>
                  </a:txBody>
                  <a:tcPr marL="3810" marR="3810" marT="3810" marB="0" anchor="ctr">
                    <a:noFill/>
                  </a:tcPr>
                </a:tc>
                <a:tc>
                  <a:txBody>
                    <a:bodyPr/>
                    <a:lstStyle/>
                    <a:p>
                      <a:pPr algn="ctr">
                        <a:defRPr sz="800">
                          <a:latin typeface="Nexa Book"/>
                        </a:defRPr>
                      </a:pPr>
                      <a:r>
                        <a:t>15%</a:t>
                      </a:r>
                    </a:p>
                  </a:txBody>
                  <a:tcPr marL="3810" marR="3810" marT="3810" marB="0" anchor="ctr">
                    <a:noFill/>
                  </a:tcPr>
                </a:tc>
                <a:tc>
                  <a:txBody>
                    <a:bodyPr/>
                    <a:lstStyle/>
                    <a:p>
                      <a:pPr algn="ctr">
                        <a:defRPr sz="800">
                          <a:latin typeface="Nexa Book"/>
                        </a:defRPr>
                      </a:pPr>
                      <a:r>
                        <a:t>11%</a:t>
                      </a:r>
                    </a:p>
                  </a:txBody>
                  <a:tcPr marL="3810" marR="3810" marT="3810" marB="0" anchor="ctr">
                    <a:noFill/>
                  </a:tcPr>
                </a:tc>
                <a:tc>
                  <a:txBody>
                    <a:bodyPr/>
                    <a:lstStyle/>
                    <a:p>
                      <a:pPr algn="ctr">
                        <a:defRPr sz="800">
                          <a:latin typeface="Nexa Book"/>
                        </a:defRPr>
                      </a:pPr>
                      <a:r>
                        <a:t>7</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3161381"/>
                  </a:ext>
                </a:extLst>
              </a:tr>
              <a:tr h="831402">
                <a:tc>
                  <a:txBody>
                    <a:bodyPr/>
                    <a:lstStyle/>
                    <a:p>
                      <a:pPr algn="ctr">
                        <a:defRPr sz="800" b="1">
                          <a:latin typeface="Nexa (Headings)"/>
                        </a:defRPr>
                      </a:pPr>
                      <a:r>
                        <a:t>Enfant</a:t>
                      </a:r>
                    </a:p>
                  </a:txBody>
                  <a:tcPr marL="3810" marR="3810" marT="3810" marB="0" anchor="ctr">
                    <a:noFill/>
                  </a:tcPr>
                </a:tc>
                <a:tc>
                  <a:txBody>
                    <a:bodyPr/>
                    <a:lstStyle/>
                    <a:p>
                      <a:pPr algn="ctr">
                        <a:defRPr sz="800">
                          <a:latin typeface="Nexa Book"/>
                        </a:defRPr>
                      </a:pPr>
                      <a:r>
                        <a:t>36</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1752397169"/>
                  </a:ext>
                </a:extLst>
              </a:tr>
              <a:tr h="831402">
                <a:tc>
                  <a:txBody>
                    <a:bodyPr/>
                    <a:lstStyle/>
                    <a:p>
                      <a:pPr algn="ctr">
                        <a:defRPr sz="800" b="1">
                          <a:latin typeface="Nexa (Headings)"/>
                        </a:defRPr>
                      </a:pPr>
                      <a:r>
                        <a:t>Salade</a:t>
                      </a:r>
                    </a:p>
                  </a:txBody>
                  <a:tcPr marL="3810" marR="3810" marT="3810" marB="0" anchor="ctr">
                    <a:noFill/>
                  </a:tcPr>
                </a:tc>
                <a:tc>
                  <a:txBody>
                    <a:bodyPr/>
                    <a:lstStyle/>
                    <a:p>
                      <a:pPr algn="ctr">
                        <a:defRPr sz="800">
                          <a:latin typeface="Nexa Book"/>
                        </a:defRPr>
                      </a:pPr>
                      <a:r>
                        <a:t>109</a:t>
                      </a:r>
                    </a:p>
                  </a:txBody>
                  <a:tcPr marL="3810" marR="3810" marT="3810" marB="0" anchor="ctr">
                    <a:noFill/>
                  </a:tcPr>
                </a:tc>
                <a:tc>
                  <a:txBody>
                    <a:bodyPr/>
                    <a:lstStyle/>
                    <a:p>
                      <a:pPr algn="ctr">
                        <a:defRPr sz="800">
                          <a:latin typeface="Nexa Book"/>
                        </a:defRPr>
                      </a:pPr>
                      <a:r>
                        <a:t>5</a:t>
                      </a:r>
                    </a:p>
                  </a:txBody>
                  <a:tcPr marL="3810" marR="3810" marT="3810" marB="0" anchor="ctr">
                    <a:noFill/>
                  </a:tcPr>
                </a:tc>
                <a:tc>
                  <a:txBody>
                    <a:bodyPr/>
                    <a:lstStyle/>
                    <a:p>
                      <a:pPr algn="ctr">
                        <a:defRPr sz="800">
                          <a:latin typeface="Nexa Book"/>
                        </a:defRPr>
                      </a:pPr>
                      <a:r>
                        <a:t>4%</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3712364869"/>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598</a:t>
            </a:fld>
            <a:endParaRPr lang="en-US"/>
          </a:p>
        </p:txBody>
      </p:sp>
    </p:spTree>
    <p:extLst>
      <p:ext uri="{BB962C8B-B14F-4D97-AF65-F5344CB8AC3E}">
        <p14:creationId xmlns:p14="http://schemas.microsoft.com/office/powerpoint/2010/main" val="3149008969"/>
      </p:ext>
    </p:extLst>
  </p:cSld>
  <p:clrMapOvr>
    <a:masterClrMapping/>
  </p:clrMapOvr>
</p:sld>
</file>

<file path=ppt/slides/slide5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9/9/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pPr>
              <a:defRPr sz="1200">
                <a:latin typeface="Nexa Bold (Headings)"/>
              </a:defRPr>
            </a:pPr>
            <a:r>
              <a:t>Segment fair share | Total Fromage | Boursin | Carrefour Hyper + Drive | P12M</a:t>
            </a:r>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pPr>
              <a:defRPr sz="1600">
                <a:latin typeface="Nexa Bold (Headings)"/>
              </a:defRPr>
            </a:pPr>
            <a:r>
              <a:rPr lang="en-GB" dirty="0">
                <a:highlight>
                  <a:srgbClr val="FFFF00"/>
                </a:highlight>
              </a:rPr>
              <a:t>Segment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oursin </a:t>
                      </a:r>
                    </a:p>
                    <a:p>
                      <a:pPr algn="ctr">
                        <a:defRPr sz="900" b="1">
                          <a:latin typeface="Nexa (Headings)"/>
                        </a:defRPr>
                      </a:pPr>
                      <a: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oursin </a:t>
                      </a:r>
                    </a:p>
                    <a:p>
                      <a:pPr algn="ctr">
                        <a:defRPr sz="900" b="1">
                          <a:latin typeface="Nexa (Headings)"/>
                        </a:defRPr>
                      </a:pPr>
                      <a: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oursin </a:t>
                      </a:r>
                    </a:p>
                    <a:p>
                      <a:pPr algn="ctr">
                        <a:defRPr sz="900" b="1">
                          <a:latin typeface="Nexa (Headings)"/>
                        </a:defRPr>
                      </a:pPr>
                      <a: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oursin </a:t>
                      </a:r>
                    </a:p>
                    <a:p>
                      <a:pPr algn="ctr">
                        <a:defRPr sz="900" b="1">
                          <a:latin typeface="Nexa (Headings)"/>
                        </a:defRPr>
                      </a:pPr>
                      <a: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oursin</a:t>
                      </a:r>
                    </a:p>
                    <a:p>
                      <a:pPr algn="ctr">
                        <a:defRPr sz="900" b="1">
                          <a:latin typeface="Nexa (Headings)"/>
                        </a:defRPr>
                      </a:pPr>
                      <a: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831402">
                <a:tc>
                  <a:txBody>
                    <a:bodyPr/>
                    <a:lstStyle/>
                    <a:p>
                      <a:pPr algn="ctr">
                        <a:defRPr sz="800" b="1">
                          <a:latin typeface="Nexa (Headings)"/>
                        </a:defRPr>
                      </a:pPr>
                      <a:r>
                        <a:t>Grand Total</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175</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25</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35%</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26%</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8</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831402">
                <a:tc>
                  <a:txBody>
                    <a:bodyPr/>
                    <a:lstStyle/>
                    <a:p>
                      <a:pPr algn="ctr">
                        <a:defRPr sz="800" b="1">
                          <a:latin typeface="Nexa (Headings)"/>
                        </a:defRPr>
                      </a:pPr>
                      <a:r>
                        <a:t>Frais A Tartiner</a:t>
                      </a:r>
                    </a:p>
                  </a:txBody>
                  <a:tcPr marL="3810" marR="3810" marT="3810" marB="0" anchor="ctr">
                    <a:noFill/>
                  </a:tcPr>
                </a:tc>
                <a:tc>
                  <a:txBody>
                    <a:bodyPr/>
                    <a:lstStyle/>
                    <a:p>
                      <a:pPr algn="ctr">
                        <a:defRPr sz="800">
                          <a:latin typeface="Nexa Book"/>
                        </a:defRPr>
                      </a:pPr>
                      <a:r>
                        <a:t>90</a:t>
                      </a:r>
                    </a:p>
                  </a:txBody>
                  <a:tcPr marL="3810" marR="3810" marT="3810" marB="0" anchor="ctr">
                    <a:noFill/>
                  </a:tcPr>
                </a:tc>
                <a:tc>
                  <a:txBody>
                    <a:bodyPr/>
                    <a:lstStyle/>
                    <a:p>
                      <a:pPr algn="ctr">
                        <a:defRPr sz="800">
                          <a:latin typeface="Nexa Book"/>
                        </a:defRPr>
                      </a:pPr>
                      <a:r>
                        <a:t>13</a:t>
                      </a:r>
                    </a:p>
                  </a:txBody>
                  <a:tcPr marL="3810" marR="3810" marT="3810" marB="0" anchor="ctr">
                    <a:noFill/>
                  </a:tcPr>
                </a:tc>
                <a:tc>
                  <a:txBody>
                    <a:bodyPr/>
                    <a:lstStyle/>
                    <a:p>
                      <a:pPr algn="ctr">
                        <a:defRPr sz="800">
                          <a:latin typeface="Nexa Book"/>
                        </a:defRPr>
                      </a:pPr>
                      <a:r>
                        <a:t>15%</a:t>
                      </a:r>
                    </a:p>
                  </a:txBody>
                  <a:tcPr marL="3810" marR="3810" marT="3810" marB="0" anchor="ctr">
                    <a:noFill/>
                  </a:tcPr>
                </a:tc>
                <a:tc>
                  <a:txBody>
                    <a:bodyPr/>
                    <a:lstStyle/>
                    <a:p>
                      <a:pPr algn="ctr">
                        <a:defRPr sz="800">
                          <a:latin typeface="Nexa Book"/>
                        </a:defRPr>
                      </a:pPr>
                      <a:r>
                        <a:t>11%</a:t>
                      </a:r>
                    </a:p>
                  </a:txBody>
                  <a:tcPr marL="3810" marR="3810" marT="3810" marB="0" anchor="ctr">
                    <a:noFill/>
                  </a:tcPr>
                </a:tc>
                <a:tc>
                  <a:txBody>
                    <a:bodyPr/>
                    <a:lstStyle/>
                    <a:p>
                      <a:pPr algn="ctr">
                        <a:defRPr sz="800">
                          <a:latin typeface="Nexa Book"/>
                        </a:defRPr>
                      </a:pPr>
                      <a:r>
                        <a:t>1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3161381"/>
                  </a:ext>
                </a:extLst>
              </a:tr>
              <a:tr h="831402">
                <a:tc>
                  <a:txBody>
                    <a:bodyPr/>
                    <a:lstStyle/>
                    <a:p>
                      <a:pPr algn="ctr">
                        <a:defRPr sz="800" b="1">
                          <a:latin typeface="Nexa (Headings)"/>
                        </a:defRPr>
                      </a:pPr>
                      <a:r>
                        <a:t>Enfant</a:t>
                      </a:r>
                    </a:p>
                  </a:txBody>
                  <a:tcPr marL="3810" marR="3810" marT="3810" marB="0" anchor="ctr">
                    <a:noFill/>
                  </a:tcPr>
                </a:tc>
                <a:tc>
                  <a:txBody>
                    <a:bodyPr/>
                    <a:lstStyle/>
                    <a:p>
                      <a:pPr algn="ctr">
                        <a:defRPr sz="800">
                          <a:latin typeface="Nexa Book"/>
                        </a:defRPr>
                      </a:pPr>
                      <a:r>
                        <a:t>49</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1752397169"/>
                  </a:ext>
                </a:extLst>
              </a:tr>
              <a:tr h="831402">
                <a:tc>
                  <a:txBody>
                    <a:bodyPr/>
                    <a:lstStyle/>
                    <a:p>
                      <a:pPr algn="ctr">
                        <a:defRPr sz="800" b="1">
                          <a:latin typeface="Nexa (Headings)"/>
                        </a:defRPr>
                      </a:pPr>
                      <a:r>
                        <a:t>Salade</a:t>
                      </a:r>
                    </a:p>
                  </a:txBody>
                  <a:tcPr marL="3810" marR="3810" marT="3810" marB="0" anchor="ctr">
                    <a:noFill/>
                  </a:tcPr>
                </a:tc>
                <a:tc>
                  <a:txBody>
                    <a:bodyPr/>
                    <a:lstStyle/>
                    <a:p>
                      <a:pPr algn="ctr">
                        <a:defRPr sz="800">
                          <a:latin typeface="Nexa Book"/>
                        </a:defRPr>
                      </a:pPr>
                      <a:r>
                        <a:t>157</a:t>
                      </a:r>
                    </a:p>
                  </a:txBody>
                  <a:tcPr marL="3810" marR="3810" marT="3810" marB="0" anchor="ctr">
                    <a:noFill/>
                  </a:tcPr>
                </a:tc>
                <a:tc>
                  <a:txBody>
                    <a:bodyPr/>
                    <a:lstStyle/>
                    <a:p>
                      <a:pPr algn="ctr">
                        <a:defRPr sz="800">
                          <a:latin typeface="Nexa Book"/>
                        </a:defRPr>
                      </a:pPr>
                      <a:r>
                        <a:t>6</a:t>
                      </a:r>
                    </a:p>
                  </a:txBody>
                  <a:tcPr marL="3810" marR="3810" marT="3810" marB="0" anchor="ctr">
                    <a:noFill/>
                  </a:tcPr>
                </a:tc>
                <a:tc>
                  <a:txBody>
                    <a:bodyPr/>
                    <a:lstStyle/>
                    <a:p>
                      <a:pPr algn="ctr">
                        <a:defRPr sz="800">
                          <a:latin typeface="Nexa Book"/>
                        </a:defRPr>
                      </a:pPr>
                      <a:r>
                        <a:t>4%</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3712364869"/>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599</a:t>
            </a:fld>
            <a:endParaRPr lang="en-US"/>
          </a:p>
        </p:txBody>
      </p:sp>
    </p:spTree>
    <p:extLst>
      <p:ext uri="{BB962C8B-B14F-4D97-AF65-F5344CB8AC3E}">
        <p14:creationId xmlns:p14="http://schemas.microsoft.com/office/powerpoint/2010/main" val="272693867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9/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Total Fromage | Intermarche Super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6</a:t>
            </a:fld>
            <a:endParaRPr lang="en-US"/>
          </a:p>
        </p:txBody>
      </p:sp>
    </p:spTree>
    <p:extLst>
      <p:ext uri="{BB962C8B-B14F-4D97-AF65-F5344CB8AC3E}">
        <p14:creationId xmlns:p14="http://schemas.microsoft.com/office/powerpoint/2010/main" val="3781916510"/>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9/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July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Total Fromage | Carrefour Supermarket + Drive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298</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94</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9</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60</a:t>
            </a:fld>
            <a:endParaRPr lang="en-US"/>
          </a:p>
        </p:txBody>
      </p:sp>
    </p:spTree>
    <p:extLst>
      <p:ext uri="{BB962C8B-B14F-4D97-AF65-F5344CB8AC3E}">
        <p14:creationId xmlns:p14="http://schemas.microsoft.com/office/powerpoint/2010/main" val="2088709081"/>
      </p:ext>
    </p:extLst>
  </p:cSld>
  <p:clrMapOvr>
    <a:masterClrMapping/>
  </p:clrMapOvr>
</p:sld>
</file>

<file path=ppt/slides/slide6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9/9/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pPr>
              <a:defRPr sz="1200">
                <a:latin typeface="Nexa Bold (Headings)"/>
              </a:defRPr>
            </a:pPr>
            <a:r>
              <a:t>Segment fair share | Total Fromage | La Vache Qui Rit | Carrefour Supermarket + Drive | P12M</a:t>
            </a:r>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pPr>
              <a:defRPr sz="1600">
                <a:latin typeface="Nexa Bold (Headings)"/>
              </a:defRPr>
            </a:pPr>
            <a:r>
              <a:rPr lang="en-GB" dirty="0">
                <a:highlight>
                  <a:srgbClr val="FFFF00"/>
                </a:highlight>
              </a:rPr>
              <a:t>Segment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La Vache Qui Rit </a:t>
                      </a:r>
                    </a:p>
                    <a:p>
                      <a:pPr algn="ctr">
                        <a:defRPr sz="900" b="1">
                          <a:latin typeface="Nexa (Headings)"/>
                        </a:defRPr>
                      </a:pPr>
                      <a: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La Vache Qui Rit </a:t>
                      </a:r>
                    </a:p>
                    <a:p>
                      <a:pPr algn="ctr">
                        <a:defRPr sz="900" b="1">
                          <a:latin typeface="Nexa (Headings)"/>
                        </a:defRPr>
                      </a:pPr>
                      <a: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La Vache Qui Rit </a:t>
                      </a:r>
                    </a:p>
                    <a:p>
                      <a:pPr algn="ctr">
                        <a:defRPr sz="900" b="1">
                          <a:latin typeface="Nexa (Headings)"/>
                        </a:defRPr>
                      </a:pPr>
                      <a: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La Vache Qui Rit </a:t>
                      </a:r>
                    </a:p>
                    <a:p>
                      <a:pPr algn="ctr">
                        <a:defRPr sz="900" b="1">
                          <a:latin typeface="Nexa (Headings)"/>
                        </a:defRPr>
                      </a:pPr>
                      <a: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La Vache Qui Rit</a:t>
                      </a:r>
                    </a:p>
                    <a:p>
                      <a:pPr algn="ctr">
                        <a:defRPr sz="900" b="1">
                          <a:latin typeface="Nexa (Headings)"/>
                        </a:defRPr>
                      </a:pPr>
                      <a: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831402">
                <a:tc>
                  <a:txBody>
                    <a:bodyPr/>
                    <a:lstStyle/>
                    <a:p>
                      <a:pPr algn="ctr">
                        <a:defRPr sz="800" b="1">
                          <a:latin typeface="Nexa (Headings)"/>
                        </a:defRPr>
                      </a:pPr>
                      <a:r>
                        <a:t>Grand Total</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677</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36%</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41%</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1</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2</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831402">
                <a:tc>
                  <a:txBody>
                    <a:bodyPr/>
                    <a:lstStyle/>
                    <a:p>
                      <a:pPr algn="ctr">
                        <a:defRPr sz="800" b="1">
                          <a:latin typeface="Nexa (Headings)"/>
                        </a:defRPr>
                      </a:pPr>
                      <a:r>
                        <a:t>Frais A Tartiner</a:t>
                      </a:r>
                    </a:p>
                  </a:txBody>
                  <a:tcPr marL="3810" marR="3810" marT="3810" marB="0" anchor="ctr">
                    <a:noFill/>
                  </a:tcPr>
                </a:tc>
                <a:tc>
                  <a:txBody>
                    <a:bodyPr/>
                    <a:lstStyle/>
                    <a:p>
                      <a:pPr algn="ctr">
                        <a:defRPr sz="800">
                          <a:latin typeface="Nexa Book"/>
                        </a:defRPr>
                      </a:pPr>
                      <a:r>
                        <a:t>55</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3161381"/>
                  </a:ext>
                </a:extLst>
              </a:tr>
              <a:tr h="831402">
                <a:tc>
                  <a:txBody>
                    <a:bodyPr/>
                    <a:lstStyle/>
                    <a:p>
                      <a:pPr algn="ctr">
                        <a:defRPr sz="800" b="1">
                          <a:latin typeface="Nexa (Headings)"/>
                        </a:defRPr>
                      </a:pPr>
                      <a:r>
                        <a:t>Enfant</a:t>
                      </a:r>
                    </a:p>
                  </a:txBody>
                  <a:tcPr marL="3810" marR="3810" marT="3810" marB="0" anchor="ctr">
                    <a:noFill/>
                  </a:tcPr>
                </a:tc>
                <a:tc>
                  <a:txBody>
                    <a:bodyPr/>
                    <a:lstStyle/>
                    <a:p>
                      <a:pPr algn="ctr">
                        <a:defRPr sz="800">
                          <a:latin typeface="Nexa Book"/>
                        </a:defRPr>
                      </a:pPr>
                      <a:r>
                        <a:t>32</a:t>
                      </a:r>
                    </a:p>
                  </a:txBody>
                  <a:tcPr marL="3810" marR="3810" marT="3810" marB="0" anchor="ctr">
                    <a:noFill/>
                  </a:tcPr>
                </a:tc>
                <a:tc>
                  <a:txBody>
                    <a:bodyPr/>
                    <a:lstStyle/>
                    <a:p>
                      <a:pPr algn="ctr">
                        <a:defRPr sz="800">
                          <a:latin typeface="Nexa Book"/>
                        </a:defRPr>
                      </a:pPr>
                      <a:r>
                        <a:t>8</a:t>
                      </a:r>
                    </a:p>
                  </a:txBody>
                  <a:tcPr marL="3810" marR="3810" marT="3810" marB="0" anchor="ctr">
                    <a:noFill/>
                  </a:tcPr>
                </a:tc>
                <a:tc>
                  <a:txBody>
                    <a:bodyPr/>
                    <a:lstStyle/>
                    <a:p>
                      <a:pPr algn="ctr">
                        <a:defRPr sz="800">
                          <a:latin typeface="Nexa Book"/>
                        </a:defRPr>
                      </a:pPr>
                      <a:r>
                        <a:t>23%</a:t>
                      </a:r>
                    </a:p>
                  </a:txBody>
                  <a:tcPr marL="3810" marR="3810" marT="3810" marB="0" anchor="ctr">
                    <a:noFill/>
                  </a:tcPr>
                </a:tc>
                <a:tc>
                  <a:txBody>
                    <a:bodyPr/>
                    <a:lstStyle/>
                    <a:p>
                      <a:pPr algn="ctr">
                        <a:defRPr sz="800">
                          <a:latin typeface="Nexa Book"/>
                        </a:defRPr>
                      </a:pPr>
                      <a:r>
                        <a:t>30%</a:t>
                      </a:r>
                    </a:p>
                  </a:txBody>
                  <a:tcPr marL="3810" marR="3810" marT="3810" marB="0" anchor="ctr">
                    <a:noFill/>
                  </a:tcPr>
                </a:tc>
                <a:tc>
                  <a:txBody>
                    <a:bodyPr/>
                    <a:lstStyle/>
                    <a:p>
                      <a:pPr algn="ctr">
                        <a:defRPr sz="800">
                          <a:latin typeface="Nexa Book"/>
                        </a:defRPr>
                      </a:pPr>
                      <a:r>
                        <a:t>10</a:t>
                      </a:r>
                    </a:p>
                  </a:txBody>
                  <a:tcPr marL="3810" marR="3810" marT="3810" marB="0" anchor="ctr">
                    <a:noFill/>
                  </a:tcPr>
                </a:tc>
                <a:tc>
                  <a:txBody>
                    <a:bodyPr/>
                    <a:lstStyle/>
                    <a:p>
                      <a:pPr algn="ctr">
                        <a:defRPr sz="800">
                          <a:latin typeface="Nexa Book"/>
                        </a:defRPr>
                      </a:pPr>
                      <a:r>
                        <a:t>2</a:t>
                      </a:r>
                    </a:p>
                  </a:txBody>
                  <a:tcPr marL="3810" marR="3810" marT="3810" marB="0" anchor="ctr">
                    <a:noFill/>
                  </a:tcPr>
                </a:tc>
                <a:extLst>
                  <a:ext uri="{0D108BD9-81ED-4DB2-BD59-A6C34878D82A}">
                    <a16:rowId xmlns:a16="http://schemas.microsoft.com/office/drawing/2014/main" val="1752397169"/>
                  </a:ext>
                </a:extLst>
              </a:tr>
              <a:tr h="831402">
                <a:tc>
                  <a:txBody>
                    <a:bodyPr/>
                    <a:lstStyle/>
                    <a:p>
                      <a:pPr algn="ctr">
                        <a:defRPr sz="800" b="1">
                          <a:latin typeface="Nexa (Headings)"/>
                        </a:defRPr>
                      </a:pPr>
                      <a:r>
                        <a:t>Salade</a:t>
                      </a:r>
                    </a:p>
                  </a:txBody>
                  <a:tcPr marL="3810" marR="3810" marT="3810" marB="0" anchor="ctr">
                    <a:noFill/>
                  </a:tcPr>
                </a:tc>
                <a:tc>
                  <a:txBody>
                    <a:bodyPr/>
                    <a:lstStyle/>
                    <a:p>
                      <a:pPr algn="ctr">
                        <a:defRPr sz="800">
                          <a:latin typeface="Nexa Book"/>
                        </a:defRPr>
                      </a:pPr>
                      <a:r>
                        <a:t>9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3712364869"/>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600</a:t>
            </a:fld>
            <a:endParaRPr lang="en-US"/>
          </a:p>
        </p:txBody>
      </p:sp>
    </p:spTree>
    <p:extLst>
      <p:ext uri="{BB962C8B-B14F-4D97-AF65-F5344CB8AC3E}">
        <p14:creationId xmlns:p14="http://schemas.microsoft.com/office/powerpoint/2010/main" val="396583048"/>
      </p:ext>
    </p:extLst>
  </p:cSld>
  <p:clrMapOvr>
    <a:masterClrMapping/>
  </p:clrMapOvr>
</p:sld>
</file>

<file path=ppt/slides/slide6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9/9/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pPr>
              <a:defRPr sz="1200">
                <a:latin typeface="Nexa Bold (Headings)"/>
              </a:defRPr>
            </a:pPr>
            <a:r>
              <a:t>Segment fair share | Total Fromage | Boursin | Carrefour Supermarket + Drive | P12M</a:t>
            </a:r>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pPr>
              <a:defRPr sz="1600">
                <a:latin typeface="Nexa Bold (Headings)"/>
              </a:defRPr>
            </a:pPr>
            <a:r>
              <a:rPr lang="en-GB" dirty="0">
                <a:highlight>
                  <a:srgbClr val="FFFF00"/>
                </a:highlight>
              </a:rPr>
              <a:t>Segment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oursin </a:t>
                      </a:r>
                    </a:p>
                    <a:p>
                      <a:pPr algn="ctr">
                        <a:defRPr sz="900" b="1">
                          <a:latin typeface="Nexa (Headings)"/>
                        </a:defRPr>
                      </a:pPr>
                      <a: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oursin </a:t>
                      </a:r>
                    </a:p>
                    <a:p>
                      <a:pPr algn="ctr">
                        <a:defRPr sz="900" b="1">
                          <a:latin typeface="Nexa (Headings)"/>
                        </a:defRPr>
                      </a:pPr>
                      <a: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oursin </a:t>
                      </a:r>
                    </a:p>
                    <a:p>
                      <a:pPr algn="ctr">
                        <a:defRPr sz="900" b="1">
                          <a:latin typeface="Nexa (Headings)"/>
                        </a:defRPr>
                      </a:pPr>
                      <a: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oursin </a:t>
                      </a:r>
                    </a:p>
                    <a:p>
                      <a:pPr algn="ctr">
                        <a:defRPr sz="900" b="1">
                          <a:latin typeface="Nexa (Headings)"/>
                        </a:defRPr>
                      </a:pPr>
                      <a: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oursin</a:t>
                      </a:r>
                    </a:p>
                    <a:p>
                      <a:pPr algn="ctr">
                        <a:defRPr sz="900" b="1">
                          <a:latin typeface="Nexa (Headings)"/>
                        </a:defRPr>
                      </a:pPr>
                      <a: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831402">
                <a:tc>
                  <a:txBody>
                    <a:bodyPr/>
                    <a:lstStyle/>
                    <a:p>
                      <a:pPr algn="ctr">
                        <a:defRPr sz="800" b="1">
                          <a:latin typeface="Nexa (Headings)"/>
                        </a:defRPr>
                      </a:pPr>
                      <a:r>
                        <a:t>Grand Total</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677</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7</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41%</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2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2</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831402">
                <a:tc>
                  <a:txBody>
                    <a:bodyPr/>
                    <a:lstStyle/>
                    <a:p>
                      <a:pPr algn="ctr">
                        <a:defRPr sz="800" b="1">
                          <a:latin typeface="Nexa (Headings)"/>
                        </a:defRPr>
                      </a:pPr>
                      <a:r>
                        <a:t>Frais A Tartiner</a:t>
                      </a:r>
                    </a:p>
                  </a:txBody>
                  <a:tcPr marL="3810" marR="3810" marT="3810" marB="0" anchor="ctr">
                    <a:noFill/>
                  </a:tcPr>
                </a:tc>
                <a:tc>
                  <a:txBody>
                    <a:bodyPr/>
                    <a:lstStyle/>
                    <a:p>
                      <a:pPr algn="ctr">
                        <a:defRPr sz="800">
                          <a:latin typeface="Nexa Book"/>
                        </a:defRPr>
                      </a:pPr>
                      <a:r>
                        <a:t>55</a:t>
                      </a:r>
                    </a:p>
                  </a:txBody>
                  <a:tcPr marL="3810" marR="3810" marT="3810" marB="0" anchor="ctr">
                    <a:noFill/>
                  </a:tcPr>
                </a:tc>
                <a:tc>
                  <a:txBody>
                    <a:bodyPr/>
                    <a:lstStyle/>
                    <a:p>
                      <a:pPr algn="ctr">
                        <a:defRPr sz="800">
                          <a:latin typeface="Nexa Book"/>
                        </a:defRPr>
                      </a:pPr>
                      <a:r>
                        <a:t>8</a:t>
                      </a:r>
                    </a:p>
                  </a:txBody>
                  <a:tcPr marL="3810" marR="3810" marT="3810" marB="0" anchor="ctr">
                    <a:noFill/>
                  </a:tcPr>
                </a:tc>
                <a:tc>
                  <a:txBody>
                    <a:bodyPr/>
                    <a:lstStyle/>
                    <a:p>
                      <a:pPr algn="ctr">
                        <a:defRPr sz="800">
                          <a:latin typeface="Nexa Book"/>
                        </a:defRPr>
                      </a:pPr>
                      <a:r>
                        <a:t>15%</a:t>
                      </a:r>
                    </a:p>
                  </a:txBody>
                  <a:tcPr marL="3810" marR="3810" marT="3810" marB="0" anchor="ctr">
                    <a:noFill/>
                  </a:tcPr>
                </a:tc>
                <a:tc>
                  <a:txBody>
                    <a:bodyPr/>
                    <a:lstStyle/>
                    <a:p>
                      <a:pPr algn="ctr">
                        <a:defRPr sz="800">
                          <a:latin typeface="Nexa Book"/>
                        </a:defRPr>
                      </a:pPr>
                      <a:r>
                        <a:t>11%</a:t>
                      </a:r>
                    </a:p>
                  </a:txBody>
                  <a:tcPr marL="3810" marR="3810" marT="3810" marB="0" anchor="ctr">
                    <a:noFill/>
                  </a:tcPr>
                </a:tc>
                <a:tc>
                  <a:txBody>
                    <a:bodyPr/>
                    <a:lstStyle/>
                    <a:p>
                      <a:pPr algn="ctr">
                        <a:defRPr sz="800">
                          <a:latin typeface="Nexa Book"/>
                        </a:defRPr>
                      </a:pPr>
                      <a:r>
                        <a:t>6</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3161381"/>
                  </a:ext>
                </a:extLst>
              </a:tr>
              <a:tr h="831402">
                <a:tc>
                  <a:txBody>
                    <a:bodyPr/>
                    <a:lstStyle/>
                    <a:p>
                      <a:pPr algn="ctr">
                        <a:defRPr sz="800" b="1">
                          <a:latin typeface="Nexa (Headings)"/>
                        </a:defRPr>
                      </a:pPr>
                      <a:r>
                        <a:t>Enfant</a:t>
                      </a:r>
                    </a:p>
                  </a:txBody>
                  <a:tcPr marL="3810" marR="3810" marT="3810" marB="0" anchor="ctr">
                    <a:noFill/>
                  </a:tcPr>
                </a:tc>
                <a:tc>
                  <a:txBody>
                    <a:bodyPr/>
                    <a:lstStyle/>
                    <a:p>
                      <a:pPr algn="ctr">
                        <a:defRPr sz="800">
                          <a:latin typeface="Nexa Book"/>
                        </a:defRPr>
                      </a:pPr>
                      <a:r>
                        <a:t>32</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1752397169"/>
                  </a:ext>
                </a:extLst>
              </a:tr>
              <a:tr h="831402">
                <a:tc>
                  <a:txBody>
                    <a:bodyPr/>
                    <a:lstStyle/>
                    <a:p>
                      <a:pPr algn="ctr">
                        <a:defRPr sz="800" b="1">
                          <a:latin typeface="Nexa (Headings)"/>
                        </a:defRPr>
                      </a:pPr>
                      <a:r>
                        <a:t>Salade</a:t>
                      </a:r>
                    </a:p>
                  </a:txBody>
                  <a:tcPr marL="3810" marR="3810" marT="3810" marB="0" anchor="ctr">
                    <a:noFill/>
                  </a:tcPr>
                </a:tc>
                <a:tc>
                  <a:txBody>
                    <a:bodyPr/>
                    <a:lstStyle/>
                    <a:p>
                      <a:pPr algn="ctr">
                        <a:defRPr sz="800">
                          <a:latin typeface="Nexa Book"/>
                        </a:defRPr>
                      </a:pPr>
                      <a:r>
                        <a:t>90</a:t>
                      </a:r>
                    </a:p>
                  </a:txBody>
                  <a:tcPr marL="3810" marR="3810" marT="3810" marB="0" anchor="ctr">
                    <a:noFill/>
                  </a:tcPr>
                </a:tc>
                <a:tc>
                  <a:txBody>
                    <a:bodyPr/>
                    <a:lstStyle/>
                    <a:p>
                      <a:pPr algn="ctr">
                        <a:defRPr sz="800">
                          <a:latin typeface="Nexa Book"/>
                        </a:defRPr>
                      </a:pPr>
                      <a:r>
                        <a:t>5</a:t>
                      </a:r>
                    </a:p>
                  </a:txBody>
                  <a:tcPr marL="3810" marR="3810" marT="3810" marB="0" anchor="ctr">
                    <a:noFill/>
                  </a:tcPr>
                </a:tc>
                <a:tc>
                  <a:txBody>
                    <a:bodyPr/>
                    <a:lstStyle/>
                    <a:p>
                      <a:pPr algn="ctr">
                        <a:defRPr sz="800">
                          <a:latin typeface="Nexa Book"/>
                        </a:defRPr>
                      </a:pPr>
                      <a:r>
                        <a:t>6%</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3712364869"/>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601</a:t>
            </a:fld>
            <a:endParaRPr lang="en-US"/>
          </a:p>
        </p:txBody>
      </p:sp>
    </p:spTree>
    <p:extLst>
      <p:ext uri="{BB962C8B-B14F-4D97-AF65-F5344CB8AC3E}">
        <p14:creationId xmlns:p14="http://schemas.microsoft.com/office/powerpoint/2010/main" val="244651980"/>
      </p:ext>
    </p:extLst>
  </p:cSld>
  <p:clrMapOvr>
    <a:masterClrMapping/>
  </p:clrMapOvr>
</p:sld>
</file>

<file path=ppt/slides/slide6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9/9/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pPr>
              <a:defRPr sz="1200">
                <a:latin typeface="Nexa Bold (Headings)"/>
              </a:defRPr>
            </a:pPr>
            <a:r>
              <a:t>Segment fair share | Total Fromage | Kiri | Carrefour Supermarket + Drive | P12M</a:t>
            </a:r>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pPr>
              <a:defRPr sz="1600">
                <a:latin typeface="Nexa Bold (Headings)"/>
              </a:defRPr>
            </a:pPr>
            <a:r>
              <a:rPr lang="en-GB" dirty="0">
                <a:highlight>
                  <a:srgbClr val="FFFF00"/>
                </a:highlight>
              </a:rPr>
              <a:t>Segment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Kiri </a:t>
                      </a:r>
                    </a:p>
                    <a:p>
                      <a:pPr algn="ctr">
                        <a:defRPr sz="900" b="1">
                          <a:latin typeface="Nexa (Headings)"/>
                        </a:defRPr>
                      </a:pPr>
                      <a: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Kiri </a:t>
                      </a:r>
                    </a:p>
                    <a:p>
                      <a:pPr algn="ctr">
                        <a:defRPr sz="900" b="1">
                          <a:latin typeface="Nexa (Headings)"/>
                        </a:defRPr>
                      </a:pPr>
                      <a: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Kiri </a:t>
                      </a:r>
                    </a:p>
                    <a:p>
                      <a:pPr algn="ctr">
                        <a:defRPr sz="900" b="1">
                          <a:latin typeface="Nexa (Headings)"/>
                        </a:defRPr>
                      </a:pPr>
                      <a: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Kiri </a:t>
                      </a:r>
                    </a:p>
                    <a:p>
                      <a:pPr algn="ctr">
                        <a:defRPr sz="900" b="1">
                          <a:latin typeface="Nexa (Headings)"/>
                        </a:defRPr>
                      </a:pPr>
                      <a: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Kiri</a:t>
                      </a:r>
                    </a:p>
                    <a:p>
                      <a:pPr algn="ctr">
                        <a:defRPr sz="900" b="1">
                          <a:latin typeface="Nexa (Headings)"/>
                        </a:defRPr>
                      </a:pPr>
                      <a: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831402">
                <a:tc>
                  <a:txBody>
                    <a:bodyPr/>
                    <a:lstStyle/>
                    <a:p>
                      <a:pPr algn="ctr">
                        <a:defRPr sz="800" b="1">
                          <a:latin typeface="Nexa (Headings)"/>
                        </a:defRPr>
                      </a:pPr>
                      <a:r>
                        <a:t>Grand Total</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677</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8</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24%</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22%</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8</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831402">
                <a:tc>
                  <a:txBody>
                    <a:bodyPr/>
                    <a:lstStyle/>
                    <a:p>
                      <a:pPr algn="ctr">
                        <a:defRPr sz="800" b="1">
                          <a:latin typeface="Nexa (Headings)"/>
                        </a:defRPr>
                      </a:pPr>
                      <a:r>
                        <a:t>Frais A Tartiner</a:t>
                      </a:r>
                    </a:p>
                  </a:txBody>
                  <a:tcPr marL="3810" marR="3810" marT="3810" marB="0" anchor="ctr">
                    <a:noFill/>
                  </a:tcPr>
                </a:tc>
                <a:tc>
                  <a:txBody>
                    <a:bodyPr/>
                    <a:lstStyle/>
                    <a:p>
                      <a:pPr algn="ctr">
                        <a:defRPr sz="800">
                          <a:latin typeface="Nexa Book"/>
                        </a:defRPr>
                      </a:pPr>
                      <a:r>
                        <a:t>55</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3161381"/>
                  </a:ext>
                </a:extLst>
              </a:tr>
              <a:tr h="831402">
                <a:tc>
                  <a:txBody>
                    <a:bodyPr/>
                    <a:lstStyle/>
                    <a:p>
                      <a:pPr algn="ctr">
                        <a:defRPr sz="800" b="1">
                          <a:latin typeface="Nexa (Headings)"/>
                        </a:defRPr>
                      </a:pPr>
                      <a:r>
                        <a:t>Enfant</a:t>
                      </a:r>
                    </a:p>
                  </a:txBody>
                  <a:tcPr marL="3810" marR="3810" marT="3810" marB="0" anchor="ctr">
                    <a:noFill/>
                  </a:tcPr>
                </a:tc>
                <a:tc>
                  <a:txBody>
                    <a:bodyPr/>
                    <a:lstStyle/>
                    <a:p>
                      <a:pPr algn="ctr">
                        <a:defRPr sz="800">
                          <a:latin typeface="Nexa Book"/>
                        </a:defRPr>
                      </a:pPr>
                      <a:r>
                        <a:t>32</a:t>
                      </a:r>
                    </a:p>
                  </a:txBody>
                  <a:tcPr marL="3810" marR="3810" marT="3810" marB="0" anchor="ctr">
                    <a:noFill/>
                  </a:tcPr>
                </a:tc>
                <a:tc>
                  <a:txBody>
                    <a:bodyPr/>
                    <a:lstStyle/>
                    <a:p>
                      <a:pPr algn="ctr">
                        <a:defRPr sz="800">
                          <a:latin typeface="Nexa Book"/>
                        </a:defRPr>
                      </a:pPr>
                      <a:r>
                        <a:t>7</a:t>
                      </a:r>
                    </a:p>
                  </a:txBody>
                  <a:tcPr marL="3810" marR="3810" marT="3810" marB="0" anchor="ctr">
                    <a:noFill/>
                  </a:tcPr>
                </a:tc>
                <a:tc>
                  <a:txBody>
                    <a:bodyPr/>
                    <a:lstStyle/>
                    <a:p>
                      <a:pPr algn="ctr">
                        <a:defRPr sz="800">
                          <a:latin typeface="Nexa Book"/>
                        </a:defRPr>
                      </a:pPr>
                      <a:r>
                        <a:t>20%</a:t>
                      </a:r>
                    </a:p>
                  </a:txBody>
                  <a:tcPr marL="3810" marR="3810" marT="3810" marB="0" anchor="ctr">
                    <a:noFill/>
                  </a:tcPr>
                </a:tc>
                <a:tc>
                  <a:txBody>
                    <a:bodyPr/>
                    <a:lstStyle/>
                    <a:p>
                      <a:pPr algn="ctr">
                        <a:defRPr sz="800">
                          <a:latin typeface="Nexa Book"/>
                        </a:defRPr>
                      </a:pPr>
                      <a:r>
                        <a:t>21%</a:t>
                      </a:r>
                    </a:p>
                  </a:txBody>
                  <a:tcPr marL="3810" marR="3810" marT="3810" marB="0" anchor="ctr">
                    <a:noFill/>
                  </a:tcPr>
                </a:tc>
                <a:tc>
                  <a:txBody>
                    <a:bodyPr/>
                    <a:lstStyle/>
                    <a:p>
                      <a:pPr algn="ctr">
                        <a:defRPr sz="800">
                          <a:latin typeface="Nexa Book"/>
                        </a:defRPr>
                      </a:pPr>
                      <a:r>
                        <a:t>7</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1752397169"/>
                  </a:ext>
                </a:extLst>
              </a:tr>
              <a:tr h="831402">
                <a:tc>
                  <a:txBody>
                    <a:bodyPr/>
                    <a:lstStyle/>
                    <a:p>
                      <a:pPr algn="ctr">
                        <a:defRPr sz="800" b="1">
                          <a:latin typeface="Nexa (Headings)"/>
                        </a:defRPr>
                      </a:pPr>
                      <a:r>
                        <a:t>Salade</a:t>
                      </a:r>
                    </a:p>
                  </a:txBody>
                  <a:tcPr marL="3810" marR="3810" marT="3810" marB="0" anchor="ctr">
                    <a:noFill/>
                  </a:tcPr>
                </a:tc>
                <a:tc>
                  <a:txBody>
                    <a:bodyPr/>
                    <a:lstStyle/>
                    <a:p>
                      <a:pPr algn="ctr">
                        <a:defRPr sz="800">
                          <a:latin typeface="Nexa Book"/>
                        </a:defRPr>
                      </a:pPr>
                      <a:r>
                        <a:t>9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3712364869"/>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602</a:t>
            </a:fld>
            <a:endParaRPr lang="en-US"/>
          </a:p>
        </p:txBody>
      </p:sp>
    </p:spTree>
    <p:extLst>
      <p:ext uri="{BB962C8B-B14F-4D97-AF65-F5344CB8AC3E}">
        <p14:creationId xmlns:p14="http://schemas.microsoft.com/office/powerpoint/2010/main" val="2541822163"/>
      </p:ext>
    </p:extLst>
  </p:cSld>
  <p:clrMapOvr>
    <a:masterClrMapping/>
  </p:clrMapOvr>
</p:sld>
</file>

<file path=ppt/slides/slide6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9/9/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pPr>
              <a:defRPr sz="1200">
                <a:latin typeface="Nexa Bold (Headings)"/>
              </a:defRPr>
            </a:pPr>
            <a:r>
              <a:t>Segment fair share | Total Fromage | La Vache Qui Rit | Carrefour Proximite | P12M</a:t>
            </a:r>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pPr>
              <a:defRPr sz="1600">
                <a:latin typeface="Nexa Bold (Headings)"/>
              </a:defRPr>
            </a:pPr>
            <a:r>
              <a:rPr lang="en-GB" dirty="0">
                <a:highlight>
                  <a:srgbClr val="FFFF00"/>
                </a:highlight>
              </a:rPr>
              <a:t>Segment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La Vache Qui Rit </a:t>
                      </a:r>
                    </a:p>
                    <a:p>
                      <a:pPr algn="ctr">
                        <a:defRPr sz="900" b="1">
                          <a:latin typeface="Nexa (Headings)"/>
                        </a:defRPr>
                      </a:pPr>
                      <a: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La Vache Qui Rit </a:t>
                      </a:r>
                    </a:p>
                    <a:p>
                      <a:pPr algn="ctr">
                        <a:defRPr sz="900" b="1">
                          <a:latin typeface="Nexa (Headings)"/>
                        </a:defRPr>
                      </a:pPr>
                      <a: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La Vache Qui Rit </a:t>
                      </a:r>
                    </a:p>
                    <a:p>
                      <a:pPr algn="ctr">
                        <a:defRPr sz="900" b="1">
                          <a:latin typeface="Nexa (Headings)"/>
                        </a:defRPr>
                      </a:pPr>
                      <a: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La Vache Qui Rit </a:t>
                      </a:r>
                    </a:p>
                    <a:p>
                      <a:pPr algn="ctr">
                        <a:defRPr sz="900" b="1">
                          <a:latin typeface="Nexa (Headings)"/>
                        </a:defRPr>
                      </a:pPr>
                      <a: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La Vache Qui Rit</a:t>
                      </a:r>
                    </a:p>
                    <a:p>
                      <a:pPr algn="ctr">
                        <a:defRPr sz="900" b="1">
                          <a:latin typeface="Nexa (Headings)"/>
                        </a:defRPr>
                      </a:pPr>
                      <a: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831402">
                <a:tc>
                  <a:txBody>
                    <a:bodyPr/>
                    <a:lstStyle/>
                    <a:p>
                      <a:pPr algn="ctr">
                        <a:defRPr sz="800" b="1">
                          <a:latin typeface="Nexa (Headings)"/>
                        </a:defRPr>
                      </a:pPr>
                      <a:r>
                        <a:t>Grand Total</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6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2</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30%</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35%</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3</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831402">
                <a:tc>
                  <a:txBody>
                    <a:bodyPr/>
                    <a:lstStyle/>
                    <a:p>
                      <a:pPr algn="ctr">
                        <a:defRPr sz="800" b="1">
                          <a:latin typeface="Nexa (Headings)"/>
                        </a:defRPr>
                      </a:pPr>
                      <a:r>
                        <a:t>Frais A Tartiner</a:t>
                      </a:r>
                    </a:p>
                  </a:txBody>
                  <a:tcPr marL="3810" marR="3810" marT="3810" marB="0" anchor="ctr">
                    <a:noFill/>
                  </a:tcPr>
                </a:tc>
                <a:tc>
                  <a:txBody>
                    <a:bodyPr/>
                    <a:lstStyle/>
                    <a:p>
                      <a:pPr algn="ctr">
                        <a:defRPr sz="800">
                          <a:latin typeface="Nexa Book"/>
                        </a:defRPr>
                      </a:pPr>
                      <a:r>
                        <a:t>14</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3161381"/>
                  </a:ext>
                </a:extLst>
              </a:tr>
              <a:tr h="831402">
                <a:tc>
                  <a:txBody>
                    <a:bodyPr/>
                    <a:lstStyle/>
                    <a:p>
                      <a:pPr algn="ctr">
                        <a:defRPr sz="800" b="1">
                          <a:latin typeface="Nexa (Headings)"/>
                        </a:defRPr>
                      </a:pPr>
                      <a:r>
                        <a:t>Enfant</a:t>
                      </a:r>
                    </a:p>
                  </a:txBody>
                  <a:tcPr marL="3810" marR="3810" marT="3810" marB="0" anchor="ctr">
                    <a:noFill/>
                  </a:tcPr>
                </a:tc>
                <a:tc>
                  <a:txBody>
                    <a:bodyPr/>
                    <a:lstStyle/>
                    <a:p>
                      <a:pPr algn="ctr">
                        <a:defRPr sz="800">
                          <a:latin typeface="Nexa Book"/>
                        </a:defRPr>
                      </a:pPr>
                      <a:r>
                        <a:t>8</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26%</a:t>
                      </a:r>
                    </a:p>
                  </a:txBody>
                  <a:tcPr marL="3810" marR="3810" marT="3810" marB="0" anchor="ctr">
                    <a:noFill/>
                  </a:tcPr>
                </a:tc>
                <a:tc>
                  <a:txBody>
                    <a:bodyPr/>
                    <a:lstStyle/>
                    <a:p>
                      <a:pPr algn="ctr">
                        <a:defRPr sz="800">
                          <a:latin typeface="Nexa Book"/>
                        </a:defRPr>
                      </a:pPr>
                      <a:r>
                        <a:t>33%</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1</a:t>
                      </a:r>
                    </a:p>
                  </a:txBody>
                  <a:tcPr marL="3810" marR="3810" marT="3810" marB="0" anchor="ctr">
                    <a:noFill/>
                  </a:tcPr>
                </a:tc>
                <a:extLst>
                  <a:ext uri="{0D108BD9-81ED-4DB2-BD59-A6C34878D82A}">
                    <a16:rowId xmlns:a16="http://schemas.microsoft.com/office/drawing/2014/main" val="1752397169"/>
                  </a:ext>
                </a:extLst>
              </a:tr>
              <a:tr h="831402">
                <a:tc>
                  <a:txBody>
                    <a:bodyPr/>
                    <a:lstStyle/>
                    <a:p>
                      <a:pPr algn="ctr">
                        <a:defRPr sz="800" b="1">
                          <a:latin typeface="Nexa (Headings)"/>
                        </a:defRPr>
                      </a:pPr>
                      <a:r>
                        <a:t>Salade</a:t>
                      </a:r>
                    </a:p>
                  </a:txBody>
                  <a:tcPr marL="3810" marR="3810" marT="3810" marB="0" anchor="ctr">
                    <a:noFill/>
                  </a:tcPr>
                </a:tc>
                <a:tc>
                  <a:txBody>
                    <a:bodyPr/>
                    <a:lstStyle/>
                    <a:p>
                      <a:pPr algn="ctr">
                        <a:defRPr sz="800">
                          <a:latin typeface="Nexa Book"/>
                        </a:defRPr>
                      </a:pPr>
                      <a:r>
                        <a:t>17</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3712364869"/>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603</a:t>
            </a:fld>
            <a:endParaRPr lang="en-US"/>
          </a:p>
        </p:txBody>
      </p:sp>
    </p:spTree>
    <p:extLst>
      <p:ext uri="{BB962C8B-B14F-4D97-AF65-F5344CB8AC3E}">
        <p14:creationId xmlns:p14="http://schemas.microsoft.com/office/powerpoint/2010/main" val="3017831450"/>
      </p:ext>
    </p:extLst>
  </p:cSld>
  <p:clrMapOvr>
    <a:masterClrMapping/>
  </p:clrMapOvr>
</p:sld>
</file>

<file path=ppt/slides/slide6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9/9/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pPr>
              <a:defRPr sz="1200">
                <a:latin typeface="Nexa Bold (Headings)"/>
              </a:defRPr>
            </a:pPr>
            <a:r>
              <a:t>Segment fair share | Total Fromage | Kiri | Carrefour Proximite | P12M</a:t>
            </a:r>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pPr>
              <a:defRPr sz="1600">
                <a:latin typeface="Nexa Bold (Headings)"/>
              </a:defRPr>
            </a:pPr>
            <a:r>
              <a:rPr lang="en-GB" dirty="0">
                <a:highlight>
                  <a:srgbClr val="FFFF00"/>
                </a:highlight>
              </a:rPr>
              <a:t>Segment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Kiri </a:t>
                      </a:r>
                    </a:p>
                    <a:p>
                      <a:pPr algn="ctr">
                        <a:defRPr sz="900" b="1">
                          <a:latin typeface="Nexa (Headings)"/>
                        </a:defRPr>
                      </a:pPr>
                      <a: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Kiri </a:t>
                      </a:r>
                    </a:p>
                    <a:p>
                      <a:pPr algn="ctr">
                        <a:defRPr sz="900" b="1">
                          <a:latin typeface="Nexa (Headings)"/>
                        </a:defRPr>
                      </a:pPr>
                      <a: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Kiri </a:t>
                      </a:r>
                    </a:p>
                    <a:p>
                      <a:pPr algn="ctr">
                        <a:defRPr sz="900" b="1">
                          <a:latin typeface="Nexa (Headings)"/>
                        </a:defRPr>
                      </a:pPr>
                      <a: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Kiri </a:t>
                      </a:r>
                    </a:p>
                    <a:p>
                      <a:pPr algn="ctr">
                        <a:defRPr sz="900" b="1">
                          <a:latin typeface="Nexa (Headings)"/>
                        </a:defRPr>
                      </a:pPr>
                      <a: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Kiri</a:t>
                      </a:r>
                    </a:p>
                    <a:p>
                      <a:pPr algn="ctr">
                        <a:defRPr sz="900" b="1">
                          <a:latin typeface="Nexa (Headings)"/>
                        </a:defRPr>
                      </a:pPr>
                      <a: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831402">
                <a:tc>
                  <a:txBody>
                    <a:bodyPr/>
                    <a:lstStyle/>
                    <a:p>
                      <a:pPr algn="ctr">
                        <a:defRPr sz="800" b="1">
                          <a:latin typeface="Nexa (Headings)"/>
                        </a:defRPr>
                      </a:pPr>
                      <a:r>
                        <a:t>Grand Total</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6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3</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28%</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25%</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2</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831402">
                <a:tc>
                  <a:txBody>
                    <a:bodyPr/>
                    <a:lstStyle/>
                    <a:p>
                      <a:pPr algn="ctr">
                        <a:defRPr sz="800" b="1">
                          <a:latin typeface="Nexa (Headings)"/>
                        </a:defRPr>
                      </a:pPr>
                      <a:r>
                        <a:t>Frais A Tartiner</a:t>
                      </a:r>
                    </a:p>
                  </a:txBody>
                  <a:tcPr marL="3810" marR="3810" marT="3810" marB="0" anchor="ctr">
                    <a:noFill/>
                  </a:tcPr>
                </a:tc>
                <a:tc>
                  <a:txBody>
                    <a:bodyPr/>
                    <a:lstStyle/>
                    <a:p>
                      <a:pPr algn="ctr">
                        <a:defRPr sz="800">
                          <a:latin typeface="Nexa Book"/>
                        </a:defRPr>
                      </a:pPr>
                      <a:r>
                        <a:t>14</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6%</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3161381"/>
                  </a:ext>
                </a:extLst>
              </a:tr>
              <a:tr h="831402">
                <a:tc>
                  <a:txBody>
                    <a:bodyPr/>
                    <a:lstStyle/>
                    <a:p>
                      <a:pPr algn="ctr">
                        <a:defRPr sz="800" b="1">
                          <a:latin typeface="Nexa (Headings)"/>
                        </a:defRPr>
                      </a:pPr>
                      <a:r>
                        <a:t>Enfant</a:t>
                      </a:r>
                    </a:p>
                  </a:txBody>
                  <a:tcPr marL="3810" marR="3810" marT="3810" marB="0" anchor="ctr">
                    <a:noFill/>
                  </a:tcPr>
                </a:tc>
                <a:tc>
                  <a:txBody>
                    <a:bodyPr/>
                    <a:lstStyle/>
                    <a:p>
                      <a:pPr algn="ctr">
                        <a:defRPr sz="800">
                          <a:latin typeface="Nexa Book"/>
                        </a:defRPr>
                      </a:pPr>
                      <a:r>
                        <a:t>8</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22%</a:t>
                      </a:r>
                    </a:p>
                  </a:txBody>
                  <a:tcPr marL="3810" marR="3810" marT="3810" marB="0" anchor="ctr">
                    <a:noFill/>
                  </a:tcPr>
                </a:tc>
                <a:tc>
                  <a:txBody>
                    <a:bodyPr/>
                    <a:lstStyle/>
                    <a:p>
                      <a:pPr algn="ctr">
                        <a:defRPr sz="800">
                          <a:latin typeface="Nexa Book"/>
                        </a:defRPr>
                      </a:pPr>
                      <a:r>
                        <a:t>23%</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1752397169"/>
                  </a:ext>
                </a:extLst>
              </a:tr>
              <a:tr h="831402">
                <a:tc>
                  <a:txBody>
                    <a:bodyPr/>
                    <a:lstStyle/>
                    <a:p>
                      <a:pPr algn="ctr">
                        <a:defRPr sz="800" b="1">
                          <a:latin typeface="Nexa (Headings)"/>
                        </a:defRPr>
                      </a:pPr>
                      <a:r>
                        <a:t>Salade</a:t>
                      </a:r>
                    </a:p>
                  </a:txBody>
                  <a:tcPr marL="3810" marR="3810" marT="3810" marB="0" anchor="ctr">
                    <a:noFill/>
                  </a:tcPr>
                </a:tc>
                <a:tc>
                  <a:txBody>
                    <a:bodyPr/>
                    <a:lstStyle/>
                    <a:p>
                      <a:pPr algn="ctr">
                        <a:defRPr sz="800">
                          <a:latin typeface="Nexa Book"/>
                        </a:defRPr>
                      </a:pPr>
                      <a:r>
                        <a:t>17</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3712364869"/>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604</a:t>
            </a:fld>
            <a:endParaRPr lang="en-US"/>
          </a:p>
        </p:txBody>
      </p:sp>
    </p:spTree>
    <p:extLst>
      <p:ext uri="{BB962C8B-B14F-4D97-AF65-F5344CB8AC3E}">
        <p14:creationId xmlns:p14="http://schemas.microsoft.com/office/powerpoint/2010/main" val="2249731043"/>
      </p:ext>
    </p:extLst>
  </p:cSld>
  <p:clrMapOvr>
    <a:masterClrMapping/>
  </p:clrMapOvr>
</p:sld>
</file>

<file path=ppt/slides/slide6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9/9/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pPr>
              <a:defRPr sz="1200">
                <a:latin typeface="Nexa Bold (Headings)"/>
              </a:defRPr>
            </a:pPr>
            <a:r>
              <a:t>Segment fair share | Total Fromage | Boursin | Carrefour Proximite | P12M</a:t>
            </a:r>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pPr>
              <a:defRPr sz="1600">
                <a:latin typeface="Nexa Bold (Headings)"/>
              </a:defRPr>
            </a:pPr>
            <a:r>
              <a:rPr lang="en-GB" dirty="0">
                <a:highlight>
                  <a:srgbClr val="FFFF00"/>
                </a:highlight>
              </a:rPr>
              <a:t>Segment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oursin </a:t>
                      </a:r>
                    </a:p>
                    <a:p>
                      <a:pPr algn="ctr">
                        <a:defRPr sz="900" b="1">
                          <a:latin typeface="Nexa (Headings)"/>
                        </a:defRPr>
                      </a:pPr>
                      <a: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oursin </a:t>
                      </a:r>
                    </a:p>
                    <a:p>
                      <a:pPr algn="ctr">
                        <a:defRPr sz="900" b="1">
                          <a:latin typeface="Nexa (Headings)"/>
                        </a:defRPr>
                      </a:pPr>
                      <a: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oursin </a:t>
                      </a:r>
                    </a:p>
                    <a:p>
                      <a:pPr algn="ctr">
                        <a:defRPr sz="900" b="1">
                          <a:latin typeface="Nexa (Headings)"/>
                        </a:defRPr>
                      </a:pPr>
                      <a: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oursin </a:t>
                      </a:r>
                    </a:p>
                    <a:p>
                      <a:pPr algn="ctr">
                        <a:defRPr sz="900" b="1">
                          <a:latin typeface="Nexa (Headings)"/>
                        </a:defRPr>
                      </a:pPr>
                      <a: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oursin</a:t>
                      </a:r>
                    </a:p>
                    <a:p>
                      <a:pPr algn="ctr">
                        <a:defRPr sz="900" b="1">
                          <a:latin typeface="Nexa (Headings)"/>
                        </a:defRPr>
                      </a:pPr>
                      <a: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831402">
                <a:tc>
                  <a:txBody>
                    <a:bodyPr/>
                    <a:lstStyle/>
                    <a:p>
                      <a:pPr algn="ctr">
                        <a:defRPr sz="800" b="1">
                          <a:latin typeface="Nexa (Headings)"/>
                        </a:defRPr>
                      </a:pPr>
                      <a:r>
                        <a:t>Grand Total</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6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4</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35%</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31%</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3</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831402">
                <a:tc>
                  <a:txBody>
                    <a:bodyPr/>
                    <a:lstStyle/>
                    <a:p>
                      <a:pPr algn="ctr">
                        <a:defRPr sz="800" b="1">
                          <a:latin typeface="Nexa (Headings)"/>
                        </a:defRPr>
                      </a:pPr>
                      <a:r>
                        <a:t>Frais A Tartiner</a:t>
                      </a:r>
                    </a:p>
                  </a:txBody>
                  <a:tcPr marL="3810" marR="3810" marT="3810" marB="0" anchor="ctr">
                    <a:noFill/>
                  </a:tcPr>
                </a:tc>
                <a:tc>
                  <a:txBody>
                    <a:bodyPr/>
                    <a:lstStyle/>
                    <a:p>
                      <a:pPr algn="ctr">
                        <a:defRPr sz="800">
                          <a:latin typeface="Nexa Book"/>
                        </a:defRPr>
                      </a:pPr>
                      <a:r>
                        <a:t>14</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12%</a:t>
                      </a:r>
                    </a:p>
                  </a:txBody>
                  <a:tcPr marL="3810" marR="3810" marT="3810" marB="0" anchor="ctr">
                    <a:noFill/>
                  </a:tcPr>
                </a:tc>
                <a:tc>
                  <a:txBody>
                    <a:bodyPr/>
                    <a:lstStyle/>
                    <a:p>
                      <a:pPr algn="ctr">
                        <a:defRPr sz="800">
                          <a:latin typeface="Nexa Book"/>
                        </a:defRPr>
                      </a:pPr>
                      <a:r>
                        <a:t>10%</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3161381"/>
                  </a:ext>
                </a:extLst>
              </a:tr>
              <a:tr h="831402">
                <a:tc>
                  <a:txBody>
                    <a:bodyPr/>
                    <a:lstStyle/>
                    <a:p>
                      <a:pPr algn="ctr">
                        <a:defRPr sz="800" b="1">
                          <a:latin typeface="Nexa (Headings)"/>
                        </a:defRPr>
                      </a:pPr>
                      <a:r>
                        <a:t>Enfant</a:t>
                      </a:r>
                    </a:p>
                  </a:txBody>
                  <a:tcPr marL="3810" marR="3810" marT="3810" marB="0" anchor="ctr">
                    <a:noFill/>
                  </a:tcPr>
                </a:tc>
                <a:tc>
                  <a:txBody>
                    <a:bodyPr/>
                    <a:lstStyle/>
                    <a:p>
                      <a:pPr algn="ctr">
                        <a:defRPr sz="800">
                          <a:latin typeface="Nexa Book"/>
                        </a:defRPr>
                      </a:pPr>
                      <a:r>
                        <a:t>8</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1752397169"/>
                  </a:ext>
                </a:extLst>
              </a:tr>
              <a:tr h="831402">
                <a:tc>
                  <a:txBody>
                    <a:bodyPr/>
                    <a:lstStyle/>
                    <a:p>
                      <a:pPr algn="ctr">
                        <a:defRPr sz="800" b="1">
                          <a:latin typeface="Nexa (Headings)"/>
                        </a:defRPr>
                      </a:pPr>
                      <a:r>
                        <a:t>Salade</a:t>
                      </a:r>
                    </a:p>
                  </a:txBody>
                  <a:tcPr marL="3810" marR="3810" marT="3810" marB="0" anchor="ctr">
                    <a:noFill/>
                  </a:tcPr>
                </a:tc>
                <a:tc>
                  <a:txBody>
                    <a:bodyPr/>
                    <a:lstStyle/>
                    <a:p>
                      <a:pPr algn="ctr">
                        <a:defRPr sz="800">
                          <a:latin typeface="Nexa Book"/>
                        </a:defRPr>
                      </a:pPr>
                      <a:r>
                        <a:t>17</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5%</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3712364869"/>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605</a:t>
            </a:fld>
            <a:endParaRPr lang="en-US"/>
          </a:p>
        </p:txBody>
      </p:sp>
    </p:spTree>
    <p:extLst>
      <p:ext uri="{BB962C8B-B14F-4D97-AF65-F5344CB8AC3E}">
        <p14:creationId xmlns:p14="http://schemas.microsoft.com/office/powerpoint/2010/main" val="1746641116"/>
      </p:ext>
    </p:extLst>
  </p:cSld>
  <p:clrMapOvr>
    <a:masterClrMapping/>
  </p:clrMapOvr>
</p:sld>
</file>

<file path=ppt/slides/slide6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9/9/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pPr>
              <a:defRPr sz="1200">
                <a:latin typeface="Nexa Bold (Headings)"/>
              </a:defRPr>
            </a:pPr>
            <a:r>
              <a:t>Segment fair share | Total Fromage | Kiri | Intermarche Super | P12M</a:t>
            </a:r>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pPr>
              <a:defRPr sz="1600">
                <a:latin typeface="Nexa Bold (Headings)"/>
              </a:defRPr>
            </a:pPr>
            <a:r>
              <a:rPr lang="en-GB" dirty="0">
                <a:highlight>
                  <a:srgbClr val="FFFF00"/>
                </a:highlight>
              </a:rPr>
              <a:t>Segment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Kiri </a:t>
                      </a:r>
                    </a:p>
                    <a:p>
                      <a:pPr algn="ctr">
                        <a:defRPr sz="900" b="1">
                          <a:latin typeface="Nexa (Headings)"/>
                        </a:defRPr>
                      </a:pPr>
                      <a: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Kiri </a:t>
                      </a:r>
                    </a:p>
                    <a:p>
                      <a:pPr algn="ctr">
                        <a:defRPr sz="900" b="1">
                          <a:latin typeface="Nexa (Headings)"/>
                        </a:defRPr>
                      </a:pPr>
                      <a: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Kiri </a:t>
                      </a:r>
                    </a:p>
                    <a:p>
                      <a:pPr algn="ctr">
                        <a:defRPr sz="900" b="1">
                          <a:latin typeface="Nexa (Headings)"/>
                        </a:defRPr>
                      </a:pPr>
                      <a: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Kiri </a:t>
                      </a:r>
                    </a:p>
                    <a:p>
                      <a:pPr algn="ctr">
                        <a:defRPr sz="900" b="1">
                          <a:latin typeface="Nexa (Headings)"/>
                        </a:defRPr>
                      </a:pPr>
                      <a: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Kiri</a:t>
                      </a:r>
                    </a:p>
                    <a:p>
                      <a:pPr algn="ctr">
                        <a:defRPr sz="900" b="1">
                          <a:latin typeface="Nexa (Headings)"/>
                        </a:defRPr>
                      </a:pPr>
                      <a: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831402">
                <a:tc>
                  <a:txBody>
                    <a:bodyPr/>
                    <a:lstStyle/>
                    <a:p>
                      <a:pPr algn="ctr">
                        <a:defRPr sz="800" b="1">
                          <a:latin typeface="Nexa (Headings)"/>
                        </a:defRPr>
                      </a:pPr>
                      <a:r>
                        <a:t>Grand Total</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61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1</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31%</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22%</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8</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831402">
                <a:tc>
                  <a:txBody>
                    <a:bodyPr/>
                    <a:lstStyle/>
                    <a:p>
                      <a:pPr algn="ctr">
                        <a:defRPr sz="800" b="1">
                          <a:latin typeface="Nexa (Headings)"/>
                        </a:defRPr>
                      </a:pPr>
                      <a:r>
                        <a:t>Frais A Tartiner</a:t>
                      </a:r>
                    </a:p>
                  </a:txBody>
                  <a:tcPr marL="3810" marR="3810" marT="3810" marB="0" anchor="ctr">
                    <a:noFill/>
                  </a:tcPr>
                </a:tc>
                <a:tc>
                  <a:txBody>
                    <a:bodyPr/>
                    <a:lstStyle/>
                    <a:p>
                      <a:pPr algn="ctr">
                        <a:defRPr sz="800">
                          <a:latin typeface="Nexa Book"/>
                        </a:defRPr>
                      </a:pPr>
                      <a:r>
                        <a:t>53</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4%</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3161381"/>
                  </a:ext>
                </a:extLst>
              </a:tr>
              <a:tr h="831402">
                <a:tc>
                  <a:txBody>
                    <a:bodyPr/>
                    <a:lstStyle/>
                    <a:p>
                      <a:pPr algn="ctr">
                        <a:defRPr sz="800" b="1">
                          <a:latin typeface="Nexa (Headings)"/>
                        </a:defRPr>
                      </a:pPr>
                      <a:r>
                        <a:t>Enfant</a:t>
                      </a:r>
                    </a:p>
                  </a:txBody>
                  <a:tcPr marL="3810" marR="3810" marT="3810" marB="0" anchor="ctr">
                    <a:noFill/>
                  </a:tcPr>
                </a:tc>
                <a:tc>
                  <a:txBody>
                    <a:bodyPr/>
                    <a:lstStyle/>
                    <a:p>
                      <a:pPr algn="ctr">
                        <a:defRPr sz="800">
                          <a:latin typeface="Nexa Book"/>
                        </a:defRPr>
                      </a:pPr>
                      <a:r>
                        <a:t>34</a:t>
                      </a:r>
                    </a:p>
                  </a:txBody>
                  <a:tcPr marL="3810" marR="3810" marT="3810" marB="0" anchor="ctr">
                    <a:noFill/>
                  </a:tcPr>
                </a:tc>
                <a:tc>
                  <a:txBody>
                    <a:bodyPr/>
                    <a:lstStyle/>
                    <a:p>
                      <a:pPr algn="ctr">
                        <a:defRPr sz="800">
                          <a:latin typeface="Nexa Book"/>
                        </a:defRPr>
                      </a:pPr>
                      <a:r>
                        <a:t>9</a:t>
                      </a:r>
                    </a:p>
                  </a:txBody>
                  <a:tcPr marL="3810" marR="3810" marT="3810" marB="0" anchor="ctr">
                    <a:noFill/>
                  </a:tcPr>
                </a:tc>
                <a:tc>
                  <a:txBody>
                    <a:bodyPr/>
                    <a:lstStyle/>
                    <a:p>
                      <a:pPr algn="ctr">
                        <a:defRPr sz="800">
                          <a:latin typeface="Nexa Book"/>
                        </a:defRPr>
                      </a:pPr>
                      <a:r>
                        <a:t>27%</a:t>
                      </a:r>
                    </a:p>
                  </a:txBody>
                  <a:tcPr marL="3810" marR="3810" marT="3810" marB="0" anchor="ctr">
                    <a:noFill/>
                  </a:tcPr>
                </a:tc>
                <a:tc>
                  <a:txBody>
                    <a:bodyPr/>
                    <a:lstStyle/>
                    <a:p>
                      <a:pPr algn="ctr">
                        <a:defRPr sz="800">
                          <a:latin typeface="Nexa Book"/>
                        </a:defRPr>
                      </a:pPr>
                      <a:r>
                        <a:t>22%</a:t>
                      </a:r>
                    </a:p>
                  </a:txBody>
                  <a:tcPr marL="3810" marR="3810" marT="3810" marB="0" anchor="ctr">
                    <a:noFill/>
                  </a:tcPr>
                </a:tc>
                <a:tc>
                  <a:txBody>
                    <a:bodyPr/>
                    <a:lstStyle/>
                    <a:p>
                      <a:pPr algn="ctr">
                        <a:defRPr sz="800">
                          <a:latin typeface="Nexa Book"/>
                        </a:defRPr>
                      </a:pPr>
                      <a:r>
                        <a:t>7</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1752397169"/>
                  </a:ext>
                </a:extLst>
              </a:tr>
              <a:tr h="831402">
                <a:tc>
                  <a:txBody>
                    <a:bodyPr/>
                    <a:lstStyle/>
                    <a:p>
                      <a:pPr algn="ctr">
                        <a:defRPr sz="800" b="1">
                          <a:latin typeface="Nexa (Headings)"/>
                        </a:defRPr>
                      </a:pPr>
                      <a:r>
                        <a:t>Salade</a:t>
                      </a:r>
                    </a:p>
                  </a:txBody>
                  <a:tcPr marL="3810" marR="3810" marT="3810" marB="0" anchor="ctr">
                    <a:noFill/>
                  </a:tcPr>
                </a:tc>
                <a:tc>
                  <a:txBody>
                    <a:bodyPr/>
                    <a:lstStyle/>
                    <a:p>
                      <a:pPr algn="ctr">
                        <a:defRPr sz="800">
                          <a:latin typeface="Nexa Book"/>
                        </a:defRPr>
                      </a:pPr>
                      <a:r>
                        <a:t>59</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3712364869"/>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606</a:t>
            </a:fld>
            <a:endParaRPr lang="en-US"/>
          </a:p>
        </p:txBody>
      </p:sp>
    </p:spTree>
    <p:extLst>
      <p:ext uri="{BB962C8B-B14F-4D97-AF65-F5344CB8AC3E}">
        <p14:creationId xmlns:p14="http://schemas.microsoft.com/office/powerpoint/2010/main" val="544391442"/>
      </p:ext>
    </p:extLst>
  </p:cSld>
  <p:clrMapOvr>
    <a:masterClrMapping/>
  </p:clrMapOvr>
</p:sld>
</file>

<file path=ppt/slides/slide6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9/9/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pPr>
              <a:defRPr sz="1200">
                <a:latin typeface="Nexa Bold (Headings)"/>
              </a:defRPr>
            </a:pPr>
            <a:r>
              <a:t>Segment fair share | Total Fromage | La Vache Qui Rit | Intermarche Super | P12M</a:t>
            </a:r>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pPr>
              <a:defRPr sz="1600">
                <a:latin typeface="Nexa Bold (Headings)"/>
              </a:defRPr>
            </a:pPr>
            <a:r>
              <a:rPr lang="en-GB" dirty="0">
                <a:highlight>
                  <a:srgbClr val="FFFF00"/>
                </a:highlight>
              </a:rPr>
              <a:t>Segment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La Vache Qui Rit </a:t>
                      </a:r>
                    </a:p>
                    <a:p>
                      <a:pPr algn="ctr">
                        <a:defRPr sz="900" b="1">
                          <a:latin typeface="Nexa (Headings)"/>
                        </a:defRPr>
                      </a:pPr>
                      <a: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La Vache Qui Rit </a:t>
                      </a:r>
                    </a:p>
                    <a:p>
                      <a:pPr algn="ctr">
                        <a:defRPr sz="900" b="1">
                          <a:latin typeface="Nexa (Headings)"/>
                        </a:defRPr>
                      </a:pPr>
                      <a: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La Vache Qui Rit </a:t>
                      </a:r>
                    </a:p>
                    <a:p>
                      <a:pPr algn="ctr">
                        <a:defRPr sz="900" b="1">
                          <a:latin typeface="Nexa (Headings)"/>
                        </a:defRPr>
                      </a:pPr>
                      <a: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La Vache Qui Rit </a:t>
                      </a:r>
                    </a:p>
                    <a:p>
                      <a:pPr algn="ctr">
                        <a:defRPr sz="900" b="1">
                          <a:latin typeface="Nexa (Headings)"/>
                        </a:defRPr>
                      </a:pPr>
                      <a: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La Vache Qui Rit</a:t>
                      </a:r>
                    </a:p>
                    <a:p>
                      <a:pPr algn="ctr">
                        <a:defRPr sz="900" b="1">
                          <a:latin typeface="Nexa (Headings)"/>
                        </a:defRPr>
                      </a:pPr>
                      <a: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831402">
                <a:tc>
                  <a:txBody>
                    <a:bodyPr/>
                    <a:lstStyle/>
                    <a:p>
                      <a:pPr algn="ctr">
                        <a:defRPr sz="800" b="1">
                          <a:latin typeface="Nexa (Headings)"/>
                        </a:defRPr>
                      </a:pPr>
                      <a:r>
                        <a:t>Grand Total</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61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25%</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30%</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0</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831402">
                <a:tc>
                  <a:txBody>
                    <a:bodyPr/>
                    <a:lstStyle/>
                    <a:p>
                      <a:pPr algn="ctr">
                        <a:defRPr sz="800" b="1">
                          <a:latin typeface="Nexa (Headings)"/>
                        </a:defRPr>
                      </a:pPr>
                      <a:r>
                        <a:t>Frais A Tartiner</a:t>
                      </a:r>
                    </a:p>
                  </a:txBody>
                  <a:tcPr marL="3810" marR="3810" marT="3810" marB="0" anchor="ctr">
                    <a:noFill/>
                  </a:tcPr>
                </a:tc>
                <a:tc>
                  <a:txBody>
                    <a:bodyPr/>
                    <a:lstStyle/>
                    <a:p>
                      <a:pPr algn="ctr">
                        <a:defRPr sz="800">
                          <a:latin typeface="Nexa Book"/>
                        </a:defRPr>
                      </a:pPr>
                      <a:r>
                        <a:t>53</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3161381"/>
                  </a:ext>
                </a:extLst>
              </a:tr>
              <a:tr h="831402">
                <a:tc>
                  <a:txBody>
                    <a:bodyPr/>
                    <a:lstStyle/>
                    <a:p>
                      <a:pPr algn="ctr">
                        <a:defRPr sz="800" b="1">
                          <a:latin typeface="Nexa (Headings)"/>
                        </a:defRPr>
                      </a:pPr>
                      <a:r>
                        <a:t>Enfant</a:t>
                      </a:r>
                    </a:p>
                  </a:txBody>
                  <a:tcPr marL="3810" marR="3810" marT="3810" marB="0" anchor="ctr">
                    <a:noFill/>
                  </a:tcPr>
                </a:tc>
                <a:tc>
                  <a:txBody>
                    <a:bodyPr/>
                    <a:lstStyle/>
                    <a:p>
                      <a:pPr algn="ctr">
                        <a:defRPr sz="800">
                          <a:latin typeface="Nexa Book"/>
                        </a:defRPr>
                      </a:pPr>
                      <a:r>
                        <a:t>34</a:t>
                      </a:r>
                    </a:p>
                  </a:txBody>
                  <a:tcPr marL="3810" marR="3810" marT="3810" marB="0" anchor="ctr">
                    <a:noFill/>
                  </a:tcPr>
                </a:tc>
                <a:tc>
                  <a:txBody>
                    <a:bodyPr/>
                    <a:lstStyle/>
                    <a:p>
                      <a:pPr algn="ctr">
                        <a:defRPr sz="800">
                          <a:latin typeface="Nexa Book"/>
                        </a:defRPr>
                      </a:pPr>
                      <a:r>
                        <a:t>9</a:t>
                      </a:r>
                    </a:p>
                  </a:txBody>
                  <a:tcPr marL="3810" marR="3810" marT="3810" marB="0" anchor="ctr">
                    <a:noFill/>
                  </a:tcPr>
                </a:tc>
                <a:tc>
                  <a:txBody>
                    <a:bodyPr/>
                    <a:lstStyle/>
                    <a:p>
                      <a:pPr algn="ctr">
                        <a:defRPr sz="800">
                          <a:latin typeface="Nexa Book"/>
                        </a:defRPr>
                      </a:pPr>
                      <a:r>
                        <a:t>25%</a:t>
                      </a:r>
                    </a:p>
                  </a:txBody>
                  <a:tcPr marL="3810" marR="3810" marT="3810" marB="0" anchor="ctr">
                    <a:noFill/>
                  </a:tcPr>
                </a:tc>
                <a:tc>
                  <a:txBody>
                    <a:bodyPr/>
                    <a:lstStyle/>
                    <a:p>
                      <a:pPr algn="ctr">
                        <a:defRPr sz="800">
                          <a:latin typeface="Nexa Book"/>
                        </a:defRPr>
                      </a:pPr>
                      <a:r>
                        <a:t>30%</a:t>
                      </a:r>
                    </a:p>
                  </a:txBody>
                  <a:tcPr marL="3810" marR="3810" marT="3810" marB="0" anchor="ctr">
                    <a:noFill/>
                  </a:tcPr>
                </a:tc>
                <a:tc>
                  <a:txBody>
                    <a:bodyPr/>
                    <a:lstStyle/>
                    <a:p>
                      <a:pPr algn="ctr">
                        <a:defRPr sz="800">
                          <a:latin typeface="Nexa Book"/>
                        </a:defRPr>
                      </a:pPr>
                      <a:r>
                        <a:t>10</a:t>
                      </a:r>
                    </a:p>
                  </a:txBody>
                  <a:tcPr marL="3810" marR="3810" marT="3810" marB="0" anchor="ctr">
                    <a:noFill/>
                  </a:tcPr>
                </a:tc>
                <a:tc>
                  <a:txBody>
                    <a:bodyPr/>
                    <a:lstStyle/>
                    <a:p>
                      <a:pPr algn="ctr">
                        <a:defRPr sz="800">
                          <a:latin typeface="Nexa Book"/>
                        </a:defRPr>
                      </a:pPr>
                      <a:r>
                        <a:t>1</a:t>
                      </a:r>
                    </a:p>
                  </a:txBody>
                  <a:tcPr marL="3810" marR="3810" marT="3810" marB="0" anchor="ctr">
                    <a:noFill/>
                  </a:tcPr>
                </a:tc>
                <a:extLst>
                  <a:ext uri="{0D108BD9-81ED-4DB2-BD59-A6C34878D82A}">
                    <a16:rowId xmlns:a16="http://schemas.microsoft.com/office/drawing/2014/main" val="1752397169"/>
                  </a:ext>
                </a:extLst>
              </a:tr>
              <a:tr h="831402">
                <a:tc>
                  <a:txBody>
                    <a:bodyPr/>
                    <a:lstStyle/>
                    <a:p>
                      <a:pPr algn="ctr">
                        <a:defRPr sz="800" b="1">
                          <a:latin typeface="Nexa (Headings)"/>
                        </a:defRPr>
                      </a:pPr>
                      <a:r>
                        <a:t>Salade</a:t>
                      </a:r>
                    </a:p>
                  </a:txBody>
                  <a:tcPr marL="3810" marR="3810" marT="3810" marB="0" anchor="ctr">
                    <a:noFill/>
                  </a:tcPr>
                </a:tc>
                <a:tc>
                  <a:txBody>
                    <a:bodyPr/>
                    <a:lstStyle/>
                    <a:p>
                      <a:pPr algn="ctr">
                        <a:defRPr sz="800">
                          <a:latin typeface="Nexa Book"/>
                        </a:defRPr>
                      </a:pPr>
                      <a:r>
                        <a:t>59</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3712364869"/>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607</a:t>
            </a:fld>
            <a:endParaRPr lang="en-US"/>
          </a:p>
        </p:txBody>
      </p:sp>
    </p:spTree>
    <p:extLst>
      <p:ext uri="{BB962C8B-B14F-4D97-AF65-F5344CB8AC3E}">
        <p14:creationId xmlns:p14="http://schemas.microsoft.com/office/powerpoint/2010/main" val="2054824124"/>
      </p:ext>
    </p:extLst>
  </p:cSld>
  <p:clrMapOvr>
    <a:masterClrMapping/>
  </p:clrMapOvr>
</p:sld>
</file>

<file path=ppt/slides/slide6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9/9/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pPr>
              <a:defRPr sz="1200">
                <a:latin typeface="Nexa Bold (Headings)"/>
              </a:defRPr>
            </a:pPr>
            <a:r>
              <a:t>Segment fair share | Total Fromage | Boursin | Intermarche Super | P12M</a:t>
            </a:r>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pPr>
              <a:defRPr sz="1600">
                <a:latin typeface="Nexa Bold (Headings)"/>
              </a:defRPr>
            </a:pPr>
            <a:r>
              <a:rPr lang="en-GB" dirty="0">
                <a:highlight>
                  <a:srgbClr val="FFFF00"/>
                </a:highlight>
              </a:rPr>
              <a:t>Segment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oursin </a:t>
                      </a:r>
                    </a:p>
                    <a:p>
                      <a:pPr algn="ctr">
                        <a:defRPr sz="900" b="1">
                          <a:latin typeface="Nexa (Headings)"/>
                        </a:defRPr>
                      </a:pPr>
                      <a: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oursin </a:t>
                      </a:r>
                    </a:p>
                    <a:p>
                      <a:pPr algn="ctr">
                        <a:defRPr sz="900" b="1">
                          <a:latin typeface="Nexa (Headings)"/>
                        </a:defRPr>
                      </a:pPr>
                      <a: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oursin </a:t>
                      </a:r>
                    </a:p>
                    <a:p>
                      <a:pPr algn="ctr">
                        <a:defRPr sz="900" b="1">
                          <a:latin typeface="Nexa (Headings)"/>
                        </a:defRPr>
                      </a:pPr>
                      <a: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oursin </a:t>
                      </a:r>
                    </a:p>
                    <a:p>
                      <a:pPr algn="ctr">
                        <a:defRPr sz="900" b="1">
                          <a:latin typeface="Nexa (Headings)"/>
                        </a:defRPr>
                      </a:pPr>
                      <a: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oursin</a:t>
                      </a:r>
                    </a:p>
                    <a:p>
                      <a:pPr algn="ctr">
                        <a:defRPr sz="900" b="1">
                          <a:latin typeface="Nexa (Headings)"/>
                        </a:defRPr>
                      </a:pPr>
                      <a: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831402">
                <a:tc>
                  <a:txBody>
                    <a:bodyPr/>
                    <a:lstStyle/>
                    <a:p>
                      <a:pPr algn="ctr">
                        <a:defRPr sz="800" b="1">
                          <a:latin typeface="Nexa (Headings)"/>
                        </a:defRPr>
                      </a:pPr>
                      <a:r>
                        <a:t>Grand Total</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61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20</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47%</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2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3</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831402">
                <a:tc>
                  <a:txBody>
                    <a:bodyPr/>
                    <a:lstStyle/>
                    <a:p>
                      <a:pPr algn="ctr">
                        <a:defRPr sz="800" b="1">
                          <a:latin typeface="Nexa (Headings)"/>
                        </a:defRPr>
                      </a:pPr>
                      <a:r>
                        <a:t>Frais A Tartiner</a:t>
                      </a:r>
                    </a:p>
                  </a:txBody>
                  <a:tcPr marL="3810" marR="3810" marT="3810" marB="0" anchor="ctr">
                    <a:noFill/>
                  </a:tcPr>
                </a:tc>
                <a:tc>
                  <a:txBody>
                    <a:bodyPr/>
                    <a:lstStyle/>
                    <a:p>
                      <a:pPr algn="ctr">
                        <a:defRPr sz="800">
                          <a:latin typeface="Nexa Book"/>
                        </a:defRPr>
                      </a:pPr>
                      <a:r>
                        <a:t>53</a:t>
                      </a:r>
                    </a:p>
                  </a:txBody>
                  <a:tcPr marL="3810" marR="3810" marT="3810" marB="0" anchor="ctr">
                    <a:noFill/>
                  </a:tcPr>
                </a:tc>
                <a:tc>
                  <a:txBody>
                    <a:bodyPr/>
                    <a:lstStyle/>
                    <a:p>
                      <a:pPr algn="ctr">
                        <a:defRPr sz="800">
                          <a:latin typeface="Nexa Book"/>
                        </a:defRPr>
                      </a:pPr>
                      <a:r>
                        <a:t>11</a:t>
                      </a:r>
                    </a:p>
                  </a:txBody>
                  <a:tcPr marL="3810" marR="3810" marT="3810" marB="0" anchor="ctr">
                    <a:noFill/>
                  </a:tcPr>
                </a:tc>
                <a:tc>
                  <a:txBody>
                    <a:bodyPr/>
                    <a:lstStyle/>
                    <a:p>
                      <a:pPr algn="ctr">
                        <a:defRPr sz="800">
                          <a:latin typeface="Nexa Book"/>
                        </a:defRPr>
                      </a:pPr>
                      <a:r>
                        <a:t>20%</a:t>
                      </a:r>
                    </a:p>
                  </a:txBody>
                  <a:tcPr marL="3810" marR="3810" marT="3810" marB="0" anchor="ctr">
                    <a:noFill/>
                  </a:tcPr>
                </a:tc>
                <a:tc>
                  <a:txBody>
                    <a:bodyPr/>
                    <a:lstStyle/>
                    <a:p>
                      <a:pPr algn="ctr">
                        <a:defRPr sz="800">
                          <a:latin typeface="Nexa Book"/>
                        </a:defRPr>
                      </a:pPr>
                      <a:r>
                        <a:t>15%</a:t>
                      </a:r>
                    </a:p>
                  </a:txBody>
                  <a:tcPr marL="3810" marR="3810" marT="3810" marB="0" anchor="ctr">
                    <a:noFill/>
                  </a:tcPr>
                </a:tc>
                <a:tc>
                  <a:txBody>
                    <a:bodyPr/>
                    <a:lstStyle/>
                    <a:p>
                      <a:pPr algn="ctr">
                        <a:defRPr sz="800">
                          <a:latin typeface="Nexa Book"/>
                        </a:defRPr>
                      </a:pPr>
                      <a:r>
                        <a:t>8</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3161381"/>
                  </a:ext>
                </a:extLst>
              </a:tr>
              <a:tr h="831402">
                <a:tc>
                  <a:txBody>
                    <a:bodyPr/>
                    <a:lstStyle/>
                    <a:p>
                      <a:pPr algn="ctr">
                        <a:defRPr sz="800" b="1">
                          <a:latin typeface="Nexa (Headings)"/>
                        </a:defRPr>
                      </a:pPr>
                      <a:r>
                        <a:t>Enfant</a:t>
                      </a:r>
                    </a:p>
                  </a:txBody>
                  <a:tcPr marL="3810" marR="3810" marT="3810" marB="0" anchor="ctr">
                    <a:noFill/>
                  </a:tcPr>
                </a:tc>
                <a:tc>
                  <a:txBody>
                    <a:bodyPr/>
                    <a:lstStyle/>
                    <a:p>
                      <a:pPr algn="ctr">
                        <a:defRPr sz="800">
                          <a:latin typeface="Nexa Book"/>
                        </a:defRPr>
                      </a:pPr>
                      <a:r>
                        <a:t>34</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1752397169"/>
                  </a:ext>
                </a:extLst>
              </a:tr>
              <a:tr h="831402">
                <a:tc>
                  <a:txBody>
                    <a:bodyPr/>
                    <a:lstStyle/>
                    <a:p>
                      <a:pPr algn="ctr">
                        <a:defRPr sz="800" b="1">
                          <a:latin typeface="Nexa (Headings)"/>
                        </a:defRPr>
                      </a:pPr>
                      <a:r>
                        <a:t>Salade</a:t>
                      </a:r>
                    </a:p>
                  </a:txBody>
                  <a:tcPr marL="3810" marR="3810" marT="3810" marB="0" anchor="ctr">
                    <a:noFill/>
                  </a:tcPr>
                </a:tc>
                <a:tc>
                  <a:txBody>
                    <a:bodyPr/>
                    <a:lstStyle/>
                    <a:p>
                      <a:pPr algn="ctr">
                        <a:defRPr sz="800">
                          <a:latin typeface="Nexa Book"/>
                        </a:defRPr>
                      </a:pPr>
                      <a:r>
                        <a:t>59</a:t>
                      </a:r>
                    </a:p>
                  </a:txBody>
                  <a:tcPr marL="3810" marR="3810" marT="3810" marB="0" anchor="ctr">
                    <a:noFill/>
                  </a:tcPr>
                </a:tc>
                <a:tc>
                  <a:txBody>
                    <a:bodyPr/>
                    <a:lstStyle/>
                    <a:p>
                      <a:pPr algn="ctr">
                        <a:defRPr sz="800">
                          <a:latin typeface="Nexa Book"/>
                        </a:defRPr>
                      </a:pPr>
                      <a:r>
                        <a:t>5</a:t>
                      </a:r>
                    </a:p>
                  </a:txBody>
                  <a:tcPr marL="3810" marR="3810" marT="3810" marB="0" anchor="ctr">
                    <a:noFill/>
                  </a:tcPr>
                </a:tc>
                <a:tc>
                  <a:txBody>
                    <a:bodyPr/>
                    <a:lstStyle/>
                    <a:p>
                      <a:pPr algn="ctr">
                        <a:defRPr sz="800">
                          <a:latin typeface="Nexa Book"/>
                        </a:defRPr>
                      </a:pPr>
                      <a:r>
                        <a:t>8%</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3712364869"/>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608</a:t>
            </a:fld>
            <a:endParaRPr lang="en-US"/>
          </a:p>
        </p:txBody>
      </p:sp>
    </p:spTree>
    <p:extLst>
      <p:ext uri="{BB962C8B-B14F-4D97-AF65-F5344CB8AC3E}">
        <p14:creationId xmlns:p14="http://schemas.microsoft.com/office/powerpoint/2010/main" val="1830724053"/>
      </p:ext>
    </p:extLst>
  </p:cSld>
  <p:clrMapOvr>
    <a:masterClrMapping/>
  </p:clrMapOvr>
</p:sld>
</file>

<file path=ppt/slides/slide6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9/9/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pPr>
              <a:defRPr sz="1200">
                <a:latin typeface="Nexa Bold (Headings)"/>
              </a:defRPr>
            </a:pPr>
            <a:r>
              <a:t>Segment fair share | Total Fromage | Kiri | Intermarche Hyper | P12M</a:t>
            </a:r>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pPr>
              <a:defRPr sz="1600">
                <a:latin typeface="Nexa Bold (Headings)"/>
              </a:defRPr>
            </a:pPr>
            <a:r>
              <a:rPr lang="en-GB" dirty="0">
                <a:highlight>
                  <a:srgbClr val="FFFF00"/>
                </a:highlight>
              </a:rPr>
              <a:t>Segment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Kiri </a:t>
                      </a:r>
                    </a:p>
                    <a:p>
                      <a:pPr algn="ctr">
                        <a:defRPr sz="900" b="1">
                          <a:latin typeface="Nexa (Headings)"/>
                        </a:defRPr>
                      </a:pPr>
                      <a: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Kiri </a:t>
                      </a:r>
                    </a:p>
                    <a:p>
                      <a:pPr algn="ctr">
                        <a:defRPr sz="900" b="1">
                          <a:latin typeface="Nexa (Headings)"/>
                        </a:defRPr>
                      </a:pPr>
                      <a: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Kiri </a:t>
                      </a:r>
                    </a:p>
                    <a:p>
                      <a:pPr algn="ctr">
                        <a:defRPr sz="900" b="1">
                          <a:latin typeface="Nexa (Headings)"/>
                        </a:defRPr>
                      </a:pPr>
                      <a: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Kiri </a:t>
                      </a:r>
                    </a:p>
                    <a:p>
                      <a:pPr algn="ctr">
                        <a:defRPr sz="900" b="1">
                          <a:latin typeface="Nexa (Headings)"/>
                        </a:defRPr>
                      </a:pPr>
                      <a: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Kiri</a:t>
                      </a:r>
                    </a:p>
                    <a:p>
                      <a:pPr algn="ctr">
                        <a:defRPr sz="900" b="1">
                          <a:latin typeface="Nexa (Headings)"/>
                        </a:defRPr>
                      </a:pPr>
                      <a: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831402">
                <a:tc>
                  <a:txBody>
                    <a:bodyPr/>
                    <a:lstStyle/>
                    <a:p>
                      <a:pPr algn="ctr">
                        <a:defRPr sz="800" b="1">
                          <a:latin typeface="Nexa (Headings)"/>
                        </a:defRPr>
                      </a:pPr>
                      <a:r>
                        <a:t>Grand Total</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748</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3</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31%</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22%</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831402">
                <a:tc>
                  <a:txBody>
                    <a:bodyPr/>
                    <a:lstStyle/>
                    <a:p>
                      <a:pPr algn="ctr">
                        <a:defRPr sz="800" b="1">
                          <a:latin typeface="Nexa (Headings)"/>
                        </a:defRPr>
                      </a:pPr>
                      <a:r>
                        <a:t>Frais A Tartiner</a:t>
                      </a:r>
                    </a:p>
                  </a:txBody>
                  <a:tcPr marL="3810" marR="3810" marT="3810" marB="0" anchor="ctr">
                    <a:noFill/>
                  </a:tcPr>
                </a:tc>
                <a:tc>
                  <a:txBody>
                    <a:bodyPr/>
                    <a:lstStyle/>
                    <a:p>
                      <a:pPr algn="ctr">
                        <a:defRPr sz="800">
                          <a:latin typeface="Nexa Book"/>
                        </a:defRPr>
                      </a:pPr>
                      <a:r>
                        <a:t>62</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4%</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3161381"/>
                  </a:ext>
                </a:extLst>
              </a:tr>
              <a:tr h="831402">
                <a:tc>
                  <a:txBody>
                    <a:bodyPr/>
                    <a:lstStyle/>
                    <a:p>
                      <a:pPr algn="ctr">
                        <a:defRPr sz="800" b="1">
                          <a:latin typeface="Nexa (Headings)"/>
                        </a:defRPr>
                      </a:pPr>
                      <a:r>
                        <a:t>Enfant</a:t>
                      </a:r>
                    </a:p>
                  </a:txBody>
                  <a:tcPr marL="3810" marR="3810" marT="3810" marB="0" anchor="ctr">
                    <a:noFill/>
                  </a:tcPr>
                </a:tc>
                <a:tc>
                  <a:txBody>
                    <a:bodyPr/>
                    <a:lstStyle/>
                    <a:p>
                      <a:pPr algn="ctr">
                        <a:defRPr sz="800">
                          <a:latin typeface="Nexa Book"/>
                        </a:defRPr>
                      </a:pPr>
                      <a:r>
                        <a:t>39</a:t>
                      </a:r>
                    </a:p>
                  </a:txBody>
                  <a:tcPr marL="3810" marR="3810" marT="3810" marB="0" anchor="ctr">
                    <a:noFill/>
                  </a:tcPr>
                </a:tc>
                <a:tc>
                  <a:txBody>
                    <a:bodyPr/>
                    <a:lstStyle/>
                    <a:p>
                      <a:pPr algn="ctr">
                        <a:defRPr sz="800">
                          <a:latin typeface="Nexa Book"/>
                        </a:defRPr>
                      </a:pPr>
                      <a:r>
                        <a:t>10</a:t>
                      </a:r>
                    </a:p>
                  </a:txBody>
                  <a:tcPr marL="3810" marR="3810" marT="3810" marB="0" anchor="ctr">
                    <a:noFill/>
                  </a:tcPr>
                </a:tc>
                <a:tc>
                  <a:txBody>
                    <a:bodyPr/>
                    <a:lstStyle/>
                    <a:p>
                      <a:pPr algn="ctr">
                        <a:defRPr sz="800">
                          <a:latin typeface="Nexa Book"/>
                        </a:defRPr>
                      </a:pPr>
                      <a:r>
                        <a:t>26%</a:t>
                      </a:r>
                    </a:p>
                  </a:txBody>
                  <a:tcPr marL="3810" marR="3810" marT="3810" marB="0" anchor="ctr">
                    <a:noFill/>
                  </a:tcPr>
                </a:tc>
                <a:tc>
                  <a:txBody>
                    <a:bodyPr/>
                    <a:lstStyle/>
                    <a:p>
                      <a:pPr algn="ctr">
                        <a:defRPr sz="800">
                          <a:latin typeface="Nexa Book"/>
                        </a:defRPr>
                      </a:pPr>
                      <a:r>
                        <a:t>21%</a:t>
                      </a:r>
                    </a:p>
                  </a:txBody>
                  <a:tcPr marL="3810" marR="3810" marT="3810" marB="0" anchor="ctr">
                    <a:noFill/>
                  </a:tcPr>
                </a:tc>
                <a:tc>
                  <a:txBody>
                    <a:bodyPr/>
                    <a:lstStyle/>
                    <a:p>
                      <a:pPr algn="ctr">
                        <a:defRPr sz="800">
                          <a:latin typeface="Nexa Book"/>
                        </a:defRPr>
                      </a:pPr>
                      <a:r>
                        <a:t>8</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1752397169"/>
                  </a:ext>
                </a:extLst>
              </a:tr>
              <a:tr h="831402">
                <a:tc>
                  <a:txBody>
                    <a:bodyPr/>
                    <a:lstStyle/>
                    <a:p>
                      <a:pPr algn="ctr">
                        <a:defRPr sz="800" b="1">
                          <a:latin typeface="Nexa (Headings)"/>
                        </a:defRPr>
                      </a:pPr>
                      <a:r>
                        <a:t>Salade</a:t>
                      </a:r>
                    </a:p>
                  </a:txBody>
                  <a:tcPr marL="3810" marR="3810" marT="3810" marB="0" anchor="ctr">
                    <a:noFill/>
                  </a:tcPr>
                </a:tc>
                <a:tc>
                  <a:txBody>
                    <a:bodyPr/>
                    <a:lstStyle/>
                    <a:p>
                      <a:pPr algn="ctr">
                        <a:defRPr sz="800">
                          <a:latin typeface="Nexa Book"/>
                        </a:defRPr>
                      </a:pPr>
                      <a:r>
                        <a:t>74</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3712364869"/>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609</a:t>
            </a:fld>
            <a:endParaRPr lang="en-US"/>
          </a:p>
        </p:txBody>
      </p:sp>
    </p:spTree>
    <p:extLst>
      <p:ext uri="{BB962C8B-B14F-4D97-AF65-F5344CB8AC3E}">
        <p14:creationId xmlns:p14="http://schemas.microsoft.com/office/powerpoint/2010/main" val="711549147"/>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9/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July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Total Fromage | Carrefour Proximite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120</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35</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9</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61</a:t>
            </a:fld>
            <a:endParaRPr lang="en-US"/>
          </a:p>
        </p:txBody>
      </p:sp>
    </p:spTree>
    <p:extLst>
      <p:ext uri="{BB962C8B-B14F-4D97-AF65-F5344CB8AC3E}">
        <p14:creationId xmlns:p14="http://schemas.microsoft.com/office/powerpoint/2010/main" val="2056608245"/>
      </p:ext>
    </p:extLst>
  </p:cSld>
  <p:clrMapOvr>
    <a:masterClrMapping/>
  </p:clrMapOvr>
</p:sld>
</file>

<file path=ppt/slides/slide6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9/9/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pPr>
              <a:defRPr sz="1200">
                <a:latin typeface="Nexa Bold (Headings)"/>
              </a:defRPr>
            </a:pPr>
            <a:r>
              <a:t>Segment fair share | Total Fromage | La Vache Qui Rit | Intermarche Hyper | P12M</a:t>
            </a:r>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pPr>
              <a:defRPr sz="1600">
                <a:latin typeface="Nexa Bold (Headings)"/>
              </a:defRPr>
            </a:pPr>
            <a:r>
              <a:rPr lang="en-GB" dirty="0">
                <a:highlight>
                  <a:srgbClr val="FFFF00"/>
                </a:highlight>
              </a:rPr>
              <a:t>Segment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La Vache Qui Rit </a:t>
                      </a:r>
                    </a:p>
                    <a:p>
                      <a:pPr algn="ctr">
                        <a:defRPr sz="900" b="1">
                          <a:latin typeface="Nexa (Headings)"/>
                        </a:defRPr>
                      </a:pPr>
                      <a: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La Vache Qui Rit </a:t>
                      </a:r>
                    </a:p>
                    <a:p>
                      <a:pPr algn="ctr">
                        <a:defRPr sz="900" b="1">
                          <a:latin typeface="Nexa (Headings)"/>
                        </a:defRPr>
                      </a:pPr>
                      <a: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La Vache Qui Rit </a:t>
                      </a:r>
                    </a:p>
                    <a:p>
                      <a:pPr algn="ctr">
                        <a:defRPr sz="900" b="1">
                          <a:latin typeface="Nexa (Headings)"/>
                        </a:defRPr>
                      </a:pPr>
                      <a: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La Vache Qui Rit </a:t>
                      </a:r>
                    </a:p>
                    <a:p>
                      <a:pPr algn="ctr">
                        <a:defRPr sz="900" b="1">
                          <a:latin typeface="Nexa (Headings)"/>
                        </a:defRPr>
                      </a:pPr>
                      <a: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La Vache Qui Rit</a:t>
                      </a:r>
                    </a:p>
                    <a:p>
                      <a:pPr algn="ctr">
                        <a:defRPr sz="900" b="1">
                          <a:latin typeface="Nexa (Headings)"/>
                        </a:defRPr>
                      </a:pPr>
                      <a: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831402">
                <a:tc>
                  <a:txBody>
                    <a:bodyPr/>
                    <a:lstStyle/>
                    <a:p>
                      <a:pPr algn="ctr">
                        <a:defRPr sz="800" b="1">
                          <a:latin typeface="Nexa (Headings)"/>
                        </a:defRPr>
                      </a:pPr>
                      <a:r>
                        <a:t>Grand Total</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748</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24%</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31%</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2</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3</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831402">
                <a:tc>
                  <a:txBody>
                    <a:bodyPr/>
                    <a:lstStyle/>
                    <a:p>
                      <a:pPr algn="ctr">
                        <a:defRPr sz="800" b="1">
                          <a:latin typeface="Nexa (Headings)"/>
                        </a:defRPr>
                      </a:pPr>
                      <a:r>
                        <a:t>Frais A Tartiner</a:t>
                      </a:r>
                    </a:p>
                  </a:txBody>
                  <a:tcPr marL="3810" marR="3810" marT="3810" marB="0" anchor="ctr">
                    <a:noFill/>
                  </a:tcPr>
                </a:tc>
                <a:tc>
                  <a:txBody>
                    <a:bodyPr/>
                    <a:lstStyle/>
                    <a:p>
                      <a:pPr algn="ctr">
                        <a:defRPr sz="800">
                          <a:latin typeface="Nexa Book"/>
                        </a:defRPr>
                      </a:pPr>
                      <a:r>
                        <a:t>62</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3161381"/>
                  </a:ext>
                </a:extLst>
              </a:tr>
              <a:tr h="831402">
                <a:tc>
                  <a:txBody>
                    <a:bodyPr/>
                    <a:lstStyle/>
                    <a:p>
                      <a:pPr algn="ctr">
                        <a:defRPr sz="800" b="1">
                          <a:latin typeface="Nexa (Headings)"/>
                        </a:defRPr>
                      </a:pPr>
                      <a:r>
                        <a:t>Enfant</a:t>
                      </a:r>
                    </a:p>
                  </a:txBody>
                  <a:tcPr marL="3810" marR="3810" marT="3810" marB="0" anchor="ctr">
                    <a:noFill/>
                  </a:tcPr>
                </a:tc>
                <a:tc>
                  <a:txBody>
                    <a:bodyPr/>
                    <a:lstStyle/>
                    <a:p>
                      <a:pPr algn="ctr">
                        <a:defRPr sz="800">
                          <a:latin typeface="Nexa Book"/>
                        </a:defRPr>
                      </a:pPr>
                      <a:r>
                        <a:t>39</a:t>
                      </a:r>
                    </a:p>
                  </a:txBody>
                  <a:tcPr marL="3810" marR="3810" marT="3810" marB="0" anchor="ctr">
                    <a:noFill/>
                  </a:tcPr>
                </a:tc>
                <a:tc>
                  <a:txBody>
                    <a:bodyPr/>
                    <a:lstStyle/>
                    <a:p>
                      <a:pPr algn="ctr">
                        <a:defRPr sz="800">
                          <a:latin typeface="Nexa Book"/>
                        </a:defRPr>
                      </a:pPr>
                      <a:r>
                        <a:t>9</a:t>
                      </a:r>
                    </a:p>
                  </a:txBody>
                  <a:tcPr marL="3810" marR="3810" marT="3810" marB="0" anchor="ctr">
                    <a:noFill/>
                  </a:tcPr>
                </a:tc>
                <a:tc>
                  <a:txBody>
                    <a:bodyPr/>
                    <a:lstStyle/>
                    <a:p>
                      <a:pPr algn="ctr">
                        <a:defRPr sz="800">
                          <a:latin typeface="Nexa Book"/>
                        </a:defRPr>
                      </a:pPr>
                      <a:r>
                        <a:t>24%</a:t>
                      </a:r>
                    </a:p>
                  </a:txBody>
                  <a:tcPr marL="3810" marR="3810" marT="3810" marB="0" anchor="ctr">
                    <a:noFill/>
                  </a:tcPr>
                </a:tc>
                <a:tc>
                  <a:txBody>
                    <a:bodyPr/>
                    <a:lstStyle/>
                    <a:p>
                      <a:pPr algn="ctr">
                        <a:defRPr sz="800">
                          <a:latin typeface="Nexa Book"/>
                        </a:defRPr>
                      </a:pPr>
                      <a:r>
                        <a:t>31%</a:t>
                      </a:r>
                    </a:p>
                  </a:txBody>
                  <a:tcPr marL="3810" marR="3810" marT="3810" marB="0" anchor="ctr">
                    <a:noFill/>
                  </a:tcPr>
                </a:tc>
                <a:tc>
                  <a:txBody>
                    <a:bodyPr/>
                    <a:lstStyle/>
                    <a:p>
                      <a:pPr algn="ctr">
                        <a:defRPr sz="800">
                          <a:latin typeface="Nexa Book"/>
                        </a:defRPr>
                      </a:pPr>
                      <a:r>
                        <a:t>12</a:t>
                      </a:r>
                    </a:p>
                  </a:txBody>
                  <a:tcPr marL="3810" marR="3810" marT="3810" marB="0" anchor="ctr">
                    <a:noFill/>
                  </a:tcPr>
                </a:tc>
                <a:tc>
                  <a:txBody>
                    <a:bodyPr/>
                    <a:lstStyle/>
                    <a:p>
                      <a:pPr algn="ctr">
                        <a:defRPr sz="800">
                          <a:latin typeface="Nexa Book"/>
                        </a:defRPr>
                      </a:pPr>
                      <a:r>
                        <a:t>3</a:t>
                      </a:r>
                    </a:p>
                  </a:txBody>
                  <a:tcPr marL="3810" marR="3810" marT="3810" marB="0" anchor="ctr">
                    <a:noFill/>
                  </a:tcPr>
                </a:tc>
                <a:extLst>
                  <a:ext uri="{0D108BD9-81ED-4DB2-BD59-A6C34878D82A}">
                    <a16:rowId xmlns:a16="http://schemas.microsoft.com/office/drawing/2014/main" val="1752397169"/>
                  </a:ext>
                </a:extLst>
              </a:tr>
              <a:tr h="831402">
                <a:tc>
                  <a:txBody>
                    <a:bodyPr/>
                    <a:lstStyle/>
                    <a:p>
                      <a:pPr algn="ctr">
                        <a:defRPr sz="800" b="1">
                          <a:latin typeface="Nexa (Headings)"/>
                        </a:defRPr>
                      </a:pPr>
                      <a:r>
                        <a:t>Salade</a:t>
                      </a:r>
                    </a:p>
                  </a:txBody>
                  <a:tcPr marL="3810" marR="3810" marT="3810" marB="0" anchor="ctr">
                    <a:noFill/>
                  </a:tcPr>
                </a:tc>
                <a:tc>
                  <a:txBody>
                    <a:bodyPr/>
                    <a:lstStyle/>
                    <a:p>
                      <a:pPr algn="ctr">
                        <a:defRPr sz="800">
                          <a:latin typeface="Nexa Book"/>
                        </a:defRPr>
                      </a:pPr>
                      <a:r>
                        <a:t>74</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3712364869"/>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610</a:t>
            </a:fld>
            <a:endParaRPr lang="en-US"/>
          </a:p>
        </p:txBody>
      </p:sp>
    </p:spTree>
    <p:extLst>
      <p:ext uri="{BB962C8B-B14F-4D97-AF65-F5344CB8AC3E}">
        <p14:creationId xmlns:p14="http://schemas.microsoft.com/office/powerpoint/2010/main" val="839888096"/>
      </p:ext>
    </p:extLst>
  </p:cSld>
  <p:clrMapOvr>
    <a:masterClrMapping/>
  </p:clrMapOvr>
</p:sld>
</file>

<file path=ppt/slides/slide6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9/9/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pPr>
              <a:defRPr sz="1200">
                <a:latin typeface="Nexa Bold (Headings)"/>
              </a:defRPr>
            </a:pPr>
            <a:r>
              <a:t>Segment fair share | Total Fromage | Boursin | Intermarche Hyper | P12M</a:t>
            </a:r>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pPr>
              <a:defRPr sz="1600">
                <a:latin typeface="Nexa Bold (Headings)"/>
              </a:defRPr>
            </a:pPr>
            <a:r>
              <a:rPr lang="en-GB" dirty="0">
                <a:highlight>
                  <a:srgbClr val="FFFF00"/>
                </a:highlight>
              </a:rPr>
              <a:t>Segment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oursin </a:t>
                      </a:r>
                    </a:p>
                    <a:p>
                      <a:pPr algn="ctr">
                        <a:defRPr sz="900" b="1">
                          <a:latin typeface="Nexa (Headings)"/>
                        </a:defRPr>
                      </a:pPr>
                      <a: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oursin </a:t>
                      </a:r>
                    </a:p>
                    <a:p>
                      <a:pPr algn="ctr">
                        <a:defRPr sz="900" b="1">
                          <a:latin typeface="Nexa (Headings)"/>
                        </a:defRPr>
                      </a:pPr>
                      <a: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oursin </a:t>
                      </a:r>
                    </a:p>
                    <a:p>
                      <a:pPr algn="ctr">
                        <a:defRPr sz="900" b="1">
                          <a:latin typeface="Nexa (Headings)"/>
                        </a:defRPr>
                      </a:pPr>
                      <a: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oursin </a:t>
                      </a:r>
                    </a:p>
                    <a:p>
                      <a:pPr algn="ctr">
                        <a:defRPr sz="900" b="1">
                          <a:latin typeface="Nexa (Headings)"/>
                        </a:defRPr>
                      </a:pPr>
                      <a: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oursin</a:t>
                      </a:r>
                    </a:p>
                    <a:p>
                      <a:pPr algn="ctr">
                        <a:defRPr sz="900" b="1">
                          <a:latin typeface="Nexa (Headings)"/>
                        </a:defRPr>
                      </a:pPr>
                      <a: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831402">
                <a:tc>
                  <a:txBody>
                    <a:bodyPr/>
                    <a:lstStyle/>
                    <a:p>
                      <a:pPr algn="ctr">
                        <a:defRPr sz="800" b="1">
                          <a:latin typeface="Nexa (Headings)"/>
                        </a:defRPr>
                      </a:pPr>
                      <a:r>
                        <a:t>Grand Total</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748</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23</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44%</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2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5</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831402">
                <a:tc>
                  <a:txBody>
                    <a:bodyPr/>
                    <a:lstStyle/>
                    <a:p>
                      <a:pPr algn="ctr">
                        <a:defRPr sz="800" b="1">
                          <a:latin typeface="Nexa (Headings)"/>
                        </a:defRPr>
                      </a:pPr>
                      <a:r>
                        <a:t>Frais A Tartiner</a:t>
                      </a:r>
                    </a:p>
                  </a:txBody>
                  <a:tcPr marL="3810" marR="3810" marT="3810" marB="0" anchor="ctr">
                    <a:noFill/>
                  </a:tcPr>
                </a:tc>
                <a:tc>
                  <a:txBody>
                    <a:bodyPr/>
                    <a:lstStyle/>
                    <a:p>
                      <a:pPr algn="ctr">
                        <a:defRPr sz="800">
                          <a:latin typeface="Nexa Book"/>
                        </a:defRPr>
                      </a:pPr>
                      <a:r>
                        <a:t>62</a:t>
                      </a:r>
                    </a:p>
                  </a:txBody>
                  <a:tcPr marL="3810" marR="3810" marT="3810" marB="0" anchor="ctr">
                    <a:noFill/>
                  </a:tcPr>
                </a:tc>
                <a:tc>
                  <a:txBody>
                    <a:bodyPr/>
                    <a:lstStyle/>
                    <a:p>
                      <a:pPr algn="ctr">
                        <a:defRPr sz="800">
                          <a:latin typeface="Nexa Book"/>
                        </a:defRPr>
                      </a:pPr>
                      <a:r>
                        <a:t>12</a:t>
                      </a:r>
                    </a:p>
                  </a:txBody>
                  <a:tcPr marL="3810" marR="3810" marT="3810" marB="0" anchor="ctr">
                    <a:noFill/>
                  </a:tcPr>
                </a:tc>
                <a:tc>
                  <a:txBody>
                    <a:bodyPr/>
                    <a:lstStyle/>
                    <a:p>
                      <a:pPr algn="ctr">
                        <a:defRPr sz="800">
                          <a:latin typeface="Nexa Book"/>
                        </a:defRPr>
                      </a:pPr>
                      <a:r>
                        <a:t>19%</a:t>
                      </a:r>
                    </a:p>
                  </a:txBody>
                  <a:tcPr marL="3810" marR="3810" marT="3810" marB="0" anchor="ctr">
                    <a:noFill/>
                  </a:tcPr>
                </a:tc>
                <a:tc>
                  <a:txBody>
                    <a:bodyPr/>
                    <a:lstStyle/>
                    <a:p>
                      <a:pPr algn="ctr">
                        <a:defRPr sz="800">
                          <a:latin typeface="Nexa Book"/>
                        </a:defRPr>
                      </a:pPr>
                      <a:r>
                        <a:t>15%</a:t>
                      </a:r>
                    </a:p>
                  </a:txBody>
                  <a:tcPr marL="3810" marR="3810" marT="3810" marB="0" anchor="ctr">
                    <a:noFill/>
                  </a:tcPr>
                </a:tc>
                <a:tc>
                  <a:txBody>
                    <a:bodyPr/>
                    <a:lstStyle/>
                    <a:p>
                      <a:pPr algn="ctr">
                        <a:defRPr sz="800">
                          <a:latin typeface="Nexa Book"/>
                        </a:defRPr>
                      </a:pPr>
                      <a:r>
                        <a:t>9</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3161381"/>
                  </a:ext>
                </a:extLst>
              </a:tr>
              <a:tr h="831402">
                <a:tc>
                  <a:txBody>
                    <a:bodyPr/>
                    <a:lstStyle/>
                    <a:p>
                      <a:pPr algn="ctr">
                        <a:defRPr sz="800" b="1">
                          <a:latin typeface="Nexa (Headings)"/>
                        </a:defRPr>
                      </a:pPr>
                      <a:r>
                        <a:t>Enfant</a:t>
                      </a:r>
                    </a:p>
                  </a:txBody>
                  <a:tcPr marL="3810" marR="3810" marT="3810" marB="0" anchor="ctr">
                    <a:noFill/>
                  </a:tcPr>
                </a:tc>
                <a:tc>
                  <a:txBody>
                    <a:bodyPr/>
                    <a:lstStyle/>
                    <a:p>
                      <a:pPr algn="ctr">
                        <a:defRPr sz="800">
                          <a:latin typeface="Nexa Book"/>
                        </a:defRPr>
                      </a:pPr>
                      <a:r>
                        <a:t>39</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1752397169"/>
                  </a:ext>
                </a:extLst>
              </a:tr>
              <a:tr h="831402">
                <a:tc>
                  <a:txBody>
                    <a:bodyPr/>
                    <a:lstStyle/>
                    <a:p>
                      <a:pPr algn="ctr">
                        <a:defRPr sz="800" b="1">
                          <a:latin typeface="Nexa (Headings)"/>
                        </a:defRPr>
                      </a:pPr>
                      <a:r>
                        <a:t>Salade</a:t>
                      </a:r>
                    </a:p>
                  </a:txBody>
                  <a:tcPr marL="3810" marR="3810" marT="3810" marB="0" anchor="ctr">
                    <a:noFill/>
                  </a:tcPr>
                </a:tc>
                <a:tc>
                  <a:txBody>
                    <a:bodyPr/>
                    <a:lstStyle/>
                    <a:p>
                      <a:pPr algn="ctr">
                        <a:defRPr sz="800">
                          <a:latin typeface="Nexa Book"/>
                        </a:defRPr>
                      </a:pPr>
                      <a:r>
                        <a:t>74</a:t>
                      </a:r>
                    </a:p>
                  </a:txBody>
                  <a:tcPr marL="3810" marR="3810" marT="3810" marB="0" anchor="ctr">
                    <a:noFill/>
                  </a:tcPr>
                </a:tc>
                <a:tc>
                  <a:txBody>
                    <a:bodyPr/>
                    <a:lstStyle/>
                    <a:p>
                      <a:pPr algn="ctr">
                        <a:defRPr sz="800">
                          <a:latin typeface="Nexa Book"/>
                        </a:defRPr>
                      </a:pPr>
                      <a:r>
                        <a:t>6</a:t>
                      </a:r>
                    </a:p>
                  </a:txBody>
                  <a:tcPr marL="3810" marR="3810" marT="3810" marB="0" anchor="ctr">
                    <a:noFill/>
                  </a:tcPr>
                </a:tc>
                <a:tc>
                  <a:txBody>
                    <a:bodyPr/>
                    <a:lstStyle/>
                    <a:p>
                      <a:pPr algn="ctr">
                        <a:defRPr sz="800">
                          <a:latin typeface="Nexa Book"/>
                        </a:defRPr>
                      </a:pPr>
                      <a:r>
                        <a:t>8%</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3712364869"/>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611</a:t>
            </a:fld>
            <a:endParaRPr lang="en-US"/>
          </a:p>
        </p:txBody>
      </p:sp>
    </p:spTree>
    <p:extLst>
      <p:ext uri="{BB962C8B-B14F-4D97-AF65-F5344CB8AC3E}">
        <p14:creationId xmlns:p14="http://schemas.microsoft.com/office/powerpoint/2010/main" val="462291199"/>
      </p:ext>
    </p:extLst>
  </p:cSld>
  <p:clrMapOvr>
    <a:masterClrMapping/>
  </p:clrMapOvr>
</p:sld>
</file>

<file path=ppt/slides/slide6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9/9/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pPr>
              <a:defRPr sz="1200">
                <a:latin typeface="Nexa Bold (Headings)"/>
              </a:defRPr>
            </a:pPr>
            <a:r>
              <a:t>Segment fair share | Total Fromage | Kiri | Intermarche Proxi | P12M</a:t>
            </a:r>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pPr>
              <a:defRPr sz="1600">
                <a:latin typeface="Nexa Bold (Headings)"/>
              </a:defRPr>
            </a:pPr>
            <a:r>
              <a:rPr lang="en-GB" dirty="0">
                <a:highlight>
                  <a:srgbClr val="FFFF00"/>
                </a:highlight>
              </a:rPr>
              <a:t>Segment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Kiri </a:t>
                      </a:r>
                    </a:p>
                    <a:p>
                      <a:pPr algn="ctr">
                        <a:defRPr sz="900" b="1">
                          <a:latin typeface="Nexa (Headings)"/>
                        </a:defRPr>
                      </a:pPr>
                      <a: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Kiri </a:t>
                      </a:r>
                    </a:p>
                    <a:p>
                      <a:pPr algn="ctr">
                        <a:defRPr sz="900" b="1">
                          <a:latin typeface="Nexa (Headings)"/>
                        </a:defRPr>
                      </a:pPr>
                      <a: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Kiri </a:t>
                      </a:r>
                    </a:p>
                    <a:p>
                      <a:pPr algn="ctr">
                        <a:defRPr sz="900" b="1">
                          <a:latin typeface="Nexa (Headings)"/>
                        </a:defRPr>
                      </a:pPr>
                      <a: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Kiri </a:t>
                      </a:r>
                    </a:p>
                    <a:p>
                      <a:pPr algn="ctr">
                        <a:defRPr sz="900" b="1">
                          <a:latin typeface="Nexa (Headings)"/>
                        </a:defRPr>
                      </a:pPr>
                      <a: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Kiri</a:t>
                      </a:r>
                    </a:p>
                    <a:p>
                      <a:pPr algn="ctr">
                        <a:defRPr sz="900" b="1">
                          <a:latin typeface="Nexa (Headings)"/>
                        </a:defRPr>
                      </a:pPr>
                      <a: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831402">
                <a:tc>
                  <a:txBody>
                    <a:bodyPr/>
                    <a:lstStyle/>
                    <a:p>
                      <a:pPr algn="ctr">
                        <a:defRPr sz="800" b="1">
                          <a:latin typeface="Nexa (Headings)"/>
                        </a:defRPr>
                      </a:pPr>
                      <a:r>
                        <a:t>Grand Total</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406</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7</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28%</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22%</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5</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831402">
                <a:tc>
                  <a:txBody>
                    <a:bodyPr/>
                    <a:lstStyle/>
                    <a:p>
                      <a:pPr algn="ctr">
                        <a:defRPr sz="800" b="1">
                          <a:latin typeface="Nexa (Headings)"/>
                        </a:defRPr>
                      </a:pPr>
                      <a:r>
                        <a:t>Frais A Tartiner</a:t>
                      </a:r>
                    </a:p>
                  </a:txBody>
                  <a:tcPr marL="3810" marR="3810" marT="3810" marB="0" anchor="ctr">
                    <a:noFill/>
                  </a:tcPr>
                </a:tc>
                <a:tc>
                  <a:txBody>
                    <a:bodyPr/>
                    <a:lstStyle/>
                    <a:p>
                      <a:pPr algn="ctr">
                        <a:defRPr sz="800">
                          <a:latin typeface="Nexa Book"/>
                        </a:defRPr>
                      </a:pPr>
                      <a:r>
                        <a:t>37</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3161381"/>
                  </a:ext>
                </a:extLst>
              </a:tr>
              <a:tr h="831402">
                <a:tc>
                  <a:txBody>
                    <a:bodyPr/>
                    <a:lstStyle/>
                    <a:p>
                      <a:pPr algn="ctr">
                        <a:defRPr sz="800" b="1">
                          <a:latin typeface="Nexa (Headings)"/>
                        </a:defRPr>
                      </a:pPr>
                      <a:r>
                        <a:t>Enfant</a:t>
                      </a:r>
                    </a:p>
                  </a:txBody>
                  <a:tcPr marL="3810" marR="3810" marT="3810" marB="0" anchor="ctr">
                    <a:noFill/>
                  </a:tcPr>
                </a:tc>
                <a:tc>
                  <a:txBody>
                    <a:bodyPr/>
                    <a:lstStyle/>
                    <a:p>
                      <a:pPr algn="ctr">
                        <a:defRPr sz="800">
                          <a:latin typeface="Nexa Book"/>
                        </a:defRPr>
                      </a:pPr>
                      <a:r>
                        <a:t>22</a:t>
                      </a:r>
                    </a:p>
                  </a:txBody>
                  <a:tcPr marL="3810" marR="3810" marT="3810" marB="0" anchor="ctr">
                    <a:noFill/>
                  </a:tcPr>
                </a:tc>
                <a:tc>
                  <a:txBody>
                    <a:bodyPr/>
                    <a:lstStyle/>
                    <a:p>
                      <a:pPr algn="ctr">
                        <a:defRPr sz="800">
                          <a:latin typeface="Nexa Book"/>
                        </a:defRPr>
                      </a:pPr>
                      <a:r>
                        <a:t>6</a:t>
                      </a:r>
                    </a:p>
                  </a:txBody>
                  <a:tcPr marL="3810" marR="3810" marT="3810" marB="0" anchor="ctr">
                    <a:noFill/>
                  </a:tcPr>
                </a:tc>
                <a:tc>
                  <a:txBody>
                    <a:bodyPr/>
                    <a:lstStyle/>
                    <a:p>
                      <a:pPr algn="ctr">
                        <a:defRPr sz="800">
                          <a:latin typeface="Nexa Book"/>
                        </a:defRPr>
                      </a:pPr>
                      <a:r>
                        <a:t>26%</a:t>
                      </a:r>
                    </a:p>
                  </a:txBody>
                  <a:tcPr marL="3810" marR="3810" marT="3810" marB="0" anchor="ctr">
                    <a:noFill/>
                  </a:tcPr>
                </a:tc>
                <a:tc>
                  <a:txBody>
                    <a:bodyPr/>
                    <a:lstStyle/>
                    <a:p>
                      <a:pPr algn="ctr">
                        <a:defRPr sz="800">
                          <a:latin typeface="Nexa Book"/>
                        </a:defRPr>
                      </a:pPr>
                      <a:r>
                        <a:t>22%</a:t>
                      </a:r>
                    </a:p>
                  </a:txBody>
                  <a:tcPr marL="3810" marR="3810" marT="3810" marB="0" anchor="ctr">
                    <a:noFill/>
                  </a:tcPr>
                </a:tc>
                <a:tc>
                  <a:txBody>
                    <a:bodyPr/>
                    <a:lstStyle/>
                    <a:p>
                      <a:pPr algn="ctr">
                        <a:defRPr sz="800">
                          <a:latin typeface="Nexa Book"/>
                        </a:defRPr>
                      </a:pPr>
                      <a:r>
                        <a:t>5</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1752397169"/>
                  </a:ext>
                </a:extLst>
              </a:tr>
              <a:tr h="831402">
                <a:tc>
                  <a:txBody>
                    <a:bodyPr/>
                    <a:lstStyle/>
                    <a:p>
                      <a:pPr algn="ctr">
                        <a:defRPr sz="800" b="1">
                          <a:latin typeface="Nexa (Headings)"/>
                        </a:defRPr>
                      </a:pPr>
                      <a:r>
                        <a:t>Salade</a:t>
                      </a:r>
                    </a:p>
                  </a:txBody>
                  <a:tcPr marL="3810" marR="3810" marT="3810" marB="0" anchor="ctr">
                    <a:noFill/>
                  </a:tcPr>
                </a:tc>
                <a:tc>
                  <a:txBody>
                    <a:bodyPr/>
                    <a:lstStyle/>
                    <a:p>
                      <a:pPr algn="ctr">
                        <a:defRPr sz="800">
                          <a:latin typeface="Nexa Book"/>
                        </a:defRPr>
                      </a:pPr>
                      <a:r>
                        <a:t>4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3712364869"/>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612</a:t>
            </a:fld>
            <a:endParaRPr lang="en-US"/>
          </a:p>
        </p:txBody>
      </p:sp>
    </p:spTree>
    <p:extLst>
      <p:ext uri="{BB962C8B-B14F-4D97-AF65-F5344CB8AC3E}">
        <p14:creationId xmlns:p14="http://schemas.microsoft.com/office/powerpoint/2010/main" val="1433557001"/>
      </p:ext>
    </p:extLst>
  </p:cSld>
  <p:clrMapOvr>
    <a:masterClrMapping/>
  </p:clrMapOvr>
</p:sld>
</file>

<file path=ppt/slides/slide6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9/9/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pPr>
              <a:defRPr sz="1200">
                <a:latin typeface="Nexa Bold (Headings)"/>
              </a:defRPr>
            </a:pPr>
            <a:r>
              <a:t>Segment fair share | Total Fromage | La Vache Qui Rit | Intermarche Proxi | P12M</a:t>
            </a:r>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pPr>
              <a:defRPr sz="1600">
                <a:latin typeface="Nexa Bold (Headings)"/>
              </a:defRPr>
            </a:pPr>
            <a:r>
              <a:rPr lang="en-GB" dirty="0">
                <a:highlight>
                  <a:srgbClr val="FFFF00"/>
                </a:highlight>
              </a:rPr>
              <a:t>Segment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La Vache Qui Rit </a:t>
                      </a:r>
                    </a:p>
                    <a:p>
                      <a:pPr algn="ctr">
                        <a:defRPr sz="900" b="1">
                          <a:latin typeface="Nexa (Headings)"/>
                        </a:defRPr>
                      </a:pPr>
                      <a: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La Vache Qui Rit </a:t>
                      </a:r>
                    </a:p>
                    <a:p>
                      <a:pPr algn="ctr">
                        <a:defRPr sz="900" b="1">
                          <a:latin typeface="Nexa (Headings)"/>
                        </a:defRPr>
                      </a:pPr>
                      <a: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La Vache Qui Rit </a:t>
                      </a:r>
                    </a:p>
                    <a:p>
                      <a:pPr algn="ctr">
                        <a:defRPr sz="900" b="1">
                          <a:latin typeface="Nexa (Headings)"/>
                        </a:defRPr>
                      </a:pPr>
                      <a: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La Vache Qui Rit </a:t>
                      </a:r>
                    </a:p>
                    <a:p>
                      <a:pPr algn="ctr">
                        <a:defRPr sz="900" b="1">
                          <a:latin typeface="Nexa (Headings)"/>
                        </a:defRPr>
                      </a:pPr>
                      <a: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La Vache Qui Rit</a:t>
                      </a:r>
                    </a:p>
                    <a:p>
                      <a:pPr algn="ctr">
                        <a:defRPr sz="900" b="1">
                          <a:latin typeface="Nexa (Headings)"/>
                        </a:defRPr>
                      </a:pPr>
                      <a: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831402">
                <a:tc>
                  <a:txBody>
                    <a:bodyPr/>
                    <a:lstStyle/>
                    <a:p>
                      <a:pPr algn="ctr">
                        <a:defRPr sz="800" b="1">
                          <a:latin typeface="Nexa (Headings)"/>
                        </a:defRPr>
                      </a:pPr>
                      <a:r>
                        <a:t>Grand Total</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406</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5</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23%</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26%</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6</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831402">
                <a:tc>
                  <a:txBody>
                    <a:bodyPr/>
                    <a:lstStyle/>
                    <a:p>
                      <a:pPr algn="ctr">
                        <a:defRPr sz="800" b="1">
                          <a:latin typeface="Nexa (Headings)"/>
                        </a:defRPr>
                      </a:pPr>
                      <a:r>
                        <a:t>Frais A Tartiner</a:t>
                      </a:r>
                    </a:p>
                  </a:txBody>
                  <a:tcPr marL="3810" marR="3810" marT="3810" marB="0" anchor="ctr">
                    <a:noFill/>
                  </a:tcPr>
                </a:tc>
                <a:tc>
                  <a:txBody>
                    <a:bodyPr/>
                    <a:lstStyle/>
                    <a:p>
                      <a:pPr algn="ctr">
                        <a:defRPr sz="800">
                          <a:latin typeface="Nexa Book"/>
                        </a:defRPr>
                      </a:pPr>
                      <a:r>
                        <a:t>37</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3161381"/>
                  </a:ext>
                </a:extLst>
              </a:tr>
              <a:tr h="831402">
                <a:tc>
                  <a:txBody>
                    <a:bodyPr/>
                    <a:lstStyle/>
                    <a:p>
                      <a:pPr algn="ctr">
                        <a:defRPr sz="800" b="1">
                          <a:latin typeface="Nexa (Headings)"/>
                        </a:defRPr>
                      </a:pPr>
                      <a:r>
                        <a:t>Enfant</a:t>
                      </a:r>
                    </a:p>
                  </a:txBody>
                  <a:tcPr marL="3810" marR="3810" marT="3810" marB="0" anchor="ctr">
                    <a:noFill/>
                  </a:tcPr>
                </a:tc>
                <a:tc>
                  <a:txBody>
                    <a:bodyPr/>
                    <a:lstStyle/>
                    <a:p>
                      <a:pPr algn="ctr">
                        <a:defRPr sz="800">
                          <a:latin typeface="Nexa Book"/>
                        </a:defRPr>
                      </a:pPr>
                      <a:r>
                        <a:t>22</a:t>
                      </a:r>
                    </a:p>
                  </a:txBody>
                  <a:tcPr marL="3810" marR="3810" marT="3810" marB="0" anchor="ctr">
                    <a:noFill/>
                  </a:tcPr>
                </a:tc>
                <a:tc>
                  <a:txBody>
                    <a:bodyPr/>
                    <a:lstStyle/>
                    <a:p>
                      <a:pPr algn="ctr">
                        <a:defRPr sz="800">
                          <a:latin typeface="Nexa Book"/>
                        </a:defRPr>
                      </a:pPr>
                      <a:r>
                        <a:t>5</a:t>
                      </a:r>
                    </a:p>
                  </a:txBody>
                  <a:tcPr marL="3810" marR="3810" marT="3810" marB="0" anchor="ctr">
                    <a:noFill/>
                  </a:tcPr>
                </a:tc>
                <a:tc>
                  <a:txBody>
                    <a:bodyPr/>
                    <a:lstStyle/>
                    <a:p>
                      <a:pPr algn="ctr">
                        <a:defRPr sz="800">
                          <a:latin typeface="Nexa Book"/>
                        </a:defRPr>
                      </a:pPr>
                      <a:r>
                        <a:t>23%</a:t>
                      </a:r>
                    </a:p>
                  </a:txBody>
                  <a:tcPr marL="3810" marR="3810" marT="3810" marB="0" anchor="ctr">
                    <a:noFill/>
                  </a:tcPr>
                </a:tc>
                <a:tc>
                  <a:txBody>
                    <a:bodyPr/>
                    <a:lstStyle/>
                    <a:p>
                      <a:pPr algn="ctr">
                        <a:defRPr sz="800">
                          <a:latin typeface="Nexa Book"/>
                        </a:defRPr>
                      </a:pPr>
                      <a:r>
                        <a:t>26%</a:t>
                      </a:r>
                    </a:p>
                  </a:txBody>
                  <a:tcPr marL="3810" marR="3810" marT="3810" marB="0" anchor="ctr">
                    <a:noFill/>
                  </a:tcPr>
                </a:tc>
                <a:tc>
                  <a:txBody>
                    <a:bodyPr/>
                    <a:lstStyle/>
                    <a:p>
                      <a:pPr algn="ctr">
                        <a:defRPr sz="800">
                          <a:latin typeface="Nexa Book"/>
                        </a:defRPr>
                      </a:pPr>
                      <a:r>
                        <a:t>6</a:t>
                      </a:r>
                    </a:p>
                  </a:txBody>
                  <a:tcPr marL="3810" marR="3810" marT="3810" marB="0" anchor="ctr">
                    <a:noFill/>
                  </a:tcPr>
                </a:tc>
                <a:tc>
                  <a:txBody>
                    <a:bodyPr/>
                    <a:lstStyle/>
                    <a:p>
                      <a:pPr algn="ctr">
                        <a:defRPr sz="800">
                          <a:latin typeface="Nexa Book"/>
                        </a:defRPr>
                      </a:pPr>
                      <a:r>
                        <a:t>1</a:t>
                      </a:r>
                    </a:p>
                  </a:txBody>
                  <a:tcPr marL="3810" marR="3810" marT="3810" marB="0" anchor="ctr">
                    <a:noFill/>
                  </a:tcPr>
                </a:tc>
                <a:extLst>
                  <a:ext uri="{0D108BD9-81ED-4DB2-BD59-A6C34878D82A}">
                    <a16:rowId xmlns:a16="http://schemas.microsoft.com/office/drawing/2014/main" val="1752397169"/>
                  </a:ext>
                </a:extLst>
              </a:tr>
              <a:tr h="831402">
                <a:tc>
                  <a:txBody>
                    <a:bodyPr/>
                    <a:lstStyle/>
                    <a:p>
                      <a:pPr algn="ctr">
                        <a:defRPr sz="800" b="1">
                          <a:latin typeface="Nexa (Headings)"/>
                        </a:defRPr>
                      </a:pPr>
                      <a:r>
                        <a:t>Salade</a:t>
                      </a:r>
                    </a:p>
                  </a:txBody>
                  <a:tcPr marL="3810" marR="3810" marT="3810" marB="0" anchor="ctr">
                    <a:noFill/>
                  </a:tcPr>
                </a:tc>
                <a:tc>
                  <a:txBody>
                    <a:bodyPr/>
                    <a:lstStyle/>
                    <a:p>
                      <a:pPr algn="ctr">
                        <a:defRPr sz="800">
                          <a:latin typeface="Nexa Book"/>
                        </a:defRPr>
                      </a:pPr>
                      <a:r>
                        <a:t>4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3712364869"/>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613</a:t>
            </a:fld>
            <a:endParaRPr lang="en-US"/>
          </a:p>
        </p:txBody>
      </p:sp>
    </p:spTree>
    <p:extLst>
      <p:ext uri="{BB962C8B-B14F-4D97-AF65-F5344CB8AC3E}">
        <p14:creationId xmlns:p14="http://schemas.microsoft.com/office/powerpoint/2010/main" val="3526072827"/>
      </p:ext>
    </p:extLst>
  </p:cSld>
  <p:clrMapOvr>
    <a:masterClrMapping/>
  </p:clrMapOvr>
</p:sld>
</file>

<file path=ppt/slides/slide6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9/9/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pPr>
              <a:defRPr sz="1200">
                <a:latin typeface="Nexa Bold (Headings)"/>
              </a:defRPr>
            </a:pPr>
            <a:r>
              <a:t>Segment fair share | Total Fromage | Boursin | Intermarche Proxi | P12M</a:t>
            </a:r>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pPr>
              <a:defRPr sz="1600">
                <a:latin typeface="Nexa Bold (Headings)"/>
              </a:defRPr>
            </a:pPr>
            <a:r>
              <a:rPr lang="en-GB" dirty="0">
                <a:highlight>
                  <a:srgbClr val="FFFF00"/>
                </a:highlight>
              </a:rPr>
              <a:t>Segment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oursin </a:t>
                      </a:r>
                    </a:p>
                    <a:p>
                      <a:pPr algn="ctr">
                        <a:defRPr sz="900" b="1">
                          <a:latin typeface="Nexa (Headings)"/>
                        </a:defRPr>
                      </a:pPr>
                      <a: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oursin </a:t>
                      </a:r>
                    </a:p>
                    <a:p>
                      <a:pPr algn="ctr">
                        <a:defRPr sz="900" b="1">
                          <a:latin typeface="Nexa (Headings)"/>
                        </a:defRPr>
                      </a:pPr>
                      <a: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oursin </a:t>
                      </a:r>
                    </a:p>
                    <a:p>
                      <a:pPr algn="ctr">
                        <a:defRPr sz="900" b="1">
                          <a:latin typeface="Nexa (Headings)"/>
                        </a:defRPr>
                      </a:pPr>
                      <a: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oursin </a:t>
                      </a:r>
                    </a:p>
                    <a:p>
                      <a:pPr algn="ctr">
                        <a:defRPr sz="900" b="1">
                          <a:latin typeface="Nexa (Headings)"/>
                        </a:defRPr>
                      </a:pPr>
                      <a: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oursin</a:t>
                      </a:r>
                    </a:p>
                    <a:p>
                      <a:pPr algn="ctr">
                        <a:defRPr sz="900" b="1">
                          <a:latin typeface="Nexa (Headings)"/>
                        </a:defRPr>
                      </a:pPr>
                      <a: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831402">
                <a:tc>
                  <a:txBody>
                    <a:bodyPr/>
                    <a:lstStyle/>
                    <a:p>
                      <a:pPr algn="ctr">
                        <a:defRPr sz="800" b="1">
                          <a:latin typeface="Nexa (Headings)"/>
                        </a:defRPr>
                      </a:pPr>
                      <a:r>
                        <a:t>Grand Total</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406</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4</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48%</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31%</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831402">
                <a:tc>
                  <a:txBody>
                    <a:bodyPr/>
                    <a:lstStyle/>
                    <a:p>
                      <a:pPr algn="ctr">
                        <a:defRPr sz="800" b="1">
                          <a:latin typeface="Nexa (Headings)"/>
                        </a:defRPr>
                      </a:pPr>
                      <a:r>
                        <a:t>Frais A Tartiner</a:t>
                      </a:r>
                    </a:p>
                  </a:txBody>
                  <a:tcPr marL="3810" marR="3810" marT="3810" marB="0" anchor="ctr">
                    <a:noFill/>
                  </a:tcPr>
                </a:tc>
                <a:tc>
                  <a:txBody>
                    <a:bodyPr/>
                    <a:lstStyle/>
                    <a:p>
                      <a:pPr algn="ctr">
                        <a:defRPr sz="800">
                          <a:latin typeface="Nexa Book"/>
                        </a:defRPr>
                      </a:pPr>
                      <a:r>
                        <a:t>37</a:t>
                      </a:r>
                    </a:p>
                  </a:txBody>
                  <a:tcPr marL="3810" marR="3810" marT="3810" marB="0" anchor="ctr">
                    <a:noFill/>
                  </a:tcPr>
                </a:tc>
                <a:tc>
                  <a:txBody>
                    <a:bodyPr/>
                    <a:lstStyle/>
                    <a:p>
                      <a:pPr algn="ctr">
                        <a:defRPr sz="800">
                          <a:latin typeface="Nexa Book"/>
                        </a:defRPr>
                      </a:pPr>
                      <a:r>
                        <a:t>8</a:t>
                      </a:r>
                    </a:p>
                  </a:txBody>
                  <a:tcPr marL="3810" marR="3810" marT="3810" marB="0" anchor="ctr">
                    <a:noFill/>
                  </a:tcPr>
                </a:tc>
                <a:tc>
                  <a:txBody>
                    <a:bodyPr/>
                    <a:lstStyle/>
                    <a:p>
                      <a:pPr algn="ctr">
                        <a:defRPr sz="800">
                          <a:latin typeface="Nexa Book"/>
                        </a:defRPr>
                      </a:pPr>
                      <a:r>
                        <a:t>23%</a:t>
                      </a:r>
                    </a:p>
                  </a:txBody>
                  <a:tcPr marL="3810" marR="3810" marT="3810" marB="0" anchor="ctr">
                    <a:noFill/>
                  </a:tcPr>
                </a:tc>
                <a:tc>
                  <a:txBody>
                    <a:bodyPr/>
                    <a:lstStyle/>
                    <a:p>
                      <a:pPr algn="ctr">
                        <a:defRPr sz="800">
                          <a:latin typeface="Nexa Book"/>
                        </a:defRPr>
                      </a:pPr>
                      <a:r>
                        <a:t>15%</a:t>
                      </a:r>
                    </a:p>
                  </a:txBody>
                  <a:tcPr marL="3810" marR="3810" marT="3810" marB="0" anchor="ctr">
                    <a:noFill/>
                  </a:tcPr>
                </a:tc>
                <a:tc>
                  <a:txBody>
                    <a:bodyPr/>
                    <a:lstStyle/>
                    <a:p>
                      <a:pPr algn="ctr">
                        <a:defRPr sz="800">
                          <a:latin typeface="Nexa Book"/>
                        </a:defRPr>
                      </a:pPr>
                      <a:r>
                        <a:t>5</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3161381"/>
                  </a:ext>
                </a:extLst>
              </a:tr>
              <a:tr h="831402">
                <a:tc>
                  <a:txBody>
                    <a:bodyPr/>
                    <a:lstStyle/>
                    <a:p>
                      <a:pPr algn="ctr">
                        <a:defRPr sz="800" b="1">
                          <a:latin typeface="Nexa (Headings)"/>
                        </a:defRPr>
                      </a:pPr>
                      <a:r>
                        <a:t>Enfant</a:t>
                      </a:r>
                    </a:p>
                  </a:txBody>
                  <a:tcPr marL="3810" marR="3810" marT="3810" marB="0" anchor="ctr">
                    <a:noFill/>
                  </a:tcPr>
                </a:tc>
                <a:tc>
                  <a:txBody>
                    <a:bodyPr/>
                    <a:lstStyle/>
                    <a:p>
                      <a:pPr algn="ctr">
                        <a:defRPr sz="800">
                          <a:latin typeface="Nexa Book"/>
                        </a:defRPr>
                      </a:pPr>
                      <a:r>
                        <a:t>22</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1752397169"/>
                  </a:ext>
                </a:extLst>
              </a:tr>
              <a:tr h="831402">
                <a:tc>
                  <a:txBody>
                    <a:bodyPr/>
                    <a:lstStyle/>
                    <a:p>
                      <a:pPr algn="ctr">
                        <a:defRPr sz="800" b="1">
                          <a:latin typeface="Nexa (Headings)"/>
                        </a:defRPr>
                      </a:pPr>
                      <a:r>
                        <a:t>Salade</a:t>
                      </a:r>
                    </a:p>
                  </a:txBody>
                  <a:tcPr marL="3810" marR="3810" marT="3810" marB="0" anchor="ctr">
                    <a:noFill/>
                  </a:tcPr>
                </a:tc>
                <a:tc>
                  <a:txBody>
                    <a:bodyPr/>
                    <a:lstStyle/>
                    <a:p>
                      <a:pPr algn="ctr">
                        <a:defRPr sz="800">
                          <a:latin typeface="Nexa Book"/>
                        </a:defRPr>
                      </a:pPr>
                      <a:r>
                        <a:t>40</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6%</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3712364869"/>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614</a:t>
            </a:fld>
            <a:endParaRPr lang="en-US"/>
          </a:p>
        </p:txBody>
      </p:sp>
    </p:spTree>
    <p:extLst>
      <p:ext uri="{BB962C8B-B14F-4D97-AF65-F5344CB8AC3E}">
        <p14:creationId xmlns:p14="http://schemas.microsoft.com/office/powerpoint/2010/main" val="4126011718"/>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9/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July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Total Fromage | Intermarche Super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261</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89</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9</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62</a:t>
            </a:fld>
            <a:endParaRPr lang="en-US"/>
          </a:p>
        </p:txBody>
      </p:sp>
    </p:spTree>
    <p:extLst>
      <p:ext uri="{BB962C8B-B14F-4D97-AF65-F5344CB8AC3E}">
        <p14:creationId xmlns:p14="http://schemas.microsoft.com/office/powerpoint/2010/main" val="3088457580"/>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9/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July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Total Fromage | Intermarche Hyper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283</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98</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2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63</a:t>
            </a:fld>
            <a:endParaRPr lang="en-US"/>
          </a:p>
        </p:txBody>
      </p:sp>
    </p:spTree>
    <p:extLst>
      <p:ext uri="{BB962C8B-B14F-4D97-AF65-F5344CB8AC3E}">
        <p14:creationId xmlns:p14="http://schemas.microsoft.com/office/powerpoint/2010/main" val="2527347173"/>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9/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July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Total Fromage | Intermarche Proxi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226</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76</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7</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64</a:t>
            </a:fld>
            <a:endParaRPr lang="en-US"/>
          </a:p>
        </p:txBody>
      </p:sp>
    </p:spTree>
    <p:extLst>
      <p:ext uri="{BB962C8B-B14F-4D97-AF65-F5344CB8AC3E}">
        <p14:creationId xmlns:p14="http://schemas.microsoft.com/office/powerpoint/2010/main" val="967553063"/>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9/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July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Soft Cheese | Carrefour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143</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45</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0</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65</a:t>
            </a:fld>
            <a:endParaRPr lang="en-US"/>
          </a:p>
        </p:txBody>
      </p:sp>
    </p:spTree>
    <p:extLst>
      <p:ext uri="{BB962C8B-B14F-4D97-AF65-F5344CB8AC3E}">
        <p14:creationId xmlns:p14="http://schemas.microsoft.com/office/powerpoint/2010/main" val="766367785"/>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9/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July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Soft Cheese | Intermarche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114</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41</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66</a:t>
            </a:fld>
            <a:endParaRPr lang="en-US"/>
          </a:p>
        </p:txBody>
      </p:sp>
    </p:spTree>
    <p:extLst>
      <p:ext uri="{BB962C8B-B14F-4D97-AF65-F5344CB8AC3E}">
        <p14:creationId xmlns:p14="http://schemas.microsoft.com/office/powerpoint/2010/main" val="862744176"/>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9/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July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Soft Cheese | Carrefour Hyper + Drive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162</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51</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0</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67</a:t>
            </a:fld>
            <a:endParaRPr lang="en-US"/>
          </a:p>
        </p:txBody>
      </p:sp>
    </p:spTree>
    <p:extLst>
      <p:ext uri="{BB962C8B-B14F-4D97-AF65-F5344CB8AC3E}">
        <p14:creationId xmlns:p14="http://schemas.microsoft.com/office/powerpoint/2010/main" val="3392545600"/>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9/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July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Soft Cheese | Carrefour Supermarket + Drive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139</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47</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68</a:t>
            </a:fld>
            <a:endParaRPr lang="en-US"/>
          </a:p>
        </p:txBody>
      </p:sp>
    </p:spTree>
    <p:extLst>
      <p:ext uri="{BB962C8B-B14F-4D97-AF65-F5344CB8AC3E}">
        <p14:creationId xmlns:p14="http://schemas.microsoft.com/office/powerpoint/2010/main" val="677712269"/>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9/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July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Soft Cheese | Carrefour Proximite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60</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19</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5</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69</a:t>
            </a:fld>
            <a:endParaRPr lang="en-US"/>
          </a:p>
        </p:txBody>
      </p:sp>
    </p:spTree>
    <p:extLst>
      <p:ext uri="{BB962C8B-B14F-4D97-AF65-F5344CB8AC3E}">
        <p14:creationId xmlns:p14="http://schemas.microsoft.com/office/powerpoint/2010/main" val="407013281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9/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Total Fromage | Intermarche Hyper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7</a:t>
            </a:fld>
            <a:endParaRPr lang="en-US"/>
          </a:p>
        </p:txBody>
      </p:sp>
    </p:spTree>
    <p:extLst>
      <p:ext uri="{BB962C8B-B14F-4D97-AF65-F5344CB8AC3E}">
        <p14:creationId xmlns:p14="http://schemas.microsoft.com/office/powerpoint/2010/main" val="2987369339"/>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9/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July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Soft Cheese | Intermarche Super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114</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41</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70</a:t>
            </a:fld>
            <a:endParaRPr lang="en-US"/>
          </a:p>
        </p:txBody>
      </p:sp>
    </p:spTree>
    <p:extLst>
      <p:ext uri="{BB962C8B-B14F-4D97-AF65-F5344CB8AC3E}">
        <p14:creationId xmlns:p14="http://schemas.microsoft.com/office/powerpoint/2010/main" val="3297933140"/>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9/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July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Soft Cheese | Intermarche Hyper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122</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44</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71</a:t>
            </a:fld>
            <a:endParaRPr lang="en-US"/>
          </a:p>
        </p:txBody>
      </p:sp>
    </p:spTree>
    <p:extLst>
      <p:ext uri="{BB962C8B-B14F-4D97-AF65-F5344CB8AC3E}">
        <p14:creationId xmlns:p14="http://schemas.microsoft.com/office/powerpoint/2010/main" val="3103927980"/>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9/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July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Soft Cheese | Intermarche Proxi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100</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37</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0</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72</a:t>
            </a:fld>
            <a:endParaRPr lang="en-US"/>
          </a:p>
        </p:txBody>
      </p:sp>
    </p:spTree>
    <p:extLst>
      <p:ext uri="{BB962C8B-B14F-4D97-AF65-F5344CB8AC3E}">
        <p14:creationId xmlns:p14="http://schemas.microsoft.com/office/powerpoint/2010/main" val="3980440192"/>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9/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July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Aperitif | Carrefour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18</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8</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73</a:t>
            </a:fld>
            <a:endParaRPr lang="en-US"/>
          </a:p>
        </p:txBody>
      </p:sp>
    </p:spTree>
    <p:extLst>
      <p:ext uri="{BB962C8B-B14F-4D97-AF65-F5344CB8AC3E}">
        <p14:creationId xmlns:p14="http://schemas.microsoft.com/office/powerpoint/2010/main" val="320296401"/>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9/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July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Aperitif | Intermarche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16</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8</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3</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74</a:t>
            </a:fld>
            <a:endParaRPr lang="en-US"/>
          </a:p>
        </p:txBody>
      </p:sp>
    </p:spTree>
    <p:extLst>
      <p:ext uri="{BB962C8B-B14F-4D97-AF65-F5344CB8AC3E}">
        <p14:creationId xmlns:p14="http://schemas.microsoft.com/office/powerpoint/2010/main" val="3628186582"/>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9/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July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Aperitif | Carrefour Hyper + Drive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20</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9</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3</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75</a:t>
            </a:fld>
            <a:endParaRPr lang="en-US"/>
          </a:p>
        </p:txBody>
      </p:sp>
    </p:spTree>
    <p:extLst>
      <p:ext uri="{BB962C8B-B14F-4D97-AF65-F5344CB8AC3E}">
        <p14:creationId xmlns:p14="http://schemas.microsoft.com/office/powerpoint/2010/main" val="538226992"/>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9/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July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Aperitif | Carrefour Supermarket + Drive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14</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6</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76</a:t>
            </a:fld>
            <a:endParaRPr lang="en-US"/>
          </a:p>
        </p:txBody>
      </p:sp>
    </p:spTree>
    <p:extLst>
      <p:ext uri="{BB962C8B-B14F-4D97-AF65-F5344CB8AC3E}">
        <p14:creationId xmlns:p14="http://schemas.microsoft.com/office/powerpoint/2010/main" val="836837148"/>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9/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July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Aperitif | Carrefour Proximite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7</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4</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77</a:t>
            </a:fld>
            <a:endParaRPr lang="en-US"/>
          </a:p>
        </p:txBody>
      </p:sp>
    </p:spTree>
    <p:extLst>
      <p:ext uri="{BB962C8B-B14F-4D97-AF65-F5344CB8AC3E}">
        <p14:creationId xmlns:p14="http://schemas.microsoft.com/office/powerpoint/2010/main" val="723352274"/>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9/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July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Aperitif | Intermarche Super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16</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8</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3</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78</a:t>
            </a:fld>
            <a:endParaRPr lang="en-US"/>
          </a:p>
        </p:txBody>
      </p:sp>
    </p:spTree>
    <p:extLst>
      <p:ext uri="{BB962C8B-B14F-4D97-AF65-F5344CB8AC3E}">
        <p14:creationId xmlns:p14="http://schemas.microsoft.com/office/powerpoint/2010/main" val="2022636536"/>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9/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July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Aperitif | Intermarche Hyper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16</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8</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3</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79</a:t>
            </a:fld>
            <a:endParaRPr lang="en-US"/>
          </a:p>
        </p:txBody>
      </p:sp>
    </p:spTree>
    <p:extLst>
      <p:ext uri="{BB962C8B-B14F-4D97-AF65-F5344CB8AC3E}">
        <p14:creationId xmlns:p14="http://schemas.microsoft.com/office/powerpoint/2010/main" val="14748761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9/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Total Fromage | Intermarche Proxi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8</a:t>
            </a:fld>
            <a:endParaRPr lang="en-US"/>
          </a:p>
        </p:txBody>
      </p:sp>
    </p:spTree>
    <p:extLst>
      <p:ext uri="{BB962C8B-B14F-4D97-AF65-F5344CB8AC3E}">
        <p14:creationId xmlns:p14="http://schemas.microsoft.com/office/powerpoint/2010/main" val="3070179592"/>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9/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July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Aperitif | Intermarche Proxi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15</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7</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80</a:t>
            </a:fld>
            <a:endParaRPr lang="en-US"/>
          </a:p>
        </p:txBody>
      </p:sp>
    </p:spTree>
    <p:extLst>
      <p:ext uri="{BB962C8B-B14F-4D97-AF65-F5344CB8AC3E}">
        <p14:creationId xmlns:p14="http://schemas.microsoft.com/office/powerpoint/2010/main" val="3937293178"/>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9/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July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Ingredient A Chaud | Carrefour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13</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5</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81</a:t>
            </a:fld>
            <a:endParaRPr lang="en-US"/>
          </a:p>
        </p:txBody>
      </p:sp>
    </p:spTree>
    <p:extLst>
      <p:ext uri="{BB962C8B-B14F-4D97-AF65-F5344CB8AC3E}">
        <p14:creationId xmlns:p14="http://schemas.microsoft.com/office/powerpoint/2010/main" val="1091832525"/>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9/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July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Ingredient A Chaud | Intermarche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8</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4</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82</a:t>
            </a:fld>
            <a:endParaRPr lang="en-US"/>
          </a:p>
        </p:txBody>
      </p:sp>
    </p:spTree>
    <p:extLst>
      <p:ext uri="{BB962C8B-B14F-4D97-AF65-F5344CB8AC3E}">
        <p14:creationId xmlns:p14="http://schemas.microsoft.com/office/powerpoint/2010/main" val="1732783277"/>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9/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July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Ingredient A Chaud | Carrefour Hyper + Drive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16</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7</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3</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83</a:t>
            </a:fld>
            <a:endParaRPr lang="en-US"/>
          </a:p>
        </p:txBody>
      </p:sp>
    </p:spTree>
    <p:extLst>
      <p:ext uri="{BB962C8B-B14F-4D97-AF65-F5344CB8AC3E}">
        <p14:creationId xmlns:p14="http://schemas.microsoft.com/office/powerpoint/2010/main" val="983936343"/>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9/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July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Ingredient A Chaud | Carrefour Supermarket + Drive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10</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4</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84</a:t>
            </a:fld>
            <a:endParaRPr lang="en-US"/>
          </a:p>
        </p:txBody>
      </p:sp>
    </p:spTree>
    <p:extLst>
      <p:ext uri="{BB962C8B-B14F-4D97-AF65-F5344CB8AC3E}">
        <p14:creationId xmlns:p14="http://schemas.microsoft.com/office/powerpoint/2010/main" val="3001836324"/>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9/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July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Ingredient A Chaud | Carrefour Proximite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5</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3</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85</a:t>
            </a:fld>
            <a:endParaRPr lang="en-US"/>
          </a:p>
        </p:txBody>
      </p:sp>
    </p:spTree>
    <p:extLst>
      <p:ext uri="{BB962C8B-B14F-4D97-AF65-F5344CB8AC3E}">
        <p14:creationId xmlns:p14="http://schemas.microsoft.com/office/powerpoint/2010/main" val="16954358"/>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9/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July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Ingredient A Chaud | Intermarche Super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8</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4</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86</a:t>
            </a:fld>
            <a:endParaRPr lang="en-US"/>
          </a:p>
        </p:txBody>
      </p:sp>
    </p:spTree>
    <p:extLst>
      <p:ext uri="{BB962C8B-B14F-4D97-AF65-F5344CB8AC3E}">
        <p14:creationId xmlns:p14="http://schemas.microsoft.com/office/powerpoint/2010/main" val="1754643481"/>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9/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July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Ingredient A Chaud | Intermarche Hyper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11</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4</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87</a:t>
            </a:fld>
            <a:endParaRPr lang="en-US"/>
          </a:p>
        </p:txBody>
      </p:sp>
    </p:spTree>
    <p:extLst>
      <p:ext uri="{BB962C8B-B14F-4D97-AF65-F5344CB8AC3E}">
        <p14:creationId xmlns:p14="http://schemas.microsoft.com/office/powerpoint/2010/main" val="3988250305"/>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9/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July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Ingredient A Chaud | Intermarche Proxi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7</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3</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88</a:t>
            </a:fld>
            <a:endParaRPr lang="en-US"/>
          </a:p>
        </p:txBody>
      </p:sp>
    </p:spTree>
    <p:extLst>
      <p:ext uri="{BB962C8B-B14F-4D97-AF65-F5344CB8AC3E}">
        <p14:creationId xmlns:p14="http://schemas.microsoft.com/office/powerpoint/2010/main" val="3196479885"/>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9/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July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Enfant | Carrefour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15</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7</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89</a:t>
            </a:fld>
            <a:endParaRPr lang="en-US"/>
          </a:p>
        </p:txBody>
      </p:sp>
    </p:spTree>
    <p:extLst>
      <p:ext uri="{BB962C8B-B14F-4D97-AF65-F5344CB8AC3E}">
        <p14:creationId xmlns:p14="http://schemas.microsoft.com/office/powerpoint/2010/main" val="327820077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9/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Soft Cheese | Carrefour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9</a:t>
            </a:fld>
            <a:endParaRPr lang="en-US"/>
          </a:p>
        </p:txBody>
      </p:sp>
    </p:spTree>
    <p:extLst>
      <p:ext uri="{BB962C8B-B14F-4D97-AF65-F5344CB8AC3E}">
        <p14:creationId xmlns:p14="http://schemas.microsoft.com/office/powerpoint/2010/main" val="3642460350"/>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9/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July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Enfant | Intermarche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14</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6</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90</a:t>
            </a:fld>
            <a:endParaRPr lang="en-US"/>
          </a:p>
        </p:txBody>
      </p:sp>
    </p:spTree>
    <p:extLst>
      <p:ext uri="{BB962C8B-B14F-4D97-AF65-F5344CB8AC3E}">
        <p14:creationId xmlns:p14="http://schemas.microsoft.com/office/powerpoint/2010/main" val="1420456592"/>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9/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July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Enfant | Carrefour Hyper + Drive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17</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6</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91</a:t>
            </a:fld>
            <a:endParaRPr lang="en-US"/>
          </a:p>
        </p:txBody>
      </p:sp>
    </p:spTree>
    <p:extLst>
      <p:ext uri="{BB962C8B-B14F-4D97-AF65-F5344CB8AC3E}">
        <p14:creationId xmlns:p14="http://schemas.microsoft.com/office/powerpoint/2010/main" val="2381083785"/>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9/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July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Enfant | Carrefour Supermarket + Drive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15</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7</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92</a:t>
            </a:fld>
            <a:endParaRPr lang="en-US"/>
          </a:p>
        </p:txBody>
      </p:sp>
    </p:spTree>
    <p:extLst>
      <p:ext uri="{BB962C8B-B14F-4D97-AF65-F5344CB8AC3E}">
        <p14:creationId xmlns:p14="http://schemas.microsoft.com/office/powerpoint/2010/main" val="3878852987"/>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9/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July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Enfant | Carrefour Proximite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6</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3</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93</a:t>
            </a:fld>
            <a:endParaRPr lang="en-US"/>
          </a:p>
        </p:txBody>
      </p:sp>
    </p:spTree>
    <p:extLst>
      <p:ext uri="{BB962C8B-B14F-4D97-AF65-F5344CB8AC3E}">
        <p14:creationId xmlns:p14="http://schemas.microsoft.com/office/powerpoint/2010/main" val="1637202035"/>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9/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July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Enfant | Intermarche Super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14</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6</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94</a:t>
            </a:fld>
            <a:endParaRPr lang="en-US"/>
          </a:p>
        </p:txBody>
      </p:sp>
    </p:spTree>
    <p:extLst>
      <p:ext uri="{BB962C8B-B14F-4D97-AF65-F5344CB8AC3E}">
        <p14:creationId xmlns:p14="http://schemas.microsoft.com/office/powerpoint/2010/main" val="3560495610"/>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9/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July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Enfant | Intermarche Hyper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14</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7</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95</a:t>
            </a:fld>
            <a:endParaRPr lang="en-US"/>
          </a:p>
        </p:txBody>
      </p:sp>
    </p:spTree>
    <p:extLst>
      <p:ext uri="{BB962C8B-B14F-4D97-AF65-F5344CB8AC3E}">
        <p14:creationId xmlns:p14="http://schemas.microsoft.com/office/powerpoint/2010/main" val="2768831906"/>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9/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July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Enfant | Intermarche Proxi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13</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6</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96</a:t>
            </a:fld>
            <a:endParaRPr lang="en-US"/>
          </a:p>
        </p:txBody>
      </p:sp>
    </p:spTree>
    <p:extLst>
      <p:ext uri="{BB962C8B-B14F-4D97-AF65-F5344CB8AC3E}">
        <p14:creationId xmlns:p14="http://schemas.microsoft.com/office/powerpoint/2010/main" val="3869126326"/>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9/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July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Frais A Tartiner | Carrefour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26</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12</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3</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97</a:t>
            </a:fld>
            <a:endParaRPr lang="en-US"/>
          </a:p>
        </p:txBody>
      </p:sp>
    </p:spTree>
    <p:extLst>
      <p:ext uri="{BB962C8B-B14F-4D97-AF65-F5344CB8AC3E}">
        <p14:creationId xmlns:p14="http://schemas.microsoft.com/office/powerpoint/2010/main" val="2162051701"/>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9/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July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Frais A Tartiner | Intermarche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24</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11</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4</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98</a:t>
            </a:fld>
            <a:endParaRPr lang="en-US"/>
          </a:p>
        </p:txBody>
      </p:sp>
    </p:spTree>
    <p:extLst>
      <p:ext uri="{BB962C8B-B14F-4D97-AF65-F5344CB8AC3E}">
        <p14:creationId xmlns:p14="http://schemas.microsoft.com/office/powerpoint/2010/main" val="4084053706"/>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9/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July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Frais A Tartiner | Carrefour Hyper + Drive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31</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14</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5</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99</a:t>
            </a:fld>
            <a:endParaRPr lang="en-US"/>
          </a:p>
        </p:txBody>
      </p:sp>
    </p:spTree>
    <p:extLst>
      <p:ext uri="{BB962C8B-B14F-4D97-AF65-F5344CB8AC3E}">
        <p14:creationId xmlns:p14="http://schemas.microsoft.com/office/powerpoint/2010/main" val="381140439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ricingOne Light Template Oct 2024">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Dubai"/>
      </a:majorFont>
      <a:minorFont>
        <a:latin typeface="Nexa Book"/>
        <a:ea typeface=""/>
        <a:cs typeface="Dubai Ligh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6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schemeClr>
        </a:solidFill>
        <a:ln>
          <a:noFill/>
        </a:ln>
      </a:spPr>
      <a:bodyPr wrap="none" lIns="108000" tIns="108000" rIns="108000" bIns="108000" rtlCol="0" anchor="ctr">
        <a:spAutoFit/>
      </a:bodyPr>
      <a:lstStyle>
        <a:defPPr algn="l">
          <a:defRPr sz="9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icingOne Light Template Oct 2024" id="{B4217D13-A981-4E55-97A0-EFF30A4E7E27}" vid="{7FEF76C7-3C4C-4B4C-BC3E-02F0CA92B703}"/>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57F3A64EFB0E7749864827C4C084DE8D" ma:contentTypeVersion="16" ma:contentTypeDescription="Create a new document." ma:contentTypeScope="" ma:versionID="a492c0260f55a60a54ae1f589b92f830">
  <xsd:schema xmlns:xsd="http://www.w3.org/2001/XMLSchema" xmlns:xs="http://www.w3.org/2001/XMLSchema" xmlns:p="http://schemas.microsoft.com/office/2006/metadata/properties" xmlns:ns2="0ad93b7f-b0cd-4c46-aaaf-ff14495948cf" xmlns:ns3="474cf4e4-8a51-432b-9e1b-0ea607ac38ff" targetNamespace="http://schemas.microsoft.com/office/2006/metadata/properties" ma:root="true" ma:fieldsID="47e8414eaa505a6e294dff4436781a52" ns2:_="" ns3:_="">
    <xsd:import namespace="0ad93b7f-b0cd-4c46-aaaf-ff14495948cf"/>
    <xsd:import namespace="474cf4e4-8a51-432b-9e1b-0ea607ac38ff"/>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AutoKeyPoints" minOccurs="0"/>
                <xsd:element ref="ns2:MediaServiceKeyPoints" minOccurs="0"/>
                <xsd:element ref="ns2:MediaServiceGenerationTime" minOccurs="0"/>
                <xsd:element ref="ns2:MediaServiceEventHashCode" minOccurs="0"/>
                <xsd:element ref="ns2:MediaServiceDateTaken"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d93b7f-b0cd-4c46-aaaf-ff14495948c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357a035a-b75f-4f0a-966d-4a4e0268141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74cf4e4-8a51-432b-9e1b-0ea607ac38ff"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d27a1696-6eea-42d4-b4ee-dd827aa5ff17}" ma:internalName="TaxCatchAll" ma:showField="CatchAllData" ma:web="474cf4e4-8a51-432b-9e1b-0ea607ac38f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0ad93b7f-b0cd-4c46-aaaf-ff14495948cf">
      <Terms xmlns="http://schemas.microsoft.com/office/infopath/2007/PartnerControls"/>
    </lcf76f155ced4ddcb4097134ff3c332f>
    <TaxCatchAll xmlns="474cf4e4-8a51-432b-9e1b-0ea607ac38ff"/>
  </documentManagement>
</p:properties>
</file>

<file path=customXml/itemProps1.xml><?xml version="1.0" encoding="utf-8"?>
<ds:datastoreItem xmlns:ds="http://schemas.openxmlformats.org/officeDocument/2006/customXml" ds:itemID="{7569004E-13CB-4752-B39D-2BEF8CE13196}">
  <ds:schemaRefs>
    <ds:schemaRef ds:uri="http://schemas.microsoft.com/sharepoint/v3/contenttype/forms"/>
  </ds:schemaRefs>
</ds:datastoreItem>
</file>

<file path=customXml/itemProps2.xml><?xml version="1.0" encoding="utf-8"?>
<ds:datastoreItem xmlns:ds="http://schemas.openxmlformats.org/officeDocument/2006/customXml" ds:itemID="{38749DFE-4136-473E-8F3A-DF8981A45F73}">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ad93b7f-b0cd-4c46-aaaf-ff14495948cf"/>
    <ds:schemaRef ds:uri="474cf4e4-8a51-432b-9e1b-0ea607ac38f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5D3B97F3-A04F-4F0C-B39A-C5495F1A7B05}">
  <ds:schemaRefs>
    <ds:schemaRef ds:uri="http://schemas.microsoft.com/office/2006/documentManagement/types"/>
    <ds:schemaRef ds:uri="0ad93b7f-b0cd-4c46-aaaf-ff14495948cf"/>
    <ds:schemaRef ds:uri="http://purl.org/dc/elements/1.1/"/>
    <ds:schemaRef ds:uri="http://www.w3.org/XML/1998/namespace"/>
    <ds:schemaRef ds:uri="http://schemas.microsoft.com/office/2006/metadata/properties"/>
    <ds:schemaRef ds:uri="474cf4e4-8a51-432b-9e1b-0ea607ac38ff"/>
    <ds:schemaRef ds:uri="http://schemas.microsoft.com/office/infopath/2007/PartnerControls"/>
    <ds:schemaRef ds:uri="http://schemas.openxmlformats.org/package/2006/metadata/core-properties"/>
    <ds:schemaRef ds:uri="http://purl.org/dc/dcmitype/"/>
    <ds:schemaRef ds:uri="http://purl.org/dc/terms/"/>
  </ds:schemaRefs>
</ds:datastoreItem>
</file>

<file path=docProps/app.xml><?xml version="1.0" encoding="utf-8"?>
<Properties xmlns="http://schemas.openxmlformats.org/officeDocument/2006/extended-properties" xmlns:vt="http://schemas.openxmlformats.org/officeDocument/2006/docPropsVTypes">
  <Template/>
  <TotalTime>2</TotalTime>
  <Words>58218</Words>
  <Application>Microsoft Office PowerPoint</Application>
  <PresentationFormat>On-screen Show (16:9)</PresentationFormat>
  <Paragraphs>18890</Paragraphs>
  <Slides>614</Slides>
  <Notes>172</Notes>
  <HiddenSlides>0</HiddenSlides>
  <MMClips>0</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1</vt:i4>
      </vt:variant>
      <vt:variant>
        <vt:lpstr>Slide Titles</vt:lpstr>
      </vt:variant>
      <vt:variant>
        <vt:i4>614</vt:i4>
      </vt:variant>
    </vt:vector>
  </HeadingPairs>
  <TitlesOfParts>
    <vt:vector size="624" baseType="lpstr">
      <vt:lpstr>Aptos</vt:lpstr>
      <vt:lpstr>Arial</vt:lpstr>
      <vt:lpstr>Calibri</vt:lpstr>
      <vt:lpstr>Nexa</vt:lpstr>
      <vt:lpstr>Nexa Bold</vt:lpstr>
      <vt:lpstr>Nexa Book</vt:lpstr>
      <vt:lpstr>Nexa Book Italic</vt:lpstr>
      <vt:lpstr>Open Sans</vt:lpstr>
      <vt:lpstr>PricingOne Light Template Oct 2024</vt:lpstr>
      <vt:lpstr>think-cell Slide</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ectors Fair Share (Replace with So What)</vt:lpstr>
      <vt:lpstr>Sectors Fair Share (Replace with So What)</vt:lpstr>
      <vt:lpstr>Sectors Fair Share (Replace with So What)</vt:lpstr>
      <vt:lpstr>Sectors Fair Share (Replace with So What)</vt:lpstr>
      <vt:lpstr>Sectors Fair Share (Replace with So What)</vt:lpstr>
      <vt:lpstr>Sectors Fair Share (Replace with So What)</vt:lpstr>
      <vt:lpstr>Sectors Fair Share (Replace with So What)</vt:lpstr>
      <vt:lpstr>Sectors Fair Share (Replace with So What)</vt:lpstr>
      <vt:lpstr>Sectors Fair Share (Replace with So What)</vt:lpstr>
      <vt:lpstr>Sectors Fair Share (Replace with So What)</vt:lpstr>
      <vt:lpstr>Sectors Fair Share (Replace with So What)</vt:lpstr>
      <vt:lpstr>Sectors Fair Share (Replace with So What)</vt:lpstr>
      <vt:lpstr>Sectors Fair Share (Replace with So What)</vt:lpstr>
      <vt:lpstr>Sectors Fair Share (Replace with So What)</vt:lpstr>
      <vt:lpstr>Sectors Fair Share (Replace with So What)</vt:lpstr>
      <vt:lpstr>Sectors Fair Share (Replace with So What)</vt:lpstr>
      <vt:lpstr>Sectors Fair Share (Replace with So What)</vt:lpstr>
      <vt:lpstr>Sectors Fair Share (Replace with So What)</vt:lpstr>
      <vt:lpstr>Sectors Fair Share (Replace with So What)</vt:lpstr>
      <vt:lpstr>Sectors Fair Share (Replace with So What)</vt:lpstr>
      <vt:lpstr>Sectors Fair Share (Replace with So What)</vt:lpstr>
      <vt:lpstr>Sectors Fair Share (Replace with So What)</vt:lpstr>
      <vt:lpstr>Sectors Fair Share (Replace with So What)</vt:lpstr>
      <vt:lpstr>Sectors Fair Share (Replace with So What)</vt:lpstr>
      <vt:lpstr>Sectors Fair Share (Replace with So What)</vt:lpstr>
      <vt:lpstr>Sectors Fair Share (Replace with So What)</vt:lpstr>
      <vt:lpstr>Sectors Fair Share (Replace with So What)</vt:lpstr>
      <vt:lpstr>Sectors Fair Share (Replace with So What)</vt:lpstr>
      <vt:lpstr>Sectors Fair Share (Replace with So What)</vt:lpstr>
      <vt:lpstr>Sectors Fair Share (Replace with So What)</vt:lpstr>
      <vt:lpstr>Sectors Fair Share (Replace with So What)</vt:lpstr>
      <vt:lpstr>Sectors Fair Share (Replace with So What)</vt:lpstr>
      <vt:lpstr>Sectors Fair Share (Replace with So What)</vt:lpstr>
      <vt:lpstr>Sectors Fair Share (Replace with So What)</vt:lpstr>
      <vt:lpstr>Sectors Fair Share (Replace with So What)</vt:lpstr>
      <vt:lpstr>Sectors Fair Share (Replace with So What)</vt:lpstr>
      <vt:lpstr>Sectors Fair Share (Replace with So What)</vt:lpstr>
      <vt:lpstr>Sectors Fair Share (Replace with So What)</vt:lpstr>
      <vt:lpstr>Sectors Fair Share (Replace with So What)</vt:lpstr>
      <vt:lpstr>Sectors Fair Share (Replace with So What)</vt:lpstr>
      <vt:lpstr>Sectors Fair Share (Replace with So What)</vt:lpstr>
      <vt:lpstr>Sectors Fair Share (Replace with So What)</vt:lpstr>
      <vt:lpstr>Sectors Fair Share (Replace with So What)</vt:lpstr>
      <vt:lpstr>Sectors Fair Share (Replace with So What)</vt:lpstr>
      <vt:lpstr>Sectors Fair Share (Replace with So What)</vt:lpstr>
      <vt:lpstr>Sectors Fair Share (Replace with So What)</vt:lpstr>
      <vt:lpstr>Sectors Fair Share (Replace with So What)</vt:lpstr>
      <vt:lpstr>Sectors Fair Share (Replace with So What)</vt:lpstr>
      <vt:lpstr>Sectors Fair Share (Replace with So What)</vt:lpstr>
      <vt:lpstr>Sectors Fair Share (Replace with So What)</vt:lpstr>
      <vt:lpstr>Sectors Fair Share (Replace with So What)</vt:lpstr>
      <vt:lpstr>Sectors Fair Share (Replace with So What)</vt:lpstr>
      <vt:lpstr>Sectors Fair Share (Replace with So What)</vt:lpstr>
      <vt:lpstr>Sectors Fair Share (Replace with So What)</vt:lpstr>
      <vt:lpstr>Sectors Fair Share (Replace with So What)</vt:lpstr>
      <vt:lpstr>Sectors Fair Share (Replace with So What)</vt:lpstr>
      <vt:lpstr>Sectors Fair Share (Replace with So What)</vt:lpstr>
      <vt:lpstr>Sectors Fair Share (Replace with So What)</vt:lpstr>
      <vt:lpstr>Sectors Fair Share (Replace with So What)</vt:lpstr>
      <vt:lpstr>Sectors Fair Share (Replace with So What)</vt:lpstr>
      <vt:lpstr>Sectors Fair Share (Replace with So What)</vt:lpstr>
      <vt:lpstr>Sectors Fair Share (Replace with So What)</vt:lpstr>
      <vt:lpstr>Sectors Fair Share (Replace with So What)</vt:lpstr>
      <vt:lpstr>Sectors Fair Share (Replace with So Wha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KU Share By Brand (Replace With SO WHAT)</dc:title>
  <dc:creator>Sophie  ZIMMERMANN</dc:creator>
  <cp:lastModifiedBy>Aleaa SALAH</cp:lastModifiedBy>
  <cp:revision>23</cp:revision>
  <dcterms:created xsi:type="dcterms:W3CDTF">2024-07-05T14:32:36Z</dcterms:created>
  <dcterms:modified xsi:type="dcterms:W3CDTF">2025-09-09T10:51:1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7F3A64EFB0E7749864827C4C084DE8D</vt:lpwstr>
  </property>
  <property fmtid="{D5CDD505-2E9C-101B-9397-08002B2CF9AE}" pid="3" name="MediaServiceImageTags">
    <vt:lpwstr/>
  </property>
</Properties>
</file>